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5.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6.xml" ContentType="application/vnd.openxmlformats-officedocument.them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7.xml" ContentType="application/vnd.openxmlformats-officedocument.them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8.xml" ContentType="application/vnd.openxmlformats-officedocument.them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9.xml" ContentType="application/vnd.openxmlformats-officedocument.theme+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10.xml" ContentType="application/vnd.openxmlformats-officedocument.theme+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11.xml" ContentType="application/vnd.openxmlformats-officedocument.theme+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12.xml" ContentType="application/vnd.openxmlformats-officedocument.theme+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13.xml" ContentType="application/vnd.openxmlformats-officedocument.theme+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14.xml" ContentType="application/vnd.openxmlformats-officedocument.theme+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15.xml" ContentType="application/vnd.openxmlformats-officedocument.theme+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16.xml" ContentType="application/vnd.openxmlformats-officedocument.theme+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17.xml" ContentType="application/vnd.openxmlformats-officedocument.theme+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18.xml" ContentType="application/vnd.openxmlformats-officedocument.theme+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heme/theme19.xml" ContentType="application/vnd.openxmlformats-officedocument.theme+xml"/>
  <Override PartName="/ppt/tags/tag32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22.xml" ContentType="application/vnd.openxmlformats-officedocument.presentationml.tags+xml"/>
  <Override PartName="/ppt/notesSlides/notesSlide3.xml" ContentType="application/vnd.openxmlformats-officedocument.presentationml.notesSlide+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notesSlides/notesSlide4.xml" ContentType="application/vnd.openxmlformats-officedocument.presentationml.notesSlide+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notesSlides/notesSlide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notesSlides/notesSlide6.xml" ContentType="application/vnd.openxmlformats-officedocument.presentationml.notesSlide+xml"/>
  <Override PartName="/ppt/tags/tag353.xml" ContentType="application/vnd.openxmlformats-officedocument.presentationml.tags+xml"/>
  <Override PartName="/ppt/notesSlides/notesSlide7.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notesSlides/notesSlide8.xml" ContentType="application/vnd.openxmlformats-officedocument.presentationml.notesSlide+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notesSlides/notesSlide9.xml" ContentType="application/vnd.openxmlformats-officedocument.presentationml.notesSlide+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notesSlides/notesSlide10.xml" ContentType="application/vnd.openxmlformats-officedocument.presentationml.notesSlide+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notesSlides/notesSlide11.xml" ContentType="application/vnd.openxmlformats-officedocument.presentationml.notesSlide+xml"/>
  <Override PartName="/ppt/tags/tag477.xml" ContentType="application/vnd.openxmlformats-officedocument.presentationml.tags+xml"/>
  <Override PartName="/ppt/notesSlides/notesSlide12.xml" ContentType="application/vnd.openxmlformats-officedocument.presentationml.notesSlide+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69" r:id="rId1"/>
    <p:sldMasterId id="2147483670" r:id="rId2"/>
    <p:sldMasterId id="2147483675" r:id="rId3"/>
    <p:sldMasterId id="2147483688" r:id="rId4"/>
    <p:sldMasterId id="2147483701" r:id="rId5"/>
    <p:sldMasterId id="2147483733" r:id="rId6"/>
    <p:sldMasterId id="2147483742" r:id="rId7"/>
    <p:sldMasterId id="2147483747" r:id="rId8"/>
    <p:sldMasterId id="2147483755" r:id="rId9"/>
    <p:sldMasterId id="2147483759" r:id="rId10"/>
    <p:sldMasterId id="2147483765" r:id="rId11"/>
    <p:sldMasterId id="2147483768" r:id="rId12"/>
    <p:sldMasterId id="2147483771" r:id="rId13"/>
    <p:sldMasterId id="2147483777" r:id="rId14"/>
    <p:sldMasterId id="2147483784" r:id="rId15"/>
    <p:sldMasterId id="2147483790" r:id="rId16"/>
    <p:sldMasterId id="2147483795" r:id="rId17"/>
    <p:sldMasterId id="2147483802" r:id="rId18"/>
  </p:sldMasterIdLst>
  <p:notesMasterIdLst>
    <p:notesMasterId r:id="rId74"/>
  </p:notesMasterIdLst>
  <p:sldIdLst>
    <p:sldId id="256" r:id="rId19"/>
    <p:sldId id="257" r:id="rId20"/>
    <p:sldId id="573" r:id="rId21"/>
    <p:sldId id="525" r:id="rId22"/>
    <p:sldId id="547" r:id="rId23"/>
    <p:sldId id="548" r:id="rId24"/>
    <p:sldId id="572" r:id="rId25"/>
    <p:sldId id="578" r:id="rId26"/>
    <p:sldId id="571" r:id="rId27"/>
    <p:sldId id="526" r:id="rId28"/>
    <p:sldId id="527" r:id="rId29"/>
    <p:sldId id="551" r:id="rId30"/>
    <p:sldId id="529" r:id="rId31"/>
    <p:sldId id="524" r:id="rId32"/>
    <p:sldId id="510" r:id="rId33"/>
    <p:sldId id="540" r:id="rId34"/>
    <p:sldId id="552" r:id="rId35"/>
    <p:sldId id="541" r:id="rId36"/>
    <p:sldId id="583" r:id="rId37"/>
    <p:sldId id="546" r:id="rId38"/>
    <p:sldId id="580" r:id="rId39"/>
    <p:sldId id="555" r:id="rId40"/>
    <p:sldId id="556" r:id="rId41"/>
    <p:sldId id="557" r:id="rId42"/>
    <p:sldId id="558" r:id="rId43"/>
    <p:sldId id="523" r:id="rId44"/>
    <p:sldId id="559" r:id="rId45"/>
    <p:sldId id="469" r:id="rId46"/>
    <p:sldId id="560" r:id="rId47"/>
    <p:sldId id="574" r:id="rId48"/>
    <p:sldId id="433" r:id="rId49"/>
    <p:sldId id="481" r:id="rId50"/>
    <p:sldId id="561" r:id="rId51"/>
    <p:sldId id="562" r:id="rId52"/>
    <p:sldId id="563" r:id="rId53"/>
    <p:sldId id="564" r:id="rId54"/>
    <p:sldId id="380" r:id="rId55"/>
    <p:sldId id="542" r:id="rId56"/>
    <p:sldId id="544" r:id="rId57"/>
    <p:sldId id="545" r:id="rId58"/>
    <p:sldId id="582" r:id="rId59"/>
    <p:sldId id="575" r:id="rId60"/>
    <p:sldId id="576" r:id="rId61"/>
    <p:sldId id="577" r:id="rId62"/>
    <p:sldId id="489" r:id="rId63"/>
    <p:sldId id="437" r:id="rId64"/>
    <p:sldId id="565" r:id="rId65"/>
    <p:sldId id="293" r:id="rId66"/>
    <p:sldId id="367" r:id="rId67"/>
    <p:sldId id="566" r:id="rId68"/>
    <p:sldId id="567" r:id="rId69"/>
    <p:sldId id="568" r:id="rId70"/>
    <p:sldId id="569" r:id="rId71"/>
    <p:sldId id="570" r:id="rId72"/>
    <p:sldId id="294" r:id="rId73"/>
  </p:sldIdLst>
  <p:sldSz cx="9906000" cy="6858000" type="A4"/>
  <p:notesSz cx="7010400" cy="9296400"/>
  <p:custDataLst>
    <p:tags r:id="rId75"/>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86">
          <p15:clr>
            <a:srgbClr val="A4A3A4"/>
          </p15:clr>
        </p15:guide>
        <p15:guide id="2" orient="horz" pos="4003">
          <p15:clr>
            <a:srgbClr val="A4A3A4"/>
          </p15:clr>
        </p15:guide>
        <p15:guide id="3" orient="horz" pos="618">
          <p15:clr>
            <a:srgbClr val="A4A3A4"/>
          </p15:clr>
        </p15:guide>
        <p15:guide id="4" orient="horz" pos="845">
          <p15:clr>
            <a:srgbClr val="A4A3A4"/>
          </p15:clr>
        </p15:guide>
        <p15:guide id="5" pos="284">
          <p15:clr>
            <a:srgbClr val="A4A3A4"/>
          </p15:clr>
        </p15:guide>
        <p15:guide id="6" pos="5932">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9"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rmias, Bisrat" initials="EB" lastIdx="1" clrIdx="2">
    <p:extLst>
      <p:ext uri="{19B8F6BF-5375-455C-9EA6-DF929625EA0E}">
        <p15:presenceInfo xmlns:p15="http://schemas.microsoft.com/office/powerpoint/2012/main" userId="S-1-5-21-505118114-2931306973-2436653383-8881" providerId="AD"/>
      </p:ext>
    </p:extLst>
  </p:cmAuthor>
  <p:cmAuthor id="2" name="Jemaneh, Samson" initials="JS" lastIdx="2" clrIdx="3">
    <p:extLst>
      <p:ext uri="{19B8F6BF-5375-455C-9EA6-DF929625EA0E}">
        <p15:presenceInfo xmlns:p15="http://schemas.microsoft.com/office/powerpoint/2012/main" userId="S-1-5-21-505118114-2931306973-2436653383-888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F5F1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318E6629-4EBB-4D30-9DD3-6ACEAB857B28}">
  <a:tblStyle styleId="{318E6629-4EBB-4D30-9DD3-6ACEAB857B28}" styleName="Table_0">
    <a:wholeTbl>
      <a:tcTxStyle b="off" i="off">
        <a:font>
          <a:latin typeface="Calibri"/>
          <a:ea typeface="Calibri"/>
          <a:cs typeface="Calibri"/>
        </a:font>
        <a:schemeClr val="dk1"/>
      </a:tcTxStyle>
      <a:tcStyle>
        <a:tcBdr>
          <a:left>
            <a:ln w="9525" cap="flat" cmpd="sng">
              <a:solidFill>
                <a:srgbClr val="000000">
                  <a:alpha val="0"/>
                </a:srgbClr>
              </a:solidFill>
              <a:prstDash val="solid"/>
              <a:round/>
              <a:headEnd type="none" w="sm" len="sm"/>
              <a:tailEnd type="none" w="sm" len="sm"/>
            </a:ln>
          </a:left>
          <a:right>
            <a:ln w="9525" cap="flat" cmpd="sng">
              <a:solidFill>
                <a:srgbClr val="000000">
                  <a:alpha val="0"/>
                </a:srgbClr>
              </a:solidFill>
              <a:prstDash val="solid"/>
              <a:round/>
              <a:headEnd type="none" w="sm" len="sm"/>
              <a:tailEnd type="none" w="sm" len="sm"/>
            </a:ln>
          </a:right>
          <a:top>
            <a:ln w="12700" cap="flat" cmpd="sng">
              <a:solidFill>
                <a:schemeClr val="accent6"/>
              </a:solidFill>
              <a:prstDash val="solid"/>
              <a:round/>
              <a:headEnd type="none" w="sm" len="sm"/>
              <a:tailEnd type="none" w="sm" len="sm"/>
            </a:ln>
          </a:top>
          <a:bottom>
            <a:ln w="12700" cap="flat" cmpd="sng">
              <a:solidFill>
                <a:schemeClr val="accent6"/>
              </a:solidFill>
              <a:prstDash val="solid"/>
              <a:round/>
              <a:headEnd type="none" w="sm" len="sm"/>
              <a:tailEnd type="none" w="sm" len="sm"/>
            </a:ln>
          </a:bottom>
          <a:insideH>
            <a:ln w="9525" cap="flat" cmpd="sng">
              <a:solidFill>
                <a:srgbClr val="000000">
                  <a:alpha val="0"/>
                </a:srgbClr>
              </a:solidFill>
              <a:prstDash val="solid"/>
              <a:round/>
              <a:headEnd type="none" w="sm" len="sm"/>
              <a:tailEnd type="none" w="sm" len="sm"/>
            </a:ln>
          </a:insideH>
          <a:insideV>
            <a:ln w="9525" cap="flat" cmpd="sng">
              <a:solidFill>
                <a:srgbClr val="000000">
                  <a:alpha val="0"/>
                </a:srgbClr>
              </a:solidFill>
              <a:prstDash val="solid"/>
              <a:round/>
              <a:headEnd type="none" w="sm" len="sm"/>
              <a:tailEnd type="none" w="sm" len="sm"/>
            </a:ln>
          </a:insideV>
        </a:tcBdr>
        <a:fill>
          <a:solidFill>
            <a:srgbClr val="FFFFFF">
              <a:alpha val="0"/>
            </a:srgbClr>
          </a:solidFill>
        </a:fill>
      </a:tcStyle>
    </a:wholeTbl>
    <a:band1H>
      <a:tcTxStyle/>
      <a:tcStyle>
        <a:tcBdr/>
        <a:fill>
          <a:solidFill>
            <a:schemeClr val="accent6">
              <a:alpha val="20000"/>
            </a:schemeClr>
          </a:solidFill>
        </a:fill>
      </a:tcStyle>
    </a:band1H>
    <a:band2H>
      <a:tcTxStyle/>
      <a:tcStyle>
        <a:tcBdr/>
      </a:tcStyle>
    </a:band2H>
    <a:band1V>
      <a:tcTxStyle/>
      <a:tcStyle>
        <a:tcBdr/>
        <a:fill>
          <a:solidFill>
            <a:schemeClr val="accent6">
              <a:alpha val="20000"/>
            </a:schemeClr>
          </a:solidFill>
        </a:fill>
      </a:tcStyle>
    </a:band1V>
    <a:band2V>
      <a:tcTxStyle/>
      <a:tcStyle>
        <a:tcBdr/>
      </a:tcStyle>
    </a:band2V>
    <a:lastCol>
      <a:tcTxStyle b="on" i="off"/>
      <a:tcStyle>
        <a:tcBdr/>
      </a:tcStyle>
    </a:lastCol>
    <a:firstCol>
      <a:tcTxStyle b="on" i="off"/>
      <a:tcStyle>
        <a:tcBdr/>
      </a:tcStyle>
    </a:firstCol>
    <a:lastRow>
      <a:tcTxStyle b="on" i="off"/>
      <a:tcStyle>
        <a:tcBdr>
          <a:top>
            <a:ln w="12700" cap="flat" cmpd="sng">
              <a:solidFill>
                <a:schemeClr val="accent6"/>
              </a:solidFill>
              <a:prstDash val="solid"/>
              <a:round/>
              <a:headEnd type="none" w="sm" len="sm"/>
              <a:tailEnd type="none" w="sm" len="sm"/>
            </a:ln>
          </a:top>
        </a:tcBdr>
        <a:fill>
          <a:solidFill>
            <a:srgbClr val="FFFFFF">
              <a:alpha val="0"/>
            </a:srgbClr>
          </a:solidFill>
        </a:fill>
      </a:tcStyle>
    </a:lastRow>
    <a:seCell>
      <a:tcTxStyle/>
      <a:tcStyle>
        <a:tcBdr/>
      </a:tcStyle>
    </a:seCell>
    <a:swCell>
      <a:tcTxStyle/>
      <a:tcStyle>
        <a:tcBdr/>
      </a:tcStyle>
    </a:swCell>
    <a:firstRow>
      <a:tcTxStyle b="on" i="off"/>
      <a:tcStyle>
        <a:tcBdr>
          <a:bottom>
            <a:ln w="12700" cap="flat" cmpd="sng">
              <a:solidFill>
                <a:schemeClr val="accent6"/>
              </a:solidFill>
              <a:prstDash val="solid"/>
              <a:round/>
              <a:headEnd type="none" w="sm" len="sm"/>
              <a:tailEnd type="none" w="sm" len="sm"/>
            </a:ln>
          </a:bottom>
        </a:tcBdr>
        <a:fill>
          <a:solidFill>
            <a:srgbClr val="FFFFFF">
              <a:alpha val="0"/>
            </a:srgbClr>
          </a:solidFill>
        </a:fill>
      </a:tcStyle>
    </a:firstRow>
    <a:neCell>
      <a:tcTxStyle/>
      <a:tcStyle>
        <a:tcBdr/>
      </a:tcStyle>
    </a:neCell>
    <a:nwCell>
      <a:tcTxStyle/>
      <a:tcStyle>
        <a:tcBdr/>
      </a:tcStyle>
    </a:nwCell>
  </a:tblStyle>
  <a:tblStyle styleId="{41E0FAD3-7C2D-4B5A-B7BA-DEB1A53D0DEB}" styleName="Table_1">
    <a:wholeTbl>
      <a:tcTxStyle b="off" i="off">
        <a:font>
          <a:latin typeface="Calibri"/>
          <a:ea typeface="Calibri"/>
          <a:cs typeface="Calibri"/>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EBF1E8"/>
          </a:solidFill>
        </a:fill>
      </a:tcStyle>
    </a:wholeTbl>
    <a:band1H>
      <a:tcTxStyle/>
      <a:tcStyle>
        <a:tcBdr/>
        <a:fill>
          <a:solidFill>
            <a:srgbClr val="D4E2CE"/>
          </a:solidFill>
        </a:fill>
      </a:tcStyle>
    </a:band1H>
    <a:band2H>
      <a:tcTxStyle/>
      <a:tcStyle>
        <a:tcBdr/>
      </a:tcStyle>
    </a:band2H>
    <a:band1V>
      <a:tcTxStyle/>
      <a:tcStyle>
        <a:tcBdr/>
        <a:fill>
          <a:solidFill>
            <a:srgbClr val="D4E2CE"/>
          </a:solidFill>
        </a:fill>
      </a:tcStyle>
    </a:band1V>
    <a:band2V>
      <a:tcTxStyle/>
      <a:tcStyle>
        <a:tcBdr/>
      </a:tcStyle>
    </a:band2V>
    <a:lastCol>
      <a:tcTxStyle b="on" i="off">
        <a:font>
          <a:latin typeface="Calibri"/>
          <a:ea typeface="Calibri"/>
          <a:cs typeface="Calibri"/>
        </a:font>
        <a:schemeClr val="lt1"/>
      </a:tcTxStyle>
      <a:tcStyle>
        <a:tcBdr/>
        <a:fill>
          <a:solidFill>
            <a:schemeClr val="accent6"/>
          </a:solidFill>
        </a:fill>
      </a:tcStyle>
    </a:lastCol>
    <a:firstCol>
      <a:tcTxStyle b="on" i="off">
        <a:font>
          <a:latin typeface="Calibri"/>
          <a:ea typeface="Calibri"/>
          <a:cs typeface="Calibri"/>
        </a:font>
        <a:schemeClr val="lt1"/>
      </a:tcTxStyle>
      <a:tcStyle>
        <a:tcBdr/>
        <a:fill>
          <a:solidFill>
            <a:schemeClr val="accent6"/>
          </a:solidFill>
        </a:fill>
      </a:tcStyle>
    </a:firstCol>
    <a:lastRow>
      <a:tcTxStyle b="on" i="off">
        <a:font>
          <a:latin typeface="Calibri"/>
          <a:ea typeface="Calibri"/>
          <a:cs typeface="Calibri"/>
        </a:font>
        <a:schemeClr val="lt1"/>
      </a:tcTxStyle>
      <a:tcStyle>
        <a:tcBdr>
          <a:top>
            <a:ln w="38100" cap="flat" cmpd="sng">
              <a:solidFill>
                <a:schemeClr val="lt1"/>
              </a:solidFill>
              <a:prstDash val="solid"/>
              <a:round/>
              <a:headEnd type="none" w="sm" len="sm"/>
              <a:tailEnd type="none" w="sm" len="sm"/>
            </a:ln>
          </a:top>
        </a:tcBdr>
        <a:fill>
          <a:solidFill>
            <a:schemeClr val="accent6"/>
          </a:solidFill>
        </a:fill>
      </a:tcStyle>
    </a:lastRow>
    <a:seCell>
      <a:tcTxStyle/>
      <a:tcStyle>
        <a:tcBdr/>
      </a:tcStyle>
    </a:seCell>
    <a:swCell>
      <a:tcTxStyle/>
      <a:tcStyle>
        <a:tcBdr/>
      </a:tcStyle>
    </a:swCell>
    <a:firstRow>
      <a:tcTxStyle b="on" i="off">
        <a:font>
          <a:latin typeface="Calibri"/>
          <a:ea typeface="Calibri"/>
          <a:cs typeface="Calibri"/>
        </a:font>
        <a:schemeClr val="lt1"/>
      </a:tcTxStyle>
      <a:tcStyle>
        <a:tcBdr>
          <a:bottom>
            <a:ln w="38100" cap="flat" cmpd="sng">
              <a:solidFill>
                <a:schemeClr val="lt1"/>
              </a:solidFill>
              <a:prstDash val="solid"/>
              <a:round/>
              <a:headEnd type="none" w="sm" len="sm"/>
              <a:tailEnd type="none" w="sm" len="sm"/>
            </a:ln>
          </a:bottom>
        </a:tcBdr>
        <a:fill>
          <a:solidFill>
            <a:schemeClr val="accent6"/>
          </a:solidFill>
        </a:fill>
      </a:tcStyle>
    </a:firstRow>
    <a:neCell>
      <a:tcTxStyle/>
      <a:tcStyle>
        <a:tcBdr/>
      </a:tcStyle>
    </a:neCell>
    <a:nwCell>
      <a:tcTxStyle/>
      <a:tcStyle>
        <a:tcBdr/>
      </a:tcStyle>
    </a:nwCell>
  </a:tblStyle>
  <a:tblStyle styleId="{333DCFE8-B7AC-4D4A-B88C-A1AB9587156B}" styleName="Table_2">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397" autoAdjust="0"/>
    <p:restoredTop sz="94660"/>
  </p:normalViewPr>
  <p:slideViewPr>
    <p:cSldViewPr snapToGrid="0">
      <p:cViewPr varScale="1">
        <p:scale>
          <a:sx n="88" d="100"/>
          <a:sy n="88" d="100"/>
        </p:scale>
        <p:origin x="738" y="84"/>
      </p:cViewPr>
      <p:guideLst>
        <p:guide orient="horz" pos="86"/>
        <p:guide orient="horz" pos="4003"/>
        <p:guide orient="horz" pos="618"/>
        <p:guide orient="horz" pos="845"/>
        <p:guide pos="284"/>
        <p:guide pos="5932"/>
      </p:guideLst>
    </p:cSldViewPr>
  </p:slideViewPr>
  <p:notesTextViewPr>
    <p:cViewPr>
      <p:scale>
        <a:sx n="1" d="1"/>
        <a:sy n="1" d="1"/>
      </p:scale>
      <p:origin x="0" y="0"/>
    </p:cViewPr>
  </p:notesTextViewPr>
  <p:notesViewPr>
    <p:cSldViewPr snapToGrid="0">
      <p:cViewPr varScale="1">
        <p:scale>
          <a:sx n="100" d="100"/>
          <a:sy n="100" d="100"/>
        </p:scale>
        <p:origin x="0" y="0"/>
      </p:cViewPr>
      <p:guideLst>
        <p:guide orient="horz" pos="2928"/>
        <p:guide pos="2209"/>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8.xml"/><Relationship Id="rId21" Type="http://schemas.openxmlformats.org/officeDocument/2006/relationships/slide" Target="slides/slide3.xml"/><Relationship Id="rId42" Type="http://schemas.openxmlformats.org/officeDocument/2006/relationships/slide" Target="slides/slide24.xml"/><Relationship Id="rId47" Type="http://schemas.openxmlformats.org/officeDocument/2006/relationships/slide" Target="slides/slide29.xml"/><Relationship Id="rId63" Type="http://schemas.openxmlformats.org/officeDocument/2006/relationships/slide" Target="slides/slide45.xml"/><Relationship Id="rId68" Type="http://schemas.openxmlformats.org/officeDocument/2006/relationships/slide" Target="slides/slide50.xml"/><Relationship Id="rId16" Type="http://schemas.openxmlformats.org/officeDocument/2006/relationships/slideMaster" Target="slideMasters/slideMaster16.xml"/><Relationship Id="rId11" Type="http://schemas.openxmlformats.org/officeDocument/2006/relationships/slideMaster" Target="slideMasters/slideMaster11.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slide" Target="slides/slide22.xml"/><Relationship Id="rId45" Type="http://schemas.openxmlformats.org/officeDocument/2006/relationships/slide" Target="slides/slide27.xml"/><Relationship Id="rId53" Type="http://schemas.openxmlformats.org/officeDocument/2006/relationships/slide" Target="slides/slide35.xml"/><Relationship Id="rId58" Type="http://schemas.openxmlformats.org/officeDocument/2006/relationships/slide" Target="slides/slide40.xml"/><Relationship Id="rId66" Type="http://schemas.openxmlformats.org/officeDocument/2006/relationships/slide" Target="slides/slide48.xml"/><Relationship Id="rId74" Type="http://schemas.openxmlformats.org/officeDocument/2006/relationships/notesMaster" Target="notesMasters/notesMaster1.xml"/><Relationship Id="rId79" Type="http://schemas.openxmlformats.org/officeDocument/2006/relationships/theme" Target="theme/theme1.xml"/><Relationship Id="rId5" Type="http://schemas.openxmlformats.org/officeDocument/2006/relationships/slideMaster" Target="slideMasters/slideMaster5.xml"/><Relationship Id="rId61" Type="http://schemas.openxmlformats.org/officeDocument/2006/relationships/slide" Target="slides/slide43.xml"/><Relationship Id="rId19" Type="http://schemas.openxmlformats.org/officeDocument/2006/relationships/slide" Target="slides/slide1.xml"/><Relationship Id="rId14" Type="http://schemas.openxmlformats.org/officeDocument/2006/relationships/slideMaster" Target="slideMasters/slideMaster14.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slide" Target="slides/slide25.xml"/><Relationship Id="rId48" Type="http://schemas.openxmlformats.org/officeDocument/2006/relationships/slide" Target="slides/slide30.xml"/><Relationship Id="rId56" Type="http://schemas.openxmlformats.org/officeDocument/2006/relationships/slide" Target="slides/slide38.xml"/><Relationship Id="rId64" Type="http://schemas.openxmlformats.org/officeDocument/2006/relationships/slide" Target="slides/slide46.xml"/><Relationship Id="rId69" Type="http://schemas.openxmlformats.org/officeDocument/2006/relationships/slide" Target="slides/slide51.xml"/><Relationship Id="rId77"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slide" Target="slides/slide33.xml"/><Relationship Id="rId72" Type="http://schemas.openxmlformats.org/officeDocument/2006/relationships/slide" Target="slides/slide54.xml"/><Relationship Id="rId80"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59" Type="http://schemas.openxmlformats.org/officeDocument/2006/relationships/slide" Target="slides/slide41.xml"/><Relationship Id="rId67" Type="http://schemas.openxmlformats.org/officeDocument/2006/relationships/slide" Target="slides/slide49.xml"/><Relationship Id="rId20" Type="http://schemas.openxmlformats.org/officeDocument/2006/relationships/slide" Target="slides/slide2.xml"/><Relationship Id="rId41" Type="http://schemas.openxmlformats.org/officeDocument/2006/relationships/slide" Target="slides/slide23.xml"/><Relationship Id="rId54" Type="http://schemas.openxmlformats.org/officeDocument/2006/relationships/slide" Target="slides/slide36.xml"/><Relationship Id="rId62" Type="http://schemas.openxmlformats.org/officeDocument/2006/relationships/slide" Target="slides/slide44.xml"/><Relationship Id="rId70" Type="http://schemas.openxmlformats.org/officeDocument/2006/relationships/slide" Target="slides/slide52.xml"/><Relationship Id="rId75"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openxmlformats.org/officeDocument/2006/relationships/slide" Target="slides/slide39.xml"/><Relationship Id="rId10" Type="http://schemas.openxmlformats.org/officeDocument/2006/relationships/slideMaster" Target="slideMasters/slideMaster10.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slide" Target="slides/slide34.xml"/><Relationship Id="rId60" Type="http://schemas.openxmlformats.org/officeDocument/2006/relationships/slide" Target="slides/slide42.xml"/><Relationship Id="rId65" Type="http://schemas.openxmlformats.org/officeDocument/2006/relationships/slide" Target="slides/slide47.xml"/><Relationship Id="rId73" Type="http://schemas.openxmlformats.org/officeDocument/2006/relationships/slide" Target="slides/slide55.xml"/><Relationship Id="rId78"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21.xml"/><Relationship Id="rId34" Type="http://schemas.openxmlformats.org/officeDocument/2006/relationships/slide" Target="slides/slide16.xml"/><Relationship Id="rId50" Type="http://schemas.openxmlformats.org/officeDocument/2006/relationships/slide" Target="slides/slide32.xml"/><Relationship Id="rId55" Type="http://schemas.openxmlformats.org/officeDocument/2006/relationships/slide" Target="slides/slide37.xml"/><Relationship Id="rId76" Type="http://schemas.openxmlformats.org/officeDocument/2006/relationships/commentAuthors" Target="commentAuthors.xml"/><Relationship Id="rId7" Type="http://schemas.openxmlformats.org/officeDocument/2006/relationships/slideMaster" Target="slideMasters/slideMaster7.xml"/><Relationship Id="rId71" Type="http://schemas.openxmlformats.org/officeDocument/2006/relationships/slide" Target="slides/slide53.xml"/><Relationship Id="rId2" Type="http://schemas.openxmlformats.org/officeDocument/2006/relationships/slideMaster" Target="slideMasters/slideMaster2.xml"/><Relationship Id="rId29" Type="http://schemas.openxmlformats.org/officeDocument/2006/relationships/slide" Target="slides/slide11.xml"/></Relationships>
</file>

<file path=ppt/charts/_rels/chart1.xml.rels><?xml version="1.0" encoding="UTF-8" standalone="yes"?>
<Relationships xmlns="http://schemas.openxmlformats.org/package/2006/relationships"><Relationship Id="rId3" Type="http://schemas.openxmlformats.org/officeDocument/2006/relationships/oleObject" Target="file:///\\svm01\users\NWubeneh\temp\Certified%20seed%20production.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svm01\users\NWubeneh\temp\Certified%20seed%20production.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000" b="1" i="0" u="none" strike="noStrike" kern="1200" spc="0" baseline="0">
                <a:solidFill>
                  <a:schemeClr val="accent6">
                    <a:lumMod val="75000"/>
                  </a:schemeClr>
                </a:solidFill>
                <a:latin typeface="+mn-lt"/>
                <a:ea typeface="+mn-ea"/>
                <a:cs typeface="+mn-cs"/>
              </a:defRPr>
            </a:pPr>
            <a:r>
              <a:rPr lang="en-US" sz="1000" b="1" i="0" baseline="0">
                <a:solidFill>
                  <a:schemeClr val="accent6">
                    <a:lumMod val="75000"/>
                  </a:schemeClr>
                </a:solidFill>
                <a:effectLst/>
              </a:rPr>
              <a:t>Certified seed production in Ethiopia in MT,  AGRA supported seed companies (2006 – 2017)</a:t>
            </a:r>
            <a:endParaRPr lang="en-US" sz="1000" b="1">
              <a:solidFill>
                <a:schemeClr val="accent6">
                  <a:lumMod val="75000"/>
                </a:schemeClr>
              </a:solidFill>
              <a:effectLst/>
            </a:endParaRPr>
          </a:p>
        </c:rich>
      </c:tx>
      <c:layout/>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000" b="1" i="0" u="none" strike="noStrike" kern="1200" spc="0" baseline="0">
              <a:solidFill>
                <a:schemeClr val="accent6">
                  <a:lumMod val="75000"/>
                </a:schemeClr>
              </a:solidFill>
              <a:latin typeface="+mn-lt"/>
              <a:ea typeface="+mn-ea"/>
              <a:cs typeface="+mn-cs"/>
            </a:defRPr>
          </a:pPr>
          <a:endParaRPr lang="en-US"/>
        </a:p>
      </c:txPr>
    </c:title>
    <c:autoTitleDeleted val="0"/>
    <c:plotArea>
      <c:layout>
        <c:manualLayout>
          <c:layoutTarget val="inner"/>
          <c:xMode val="edge"/>
          <c:yMode val="edge"/>
          <c:x val="0.104580927384077"/>
          <c:y val="0.17171296296296296"/>
          <c:w val="0.86486351706036746"/>
          <c:h val="0.65107210557013695"/>
        </c:manualLayout>
      </c:layout>
      <c:lineChart>
        <c:grouping val="standard"/>
        <c:varyColors val="0"/>
        <c:ser>
          <c:idx val="1"/>
          <c:order val="0"/>
          <c:tx>
            <c:strRef>
              <c:f>Sheet1!$B$1</c:f>
              <c:strCache>
                <c:ptCount val="1"/>
                <c:pt idx="0">
                  <c:v>Seed production(MT)</c:v>
                </c:pt>
              </c:strCache>
            </c:strRef>
          </c:tx>
          <c:spPr>
            <a:ln w="28575" cap="rnd">
              <a:solidFill>
                <a:schemeClr val="accent2"/>
              </a:solidFill>
              <a:round/>
            </a:ln>
            <a:effectLst/>
          </c:spPr>
          <c:marker>
            <c:symbol val="none"/>
          </c:marker>
          <c:cat>
            <c:numRef>
              <c:f>Sheet1!$A$2:$A$12</c:f>
              <c:numCache>
                <c:formatCode>General</c:formatCode>
                <c:ptCount val="11"/>
                <c:pt idx="0">
                  <c:v>2007</c:v>
                </c:pt>
                <c:pt idx="1">
                  <c:v>2008</c:v>
                </c:pt>
                <c:pt idx="2">
                  <c:v>2009</c:v>
                </c:pt>
                <c:pt idx="3">
                  <c:v>2010</c:v>
                </c:pt>
                <c:pt idx="4">
                  <c:v>2011</c:v>
                </c:pt>
                <c:pt idx="5">
                  <c:v>2012</c:v>
                </c:pt>
                <c:pt idx="6">
                  <c:v>2013</c:v>
                </c:pt>
                <c:pt idx="7">
                  <c:v>2014</c:v>
                </c:pt>
                <c:pt idx="8">
                  <c:v>2015</c:v>
                </c:pt>
                <c:pt idx="9">
                  <c:v>2016</c:v>
                </c:pt>
                <c:pt idx="10">
                  <c:v>2017</c:v>
                </c:pt>
              </c:numCache>
            </c:numRef>
          </c:cat>
          <c:val>
            <c:numRef>
              <c:f>Sheet1!$B$2:$B$12</c:f>
              <c:numCache>
                <c:formatCode>0</c:formatCode>
                <c:ptCount val="11"/>
                <c:pt idx="0">
                  <c:v>260</c:v>
                </c:pt>
                <c:pt idx="1">
                  <c:v>473.6</c:v>
                </c:pt>
                <c:pt idx="2">
                  <c:v>1260.1999999999998</c:v>
                </c:pt>
                <c:pt idx="3">
                  <c:v>1453.8</c:v>
                </c:pt>
                <c:pt idx="4">
                  <c:v>9944.7000000000007</c:v>
                </c:pt>
                <c:pt idx="5">
                  <c:v>12428.539999999999</c:v>
                </c:pt>
                <c:pt idx="6">
                  <c:v>15832.996000000001</c:v>
                </c:pt>
                <c:pt idx="7">
                  <c:v>47835.169869999998</c:v>
                </c:pt>
                <c:pt idx="8">
                  <c:v>50265.2</c:v>
                </c:pt>
                <c:pt idx="9">
                  <c:v>50938.96</c:v>
                </c:pt>
                <c:pt idx="10">
                  <c:v>57346.794999999998</c:v>
                </c:pt>
              </c:numCache>
            </c:numRef>
          </c:val>
          <c:smooth val="0"/>
          <c:extLst>
            <c:ext xmlns:c16="http://schemas.microsoft.com/office/drawing/2014/chart" uri="{C3380CC4-5D6E-409C-BE32-E72D297353CC}">
              <c16:uniqueId val="{00000000-627C-4B28-94BD-6B7A0F38FE99}"/>
            </c:ext>
          </c:extLst>
        </c:ser>
        <c:dLbls>
          <c:showLegendKey val="0"/>
          <c:showVal val="0"/>
          <c:showCatName val="0"/>
          <c:showSerName val="0"/>
          <c:showPercent val="0"/>
          <c:showBubbleSize val="0"/>
        </c:dLbls>
        <c:smooth val="0"/>
        <c:axId val="187927424"/>
        <c:axId val="187928208"/>
      </c:lineChart>
      <c:catAx>
        <c:axId val="187927424"/>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Year</a:t>
                </a:r>
              </a:p>
            </c:rich>
          </c:tx>
          <c:layout>
            <c:manualLayout>
              <c:xMode val="edge"/>
              <c:yMode val="edge"/>
              <c:x val="0.90350568678915144"/>
              <c:y val="0.91629556722076411"/>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7928208"/>
        <c:crosses val="autoZero"/>
        <c:auto val="1"/>
        <c:lblAlgn val="ctr"/>
        <c:lblOffset val="100"/>
        <c:noMultiLvlLbl val="0"/>
      </c:catAx>
      <c:valAx>
        <c:axId val="18792820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7927424"/>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solidFill>
        <a:schemeClr val="accent1"/>
      </a:solidFill>
      <a:round/>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1" i="0" u="none" strike="noStrike" kern="1200" spc="0" baseline="0">
                <a:solidFill>
                  <a:schemeClr val="accent6">
                    <a:lumMod val="75000"/>
                  </a:schemeClr>
                </a:solidFill>
                <a:latin typeface="+mn-lt"/>
                <a:ea typeface="+mn-ea"/>
                <a:cs typeface="+mn-cs"/>
              </a:defRPr>
            </a:pPr>
            <a:r>
              <a:rPr lang="en-US" sz="1000" b="1" i="0" u="none" strike="noStrike" baseline="0">
                <a:solidFill>
                  <a:schemeClr val="accent6">
                    <a:lumMod val="75000"/>
                  </a:schemeClr>
                </a:solidFill>
                <a:effectLst/>
              </a:rPr>
              <a:t>Certified seed production by crop (%), 2007 - 2017</a:t>
            </a:r>
            <a:endParaRPr lang="en-US" sz="1000" b="1">
              <a:solidFill>
                <a:schemeClr val="accent6">
                  <a:lumMod val="75000"/>
                </a:schemeClr>
              </a:solidFill>
            </a:endParaRPr>
          </a:p>
        </c:rich>
      </c:tx>
      <c:layout>
        <c:manualLayout>
          <c:xMode val="edge"/>
          <c:yMode val="edge"/>
          <c:x val="0.14694444444444443"/>
          <c:y val="1.8518518518518517E-2"/>
        </c:manualLayout>
      </c:layout>
      <c:overlay val="0"/>
      <c:spPr>
        <a:noFill/>
        <a:ln>
          <a:noFill/>
        </a:ln>
        <a:effectLst/>
      </c:spPr>
      <c:txPr>
        <a:bodyPr rot="0" spcFirstLastPara="1" vertOverflow="ellipsis" vert="horz" wrap="square" anchor="ctr" anchorCtr="1"/>
        <a:lstStyle/>
        <a:p>
          <a:pPr>
            <a:defRPr sz="1000" b="1" i="0" u="none" strike="noStrike" kern="1200" spc="0" baseline="0">
              <a:solidFill>
                <a:schemeClr val="accent6">
                  <a:lumMod val="75000"/>
                </a:schemeClr>
              </a:solidFill>
              <a:latin typeface="+mn-lt"/>
              <a:ea typeface="+mn-ea"/>
              <a:cs typeface="+mn-cs"/>
            </a:defRPr>
          </a:pPr>
          <a:endParaRPr lang="en-US"/>
        </a:p>
      </c:txPr>
    </c:title>
    <c:autoTitleDeleted val="0"/>
    <c:plotArea>
      <c:layout>
        <c:manualLayout>
          <c:layoutTarget val="inner"/>
          <c:xMode val="edge"/>
          <c:yMode val="edge"/>
          <c:x val="0.34916491688538931"/>
          <c:y val="0.2036049139690872"/>
          <c:w val="0.37667038495188099"/>
          <c:h val="0.59182243440297355"/>
        </c:manualLayout>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8AF6-4D07-9C1A-D716AF3A4E17}"/>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8AF6-4D07-9C1A-D716AF3A4E17}"/>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8AF6-4D07-9C1A-D716AF3A4E17}"/>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8AF6-4D07-9C1A-D716AF3A4E17}"/>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8AF6-4D07-9C1A-D716AF3A4E17}"/>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8AF6-4D07-9C1A-D716AF3A4E17}"/>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D-8AF6-4D07-9C1A-D716AF3A4E17}"/>
              </c:ext>
            </c:extLst>
          </c:dPt>
          <c:dPt>
            <c:idx val="7"/>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F-8AF6-4D07-9C1A-D716AF3A4E17}"/>
              </c:ext>
            </c:extLst>
          </c:dPt>
          <c:dPt>
            <c:idx val="8"/>
            <c:bubble3D val="0"/>
            <c:spPr>
              <a:solidFill>
                <a:schemeClr val="accent3">
                  <a:lumMod val="60000"/>
                </a:schemeClr>
              </a:solidFill>
              <a:ln w="19050">
                <a:solidFill>
                  <a:schemeClr val="lt1"/>
                </a:solidFill>
              </a:ln>
              <a:effectLst/>
            </c:spPr>
            <c:extLst>
              <c:ext xmlns:c16="http://schemas.microsoft.com/office/drawing/2014/chart" uri="{C3380CC4-5D6E-409C-BE32-E72D297353CC}">
                <c16:uniqueId val="{00000011-8AF6-4D07-9C1A-D716AF3A4E17}"/>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C$1:$K$1</c:f>
              <c:strCache>
                <c:ptCount val="9"/>
                <c:pt idx="0">
                  <c:v>Maize</c:v>
                </c:pt>
                <c:pt idx="1">
                  <c:v>Wheat</c:v>
                </c:pt>
                <c:pt idx="2">
                  <c:v>Barley</c:v>
                </c:pt>
                <c:pt idx="3">
                  <c:v>Teff</c:v>
                </c:pt>
                <c:pt idx="4">
                  <c:v>Beans </c:v>
                </c:pt>
                <c:pt idx="5">
                  <c:v>Soya</c:v>
                </c:pt>
                <c:pt idx="6">
                  <c:v>Sorghum</c:v>
                </c:pt>
                <c:pt idx="7">
                  <c:v>Chickpea</c:v>
                </c:pt>
                <c:pt idx="8">
                  <c:v>others</c:v>
                </c:pt>
              </c:strCache>
            </c:strRef>
          </c:cat>
          <c:val>
            <c:numRef>
              <c:f>Sheet1!$C$14:$K$14</c:f>
              <c:numCache>
                <c:formatCode>0%</c:formatCode>
                <c:ptCount val="9"/>
                <c:pt idx="0">
                  <c:v>0.19603333027247302</c:v>
                </c:pt>
                <c:pt idx="1">
                  <c:v>0.65377649666293458</c:v>
                </c:pt>
                <c:pt idx="2">
                  <c:v>6.6920084940263358E-2</c:v>
                </c:pt>
                <c:pt idx="3">
                  <c:v>3.1236020288120763E-2</c:v>
                </c:pt>
                <c:pt idx="4">
                  <c:v>1.4640603019217852E-2</c:v>
                </c:pt>
                <c:pt idx="5">
                  <c:v>5.6344332384912609E-3</c:v>
                </c:pt>
                <c:pt idx="6">
                  <c:v>6.9185222977010859E-3</c:v>
                </c:pt>
                <c:pt idx="7">
                  <c:v>1.1452192985503594E-3</c:v>
                </c:pt>
                <c:pt idx="8">
                  <c:v>2.3692508172423174E-2</c:v>
                </c:pt>
              </c:numCache>
            </c:numRef>
          </c:val>
          <c:extLst>
            <c:ext xmlns:c16="http://schemas.microsoft.com/office/drawing/2014/chart" uri="{C3380CC4-5D6E-409C-BE32-E72D297353CC}">
              <c16:uniqueId val="{00000012-8AF6-4D07-9C1A-D716AF3A4E17}"/>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0.13748020174335418"/>
          <c:y val="0.8040594586597275"/>
          <c:w val="0.76020573069537822"/>
          <c:h val="0.16579663385121252"/>
        </c:manualLayout>
      </c:layout>
      <c:overlay val="0"/>
      <c:spPr>
        <a:noFill/>
        <a:ln>
          <a:noFill/>
        </a:ln>
        <a:effectLst/>
      </c:spPr>
      <c:txPr>
        <a:bodyPr rot="0" spcFirstLastPara="1" vertOverflow="ellipsis" vert="horz" wrap="square" anchor="ctr" anchorCtr="1"/>
        <a:lstStyle/>
        <a:p>
          <a:pPr rtl="0">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solidFill>
        <a:schemeClr val="accent1"/>
      </a:solidFill>
      <a:round/>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dk1"/>
                </a:solidFill>
                <a:latin typeface="+mn-lt"/>
                <a:ea typeface="+mn-ea"/>
                <a:cs typeface="+mn-cs"/>
              </a:defRPr>
            </a:pPr>
            <a:r>
              <a:rPr lang="en-US"/>
              <a:t>Ethiopia's BRR Scores</a:t>
            </a:r>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dk1"/>
              </a:solidFill>
              <a:latin typeface="+mn-lt"/>
              <a:ea typeface="+mn-ea"/>
              <a:cs typeface="+mn-cs"/>
            </a:defRPr>
          </a:pPr>
          <a:endParaRPr lang="en-US"/>
        </a:p>
      </c:txPr>
    </c:title>
    <c:autoTitleDeleted val="0"/>
    <c:plotArea>
      <c:layout>
        <c:manualLayout>
          <c:layoutTarget val="inner"/>
          <c:xMode val="edge"/>
          <c:yMode val="edge"/>
          <c:x val="0.11035918119719576"/>
          <c:y val="0.16131972677729378"/>
          <c:w val="0.85040277278446885"/>
          <c:h val="0.41074221338075539"/>
        </c:manualLayout>
      </c:layout>
      <c:barChart>
        <c:barDir val="col"/>
        <c:grouping val="clustered"/>
        <c:varyColors val="0"/>
        <c:ser>
          <c:idx val="0"/>
          <c:order val="0"/>
          <c:tx>
            <c:strRef>
              <c:f>Sheet1!$C$3</c:f>
              <c:strCache>
                <c:ptCount val="1"/>
                <c:pt idx="0">
                  <c:v>Score</c:v>
                </c:pt>
              </c:strCache>
            </c:strRef>
          </c:tx>
          <c:spPr>
            <a:solidFill>
              <a:schemeClr val="accent1"/>
            </a:solidFill>
            <a:ln>
              <a:noFill/>
            </a:ln>
            <a:effectLst/>
          </c:spPr>
          <c:invertIfNegative val="0"/>
          <c:cat>
            <c:strRef>
              <c:f>Sheet1!$B$4:$B$10</c:f>
              <c:strCache>
                <c:ptCount val="7"/>
                <c:pt idx="0">
                  <c:v>Re-commiting to CAADP Process</c:v>
                </c:pt>
                <c:pt idx="1">
                  <c:v>Enhancing Investment Finance in Agriculture</c:v>
                </c:pt>
                <c:pt idx="2">
                  <c:v>Ending hunger by 2025</c:v>
                </c:pt>
                <c:pt idx="3">
                  <c:v>Halving Poverty through Agriculture by 2025</c:v>
                </c:pt>
                <c:pt idx="4">
                  <c:v>Boosting intra African Trade in Agriculture Commodities </c:v>
                </c:pt>
                <c:pt idx="5">
                  <c:v>Enhancing Resilience to climate variability </c:v>
                </c:pt>
                <c:pt idx="6">
                  <c:v>Mutual Accountability for Actions and Results</c:v>
                </c:pt>
              </c:strCache>
            </c:strRef>
          </c:cat>
          <c:val>
            <c:numRef>
              <c:f>Sheet1!$C$4:$C$10</c:f>
              <c:numCache>
                <c:formatCode>General</c:formatCode>
                <c:ptCount val="7"/>
                <c:pt idx="0">
                  <c:v>8.85</c:v>
                </c:pt>
                <c:pt idx="1">
                  <c:v>4.53</c:v>
                </c:pt>
                <c:pt idx="2">
                  <c:v>3.16</c:v>
                </c:pt>
                <c:pt idx="3">
                  <c:v>2.74</c:v>
                </c:pt>
                <c:pt idx="4">
                  <c:v>3.23</c:v>
                </c:pt>
                <c:pt idx="5">
                  <c:v>5.49</c:v>
                </c:pt>
                <c:pt idx="6">
                  <c:v>9.43</c:v>
                </c:pt>
              </c:numCache>
            </c:numRef>
          </c:val>
          <c:extLst>
            <c:ext xmlns:c16="http://schemas.microsoft.com/office/drawing/2014/chart" uri="{C3380CC4-5D6E-409C-BE32-E72D297353CC}">
              <c16:uniqueId val="{00000000-8C8F-411C-81D5-FB7625669DDC}"/>
            </c:ext>
          </c:extLst>
        </c:ser>
        <c:dLbls>
          <c:showLegendKey val="0"/>
          <c:showVal val="0"/>
          <c:showCatName val="0"/>
          <c:showSerName val="0"/>
          <c:showPercent val="0"/>
          <c:showBubbleSize val="0"/>
        </c:dLbls>
        <c:gapWidth val="219"/>
        <c:axId val="336683120"/>
        <c:axId val="336683512"/>
      </c:barChart>
      <c:lineChart>
        <c:grouping val="standard"/>
        <c:varyColors val="0"/>
        <c:ser>
          <c:idx val="1"/>
          <c:order val="1"/>
          <c:tx>
            <c:strRef>
              <c:f>Sheet1!$D$3</c:f>
              <c:strCache>
                <c:ptCount val="1"/>
                <c:pt idx="0">
                  <c:v>Average</c:v>
                </c:pt>
              </c:strCache>
            </c:strRef>
          </c:tx>
          <c:spPr>
            <a:ln w="28575" cap="rnd">
              <a:solidFill>
                <a:schemeClr val="accent2"/>
              </a:solidFill>
              <a:round/>
            </a:ln>
            <a:effectLst/>
          </c:spPr>
          <c:marker>
            <c:symbol val="none"/>
          </c:marker>
          <c:cat>
            <c:strRef>
              <c:f>Sheet1!$B$4:$B$10</c:f>
              <c:strCache>
                <c:ptCount val="7"/>
                <c:pt idx="0">
                  <c:v>Re-commiting to CAADP Process</c:v>
                </c:pt>
                <c:pt idx="1">
                  <c:v>Enhancing Investment Finance in Agriculture</c:v>
                </c:pt>
                <c:pt idx="2">
                  <c:v>Ending hunger by 2025</c:v>
                </c:pt>
                <c:pt idx="3">
                  <c:v>Halving Poverty through Agriculture by 2025</c:v>
                </c:pt>
                <c:pt idx="4">
                  <c:v>Boosting intra African Trade in Agriculture Commodities </c:v>
                </c:pt>
                <c:pt idx="5">
                  <c:v>Enhancing Resilience to climate variability </c:v>
                </c:pt>
                <c:pt idx="6">
                  <c:v>Mutual Accountability for Actions and Results</c:v>
                </c:pt>
              </c:strCache>
            </c:strRef>
          </c:cat>
          <c:val>
            <c:numRef>
              <c:f>Sheet1!$D$4:$D$10</c:f>
              <c:numCache>
                <c:formatCode>0.00</c:formatCode>
                <c:ptCount val="7"/>
                <c:pt idx="0">
                  <c:v>5.347142857142857</c:v>
                </c:pt>
                <c:pt idx="1">
                  <c:v>5.35</c:v>
                </c:pt>
                <c:pt idx="2">
                  <c:v>5.35</c:v>
                </c:pt>
                <c:pt idx="3">
                  <c:v>5.35</c:v>
                </c:pt>
                <c:pt idx="4">
                  <c:v>5.35</c:v>
                </c:pt>
                <c:pt idx="5">
                  <c:v>5.35</c:v>
                </c:pt>
                <c:pt idx="6">
                  <c:v>5.35</c:v>
                </c:pt>
              </c:numCache>
            </c:numRef>
          </c:val>
          <c:smooth val="0"/>
          <c:extLst>
            <c:ext xmlns:c16="http://schemas.microsoft.com/office/drawing/2014/chart" uri="{C3380CC4-5D6E-409C-BE32-E72D297353CC}">
              <c16:uniqueId val="{00000001-8C8F-411C-81D5-FB7625669DDC}"/>
            </c:ext>
          </c:extLst>
        </c:ser>
        <c:dLbls>
          <c:showLegendKey val="0"/>
          <c:showVal val="0"/>
          <c:showCatName val="0"/>
          <c:showSerName val="0"/>
          <c:showPercent val="0"/>
          <c:showBubbleSize val="0"/>
        </c:dLbls>
        <c:marker val="1"/>
        <c:smooth val="0"/>
        <c:axId val="336683120"/>
        <c:axId val="336683512"/>
      </c:lineChart>
      <c:catAx>
        <c:axId val="336683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dk1"/>
                </a:solidFill>
                <a:latin typeface="+mn-lt"/>
                <a:ea typeface="+mn-ea"/>
                <a:cs typeface="+mn-cs"/>
              </a:defRPr>
            </a:pPr>
            <a:endParaRPr lang="en-US"/>
          </a:p>
        </c:txPr>
        <c:crossAx val="336683512"/>
        <c:crosses val="autoZero"/>
        <c:auto val="1"/>
        <c:lblAlgn val="ctr"/>
        <c:lblOffset val="100"/>
        <c:noMultiLvlLbl val="0"/>
      </c:catAx>
      <c:valAx>
        <c:axId val="33668351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dk1"/>
                </a:solidFill>
                <a:latin typeface="+mn-lt"/>
                <a:ea typeface="+mn-ea"/>
                <a:cs typeface="+mn-cs"/>
              </a:defRPr>
            </a:pPr>
            <a:endParaRPr lang="en-US"/>
          </a:p>
        </c:txPr>
        <c:crossAx val="336683120"/>
        <c:crosses val="autoZero"/>
        <c:crossBetween val="between"/>
      </c:valAx>
      <c:spPr>
        <a:noFill/>
        <a:ln>
          <a:noFill/>
        </a:ln>
        <a:effectLst/>
      </c:spPr>
    </c:plotArea>
    <c:legend>
      <c:legendPos val="b"/>
      <c:layout>
        <c:manualLayout>
          <c:xMode val="edge"/>
          <c:yMode val="edge"/>
          <c:x val="0.25380527593025348"/>
          <c:y val="0.91451915521416316"/>
          <c:w val="0.44958402615495235"/>
          <c:h val="8.5480844785836854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dk1"/>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lt1"/>
    </a:solidFill>
    <a:ln w="25400" cap="flat" cmpd="sng" algn="ctr">
      <a:solidFill>
        <a:schemeClr val="accent6"/>
      </a:solidFill>
      <a:prstDash val="solid"/>
    </a:ln>
    <a:effectLst/>
  </c:spPr>
  <c:txPr>
    <a:bodyPr/>
    <a:lstStyle/>
    <a:p>
      <a:pPr>
        <a:defRPr>
          <a:solidFill>
            <a:schemeClr val="dk1"/>
          </a:solidFill>
          <a:latin typeface="+mn-lt"/>
          <a:ea typeface="+mn-ea"/>
          <a:cs typeface="+mn-cs"/>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en-US" sz="1100" dirty="0"/>
              <a:t>Cereal Yield in Ethiopia (2007-2017), in MT per Ha</a:t>
            </a:r>
          </a:p>
        </c:rich>
      </c:tx>
      <c:layout>
        <c:manualLayout>
          <c:xMode val="edge"/>
          <c:yMode val="edge"/>
          <c:x val="0.17148622047244091"/>
          <c:y val="2.3148148148148147E-2"/>
        </c:manualLayout>
      </c:layout>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FAOSTAT_data_6-4-2019 (1)'!$K$1</c:f>
              <c:strCache>
                <c:ptCount val="1"/>
                <c:pt idx="0">
                  <c:v>Barley</c:v>
                </c:pt>
              </c:strCache>
            </c:strRef>
          </c:tx>
          <c:spPr>
            <a:ln w="28575" cap="rnd">
              <a:solidFill>
                <a:schemeClr val="accent1"/>
              </a:solidFill>
              <a:round/>
            </a:ln>
            <a:effectLst/>
          </c:spPr>
          <c:marker>
            <c:symbol val="none"/>
          </c:marker>
          <c:cat>
            <c:numRef>
              <c:f>'FAOSTAT_data_6-4-2019 (1)'!$J$2:$J$12</c:f>
              <c:numCache>
                <c:formatCode>General</c:formatCode>
                <c:ptCount val="11"/>
                <c:pt idx="0">
                  <c:v>2007</c:v>
                </c:pt>
                <c:pt idx="1">
                  <c:v>2008</c:v>
                </c:pt>
                <c:pt idx="2">
                  <c:v>2009</c:v>
                </c:pt>
                <c:pt idx="3">
                  <c:v>2010</c:v>
                </c:pt>
                <c:pt idx="4">
                  <c:v>2011</c:v>
                </c:pt>
                <c:pt idx="5">
                  <c:v>2012</c:v>
                </c:pt>
                <c:pt idx="6">
                  <c:v>2013</c:v>
                </c:pt>
                <c:pt idx="7">
                  <c:v>2014</c:v>
                </c:pt>
                <c:pt idx="8">
                  <c:v>2015</c:v>
                </c:pt>
                <c:pt idx="9">
                  <c:v>2016</c:v>
                </c:pt>
                <c:pt idx="10">
                  <c:v>2017</c:v>
                </c:pt>
              </c:numCache>
            </c:numRef>
          </c:cat>
          <c:val>
            <c:numRef>
              <c:f>'FAOSTAT_data_6-4-2019 (1)'!$K$2:$K$12</c:f>
              <c:numCache>
                <c:formatCode>0.0</c:formatCode>
                <c:ptCount val="11"/>
                <c:pt idx="0">
                  <c:v>1.2466000000000002</c:v>
                </c:pt>
                <c:pt idx="1">
                  <c:v>1.3728</c:v>
                </c:pt>
                <c:pt idx="2">
                  <c:v>1.5503</c:v>
                </c:pt>
                <c:pt idx="3">
                  <c:v>1.6276000000000002</c:v>
                </c:pt>
                <c:pt idx="4">
                  <c:v>1.6721000000000001</c:v>
                </c:pt>
                <c:pt idx="5">
                  <c:v>1.7489000000000001</c:v>
                </c:pt>
                <c:pt idx="6">
                  <c:v>1.8718000000000001</c:v>
                </c:pt>
                <c:pt idx="7">
                  <c:v>1.9653</c:v>
                </c:pt>
                <c:pt idx="8">
                  <c:v>2.1672000000000002</c:v>
                </c:pt>
                <c:pt idx="9">
                  <c:v>2.1109</c:v>
                </c:pt>
                <c:pt idx="10">
                  <c:v>2.1273</c:v>
                </c:pt>
              </c:numCache>
            </c:numRef>
          </c:val>
          <c:smooth val="0"/>
          <c:extLst>
            <c:ext xmlns:c16="http://schemas.microsoft.com/office/drawing/2014/chart" uri="{C3380CC4-5D6E-409C-BE32-E72D297353CC}">
              <c16:uniqueId val="{00000000-8B4F-4CD8-8A57-600730FCF340}"/>
            </c:ext>
          </c:extLst>
        </c:ser>
        <c:ser>
          <c:idx val="1"/>
          <c:order val="1"/>
          <c:tx>
            <c:strRef>
              <c:f>'FAOSTAT_data_6-4-2019 (1)'!$L$1</c:f>
              <c:strCache>
                <c:ptCount val="1"/>
                <c:pt idx="0">
                  <c:v>Maize</c:v>
                </c:pt>
              </c:strCache>
            </c:strRef>
          </c:tx>
          <c:spPr>
            <a:ln w="28575" cap="rnd">
              <a:solidFill>
                <a:schemeClr val="accent2"/>
              </a:solidFill>
              <a:round/>
            </a:ln>
            <a:effectLst/>
          </c:spPr>
          <c:marker>
            <c:symbol val="none"/>
          </c:marker>
          <c:cat>
            <c:numRef>
              <c:f>'FAOSTAT_data_6-4-2019 (1)'!$J$2:$J$12</c:f>
              <c:numCache>
                <c:formatCode>General</c:formatCode>
                <c:ptCount val="11"/>
                <c:pt idx="0">
                  <c:v>2007</c:v>
                </c:pt>
                <c:pt idx="1">
                  <c:v>2008</c:v>
                </c:pt>
                <c:pt idx="2">
                  <c:v>2009</c:v>
                </c:pt>
                <c:pt idx="3">
                  <c:v>2010</c:v>
                </c:pt>
                <c:pt idx="4">
                  <c:v>2011</c:v>
                </c:pt>
                <c:pt idx="5">
                  <c:v>2012</c:v>
                </c:pt>
                <c:pt idx="6">
                  <c:v>2013</c:v>
                </c:pt>
                <c:pt idx="7">
                  <c:v>2014</c:v>
                </c:pt>
                <c:pt idx="8">
                  <c:v>2015</c:v>
                </c:pt>
                <c:pt idx="9">
                  <c:v>2016</c:v>
                </c:pt>
                <c:pt idx="10">
                  <c:v>2017</c:v>
                </c:pt>
              </c:numCache>
            </c:numRef>
          </c:cat>
          <c:val>
            <c:numRef>
              <c:f>'FAOSTAT_data_6-4-2019 (1)'!$L$2:$L$12</c:f>
              <c:numCache>
                <c:formatCode>0.0</c:formatCode>
                <c:ptCount val="11"/>
                <c:pt idx="0">
                  <c:v>1.9692000000000001</c:v>
                </c:pt>
                <c:pt idx="1">
                  <c:v>2.1367000000000003</c:v>
                </c:pt>
                <c:pt idx="2">
                  <c:v>2.1990000000000003</c:v>
                </c:pt>
                <c:pt idx="3">
                  <c:v>2.5398000000000001</c:v>
                </c:pt>
                <c:pt idx="4">
                  <c:v>2.9539</c:v>
                </c:pt>
                <c:pt idx="5">
                  <c:v>3.0592000000000001</c:v>
                </c:pt>
                <c:pt idx="6">
                  <c:v>3.2542</c:v>
                </c:pt>
                <c:pt idx="7">
                  <c:v>3.4210000000000003</c:v>
                </c:pt>
                <c:pt idx="8">
                  <c:v>3.7331000000000003</c:v>
                </c:pt>
                <c:pt idx="9">
                  <c:v>3.6745000000000001</c:v>
                </c:pt>
                <c:pt idx="10">
                  <c:v>3.7344000000000004</c:v>
                </c:pt>
              </c:numCache>
            </c:numRef>
          </c:val>
          <c:smooth val="0"/>
          <c:extLst>
            <c:ext xmlns:c16="http://schemas.microsoft.com/office/drawing/2014/chart" uri="{C3380CC4-5D6E-409C-BE32-E72D297353CC}">
              <c16:uniqueId val="{00000001-8B4F-4CD8-8A57-600730FCF340}"/>
            </c:ext>
          </c:extLst>
        </c:ser>
        <c:ser>
          <c:idx val="2"/>
          <c:order val="2"/>
          <c:tx>
            <c:strRef>
              <c:f>'FAOSTAT_data_6-4-2019 (1)'!$M$1</c:f>
              <c:strCache>
                <c:ptCount val="1"/>
                <c:pt idx="0">
                  <c:v>sorghum</c:v>
                </c:pt>
              </c:strCache>
            </c:strRef>
          </c:tx>
          <c:spPr>
            <a:ln w="28575" cap="rnd">
              <a:solidFill>
                <a:schemeClr val="accent3"/>
              </a:solidFill>
              <a:round/>
            </a:ln>
            <a:effectLst/>
          </c:spPr>
          <c:marker>
            <c:symbol val="none"/>
          </c:marker>
          <c:cat>
            <c:numRef>
              <c:f>'FAOSTAT_data_6-4-2019 (1)'!$J$2:$J$12</c:f>
              <c:numCache>
                <c:formatCode>General</c:formatCode>
                <c:ptCount val="11"/>
                <c:pt idx="0">
                  <c:v>2007</c:v>
                </c:pt>
                <c:pt idx="1">
                  <c:v>2008</c:v>
                </c:pt>
                <c:pt idx="2">
                  <c:v>2009</c:v>
                </c:pt>
                <c:pt idx="3">
                  <c:v>2010</c:v>
                </c:pt>
                <c:pt idx="4">
                  <c:v>2011</c:v>
                </c:pt>
                <c:pt idx="5">
                  <c:v>2012</c:v>
                </c:pt>
                <c:pt idx="6">
                  <c:v>2013</c:v>
                </c:pt>
                <c:pt idx="7">
                  <c:v>2014</c:v>
                </c:pt>
                <c:pt idx="8">
                  <c:v>2015</c:v>
                </c:pt>
                <c:pt idx="9">
                  <c:v>2016</c:v>
                </c:pt>
                <c:pt idx="10">
                  <c:v>2017</c:v>
                </c:pt>
              </c:numCache>
            </c:numRef>
          </c:cat>
          <c:val>
            <c:numRef>
              <c:f>'FAOSTAT_data_6-4-2019 (1)'!$M$2:$M$12</c:f>
              <c:numCache>
                <c:formatCode>0.0</c:formatCode>
                <c:ptCount val="11"/>
                <c:pt idx="0">
                  <c:v>1.5817000000000001</c:v>
                </c:pt>
                <c:pt idx="1">
                  <c:v>1.734</c:v>
                </c:pt>
                <c:pt idx="2">
                  <c:v>1.8356000000000001</c:v>
                </c:pt>
                <c:pt idx="3">
                  <c:v>2.0866000000000002</c:v>
                </c:pt>
                <c:pt idx="4">
                  <c:v>2.0540000000000003</c:v>
                </c:pt>
                <c:pt idx="5">
                  <c:v>2.1059000000000001</c:v>
                </c:pt>
                <c:pt idx="6">
                  <c:v>2.2825000000000002</c:v>
                </c:pt>
                <c:pt idx="7">
                  <c:v>2.3651</c:v>
                </c:pt>
                <c:pt idx="8">
                  <c:v>2.5695000000000001</c:v>
                </c:pt>
                <c:pt idx="9">
                  <c:v>2.5251000000000001</c:v>
                </c:pt>
                <c:pt idx="10">
                  <c:v>2.6171000000000002</c:v>
                </c:pt>
              </c:numCache>
            </c:numRef>
          </c:val>
          <c:smooth val="0"/>
          <c:extLst>
            <c:ext xmlns:c16="http://schemas.microsoft.com/office/drawing/2014/chart" uri="{C3380CC4-5D6E-409C-BE32-E72D297353CC}">
              <c16:uniqueId val="{00000002-8B4F-4CD8-8A57-600730FCF340}"/>
            </c:ext>
          </c:extLst>
        </c:ser>
        <c:ser>
          <c:idx val="3"/>
          <c:order val="3"/>
          <c:tx>
            <c:strRef>
              <c:f>'FAOSTAT_data_6-4-2019 (1)'!$N$1</c:f>
              <c:strCache>
                <c:ptCount val="1"/>
                <c:pt idx="0">
                  <c:v>wheat </c:v>
                </c:pt>
              </c:strCache>
            </c:strRef>
          </c:tx>
          <c:spPr>
            <a:ln w="28575" cap="rnd">
              <a:solidFill>
                <a:schemeClr val="accent4"/>
              </a:solidFill>
              <a:round/>
            </a:ln>
            <a:effectLst/>
          </c:spPr>
          <c:marker>
            <c:symbol val="none"/>
          </c:marker>
          <c:cat>
            <c:numRef>
              <c:f>'FAOSTAT_data_6-4-2019 (1)'!$J$2:$J$12</c:f>
              <c:numCache>
                <c:formatCode>General</c:formatCode>
                <c:ptCount val="11"/>
                <c:pt idx="0">
                  <c:v>2007</c:v>
                </c:pt>
                <c:pt idx="1">
                  <c:v>2008</c:v>
                </c:pt>
                <c:pt idx="2">
                  <c:v>2009</c:v>
                </c:pt>
                <c:pt idx="3">
                  <c:v>2010</c:v>
                </c:pt>
                <c:pt idx="4">
                  <c:v>2011</c:v>
                </c:pt>
                <c:pt idx="5">
                  <c:v>2012</c:v>
                </c:pt>
                <c:pt idx="6">
                  <c:v>2013</c:v>
                </c:pt>
                <c:pt idx="7">
                  <c:v>2014</c:v>
                </c:pt>
                <c:pt idx="8">
                  <c:v>2015</c:v>
                </c:pt>
                <c:pt idx="9">
                  <c:v>2016</c:v>
                </c:pt>
                <c:pt idx="10">
                  <c:v>2017</c:v>
                </c:pt>
              </c:numCache>
            </c:numRef>
          </c:cat>
          <c:val>
            <c:numRef>
              <c:f>'FAOSTAT_data_6-4-2019 (1)'!$N$2:$N$12</c:f>
              <c:numCache>
                <c:formatCode>0.0</c:formatCode>
                <c:ptCount val="11"/>
                <c:pt idx="0">
                  <c:v>1.6711</c:v>
                </c:pt>
                <c:pt idx="1">
                  <c:v>1.6245000000000001</c:v>
                </c:pt>
                <c:pt idx="2">
                  <c:v>1.8269000000000002</c:v>
                </c:pt>
                <c:pt idx="3">
                  <c:v>1.8385</c:v>
                </c:pt>
                <c:pt idx="4">
                  <c:v>2.0287999999999999</c:v>
                </c:pt>
                <c:pt idx="5">
                  <c:v>2.1102000000000003</c:v>
                </c:pt>
                <c:pt idx="6">
                  <c:v>2.4446000000000003</c:v>
                </c:pt>
                <c:pt idx="7">
                  <c:v>2.5433000000000003</c:v>
                </c:pt>
                <c:pt idx="8">
                  <c:v>2.7941000000000003</c:v>
                </c:pt>
                <c:pt idx="9">
                  <c:v>2.6755</c:v>
                </c:pt>
                <c:pt idx="10">
                  <c:v>2.8126000000000002</c:v>
                </c:pt>
              </c:numCache>
            </c:numRef>
          </c:val>
          <c:smooth val="0"/>
          <c:extLst>
            <c:ext xmlns:c16="http://schemas.microsoft.com/office/drawing/2014/chart" uri="{C3380CC4-5D6E-409C-BE32-E72D297353CC}">
              <c16:uniqueId val="{00000003-8B4F-4CD8-8A57-600730FCF340}"/>
            </c:ext>
          </c:extLst>
        </c:ser>
        <c:dLbls>
          <c:showLegendKey val="0"/>
          <c:showVal val="0"/>
          <c:showCatName val="0"/>
          <c:showSerName val="0"/>
          <c:showPercent val="0"/>
          <c:showBubbleSize val="0"/>
        </c:dLbls>
        <c:smooth val="0"/>
        <c:axId val="987336975"/>
        <c:axId val="1118394207"/>
      </c:lineChart>
      <c:catAx>
        <c:axId val="98733697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18394207"/>
        <c:crosses val="autoZero"/>
        <c:auto val="1"/>
        <c:lblAlgn val="ctr"/>
        <c:lblOffset val="100"/>
        <c:noMultiLvlLbl val="0"/>
      </c:catAx>
      <c:valAx>
        <c:axId val="1118394207"/>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r>
                  <a:rPr lang="en-US" sz="1050"/>
                  <a:t>Yield, MT/ha</a:t>
                </a:r>
              </a:p>
            </c:rich>
          </c:tx>
          <c:layout/>
          <c:overlay val="0"/>
          <c:spPr>
            <a:noFill/>
            <a:ln>
              <a:noFill/>
            </a:ln>
            <a:effectLst/>
          </c:spPr>
          <c:txPr>
            <a:bodyPr rot="-54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987336975"/>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en-US" sz="1100"/>
              <a:t>National average yield, teff (2008-2016) </a:t>
            </a:r>
          </a:p>
        </c:rich>
      </c:tx>
      <c:layout/>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spPr>
            <a:ln w="28575" cap="rnd">
              <a:solidFill>
                <a:schemeClr val="accent1"/>
              </a:solidFill>
              <a:round/>
            </a:ln>
            <a:effectLst/>
          </c:spPr>
          <c:marker>
            <c:symbol val="none"/>
          </c:marker>
          <c:cat>
            <c:strRef>
              <c:f>'FAOSTAT_data_6-4-2019 (1)'!$I$27:$I$34</c:f>
              <c:strCache>
                <c:ptCount val="8"/>
                <c:pt idx="0">
                  <c:v>2008/09</c:v>
                </c:pt>
                <c:pt idx="1">
                  <c:v>2009/10</c:v>
                </c:pt>
                <c:pt idx="2">
                  <c:v>2010/11</c:v>
                </c:pt>
                <c:pt idx="3">
                  <c:v>2011/12</c:v>
                </c:pt>
                <c:pt idx="4">
                  <c:v>2012/13</c:v>
                </c:pt>
                <c:pt idx="5">
                  <c:v>2013/14</c:v>
                </c:pt>
                <c:pt idx="6">
                  <c:v>2014/15</c:v>
                </c:pt>
                <c:pt idx="7">
                  <c:v>2015/16</c:v>
                </c:pt>
              </c:strCache>
            </c:strRef>
          </c:cat>
          <c:val>
            <c:numRef>
              <c:f>'FAOSTAT_data_6-4-2019 (1)'!$L$27:$L$34</c:f>
              <c:numCache>
                <c:formatCode>General</c:formatCode>
                <c:ptCount val="8"/>
                <c:pt idx="0">
                  <c:v>1.22</c:v>
                </c:pt>
                <c:pt idx="1">
                  <c:v>1.228</c:v>
                </c:pt>
                <c:pt idx="2">
                  <c:v>1.262</c:v>
                </c:pt>
                <c:pt idx="3">
                  <c:v>1.2810000000000001</c:v>
                </c:pt>
                <c:pt idx="4">
                  <c:v>1.379</c:v>
                </c:pt>
                <c:pt idx="5">
                  <c:v>1.4650000000000001</c:v>
                </c:pt>
                <c:pt idx="6">
                  <c:v>1.5750000000000002</c:v>
                </c:pt>
                <c:pt idx="7">
                  <c:v>1.56</c:v>
                </c:pt>
              </c:numCache>
            </c:numRef>
          </c:val>
          <c:smooth val="0"/>
          <c:extLst>
            <c:ext xmlns:c16="http://schemas.microsoft.com/office/drawing/2014/chart" uri="{C3380CC4-5D6E-409C-BE32-E72D297353CC}">
              <c16:uniqueId val="{00000000-D87D-446E-B610-B43526DF321B}"/>
            </c:ext>
          </c:extLst>
        </c:ser>
        <c:dLbls>
          <c:showLegendKey val="0"/>
          <c:showVal val="0"/>
          <c:showCatName val="0"/>
          <c:showSerName val="0"/>
          <c:showPercent val="0"/>
          <c:showBubbleSize val="0"/>
        </c:dLbls>
        <c:smooth val="0"/>
        <c:axId val="1183472543"/>
        <c:axId val="1118409599"/>
      </c:lineChart>
      <c:catAx>
        <c:axId val="118347254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1118409599"/>
        <c:crosses val="autoZero"/>
        <c:auto val="1"/>
        <c:lblAlgn val="ctr"/>
        <c:lblOffset val="100"/>
        <c:noMultiLvlLbl val="0"/>
      </c:catAx>
      <c:valAx>
        <c:axId val="111840959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183472543"/>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52.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6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1"/>
            <a:ext cx="3037840" cy="464820"/>
          </a:xfrm>
          <a:prstGeom prst="rect">
            <a:avLst/>
          </a:prstGeom>
          <a:noFill/>
          <a:ln>
            <a:noFill/>
          </a:ln>
        </p:spPr>
        <p:txBody>
          <a:bodyPr spcFirstLastPara="1" wrap="square" lIns="93175" tIns="46575" rIns="93175" bIns="46575" anchor="t" anchorCtr="0"/>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dirty="0"/>
          </a:p>
        </p:txBody>
      </p:sp>
      <p:sp>
        <p:nvSpPr>
          <p:cNvPr id="4" name="Google Shape;4;n"/>
          <p:cNvSpPr txBox="1">
            <a:spLocks noGrp="1"/>
          </p:cNvSpPr>
          <p:nvPr>
            <p:ph type="dt" idx="10"/>
          </p:nvPr>
        </p:nvSpPr>
        <p:spPr>
          <a:xfrm>
            <a:off x="3970939" y="1"/>
            <a:ext cx="3037840" cy="464820"/>
          </a:xfrm>
          <a:prstGeom prst="rect">
            <a:avLst/>
          </a:prstGeom>
          <a:noFill/>
          <a:ln>
            <a:noFill/>
          </a:ln>
        </p:spPr>
        <p:txBody>
          <a:bodyPr spcFirstLastPara="1" wrap="square" lIns="93175" tIns="46575" rIns="93175" bIns="46575" anchor="t" anchorCtr="0"/>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dirty="0"/>
          </a:p>
        </p:txBody>
      </p:sp>
      <p:sp>
        <p:nvSpPr>
          <p:cNvPr id="5" name="Google Shape;5;n"/>
          <p:cNvSpPr>
            <a:spLocks noGrp="1" noRot="1" noChangeAspect="1"/>
          </p:cNvSpPr>
          <p:nvPr>
            <p:ph type="sldImg" idx="3"/>
          </p:nvPr>
        </p:nvSpPr>
        <p:spPr>
          <a:xfrm>
            <a:off x="987425" y="696913"/>
            <a:ext cx="5035550" cy="3486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701041" y="4415790"/>
            <a:ext cx="5608320" cy="4183380"/>
          </a:xfrm>
          <a:prstGeom prst="rect">
            <a:avLst/>
          </a:prstGeom>
          <a:noFill/>
          <a:ln>
            <a:noFill/>
          </a:ln>
        </p:spPr>
        <p:txBody>
          <a:bodyPr spcFirstLastPara="1" wrap="square" lIns="93175" tIns="46575" rIns="93175" bIns="46575" anchor="t" anchorCtr="0"/>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829967"/>
            <a:ext cx="3037840" cy="464820"/>
          </a:xfrm>
          <a:prstGeom prst="rect">
            <a:avLst/>
          </a:prstGeom>
          <a:noFill/>
          <a:ln>
            <a:noFill/>
          </a:ln>
        </p:spPr>
        <p:txBody>
          <a:bodyPr spcFirstLastPara="1" wrap="square" lIns="93175" tIns="46575" rIns="93175" bIns="46575" anchor="b" anchorCtr="0"/>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dirty="0"/>
          </a:p>
        </p:txBody>
      </p:sp>
      <p:sp>
        <p:nvSpPr>
          <p:cNvPr id="8" name="Google Shape;8;n"/>
          <p:cNvSpPr txBox="1">
            <a:spLocks noGrp="1"/>
          </p:cNvSpPr>
          <p:nvPr>
            <p:ph type="sldNum" idx="12"/>
          </p:nvPr>
        </p:nvSpPr>
        <p:spPr>
          <a:xfrm>
            <a:off x="3970939" y="8829967"/>
            <a:ext cx="3037840" cy="464820"/>
          </a:xfrm>
          <a:prstGeom prst="rect">
            <a:avLst/>
          </a:prstGeom>
          <a:noFill/>
          <a:ln>
            <a:noFill/>
          </a:ln>
        </p:spPr>
        <p:txBody>
          <a:bodyPr spcFirstLastPara="1" wrap="square" lIns="93175" tIns="46575" rIns="93175" bIns="46575"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609548250"/>
      </p:ext>
    </p:extLst>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4"/>
        <p:cNvGrpSpPr/>
        <p:nvPr/>
      </p:nvGrpSpPr>
      <p:grpSpPr>
        <a:xfrm>
          <a:off x="0" y="0"/>
          <a:ext cx="0" cy="0"/>
          <a:chOff x="0" y="0"/>
          <a:chExt cx="0" cy="0"/>
        </a:xfrm>
      </p:grpSpPr>
      <p:sp>
        <p:nvSpPr>
          <p:cNvPr id="155" name="Google Shape;155;p1:notes"/>
          <p:cNvSpPr txBox="1">
            <a:spLocks noGrp="1"/>
          </p:cNvSpPr>
          <p:nvPr>
            <p:ph type="body" idx="1"/>
          </p:nvPr>
        </p:nvSpPr>
        <p:spPr>
          <a:xfrm>
            <a:off x="701041" y="4415790"/>
            <a:ext cx="5608320" cy="4183380"/>
          </a:xfrm>
          <a:prstGeom prst="rect">
            <a:avLst/>
          </a:prstGeom>
        </p:spPr>
        <p:txBody>
          <a:bodyPr spcFirstLastPara="1" wrap="square" lIns="93175" tIns="46575" rIns="93175" bIns="46575" anchor="t" anchorCtr="0">
            <a:noAutofit/>
          </a:bodyPr>
          <a:lstStyle/>
          <a:p>
            <a:pPr marL="0" lvl="0" indent="0" algn="l" rtl="0">
              <a:spcBef>
                <a:spcPts val="0"/>
              </a:spcBef>
              <a:spcAft>
                <a:spcPts val="0"/>
              </a:spcAft>
              <a:buNone/>
            </a:pPr>
            <a:endParaRPr dirty="0"/>
          </a:p>
        </p:txBody>
      </p:sp>
      <p:sp>
        <p:nvSpPr>
          <p:cNvPr id="156" name="Google Shape;156;p1:notes"/>
          <p:cNvSpPr>
            <a:spLocks noGrp="1" noRot="1" noChangeAspect="1"/>
          </p:cNvSpPr>
          <p:nvPr>
            <p:ph type="sldImg" idx="2"/>
          </p:nvPr>
        </p:nvSpPr>
        <p:spPr>
          <a:xfrm>
            <a:off x="987425" y="696913"/>
            <a:ext cx="5035550" cy="348615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1000908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2450" y="582613"/>
            <a:ext cx="5910263" cy="40909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2D2EAAD-0662-4A29-8FB2-1DE05A219A4D}" type="slidenum">
              <a:rPr lang="en-US" smtClean="0">
                <a:solidFill>
                  <a:prstClr val="black"/>
                </a:solidFill>
              </a:rPr>
              <a:pPr/>
              <a:t>35</a:t>
            </a:fld>
            <a:endParaRPr lang="en-US" dirty="0">
              <a:solidFill>
                <a:prstClr val="black"/>
              </a:solidFill>
            </a:endParaRPr>
          </a:p>
        </p:txBody>
      </p:sp>
      <p:sp>
        <p:nvSpPr>
          <p:cNvPr id="5" name="Header Placeholder 4"/>
          <p:cNvSpPr>
            <a:spLocks noGrp="1"/>
          </p:cNvSpPr>
          <p:nvPr>
            <p:ph type="hdr" idx="11"/>
          </p:nvPr>
        </p:nvSpPr>
        <p:spPr/>
        <p:txBody>
          <a:bodyPr/>
          <a:lstStyle/>
          <a:p>
            <a:endParaRPr lang="en-US" dirty="0"/>
          </a:p>
        </p:txBody>
      </p:sp>
    </p:spTree>
    <p:extLst>
      <p:ext uri="{BB962C8B-B14F-4D97-AF65-F5344CB8AC3E}">
        <p14:creationId xmlns:p14="http://schemas.microsoft.com/office/powerpoint/2010/main" val="39514401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8"/>
        <p:cNvGrpSpPr/>
        <p:nvPr/>
      </p:nvGrpSpPr>
      <p:grpSpPr>
        <a:xfrm>
          <a:off x="0" y="0"/>
          <a:ext cx="0" cy="0"/>
          <a:chOff x="0" y="0"/>
          <a:chExt cx="0" cy="0"/>
        </a:xfrm>
      </p:grpSpPr>
      <p:sp>
        <p:nvSpPr>
          <p:cNvPr id="539" name="Google Shape;539;p38:notes"/>
          <p:cNvSpPr txBox="1">
            <a:spLocks noGrp="1"/>
          </p:cNvSpPr>
          <p:nvPr>
            <p:ph type="body" idx="1"/>
          </p:nvPr>
        </p:nvSpPr>
        <p:spPr>
          <a:xfrm>
            <a:off x="701041" y="4415790"/>
            <a:ext cx="5608320" cy="4183380"/>
          </a:xfrm>
          <a:prstGeom prst="rect">
            <a:avLst/>
          </a:prstGeom>
        </p:spPr>
        <p:txBody>
          <a:bodyPr spcFirstLastPara="1" wrap="square" lIns="93175" tIns="46575" rIns="93175" bIns="46575" anchor="t" anchorCtr="0">
            <a:noAutofit/>
          </a:bodyPr>
          <a:lstStyle/>
          <a:p>
            <a:pPr marL="0" lvl="0" indent="0" algn="l" rtl="0">
              <a:spcBef>
                <a:spcPts val="0"/>
              </a:spcBef>
              <a:spcAft>
                <a:spcPts val="0"/>
              </a:spcAft>
              <a:buNone/>
            </a:pPr>
            <a:endParaRPr dirty="0"/>
          </a:p>
        </p:txBody>
      </p:sp>
      <p:sp>
        <p:nvSpPr>
          <p:cNvPr id="540" name="Google Shape;540;p38:notes"/>
          <p:cNvSpPr>
            <a:spLocks noGrp="1" noRot="1" noChangeAspect="1"/>
          </p:cNvSpPr>
          <p:nvPr>
            <p:ph type="sldImg" idx="2"/>
          </p:nvPr>
        </p:nvSpPr>
        <p:spPr>
          <a:xfrm>
            <a:off x="987425" y="696913"/>
            <a:ext cx="5035550" cy="348615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677566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8"/>
        <p:cNvGrpSpPr/>
        <p:nvPr/>
      </p:nvGrpSpPr>
      <p:grpSpPr>
        <a:xfrm>
          <a:off x="0" y="0"/>
          <a:ext cx="0" cy="0"/>
          <a:chOff x="0" y="0"/>
          <a:chExt cx="0" cy="0"/>
        </a:xfrm>
      </p:grpSpPr>
      <p:sp>
        <p:nvSpPr>
          <p:cNvPr id="539" name="Google Shape;539;p38:notes"/>
          <p:cNvSpPr txBox="1">
            <a:spLocks noGrp="1"/>
          </p:cNvSpPr>
          <p:nvPr>
            <p:ph type="body" idx="1"/>
          </p:nvPr>
        </p:nvSpPr>
        <p:spPr>
          <a:xfrm>
            <a:off x="701041" y="4415790"/>
            <a:ext cx="5608320" cy="4183380"/>
          </a:xfrm>
          <a:prstGeom prst="rect">
            <a:avLst/>
          </a:prstGeom>
        </p:spPr>
        <p:txBody>
          <a:bodyPr spcFirstLastPara="1" wrap="square" lIns="93175" tIns="46575" rIns="93175" bIns="46575" anchor="t" anchorCtr="0">
            <a:noAutofit/>
          </a:bodyPr>
          <a:lstStyle/>
          <a:p>
            <a:pPr marL="0" lvl="0" indent="0" algn="l" rtl="0">
              <a:spcBef>
                <a:spcPts val="0"/>
              </a:spcBef>
              <a:spcAft>
                <a:spcPts val="0"/>
              </a:spcAft>
              <a:buNone/>
            </a:pPr>
            <a:endParaRPr dirty="0"/>
          </a:p>
        </p:txBody>
      </p:sp>
      <p:sp>
        <p:nvSpPr>
          <p:cNvPr id="540" name="Google Shape;540;p38:notes"/>
          <p:cNvSpPr>
            <a:spLocks noGrp="1" noRot="1" noChangeAspect="1"/>
          </p:cNvSpPr>
          <p:nvPr>
            <p:ph type="sldImg" idx="2"/>
          </p:nvPr>
        </p:nvSpPr>
        <p:spPr>
          <a:xfrm>
            <a:off x="987425" y="696913"/>
            <a:ext cx="5035550" cy="348615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 name="Header Placeholder 1"/>
          <p:cNvSpPr>
            <a:spLocks noGrp="1"/>
          </p:cNvSpPr>
          <p:nvPr>
            <p:ph type="hdr" idx="10"/>
          </p:nvPr>
        </p:nvSpPr>
        <p:spPr/>
        <p:txBody>
          <a:bodyPr/>
          <a:lstStyle/>
          <a:p>
            <a:endParaRPr lang="en-US" dirty="0"/>
          </a:p>
        </p:txBody>
      </p:sp>
    </p:spTree>
    <p:extLst>
      <p:ext uri="{BB962C8B-B14F-4D97-AF65-F5344CB8AC3E}">
        <p14:creationId xmlns:p14="http://schemas.microsoft.com/office/powerpoint/2010/main" val="18463660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44"/>
        <p:cNvGrpSpPr/>
        <p:nvPr/>
      </p:nvGrpSpPr>
      <p:grpSpPr>
        <a:xfrm>
          <a:off x="0" y="0"/>
          <a:ext cx="0" cy="0"/>
          <a:chOff x="0" y="0"/>
          <a:chExt cx="0" cy="0"/>
        </a:xfrm>
      </p:grpSpPr>
      <p:sp>
        <p:nvSpPr>
          <p:cNvPr id="545" name="Google Shape;545;p39:notes"/>
          <p:cNvSpPr txBox="1">
            <a:spLocks noGrp="1"/>
          </p:cNvSpPr>
          <p:nvPr>
            <p:ph type="body" idx="1"/>
          </p:nvPr>
        </p:nvSpPr>
        <p:spPr>
          <a:xfrm>
            <a:off x="701041" y="4415790"/>
            <a:ext cx="5608320" cy="4183380"/>
          </a:xfrm>
          <a:prstGeom prst="rect">
            <a:avLst/>
          </a:prstGeom>
        </p:spPr>
        <p:txBody>
          <a:bodyPr spcFirstLastPara="1" wrap="square" lIns="93175" tIns="46575" rIns="93175" bIns="46575" anchor="t" anchorCtr="0">
            <a:noAutofit/>
          </a:bodyPr>
          <a:lstStyle/>
          <a:p>
            <a:pPr marL="0" lvl="0" indent="0" algn="l" rtl="0">
              <a:spcBef>
                <a:spcPts val="0"/>
              </a:spcBef>
              <a:spcAft>
                <a:spcPts val="0"/>
              </a:spcAft>
              <a:buNone/>
            </a:pPr>
            <a:endParaRPr dirty="0"/>
          </a:p>
        </p:txBody>
      </p:sp>
      <p:sp>
        <p:nvSpPr>
          <p:cNvPr id="546" name="Google Shape;546;p39:notes"/>
          <p:cNvSpPr>
            <a:spLocks noGrp="1" noRot="1" noChangeAspect="1"/>
          </p:cNvSpPr>
          <p:nvPr>
            <p:ph type="sldImg" idx="2"/>
          </p:nvPr>
        </p:nvSpPr>
        <p:spPr>
          <a:xfrm>
            <a:off x="987425" y="696913"/>
            <a:ext cx="5035550" cy="348615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8750506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p:cNvGrpSpPr/>
        <p:nvPr/>
      </p:nvGrpSpPr>
      <p:grpSpPr>
        <a:xfrm>
          <a:off x="0" y="0"/>
          <a:ext cx="0" cy="0"/>
          <a:chOff x="0" y="0"/>
          <a:chExt cx="0" cy="0"/>
        </a:xfrm>
      </p:grpSpPr>
      <p:sp>
        <p:nvSpPr>
          <p:cNvPr id="163" name="Google Shape;163;p2:notes"/>
          <p:cNvSpPr txBox="1">
            <a:spLocks noGrp="1"/>
          </p:cNvSpPr>
          <p:nvPr>
            <p:ph type="body" idx="1"/>
          </p:nvPr>
        </p:nvSpPr>
        <p:spPr>
          <a:xfrm>
            <a:off x="701041" y="4415790"/>
            <a:ext cx="5608320" cy="4183380"/>
          </a:xfrm>
          <a:prstGeom prst="rect">
            <a:avLst/>
          </a:prstGeom>
        </p:spPr>
        <p:txBody>
          <a:bodyPr spcFirstLastPara="1" wrap="square" lIns="93175" tIns="46575" rIns="93175" bIns="46575" anchor="t" anchorCtr="0">
            <a:noAutofit/>
          </a:bodyPr>
          <a:lstStyle/>
          <a:p>
            <a:pPr marL="0" lvl="0" indent="0" algn="l" rtl="0">
              <a:spcBef>
                <a:spcPts val="0"/>
              </a:spcBef>
              <a:spcAft>
                <a:spcPts val="0"/>
              </a:spcAft>
              <a:buNone/>
            </a:pPr>
            <a:endParaRPr dirty="0"/>
          </a:p>
        </p:txBody>
      </p:sp>
      <p:sp>
        <p:nvSpPr>
          <p:cNvPr id="164" name="Google Shape;164;p2:notes"/>
          <p:cNvSpPr>
            <a:spLocks noGrp="1" noRot="1" noChangeAspect="1"/>
          </p:cNvSpPr>
          <p:nvPr>
            <p:ph type="sldImg" idx="2"/>
          </p:nvPr>
        </p:nvSpPr>
        <p:spPr>
          <a:xfrm>
            <a:off x="987425" y="696913"/>
            <a:ext cx="5035550" cy="348615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7705179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0"/>
        <p:cNvGrpSpPr/>
        <p:nvPr/>
      </p:nvGrpSpPr>
      <p:grpSpPr>
        <a:xfrm>
          <a:off x="0" y="0"/>
          <a:ext cx="0" cy="0"/>
          <a:chOff x="0" y="0"/>
          <a:chExt cx="0" cy="0"/>
        </a:xfrm>
      </p:grpSpPr>
      <p:sp>
        <p:nvSpPr>
          <p:cNvPr id="171" name="Google Shape;171;p3:notes"/>
          <p:cNvSpPr txBox="1">
            <a:spLocks noGrp="1"/>
          </p:cNvSpPr>
          <p:nvPr>
            <p:ph type="body" idx="1"/>
          </p:nvPr>
        </p:nvSpPr>
        <p:spPr>
          <a:xfrm>
            <a:off x="701041" y="4415790"/>
            <a:ext cx="5608320" cy="4183380"/>
          </a:xfrm>
          <a:prstGeom prst="rect">
            <a:avLst/>
          </a:prstGeom>
        </p:spPr>
        <p:txBody>
          <a:bodyPr spcFirstLastPara="1" wrap="square" lIns="93175" tIns="46575" rIns="93175" bIns="46575" anchor="t" anchorCtr="0">
            <a:noAutofit/>
          </a:bodyPr>
          <a:lstStyle/>
          <a:p>
            <a:pPr marL="0" lvl="0" indent="0" algn="l" rtl="0">
              <a:spcBef>
                <a:spcPts val="0"/>
              </a:spcBef>
              <a:spcAft>
                <a:spcPts val="0"/>
              </a:spcAft>
              <a:buNone/>
            </a:pPr>
            <a:endParaRPr dirty="0"/>
          </a:p>
        </p:txBody>
      </p:sp>
      <p:sp>
        <p:nvSpPr>
          <p:cNvPr id="172" name="Google Shape;172;p3:notes"/>
          <p:cNvSpPr>
            <a:spLocks noGrp="1" noRot="1" noChangeAspect="1"/>
          </p:cNvSpPr>
          <p:nvPr>
            <p:ph type="sldImg" idx="2"/>
          </p:nvPr>
        </p:nvSpPr>
        <p:spPr>
          <a:xfrm>
            <a:off x="987425" y="696913"/>
            <a:ext cx="5035550" cy="348615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020652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p:cNvGrpSpPr/>
        <p:nvPr/>
      </p:nvGrpSpPr>
      <p:grpSpPr>
        <a:xfrm>
          <a:off x="0" y="0"/>
          <a:ext cx="0" cy="0"/>
          <a:chOff x="0" y="0"/>
          <a:chExt cx="0" cy="0"/>
        </a:xfrm>
      </p:grpSpPr>
      <p:sp>
        <p:nvSpPr>
          <p:cNvPr id="248" name="Google Shape;248;p14:notes"/>
          <p:cNvSpPr txBox="1">
            <a:spLocks noGrp="1"/>
          </p:cNvSpPr>
          <p:nvPr>
            <p:ph type="body" idx="1"/>
          </p:nvPr>
        </p:nvSpPr>
        <p:spPr>
          <a:xfrm>
            <a:off x="701041" y="4415790"/>
            <a:ext cx="5608320" cy="4183380"/>
          </a:xfrm>
          <a:prstGeom prst="rect">
            <a:avLst/>
          </a:prstGeom>
        </p:spPr>
        <p:txBody>
          <a:bodyPr spcFirstLastPara="1" wrap="square" lIns="93175" tIns="46575" rIns="93175" bIns="46575" anchor="t" anchorCtr="0">
            <a:noAutofit/>
          </a:bodyPr>
          <a:lstStyle/>
          <a:p>
            <a:pPr marL="0" lvl="0" indent="0" algn="l" rtl="0">
              <a:spcBef>
                <a:spcPts val="0"/>
              </a:spcBef>
              <a:spcAft>
                <a:spcPts val="0"/>
              </a:spcAft>
              <a:buNone/>
            </a:pPr>
            <a:endParaRPr dirty="0"/>
          </a:p>
        </p:txBody>
      </p:sp>
      <p:sp>
        <p:nvSpPr>
          <p:cNvPr id="249" name="Google Shape;249;p14:notes"/>
          <p:cNvSpPr>
            <a:spLocks noGrp="1" noRot="1" noChangeAspect="1"/>
          </p:cNvSpPr>
          <p:nvPr>
            <p:ph type="sldImg" idx="2"/>
          </p:nvPr>
        </p:nvSpPr>
        <p:spPr>
          <a:xfrm>
            <a:off x="987425" y="696913"/>
            <a:ext cx="5035550" cy="348615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5940692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p:cNvGrpSpPr/>
        <p:nvPr/>
      </p:nvGrpSpPr>
      <p:grpSpPr>
        <a:xfrm>
          <a:off x="0" y="0"/>
          <a:ext cx="0" cy="0"/>
          <a:chOff x="0" y="0"/>
          <a:chExt cx="0" cy="0"/>
        </a:xfrm>
      </p:grpSpPr>
      <p:sp>
        <p:nvSpPr>
          <p:cNvPr id="248" name="Google Shape;248;p14:notes"/>
          <p:cNvSpPr txBox="1">
            <a:spLocks noGrp="1"/>
          </p:cNvSpPr>
          <p:nvPr>
            <p:ph type="body" idx="1"/>
          </p:nvPr>
        </p:nvSpPr>
        <p:spPr>
          <a:xfrm>
            <a:off x="701041" y="4415790"/>
            <a:ext cx="5608320" cy="4183380"/>
          </a:xfrm>
          <a:prstGeom prst="rect">
            <a:avLst/>
          </a:prstGeom>
        </p:spPr>
        <p:txBody>
          <a:bodyPr spcFirstLastPara="1" wrap="square" lIns="93175" tIns="46575" rIns="93175" bIns="46575" anchor="t" anchorCtr="0">
            <a:noAutofit/>
          </a:bodyPr>
          <a:lstStyle/>
          <a:p>
            <a:pPr marL="0" lvl="0" indent="0" algn="l" rtl="0">
              <a:spcBef>
                <a:spcPts val="0"/>
              </a:spcBef>
              <a:spcAft>
                <a:spcPts val="0"/>
              </a:spcAft>
              <a:buNone/>
            </a:pPr>
            <a:endParaRPr dirty="0"/>
          </a:p>
        </p:txBody>
      </p:sp>
      <p:sp>
        <p:nvSpPr>
          <p:cNvPr id="249" name="Google Shape;249;p14:notes"/>
          <p:cNvSpPr>
            <a:spLocks noGrp="1" noRot="1" noChangeAspect="1"/>
          </p:cNvSpPr>
          <p:nvPr>
            <p:ph type="sldImg" idx="2"/>
          </p:nvPr>
        </p:nvSpPr>
        <p:spPr>
          <a:xfrm>
            <a:off x="987425" y="696913"/>
            <a:ext cx="5035550" cy="348615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 name="Header Placeholder 1"/>
          <p:cNvSpPr>
            <a:spLocks noGrp="1"/>
          </p:cNvSpPr>
          <p:nvPr>
            <p:ph type="hdr" idx="10"/>
          </p:nvPr>
        </p:nvSpPr>
        <p:spPr/>
        <p:txBody>
          <a:bodyPr/>
          <a:lstStyle/>
          <a:p>
            <a:endParaRPr lang="en-US" dirty="0"/>
          </a:p>
        </p:txBody>
      </p:sp>
    </p:spTree>
    <p:extLst>
      <p:ext uri="{BB962C8B-B14F-4D97-AF65-F5344CB8AC3E}">
        <p14:creationId xmlns:p14="http://schemas.microsoft.com/office/powerpoint/2010/main" val="8466218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p:cNvGrpSpPr/>
        <p:nvPr/>
      </p:nvGrpSpPr>
      <p:grpSpPr>
        <a:xfrm>
          <a:off x="0" y="0"/>
          <a:ext cx="0" cy="0"/>
          <a:chOff x="0" y="0"/>
          <a:chExt cx="0" cy="0"/>
        </a:xfrm>
      </p:grpSpPr>
      <p:sp>
        <p:nvSpPr>
          <p:cNvPr id="248" name="Google Shape;248;p14:notes"/>
          <p:cNvSpPr txBox="1">
            <a:spLocks noGrp="1"/>
          </p:cNvSpPr>
          <p:nvPr>
            <p:ph type="body" idx="1"/>
          </p:nvPr>
        </p:nvSpPr>
        <p:spPr>
          <a:xfrm>
            <a:off x="701041" y="4415790"/>
            <a:ext cx="5608320" cy="4183380"/>
          </a:xfrm>
          <a:prstGeom prst="rect">
            <a:avLst/>
          </a:prstGeom>
        </p:spPr>
        <p:txBody>
          <a:bodyPr spcFirstLastPara="1" wrap="square" lIns="93175" tIns="46575" rIns="93175" bIns="46575" anchor="t" anchorCtr="0">
            <a:noAutofit/>
          </a:bodyPr>
          <a:lstStyle/>
          <a:p>
            <a:pPr marL="0" lvl="0" indent="0" algn="l" rtl="0">
              <a:spcBef>
                <a:spcPts val="0"/>
              </a:spcBef>
              <a:spcAft>
                <a:spcPts val="0"/>
              </a:spcAft>
              <a:buNone/>
            </a:pPr>
            <a:endParaRPr dirty="0"/>
          </a:p>
        </p:txBody>
      </p:sp>
      <p:sp>
        <p:nvSpPr>
          <p:cNvPr id="249" name="Google Shape;249;p14:notes"/>
          <p:cNvSpPr>
            <a:spLocks noGrp="1" noRot="1" noChangeAspect="1"/>
          </p:cNvSpPr>
          <p:nvPr>
            <p:ph type="sldImg" idx="2"/>
          </p:nvPr>
        </p:nvSpPr>
        <p:spPr>
          <a:xfrm>
            <a:off x="987425" y="696913"/>
            <a:ext cx="5035550" cy="348615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728177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p:cNvGrpSpPr/>
        <p:nvPr/>
      </p:nvGrpSpPr>
      <p:grpSpPr>
        <a:xfrm>
          <a:off x="0" y="0"/>
          <a:ext cx="0" cy="0"/>
          <a:chOff x="0" y="0"/>
          <a:chExt cx="0" cy="0"/>
        </a:xfrm>
      </p:grpSpPr>
      <p:sp>
        <p:nvSpPr>
          <p:cNvPr id="248" name="Google Shape;248;p14:notes"/>
          <p:cNvSpPr txBox="1">
            <a:spLocks noGrp="1"/>
          </p:cNvSpPr>
          <p:nvPr>
            <p:ph type="body" idx="1"/>
          </p:nvPr>
        </p:nvSpPr>
        <p:spPr>
          <a:xfrm>
            <a:off x="701041" y="4415790"/>
            <a:ext cx="5608320" cy="4183380"/>
          </a:xfrm>
          <a:prstGeom prst="rect">
            <a:avLst/>
          </a:prstGeom>
        </p:spPr>
        <p:txBody>
          <a:bodyPr spcFirstLastPara="1" wrap="square" lIns="93175" tIns="46575" rIns="93175" bIns="46575" anchor="t" anchorCtr="0">
            <a:noAutofit/>
          </a:bodyPr>
          <a:lstStyle/>
          <a:p>
            <a:pPr marL="0" lvl="0" indent="0" algn="l" rtl="0">
              <a:spcBef>
                <a:spcPts val="0"/>
              </a:spcBef>
              <a:spcAft>
                <a:spcPts val="0"/>
              </a:spcAft>
              <a:buNone/>
            </a:pPr>
            <a:endParaRPr dirty="0"/>
          </a:p>
        </p:txBody>
      </p:sp>
      <p:sp>
        <p:nvSpPr>
          <p:cNvPr id="249" name="Google Shape;249;p14:notes"/>
          <p:cNvSpPr>
            <a:spLocks noGrp="1" noRot="1" noChangeAspect="1"/>
          </p:cNvSpPr>
          <p:nvPr>
            <p:ph type="sldImg" idx="2"/>
          </p:nvPr>
        </p:nvSpPr>
        <p:spPr>
          <a:xfrm>
            <a:off x="987425" y="696913"/>
            <a:ext cx="5035550" cy="348615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1143059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solidFill>
                  <a:srgbClr val="000000"/>
                </a:solidFill>
              </a:rPr>
              <a:pPr>
                <a:defRPr/>
              </a:pPr>
              <a:t>20</a:t>
            </a:fld>
            <a:endParaRPr lang="en-US" dirty="0">
              <a:solidFill>
                <a:srgbClr val="000000"/>
              </a:solidFill>
            </a:endParaRPr>
          </a:p>
        </p:txBody>
      </p:sp>
    </p:spTree>
    <p:extLst>
      <p:ext uri="{BB962C8B-B14F-4D97-AF65-F5344CB8AC3E}">
        <p14:creationId xmlns:p14="http://schemas.microsoft.com/office/powerpoint/2010/main" val="679996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8"/>
        <p:cNvGrpSpPr/>
        <p:nvPr/>
      </p:nvGrpSpPr>
      <p:grpSpPr>
        <a:xfrm>
          <a:off x="0" y="0"/>
          <a:ext cx="0" cy="0"/>
          <a:chOff x="0" y="0"/>
          <a:chExt cx="0" cy="0"/>
        </a:xfrm>
      </p:grpSpPr>
      <p:sp>
        <p:nvSpPr>
          <p:cNvPr id="329" name="Google Shape;329;p22:notes"/>
          <p:cNvSpPr txBox="1">
            <a:spLocks noGrp="1"/>
          </p:cNvSpPr>
          <p:nvPr>
            <p:ph type="body" idx="1"/>
          </p:nvPr>
        </p:nvSpPr>
        <p:spPr>
          <a:xfrm>
            <a:off x="701041" y="4415790"/>
            <a:ext cx="5608320" cy="4183380"/>
          </a:xfrm>
          <a:prstGeom prst="rect">
            <a:avLst/>
          </a:prstGeom>
        </p:spPr>
        <p:txBody>
          <a:bodyPr spcFirstLastPara="1" wrap="square" lIns="93175" tIns="46575" rIns="93175" bIns="46575" anchor="t" anchorCtr="0">
            <a:noAutofit/>
          </a:bodyPr>
          <a:lstStyle/>
          <a:p>
            <a:pPr marL="0" lvl="0" indent="0" algn="l" rtl="0">
              <a:spcBef>
                <a:spcPts val="0"/>
              </a:spcBef>
              <a:spcAft>
                <a:spcPts val="0"/>
              </a:spcAft>
              <a:buNone/>
            </a:pPr>
            <a:endParaRPr dirty="0"/>
          </a:p>
        </p:txBody>
      </p:sp>
      <p:sp>
        <p:nvSpPr>
          <p:cNvPr id="330" name="Google Shape;330;p22:notes"/>
          <p:cNvSpPr>
            <a:spLocks noGrp="1" noRot="1" noChangeAspect="1"/>
          </p:cNvSpPr>
          <p:nvPr>
            <p:ph type="sldImg" idx="2"/>
          </p:nvPr>
        </p:nvSpPr>
        <p:spPr>
          <a:xfrm>
            <a:off x="987425" y="696913"/>
            <a:ext cx="5035550" cy="348615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1990781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319.xml"/><Relationship Id="rId1" Type="http://schemas.openxmlformats.org/officeDocument/2006/relationships/vmlDrawing" Target="../drawings/vmlDrawing90.vml"/><Relationship Id="rId5" Type="http://schemas.openxmlformats.org/officeDocument/2006/relationships/image" Target="../media/image12.emf"/><Relationship Id="rId4" Type="http://schemas.openxmlformats.org/officeDocument/2006/relationships/oleObject" Target="../embeddings/oleObject90.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320.xml"/><Relationship Id="rId1" Type="http://schemas.openxmlformats.org/officeDocument/2006/relationships/vmlDrawing" Target="../drawings/vmlDrawing91.vml"/><Relationship Id="rId5" Type="http://schemas.openxmlformats.org/officeDocument/2006/relationships/image" Target="../media/image12.emf"/><Relationship Id="rId4" Type="http://schemas.openxmlformats.org/officeDocument/2006/relationships/oleObject" Target="../embeddings/oleObject91.bin"/></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2.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12.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17.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4.png"/><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image" Target="../media/image15.png"/><Relationship Id="rId5" Type="http://schemas.openxmlformats.org/officeDocument/2006/relationships/image" Target="../media/image12.emf"/><Relationship Id="rId4" Type="http://schemas.openxmlformats.org/officeDocument/2006/relationships/oleObject" Target="../embeddings/oleObject7.bin"/></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9.vml"/><Relationship Id="rId6" Type="http://schemas.openxmlformats.org/officeDocument/2006/relationships/image" Target="../media/image12.emf"/><Relationship Id="rId5" Type="http://schemas.openxmlformats.org/officeDocument/2006/relationships/oleObject" Target="../embeddings/oleObject9.bin"/><Relationship Id="rId4"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image" Target="../media/image12.emf"/><Relationship Id="rId5" Type="http://schemas.openxmlformats.org/officeDocument/2006/relationships/oleObject" Target="../embeddings/oleObject10.bin"/><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11.vml"/><Relationship Id="rId6" Type="http://schemas.openxmlformats.org/officeDocument/2006/relationships/image" Target="../media/image12.emf"/><Relationship Id="rId5" Type="http://schemas.openxmlformats.org/officeDocument/2006/relationships/oleObject" Target="../embeddings/oleObject11.bin"/><Relationship Id="rId4"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2.vml"/><Relationship Id="rId6" Type="http://schemas.openxmlformats.org/officeDocument/2006/relationships/image" Target="../media/image12.emf"/><Relationship Id="rId5" Type="http://schemas.openxmlformats.org/officeDocument/2006/relationships/oleObject" Target="../embeddings/oleObject12.bin"/><Relationship Id="rId4"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3.vml"/><Relationship Id="rId6" Type="http://schemas.openxmlformats.org/officeDocument/2006/relationships/image" Target="../media/image18.emf"/><Relationship Id="rId5" Type="http://schemas.openxmlformats.org/officeDocument/2006/relationships/oleObject" Target="../embeddings/oleObject13.bin"/><Relationship Id="rId4"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4.vml"/><Relationship Id="rId6" Type="http://schemas.openxmlformats.org/officeDocument/2006/relationships/image" Target="../media/image18.emf"/><Relationship Id="rId5" Type="http://schemas.openxmlformats.org/officeDocument/2006/relationships/oleObject" Target="../embeddings/oleObject14.bin"/><Relationship Id="rId4"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15.vml"/><Relationship Id="rId6" Type="http://schemas.openxmlformats.org/officeDocument/2006/relationships/image" Target="../media/image18.emf"/><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16.vml"/><Relationship Id="rId6" Type="http://schemas.openxmlformats.org/officeDocument/2006/relationships/image" Target="../media/image17.emf"/><Relationship Id="rId5" Type="http://schemas.openxmlformats.org/officeDocument/2006/relationships/oleObject" Target="../embeddings/oleObject16.bin"/><Relationship Id="rId4"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8.vml"/><Relationship Id="rId6" Type="http://schemas.openxmlformats.org/officeDocument/2006/relationships/image" Target="../media/image12.emf"/><Relationship Id="rId5" Type="http://schemas.openxmlformats.org/officeDocument/2006/relationships/oleObject" Target="../embeddings/oleObject18.bin"/><Relationship Id="rId4"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9.vml"/><Relationship Id="rId6" Type="http://schemas.openxmlformats.org/officeDocument/2006/relationships/image" Target="../media/image12.emf"/><Relationship Id="rId5" Type="http://schemas.openxmlformats.org/officeDocument/2006/relationships/oleObject" Target="../embeddings/oleObject19.bin"/><Relationship Id="rId4"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20.vml"/><Relationship Id="rId6" Type="http://schemas.openxmlformats.org/officeDocument/2006/relationships/image" Target="../media/image12.emf"/><Relationship Id="rId5" Type="http://schemas.openxmlformats.org/officeDocument/2006/relationships/oleObject" Target="../embeddings/oleObject20.bin"/><Relationship Id="rId4"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21.vml"/><Relationship Id="rId6" Type="http://schemas.openxmlformats.org/officeDocument/2006/relationships/image" Target="../media/image12.emf"/><Relationship Id="rId5" Type="http://schemas.openxmlformats.org/officeDocument/2006/relationships/oleObject" Target="../embeddings/oleObject21.bin"/><Relationship Id="rId4"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22.vml"/><Relationship Id="rId6" Type="http://schemas.openxmlformats.org/officeDocument/2006/relationships/image" Target="../media/image18.emf"/><Relationship Id="rId5" Type="http://schemas.openxmlformats.org/officeDocument/2006/relationships/oleObject" Target="../embeddings/oleObject22.bin"/><Relationship Id="rId4"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3.vml"/><Relationship Id="rId6" Type="http://schemas.openxmlformats.org/officeDocument/2006/relationships/image" Target="../media/image18.emf"/><Relationship Id="rId5" Type="http://schemas.openxmlformats.org/officeDocument/2006/relationships/oleObject" Target="../embeddings/oleObject23.bin"/><Relationship Id="rId4"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4.vml"/><Relationship Id="rId6" Type="http://schemas.openxmlformats.org/officeDocument/2006/relationships/image" Target="../media/image18.emf"/><Relationship Id="rId5" Type="http://schemas.openxmlformats.org/officeDocument/2006/relationships/oleObject" Target="../embeddings/oleObject24.bin"/><Relationship Id="rId4"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5.vml"/><Relationship Id="rId6" Type="http://schemas.openxmlformats.org/officeDocument/2006/relationships/image" Target="../media/image17.emf"/><Relationship Id="rId5" Type="http://schemas.openxmlformats.org/officeDocument/2006/relationships/oleObject" Target="../embeddings/oleObject25.bin"/><Relationship Id="rId4"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vmlDrawing" Target="../drawings/vmlDrawing27.vml"/><Relationship Id="rId6" Type="http://schemas.openxmlformats.org/officeDocument/2006/relationships/image" Target="../media/image12.emf"/><Relationship Id="rId5" Type="http://schemas.openxmlformats.org/officeDocument/2006/relationships/oleObject" Target="../embeddings/oleObject27.bin"/><Relationship Id="rId4"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vmlDrawing" Target="../drawings/vmlDrawing28.vml"/><Relationship Id="rId6" Type="http://schemas.openxmlformats.org/officeDocument/2006/relationships/image" Target="../media/image12.emf"/><Relationship Id="rId5" Type="http://schemas.openxmlformats.org/officeDocument/2006/relationships/oleObject" Target="../embeddings/oleObject28.bin"/><Relationship Id="rId4"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vmlDrawing" Target="../drawings/vmlDrawing29.vml"/><Relationship Id="rId6" Type="http://schemas.openxmlformats.org/officeDocument/2006/relationships/image" Target="../media/image12.emf"/><Relationship Id="rId5" Type="http://schemas.openxmlformats.org/officeDocument/2006/relationships/oleObject" Target="../embeddings/oleObject29.bin"/><Relationship Id="rId4"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30.vml"/><Relationship Id="rId6" Type="http://schemas.openxmlformats.org/officeDocument/2006/relationships/image" Target="../media/image12.emf"/><Relationship Id="rId5" Type="http://schemas.openxmlformats.org/officeDocument/2006/relationships/oleObject" Target="../embeddings/oleObject30.bin"/><Relationship Id="rId4"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31.vml"/><Relationship Id="rId6" Type="http://schemas.openxmlformats.org/officeDocument/2006/relationships/image" Target="../media/image18.emf"/><Relationship Id="rId5" Type="http://schemas.openxmlformats.org/officeDocument/2006/relationships/oleObject" Target="../embeddings/oleObject31.bin"/><Relationship Id="rId4"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32.vml"/><Relationship Id="rId6" Type="http://schemas.openxmlformats.org/officeDocument/2006/relationships/image" Target="../media/image18.emf"/><Relationship Id="rId5" Type="http://schemas.openxmlformats.org/officeDocument/2006/relationships/oleObject" Target="../embeddings/oleObject32.bin"/><Relationship Id="rId4"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33.vml"/><Relationship Id="rId6" Type="http://schemas.openxmlformats.org/officeDocument/2006/relationships/image" Target="../media/image18.emf"/><Relationship Id="rId5" Type="http://schemas.openxmlformats.org/officeDocument/2006/relationships/oleObject" Target="../embeddings/oleObject33.bin"/><Relationship Id="rId4"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vmlDrawing" Target="../drawings/vmlDrawing34.vml"/><Relationship Id="rId6" Type="http://schemas.openxmlformats.org/officeDocument/2006/relationships/image" Target="../media/image17.emf"/><Relationship Id="rId5" Type="http://schemas.openxmlformats.org/officeDocument/2006/relationships/oleObject" Target="../embeddings/oleObject34.bin"/><Relationship Id="rId4"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vmlDrawing" Target="../drawings/vmlDrawing36.vml"/><Relationship Id="rId6" Type="http://schemas.openxmlformats.org/officeDocument/2006/relationships/image" Target="../media/image12.emf"/><Relationship Id="rId5" Type="http://schemas.openxmlformats.org/officeDocument/2006/relationships/oleObject" Target="../embeddings/oleObject36.bin"/><Relationship Id="rId4"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vmlDrawing" Target="../drawings/vmlDrawing37.vml"/><Relationship Id="rId6" Type="http://schemas.openxmlformats.org/officeDocument/2006/relationships/image" Target="../media/image12.emf"/><Relationship Id="rId5" Type="http://schemas.openxmlformats.org/officeDocument/2006/relationships/oleObject" Target="../embeddings/oleObject37.bin"/><Relationship Id="rId4"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vmlDrawing" Target="../drawings/vmlDrawing38.vml"/><Relationship Id="rId6" Type="http://schemas.openxmlformats.org/officeDocument/2006/relationships/image" Target="../media/image12.emf"/><Relationship Id="rId5" Type="http://schemas.openxmlformats.org/officeDocument/2006/relationships/oleObject" Target="../embeddings/oleObject38.bin"/><Relationship Id="rId4"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vmlDrawing" Target="../drawings/vmlDrawing39.vml"/><Relationship Id="rId6" Type="http://schemas.openxmlformats.org/officeDocument/2006/relationships/image" Target="../media/image12.emf"/><Relationship Id="rId5" Type="http://schemas.openxmlformats.org/officeDocument/2006/relationships/oleObject" Target="../embeddings/oleObject39.bin"/><Relationship Id="rId4"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73.xml"/><Relationship Id="rId2" Type="http://schemas.openxmlformats.org/officeDocument/2006/relationships/tags" Target="../tags/tag72.xml"/><Relationship Id="rId1" Type="http://schemas.openxmlformats.org/officeDocument/2006/relationships/vmlDrawing" Target="../drawings/vmlDrawing40.vml"/><Relationship Id="rId6" Type="http://schemas.openxmlformats.org/officeDocument/2006/relationships/image" Target="../media/image18.emf"/><Relationship Id="rId5" Type="http://schemas.openxmlformats.org/officeDocument/2006/relationships/oleObject" Target="../embeddings/oleObject40.bin"/><Relationship Id="rId4"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75.xml"/><Relationship Id="rId2" Type="http://schemas.openxmlformats.org/officeDocument/2006/relationships/tags" Target="../tags/tag74.xml"/><Relationship Id="rId1" Type="http://schemas.openxmlformats.org/officeDocument/2006/relationships/vmlDrawing" Target="../drawings/vmlDrawing41.vml"/><Relationship Id="rId6" Type="http://schemas.openxmlformats.org/officeDocument/2006/relationships/image" Target="../media/image18.emf"/><Relationship Id="rId5" Type="http://schemas.openxmlformats.org/officeDocument/2006/relationships/oleObject" Target="../embeddings/oleObject41.bin"/><Relationship Id="rId4"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77.xml"/><Relationship Id="rId2" Type="http://schemas.openxmlformats.org/officeDocument/2006/relationships/tags" Target="../tags/tag76.xml"/><Relationship Id="rId1" Type="http://schemas.openxmlformats.org/officeDocument/2006/relationships/vmlDrawing" Target="../drawings/vmlDrawing42.vml"/><Relationship Id="rId6" Type="http://schemas.openxmlformats.org/officeDocument/2006/relationships/image" Target="../media/image18.emf"/><Relationship Id="rId5" Type="http://schemas.openxmlformats.org/officeDocument/2006/relationships/oleObject" Target="../embeddings/oleObject42.bin"/><Relationship Id="rId4"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4.xml"/><Relationship Id="rId1" Type="http://schemas.openxmlformats.org/officeDocument/2006/relationships/vmlDrawing" Target="../drawings/vmlDrawing44.vml"/><Relationship Id="rId6" Type="http://schemas.openxmlformats.org/officeDocument/2006/relationships/image" Target="../media/image22.jpeg"/><Relationship Id="rId5" Type="http://schemas.openxmlformats.org/officeDocument/2006/relationships/image" Target="../media/image21.emf"/><Relationship Id="rId4" Type="http://schemas.openxmlformats.org/officeDocument/2006/relationships/oleObject" Target="../embeddings/oleObject44.bin"/></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96.xml"/><Relationship Id="rId2" Type="http://schemas.openxmlformats.org/officeDocument/2006/relationships/tags" Target="../tags/tag95.xml"/><Relationship Id="rId1" Type="http://schemas.openxmlformats.org/officeDocument/2006/relationships/vmlDrawing" Target="../drawings/vmlDrawing45.vml"/><Relationship Id="rId6" Type="http://schemas.openxmlformats.org/officeDocument/2006/relationships/image" Target="../media/image23.emf"/><Relationship Id="rId5" Type="http://schemas.openxmlformats.org/officeDocument/2006/relationships/oleObject" Target="../embeddings/oleObject45.bin"/><Relationship Id="rId4"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3.xml"/><Relationship Id="rId1" Type="http://schemas.openxmlformats.org/officeDocument/2006/relationships/vmlDrawing" Target="../drawings/vmlDrawing47.vml"/><Relationship Id="rId6" Type="http://schemas.openxmlformats.org/officeDocument/2006/relationships/image" Target="../media/image22.jpeg"/><Relationship Id="rId5" Type="http://schemas.openxmlformats.org/officeDocument/2006/relationships/image" Target="../media/image21.emf"/><Relationship Id="rId4" Type="http://schemas.openxmlformats.org/officeDocument/2006/relationships/oleObject" Target="../embeddings/oleObject47.bin"/></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30.xml"/><Relationship Id="rId1" Type="http://schemas.openxmlformats.org/officeDocument/2006/relationships/vmlDrawing" Target="../drawings/vmlDrawing49.vml"/><Relationship Id="rId6" Type="http://schemas.openxmlformats.org/officeDocument/2006/relationships/image" Target="../media/image22.jpeg"/><Relationship Id="rId5" Type="http://schemas.openxmlformats.org/officeDocument/2006/relationships/image" Target="../media/image21.emf"/><Relationship Id="rId4" Type="http://schemas.openxmlformats.org/officeDocument/2006/relationships/oleObject" Target="../embeddings/oleObject49.bin"/></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132.xml"/><Relationship Id="rId2" Type="http://schemas.openxmlformats.org/officeDocument/2006/relationships/tags" Target="../tags/tag131.xml"/><Relationship Id="rId1" Type="http://schemas.openxmlformats.org/officeDocument/2006/relationships/vmlDrawing" Target="../drawings/vmlDrawing50.vml"/><Relationship Id="rId6" Type="http://schemas.openxmlformats.org/officeDocument/2006/relationships/image" Target="../media/image23.emf"/><Relationship Id="rId5" Type="http://schemas.openxmlformats.org/officeDocument/2006/relationships/oleObject" Target="../embeddings/oleObject50.bin"/><Relationship Id="rId4"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49.xml"/><Relationship Id="rId1" Type="http://schemas.openxmlformats.org/officeDocument/2006/relationships/vmlDrawing" Target="../drawings/vmlDrawing52.vml"/><Relationship Id="rId6" Type="http://schemas.openxmlformats.org/officeDocument/2006/relationships/image" Target="../media/image22.jpeg"/><Relationship Id="rId5" Type="http://schemas.openxmlformats.org/officeDocument/2006/relationships/image" Target="../media/image21.emf"/><Relationship Id="rId4" Type="http://schemas.openxmlformats.org/officeDocument/2006/relationships/oleObject" Target="../embeddings/oleObject52.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151.xml"/><Relationship Id="rId2" Type="http://schemas.openxmlformats.org/officeDocument/2006/relationships/tags" Target="../tags/tag150.xml"/><Relationship Id="rId1" Type="http://schemas.openxmlformats.org/officeDocument/2006/relationships/vmlDrawing" Target="../drawings/vmlDrawing53.vml"/><Relationship Id="rId6" Type="http://schemas.openxmlformats.org/officeDocument/2006/relationships/image" Target="../media/image17.emf"/><Relationship Id="rId5" Type="http://schemas.openxmlformats.org/officeDocument/2006/relationships/oleObject" Target="../embeddings/oleObject53.bin"/><Relationship Id="rId4" Type="http://schemas.openxmlformats.org/officeDocument/2006/relationships/slideMaster" Target="../slideMasters/slideMaster10.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52.xml"/><Relationship Id="rId1" Type="http://schemas.openxmlformats.org/officeDocument/2006/relationships/vmlDrawing" Target="../drawings/vmlDrawing54.vml"/><Relationship Id="rId5" Type="http://schemas.openxmlformats.org/officeDocument/2006/relationships/image" Target="../media/image12.emf"/><Relationship Id="rId4" Type="http://schemas.openxmlformats.org/officeDocument/2006/relationships/oleObject" Target="../embeddings/oleObject54.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53.xml"/><Relationship Id="rId1" Type="http://schemas.openxmlformats.org/officeDocument/2006/relationships/vmlDrawing" Target="../drawings/vmlDrawing55.vml"/><Relationship Id="rId5" Type="http://schemas.openxmlformats.org/officeDocument/2006/relationships/image" Target="../media/image12.emf"/><Relationship Id="rId4" Type="http://schemas.openxmlformats.org/officeDocument/2006/relationships/oleObject" Target="../embeddings/oleObject55.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70.xml"/><Relationship Id="rId1" Type="http://schemas.openxmlformats.org/officeDocument/2006/relationships/vmlDrawing" Target="../drawings/vmlDrawing57.vml"/><Relationship Id="rId6" Type="http://schemas.openxmlformats.org/officeDocument/2006/relationships/image" Target="../media/image22.jpeg"/><Relationship Id="rId5" Type="http://schemas.openxmlformats.org/officeDocument/2006/relationships/image" Target="../media/image21.emf"/><Relationship Id="rId4" Type="http://schemas.openxmlformats.org/officeDocument/2006/relationships/oleObject" Target="../embeddings/oleObject57.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172.xml"/><Relationship Id="rId2" Type="http://schemas.openxmlformats.org/officeDocument/2006/relationships/tags" Target="../tags/tag171.xml"/><Relationship Id="rId1" Type="http://schemas.openxmlformats.org/officeDocument/2006/relationships/vmlDrawing" Target="../drawings/vmlDrawing58.vml"/><Relationship Id="rId6" Type="http://schemas.openxmlformats.org/officeDocument/2006/relationships/image" Target="../media/image12.emf"/><Relationship Id="rId5" Type="http://schemas.openxmlformats.org/officeDocument/2006/relationships/oleObject" Target="../embeddings/oleObject58.bin"/><Relationship Id="rId4" Type="http://schemas.openxmlformats.org/officeDocument/2006/relationships/slideMaster" Target="../slideMasters/slideMaster11.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89.xml"/><Relationship Id="rId1" Type="http://schemas.openxmlformats.org/officeDocument/2006/relationships/vmlDrawing" Target="../drawings/vmlDrawing60.vml"/><Relationship Id="rId6" Type="http://schemas.openxmlformats.org/officeDocument/2006/relationships/image" Target="../media/image22.jpeg"/><Relationship Id="rId5" Type="http://schemas.openxmlformats.org/officeDocument/2006/relationships/image" Target="../media/image21.emf"/><Relationship Id="rId4" Type="http://schemas.openxmlformats.org/officeDocument/2006/relationships/oleObject" Target="../embeddings/oleObject60.bin"/></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191.xml"/><Relationship Id="rId2" Type="http://schemas.openxmlformats.org/officeDocument/2006/relationships/tags" Target="../tags/tag190.xml"/><Relationship Id="rId1" Type="http://schemas.openxmlformats.org/officeDocument/2006/relationships/vmlDrawing" Target="../drawings/vmlDrawing61.vml"/><Relationship Id="rId6" Type="http://schemas.openxmlformats.org/officeDocument/2006/relationships/image" Target="../media/image12.emf"/><Relationship Id="rId5" Type="http://schemas.openxmlformats.org/officeDocument/2006/relationships/oleObject" Target="../embeddings/oleObject61.bin"/><Relationship Id="rId4" Type="http://schemas.openxmlformats.org/officeDocument/2006/relationships/slideMaster" Target="../slideMasters/slideMaster12.xml"/></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08.xml"/><Relationship Id="rId1" Type="http://schemas.openxmlformats.org/officeDocument/2006/relationships/vmlDrawing" Target="../drawings/vmlDrawing63.vml"/><Relationship Id="rId6" Type="http://schemas.openxmlformats.org/officeDocument/2006/relationships/image" Target="../media/image22.jpeg"/><Relationship Id="rId5" Type="http://schemas.openxmlformats.org/officeDocument/2006/relationships/image" Target="../media/image21.emf"/><Relationship Id="rId4" Type="http://schemas.openxmlformats.org/officeDocument/2006/relationships/oleObject" Target="../embeddings/oleObject63.bin"/></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210.xml"/><Relationship Id="rId2" Type="http://schemas.openxmlformats.org/officeDocument/2006/relationships/tags" Target="../tags/tag209.xml"/><Relationship Id="rId1" Type="http://schemas.openxmlformats.org/officeDocument/2006/relationships/vmlDrawing" Target="../drawings/vmlDrawing64.vml"/><Relationship Id="rId6" Type="http://schemas.openxmlformats.org/officeDocument/2006/relationships/image" Target="../media/image17.emf"/><Relationship Id="rId5" Type="http://schemas.openxmlformats.org/officeDocument/2006/relationships/oleObject" Target="../embeddings/oleObject64.bin"/><Relationship Id="rId4" Type="http://schemas.openxmlformats.org/officeDocument/2006/relationships/slideMaster" Target="../slideMasters/slideMaster13.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11.xml"/><Relationship Id="rId1" Type="http://schemas.openxmlformats.org/officeDocument/2006/relationships/vmlDrawing" Target="../drawings/vmlDrawing65.vml"/><Relationship Id="rId5" Type="http://schemas.openxmlformats.org/officeDocument/2006/relationships/image" Target="../media/image12.emf"/><Relationship Id="rId4" Type="http://schemas.openxmlformats.org/officeDocument/2006/relationships/oleObject" Target="../embeddings/oleObject65.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12.xml"/><Relationship Id="rId1" Type="http://schemas.openxmlformats.org/officeDocument/2006/relationships/vmlDrawing" Target="../drawings/vmlDrawing66.vml"/><Relationship Id="rId5" Type="http://schemas.openxmlformats.org/officeDocument/2006/relationships/image" Target="../media/image12.emf"/><Relationship Id="rId4" Type="http://schemas.openxmlformats.org/officeDocument/2006/relationships/oleObject" Target="../embeddings/oleObject66.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230.xml"/><Relationship Id="rId1" Type="http://schemas.openxmlformats.org/officeDocument/2006/relationships/vmlDrawing" Target="../drawings/vmlDrawing68.vml"/><Relationship Id="rId6" Type="http://schemas.openxmlformats.org/officeDocument/2006/relationships/image" Target="../media/image22.jpeg"/><Relationship Id="rId5" Type="http://schemas.openxmlformats.org/officeDocument/2006/relationships/image" Target="../media/image21.emf"/><Relationship Id="rId4" Type="http://schemas.openxmlformats.org/officeDocument/2006/relationships/oleObject" Target="../embeddings/oleObject68.bin"/></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232.xml"/><Relationship Id="rId2" Type="http://schemas.openxmlformats.org/officeDocument/2006/relationships/tags" Target="../tags/tag231.xml"/><Relationship Id="rId1" Type="http://schemas.openxmlformats.org/officeDocument/2006/relationships/vmlDrawing" Target="../drawings/vmlDrawing69.vml"/><Relationship Id="rId6" Type="http://schemas.openxmlformats.org/officeDocument/2006/relationships/image" Target="../media/image17.emf"/><Relationship Id="rId5" Type="http://schemas.openxmlformats.org/officeDocument/2006/relationships/oleObject" Target="../embeddings/oleObject69.bin"/><Relationship Id="rId4" Type="http://schemas.openxmlformats.org/officeDocument/2006/relationships/slideMaster" Target="../slideMasters/slideMaster14.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233.xml"/><Relationship Id="rId1" Type="http://schemas.openxmlformats.org/officeDocument/2006/relationships/vmlDrawing" Target="../drawings/vmlDrawing70.vml"/><Relationship Id="rId5" Type="http://schemas.openxmlformats.org/officeDocument/2006/relationships/image" Target="../media/image12.emf"/><Relationship Id="rId4" Type="http://schemas.openxmlformats.org/officeDocument/2006/relationships/oleObject" Target="../embeddings/oleObject70.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234.xml"/><Relationship Id="rId1" Type="http://schemas.openxmlformats.org/officeDocument/2006/relationships/vmlDrawing" Target="../drawings/vmlDrawing71.vml"/><Relationship Id="rId5" Type="http://schemas.openxmlformats.org/officeDocument/2006/relationships/image" Target="../media/image12.emf"/><Relationship Id="rId4" Type="http://schemas.openxmlformats.org/officeDocument/2006/relationships/oleObject" Target="../embeddings/oleObject71.bin"/></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236.xml"/><Relationship Id="rId2" Type="http://schemas.openxmlformats.org/officeDocument/2006/relationships/tags" Target="../tags/tag235.xml"/><Relationship Id="rId1" Type="http://schemas.openxmlformats.org/officeDocument/2006/relationships/vmlDrawing" Target="../drawings/vmlDrawing72.vml"/><Relationship Id="rId6" Type="http://schemas.openxmlformats.org/officeDocument/2006/relationships/image" Target="../media/image12.emf"/><Relationship Id="rId5" Type="http://schemas.openxmlformats.org/officeDocument/2006/relationships/oleObject" Target="../embeddings/oleObject72.bin"/><Relationship Id="rId4" Type="http://schemas.openxmlformats.org/officeDocument/2006/relationships/slideMaster" Target="../slideMasters/slideMaster14.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253.xml"/><Relationship Id="rId1" Type="http://schemas.openxmlformats.org/officeDocument/2006/relationships/vmlDrawing" Target="../drawings/vmlDrawing74.vml"/><Relationship Id="rId6" Type="http://schemas.openxmlformats.org/officeDocument/2006/relationships/image" Target="../media/image22.jpeg"/><Relationship Id="rId5" Type="http://schemas.openxmlformats.org/officeDocument/2006/relationships/image" Target="../media/image21.emf"/><Relationship Id="rId4" Type="http://schemas.openxmlformats.org/officeDocument/2006/relationships/oleObject" Target="../embeddings/oleObject74.bin"/></Relationships>
</file>

<file path=ppt/slideLayouts/_rels/slideLayout85.xml.rels><?xml version="1.0" encoding="UTF-8" standalone="yes"?>
<Relationships xmlns="http://schemas.openxmlformats.org/package/2006/relationships"><Relationship Id="rId3" Type="http://schemas.openxmlformats.org/officeDocument/2006/relationships/tags" Target="../tags/tag255.xml"/><Relationship Id="rId2" Type="http://schemas.openxmlformats.org/officeDocument/2006/relationships/tags" Target="../tags/tag254.xml"/><Relationship Id="rId1" Type="http://schemas.openxmlformats.org/officeDocument/2006/relationships/vmlDrawing" Target="../drawings/vmlDrawing75.vml"/><Relationship Id="rId6" Type="http://schemas.openxmlformats.org/officeDocument/2006/relationships/image" Target="../media/image17.emf"/><Relationship Id="rId5" Type="http://schemas.openxmlformats.org/officeDocument/2006/relationships/oleObject" Target="../embeddings/oleObject75.bin"/><Relationship Id="rId4" Type="http://schemas.openxmlformats.org/officeDocument/2006/relationships/slideMaster" Target="../slideMasters/slideMaster15.xml"/></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256.xml"/><Relationship Id="rId1" Type="http://schemas.openxmlformats.org/officeDocument/2006/relationships/vmlDrawing" Target="../drawings/vmlDrawing76.vml"/><Relationship Id="rId5" Type="http://schemas.openxmlformats.org/officeDocument/2006/relationships/image" Target="../media/image12.emf"/><Relationship Id="rId4" Type="http://schemas.openxmlformats.org/officeDocument/2006/relationships/oleObject" Target="../embeddings/oleObject76.bin"/></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257.xml"/><Relationship Id="rId1" Type="http://schemas.openxmlformats.org/officeDocument/2006/relationships/vmlDrawing" Target="../drawings/vmlDrawing77.vml"/><Relationship Id="rId5" Type="http://schemas.openxmlformats.org/officeDocument/2006/relationships/image" Target="../media/image12.emf"/><Relationship Id="rId4" Type="http://schemas.openxmlformats.org/officeDocument/2006/relationships/oleObject" Target="../embeddings/oleObject77.bin"/></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259.xml"/><Relationship Id="rId2" Type="http://schemas.openxmlformats.org/officeDocument/2006/relationships/tags" Target="../tags/tag258.xml"/><Relationship Id="rId1" Type="http://schemas.openxmlformats.org/officeDocument/2006/relationships/vmlDrawing" Target="../drawings/vmlDrawing78.vml"/><Relationship Id="rId6" Type="http://schemas.openxmlformats.org/officeDocument/2006/relationships/image" Target="../media/image12.emf"/><Relationship Id="rId5" Type="http://schemas.openxmlformats.org/officeDocument/2006/relationships/oleObject" Target="../embeddings/oleObject78.bin"/><Relationship Id="rId4" Type="http://schemas.openxmlformats.org/officeDocument/2006/relationships/slideMaster" Target="../slideMasters/slideMaster1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76.xml"/><Relationship Id="rId1" Type="http://schemas.openxmlformats.org/officeDocument/2006/relationships/vmlDrawing" Target="../drawings/vmlDrawing80.vml"/><Relationship Id="rId6" Type="http://schemas.openxmlformats.org/officeDocument/2006/relationships/image" Target="../media/image22.jpeg"/><Relationship Id="rId5" Type="http://schemas.openxmlformats.org/officeDocument/2006/relationships/image" Target="../media/image21.emf"/><Relationship Id="rId4" Type="http://schemas.openxmlformats.org/officeDocument/2006/relationships/oleObject" Target="../embeddings/oleObject80.bin"/></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278.xml"/><Relationship Id="rId2" Type="http://schemas.openxmlformats.org/officeDocument/2006/relationships/tags" Target="../tags/tag277.xml"/><Relationship Id="rId1" Type="http://schemas.openxmlformats.org/officeDocument/2006/relationships/vmlDrawing" Target="../drawings/vmlDrawing81.vml"/><Relationship Id="rId6" Type="http://schemas.openxmlformats.org/officeDocument/2006/relationships/image" Target="../media/image17.emf"/><Relationship Id="rId5" Type="http://schemas.openxmlformats.org/officeDocument/2006/relationships/oleObject" Target="../embeddings/oleObject81.bin"/><Relationship Id="rId4" Type="http://schemas.openxmlformats.org/officeDocument/2006/relationships/slideMaster" Target="../slideMasters/slideMaster1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79.xml"/><Relationship Id="rId1" Type="http://schemas.openxmlformats.org/officeDocument/2006/relationships/vmlDrawing" Target="../drawings/vmlDrawing82.vml"/><Relationship Id="rId5" Type="http://schemas.openxmlformats.org/officeDocument/2006/relationships/image" Target="../media/image12.emf"/><Relationship Id="rId4" Type="http://schemas.openxmlformats.org/officeDocument/2006/relationships/oleObject" Target="../embeddings/oleObject82.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296.xml"/><Relationship Id="rId1" Type="http://schemas.openxmlformats.org/officeDocument/2006/relationships/vmlDrawing" Target="../drawings/vmlDrawing84.vml"/><Relationship Id="rId6" Type="http://schemas.openxmlformats.org/officeDocument/2006/relationships/image" Target="../media/image22.jpeg"/><Relationship Id="rId5" Type="http://schemas.openxmlformats.org/officeDocument/2006/relationships/image" Target="../media/image21.emf"/><Relationship Id="rId4" Type="http://schemas.openxmlformats.org/officeDocument/2006/relationships/oleObject" Target="../embeddings/oleObject84.bin"/></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298.xml"/><Relationship Id="rId2" Type="http://schemas.openxmlformats.org/officeDocument/2006/relationships/tags" Target="../tags/tag297.xml"/><Relationship Id="rId1" Type="http://schemas.openxmlformats.org/officeDocument/2006/relationships/vmlDrawing" Target="../drawings/vmlDrawing85.vml"/><Relationship Id="rId6" Type="http://schemas.openxmlformats.org/officeDocument/2006/relationships/image" Target="../media/image17.emf"/><Relationship Id="rId5" Type="http://schemas.openxmlformats.org/officeDocument/2006/relationships/oleObject" Target="../embeddings/oleObject85.bin"/><Relationship Id="rId4" Type="http://schemas.openxmlformats.org/officeDocument/2006/relationships/slideMaster" Target="../slideMasters/slideMaster1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299.xml"/><Relationship Id="rId1" Type="http://schemas.openxmlformats.org/officeDocument/2006/relationships/vmlDrawing" Target="../drawings/vmlDrawing86.vml"/><Relationship Id="rId5" Type="http://schemas.openxmlformats.org/officeDocument/2006/relationships/image" Target="../media/image12.emf"/><Relationship Id="rId4" Type="http://schemas.openxmlformats.org/officeDocument/2006/relationships/oleObject" Target="../embeddings/oleObject86.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316.xml"/><Relationship Id="rId1" Type="http://schemas.openxmlformats.org/officeDocument/2006/relationships/vmlDrawing" Target="../drawings/vmlDrawing88.vml"/><Relationship Id="rId6" Type="http://schemas.openxmlformats.org/officeDocument/2006/relationships/image" Target="../media/image22.jpeg"/><Relationship Id="rId5" Type="http://schemas.openxmlformats.org/officeDocument/2006/relationships/image" Target="../media/image21.emf"/><Relationship Id="rId4" Type="http://schemas.openxmlformats.org/officeDocument/2006/relationships/oleObject" Target="../embeddings/oleObject88.bin"/></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318.xml"/><Relationship Id="rId2" Type="http://schemas.openxmlformats.org/officeDocument/2006/relationships/tags" Target="../tags/tag317.xml"/><Relationship Id="rId1" Type="http://schemas.openxmlformats.org/officeDocument/2006/relationships/vmlDrawing" Target="../drawings/vmlDrawing89.vml"/><Relationship Id="rId6" Type="http://schemas.openxmlformats.org/officeDocument/2006/relationships/image" Target="../media/image17.emf"/><Relationship Id="rId5" Type="http://schemas.openxmlformats.org/officeDocument/2006/relationships/oleObject" Target="../embeddings/oleObject89.bin"/><Relationship Id="rId4" Type="http://schemas.openxmlformats.org/officeDocument/2006/relationships/slideMaster" Target="../slideMasters/slideMaster18.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p:cSld name="Title Slide">
    <p:bg>
      <p:bgPr>
        <a:solidFill>
          <a:srgbClr val="006547"/>
        </a:solidFill>
        <a:effectLst/>
      </p:bgPr>
    </p:bg>
    <p:spTree>
      <p:nvGrpSpPr>
        <p:cNvPr id="1" name="Shape 11"/>
        <p:cNvGrpSpPr/>
        <p:nvPr/>
      </p:nvGrpSpPr>
      <p:grpSpPr>
        <a:xfrm>
          <a:off x="0" y="0"/>
          <a:ext cx="0" cy="0"/>
          <a:chOff x="0" y="0"/>
          <a:chExt cx="0" cy="0"/>
        </a:xfrm>
      </p:grpSpPr>
      <p:pic>
        <p:nvPicPr>
          <p:cNvPr id="12" name="Google Shape;12;p2"/>
          <p:cNvPicPr preferRelativeResize="0"/>
          <p:nvPr/>
        </p:nvPicPr>
        <p:blipFill rotWithShape="1">
          <a:blip r:embed="rId2">
            <a:alphaModFix/>
          </a:blip>
          <a:srcRect/>
          <a:stretch/>
        </p:blipFill>
        <p:spPr>
          <a:xfrm>
            <a:off x="1588" y="1588"/>
            <a:ext cx="1588" cy="1588"/>
          </a:xfrm>
          <a:prstGeom prst="rect">
            <a:avLst/>
          </a:prstGeom>
          <a:noFill/>
          <a:ln>
            <a:noFill/>
          </a:ln>
        </p:spPr>
      </p:pic>
      <p:pic>
        <p:nvPicPr>
          <p:cNvPr id="13" name="Google Shape;13;p2"/>
          <p:cNvPicPr preferRelativeResize="0"/>
          <p:nvPr/>
        </p:nvPicPr>
        <p:blipFill rotWithShape="1">
          <a:blip r:embed="rId3">
            <a:alphaModFix/>
          </a:blip>
          <a:srcRect/>
          <a:stretch/>
        </p:blipFill>
        <p:spPr>
          <a:xfrm>
            <a:off x="766" y="1"/>
            <a:ext cx="9904468" cy="4759523"/>
          </a:xfrm>
          <a:prstGeom prst="rect">
            <a:avLst/>
          </a:prstGeom>
          <a:noFill/>
          <a:ln>
            <a:noFill/>
          </a:ln>
        </p:spPr>
      </p:pic>
      <p:sp>
        <p:nvSpPr>
          <p:cNvPr id="14" name="Google Shape;14;p2"/>
          <p:cNvSpPr txBox="1">
            <a:spLocks noGrp="1"/>
          </p:cNvSpPr>
          <p:nvPr>
            <p:ph type="title"/>
          </p:nvPr>
        </p:nvSpPr>
        <p:spPr>
          <a:xfrm>
            <a:off x="495300" y="4824250"/>
            <a:ext cx="8915400" cy="1143000"/>
          </a:xfrm>
          <a:prstGeom prst="rect">
            <a:avLst/>
          </a:prstGeom>
          <a:noFill/>
          <a:ln>
            <a:noFill/>
          </a:ln>
        </p:spPr>
        <p:txBody>
          <a:bodyPr spcFirstLastPara="1" wrap="square" lIns="91425" tIns="45700" rIns="91425" bIns="45700" anchor="t" anchorCtr="0"/>
          <a:lstStyle>
            <a:lvl1pPr marR="0" lvl="0" algn="l" rtl="0">
              <a:lnSpc>
                <a:spcPct val="90000"/>
              </a:lnSpc>
              <a:spcBef>
                <a:spcPts val="0"/>
              </a:spcBef>
              <a:spcAft>
                <a:spcPts val="0"/>
              </a:spcAft>
              <a:buClr>
                <a:schemeClr val="lt1"/>
              </a:buClr>
              <a:buSzPts val="3600"/>
              <a:buFont typeface="Arial"/>
              <a:buNone/>
              <a:defRPr sz="3600" b="0" i="0" u="none" strike="noStrike" cap="none">
                <a:solidFill>
                  <a:schemeClr val="lt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5" name="Google Shape;15;p2"/>
          <p:cNvSpPr txBox="1">
            <a:spLocks noGrp="1"/>
          </p:cNvSpPr>
          <p:nvPr>
            <p:ph type="subTitle" idx="1"/>
          </p:nvPr>
        </p:nvSpPr>
        <p:spPr>
          <a:xfrm>
            <a:off x="495300" y="6031975"/>
            <a:ext cx="8397935" cy="384595"/>
          </a:xfrm>
          <a:prstGeom prst="rect">
            <a:avLst/>
          </a:prstGeom>
          <a:noFill/>
          <a:ln>
            <a:noFill/>
          </a:ln>
        </p:spPr>
        <p:txBody>
          <a:bodyPr spcFirstLastPara="1" wrap="square" lIns="0" tIns="0" rIns="0" bIns="0" anchor="t" anchorCtr="0"/>
          <a:lstStyle>
            <a:lvl1pPr marR="0" lvl="0" algn="l" rtl="0">
              <a:lnSpc>
                <a:spcPct val="90000"/>
              </a:lnSpc>
              <a:spcBef>
                <a:spcPts val="1000"/>
              </a:spcBef>
              <a:spcAft>
                <a:spcPts val="0"/>
              </a:spcAft>
              <a:buClr>
                <a:schemeClr val="lt1"/>
              </a:buClr>
              <a:buSzPts val="1600"/>
              <a:buFont typeface="Arial"/>
              <a:buNone/>
              <a:defRPr sz="1600" b="0" i="1" u="none" strike="noStrike" cap="none">
                <a:solidFill>
                  <a:schemeClr val="lt1"/>
                </a:solidFill>
                <a:latin typeface="Arial"/>
                <a:ea typeface="Arial"/>
                <a:cs typeface="Arial"/>
                <a:sym typeface="Arial"/>
              </a:defRPr>
            </a:lvl1pPr>
            <a:lvl2pPr marR="0" lvl="1" algn="ctr" rtl="0">
              <a:lnSpc>
                <a:spcPct val="90000"/>
              </a:lnSpc>
              <a:spcBef>
                <a:spcPts val="500"/>
              </a:spcBef>
              <a:spcAft>
                <a:spcPts val="0"/>
              </a:spcAft>
              <a:buClr>
                <a:srgbClr val="888888"/>
              </a:buClr>
              <a:buSzPts val="2400"/>
              <a:buFont typeface="Arial"/>
              <a:buNone/>
              <a:defRPr sz="2400" b="0" i="0" u="none" strike="noStrike" cap="none">
                <a:solidFill>
                  <a:srgbClr val="888888"/>
                </a:solidFill>
                <a:latin typeface="Calibri"/>
                <a:ea typeface="Calibri"/>
                <a:cs typeface="Calibri"/>
                <a:sym typeface="Calibri"/>
              </a:defRPr>
            </a:lvl2pPr>
            <a:lvl3pPr marR="0" lvl="2" algn="ctr" rtl="0">
              <a:lnSpc>
                <a:spcPct val="90000"/>
              </a:lnSpc>
              <a:spcBef>
                <a:spcPts val="500"/>
              </a:spcBef>
              <a:spcAft>
                <a:spcPts val="0"/>
              </a:spcAft>
              <a:buClr>
                <a:srgbClr val="888888"/>
              </a:buClr>
              <a:buSzPts val="2000"/>
              <a:buFont typeface="Arial"/>
              <a:buNone/>
              <a:defRPr sz="2000" b="0" i="0" u="none" strike="noStrike" cap="none">
                <a:solidFill>
                  <a:srgbClr val="888888"/>
                </a:solidFill>
                <a:latin typeface="Calibri"/>
                <a:ea typeface="Calibri"/>
                <a:cs typeface="Calibri"/>
                <a:sym typeface="Calibri"/>
              </a:defRPr>
            </a:lvl3pPr>
            <a:lvl4pPr marR="0" lvl="3"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4pPr>
            <a:lvl5pPr marR="0" lvl="4"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5pPr>
            <a:lvl6pPr marR="0" lvl="5"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6pPr>
            <a:lvl7pPr marR="0" lvl="6"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7pPr>
            <a:lvl8pPr marR="0" lvl="7"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8pPr>
            <a:lvl9pPr marR="0" lvl="8"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9pPr>
          </a:lstStyle>
          <a:p>
            <a:endParaRPr/>
          </a:p>
        </p:txBody>
      </p:sp>
      <p:sp>
        <p:nvSpPr>
          <p:cNvPr id="16" name="Google Shape;16;p2"/>
          <p:cNvSpPr txBox="1">
            <a:spLocks noGrp="1"/>
          </p:cNvSpPr>
          <p:nvPr>
            <p:ph type="body" idx="2"/>
          </p:nvPr>
        </p:nvSpPr>
        <p:spPr>
          <a:xfrm>
            <a:off x="495300" y="6478666"/>
            <a:ext cx="8397831" cy="311885"/>
          </a:xfrm>
          <a:prstGeom prst="rect">
            <a:avLst/>
          </a:prstGeom>
          <a:noFill/>
          <a:ln>
            <a:noFill/>
          </a:ln>
        </p:spPr>
        <p:txBody>
          <a:bodyPr spcFirstLastPara="1" wrap="square" lIns="0" tIns="0" rIns="0" bIns="0" anchor="t" anchorCtr="0"/>
          <a:lstStyle>
            <a:lvl1pPr marL="457200" marR="0" lvl="0" indent="-228600" algn="l" rtl="0">
              <a:lnSpc>
                <a:spcPct val="90000"/>
              </a:lnSpc>
              <a:spcBef>
                <a:spcPts val="100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1pPr>
            <a:lvl2pPr marL="914400" marR="0" lvl="1"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2pPr>
            <a:lvl3pPr marL="1371600" marR="0" lvl="2"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2_Blank">
  <p:cSld name="2_Blank">
    <p:bg>
      <p:bgPr>
        <a:solidFill>
          <a:srgbClr val="A8D08C"/>
        </a:solidFill>
        <a:effectLst/>
      </p:bgPr>
    </p:bg>
    <p:spTree>
      <p:nvGrpSpPr>
        <p:cNvPr id="1" name="Shape 77"/>
        <p:cNvGrpSpPr/>
        <p:nvPr/>
      </p:nvGrpSpPr>
      <p:grpSpPr>
        <a:xfrm>
          <a:off x="0" y="0"/>
          <a:ext cx="0" cy="0"/>
          <a:chOff x="0" y="0"/>
          <a:chExt cx="0" cy="0"/>
        </a:xfrm>
      </p:grpSpPr>
      <p:pic>
        <p:nvPicPr>
          <p:cNvPr id="78" name="Google Shape;78;p13"/>
          <p:cNvPicPr preferRelativeResize="0"/>
          <p:nvPr/>
        </p:nvPicPr>
        <p:blipFill rotWithShape="1">
          <a:blip r:embed="rId2">
            <a:alphaModFix/>
          </a:blip>
          <a:srcRect/>
          <a:stretch/>
        </p:blipFill>
        <p:spPr>
          <a:xfrm>
            <a:off x="1588" y="1588"/>
            <a:ext cx="1588" cy="1588"/>
          </a:xfrm>
          <a:prstGeom prst="rect">
            <a:avLst/>
          </a:prstGeom>
          <a:noFill/>
          <a:ln>
            <a:noFill/>
          </a:ln>
        </p:spPr>
      </p:pic>
      <p:pic>
        <p:nvPicPr>
          <p:cNvPr id="79" name="Google Shape;79;p13"/>
          <p:cNvPicPr preferRelativeResize="0"/>
          <p:nvPr/>
        </p:nvPicPr>
        <p:blipFill rotWithShape="1">
          <a:blip r:embed="rId3">
            <a:alphaModFix/>
          </a:blip>
          <a:srcRect/>
          <a:stretch/>
        </p:blipFill>
        <p:spPr>
          <a:xfrm>
            <a:off x="0" y="5947172"/>
            <a:ext cx="9906000" cy="910828"/>
          </a:xfrm>
          <a:prstGeom prst="rect">
            <a:avLst/>
          </a:prstGeom>
          <a:noFill/>
          <a:ln>
            <a:noFill/>
          </a:ln>
        </p:spPr>
      </p:pic>
      <p:sp>
        <p:nvSpPr>
          <p:cNvPr id="80" name="Google Shape;80;p13"/>
          <p:cNvSpPr txBox="1">
            <a:spLocks noGrp="1"/>
          </p:cNvSpPr>
          <p:nvPr>
            <p:ph type="title"/>
          </p:nvPr>
        </p:nvSpPr>
        <p:spPr>
          <a:xfrm>
            <a:off x="577850" y="2514600"/>
            <a:ext cx="8915400" cy="1143000"/>
          </a:xfrm>
          <a:prstGeom prst="rect">
            <a:avLst/>
          </a:prstGeom>
          <a:noFill/>
          <a:ln>
            <a:noFill/>
          </a:ln>
        </p:spPr>
        <p:txBody>
          <a:bodyPr spcFirstLastPara="1" wrap="square" lIns="91425" tIns="45700" rIns="91425" bIns="45700" anchor="t" anchorCtr="0"/>
          <a:lstStyle>
            <a:lvl1pPr marR="0" lvl="0" algn="l" rtl="0">
              <a:lnSpc>
                <a:spcPct val="90000"/>
              </a:lnSpc>
              <a:spcBef>
                <a:spcPts val="0"/>
              </a:spcBef>
              <a:spcAft>
                <a:spcPts val="0"/>
              </a:spcAft>
              <a:buClr>
                <a:srgbClr val="385623"/>
              </a:buClr>
              <a:buSzPts val="4400"/>
              <a:buFont typeface="Arial"/>
              <a:buNone/>
              <a:defRPr sz="4400" b="0" i="0" u="none" strike="noStrike" cap="none">
                <a:solidFill>
                  <a:srgbClr val="385623"/>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95300" y="6356351"/>
            <a:ext cx="2311400" cy="365125"/>
          </a:xfrm>
          <a:prstGeom prst="rect">
            <a:avLst/>
          </a:prstGeom>
        </p:spPr>
        <p:txBody>
          <a:bodyPr/>
          <a:lstStyle/>
          <a:p>
            <a:pPr fontAlgn="base">
              <a:spcBef>
                <a:spcPct val="0"/>
              </a:spcBef>
              <a:spcAft>
                <a:spcPct val="0"/>
              </a:spcAft>
              <a:buClrTx/>
            </a:pPr>
            <a:fld id="{2CBB78D2-3EDF-44DD-BD93-60A225E69B3E}" type="datetimeFigureOut">
              <a:rPr lang="en-US" sz="1600" kern="1200" smtClean="0">
                <a:solidFill>
                  <a:prstClr val="black">
                    <a:tint val="75000"/>
                  </a:prstClr>
                </a:solidFill>
                <a:latin typeface="Arial" charset="0"/>
                <a:ea typeface="+mn-ea"/>
                <a:cs typeface="+mn-cs"/>
              </a:rPr>
              <a:pPr fontAlgn="base">
                <a:spcBef>
                  <a:spcPct val="0"/>
                </a:spcBef>
                <a:spcAft>
                  <a:spcPct val="0"/>
                </a:spcAft>
                <a:buClrTx/>
              </a:pPr>
              <a:t>8/23/2019</a:t>
            </a:fld>
            <a:endParaRPr lang="en-US" sz="1600" kern="1200" dirty="0">
              <a:solidFill>
                <a:prstClr val="black">
                  <a:tint val="75000"/>
                </a:prstClr>
              </a:solidFill>
              <a:latin typeface="Arial" charset="0"/>
              <a:ea typeface="+mn-ea"/>
              <a:cs typeface="+mn-cs"/>
            </a:endParaRPr>
          </a:p>
        </p:txBody>
      </p:sp>
      <p:sp>
        <p:nvSpPr>
          <p:cNvPr id="5" name="Footer Placeholder 4"/>
          <p:cNvSpPr>
            <a:spLocks noGrp="1"/>
          </p:cNvSpPr>
          <p:nvPr>
            <p:ph type="ftr" sz="quarter" idx="11"/>
          </p:nvPr>
        </p:nvSpPr>
        <p:spPr>
          <a:xfrm>
            <a:off x="3384550" y="6356351"/>
            <a:ext cx="3136900" cy="365125"/>
          </a:xfrm>
          <a:prstGeom prst="rect">
            <a:avLst/>
          </a:prstGeom>
        </p:spPr>
        <p:txBody>
          <a:bodyPr/>
          <a:lstStyle/>
          <a:p>
            <a:pPr fontAlgn="base">
              <a:spcBef>
                <a:spcPct val="0"/>
              </a:spcBef>
              <a:spcAft>
                <a:spcPct val="0"/>
              </a:spcAft>
              <a:buClrTx/>
            </a:pPr>
            <a:endParaRPr lang="en-US" sz="1600" kern="1200" dirty="0">
              <a:solidFill>
                <a:prstClr val="black">
                  <a:tint val="75000"/>
                </a:prstClr>
              </a:solidFill>
              <a:latin typeface="Arial" charset="0"/>
              <a:ea typeface="+mn-ea"/>
              <a:cs typeface="+mn-cs"/>
            </a:endParaRPr>
          </a:p>
        </p:txBody>
      </p:sp>
      <p:sp>
        <p:nvSpPr>
          <p:cNvPr id="6" name="Slide Number Placeholder 5"/>
          <p:cNvSpPr>
            <a:spLocks noGrp="1"/>
          </p:cNvSpPr>
          <p:nvPr>
            <p:ph type="sldNum" sz="quarter" idx="12"/>
          </p:nvPr>
        </p:nvSpPr>
        <p:spPr>
          <a:xfrm>
            <a:off x="7099300" y="6356351"/>
            <a:ext cx="2311400" cy="365125"/>
          </a:xfrm>
          <a:prstGeom prst="rect">
            <a:avLst/>
          </a:prstGeom>
        </p:spPr>
        <p:txBody>
          <a:bodyPr/>
          <a:lstStyle/>
          <a:p>
            <a:pPr fontAlgn="base">
              <a:spcBef>
                <a:spcPct val="0"/>
              </a:spcBef>
              <a:spcAft>
                <a:spcPct val="0"/>
              </a:spcAft>
              <a:buClrTx/>
            </a:pPr>
            <a:fld id="{4FAD6F48-C937-4B90-AF1D-01ADEA9D6D76}" type="slidenum">
              <a:rPr lang="en-US" sz="1600" kern="1200" smtClean="0">
                <a:solidFill>
                  <a:prstClr val="black">
                    <a:tint val="75000"/>
                  </a:prstClr>
                </a:solidFill>
                <a:latin typeface="Arial" charset="0"/>
                <a:ea typeface="+mn-ea"/>
                <a:cs typeface="+mn-cs"/>
              </a:rPr>
              <a:pPr fontAlgn="base">
                <a:spcBef>
                  <a:spcPct val="0"/>
                </a:spcBef>
                <a:spcAft>
                  <a:spcPct val="0"/>
                </a:spcAft>
                <a:buClrTx/>
              </a:pPr>
              <a:t>‹#›</a:t>
            </a:fld>
            <a:endParaRPr lang="en-US" sz="1600" kern="1200" dirty="0">
              <a:solidFill>
                <a:prstClr val="black">
                  <a:tint val="75000"/>
                </a:prstClr>
              </a:solidFill>
              <a:latin typeface="Arial" charset="0"/>
              <a:ea typeface="+mn-ea"/>
              <a:cs typeface="+mn-cs"/>
            </a:endParaRPr>
          </a:p>
        </p:txBody>
      </p:sp>
    </p:spTree>
    <p:extLst>
      <p:ext uri="{BB962C8B-B14F-4D97-AF65-F5344CB8AC3E}">
        <p14:creationId xmlns:p14="http://schemas.microsoft.com/office/powerpoint/2010/main" val="1261909404"/>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186491"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ext Placeholder 7"/>
          <p:cNvSpPr>
            <a:spLocks noGrp="1"/>
          </p:cNvSpPr>
          <p:nvPr>
            <p:ph type="body" sz="quarter" idx="13" hasCustomPrompt="1"/>
          </p:nvPr>
        </p:nvSpPr>
        <p:spPr>
          <a:xfrm>
            <a:off x="450276" y="1330699"/>
            <a:ext cx="9005453" cy="4989391"/>
          </a:xfrm>
          <a:prstGeom prst="rect">
            <a:avLst/>
          </a:prstGeom>
        </p:spPr>
        <p:txBody>
          <a:bodyPr lIns="0" tIns="0" rIns="0" bIns="0">
            <a:noAutofit/>
          </a:bodyPr>
          <a:lstStyle>
            <a:lvl1pPr marL="159731" indent="-159731">
              <a:spcBef>
                <a:spcPts val="663"/>
              </a:spcBef>
              <a:defRPr sz="1662" baseline="0"/>
            </a:lvl1pPr>
            <a:lvl2pPr marL="320928" indent="-161196">
              <a:spcBef>
                <a:spcPts val="663"/>
              </a:spcBef>
              <a:defRPr sz="1477"/>
            </a:lvl2pPr>
            <a:lvl3pPr marL="470401" indent="-149473">
              <a:buFont typeface="Courier New" pitchFamily="49" charset="0"/>
              <a:buChar char="o"/>
              <a:defRPr sz="1477"/>
            </a:lvl3pPr>
            <a:lvl4pPr marL="630131" indent="-159731">
              <a:defRPr sz="1477"/>
            </a:lvl4pPr>
            <a:lvl5pPr>
              <a:defRPr sz="1662"/>
            </a:lvl5pPr>
          </a:lstStyle>
          <a:p>
            <a:pPr lvl="0"/>
            <a:r>
              <a:rPr lang="en-US" dirty="0" smtClean="0"/>
              <a:t>Click to edit Master text first level</a:t>
            </a:r>
          </a:p>
          <a:p>
            <a:pPr lvl="1"/>
            <a:r>
              <a:rPr lang="en-US" dirty="0" smtClean="0"/>
              <a:t>Second level</a:t>
            </a:r>
          </a:p>
          <a:p>
            <a:pPr lvl="2"/>
            <a:r>
              <a:rPr lang="en-US" dirty="0" smtClean="0"/>
              <a:t>Third level</a:t>
            </a:r>
          </a:p>
          <a:p>
            <a:pPr lvl="3"/>
            <a:r>
              <a:rPr lang="en-US" dirty="0" smtClean="0"/>
              <a:t>Fourth level</a:t>
            </a:r>
          </a:p>
        </p:txBody>
      </p:sp>
      <p:sp>
        <p:nvSpPr>
          <p:cNvPr id="6" name="Title 1"/>
          <p:cNvSpPr>
            <a:spLocks noGrp="1"/>
          </p:cNvSpPr>
          <p:nvPr>
            <p:ph type="title" hasCustomPrompt="1"/>
          </p:nvPr>
        </p:nvSpPr>
        <p:spPr>
          <a:xfrm>
            <a:off x="450742" y="133087"/>
            <a:ext cx="9005454" cy="738664"/>
          </a:xfrm>
          <a:prstGeom prst="rect">
            <a:avLst/>
          </a:prstGeom>
        </p:spPr>
        <p:txBody>
          <a:bodyPr lIns="0" tIns="0" rIns="0" bIns="0" anchor="b"/>
          <a:lstStyle>
            <a:lvl1pPr algn="l">
              <a:defRPr sz="2400" b="1" baseline="0">
                <a:solidFill>
                  <a:schemeClr val="bg1"/>
                </a:solidFill>
              </a:defRPr>
            </a:lvl1pPr>
          </a:lstStyle>
          <a:p>
            <a:r>
              <a:rPr lang="en-US" dirty="0" smtClean="0"/>
              <a:t>Click to edit </a:t>
            </a:r>
            <a:br>
              <a:rPr lang="en-US" dirty="0" smtClean="0"/>
            </a:br>
            <a:r>
              <a:rPr lang="en-US" dirty="0" smtClean="0"/>
              <a:t>Master title</a:t>
            </a:r>
            <a:endParaRPr lang="en-US" dirty="0"/>
          </a:p>
        </p:txBody>
      </p:sp>
      <p:sp>
        <p:nvSpPr>
          <p:cNvPr id="12" name="Text Placeholder 9"/>
          <p:cNvSpPr>
            <a:spLocks noGrp="1"/>
          </p:cNvSpPr>
          <p:nvPr>
            <p:ph type="body" sz="quarter" idx="37" hasCustomPrompt="1"/>
          </p:nvPr>
        </p:nvSpPr>
        <p:spPr>
          <a:xfrm>
            <a:off x="450275" y="6549116"/>
            <a:ext cx="7626926" cy="284052"/>
          </a:xfrm>
          <a:prstGeom prst="rect">
            <a:avLst/>
          </a:prstGeom>
        </p:spPr>
        <p:txBody>
          <a:bodyPr lIns="0" tIns="0" rIns="0" bIns="0" anchor="b"/>
          <a:lstStyle>
            <a:lvl1pPr marL="0" indent="0">
              <a:buNone/>
              <a:defRPr sz="923"/>
            </a:lvl1pPr>
          </a:lstStyle>
          <a:p>
            <a:r>
              <a:rPr lang="en-US" dirty="0" smtClean="0"/>
              <a:t>Click to edit Master footer. This space is reserved for footnotes and sources only, and cannot be expanded beyond its current size.                                        </a:t>
            </a:r>
            <a:r>
              <a:rPr lang="en-IN" dirty="0" smtClean="0"/>
              <a:t>Source: [Author/Publisher Name], [Report Name], [Year]</a:t>
            </a:r>
          </a:p>
        </p:txBody>
      </p:sp>
    </p:spTree>
    <p:extLst>
      <p:ext uri="{BB962C8B-B14F-4D97-AF65-F5344CB8AC3E}">
        <p14:creationId xmlns:p14="http://schemas.microsoft.com/office/powerpoint/2010/main" val="1248570598"/>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2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187515"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1"/>
          <p:cNvSpPr>
            <a:spLocks noGrp="1"/>
          </p:cNvSpPr>
          <p:nvPr>
            <p:ph type="title"/>
          </p:nvPr>
        </p:nvSpPr>
        <p:spPr>
          <a:xfrm>
            <a:off x="450741" y="488172"/>
            <a:ext cx="8312259" cy="228268"/>
          </a:xfrm>
          <a:prstGeom prst="rect">
            <a:avLst/>
          </a:prstGeom>
        </p:spPr>
        <p:txBody>
          <a:bodyPr lIns="0" tIns="0" rIns="0" bIns="0" anchor="b"/>
          <a:lstStyle>
            <a:lvl1pPr marL="0" marR="0" indent="0" algn="l" defTabSz="685160" rtl="0" eaLnBrk="1" fontAlgn="auto" latinLnBrk="0" hangingPunct="1">
              <a:lnSpc>
                <a:spcPct val="90000"/>
              </a:lnSpc>
              <a:spcBef>
                <a:spcPct val="0"/>
              </a:spcBef>
              <a:spcAft>
                <a:spcPts val="0"/>
              </a:spcAft>
              <a:buClrTx/>
              <a:buSzTx/>
              <a:buFontTx/>
              <a:buNone/>
              <a:tabLst/>
              <a:defRPr lang="en-US" sz="1648" b="1" smtClean="0">
                <a:solidFill>
                  <a:schemeClr val="tx1"/>
                </a:solidFill>
                <a:latin typeface="+mn-lt"/>
              </a:defRPr>
            </a:lvl1pPr>
          </a:lstStyle>
          <a:p>
            <a:r>
              <a:rPr lang="en-US" sz="1648" b="1" dirty="0" smtClean="0">
                <a:solidFill>
                  <a:schemeClr val="tx1"/>
                </a:solidFill>
                <a:latin typeface="+mn-lt"/>
              </a:rPr>
              <a:t>Click to edit Master title style</a:t>
            </a:r>
            <a:endParaRPr lang="en-US" dirty="0"/>
          </a:p>
        </p:txBody>
      </p:sp>
      <p:sp>
        <p:nvSpPr>
          <p:cNvPr id="5" name="Text Placeholder 7"/>
          <p:cNvSpPr>
            <a:spLocks noGrp="1"/>
          </p:cNvSpPr>
          <p:nvPr>
            <p:ph type="body" sz="quarter" idx="13" hasCustomPrompt="1"/>
          </p:nvPr>
        </p:nvSpPr>
        <p:spPr>
          <a:xfrm>
            <a:off x="450276" y="1066801"/>
            <a:ext cx="9005453" cy="5253290"/>
          </a:xfrm>
          <a:prstGeom prst="rect">
            <a:avLst/>
          </a:prstGeom>
        </p:spPr>
        <p:txBody>
          <a:bodyPr lIns="0" tIns="0" rIns="0" bIns="0">
            <a:noAutofit/>
          </a:bodyPr>
          <a:lstStyle>
            <a:lvl1pPr marL="129657" indent="-129657">
              <a:spcBef>
                <a:spcPts val="538"/>
              </a:spcBef>
              <a:defRPr sz="1199" baseline="0"/>
            </a:lvl1pPr>
            <a:lvl2pPr marL="260504" indent="-130847">
              <a:spcBef>
                <a:spcPts val="538"/>
              </a:spcBef>
              <a:buFont typeface="Wingdings" panose="05000000000000000000" pitchFamily="2" charset="2"/>
              <a:buChar char="ü"/>
              <a:defRPr sz="1049"/>
            </a:lvl2pPr>
            <a:lvl3pPr marL="381834" indent="-121330">
              <a:buFont typeface="Courier New" pitchFamily="49" charset="0"/>
              <a:buChar char="o"/>
              <a:defRPr sz="1049"/>
            </a:lvl3pPr>
            <a:lvl4pPr marL="511491" indent="-129657">
              <a:defRPr sz="1049"/>
            </a:lvl4pPr>
            <a:lvl5pPr>
              <a:defRPr sz="1349"/>
            </a:lvl5pPr>
          </a:lstStyle>
          <a:p>
            <a:pPr lvl="0"/>
            <a:r>
              <a:rPr lang="en-US" dirty="0" smtClean="0"/>
              <a:t>Click to edit Master text first level</a:t>
            </a:r>
          </a:p>
          <a:p>
            <a:pPr lvl="1"/>
            <a:r>
              <a:rPr lang="en-US" dirty="0" smtClean="0"/>
              <a:t>Second level</a:t>
            </a:r>
          </a:p>
          <a:p>
            <a:pPr lvl="2"/>
            <a:r>
              <a:rPr lang="en-US" dirty="0" smtClean="0"/>
              <a:t>Third level</a:t>
            </a:r>
          </a:p>
          <a:p>
            <a:pPr lvl="3"/>
            <a:r>
              <a:rPr lang="en-US" dirty="0" smtClean="0"/>
              <a:t>Fourth level</a:t>
            </a:r>
          </a:p>
        </p:txBody>
      </p:sp>
      <p:sp>
        <p:nvSpPr>
          <p:cNvPr id="8" name="Text Placeholder 9"/>
          <p:cNvSpPr>
            <a:spLocks noGrp="1"/>
          </p:cNvSpPr>
          <p:nvPr>
            <p:ph type="body" sz="quarter" idx="37" hasCustomPrompt="1"/>
          </p:nvPr>
        </p:nvSpPr>
        <p:spPr>
          <a:xfrm>
            <a:off x="450276" y="6602591"/>
            <a:ext cx="7626926" cy="230576"/>
          </a:xfrm>
          <a:prstGeom prst="rect">
            <a:avLst/>
          </a:prstGeom>
        </p:spPr>
        <p:txBody>
          <a:bodyPr lIns="0" tIns="0" rIns="0" bIns="0" anchor="b"/>
          <a:lstStyle>
            <a:lvl1pPr marL="0" indent="0">
              <a:buNone/>
              <a:defRPr sz="749"/>
            </a:lvl1pPr>
          </a:lstStyle>
          <a:p>
            <a:r>
              <a:rPr lang="en-US" dirty="0" smtClean="0"/>
              <a:t>Click to edit Master footer. This space is reserved for footnotes and sources only, and cannot be expanded beyond its current size.                                        </a:t>
            </a:r>
            <a:r>
              <a:rPr lang="en-IN" dirty="0" smtClean="0"/>
              <a:t>Source: [Author/Publisher Name], [Report Name], [Year]</a:t>
            </a:r>
          </a:p>
        </p:txBody>
      </p:sp>
    </p:spTree>
    <p:extLst>
      <p:ext uri="{BB962C8B-B14F-4D97-AF65-F5344CB8AC3E}">
        <p14:creationId xmlns:p14="http://schemas.microsoft.com/office/powerpoint/2010/main" val="26715289"/>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2_Text">
  <p:cSld name="2_Text">
    <p:spTree>
      <p:nvGrpSpPr>
        <p:cNvPr id="1" name="Shape 92"/>
        <p:cNvGrpSpPr/>
        <p:nvPr/>
      </p:nvGrpSpPr>
      <p:grpSpPr>
        <a:xfrm>
          <a:off x="0" y="0"/>
          <a:ext cx="0" cy="0"/>
          <a:chOff x="0" y="0"/>
          <a:chExt cx="0" cy="0"/>
        </a:xfrm>
      </p:grpSpPr>
      <p:pic>
        <p:nvPicPr>
          <p:cNvPr id="93" name="Google Shape;93;p16"/>
          <p:cNvPicPr preferRelativeResize="0"/>
          <p:nvPr/>
        </p:nvPicPr>
        <p:blipFill rotWithShape="1">
          <a:blip r:embed="rId2">
            <a:alphaModFix/>
          </a:blip>
          <a:srcRect/>
          <a:stretch/>
        </p:blipFill>
        <p:spPr>
          <a:xfrm>
            <a:off x="1" y="3"/>
            <a:ext cx="156345" cy="140074"/>
          </a:xfrm>
          <a:prstGeom prst="rect">
            <a:avLst/>
          </a:prstGeom>
          <a:noFill/>
          <a:ln>
            <a:noFill/>
          </a:ln>
        </p:spPr>
      </p:pic>
      <p:sp>
        <p:nvSpPr>
          <p:cNvPr id="94" name="Google Shape;94;p16"/>
          <p:cNvSpPr txBox="1">
            <a:spLocks noGrp="1"/>
          </p:cNvSpPr>
          <p:nvPr>
            <p:ph type="title"/>
          </p:nvPr>
        </p:nvSpPr>
        <p:spPr>
          <a:xfrm>
            <a:off x="450741" y="134054"/>
            <a:ext cx="7245459" cy="582389"/>
          </a:xfrm>
          <a:prstGeom prst="rect">
            <a:avLst/>
          </a:prstGeom>
          <a:noFill/>
          <a:ln>
            <a:noFill/>
          </a:ln>
        </p:spPr>
        <p:txBody>
          <a:bodyPr spcFirstLastPara="1" wrap="square" lIns="0" tIns="0" rIns="0" bIns="0" anchor="b" anchorCtr="0"/>
          <a:lstStyle>
            <a:lvl1pPr marR="0" lvl="0" algn="l" rtl="0">
              <a:lnSpc>
                <a:spcPct val="90000"/>
              </a:lnSpc>
              <a:spcBef>
                <a:spcPts val="0"/>
              </a:spcBef>
              <a:spcAft>
                <a:spcPts val="0"/>
              </a:spcAft>
              <a:buClr>
                <a:schemeClr val="dk1"/>
              </a:buClr>
              <a:buSzPts val="2200"/>
              <a:buFont typeface="Arial"/>
              <a:buNone/>
              <a:defRPr sz="2200" b="1"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95" name="Google Shape;95;p16"/>
          <p:cNvSpPr txBox="1">
            <a:spLocks noGrp="1"/>
          </p:cNvSpPr>
          <p:nvPr>
            <p:ph type="body" idx="1"/>
          </p:nvPr>
        </p:nvSpPr>
        <p:spPr>
          <a:xfrm>
            <a:off x="450276" y="1066801"/>
            <a:ext cx="9005453" cy="4876799"/>
          </a:xfrm>
          <a:prstGeom prst="rect">
            <a:avLst/>
          </a:prstGeom>
          <a:noFill/>
          <a:ln>
            <a:noFill/>
          </a:ln>
        </p:spPr>
        <p:txBody>
          <a:bodyPr spcFirstLastPara="1" wrap="square" lIns="0" tIns="0" rIns="0" bIns="0" anchor="t" anchorCtr="0"/>
          <a:lstStyle>
            <a:lvl1pPr marL="457200" marR="0" lvl="0" indent="-330200" algn="l" rtl="0">
              <a:lnSpc>
                <a:spcPct val="90000"/>
              </a:lnSpc>
              <a:spcBef>
                <a:spcPts val="718"/>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17500" algn="l" rtl="0">
              <a:lnSpc>
                <a:spcPct val="90000"/>
              </a:lnSpc>
              <a:spcBef>
                <a:spcPts val="718"/>
              </a:spcBef>
              <a:spcAft>
                <a:spcPts val="0"/>
              </a:spcAft>
              <a:buClr>
                <a:schemeClr val="dk1"/>
              </a:buClr>
              <a:buSzPts val="1400"/>
              <a:buFont typeface="Noto Sans Symbols"/>
              <a:buChar char="✓"/>
              <a:defRPr sz="1400" b="0" i="0" u="none" strike="noStrike" cap="none">
                <a:solidFill>
                  <a:schemeClr val="dk1"/>
                </a:solidFill>
                <a:latin typeface="Arial"/>
                <a:ea typeface="Arial"/>
                <a:cs typeface="Arial"/>
                <a:sym typeface="Arial"/>
              </a:defRPr>
            </a:lvl2pPr>
            <a:lvl3pPr marL="1371600" marR="0" lvl="2" indent="-317500" algn="l" rtl="0">
              <a:lnSpc>
                <a:spcPct val="90000"/>
              </a:lnSpc>
              <a:spcBef>
                <a:spcPts val="500"/>
              </a:spcBef>
              <a:spcAft>
                <a:spcPts val="0"/>
              </a:spcAft>
              <a:buClr>
                <a:schemeClr val="dk1"/>
              </a:buClr>
              <a:buSzPts val="1400"/>
              <a:buFont typeface="Courier New"/>
              <a:buChar char="o"/>
              <a:defRPr sz="1400" b="0" i="0" u="none" strike="noStrike" cap="none">
                <a:solidFill>
                  <a:schemeClr val="dk1"/>
                </a:solidFill>
                <a:latin typeface="Arial"/>
                <a:ea typeface="Arial"/>
                <a:cs typeface="Arial"/>
                <a:sym typeface="Arial"/>
              </a:defRPr>
            </a:lvl3pPr>
            <a:lvl4pPr marL="1828800" marR="0" lvl="3" indent="-317500" algn="l" rtl="0">
              <a:lnSpc>
                <a:spcPct val="90000"/>
              </a:lnSpc>
              <a:spcBef>
                <a:spcPts val="5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6" name="Google Shape;96;p16"/>
          <p:cNvSpPr txBox="1">
            <a:spLocks noGrp="1"/>
          </p:cNvSpPr>
          <p:nvPr>
            <p:ph type="body" idx="2"/>
          </p:nvPr>
        </p:nvSpPr>
        <p:spPr>
          <a:xfrm>
            <a:off x="450588" y="6055245"/>
            <a:ext cx="7702813" cy="386679"/>
          </a:xfrm>
          <a:prstGeom prst="rect">
            <a:avLst/>
          </a:prstGeom>
          <a:noFill/>
          <a:ln>
            <a:noFill/>
          </a:ln>
        </p:spPr>
        <p:txBody>
          <a:bodyPr spcFirstLastPara="1" wrap="square" lIns="0" tIns="0" rIns="0" bIns="0" anchor="b" anchorCtr="0"/>
          <a:lstStyle>
            <a:lvl1pPr marL="457200" marR="0" lvl="0" indent="-228600" algn="l" rtl="0">
              <a:lnSpc>
                <a:spcPct val="90000"/>
              </a:lnSpc>
              <a:spcBef>
                <a:spcPts val="1000"/>
              </a:spcBef>
              <a:spcAft>
                <a:spcPts val="0"/>
              </a:spcAft>
              <a:buClr>
                <a:schemeClr val="dk1"/>
              </a:buClr>
              <a:buSzPts val="923"/>
              <a:buFont typeface="Arial"/>
              <a:buNone/>
              <a:defRPr sz="922" b="0"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3_Title Slide">
  <p:cSld name="3_Title Slide">
    <p:spTree>
      <p:nvGrpSpPr>
        <p:cNvPr id="1" name="Shape 116"/>
        <p:cNvGrpSpPr/>
        <p:nvPr/>
      </p:nvGrpSpPr>
      <p:grpSpPr>
        <a:xfrm>
          <a:off x="0" y="0"/>
          <a:ext cx="0" cy="0"/>
          <a:chOff x="0" y="0"/>
          <a:chExt cx="0" cy="0"/>
        </a:xfrm>
      </p:grpSpPr>
      <p:pic>
        <p:nvPicPr>
          <p:cNvPr id="117" name="Google Shape;117;p18"/>
          <p:cNvPicPr preferRelativeResize="0"/>
          <p:nvPr/>
        </p:nvPicPr>
        <p:blipFill rotWithShape="1">
          <a:blip r:embed="rId2">
            <a:alphaModFix/>
          </a:blip>
          <a:srcRect/>
          <a:stretch/>
        </p:blipFill>
        <p:spPr>
          <a:xfrm>
            <a:off x="1588" y="1588"/>
            <a:ext cx="1588" cy="1588"/>
          </a:xfrm>
          <a:prstGeom prst="rect">
            <a:avLst/>
          </a:prstGeom>
          <a:noFill/>
          <a:ln>
            <a:noFill/>
          </a:ln>
        </p:spPr>
      </p:pic>
      <p:sp>
        <p:nvSpPr>
          <p:cNvPr id="118" name="Google Shape;118;p18"/>
          <p:cNvSpPr txBox="1">
            <a:spLocks noGrp="1"/>
          </p:cNvSpPr>
          <p:nvPr>
            <p:ph type="body" idx="1"/>
          </p:nvPr>
        </p:nvSpPr>
        <p:spPr>
          <a:xfrm>
            <a:off x="450326" y="1008557"/>
            <a:ext cx="4319158" cy="460302"/>
          </a:xfrm>
          <a:prstGeom prst="rect">
            <a:avLst/>
          </a:prstGeom>
          <a:solidFill>
            <a:srgbClr val="3F5F1F"/>
          </a:solidFill>
          <a:ln>
            <a:noFill/>
          </a:ln>
        </p:spPr>
        <p:txBody>
          <a:bodyPr spcFirstLastPara="1" wrap="square" lIns="0" tIns="0" rIns="0" bIns="0" anchor="ctr" anchorCtr="0"/>
          <a:lstStyle>
            <a:lvl1pPr marL="457200" marR="0" lvl="0" indent="-228600" algn="ctr" rtl="0">
              <a:lnSpc>
                <a:spcPct val="90000"/>
              </a:lnSpc>
              <a:spcBef>
                <a:spcPts val="1000"/>
              </a:spcBef>
              <a:spcAft>
                <a:spcPts val="0"/>
              </a:spcAft>
              <a:buClr>
                <a:schemeClr val="lt1"/>
              </a:buClr>
              <a:buSzPts val="1600"/>
              <a:buFont typeface="Arial"/>
              <a:buNone/>
              <a:defRPr sz="1600" b="1" i="0" u="none" strike="noStrike" cap="none">
                <a:solidFill>
                  <a:schemeClr val="lt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cxnSp>
        <p:nvCxnSpPr>
          <p:cNvPr id="119" name="Google Shape;119;p18"/>
          <p:cNvCxnSpPr/>
          <p:nvPr/>
        </p:nvCxnSpPr>
        <p:spPr>
          <a:xfrm>
            <a:off x="450322" y="1549540"/>
            <a:ext cx="4308549" cy="0"/>
          </a:xfrm>
          <a:prstGeom prst="straightConnector1">
            <a:avLst/>
          </a:prstGeom>
          <a:noFill/>
          <a:ln w="9525" cap="flat" cmpd="sng">
            <a:solidFill>
              <a:schemeClr val="dk1"/>
            </a:solidFill>
            <a:prstDash val="solid"/>
            <a:miter lim="800000"/>
            <a:headEnd type="none" w="sm" len="sm"/>
            <a:tailEnd type="none" w="sm" len="sm"/>
          </a:ln>
        </p:spPr>
      </p:cxnSp>
      <p:sp>
        <p:nvSpPr>
          <p:cNvPr id="120" name="Google Shape;120;p18"/>
          <p:cNvSpPr txBox="1">
            <a:spLocks noGrp="1"/>
          </p:cNvSpPr>
          <p:nvPr>
            <p:ph type="body" idx="2"/>
          </p:nvPr>
        </p:nvSpPr>
        <p:spPr>
          <a:xfrm>
            <a:off x="450326" y="1644574"/>
            <a:ext cx="4319158" cy="4222236"/>
          </a:xfrm>
          <a:prstGeom prst="rect">
            <a:avLst/>
          </a:prstGeom>
          <a:noFill/>
          <a:ln>
            <a:noFill/>
          </a:ln>
        </p:spPr>
        <p:txBody>
          <a:bodyPr spcFirstLastPara="1" wrap="square" lIns="0" tIns="0" rIns="0" bIns="0" anchor="t" anchorCtr="0"/>
          <a:lstStyle>
            <a:lvl1pPr marL="457200" marR="0" lvl="0" indent="-317500" algn="l" rtl="0">
              <a:lnSpc>
                <a:spcPct val="90000"/>
              </a:lnSpc>
              <a:spcBef>
                <a:spcPts val="10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1pPr>
            <a:lvl2pPr marL="914400" marR="0" lvl="1" indent="-304800" algn="l" rtl="0">
              <a:lnSpc>
                <a:spcPct val="90000"/>
              </a:lnSpc>
              <a:spcBef>
                <a:spcPts val="500"/>
              </a:spcBef>
              <a:spcAft>
                <a:spcPts val="0"/>
              </a:spcAft>
              <a:buClr>
                <a:schemeClr val="dk1"/>
              </a:buClr>
              <a:buSzPts val="1200"/>
              <a:buFont typeface="Noto Sans Symbols"/>
              <a:buChar char="✓"/>
              <a:defRPr sz="1200" b="0" i="0" u="none" strike="noStrike" cap="none">
                <a:solidFill>
                  <a:schemeClr val="dk1"/>
                </a:solidFill>
                <a:latin typeface="Arial"/>
                <a:ea typeface="Arial"/>
                <a:cs typeface="Arial"/>
                <a:sym typeface="Arial"/>
              </a:defRPr>
            </a:lvl2pPr>
            <a:lvl3pPr marL="1371600" marR="0" lvl="2" indent="-304800" algn="l" rtl="0">
              <a:lnSpc>
                <a:spcPct val="90000"/>
              </a:lnSpc>
              <a:spcBef>
                <a:spcPts val="500"/>
              </a:spcBef>
              <a:spcAft>
                <a:spcPts val="0"/>
              </a:spcAft>
              <a:buClr>
                <a:schemeClr val="dk1"/>
              </a:buClr>
              <a:buSzPts val="1200"/>
              <a:buFont typeface="Courier New"/>
              <a:buChar char="o"/>
              <a:defRPr sz="1200" b="0" i="0" u="none" strike="noStrike" cap="none">
                <a:solidFill>
                  <a:schemeClr val="dk1"/>
                </a:solidFill>
                <a:latin typeface="Arial"/>
                <a:ea typeface="Arial"/>
                <a:cs typeface="Arial"/>
                <a:sym typeface="Arial"/>
              </a:defRPr>
            </a:lvl3pPr>
            <a:lvl4pPr marL="1828800" marR="0" lvl="3" indent="-304800" algn="l" rtl="0">
              <a:lnSpc>
                <a:spcPct val="90000"/>
              </a:lnSpc>
              <a:spcBef>
                <a:spcPts val="500"/>
              </a:spcBef>
              <a:spcAft>
                <a:spcPts val="0"/>
              </a:spcAft>
              <a:buClr>
                <a:schemeClr val="dk1"/>
              </a:buClr>
              <a:buSzPts val="1200"/>
              <a:buFont typeface="Noto Sans Symbols"/>
              <a:buChar char="➢"/>
              <a:defRPr sz="1200" b="0" i="0" u="none" strike="noStrike" cap="none">
                <a:solidFill>
                  <a:schemeClr val="dk1"/>
                </a:solidFill>
                <a:latin typeface="Arial"/>
                <a:ea typeface="Arial"/>
                <a:cs typeface="Arial"/>
                <a:sym typeface="Arial"/>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1" name="Google Shape;121;p18"/>
          <p:cNvSpPr txBox="1">
            <a:spLocks noGrp="1"/>
          </p:cNvSpPr>
          <p:nvPr>
            <p:ph type="body" idx="3"/>
          </p:nvPr>
        </p:nvSpPr>
        <p:spPr>
          <a:xfrm>
            <a:off x="5151120" y="1009149"/>
            <a:ext cx="4304296" cy="460302"/>
          </a:xfrm>
          <a:prstGeom prst="rect">
            <a:avLst/>
          </a:prstGeom>
          <a:solidFill>
            <a:srgbClr val="3F5F1F"/>
          </a:solidFill>
          <a:ln>
            <a:noFill/>
          </a:ln>
        </p:spPr>
        <p:txBody>
          <a:bodyPr spcFirstLastPara="1" wrap="square" lIns="0" tIns="0" rIns="0" bIns="0" anchor="ctr" anchorCtr="0"/>
          <a:lstStyle>
            <a:lvl1pPr marL="457200" marR="0" lvl="0" indent="-228600" algn="ctr" rtl="0">
              <a:lnSpc>
                <a:spcPct val="90000"/>
              </a:lnSpc>
              <a:spcBef>
                <a:spcPts val="1000"/>
              </a:spcBef>
              <a:spcAft>
                <a:spcPts val="0"/>
              </a:spcAft>
              <a:buClr>
                <a:schemeClr val="lt1"/>
              </a:buClr>
              <a:buSzPts val="1600"/>
              <a:buFont typeface="Arial"/>
              <a:buNone/>
              <a:defRPr sz="1600" b="1" i="0" u="none" strike="noStrike" cap="none">
                <a:solidFill>
                  <a:schemeClr val="lt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cxnSp>
        <p:nvCxnSpPr>
          <p:cNvPr id="122" name="Google Shape;122;p18"/>
          <p:cNvCxnSpPr/>
          <p:nvPr/>
        </p:nvCxnSpPr>
        <p:spPr>
          <a:xfrm>
            <a:off x="5151120" y="1550132"/>
            <a:ext cx="4304297" cy="0"/>
          </a:xfrm>
          <a:prstGeom prst="straightConnector1">
            <a:avLst/>
          </a:prstGeom>
          <a:noFill/>
          <a:ln w="9525" cap="flat" cmpd="sng">
            <a:solidFill>
              <a:schemeClr val="dk1"/>
            </a:solidFill>
            <a:prstDash val="solid"/>
            <a:miter lim="800000"/>
            <a:headEnd type="none" w="sm" len="sm"/>
            <a:tailEnd type="none" w="sm" len="sm"/>
          </a:ln>
        </p:spPr>
      </p:cxnSp>
      <p:sp>
        <p:nvSpPr>
          <p:cNvPr id="123" name="Google Shape;123;p18"/>
          <p:cNvSpPr txBox="1">
            <a:spLocks noGrp="1"/>
          </p:cNvSpPr>
          <p:nvPr>
            <p:ph type="body" idx="4"/>
          </p:nvPr>
        </p:nvSpPr>
        <p:spPr>
          <a:xfrm>
            <a:off x="5151120" y="1645165"/>
            <a:ext cx="4304296" cy="4222236"/>
          </a:xfrm>
          <a:prstGeom prst="rect">
            <a:avLst/>
          </a:prstGeom>
          <a:noFill/>
          <a:ln>
            <a:noFill/>
          </a:ln>
        </p:spPr>
        <p:txBody>
          <a:bodyPr spcFirstLastPara="1" wrap="square" lIns="0" tIns="0" rIns="0" bIns="0" anchor="t" anchorCtr="0"/>
          <a:lstStyle>
            <a:lvl1pPr marL="457200" marR="0" lvl="0" indent="-310642" algn="l" rtl="0">
              <a:lnSpc>
                <a:spcPct val="90000"/>
              </a:lnSpc>
              <a:spcBef>
                <a:spcPts val="1000"/>
              </a:spcBef>
              <a:spcAft>
                <a:spcPts val="0"/>
              </a:spcAft>
              <a:buClr>
                <a:schemeClr val="dk1"/>
              </a:buClr>
              <a:buSzPts val="1292"/>
              <a:buFont typeface="Arial"/>
              <a:buChar char="•"/>
              <a:defRPr sz="1292" b="0" i="0" u="none" strike="noStrike" cap="none">
                <a:solidFill>
                  <a:schemeClr val="dk1"/>
                </a:solidFill>
                <a:latin typeface="Arial"/>
                <a:ea typeface="Arial"/>
                <a:cs typeface="Arial"/>
                <a:sym typeface="Arial"/>
              </a:defRPr>
            </a:lvl1pPr>
            <a:lvl2pPr marL="914400" marR="0" lvl="1" indent="-298958" algn="l" rtl="0">
              <a:lnSpc>
                <a:spcPct val="90000"/>
              </a:lnSpc>
              <a:spcBef>
                <a:spcPts val="500"/>
              </a:spcBef>
              <a:spcAft>
                <a:spcPts val="0"/>
              </a:spcAft>
              <a:buClr>
                <a:schemeClr val="dk1"/>
              </a:buClr>
              <a:buSzPts val="1108"/>
              <a:buFont typeface="Noto Sans Symbols"/>
              <a:buChar char="✓"/>
              <a:defRPr sz="1108" b="0" i="0" u="none" strike="noStrike" cap="none">
                <a:solidFill>
                  <a:schemeClr val="dk1"/>
                </a:solidFill>
                <a:latin typeface="Arial"/>
                <a:ea typeface="Arial"/>
                <a:cs typeface="Arial"/>
                <a:sym typeface="Arial"/>
              </a:defRPr>
            </a:lvl2pPr>
            <a:lvl3pPr marL="1371600" marR="0" lvl="2" indent="-298958" algn="l" rtl="0">
              <a:lnSpc>
                <a:spcPct val="90000"/>
              </a:lnSpc>
              <a:spcBef>
                <a:spcPts val="500"/>
              </a:spcBef>
              <a:spcAft>
                <a:spcPts val="0"/>
              </a:spcAft>
              <a:buClr>
                <a:schemeClr val="dk1"/>
              </a:buClr>
              <a:buSzPts val="1108"/>
              <a:buFont typeface="Courier New"/>
              <a:buChar char="o"/>
              <a:defRPr sz="1108" b="0" i="0" u="none" strike="noStrike" cap="none">
                <a:solidFill>
                  <a:schemeClr val="dk1"/>
                </a:solidFill>
                <a:latin typeface="Arial"/>
                <a:ea typeface="Arial"/>
                <a:cs typeface="Arial"/>
                <a:sym typeface="Arial"/>
              </a:defRPr>
            </a:lvl3pPr>
            <a:lvl4pPr marL="1828800" marR="0" lvl="3" indent="-298958" algn="l" rtl="0">
              <a:lnSpc>
                <a:spcPct val="90000"/>
              </a:lnSpc>
              <a:spcBef>
                <a:spcPts val="500"/>
              </a:spcBef>
              <a:spcAft>
                <a:spcPts val="0"/>
              </a:spcAft>
              <a:buClr>
                <a:schemeClr val="dk1"/>
              </a:buClr>
              <a:buSzPts val="1108"/>
              <a:buFont typeface="Noto Sans Symbols"/>
              <a:buChar char="➢"/>
              <a:defRPr sz="1108" b="0" i="0" u="none" strike="noStrike" cap="none">
                <a:solidFill>
                  <a:schemeClr val="dk1"/>
                </a:solidFill>
                <a:latin typeface="Arial"/>
                <a:ea typeface="Arial"/>
                <a:cs typeface="Arial"/>
                <a:sym typeface="Arial"/>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4" name="Google Shape;124;p18"/>
          <p:cNvSpPr txBox="1">
            <a:spLocks noGrp="1"/>
          </p:cNvSpPr>
          <p:nvPr>
            <p:ph type="body" idx="5"/>
          </p:nvPr>
        </p:nvSpPr>
        <p:spPr>
          <a:xfrm>
            <a:off x="450588" y="6055245"/>
            <a:ext cx="7702813" cy="386679"/>
          </a:xfrm>
          <a:prstGeom prst="rect">
            <a:avLst/>
          </a:prstGeom>
          <a:noFill/>
          <a:ln>
            <a:noFill/>
          </a:ln>
        </p:spPr>
        <p:txBody>
          <a:bodyPr spcFirstLastPara="1" wrap="square" lIns="0" tIns="0" rIns="0" bIns="0" anchor="b" anchorCtr="0"/>
          <a:lstStyle>
            <a:lvl1pPr marL="457200" marR="0" lvl="0" indent="-228600" algn="l" rtl="0">
              <a:lnSpc>
                <a:spcPct val="90000"/>
              </a:lnSpc>
              <a:spcBef>
                <a:spcPts val="1000"/>
              </a:spcBef>
              <a:spcAft>
                <a:spcPts val="0"/>
              </a:spcAft>
              <a:buClr>
                <a:schemeClr val="dk1"/>
              </a:buClr>
              <a:buSzPts val="923"/>
              <a:buFont typeface="Arial"/>
              <a:buNone/>
              <a:defRPr sz="922" b="0"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5" name="Google Shape;125;p18"/>
          <p:cNvSpPr txBox="1">
            <a:spLocks noGrp="1"/>
          </p:cNvSpPr>
          <p:nvPr>
            <p:ph type="title"/>
          </p:nvPr>
        </p:nvSpPr>
        <p:spPr>
          <a:xfrm>
            <a:off x="450741" y="134054"/>
            <a:ext cx="7245459" cy="582389"/>
          </a:xfrm>
          <a:prstGeom prst="rect">
            <a:avLst/>
          </a:prstGeom>
          <a:noFill/>
          <a:ln>
            <a:noFill/>
          </a:ln>
        </p:spPr>
        <p:txBody>
          <a:bodyPr spcFirstLastPara="1" wrap="square" lIns="0" tIns="0" rIns="0" bIns="0" anchor="b" anchorCtr="0"/>
          <a:lstStyle>
            <a:lvl1pPr marR="0" lvl="0" algn="l" rtl="0">
              <a:lnSpc>
                <a:spcPct val="90000"/>
              </a:lnSpc>
              <a:spcBef>
                <a:spcPts val="0"/>
              </a:spcBef>
              <a:spcAft>
                <a:spcPts val="0"/>
              </a:spcAft>
              <a:buClr>
                <a:schemeClr val="dk1"/>
              </a:buClr>
              <a:buSzPts val="2200"/>
              <a:buFont typeface="Arial"/>
              <a:buNone/>
              <a:defRPr sz="2200" b="1"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6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2" y="3"/>
          <a:ext cx="156345" cy="140074"/>
        </p:xfrm>
        <a:graphic>
          <a:graphicData uri="http://schemas.openxmlformats.org/presentationml/2006/ole">
            <mc:AlternateContent xmlns:mc="http://schemas.openxmlformats.org/markup-compatibility/2006">
              <mc:Choice xmlns:v="urn:schemas-microsoft-com:vml" Requires="v">
                <p:oleObj spid="_x0000_s74087"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031" b="1" i="0" baseline="0" dirty="0">
              <a:latin typeface="Calibri" panose="020F0502020204030204" pitchFamily="34" charset="0"/>
              <a:ea typeface="+mj-ea"/>
              <a:cs typeface="Arial" panose="020B0604020202020204" pitchFamily="34" charset="0"/>
              <a:sym typeface="Calibri" panose="020F0502020204030204" pitchFamily="34" charset="0"/>
            </a:endParaRPr>
          </a:p>
        </p:txBody>
      </p:sp>
      <p:sp>
        <p:nvSpPr>
          <p:cNvPr id="6" name="Title 1"/>
          <p:cNvSpPr>
            <a:spLocks noGrp="1"/>
          </p:cNvSpPr>
          <p:nvPr>
            <p:ph type="title"/>
          </p:nvPr>
        </p:nvSpPr>
        <p:spPr>
          <a:xfrm>
            <a:off x="450741" y="134056"/>
            <a:ext cx="7245459" cy="582389"/>
          </a:xfrm>
          <a:prstGeom prst="rect">
            <a:avLst/>
          </a:prstGeom>
        </p:spPr>
        <p:txBody>
          <a:bodyPr lIns="0" tIns="0" rIns="0" bIns="0" anchor="b"/>
          <a:lstStyle>
            <a:lvl1pPr marL="0" marR="0" indent="0" algn="l" defTabSz="844078" rtl="0" eaLnBrk="1" fontAlgn="auto" latinLnBrk="0" hangingPunct="1">
              <a:lnSpc>
                <a:spcPct val="90000"/>
              </a:lnSpc>
              <a:spcBef>
                <a:spcPct val="0"/>
              </a:spcBef>
              <a:spcAft>
                <a:spcPts val="0"/>
              </a:spcAft>
              <a:buClrTx/>
              <a:buSzTx/>
              <a:buFontTx/>
              <a:buNone/>
              <a:tabLst/>
              <a:defRPr lang="en-US" sz="2031" b="1" smtClean="0">
                <a:solidFill>
                  <a:schemeClr val="tx1"/>
                </a:solidFill>
                <a:latin typeface="Arial" panose="020B0604020202020204" pitchFamily="34" charset="0"/>
                <a:cs typeface="Arial" panose="020B0604020202020204" pitchFamily="34" charset="0"/>
              </a:defRPr>
            </a:lvl1pPr>
          </a:lstStyle>
          <a:p>
            <a:r>
              <a:rPr lang="en-US" sz="2031"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15500175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5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75104"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dirty="0">
              <a:solidFill>
                <a:prstClr val="white"/>
              </a:solidFill>
              <a:cs typeface="Arial" panose="020B0604020202020204" pitchFamily="34" charset="0"/>
              <a:sym typeface="Calibri" panose="020F0502020204030204" pitchFamily="34" charset="0"/>
            </a:endParaRPr>
          </a:p>
        </p:txBody>
      </p:sp>
      <p:sp>
        <p:nvSpPr>
          <p:cNvPr id="6"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39562811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293" y="1588"/>
          <a:ext cx="1290" cy="1588"/>
        </p:xfrm>
        <a:graphic>
          <a:graphicData uri="http://schemas.openxmlformats.org/presentationml/2006/ole">
            <mc:AlternateContent xmlns:mc="http://schemas.openxmlformats.org/markup-compatibility/2006">
              <mc:Choice xmlns:v="urn:schemas-microsoft-com:vml" Requires="v">
                <p:oleObj spid="_x0000_s173215"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293" y="1588"/>
                        <a:ext cx="1290" cy="1588"/>
                      </a:xfrm>
                      <a:prstGeom prst="rect">
                        <a:avLst/>
                      </a:prstGeom>
                    </p:spPr>
                  </p:pic>
                </p:oleObj>
              </mc:Fallback>
            </mc:AlternateContent>
          </a:graphicData>
        </a:graphic>
      </p:graphicFrame>
      <p:sp>
        <p:nvSpPr>
          <p:cNvPr id="3" name="Content Placeholder 2"/>
          <p:cNvSpPr>
            <a:spLocks noGrp="1"/>
          </p:cNvSpPr>
          <p:nvPr>
            <p:ph idx="1"/>
          </p:nvPr>
        </p:nvSpPr>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564702"/>
            <a:ext cx="4705350" cy="293305"/>
          </a:xfrm>
          <a:prstGeom prst="rect">
            <a:avLst/>
          </a:prstGeom>
        </p:spPr>
      </p:pic>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543925" y="76206"/>
            <a:ext cx="1238250" cy="457201"/>
          </a:xfrm>
          <a:prstGeom prst="rect">
            <a:avLst/>
          </a:prstGeom>
        </p:spPr>
      </p:pic>
      <p:pic>
        <p:nvPicPr>
          <p:cNvPr id="9" name="Picture 8"/>
          <p:cNvPicPr>
            <a:picLocks/>
          </p:cNvPicPr>
          <p:nvPr userDrawn="1"/>
        </p:nvPicPr>
        <p:blipFill>
          <a:blip r:embed="rId8" cstate="print"/>
          <a:stretch>
            <a:fillRect/>
          </a:stretch>
        </p:blipFill>
        <p:spPr bwMode="auto">
          <a:xfrm flipV="1">
            <a:off x="135997" y="842400"/>
            <a:ext cx="8779403" cy="72000"/>
          </a:xfrm>
          <a:prstGeom prst="rect">
            <a:avLst/>
          </a:prstGeom>
        </p:spPr>
      </p:pic>
      <p:sp>
        <p:nvSpPr>
          <p:cNvPr id="10" name="Title 1"/>
          <p:cNvSpPr txBox="1">
            <a:spLocks/>
          </p:cNvSpPr>
          <p:nvPr userDrawn="1"/>
        </p:nvSpPr>
        <p:spPr>
          <a:xfrm>
            <a:off x="247650" y="170165"/>
            <a:ext cx="8296275" cy="613799"/>
          </a:xfrm>
          <a:prstGeom prst="rect">
            <a:avLst/>
          </a:prstGeom>
        </p:spPr>
        <p:txBody>
          <a:bodyPr/>
          <a:lstStyle>
            <a:lvl1pPr algn="l" defTabSz="914400" rtl="0" eaLnBrk="1" latinLnBrk="0" hangingPunct="1">
              <a:spcBef>
                <a:spcPct val="0"/>
              </a:spcBef>
              <a:buNone/>
              <a:defRPr sz="4400" kern="1200">
                <a:solidFill>
                  <a:schemeClr val="tx1"/>
                </a:solidFill>
                <a:latin typeface="Arial" panose="020B0604020202020204" pitchFamily="34" charset="0"/>
                <a:ea typeface="+mj-ea"/>
                <a:cs typeface="Arial" panose="020B0604020202020204" pitchFamily="34" charset="0"/>
              </a:defRPr>
            </a:lvl1pPr>
          </a:lstStyle>
          <a:p>
            <a:endParaRPr lang="en-GB" sz="1625" b="1" dirty="0"/>
          </a:p>
        </p:txBody>
      </p:sp>
    </p:spTree>
    <p:extLst>
      <p:ext uri="{BB962C8B-B14F-4D97-AF65-F5344CB8AC3E}">
        <p14:creationId xmlns:p14="http://schemas.microsoft.com/office/powerpoint/2010/main" val="2988612103"/>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192631"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721" y="1589"/>
                        <a:ext cx="1719" cy="1587"/>
                      </a:xfrm>
                      <a:prstGeom prst="rect">
                        <a:avLst/>
                      </a:prstGeom>
                    </p:spPr>
                  </p:pic>
                </p:oleObj>
              </mc:Fallback>
            </mc:AlternateContent>
          </a:graphicData>
        </a:graphic>
      </p:graphicFrame>
      <p:sp>
        <p:nvSpPr>
          <p:cNvPr id="10" name="Do not remove" hidden="1"/>
          <p:cNvSpPr/>
          <p:nvPr userDrawn="1">
            <p:custDataLst>
              <p:tags r:id="rId3"/>
            </p:custDataLst>
          </p:nvPr>
        </p:nvSpPr>
        <p:spPr>
          <a:xfrm>
            <a:off x="0" y="0"/>
            <a:ext cx="13758" cy="12700"/>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US" sz="1600" dirty="0">
              <a:solidFill>
                <a:srgbClr val="000000"/>
              </a:solidFill>
            </a:endParaRPr>
          </a:p>
        </p:txBody>
      </p:sp>
      <p:sp>
        <p:nvSpPr>
          <p:cNvPr id="2" name="McK 2. Slide Title"/>
          <p:cNvSpPr>
            <a:spLocks noGrp="1"/>
          </p:cNvSpPr>
          <p:nvPr>
            <p:ph type="title"/>
          </p:nvPr>
        </p:nvSpPr>
        <p:spPr>
          <a:xfrm>
            <a:off x="247650" y="388621"/>
            <a:ext cx="8007350" cy="292388"/>
          </a:xfrm>
        </p:spPr>
        <p:txBody>
          <a:bodyPr/>
          <a:lstStyle>
            <a:lvl1pPr>
              <a:defRPr sz="1900"/>
            </a:lvl1pPr>
          </a:lstStyle>
          <a:p>
            <a:r>
              <a:rPr lang="en-US" dirty="0"/>
              <a:t>Click to edit Master title style</a:t>
            </a:r>
          </a:p>
        </p:txBody>
      </p:sp>
    </p:spTree>
    <p:extLst>
      <p:ext uri="{BB962C8B-B14F-4D97-AF65-F5344CB8AC3E}">
        <p14:creationId xmlns:p14="http://schemas.microsoft.com/office/powerpoint/2010/main" val="222565005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206965"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1"/>
          <p:cNvSpPr>
            <a:spLocks noGrp="1"/>
          </p:cNvSpPr>
          <p:nvPr>
            <p:ph type="title"/>
          </p:nvPr>
        </p:nvSpPr>
        <p:spPr>
          <a:xfrm>
            <a:off x="273320" y="284184"/>
            <a:ext cx="7639159" cy="582389"/>
          </a:xfrm>
          <a:prstGeom prst="rect">
            <a:avLst/>
          </a:prstGeom>
        </p:spPr>
        <p:txBody>
          <a:bodyPr lIns="0" tIns="0" rIns="0" bIns="0" anchor="b"/>
          <a:lstStyle>
            <a:lvl1pPr marL="0" marR="0" indent="0" algn="l" defTabSz="844083" rtl="0" eaLnBrk="1" fontAlgn="auto" latinLnBrk="0" hangingPunct="1">
              <a:lnSpc>
                <a:spcPct val="90000"/>
              </a:lnSpc>
              <a:spcBef>
                <a:spcPct val="0"/>
              </a:spcBef>
              <a:spcAft>
                <a:spcPts val="0"/>
              </a:spcAft>
              <a:buClrTx/>
              <a:buSzTx/>
              <a:buFontTx/>
              <a:buNone/>
              <a:tabLst/>
              <a:defRPr lang="en-US" sz="2031" b="1" smtClean="0">
                <a:solidFill>
                  <a:schemeClr val="tx1"/>
                </a:solidFill>
                <a:latin typeface="+mn-lt"/>
              </a:defRPr>
            </a:lvl1pPr>
          </a:lstStyle>
          <a:p>
            <a:r>
              <a:rPr lang="en-US" sz="2031" b="1" dirty="0" smtClean="0">
                <a:solidFill>
                  <a:schemeClr val="tx1"/>
                </a:solidFill>
                <a:latin typeface="+mn-lt"/>
              </a:rPr>
              <a:t>Click to edit Master title style</a:t>
            </a:r>
            <a:endParaRPr lang="en-US" dirty="0"/>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222318" y="174388"/>
            <a:ext cx="1507886" cy="466473"/>
          </a:xfrm>
          <a:prstGeom prst="rect">
            <a:avLst/>
          </a:prstGeom>
        </p:spPr>
      </p:pic>
      <p:sp>
        <p:nvSpPr>
          <p:cNvPr id="9" name="Slide Number Placeholder 5"/>
          <p:cNvSpPr txBox="1">
            <a:spLocks/>
          </p:cNvSpPr>
          <p:nvPr userDrawn="1"/>
        </p:nvSpPr>
        <p:spPr>
          <a:xfrm>
            <a:off x="8441873" y="6481185"/>
            <a:ext cx="1334936" cy="365592"/>
          </a:xfrm>
          <a:prstGeom prst="rect">
            <a:avLst/>
          </a:prstGeom>
        </p:spPr>
        <p:txBody>
          <a:bodyPr vert="horz" lIns="82058" tIns="41029" rIns="82058" bIns="41029" rtlCol="0" anchor="ctr"/>
          <a:lstStyle>
            <a:lvl1pPr algn="r">
              <a:defRPr sz="1200">
                <a:solidFill>
                  <a:schemeClr val="tx1">
                    <a:tint val="75000"/>
                  </a:schemeClr>
                </a:solidFill>
              </a:defRPr>
            </a:lvl1pPr>
          </a:lstStyle>
          <a:p>
            <a:pPr marL="0" marR="0" lvl="0" indent="0" algn="r" defTabSz="914293" rtl="0" eaLnBrk="1" fontAlgn="auto" latinLnBrk="0" hangingPunct="1">
              <a:lnSpc>
                <a:spcPct val="100000"/>
              </a:lnSpc>
              <a:spcBef>
                <a:spcPts val="0"/>
              </a:spcBef>
              <a:spcAft>
                <a:spcPts val="0"/>
              </a:spcAft>
              <a:buClrTx/>
              <a:buSzTx/>
              <a:buFontTx/>
              <a:buNone/>
              <a:tabLst/>
              <a:defRPr/>
            </a:pPr>
            <a:fld id="{FA26E27B-9644-4D47-9CB9-4DAD21E549BD}" type="slidenum">
              <a:rPr kumimoji="0" lang="en-US" sz="900" b="0" i="0" u="none" strike="noStrike" kern="1200" cap="none" spc="0" normalizeH="0" baseline="0" noProof="0" smtClean="0">
                <a:ln>
                  <a:noFill/>
                </a:ln>
                <a:solidFill>
                  <a:srgbClr val="3F5F1F"/>
                </a:solidFill>
                <a:effectLst/>
                <a:uLnTx/>
                <a:uFillTx/>
                <a:latin typeface="Calibri"/>
                <a:ea typeface="+mn-ea"/>
                <a:cs typeface="+mn-cs"/>
              </a:rPr>
              <a:pPr marL="0" marR="0" lvl="0" indent="0" algn="r" defTabSz="91429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3F5F1F"/>
              </a:solidFill>
              <a:effectLst/>
              <a:uLnTx/>
              <a:uFillTx/>
              <a:latin typeface="Calibri"/>
              <a:ea typeface="+mn-ea"/>
              <a:cs typeface="+mn-cs"/>
            </a:endParaRPr>
          </a:p>
        </p:txBody>
      </p:sp>
      <p:pic>
        <p:nvPicPr>
          <p:cNvPr id="10" name="Picture 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6564699"/>
            <a:ext cx="4705350" cy="293305"/>
          </a:xfrm>
          <a:prstGeom prst="rect">
            <a:avLst/>
          </a:prstGeom>
        </p:spPr>
      </p:pic>
    </p:spTree>
    <p:extLst>
      <p:ext uri="{BB962C8B-B14F-4D97-AF65-F5344CB8AC3E}">
        <p14:creationId xmlns:p14="http://schemas.microsoft.com/office/powerpoint/2010/main" val="901931148"/>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14819"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dirty="0">
              <a:solidFill>
                <a:prstClr val="white"/>
              </a:solidFill>
              <a:cs typeface="Arial" panose="020B0604020202020204" pitchFamily="34" charset="0"/>
              <a:sym typeface="Calibri" panose="020F0502020204030204" pitchFamily="34" charset="0"/>
            </a:endParaRPr>
          </a:p>
        </p:txBody>
      </p:sp>
      <p:sp>
        <p:nvSpPr>
          <p:cNvPr id="6" name="Title 1"/>
          <p:cNvSpPr>
            <a:spLocks noGrp="1"/>
          </p:cNvSpPr>
          <p:nvPr>
            <p:ph type="title" hasCustomPrompt="1"/>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Style</a:t>
            </a:r>
            <a:endParaRPr lang="en-US" dirty="0"/>
          </a:p>
        </p:txBody>
      </p:sp>
      <p:sp>
        <p:nvSpPr>
          <p:cNvPr id="5" name="Text Placeholder 7"/>
          <p:cNvSpPr>
            <a:spLocks noGrp="1"/>
          </p:cNvSpPr>
          <p:nvPr>
            <p:ph type="body" sz="quarter" idx="13" hasCustomPrompt="1"/>
          </p:nvPr>
        </p:nvSpPr>
        <p:spPr>
          <a:xfrm>
            <a:off x="450276" y="1066801"/>
            <a:ext cx="9005453" cy="5181599"/>
          </a:xfrm>
          <a:prstGeom prst="rect">
            <a:avLst/>
          </a:prstGeom>
        </p:spPr>
        <p:txBody>
          <a:bodyPr lIns="0" tIns="0" rIns="0" bIns="0">
            <a:noAutofit/>
          </a:bodyPr>
          <a:lstStyle>
            <a:lvl1pPr marL="173037" indent="-173037">
              <a:spcBef>
                <a:spcPts val="718"/>
              </a:spcBef>
              <a:defRPr sz="1600" baseline="0">
                <a:latin typeface="Arial" panose="020B0604020202020204" pitchFamily="34" charset="0"/>
                <a:cs typeface="Arial" panose="020B0604020202020204" pitchFamily="34" charset="0"/>
              </a:defRPr>
            </a:lvl1pPr>
            <a:lvl2pPr marL="347661" indent="-174624">
              <a:spcBef>
                <a:spcPts val="718"/>
              </a:spcBef>
              <a:buFont typeface="Wingdings" panose="05000000000000000000" pitchFamily="2" charset="2"/>
              <a:buChar char="ü"/>
              <a:defRPr sz="1400">
                <a:latin typeface="Arial" panose="020B0604020202020204" pitchFamily="34" charset="0"/>
                <a:cs typeface="Arial" panose="020B0604020202020204" pitchFamily="34" charset="0"/>
              </a:defRPr>
            </a:lvl2pPr>
            <a:lvl3pPr marL="509585" indent="-161924">
              <a:buFont typeface="Courier New" pitchFamily="49" charset="0"/>
              <a:buChar char="o"/>
              <a:defRPr sz="1400">
                <a:latin typeface="Arial" panose="020B0604020202020204" pitchFamily="34" charset="0"/>
                <a:cs typeface="Arial" panose="020B0604020202020204" pitchFamily="34" charset="0"/>
              </a:defRPr>
            </a:lvl3pPr>
            <a:lvl4pPr marL="682621" indent="-173037">
              <a:defRPr sz="1400">
                <a:latin typeface="Arial" panose="020B0604020202020204" pitchFamily="34" charset="0"/>
                <a:cs typeface="Arial" panose="020B0604020202020204" pitchFamily="34" charset="0"/>
              </a:defRPr>
            </a:lvl4pPr>
            <a:lvl5pPr>
              <a:defRPr sz="1800"/>
            </a:lvl5pPr>
          </a:lstStyle>
          <a:p>
            <a:pPr lvl="0"/>
            <a:r>
              <a:rPr lang="en-US" dirty="0"/>
              <a:t>Click to edit Master text first level</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9185043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15843"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dirty="0">
              <a:solidFill>
                <a:prstClr val="white"/>
              </a:solidFill>
              <a:cs typeface="Arial" panose="020B0604020202020204" pitchFamily="34" charset="0"/>
              <a:sym typeface="Calibri" panose="020F0502020204030204" pitchFamily="34" charset="0"/>
            </a:endParaRPr>
          </a:p>
        </p:txBody>
      </p:sp>
      <p:sp>
        <p:nvSpPr>
          <p:cNvPr id="6"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9753060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1_Title Slide">
  <p:cSld name="1_Title Slide">
    <p:bg>
      <p:bgPr>
        <a:solidFill>
          <a:srgbClr val="006547"/>
        </a:solidFill>
        <a:effectLst/>
      </p:bgPr>
    </p:bg>
    <p:spTree>
      <p:nvGrpSpPr>
        <p:cNvPr id="1" name="Shape 21"/>
        <p:cNvGrpSpPr/>
        <p:nvPr/>
      </p:nvGrpSpPr>
      <p:grpSpPr>
        <a:xfrm>
          <a:off x="0" y="0"/>
          <a:ext cx="0" cy="0"/>
          <a:chOff x="0" y="0"/>
          <a:chExt cx="0" cy="0"/>
        </a:xfrm>
      </p:grpSpPr>
      <p:pic>
        <p:nvPicPr>
          <p:cNvPr id="22" name="Google Shape;22;p4"/>
          <p:cNvPicPr preferRelativeResize="0"/>
          <p:nvPr/>
        </p:nvPicPr>
        <p:blipFill rotWithShape="1">
          <a:blip r:embed="rId2">
            <a:alphaModFix/>
          </a:blip>
          <a:srcRect/>
          <a:stretch/>
        </p:blipFill>
        <p:spPr>
          <a:xfrm>
            <a:off x="1588" y="1588"/>
            <a:ext cx="1588" cy="1588"/>
          </a:xfrm>
          <a:prstGeom prst="rect">
            <a:avLst/>
          </a:prstGeom>
          <a:noFill/>
          <a:ln>
            <a:noFill/>
          </a:ln>
        </p:spPr>
      </p:pic>
      <p:sp>
        <p:nvSpPr>
          <p:cNvPr id="23" name="Google Shape;23;p4"/>
          <p:cNvSpPr txBox="1">
            <a:spLocks noGrp="1"/>
          </p:cNvSpPr>
          <p:nvPr>
            <p:ph type="title"/>
          </p:nvPr>
        </p:nvSpPr>
        <p:spPr>
          <a:xfrm>
            <a:off x="495300" y="4824250"/>
            <a:ext cx="8915400" cy="1143000"/>
          </a:xfrm>
          <a:prstGeom prst="rect">
            <a:avLst/>
          </a:prstGeom>
          <a:noFill/>
          <a:ln>
            <a:noFill/>
          </a:ln>
        </p:spPr>
        <p:txBody>
          <a:bodyPr spcFirstLastPara="1" wrap="square" lIns="91425" tIns="45700" rIns="91425" bIns="45700" anchor="t" anchorCtr="0"/>
          <a:lstStyle>
            <a:lvl1pPr marR="0" lvl="0" algn="l" rtl="0">
              <a:lnSpc>
                <a:spcPct val="90000"/>
              </a:lnSpc>
              <a:spcBef>
                <a:spcPts val="0"/>
              </a:spcBef>
              <a:spcAft>
                <a:spcPts val="0"/>
              </a:spcAft>
              <a:buClr>
                <a:schemeClr val="lt1"/>
              </a:buClr>
              <a:buSzPts val="3600"/>
              <a:buFont typeface="Arial"/>
              <a:buNone/>
              <a:defRPr sz="3600" b="0" i="0" u="none" strike="noStrike" cap="none">
                <a:solidFill>
                  <a:schemeClr val="lt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pic>
        <p:nvPicPr>
          <p:cNvPr id="24" name="Google Shape;24;p4"/>
          <p:cNvPicPr preferRelativeResize="0"/>
          <p:nvPr/>
        </p:nvPicPr>
        <p:blipFill rotWithShape="1">
          <a:blip r:embed="rId3">
            <a:alphaModFix/>
          </a:blip>
          <a:srcRect/>
          <a:stretch/>
        </p:blipFill>
        <p:spPr>
          <a:xfrm>
            <a:off x="767" y="3"/>
            <a:ext cx="9904468" cy="4759523"/>
          </a:xfrm>
          <a:prstGeom prst="rect">
            <a:avLst/>
          </a:prstGeom>
          <a:noFill/>
          <a:ln>
            <a:noFill/>
          </a:ln>
        </p:spPr>
      </p:pic>
      <p:sp>
        <p:nvSpPr>
          <p:cNvPr id="25" name="Google Shape;25;p4"/>
          <p:cNvSpPr txBox="1">
            <a:spLocks noGrp="1"/>
          </p:cNvSpPr>
          <p:nvPr>
            <p:ph type="subTitle" idx="1"/>
          </p:nvPr>
        </p:nvSpPr>
        <p:spPr>
          <a:xfrm>
            <a:off x="495300" y="6031975"/>
            <a:ext cx="8397935" cy="384595"/>
          </a:xfrm>
          <a:prstGeom prst="rect">
            <a:avLst/>
          </a:prstGeom>
          <a:noFill/>
          <a:ln>
            <a:noFill/>
          </a:ln>
        </p:spPr>
        <p:txBody>
          <a:bodyPr spcFirstLastPara="1" wrap="square" lIns="0" tIns="0" rIns="0" bIns="0" anchor="t" anchorCtr="0"/>
          <a:lstStyle>
            <a:lvl1pPr marR="0" lvl="0" algn="l" rtl="0">
              <a:lnSpc>
                <a:spcPct val="90000"/>
              </a:lnSpc>
              <a:spcBef>
                <a:spcPts val="1000"/>
              </a:spcBef>
              <a:spcAft>
                <a:spcPts val="0"/>
              </a:spcAft>
              <a:buClr>
                <a:schemeClr val="lt1"/>
              </a:buClr>
              <a:buSzPts val="1600"/>
              <a:buFont typeface="Arial"/>
              <a:buNone/>
              <a:defRPr sz="1600" b="0" i="1" u="none" strike="noStrike" cap="none">
                <a:solidFill>
                  <a:schemeClr val="lt1"/>
                </a:solidFill>
                <a:latin typeface="Arial"/>
                <a:ea typeface="Arial"/>
                <a:cs typeface="Arial"/>
                <a:sym typeface="Arial"/>
              </a:defRPr>
            </a:lvl1pPr>
            <a:lvl2pPr marR="0" lvl="1" algn="ctr" rtl="0">
              <a:lnSpc>
                <a:spcPct val="90000"/>
              </a:lnSpc>
              <a:spcBef>
                <a:spcPts val="500"/>
              </a:spcBef>
              <a:spcAft>
                <a:spcPts val="0"/>
              </a:spcAft>
              <a:buClr>
                <a:srgbClr val="888888"/>
              </a:buClr>
              <a:buSzPts val="2400"/>
              <a:buFont typeface="Arial"/>
              <a:buNone/>
              <a:defRPr sz="2400" b="0" i="0" u="none" strike="noStrike" cap="none">
                <a:solidFill>
                  <a:srgbClr val="888888"/>
                </a:solidFill>
                <a:latin typeface="Calibri"/>
                <a:ea typeface="Calibri"/>
                <a:cs typeface="Calibri"/>
                <a:sym typeface="Calibri"/>
              </a:defRPr>
            </a:lvl2pPr>
            <a:lvl3pPr marR="0" lvl="2" algn="ctr" rtl="0">
              <a:lnSpc>
                <a:spcPct val="90000"/>
              </a:lnSpc>
              <a:spcBef>
                <a:spcPts val="500"/>
              </a:spcBef>
              <a:spcAft>
                <a:spcPts val="0"/>
              </a:spcAft>
              <a:buClr>
                <a:srgbClr val="888888"/>
              </a:buClr>
              <a:buSzPts val="2000"/>
              <a:buFont typeface="Arial"/>
              <a:buNone/>
              <a:defRPr sz="2000" b="0" i="0" u="none" strike="noStrike" cap="none">
                <a:solidFill>
                  <a:srgbClr val="888888"/>
                </a:solidFill>
                <a:latin typeface="Calibri"/>
                <a:ea typeface="Calibri"/>
                <a:cs typeface="Calibri"/>
                <a:sym typeface="Calibri"/>
              </a:defRPr>
            </a:lvl3pPr>
            <a:lvl4pPr marR="0" lvl="3"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4pPr>
            <a:lvl5pPr marR="0" lvl="4"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5pPr>
            <a:lvl6pPr marR="0" lvl="5"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6pPr>
            <a:lvl7pPr marR="0" lvl="6"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7pPr>
            <a:lvl8pPr marR="0" lvl="7"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8pPr>
            <a:lvl9pPr marR="0" lvl="8"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9pPr>
          </a:lstStyle>
          <a:p>
            <a:endParaRPr/>
          </a:p>
        </p:txBody>
      </p:sp>
      <p:sp>
        <p:nvSpPr>
          <p:cNvPr id="26" name="Google Shape;26;p4"/>
          <p:cNvSpPr txBox="1">
            <a:spLocks noGrp="1"/>
          </p:cNvSpPr>
          <p:nvPr>
            <p:ph type="body" idx="2"/>
          </p:nvPr>
        </p:nvSpPr>
        <p:spPr>
          <a:xfrm>
            <a:off x="495300" y="6478666"/>
            <a:ext cx="8397831" cy="311885"/>
          </a:xfrm>
          <a:prstGeom prst="rect">
            <a:avLst/>
          </a:prstGeom>
          <a:noFill/>
          <a:ln>
            <a:noFill/>
          </a:ln>
        </p:spPr>
        <p:txBody>
          <a:bodyPr spcFirstLastPara="1" wrap="square" lIns="0" tIns="0" rIns="0" bIns="0" anchor="t" anchorCtr="0"/>
          <a:lstStyle>
            <a:lvl1pPr marL="457200" marR="0" lvl="0" indent="-228600" algn="l" rtl="0">
              <a:lnSpc>
                <a:spcPct val="90000"/>
              </a:lnSpc>
              <a:spcBef>
                <a:spcPts val="100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1pPr>
            <a:lvl2pPr marL="914400" marR="0" lvl="1"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2pPr>
            <a:lvl3pPr marL="1371600" marR="0" lvl="2"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16867"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dirty="0">
              <a:solidFill>
                <a:prstClr val="white"/>
              </a:solidFill>
              <a:cs typeface="Arial" panose="020B0604020202020204" pitchFamily="34" charset="0"/>
              <a:sym typeface="Calibri" panose="020F0502020204030204" pitchFamily="34" charset="0"/>
            </a:endParaRPr>
          </a:p>
        </p:txBody>
      </p:sp>
      <p:sp>
        <p:nvSpPr>
          <p:cNvPr id="6"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
        <p:nvSpPr>
          <p:cNvPr id="5" name="Text Placeholder 7"/>
          <p:cNvSpPr>
            <a:spLocks noGrp="1"/>
          </p:cNvSpPr>
          <p:nvPr>
            <p:ph type="body" sz="quarter" idx="13" hasCustomPrompt="1"/>
          </p:nvPr>
        </p:nvSpPr>
        <p:spPr>
          <a:xfrm>
            <a:off x="450276" y="1066801"/>
            <a:ext cx="9005453" cy="4876799"/>
          </a:xfrm>
          <a:prstGeom prst="rect">
            <a:avLst/>
          </a:prstGeom>
        </p:spPr>
        <p:txBody>
          <a:bodyPr lIns="0" tIns="0" rIns="0" bIns="0">
            <a:noAutofit/>
          </a:bodyPr>
          <a:lstStyle>
            <a:lvl1pPr marL="173037" indent="-173037">
              <a:spcBef>
                <a:spcPts val="718"/>
              </a:spcBef>
              <a:defRPr sz="1600" baseline="0">
                <a:latin typeface="Arial" panose="020B0604020202020204" pitchFamily="34" charset="0"/>
                <a:cs typeface="Arial" panose="020B0604020202020204" pitchFamily="34" charset="0"/>
              </a:defRPr>
            </a:lvl1pPr>
            <a:lvl2pPr marL="347661" indent="-174624">
              <a:spcBef>
                <a:spcPts val="718"/>
              </a:spcBef>
              <a:buFont typeface="Wingdings" panose="05000000000000000000" pitchFamily="2" charset="2"/>
              <a:buChar char="ü"/>
              <a:defRPr sz="1400">
                <a:latin typeface="Arial" panose="020B0604020202020204" pitchFamily="34" charset="0"/>
                <a:cs typeface="Arial" panose="020B0604020202020204" pitchFamily="34" charset="0"/>
              </a:defRPr>
            </a:lvl2pPr>
            <a:lvl3pPr marL="509585" indent="-161924">
              <a:buFont typeface="Courier New" pitchFamily="49" charset="0"/>
              <a:buChar char="o"/>
              <a:defRPr sz="1400">
                <a:latin typeface="Arial" panose="020B0604020202020204" pitchFamily="34" charset="0"/>
                <a:cs typeface="Arial" panose="020B0604020202020204" pitchFamily="34" charset="0"/>
              </a:defRPr>
            </a:lvl3pPr>
            <a:lvl4pPr marL="682621" indent="-173037">
              <a:defRPr sz="1400">
                <a:latin typeface="Arial" panose="020B0604020202020204" pitchFamily="34" charset="0"/>
                <a:cs typeface="Arial" panose="020B0604020202020204" pitchFamily="34" charset="0"/>
              </a:defRPr>
            </a:lvl4pPr>
            <a:lvl5pPr>
              <a:defRPr sz="1800"/>
            </a:lvl5pPr>
          </a:lstStyle>
          <a:p>
            <a:pPr lvl="0"/>
            <a:r>
              <a:rPr lang="en-US" dirty="0"/>
              <a:t>Click to edit Master text first level</a:t>
            </a:r>
          </a:p>
          <a:p>
            <a:pPr lvl="1"/>
            <a:r>
              <a:rPr lang="en-US" dirty="0"/>
              <a:t>Second level</a:t>
            </a:r>
          </a:p>
          <a:p>
            <a:pPr lvl="2"/>
            <a:r>
              <a:rPr lang="en-US" dirty="0"/>
              <a:t>Third level</a:t>
            </a:r>
          </a:p>
          <a:p>
            <a:pPr lvl="3"/>
            <a:r>
              <a:rPr lang="en-US" dirty="0"/>
              <a:t>Fourth level</a:t>
            </a:r>
          </a:p>
        </p:txBody>
      </p:sp>
      <p:sp>
        <p:nvSpPr>
          <p:cNvPr id="9"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dirty="0"/>
              <a:t>Click to edit Master footer. This space is reserved for footnotes and sources only, and cannot be expanded beyond its current size. SOURCE::</a:t>
            </a:r>
            <a:r>
              <a:rPr lang="en-US" dirty="0" err="1"/>
              <a:t>xxxxxxxxxxxxxxxxxxxxxxxxxxxxxxxxxxxxxxxxxxxxx</a:t>
            </a:r>
            <a:endParaRPr lang="en-US" dirty="0"/>
          </a:p>
        </p:txBody>
      </p:sp>
    </p:spTree>
    <p:extLst>
      <p:ext uri="{BB962C8B-B14F-4D97-AF65-F5344CB8AC3E}">
        <p14:creationId xmlns:p14="http://schemas.microsoft.com/office/powerpoint/2010/main" val="16600806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17891"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dirty="0">
              <a:solidFill>
                <a:prstClr val="white"/>
              </a:solidFill>
              <a:cs typeface="Arial" panose="020B0604020202020204" pitchFamily="34" charset="0"/>
              <a:sym typeface="Calibri" panose="020F0502020204030204" pitchFamily="34" charset="0"/>
            </a:endParaRPr>
          </a:p>
        </p:txBody>
      </p:sp>
      <p:sp>
        <p:nvSpPr>
          <p:cNvPr id="9"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dirty="0"/>
              <a:t>Click to edit Master footer. This space is reserved for footnotes and sources only, and cannot be expanded beyond its current size. SOURCE::</a:t>
            </a:r>
            <a:r>
              <a:rPr lang="en-US" dirty="0" err="1"/>
              <a:t>xxxxxxxxxxxxxxxxxxxxxxxxxxxxxxxxxxxxxxxxxxxxx</a:t>
            </a:r>
            <a:endParaRPr lang="en-US" dirty="0"/>
          </a:p>
        </p:txBody>
      </p:sp>
      <p:sp>
        <p:nvSpPr>
          <p:cNvPr id="10"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328432984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915"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dirty="0">
              <a:solidFill>
                <a:srgbClr val="70AD47">
                  <a:lumMod val="50000"/>
                </a:srgbClr>
              </a:solidFill>
              <a:cs typeface="Arial" panose="020B0604020202020204" pitchFamily="34" charset="0"/>
              <a:sym typeface="Calibri" panose="020F0502020204030204" pitchFamily="34" charset="0"/>
            </a:endParaRPr>
          </a:p>
        </p:txBody>
      </p:sp>
      <p:sp>
        <p:nvSpPr>
          <p:cNvPr id="4" name="SmartArt Placeholder 26"/>
          <p:cNvSpPr>
            <a:spLocks noGrp="1"/>
          </p:cNvSpPr>
          <p:nvPr>
            <p:ph type="dgm" sz="quarter" idx="18" hasCustomPrompt="1"/>
          </p:nvPr>
        </p:nvSpPr>
        <p:spPr>
          <a:xfrm>
            <a:off x="1350818" y="922317"/>
            <a:ext cx="7204364" cy="4639235"/>
          </a:xfrm>
          <a:prstGeom prst="rect">
            <a:avLst/>
          </a:prstGeom>
          <a:ln w="9525">
            <a:solidFill>
              <a:schemeClr val="tx1"/>
            </a:solidFill>
          </a:ln>
        </p:spPr>
        <p:txBody>
          <a:bodyPr lIns="82058" tIns="41029" rIns="82058" bIns="41029"/>
          <a:lstStyle>
            <a:lvl1pPr>
              <a:defRPr>
                <a:solidFill>
                  <a:schemeClr val="bg2"/>
                </a:solidFill>
                <a:latin typeface="Arial" panose="020B0604020202020204" pitchFamily="34" charset="0"/>
                <a:cs typeface="Arial" panose="020B0604020202020204" pitchFamily="34" charset="0"/>
              </a:defRPr>
            </a:lvl1pPr>
          </a:lstStyle>
          <a:p>
            <a:r>
              <a:rPr lang="en-US" dirty="0"/>
              <a:t>`</a:t>
            </a:r>
          </a:p>
        </p:txBody>
      </p:sp>
      <p:cxnSp>
        <p:nvCxnSpPr>
          <p:cNvPr id="5" name="Straight Connector 4"/>
          <p:cNvCxnSpPr/>
          <p:nvPr userDrawn="1"/>
        </p:nvCxnSpPr>
        <p:spPr>
          <a:xfrm>
            <a:off x="4953000" y="922317"/>
            <a:ext cx="0" cy="463923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a:off x="1350818" y="3141080"/>
            <a:ext cx="7204364"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 Placeholder 42"/>
          <p:cNvSpPr>
            <a:spLocks noGrp="1"/>
          </p:cNvSpPr>
          <p:nvPr>
            <p:ph type="body" sz="quarter" idx="21" hasCustomPrompt="1"/>
          </p:nvPr>
        </p:nvSpPr>
        <p:spPr>
          <a:xfrm>
            <a:off x="1350821" y="989556"/>
            <a:ext cx="3602182" cy="268941"/>
          </a:xfrm>
          <a:prstGeom prst="rect">
            <a:avLst/>
          </a:prstGeom>
        </p:spPr>
        <p:txBody>
          <a:bodyPr lIns="82058" tIns="41029" rIns="82058" bIns="41029"/>
          <a:lstStyle>
            <a:lvl1pPr marL="0" indent="0" algn="ctr">
              <a:buNone/>
              <a:defRPr sz="1400" b="1" baseline="0">
                <a:solidFill>
                  <a:srgbClr val="3F5F1F"/>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0" name="Text Placeholder 42"/>
          <p:cNvSpPr>
            <a:spLocks noGrp="1"/>
          </p:cNvSpPr>
          <p:nvPr>
            <p:ph type="body" sz="quarter" idx="22" hasCustomPrompt="1"/>
          </p:nvPr>
        </p:nvSpPr>
        <p:spPr>
          <a:xfrm>
            <a:off x="4953004" y="989556"/>
            <a:ext cx="3602182" cy="268941"/>
          </a:xfrm>
          <a:prstGeom prst="rect">
            <a:avLst/>
          </a:prstGeom>
        </p:spPr>
        <p:txBody>
          <a:bodyPr lIns="82058" tIns="41029" rIns="82058" bIns="41029"/>
          <a:lstStyle>
            <a:lvl1pPr marL="0" indent="0" algn="ctr">
              <a:buNone/>
              <a:defRPr sz="1400" b="1" baseline="0">
                <a:solidFill>
                  <a:srgbClr val="3F5F1F"/>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1" name="Text Placeholder 42"/>
          <p:cNvSpPr>
            <a:spLocks noGrp="1"/>
          </p:cNvSpPr>
          <p:nvPr>
            <p:ph type="body" sz="quarter" idx="23" hasCustomPrompt="1"/>
          </p:nvPr>
        </p:nvSpPr>
        <p:spPr>
          <a:xfrm>
            <a:off x="1350821" y="3208318"/>
            <a:ext cx="3602182" cy="268941"/>
          </a:xfrm>
          <a:prstGeom prst="rect">
            <a:avLst/>
          </a:prstGeom>
        </p:spPr>
        <p:txBody>
          <a:bodyPr lIns="82058" tIns="41029" rIns="82058" bIns="41029"/>
          <a:lstStyle>
            <a:lvl1pPr marL="0" indent="0" algn="ctr">
              <a:buNone/>
              <a:defRPr sz="1400" b="1" baseline="0">
                <a:solidFill>
                  <a:srgbClr val="3F5F1F"/>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2" name="Text Placeholder 42"/>
          <p:cNvSpPr>
            <a:spLocks noGrp="1"/>
          </p:cNvSpPr>
          <p:nvPr>
            <p:ph type="body" sz="quarter" idx="24" hasCustomPrompt="1"/>
          </p:nvPr>
        </p:nvSpPr>
        <p:spPr>
          <a:xfrm>
            <a:off x="4953004" y="3208318"/>
            <a:ext cx="3602182" cy="268941"/>
          </a:xfrm>
          <a:prstGeom prst="rect">
            <a:avLst/>
          </a:prstGeom>
        </p:spPr>
        <p:txBody>
          <a:bodyPr lIns="82058" tIns="41029" rIns="82058" bIns="41029"/>
          <a:lstStyle>
            <a:lvl1pPr marL="0" indent="0" algn="ctr">
              <a:buNone/>
              <a:defRPr sz="1400" b="1" baseline="0">
                <a:solidFill>
                  <a:srgbClr val="3F5F1F"/>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3" name="Text Placeholder 42"/>
          <p:cNvSpPr>
            <a:spLocks noGrp="1"/>
          </p:cNvSpPr>
          <p:nvPr>
            <p:ph type="body" sz="quarter" idx="25" hasCustomPrompt="1"/>
          </p:nvPr>
        </p:nvSpPr>
        <p:spPr>
          <a:xfrm rot="16200000">
            <a:off x="-72049" y="1894916"/>
            <a:ext cx="2245379" cy="300182"/>
          </a:xfrm>
          <a:prstGeom prst="rect">
            <a:avLst/>
          </a:prstGeom>
        </p:spPr>
        <p:txBody>
          <a:bodyPr lIns="82058" tIns="41029" rIns="82058" bIns="41029"/>
          <a:lstStyle>
            <a:lvl1pPr marL="0" indent="0" algn="ctr">
              <a:buNone/>
              <a:defRPr sz="1400" b="1" baseline="0">
                <a:solidFill>
                  <a:schemeClr val="tx1"/>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4" name="Text Placeholder 42"/>
          <p:cNvSpPr>
            <a:spLocks noGrp="1"/>
          </p:cNvSpPr>
          <p:nvPr>
            <p:ph type="body" sz="quarter" idx="26" hasCustomPrompt="1"/>
          </p:nvPr>
        </p:nvSpPr>
        <p:spPr>
          <a:xfrm rot="16200000">
            <a:off x="-125978" y="4234844"/>
            <a:ext cx="2353235" cy="300183"/>
          </a:xfrm>
          <a:prstGeom prst="rect">
            <a:avLst/>
          </a:prstGeom>
        </p:spPr>
        <p:txBody>
          <a:bodyPr lIns="82058" tIns="41029" rIns="82058" bIns="41029"/>
          <a:lstStyle>
            <a:lvl1pPr marL="0" indent="0" algn="ctr">
              <a:buNone/>
              <a:defRPr sz="1400" b="1" baseline="0">
                <a:solidFill>
                  <a:schemeClr val="tx1"/>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5" name="Text Placeholder 42"/>
          <p:cNvSpPr>
            <a:spLocks noGrp="1"/>
          </p:cNvSpPr>
          <p:nvPr>
            <p:ph type="body" sz="quarter" idx="27" hasCustomPrompt="1"/>
          </p:nvPr>
        </p:nvSpPr>
        <p:spPr>
          <a:xfrm>
            <a:off x="1350821" y="5696027"/>
            <a:ext cx="3602182" cy="268941"/>
          </a:xfrm>
          <a:prstGeom prst="rect">
            <a:avLst/>
          </a:prstGeom>
        </p:spPr>
        <p:txBody>
          <a:bodyPr lIns="82058" tIns="41029" rIns="82058" bIns="41029"/>
          <a:lstStyle>
            <a:lvl1pPr marL="0" indent="0" algn="ctr">
              <a:buNone/>
              <a:defRPr sz="1400" b="1" baseline="0">
                <a:solidFill>
                  <a:schemeClr val="tx1"/>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6" name="Text Placeholder 42"/>
          <p:cNvSpPr>
            <a:spLocks noGrp="1"/>
          </p:cNvSpPr>
          <p:nvPr>
            <p:ph type="body" sz="quarter" idx="28" hasCustomPrompt="1"/>
          </p:nvPr>
        </p:nvSpPr>
        <p:spPr>
          <a:xfrm>
            <a:off x="5028046" y="5696027"/>
            <a:ext cx="3527136" cy="268941"/>
          </a:xfrm>
          <a:prstGeom prst="rect">
            <a:avLst/>
          </a:prstGeom>
        </p:spPr>
        <p:txBody>
          <a:bodyPr lIns="82058" tIns="41029" rIns="82058" bIns="41029"/>
          <a:lstStyle>
            <a:lvl1pPr marL="0" indent="0" algn="ctr">
              <a:buNone/>
              <a:defRPr sz="1400" b="1" baseline="0">
                <a:solidFill>
                  <a:schemeClr val="tx1"/>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7" name="Text Placeholder 51"/>
          <p:cNvSpPr>
            <a:spLocks noGrp="1"/>
          </p:cNvSpPr>
          <p:nvPr>
            <p:ph type="body" sz="quarter" idx="29" hasCustomPrompt="1"/>
          </p:nvPr>
        </p:nvSpPr>
        <p:spPr>
          <a:xfrm>
            <a:off x="1425867" y="1325727"/>
            <a:ext cx="3452090" cy="1748118"/>
          </a:xfrm>
          <a:prstGeom prst="rect">
            <a:avLst/>
          </a:prstGeom>
        </p:spPr>
        <p:txBody>
          <a:bodyPr lIns="82058" tIns="41029" rIns="82058" bIns="41029"/>
          <a:lstStyle>
            <a:lvl1pPr marL="159730" indent="-159730">
              <a:buFont typeface="Arial" pitchFamily="34" charset="0"/>
              <a:buChar char="•"/>
              <a:defRPr sz="1200" baseline="0">
                <a:latin typeface="Arial" panose="020B0604020202020204" pitchFamily="34" charset="0"/>
                <a:cs typeface="Arial" panose="020B0604020202020204" pitchFamily="34" charset="0"/>
              </a:defRPr>
            </a:lvl1pPr>
          </a:lstStyle>
          <a:p>
            <a:pPr lvl="0"/>
            <a:r>
              <a:rPr lang="en-US" dirty="0"/>
              <a:t>Click to edit text </a:t>
            </a:r>
          </a:p>
        </p:txBody>
      </p:sp>
      <p:sp>
        <p:nvSpPr>
          <p:cNvPr id="18" name="Text Placeholder 51"/>
          <p:cNvSpPr>
            <a:spLocks noGrp="1"/>
          </p:cNvSpPr>
          <p:nvPr>
            <p:ph type="body" sz="quarter" idx="30" hasCustomPrompt="1"/>
          </p:nvPr>
        </p:nvSpPr>
        <p:spPr>
          <a:xfrm>
            <a:off x="1425867" y="3544492"/>
            <a:ext cx="3452090" cy="1949824"/>
          </a:xfrm>
          <a:prstGeom prst="rect">
            <a:avLst/>
          </a:prstGeom>
        </p:spPr>
        <p:txBody>
          <a:bodyPr lIns="82058" tIns="41029" rIns="82058" bIns="41029"/>
          <a:lstStyle>
            <a:lvl1pPr marL="159730" indent="-159730">
              <a:buFont typeface="Arial" pitchFamily="34" charset="0"/>
              <a:buChar char="•"/>
              <a:defRPr sz="1200" baseline="0">
                <a:latin typeface="Arial" panose="020B0604020202020204" pitchFamily="34" charset="0"/>
                <a:cs typeface="Arial" panose="020B0604020202020204" pitchFamily="34" charset="0"/>
              </a:defRPr>
            </a:lvl1pPr>
          </a:lstStyle>
          <a:p>
            <a:pPr lvl="0"/>
            <a:r>
              <a:rPr lang="en-US" dirty="0"/>
              <a:t>Click to edit text </a:t>
            </a:r>
          </a:p>
        </p:txBody>
      </p:sp>
      <p:sp>
        <p:nvSpPr>
          <p:cNvPr id="19" name="Text Placeholder 51"/>
          <p:cNvSpPr>
            <a:spLocks noGrp="1"/>
          </p:cNvSpPr>
          <p:nvPr>
            <p:ph type="body" sz="quarter" idx="31" hasCustomPrompt="1"/>
          </p:nvPr>
        </p:nvSpPr>
        <p:spPr>
          <a:xfrm>
            <a:off x="5028049" y="3544492"/>
            <a:ext cx="3452090" cy="1949824"/>
          </a:xfrm>
          <a:prstGeom prst="rect">
            <a:avLst/>
          </a:prstGeom>
        </p:spPr>
        <p:txBody>
          <a:bodyPr lIns="82058" tIns="41029" rIns="82058" bIns="41029"/>
          <a:lstStyle>
            <a:lvl1pPr marL="159730" indent="-159730">
              <a:buFont typeface="Arial" pitchFamily="34" charset="0"/>
              <a:buChar char="•"/>
              <a:defRPr sz="1200" baseline="0">
                <a:latin typeface="Arial" panose="020B0604020202020204" pitchFamily="34" charset="0"/>
                <a:cs typeface="Arial" panose="020B0604020202020204" pitchFamily="34" charset="0"/>
              </a:defRPr>
            </a:lvl1pPr>
          </a:lstStyle>
          <a:p>
            <a:pPr lvl="0"/>
            <a:r>
              <a:rPr lang="en-US" dirty="0"/>
              <a:t>Click to edit text </a:t>
            </a:r>
          </a:p>
        </p:txBody>
      </p:sp>
      <p:sp>
        <p:nvSpPr>
          <p:cNvPr id="20" name="Text Placeholder 51"/>
          <p:cNvSpPr>
            <a:spLocks noGrp="1"/>
          </p:cNvSpPr>
          <p:nvPr>
            <p:ph type="body" sz="quarter" idx="32" hasCustomPrompt="1"/>
          </p:nvPr>
        </p:nvSpPr>
        <p:spPr>
          <a:xfrm>
            <a:off x="5028049" y="1325727"/>
            <a:ext cx="3452090" cy="1748118"/>
          </a:xfrm>
          <a:prstGeom prst="rect">
            <a:avLst/>
          </a:prstGeom>
        </p:spPr>
        <p:txBody>
          <a:bodyPr lIns="82058" tIns="41029" rIns="82058" bIns="41029"/>
          <a:lstStyle>
            <a:lvl1pPr marL="159730" indent="-159730">
              <a:buFont typeface="Arial" pitchFamily="34" charset="0"/>
              <a:buChar char="•"/>
              <a:defRPr sz="1200" baseline="0">
                <a:latin typeface="Arial" panose="020B0604020202020204" pitchFamily="34" charset="0"/>
                <a:cs typeface="Arial" panose="020B0604020202020204" pitchFamily="34" charset="0"/>
              </a:defRPr>
            </a:lvl1pPr>
          </a:lstStyle>
          <a:p>
            <a:pPr lvl="0"/>
            <a:r>
              <a:rPr lang="en-US" dirty="0"/>
              <a:t>Click to edit text </a:t>
            </a:r>
          </a:p>
        </p:txBody>
      </p:sp>
      <p:sp>
        <p:nvSpPr>
          <p:cNvPr id="21"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dirty="0"/>
              <a:t>Click to edit Master footer. This space is reserved for footnotes and sources only, and cannot be expanded beyond its current size. SOURCE::</a:t>
            </a:r>
            <a:r>
              <a:rPr lang="en-US" dirty="0" err="1"/>
              <a:t>xxxxxxxxxxxxxxxxxxxxxxxxxxxxxxxxxxxxxxxxxxxxx</a:t>
            </a:r>
            <a:endParaRPr lang="en-US" dirty="0"/>
          </a:p>
        </p:txBody>
      </p:sp>
      <p:sp>
        <p:nvSpPr>
          <p:cNvPr id="23"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30003878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939"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dirty="0">
              <a:solidFill>
                <a:srgbClr val="70AD47">
                  <a:lumMod val="50000"/>
                </a:srgbClr>
              </a:solidFill>
              <a:cs typeface="Arial" panose="020B0604020202020204" pitchFamily="34" charset="0"/>
              <a:sym typeface="Calibri" panose="020F0502020204030204" pitchFamily="34" charset="0"/>
            </a:endParaRPr>
          </a:p>
        </p:txBody>
      </p:sp>
      <p:sp>
        <p:nvSpPr>
          <p:cNvPr id="4" name="Text Placeholder 14"/>
          <p:cNvSpPr>
            <a:spLocks noGrp="1"/>
          </p:cNvSpPr>
          <p:nvPr>
            <p:ph type="body" sz="quarter" idx="35" hasCustomPrompt="1"/>
          </p:nvPr>
        </p:nvSpPr>
        <p:spPr>
          <a:xfrm>
            <a:off x="450326" y="1008557"/>
            <a:ext cx="4319158" cy="460302"/>
          </a:xfrm>
          <a:prstGeom prst="rect">
            <a:avLst/>
          </a:prstGeom>
          <a:solidFill>
            <a:srgbClr val="3F5F1F"/>
          </a:solidFill>
        </p:spPr>
        <p:txBody>
          <a:bodyPr lIns="0" tIns="0" rIns="0" bIns="0" anchor="ctr"/>
          <a:lstStyle>
            <a:lvl1pPr marL="0" indent="0" algn="ctr">
              <a:buNone/>
              <a:defRPr sz="1600" b="1" baseline="0">
                <a:solidFill>
                  <a:schemeClr val="bg1"/>
                </a:solidFill>
                <a:latin typeface="Arial" panose="020B0604020202020204" pitchFamily="34" charset="0"/>
                <a:cs typeface="Arial" panose="020B0604020202020204" pitchFamily="34" charset="0"/>
              </a:defRPr>
            </a:lvl1pPr>
          </a:lstStyle>
          <a:p>
            <a:pPr lvl="0"/>
            <a:r>
              <a:rPr lang="en-US" dirty="0"/>
              <a:t>Click to edit Header text</a:t>
            </a:r>
          </a:p>
        </p:txBody>
      </p:sp>
      <p:cxnSp>
        <p:nvCxnSpPr>
          <p:cNvPr id="5" name="Straight Connector 4"/>
          <p:cNvCxnSpPr/>
          <p:nvPr userDrawn="1"/>
        </p:nvCxnSpPr>
        <p:spPr>
          <a:xfrm>
            <a:off x="450322" y="1549540"/>
            <a:ext cx="430854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 Placeholder 9"/>
          <p:cNvSpPr>
            <a:spLocks noGrp="1"/>
          </p:cNvSpPr>
          <p:nvPr>
            <p:ph type="body" sz="quarter" idx="10"/>
          </p:nvPr>
        </p:nvSpPr>
        <p:spPr>
          <a:xfrm>
            <a:off x="450326" y="1644574"/>
            <a:ext cx="4319158" cy="4222236"/>
          </a:xfrm>
          <a:prstGeom prst="rect">
            <a:avLst/>
          </a:prstGeom>
        </p:spPr>
        <p:txBody>
          <a:bodyPr lIns="0" tIns="0" rIns="0" bIns="0"/>
          <a:lstStyle>
            <a:lvl1pPr marL="168274" indent="-168274">
              <a:buFont typeface="Arial" panose="020B0604020202020204" pitchFamily="34" charset="0"/>
              <a:buChar char="•"/>
              <a:defRPr sz="1400">
                <a:latin typeface="Arial" panose="020B0604020202020204" pitchFamily="34" charset="0"/>
                <a:cs typeface="Arial" panose="020B0604020202020204" pitchFamily="34" charset="0"/>
              </a:defRPr>
            </a:lvl1pPr>
            <a:lvl2pPr marL="320927" indent="-161195">
              <a:buFont typeface="Wingdings" panose="05000000000000000000" pitchFamily="2" charset="2"/>
              <a:buChar char="ü"/>
              <a:defRPr sz="1200">
                <a:latin typeface="Arial" panose="020B0604020202020204" pitchFamily="34" charset="0"/>
                <a:cs typeface="Arial" panose="020B0604020202020204" pitchFamily="34" charset="0"/>
              </a:defRPr>
            </a:lvl2pPr>
            <a:lvl3pPr marL="470398" indent="-149473">
              <a:buFont typeface="Courier New" panose="02070309020205020404" pitchFamily="49" charset="0"/>
              <a:buChar char="o"/>
              <a:defRPr sz="1200">
                <a:latin typeface="Arial" panose="020B0604020202020204" pitchFamily="34" charset="0"/>
                <a:cs typeface="Arial" panose="020B0604020202020204" pitchFamily="34" charset="0"/>
              </a:defRPr>
            </a:lvl3pPr>
            <a:lvl4pPr marL="630127" indent="-159730">
              <a:buFont typeface="Wingdings" panose="05000000000000000000" pitchFamily="2" charset="2"/>
              <a:buChar char="Ø"/>
              <a:defRPr sz="1200">
                <a:latin typeface="Arial" panose="020B0604020202020204" pitchFamily="34" charset="0"/>
                <a:cs typeface="Arial" panose="020B0604020202020204" pitchFamily="34"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14"/>
          <p:cNvSpPr>
            <a:spLocks noGrp="1"/>
          </p:cNvSpPr>
          <p:nvPr>
            <p:ph type="body" sz="quarter" idx="38" hasCustomPrompt="1"/>
          </p:nvPr>
        </p:nvSpPr>
        <p:spPr>
          <a:xfrm>
            <a:off x="5151120" y="1009149"/>
            <a:ext cx="4304296" cy="460302"/>
          </a:xfrm>
          <a:prstGeom prst="rect">
            <a:avLst/>
          </a:prstGeom>
          <a:solidFill>
            <a:srgbClr val="3F5F1F"/>
          </a:solidFill>
        </p:spPr>
        <p:txBody>
          <a:bodyPr lIns="0" tIns="0" rIns="0" bIns="0" anchor="ctr"/>
          <a:lstStyle>
            <a:lvl1pPr marL="0" indent="0" algn="ctr">
              <a:buNone/>
              <a:defRPr sz="1600" b="1" baseline="0">
                <a:solidFill>
                  <a:schemeClr val="bg1"/>
                </a:solidFill>
                <a:latin typeface="Arial" panose="020B0604020202020204" pitchFamily="34" charset="0"/>
                <a:cs typeface="Arial" panose="020B0604020202020204" pitchFamily="34" charset="0"/>
              </a:defRPr>
            </a:lvl1pPr>
          </a:lstStyle>
          <a:p>
            <a:pPr lvl="0"/>
            <a:r>
              <a:rPr lang="en-US" dirty="0"/>
              <a:t>Click to edit Header text</a:t>
            </a:r>
          </a:p>
        </p:txBody>
      </p:sp>
      <p:cxnSp>
        <p:nvCxnSpPr>
          <p:cNvPr id="10" name="Straight Connector 9"/>
          <p:cNvCxnSpPr/>
          <p:nvPr userDrawn="1"/>
        </p:nvCxnSpPr>
        <p:spPr>
          <a:xfrm>
            <a:off x="5151120" y="1550132"/>
            <a:ext cx="430429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9"/>
          <p:cNvSpPr>
            <a:spLocks noGrp="1"/>
          </p:cNvSpPr>
          <p:nvPr>
            <p:ph type="body" sz="quarter" idx="39"/>
          </p:nvPr>
        </p:nvSpPr>
        <p:spPr>
          <a:xfrm>
            <a:off x="5151120" y="1645165"/>
            <a:ext cx="4304296" cy="4222236"/>
          </a:xfrm>
          <a:prstGeom prst="rect">
            <a:avLst/>
          </a:prstGeom>
        </p:spPr>
        <p:txBody>
          <a:bodyPr lIns="0" tIns="0" rIns="0" bIns="0"/>
          <a:lstStyle>
            <a:lvl1pPr marL="168274" indent="-168274">
              <a:buFont typeface="Arial" panose="020B0604020202020204" pitchFamily="34" charset="0"/>
              <a:buChar char="•"/>
              <a:defRPr sz="1292">
                <a:latin typeface="Arial" panose="020B0604020202020204" pitchFamily="34" charset="0"/>
                <a:cs typeface="Arial" panose="020B0604020202020204" pitchFamily="34" charset="0"/>
              </a:defRPr>
            </a:lvl1pPr>
            <a:lvl2pPr marL="320927" indent="-161195">
              <a:buFont typeface="Wingdings" panose="05000000000000000000" pitchFamily="2" charset="2"/>
              <a:buChar char="ü"/>
              <a:defRPr sz="1108">
                <a:latin typeface="Arial" panose="020B0604020202020204" pitchFamily="34" charset="0"/>
                <a:cs typeface="Arial" panose="020B0604020202020204" pitchFamily="34" charset="0"/>
              </a:defRPr>
            </a:lvl2pPr>
            <a:lvl3pPr marL="470398" indent="-149473">
              <a:buFont typeface="Courier New" panose="02070309020205020404" pitchFamily="49" charset="0"/>
              <a:buChar char="o"/>
              <a:defRPr sz="1108">
                <a:latin typeface="Arial" panose="020B0604020202020204" pitchFamily="34" charset="0"/>
                <a:cs typeface="Arial" panose="020B0604020202020204" pitchFamily="34" charset="0"/>
              </a:defRPr>
            </a:lvl3pPr>
            <a:lvl4pPr marL="630127" indent="-159730">
              <a:buFont typeface="Wingdings" panose="05000000000000000000" pitchFamily="2" charset="2"/>
              <a:buChar char="Ø"/>
              <a:defRPr sz="1108">
                <a:latin typeface="Arial" panose="020B0604020202020204" pitchFamily="34" charset="0"/>
                <a:cs typeface="Arial" panose="020B0604020202020204" pitchFamily="34"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dirty="0"/>
              <a:t>Click to edit Master footer. This space is reserved for footnotes and sources only, and cannot be expanded beyond its current size. SOURCE::</a:t>
            </a:r>
            <a:r>
              <a:rPr lang="en-US" dirty="0" err="1"/>
              <a:t>xxxxxxxxxxxxxxxxxxxxxxxxxxxxxxxxxxxxxxxxxxxxx</a:t>
            </a:r>
            <a:endParaRPr lang="en-US" dirty="0"/>
          </a:p>
        </p:txBody>
      </p:sp>
      <p:sp>
        <p:nvSpPr>
          <p:cNvPr id="13"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11859505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63"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dirty="0">
              <a:solidFill>
                <a:srgbClr val="70AD47">
                  <a:lumMod val="50000"/>
                </a:srgbClr>
              </a:solidFill>
              <a:cs typeface="Arial" panose="020B0604020202020204" pitchFamily="34" charset="0"/>
              <a:sym typeface="Calibri" panose="020F0502020204030204" pitchFamily="34" charset="0"/>
            </a:endParaRPr>
          </a:p>
        </p:txBody>
      </p:sp>
      <p:sp>
        <p:nvSpPr>
          <p:cNvPr id="9"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dirty="0"/>
              <a:t>Click to edit Master footer. This space is reserved for footnotes and sources only, and cannot be expanded beyond its current size. SOURCE::</a:t>
            </a:r>
            <a:r>
              <a:rPr lang="en-US" dirty="0" err="1"/>
              <a:t>xxxxxxxxxxxxxxxxxxxxxxxxxxxxxxxxxxxxxxxxxxxxx</a:t>
            </a:r>
            <a:endParaRPr lang="en-US" dirty="0"/>
          </a:p>
        </p:txBody>
      </p:sp>
      <p:sp>
        <p:nvSpPr>
          <p:cNvPr id="4" name="Content Placeholder 2"/>
          <p:cNvSpPr>
            <a:spLocks noGrp="1"/>
          </p:cNvSpPr>
          <p:nvPr>
            <p:ph idx="1" hasCustomPrompt="1"/>
          </p:nvPr>
        </p:nvSpPr>
        <p:spPr>
          <a:xfrm>
            <a:off x="450588" y="1277003"/>
            <a:ext cx="3602182" cy="201706"/>
          </a:xfrm>
          <a:prstGeom prst="rect">
            <a:avLst/>
          </a:prstGeom>
        </p:spPr>
        <p:txBody>
          <a:bodyPr lIns="0" tIns="0" rIns="0" bIns="0"/>
          <a:lstStyle>
            <a:lvl1pPr marL="0" indent="0">
              <a:buFont typeface="Arial" pitchFamily="34" charset="0"/>
              <a:buNone/>
              <a:defRPr sz="1200">
                <a:latin typeface="Arial" panose="020B0604020202020204" pitchFamily="34" charset="0"/>
                <a:cs typeface="Arial" panose="020B0604020202020204" pitchFamily="34" charset="0"/>
              </a:defRPr>
            </a:lvl1pPr>
            <a:lvl2pPr marL="708819" indent="-284052">
              <a:defRPr sz="1108"/>
            </a:lvl2pPr>
            <a:lvl3pPr>
              <a:buFont typeface="Courier New" pitchFamily="49" charset="0"/>
              <a:buChar char="o"/>
              <a:defRPr sz="1108"/>
            </a:lvl3pPr>
            <a:lvl4pPr>
              <a:defRPr sz="1108"/>
            </a:lvl4pPr>
          </a:lstStyle>
          <a:p>
            <a:pPr lvl="0"/>
            <a:r>
              <a:rPr lang="en-US" dirty="0"/>
              <a:t>Click to edit Master Graph units</a:t>
            </a:r>
          </a:p>
        </p:txBody>
      </p:sp>
      <p:sp>
        <p:nvSpPr>
          <p:cNvPr id="5" name="Text Placeholder 10"/>
          <p:cNvSpPr>
            <a:spLocks noGrp="1"/>
          </p:cNvSpPr>
          <p:nvPr>
            <p:ph type="body" sz="quarter" idx="21" hasCustomPrompt="1"/>
          </p:nvPr>
        </p:nvSpPr>
        <p:spPr>
          <a:xfrm>
            <a:off x="450588" y="1008063"/>
            <a:ext cx="3602182" cy="201706"/>
          </a:xfrm>
          <a:prstGeom prst="rect">
            <a:avLst/>
          </a:prstGeom>
        </p:spPr>
        <p:txBody>
          <a:bodyPr lIns="0" tIns="0" rIns="0" bIns="0"/>
          <a:lstStyle>
            <a:lvl1pPr marL="0" indent="0">
              <a:buNone/>
              <a:defRPr sz="1400" b="1" i="0" baseline="0">
                <a:solidFill>
                  <a:schemeClr val="tx1"/>
                </a:solidFill>
                <a:latin typeface="Arial" panose="020B0604020202020204" pitchFamily="34" charset="0"/>
                <a:cs typeface="Arial" panose="020B0604020202020204" pitchFamily="34" charset="0"/>
              </a:defRPr>
            </a:lvl1pPr>
          </a:lstStyle>
          <a:p>
            <a:pPr lvl="0"/>
            <a:r>
              <a:rPr lang="en-US" dirty="0"/>
              <a:t>Click to insert Master Graph title</a:t>
            </a:r>
          </a:p>
        </p:txBody>
      </p:sp>
      <p:sp>
        <p:nvSpPr>
          <p:cNvPr id="6" name="SmartArt Placeholder 12"/>
          <p:cNvSpPr>
            <a:spLocks noGrp="1"/>
          </p:cNvSpPr>
          <p:nvPr>
            <p:ph type="dgm" sz="quarter" idx="20" hasCustomPrompt="1"/>
          </p:nvPr>
        </p:nvSpPr>
        <p:spPr>
          <a:xfrm rot="5400000">
            <a:off x="4022002" y="3302283"/>
            <a:ext cx="3577155" cy="360462"/>
          </a:xfrm>
          <a:prstGeom prst="triangle">
            <a:avLst>
              <a:gd name="adj" fmla="val 50232"/>
            </a:avLst>
          </a:prstGeom>
          <a:solidFill>
            <a:srgbClr val="3F5F1F"/>
          </a:solidFill>
        </p:spPr>
        <p:txBody>
          <a:bodyPr lIns="82058" tIns="41029" rIns="82058" bIns="41029"/>
          <a:lstStyle>
            <a:lvl1pPr>
              <a:defRPr lang="en-US">
                <a:solidFill>
                  <a:schemeClr val="tx2"/>
                </a:solidFill>
                <a:latin typeface="Arial" panose="020B0604020202020204" pitchFamily="34" charset="0"/>
                <a:cs typeface="Arial" panose="020B0604020202020204" pitchFamily="34" charset="0"/>
              </a:defRPr>
            </a:lvl1pPr>
          </a:lstStyle>
          <a:p>
            <a:r>
              <a:rPr lang="en-US" dirty="0"/>
              <a:t>`</a:t>
            </a:r>
          </a:p>
        </p:txBody>
      </p:sp>
      <p:sp>
        <p:nvSpPr>
          <p:cNvPr id="7" name="Text Placeholder 5"/>
          <p:cNvSpPr>
            <a:spLocks noGrp="1"/>
          </p:cNvSpPr>
          <p:nvPr>
            <p:ph type="body" sz="quarter" idx="29"/>
          </p:nvPr>
        </p:nvSpPr>
        <p:spPr>
          <a:xfrm>
            <a:off x="6138356" y="1008064"/>
            <a:ext cx="3317841" cy="4676161"/>
          </a:xfrm>
          <a:prstGeom prst="rect">
            <a:avLst/>
          </a:prstGeom>
        </p:spPr>
        <p:txBody>
          <a:bodyPr lIns="0" tIns="0" rIns="0" bIns="0" numCol="1"/>
          <a:lstStyle>
            <a:lvl1pPr marL="168274" indent="-168274" algn="just">
              <a:buFont typeface="Arial" pitchFamily="34" charset="0"/>
              <a:buChar char="•"/>
              <a:tabLst>
                <a:tab pos="3595378" algn="l"/>
              </a:tabLst>
              <a:defRPr sz="1400" baseline="0">
                <a:latin typeface="Arial" panose="020B0604020202020204" pitchFamily="34" charset="0"/>
                <a:cs typeface="Arial" panose="020B0604020202020204" pitchFamily="34" charset="0"/>
              </a:defRPr>
            </a:lvl1pPr>
            <a:lvl2pPr algn="just">
              <a:tabLst>
                <a:tab pos="3595378" algn="l"/>
              </a:tabLst>
              <a:defRPr sz="1108"/>
            </a:lvl2pPr>
            <a:lvl3pPr algn="just">
              <a:buFont typeface="Courier New" pitchFamily="49" charset="0"/>
              <a:buChar char="o"/>
              <a:tabLst>
                <a:tab pos="3595378" algn="l"/>
              </a:tabLst>
              <a:defRPr sz="1108"/>
            </a:lvl3pPr>
            <a:lvl4pPr algn="just">
              <a:tabLst>
                <a:tab pos="3595378" algn="l"/>
              </a:tabLst>
              <a:defRPr sz="1108"/>
            </a:lvl4pPr>
          </a:lstStyle>
          <a:p>
            <a:pPr lvl="0"/>
            <a:r>
              <a:rPr lang="en-US" dirty="0"/>
              <a:t>Click to edit Master text</a:t>
            </a:r>
          </a:p>
        </p:txBody>
      </p:sp>
      <p:sp>
        <p:nvSpPr>
          <p:cNvPr id="10"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289679751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4_Text">
  <p:cSld name="6_Text">
    <p:spTree>
      <p:nvGrpSpPr>
        <p:cNvPr id="1" name="Shape 73"/>
        <p:cNvGrpSpPr/>
        <p:nvPr/>
      </p:nvGrpSpPr>
      <p:grpSpPr>
        <a:xfrm>
          <a:off x="0" y="0"/>
          <a:ext cx="0" cy="0"/>
          <a:chOff x="0" y="0"/>
          <a:chExt cx="0" cy="0"/>
        </a:xfrm>
      </p:grpSpPr>
      <p:pic>
        <p:nvPicPr>
          <p:cNvPr id="74" name="Google Shape;74;p12"/>
          <p:cNvPicPr preferRelativeResize="0"/>
          <p:nvPr/>
        </p:nvPicPr>
        <p:blipFill rotWithShape="1">
          <a:blip r:embed="rId2">
            <a:alphaModFix/>
          </a:blip>
          <a:srcRect/>
          <a:stretch/>
        </p:blipFill>
        <p:spPr>
          <a:xfrm>
            <a:off x="1" y="3"/>
            <a:ext cx="156345" cy="140074"/>
          </a:xfrm>
          <a:prstGeom prst="rect">
            <a:avLst/>
          </a:prstGeom>
          <a:noFill/>
          <a:ln>
            <a:noFill/>
          </a:ln>
        </p:spPr>
      </p:pic>
      <p:sp>
        <p:nvSpPr>
          <p:cNvPr id="75" name="Google Shape;75;p12"/>
          <p:cNvSpPr txBox="1">
            <a:spLocks noGrp="1"/>
          </p:cNvSpPr>
          <p:nvPr>
            <p:ph type="title"/>
          </p:nvPr>
        </p:nvSpPr>
        <p:spPr>
          <a:xfrm>
            <a:off x="450741" y="134054"/>
            <a:ext cx="7245459" cy="582389"/>
          </a:xfrm>
          <a:prstGeom prst="rect">
            <a:avLst/>
          </a:prstGeom>
          <a:noFill/>
          <a:ln>
            <a:noFill/>
          </a:ln>
        </p:spPr>
        <p:txBody>
          <a:bodyPr spcFirstLastPara="1" wrap="square" lIns="0" tIns="0" rIns="0" bIns="0" anchor="b" anchorCtr="0"/>
          <a:lstStyle>
            <a:lvl1pPr marR="0" lvl="0" algn="l" rtl="0">
              <a:lnSpc>
                <a:spcPct val="90000"/>
              </a:lnSpc>
              <a:spcBef>
                <a:spcPts val="0"/>
              </a:spcBef>
              <a:spcAft>
                <a:spcPts val="0"/>
              </a:spcAft>
              <a:buClr>
                <a:schemeClr val="dk1"/>
              </a:buClr>
              <a:buSzPts val="2200"/>
              <a:buFont typeface="Arial"/>
              <a:buNone/>
              <a:defRPr sz="2200" b="1"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76" name="Google Shape;76;p12"/>
          <p:cNvSpPr txBox="1">
            <a:spLocks noGrp="1"/>
          </p:cNvSpPr>
          <p:nvPr>
            <p:ph type="body" idx="1"/>
          </p:nvPr>
        </p:nvSpPr>
        <p:spPr>
          <a:xfrm>
            <a:off x="450276" y="1066801"/>
            <a:ext cx="9005453" cy="5181599"/>
          </a:xfrm>
          <a:prstGeom prst="rect">
            <a:avLst/>
          </a:prstGeom>
          <a:noFill/>
          <a:ln>
            <a:noFill/>
          </a:ln>
        </p:spPr>
        <p:txBody>
          <a:bodyPr spcFirstLastPara="1" wrap="square" lIns="0" tIns="0" rIns="0" bIns="0" anchor="t" anchorCtr="0"/>
          <a:lstStyle>
            <a:lvl1pPr marL="457200" marR="0" lvl="0" indent="-330200" algn="l" rtl="0">
              <a:lnSpc>
                <a:spcPct val="90000"/>
              </a:lnSpc>
              <a:spcBef>
                <a:spcPts val="718"/>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17500" algn="l" rtl="0">
              <a:lnSpc>
                <a:spcPct val="90000"/>
              </a:lnSpc>
              <a:spcBef>
                <a:spcPts val="718"/>
              </a:spcBef>
              <a:spcAft>
                <a:spcPts val="0"/>
              </a:spcAft>
              <a:buClr>
                <a:schemeClr val="dk1"/>
              </a:buClr>
              <a:buSzPts val="1400"/>
              <a:buFont typeface="Noto Sans Symbols"/>
              <a:buChar char="✓"/>
              <a:defRPr sz="1400" b="0" i="0" u="none" strike="noStrike" cap="none">
                <a:solidFill>
                  <a:schemeClr val="dk1"/>
                </a:solidFill>
                <a:latin typeface="Arial"/>
                <a:ea typeface="Arial"/>
                <a:cs typeface="Arial"/>
                <a:sym typeface="Arial"/>
              </a:defRPr>
            </a:lvl2pPr>
            <a:lvl3pPr marL="1371600" marR="0" lvl="2" indent="-317500" algn="l" rtl="0">
              <a:lnSpc>
                <a:spcPct val="90000"/>
              </a:lnSpc>
              <a:spcBef>
                <a:spcPts val="500"/>
              </a:spcBef>
              <a:spcAft>
                <a:spcPts val="0"/>
              </a:spcAft>
              <a:buClr>
                <a:schemeClr val="dk1"/>
              </a:buClr>
              <a:buSzPts val="1400"/>
              <a:buFont typeface="Courier New"/>
              <a:buChar char="o"/>
              <a:defRPr sz="1400" b="0" i="0" u="none" strike="noStrike" cap="none">
                <a:solidFill>
                  <a:schemeClr val="dk1"/>
                </a:solidFill>
                <a:latin typeface="Arial"/>
                <a:ea typeface="Arial"/>
                <a:cs typeface="Arial"/>
                <a:sym typeface="Arial"/>
              </a:defRPr>
            </a:lvl3pPr>
            <a:lvl4pPr marL="1828800" marR="0" lvl="3" indent="-317500" algn="l" rtl="0">
              <a:lnSpc>
                <a:spcPct val="90000"/>
              </a:lnSpc>
              <a:spcBef>
                <a:spcPts val="5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270503193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7_Title Slide">
  <p:cSld name="8_Title Slide">
    <p:spTree>
      <p:nvGrpSpPr>
        <p:cNvPr id="1" name="Shape 84"/>
        <p:cNvGrpSpPr/>
        <p:nvPr/>
      </p:nvGrpSpPr>
      <p:grpSpPr>
        <a:xfrm>
          <a:off x="0" y="0"/>
          <a:ext cx="0" cy="0"/>
          <a:chOff x="0" y="0"/>
          <a:chExt cx="0" cy="0"/>
        </a:xfrm>
      </p:grpSpPr>
      <p:pic>
        <p:nvPicPr>
          <p:cNvPr id="85" name="Google Shape;85;p15"/>
          <p:cNvPicPr preferRelativeResize="0"/>
          <p:nvPr/>
        </p:nvPicPr>
        <p:blipFill rotWithShape="1">
          <a:blip r:embed="rId2">
            <a:alphaModFix/>
          </a:blip>
          <a:srcRect/>
          <a:stretch/>
        </p:blipFill>
        <p:spPr>
          <a:xfrm>
            <a:off x="1588" y="1588"/>
            <a:ext cx="1588" cy="1588"/>
          </a:xfrm>
          <a:prstGeom prst="rect">
            <a:avLst/>
          </a:prstGeom>
          <a:noFill/>
          <a:ln>
            <a:noFill/>
          </a:ln>
        </p:spPr>
      </p:pic>
      <p:sp>
        <p:nvSpPr>
          <p:cNvPr id="86" name="Google Shape;86;p15"/>
          <p:cNvSpPr txBox="1">
            <a:spLocks noGrp="1"/>
          </p:cNvSpPr>
          <p:nvPr>
            <p:ph type="body" idx="1"/>
          </p:nvPr>
        </p:nvSpPr>
        <p:spPr>
          <a:xfrm>
            <a:off x="450588" y="6055245"/>
            <a:ext cx="7702813" cy="386679"/>
          </a:xfrm>
          <a:prstGeom prst="rect">
            <a:avLst/>
          </a:prstGeom>
          <a:noFill/>
          <a:ln>
            <a:noFill/>
          </a:ln>
        </p:spPr>
        <p:txBody>
          <a:bodyPr spcFirstLastPara="1" wrap="square" lIns="0" tIns="0" rIns="0" bIns="0" anchor="b" anchorCtr="0"/>
          <a:lstStyle>
            <a:lvl1pPr marL="457200" marR="0" lvl="0" indent="-228600" algn="l" rtl="0">
              <a:lnSpc>
                <a:spcPct val="90000"/>
              </a:lnSpc>
              <a:spcBef>
                <a:spcPts val="1000"/>
              </a:spcBef>
              <a:spcAft>
                <a:spcPts val="0"/>
              </a:spcAft>
              <a:buClr>
                <a:schemeClr val="dk1"/>
              </a:buClr>
              <a:buSzPts val="923"/>
              <a:buFont typeface="Arial"/>
              <a:buNone/>
              <a:defRPr sz="922" b="0"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87" name="Google Shape;87;p15"/>
          <p:cNvSpPr txBox="1">
            <a:spLocks noGrp="1"/>
          </p:cNvSpPr>
          <p:nvPr>
            <p:ph type="body" idx="2"/>
          </p:nvPr>
        </p:nvSpPr>
        <p:spPr>
          <a:xfrm>
            <a:off x="450588" y="1277003"/>
            <a:ext cx="3602182" cy="201706"/>
          </a:xfrm>
          <a:prstGeom prst="rect">
            <a:avLst/>
          </a:prstGeom>
          <a:noFill/>
          <a:ln>
            <a:noFill/>
          </a:ln>
        </p:spPr>
        <p:txBody>
          <a:bodyPr spcFirstLastPara="1" wrap="square" lIns="0" tIns="0" rIns="0" bIns="0" anchor="t" anchorCtr="0"/>
          <a:lstStyle>
            <a:lvl1pPr marL="457200" marR="0" lvl="0" indent="-228600" algn="l" rtl="0">
              <a:lnSpc>
                <a:spcPct val="90000"/>
              </a:lnSpc>
              <a:spcBef>
                <a:spcPts val="10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1pPr>
            <a:lvl2pPr marL="914400" marR="0" lvl="1" indent="-298958" algn="l" rtl="0">
              <a:lnSpc>
                <a:spcPct val="90000"/>
              </a:lnSpc>
              <a:spcBef>
                <a:spcPts val="500"/>
              </a:spcBef>
              <a:spcAft>
                <a:spcPts val="0"/>
              </a:spcAft>
              <a:buClr>
                <a:schemeClr val="dk1"/>
              </a:buClr>
              <a:buSzPts val="1108"/>
              <a:buFont typeface="Arial"/>
              <a:buChar char="•"/>
              <a:defRPr sz="1108" b="0" i="0" u="none" strike="noStrike" cap="none">
                <a:solidFill>
                  <a:schemeClr val="dk1"/>
                </a:solidFill>
                <a:latin typeface="Calibri"/>
                <a:ea typeface="Calibri"/>
                <a:cs typeface="Calibri"/>
                <a:sym typeface="Calibri"/>
              </a:defRPr>
            </a:lvl2pPr>
            <a:lvl3pPr marL="1371600" marR="0" lvl="2" indent="-298958" algn="l" rtl="0">
              <a:lnSpc>
                <a:spcPct val="90000"/>
              </a:lnSpc>
              <a:spcBef>
                <a:spcPts val="500"/>
              </a:spcBef>
              <a:spcAft>
                <a:spcPts val="0"/>
              </a:spcAft>
              <a:buClr>
                <a:schemeClr val="dk1"/>
              </a:buClr>
              <a:buSzPts val="1108"/>
              <a:buFont typeface="Courier New"/>
              <a:buChar char="o"/>
              <a:defRPr sz="1108" b="0" i="0" u="none" strike="noStrike" cap="none">
                <a:solidFill>
                  <a:schemeClr val="dk1"/>
                </a:solidFill>
                <a:latin typeface="Calibri"/>
                <a:ea typeface="Calibri"/>
                <a:cs typeface="Calibri"/>
                <a:sym typeface="Calibri"/>
              </a:defRPr>
            </a:lvl3pPr>
            <a:lvl4pPr marL="1828800" marR="0" lvl="3" indent="-298958" algn="l" rtl="0">
              <a:lnSpc>
                <a:spcPct val="90000"/>
              </a:lnSpc>
              <a:spcBef>
                <a:spcPts val="500"/>
              </a:spcBef>
              <a:spcAft>
                <a:spcPts val="0"/>
              </a:spcAft>
              <a:buClr>
                <a:schemeClr val="dk1"/>
              </a:buClr>
              <a:buSzPts val="1108"/>
              <a:buFont typeface="Arial"/>
              <a:buChar char="•"/>
              <a:defRPr sz="1108"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88" name="Google Shape;88;p15"/>
          <p:cNvSpPr txBox="1">
            <a:spLocks noGrp="1"/>
          </p:cNvSpPr>
          <p:nvPr>
            <p:ph type="body" idx="3"/>
          </p:nvPr>
        </p:nvSpPr>
        <p:spPr>
          <a:xfrm>
            <a:off x="450588" y="1008063"/>
            <a:ext cx="3602182" cy="201706"/>
          </a:xfrm>
          <a:prstGeom prst="rect">
            <a:avLst/>
          </a:prstGeom>
          <a:noFill/>
          <a:ln>
            <a:noFill/>
          </a:ln>
        </p:spPr>
        <p:txBody>
          <a:bodyPr spcFirstLastPara="1" wrap="square" lIns="0" tIns="0" rIns="0" bIns="0" anchor="t" anchorCtr="0"/>
          <a:lstStyle>
            <a:lvl1pPr marL="457200" marR="0" lvl="0" indent="-228600" algn="l" rtl="0">
              <a:lnSpc>
                <a:spcPct val="90000"/>
              </a:lnSpc>
              <a:spcBef>
                <a:spcPts val="1000"/>
              </a:spcBef>
              <a:spcAft>
                <a:spcPts val="0"/>
              </a:spcAft>
              <a:buClr>
                <a:schemeClr val="dk1"/>
              </a:buClr>
              <a:buSzPts val="1400"/>
              <a:buFont typeface="Arial"/>
              <a:buNone/>
              <a:defRPr sz="1400" b="1"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89" name="Google Shape;89;p15"/>
          <p:cNvSpPr>
            <a:spLocks noGrp="1"/>
          </p:cNvSpPr>
          <p:nvPr>
            <p:ph type="dgm" idx="4"/>
          </p:nvPr>
        </p:nvSpPr>
        <p:spPr>
          <a:xfrm rot="5400000">
            <a:off x="4022002" y="3302283"/>
            <a:ext cx="3577155" cy="360462"/>
          </a:xfrm>
          <a:prstGeom prst="triangle">
            <a:avLst>
              <a:gd name="adj" fmla="val 50232"/>
            </a:avLst>
          </a:prstGeom>
          <a:solidFill>
            <a:srgbClr val="3F5F1F"/>
          </a:solidFill>
          <a:ln>
            <a:noFill/>
          </a:ln>
        </p:spPr>
        <p:txBody>
          <a:bodyPr spcFirstLastPara="1" wrap="square" lIns="82050" tIns="41025" rIns="82050" bIns="41025" anchor="t" anchorCtr="0"/>
          <a:lstStyle>
            <a:lvl1pPr marR="0" lvl="0" algn="l" rtl="0">
              <a:lnSpc>
                <a:spcPct val="90000"/>
              </a:lnSpc>
              <a:spcBef>
                <a:spcPts val="1000"/>
              </a:spcBef>
              <a:spcAft>
                <a:spcPts val="0"/>
              </a:spcAft>
              <a:buClr>
                <a:schemeClr val="dk2"/>
              </a:buClr>
              <a:buSzPts val="2800"/>
              <a:buFont typeface="Arial"/>
              <a:buChar char="•"/>
              <a:defRPr sz="2800" b="0" i="0" u="none" strike="noStrike" cap="none">
                <a:solidFill>
                  <a:schemeClr val="dk2"/>
                </a:solidFill>
                <a:latin typeface="Arial"/>
                <a:ea typeface="Arial"/>
                <a:cs typeface="Arial"/>
                <a:sym typeface="Arial"/>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90" name="Google Shape;90;p15"/>
          <p:cNvSpPr txBox="1">
            <a:spLocks noGrp="1"/>
          </p:cNvSpPr>
          <p:nvPr>
            <p:ph type="body" idx="5"/>
          </p:nvPr>
        </p:nvSpPr>
        <p:spPr>
          <a:xfrm>
            <a:off x="6138356" y="1008064"/>
            <a:ext cx="3317841" cy="4676161"/>
          </a:xfrm>
          <a:prstGeom prst="rect">
            <a:avLst/>
          </a:prstGeom>
          <a:noFill/>
          <a:ln>
            <a:noFill/>
          </a:ln>
        </p:spPr>
        <p:txBody>
          <a:bodyPr spcFirstLastPara="1" wrap="square" lIns="0" tIns="0" rIns="0" bIns="0" anchor="t" anchorCtr="0"/>
          <a:lstStyle>
            <a:lvl1pPr marL="457200" marR="0" lvl="0" indent="-317500" algn="just" rtl="0">
              <a:lnSpc>
                <a:spcPct val="90000"/>
              </a:lnSpc>
              <a:spcBef>
                <a:spcPts val="10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1pPr>
            <a:lvl2pPr marL="914400" marR="0" lvl="1" indent="-298958" algn="just" rtl="0">
              <a:lnSpc>
                <a:spcPct val="90000"/>
              </a:lnSpc>
              <a:spcBef>
                <a:spcPts val="500"/>
              </a:spcBef>
              <a:spcAft>
                <a:spcPts val="0"/>
              </a:spcAft>
              <a:buClr>
                <a:schemeClr val="dk1"/>
              </a:buClr>
              <a:buSzPts val="1108"/>
              <a:buFont typeface="Arial"/>
              <a:buChar char="•"/>
              <a:defRPr sz="1108" b="0" i="0" u="none" strike="noStrike" cap="none">
                <a:solidFill>
                  <a:schemeClr val="dk1"/>
                </a:solidFill>
                <a:latin typeface="Calibri"/>
                <a:ea typeface="Calibri"/>
                <a:cs typeface="Calibri"/>
                <a:sym typeface="Calibri"/>
              </a:defRPr>
            </a:lvl2pPr>
            <a:lvl3pPr marL="1371600" marR="0" lvl="2" indent="-298958" algn="just" rtl="0">
              <a:lnSpc>
                <a:spcPct val="90000"/>
              </a:lnSpc>
              <a:spcBef>
                <a:spcPts val="500"/>
              </a:spcBef>
              <a:spcAft>
                <a:spcPts val="0"/>
              </a:spcAft>
              <a:buClr>
                <a:schemeClr val="dk1"/>
              </a:buClr>
              <a:buSzPts val="1108"/>
              <a:buFont typeface="Courier New"/>
              <a:buChar char="o"/>
              <a:defRPr sz="1108" b="0" i="0" u="none" strike="noStrike" cap="none">
                <a:solidFill>
                  <a:schemeClr val="dk1"/>
                </a:solidFill>
                <a:latin typeface="Calibri"/>
                <a:ea typeface="Calibri"/>
                <a:cs typeface="Calibri"/>
                <a:sym typeface="Calibri"/>
              </a:defRPr>
            </a:lvl3pPr>
            <a:lvl4pPr marL="1828800" marR="0" lvl="3" indent="-298958" algn="just" rtl="0">
              <a:lnSpc>
                <a:spcPct val="90000"/>
              </a:lnSpc>
              <a:spcBef>
                <a:spcPts val="500"/>
              </a:spcBef>
              <a:spcAft>
                <a:spcPts val="0"/>
              </a:spcAft>
              <a:buClr>
                <a:schemeClr val="dk1"/>
              </a:buClr>
              <a:buSzPts val="1108"/>
              <a:buFont typeface="Arial"/>
              <a:buChar char="•"/>
              <a:defRPr sz="1108"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1" name="Google Shape;91;p15"/>
          <p:cNvSpPr txBox="1">
            <a:spLocks noGrp="1"/>
          </p:cNvSpPr>
          <p:nvPr>
            <p:ph type="title"/>
          </p:nvPr>
        </p:nvSpPr>
        <p:spPr>
          <a:xfrm>
            <a:off x="450741" y="134054"/>
            <a:ext cx="7245459" cy="582389"/>
          </a:xfrm>
          <a:prstGeom prst="rect">
            <a:avLst/>
          </a:prstGeom>
          <a:noFill/>
          <a:ln>
            <a:noFill/>
          </a:ln>
        </p:spPr>
        <p:txBody>
          <a:bodyPr spcFirstLastPara="1" wrap="square" lIns="0" tIns="0" rIns="0" bIns="0" anchor="b" anchorCtr="0"/>
          <a:lstStyle>
            <a:lvl1pPr marR="0" lvl="0" algn="l" rtl="0">
              <a:lnSpc>
                <a:spcPct val="90000"/>
              </a:lnSpc>
              <a:spcBef>
                <a:spcPts val="0"/>
              </a:spcBef>
              <a:spcAft>
                <a:spcPts val="0"/>
              </a:spcAft>
              <a:buClr>
                <a:schemeClr val="dk1"/>
              </a:buClr>
              <a:buSzPts val="2200"/>
              <a:buFont typeface="Arial"/>
              <a:buNone/>
              <a:defRPr sz="2200" b="1"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extLst>
      <p:ext uri="{BB962C8B-B14F-4D97-AF65-F5344CB8AC3E}">
        <p14:creationId xmlns:p14="http://schemas.microsoft.com/office/powerpoint/2010/main" val="219419007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3_Text">
  <p:cSld name="6_Text">
    <p:spTree>
      <p:nvGrpSpPr>
        <p:cNvPr id="1" name="Shape 69"/>
        <p:cNvGrpSpPr/>
        <p:nvPr/>
      </p:nvGrpSpPr>
      <p:grpSpPr>
        <a:xfrm>
          <a:off x="0" y="0"/>
          <a:ext cx="0" cy="0"/>
          <a:chOff x="0" y="0"/>
          <a:chExt cx="0" cy="0"/>
        </a:xfrm>
      </p:grpSpPr>
      <p:pic>
        <p:nvPicPr>
          <p:cNvPr id="70" name="Google Shape;70;p11"/>
          <p:cNvPicPr preferRelativeResize="0"/>
          <p:nvPr/>
        </p:nvPicPr>
        <p:blipFill rotWithShape="1">
          <a:blip r:embed="rId2">
            <a:alphaModFix/>
          </a:blip>
          <a:srcRect/>
          <a:stretch/>
        </p:blipFill>
        <p:spPr>
          <a:xfrm>
            <a:off x="1" y="3"/>
            <a:ext cx="156345" cy="140074"/>
          </a:xfrm>
          <a:prstGeom prst="rect">
            <a:avLst/>
          </a:prstGeom>
          <a:noFill/>
          <a:ln>
            <a:noFill/>
          </a:ln>
        </p:spPr>
      </p:pic>
      <p:sp>
        <p:nvSpPr>
          <p:cNvPr id="71" name="Google Shape;71;p11"/>
          <p:cNvSpPr txBox="1">
            <a:spLocks noGrp="1"/>
          </p:cNvSpPr>
          <p:nvPr>
            <p:ph type="body" idx="1"/>
          </p:nvPr>
        </p:nvSpPr>
        <p:spPr>
          <a:xfrm>
            <a:off x="450588" y="6055245"/>
            <a:ext cx="7702813" cy="386679"/>
          </a:xfrm>
          <a:prstGeom prst="rect">
            <a:avLst/>
          </a:prstGeom>
          <a:noFill/>
          <a:ln>
            <a:noFill/>
          </a:ln>
        </p:spPr>
        <p:txBody>
          <a:bodyPr spcFirstLastPara="1" wrap="square" lIns="0" tIns="0" rIns="0" bIns="0" anchor="b" anchorCtr="0"/>
          <a:lstStyle>
            <a:lvl1pPr marL="457200" marR="0" lvl="0" indent="-228600" algn="l" rtl="0">
              <a:lnSpc>
                <a:spcPct val="90000"/>
              </a:lnSpc>
              <a:spcBef>
                <a:spcPts val="1000"/>
              </a:spcBef>
              <a:spcAft>
                <a:spcPts val="0"/>
              </a:spcAft>
              <a:buClr>
                <a:schemeClr val="dk1"/>
              </a:buClr>
              <a:buSzPts val="923"/>
              <a:buFont typeface="Arial"/>
              <a:buNone/>
              <a:defRPr sz="922" b="0"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72" name="Google Shape;72;p11"/>
          <p:cNvSpPr txBox="1">
            <a:spLocks noGrp="1"/>
          </p:cNvSpPr>
          <p:nvPr>
            <p:ph type="title"/>
          </p:nvPr>
        </p:nvSpPr>
        <p:spPr>
          <a:xfrm>
            <a:off x="450741" y="134054"/>
            <a:ext cx="7245459" cy="582389"/>
          </a:xfrm>
          <a:prstGeom prst="rect">
            <a:avLst/>
          </a:prstGeom>
          <a:noFill/>
          <a:ln>
            <a:noFill/>
          </a:ln>
        </p:spPr>
        <p:txBody>
          <a:bodyPr spcFirstLastPara="1" wrap="square" lIns="0" tIns="0" rIns="0" bIns="0" anchor="b" anchorCtr="0"/>
          <a:lstStyle>
            <a:lvl1pPr marR="0" lvl="0" algn="l" rtl="0">
              <a:lnSpc>
                <a:spcPct val="90000"/>
              </a:lnSpc>
              <a:spcBef>
                <a:spcPts val="0"/>
              </a:spcBef>
              <a:spcAft>
                <a:spcPts val="0"/>
              </a:spcAft>
              <a:buClr>
                <a:schemeClr val="dk1"/>
              </a:buClr>
              <a:buSzPts val="2200"/>
              <a:buFont typeface="Arial"/>
              <a:buNone/>
              <a:defRPr sz="2200" b="1"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extLst>
      <p:ext uri="{BB962C8B-B14F-4D97-AF65-F5344CB8AC3E}">
        <p14:creationId xmlns:p14="http://schemas.microsoft.com/office/powerpoint/2010/main" val="367146086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23011"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721" y="1589"/>
                        <a:ext cx="1719" cy="1587"/>
                      </a:xfrm>
                      <a:prstGeom prst="rect">
                        <a:avLst/>
                      </a:prstGeom>
                    </p:spPr>
                  </p:pic>
                </p:oleObj>
              </mc:Fallback>
            </mc:AlternateContent>
          </a:graphicData>
        </a:graphic>
      </p:graphicFrame>
      <p:sp>
        <p:nvSpPr>
          <p:cNvPr id="10" name="Do not remove" hidden="1"/>
          <p:cNvSpPr/>
          <p:nvPr userDrawn="1">
            <p:custDataLst>
              <p:tags r:id="rId3"/>
            </p:custDataLst>
          </p:nvPr>
        </p:nvSpPr>
        <p:spPr>
          <a:xfrm>
            <a:off x="0" y="0"/>
            <a:ext cx="13758" cy="12700"/>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3">
              <a:buClrTx/>
              <a:buFontTx/>
              <a:buNone/>
            </a:pPr>
            <a:endParaRPr lang="en-US" kern="1200" dirty="0">
              <a:solidFill>
                <a:prstClr val="black"/>
              </a:solidFill>
            </a:endParaRPr>
          </a:p>
        </p:txBody>
      </p:sp>
      <p:sp>
        <p:nvSpPr>
          <p:cNvPr id="2" name="McK 2. Slide Title"/>
          <p:cNvSpPr>
            <a:spLocks noGrp="1"/>
          </p:cNvSpPr>
          <p:nvPr>
            <p:ph type="title"/>
          </p:nvPr>
        </p:nvSpPr>
        <p:spPr>
          <a:xfrm>
            <a:off x="247650" y="388621"/>
            <a:ext cx="8007350" cy="292388"/>
          </a:xfrm>
          <a:prstGeom prst="rect">
            <a:avLst/>
          </a:prstGeom>
        </p:spPr>
        <p:txBody>
          <a:bodyPr/>
          <a:lstStyle>
            <a:lvl1pPr>
              <a:defRPr sz="1900"/>
            </a:lvl1pPr>
          </a:lstStyle>
          <a:p>
            <a:r>
              <a:rPr lang="en-US" dirty="0"/>
              <a:t>Click to edit Master title style</a:t>
            </a:r>
          </a:p>
        </p:txBody>
      </p:sp>
    </p:spTree>
    <p:extLst>
      <p:ext uri="{BB962C8B-B14F-4D97-AF65-F5344CB8AC3E}">
        <p14:creationId xmlns:p14="http://schemas.microsoft.com/office/powerpoint/2010/main" val="298878134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26024"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dirty="0">
              <a:solidFill>
                <a:prstClr val="white"/>
              </a:solidFill>
              <a:cs typeface="Arial" panose="020B0604020202020204" pitchFamily="34" charset="0"/>
              <a:sym typeface="Calibri" panose="020F0502020204030204" pitchFamily="34" charset="0"/>
            </a:endParaRPr>
          </a:p>
        </p:txBody>
      </p:sp>
      <p:sp>
        <p:nvSpPr>
          <p:cNvPr id="6" name="Title 1"/>
          <p:cNvSpPr>
            <a:spLocks noGrp="1"/>
          </p:cNvSpPr>
          <p:nvPr>
            <p:ph type="title" hasCustomPrompt="1"/>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Style</a:t>
            </a:r>
            <a:endParaRPr lang="en-US" dirty="0"/>
          </a:p>
        </p:txBody>
      </p:sp>
      <p:sp>
        <p:nvSpPr>
          <p:cNvPr id="5" name="Text Placeholder 7"/>
          <p:cNvSpPr>
            <a:spLocks noGrp="1"/>
          </p:cNvSpPr>
          <p:nvPr>
            <p:ph type="body" sz="quarter" idx="13" hasCustomPrompt="1"/>
          </p:nvPr>
        </p:nvSpPr>
        <p:spPr>
          <a:xfrm>
            <a:off x="450276" y="1066801"/>
            <a:ext cx="9005453" cy="5181599"/>
          </a:xfrm>
          <a:prstGeom prst="rect">
            <a:avLst/>
          </a:prstGeom>
        </p:spPr>
        <p:txBody>
          <a:bodyPr lIns="0" tIns="0" rIns="0" bIns="0">
            <a:noAutofit/>
          </a:bodyPr>
          <a:lstStyle>
            <a:lvl1pPr marL="173037" indent="-173037">
              <a:spcBef>
                <a:spcPts val="718"/>
              </a:spcBef>
              <a:defRPr sz="1600" baseline="0">
                <a:latin typeface="Arial" panose="020B0604020202020204" pitchFamily="34" charset="0"/>
                <a:cs typeface="Arial" panose="020B0604020202020204" pitchFamily="34" charset="0"/>
              </a:defRPr>
            </a:lvl1pPr>
            <a:lvl2pPr marL="347661" indent="-174624">
              <a:spcBef>
                <a:spcPts val="718"/>
              </a:spcBef>
              <a:buFont typeface="Wingdings" panose="05000000000000000000" pitchFamily="2" charset="2"/>
              <a:buChar char="ü"/>
              <a:defRPr sz="1400">
                <a:latin typeface="Arial" panose="020B0604020202020204" pitchFamily="34" charset="0"/>
                <a:cs typeface="Arial" panose="020B0604020202020204" pitchFamily="34" charset="0"/>
              </a:defRPr>
            </a:lvl2pPr>
            <a:lvl3pPr marL="509585" indent="-161924">
              <a:buFont typeface="Courier New" pitchFamily="49" charset="0"/>
              <a:buChar char="o"/>
              <a:defRPr sz="1400">
                <a:latin typeface="Arial" panose="020B0604020202020204" pitchFamily="34" charset="0"/>
                <a:cs typeface="Arial" panose="020B0604020202020204" pitchFamily="34" charset="0"/>
              </a:defRPr>
            </a:lvl3pPr>
            <a:lvl4pPr marL="682621" indent="-173037">
              <a:defRPr sz="1400">
                <a:latin typeface="Arial" panose="020B0604020202020204" pitchFamily="34" charset="0"/>
                <a:cs typeface="Arial" panose="020B0604020202020204" pitchFamily="34" charset="0"/>
              </a:defRPr>
            </a:lvl4pPr>
            <a:lvl5pPr>
              <a:defRPr sz="1800"/>
            </a:lvl5pPr>
          </a:lstStyle>
          <a:p>
            <a:pPr lvl="0"/>
            <a:r>
              <a:rPr lang="en-US" dirty="0"/>
              <a:t>Click to edit Master text first level</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119345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2_Title Slide">
  <p:cSld name="2_Title Slide">
    <p:bg>
      <p:bgPr>
        <a:solidFill>
          <a:srgbClr val="006547"/>
        </a:solidFill>
        <a:effectLst/>
      </p:bgPr>
    </p:bg>
    <p:spTree>
      <p:nvGrpSpPr>
        <p:cNvPr id="1" name="Shape 27"/>
        <p:cNvGrpSpPr/>
        <p:nvPr/>
      </p:nvGrpSpPr>
      <p:grpSpPr>
        <a:xfrm>
          <a:off x="0" y="0"/>
          <a:ext cx="0" cy="0"/>
          <a:chOff x="0" y="0"/>
          <a:chExt cx="0" cy="0"/>
        </a:xfrm>
      </p:grpSpPr>
      <p:pic>
        <p:nvPicPr>
          <p:cNvPr id="28" name="Google Shape;28;p5"/>
          <p:cNvPicPr preferRelativeResize="0"/>
          <p:nvPr/>
        </p:nvPicPr>
        <p:blipFill rotWithShape="1">
          <a:blip r:embed="rId2">
            <a:alphaModFix/>
          </a:blip>
          <a:srcRect/>
          <a:stretch/>
        </p:blipFill>
        <p:spPr>
          <a:xfrm>
            <a:off x="1588" y="1588"/>
            <a:ext cx="1588" cy="1588"/>
          </a:xfrm>
          <a:prstGeom prst="rect">
            <a:avLst/>
          </a:prstGeom>
          <a:noFill/>
          <a:ln>
            <a:noFill/>
          </a:ln>
        </p:spPr>
      </p:pic>
      <p:pic>
        <p:nvPicPr>
          <p:cNvPr id="29" name="Google Shape;29;p5"/>
          <p:cNvPicPr preferRelativeResize="0"/>
          <p:nvPr/>
        </p:nvPicPr>
        <p:blipFill rotWithShape="1">
          <a:blip r:embed="rId3">
            <a:alphaModFix/>
          </a:blip>
          <a:srcRect/>
          <a:stretch/>
        </p:blipFill>
        <p:spPr>
          <a:xfrm>
            <a:off x="766" y="1"/>
            <a:ext cx="9904468" cy="4759523"/>
          </a:xfrm>
          <a:prstGeom prst="rect">
            <a:avLst/>
          </a:prstGeom>
          <a:noFill/>
          <a:ln>
            <a:noFill/>
          </a:ln>
        </p:spPr>
      </p:pic>
      <p:sp>
        <p:nvSpPr>
          <p:cNvPr id="30" name="Google Shape;30;p5"/>
          <p:cNvSpPr txBox="1">
            <a:spLocks noGrp="1"/>
          </p:cNvSpPr>
          <p:nvPr>
            <p:ph type="title"/>
          </p:nvPr>
        </p:nvSpPr>
        <p:spPr>
          <a:xfrm>
            <a:off x="495300" y="4824250"/>
            <a:ext cx="8915400" cy="1143000"/>
          </a:xfrm>
          <a:prstGeom prst="rect">
            <a:avLst/>
          </a:prstGeom>
          <a:noFill/>
          <a:ln>
            <a:noFill/>
          </a:ln>
        </p:spPr>
        <p:txBody>
          <a:bodyPr spcFirstLastPara="1" wrap="square" lIns="91425" tIns="45700" rIns="91425" bIns="45700" anchor="t" anchorCtr="0"/>
          <a:lstStyle>
            <a:lvl1pPr marR="0" lvl="0" algn="l" rtl="0">
              <a:lnSpc>
                <a:spcPct val="90000"/>
              </a:lnSpc>
              <a:spcBef>
                <a:spcPts val="0"/>
              </a:spcBef>
              <a:spcAft>
                <a:spcPts val="0"/>
              </a:spcAft>
              <a:buClr>
                <a:schemeClr val="lt1"/>
              </a:buClr>
              <a:buSzPts val="3600"/>
              <a:buFont typeface="Arial"/>
              <a:buNone/>
              <a:defRPr sz="3600" b="0" i="0" u="none" strike="noStrike" cap="none">
                <a:solidFill>
                  <a:schemeClr val="lt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31" name="Google Shape;31;p5"/>
          <p:cNvSpPr txBox="1">
            <a:spLocks noGrp="1"/>
          </p:cNvSpPr>
          <p:nvPr>
            <p:ph type="subTitle" idx="1"/>
          </p:nvPr>
        </p:nvSpPr>
        <p:spPr>
          <a:xfrm>
            <a:off x="495300" y="6031975"/>
            <a:ext cx="8397935" cy="384595"/>
          </a:xfrm>
          <a:prstGeom prst="rect">
            <a:avLst/>
          </a:prstGeom>
          <a:noFill/>
          <a:ln>
            <a:noFill/>
          </a:ln>
        </p:spPr>
        <p:txBody>
          <a:bodyPr spcFirstLastPara="1" wrap="square" lIns="0" tIns="0" rIns="0" bIns="0" anchor="t" anchorCtr="0"/>
          <a:lstStyle>
            <a:lvl1pPr marR="0" lvl="0" algn="l" rtl="0">
              <a:lnSpc>
                <a:spcPct val="90000"/>
              </a:lnSpc>
              <a:spcBef>
                <a:spcPts val="1000"/>
              </a:spcBef>
              <a:spcAft>
                <a:spcPts val="0"/>
              </a:spcAft>
              <a:buClr>
                <a:schemeClr val="lt1"/>
              </a:buClr>
              <a:buSzPts val="1600"/>
              <a:buFont typeface="Arial"/>
              <a:buNone/>
              <a:defRPr sz="1600" b="0" i="1" u="none" strike="noStrike" cap="none">
                <a:solidFill>
                  <a:schemeClr val="lt1"/>
                </a:solidFill>
                <a:latin typeface="Arial"/>
                <a:ea typeface="Arial"/>
                <a:cs typeface="Arial"/>
                <a:sym typeface="Arial"/>
              </a:defRPr>
            </a:lvl1pPr>
            <a:lvl2pPr marR="0" lvl="1" algn="ctr" rtl="0">
              <a:lnSpc>
                <a:spcPct val="90000"/>
              </a:lnSpc>
              <a:spcBef>
                <a:spcPts val="500"/>
              </a:spcBef>
              <a:spcAft>
                <a:spcPts val="0"/>
              </a:spcAft>
              <a:buClr>
                <a:srgbClr val="888888"/>
              </a:buClr>
              <a:buSzPts val="2400"/>
              <a:buFont typeface="Arial"/>
              <a:buNone/>
              <a:defRPr sz="2400" b="0" i="0" u="none" strike="noStrike" cap="none">
                <a:solidFill>
                  <a:srgbClr val="888888"/>
                </a:solidFill>
                <a:latin typeface="Calibri"/>
                <a:ea typeface="Calibri"/>
                <a:cs typeface="Calibri"/>
                <a:sym typeface="Calibri"/>
              </a:defRPr>
            </a:lvl2pPr>
            <a:lvl3pPr marR="0" lvl="2" algn="ctr" rtl="0">
              <a:lnSpc>
                <a:spcPct val="90000"/>
              </a:lnSpc>
              <a:spcBef>
                <a:spcPts val="500"/>
              </a:spcBef>
              <a:spcAft>
                <a:spcPts val="0"/>
              </a:spcAft>
              <a:buClr>
                <a:srgbClr val="888888"/>
              </a:buClr>
              <a:buSzPts val="2000"/>
              <a:buFont typeface="Arial"/>
              <a:buNone/>
              <a:defRPr sz="2000" b="0" i="0" u="none" strike="noStrike" cap="none">
                <a:solidFill>
                  <a:srgbClr val="888888"/>
                </a:solidFill>
                <a:latin typeface="Calibri"/>
                <a:ea typeface="Calibri"/>
                <a:cs typeface="Calibri"/>
                <a:sym typeface="Calibri"/>
              </a:defRPr>
            </a:lvl3pPr>
            <a:lvl4pPr marR="0" lvl="3"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4pPr>
            <a:lvl5pPr marR="0" lvl="4"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5pPr>
            <a:lvl6pPr marR="0" lvl="5"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6pPr>
            <a:lvl7pPr marR="0" lvl="6"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7pPr>
            <a:lvl8pPr marR="0" lvl="7"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8pPr>
            <a:lvl9pPr marR="0" lvl="8"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9pPr>
          </a:lstStyle>
          <a:p>
            <a:endParaRPr/>
          </a:p>
        </p:txBody>
      </p:sp>
      <p:sp>
        <p:nvSpPr>
          <p:cNvPr id="32" name="Google Shape;32;p5"/>
          <p:cNvSpPr txBox="1">
            <a:spLocks noGrp="1"/>
          </p:cNvSpPr>
          <p:nvPr>
            <p:ph type="body" idx="2"/>
          </p:nvPr>
        </p:nvSpPr>
        <p:spPr>
          <a:xfrm>
            <a:off x="495300" y="6478666"/>
            <a:ext cx="8397831" cy="311885"/>
          </a:xfrm>
          <a:prstGeom prst="rect">
            <a:avLst/>
          </a:prstGeom>
          <a:noFill/>
          <a:ln>
            <a:noFill/>
          </a:ln>
        </p:spPr>
        <p:txBody>
          <a:bodyPr spcFirstLastPara="1" wrap="square" lIns="0" tIns="0" rIns="0" bIns="0" anchor="t" anchorCtr="0"/>
          <a:lstStyle>
            <a:lvl1pPr marL="457200" marR="0" lvl="0" indent="-228600" algn="l" rtl="0">
              <a:lnSpc>
                <a:spcPct val="90000"/>
              </a:lnSpc>
              <a:spcBef>
                <a:spcPts val="100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1pPr>
            <a:lvl2pPr marL="914400" marR="0" lvl="1"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2pPr>
            <a:lvl3pPr marL="1371600" marR="0" lvl="2"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5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27048"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dirty="0">
              <a:solidFill>
                <a:prstClr val="white"/>
              </a:solidFill>
              <a:cs typeface="Arial" panose="020B0604020202020204" pitchFamily="34" charset="0"/>
              <a:sym typeface="Calibri" panose="020F0502020204030204" pitchFamily="34" charset="0"/>
            </a:endParaRPr>
          </a:p>
        </p:txBody>
      </p:sp>
      <p:sp>
        <p:nvSpPr>
          <p:cNvPr id="6"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396962288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28072"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dirty="0">
              <a:solidFill>
                <a:prstClr val="white"/>
              </a:solidFill>
              <a:cs typeface="Arial" panose="020B0604020202020204" pitchFamily="34" charset="0"/>
              <a:sym typeface="Calibri" panose="020F0502020204030204" pitchFamily="34" charset="0"/>
            </a:endParaRPr>
          </a:p>
        </p:txBody>
      </p:sp>
      <p:sp>
        <p:nvSpPr>
          <p:cNvPr id="6"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
        <p:nvSpPr>
          <p:cNvPr id="5" name="Text Placeholder 7"/>
          <p:cNvSpPr>
            <a:spLocks noGrp="1"/>
          </p:cNvSpPr>
          <p:nvPr>
            <p:ph type="body" sz="quarter" idx="13" hasCustomPrompt="1"/>
          </p:nvPr>
        </p:nvSpPr>
        <p:spPr>
          <a:xfrm>
            <a:off x="450276" y="1066801"/>
            <a:ext cx="9005453" cy="4876799"/>
          </a:xfrm>
          <a:prstGeom prst="rect">
            <a:avLst/>
          </a:prstGeom>
        </p:spPr>
        <p:txBody>
          <a:bodyPr lIns="0" tIns="0" rIns="0" bIns="0">
            <a:noAutofit/>
          </a:bodyPr>
          <a:lstStyle>
            <a:lvl1pPr marL="173037" indent="-173037">
              <a:spcBef>
                <a:spcPts val="718"/>
              </a:spcBef>
              <a:defRPr sz="1600" baseline="0">
                <a:latin typeface="Arial" panose="020B0604020202020204" pitchFamily="34" charset="0"/>
                <a:cs typeface="Arial" panose="020B0604020202020204" pitchFamily="34" charset="0"/>
              </a:defRPr>
            </a:lvl1pPr>
            <a:lvl2pPr marL="347661" indent="-174624">
              <a:spcBef>
                <a:spcPts val="718"/>
              </a:spcBef>
              <a:buFont typeface="Wingdings" panose="05000000000000000000" pitchFamily="2" charset="2"/>
              <a:buChar char="ü"/>
              <a:defRPr sz="1400">
                <a:latin typeface="Arial" panose="020B0604020202020204" pitchFamily="34" charset="0"/>
                <a:cs typeface="Arial" panose="020B0604020202020204" pitchFamily="34" charset="0"/>
              </a:defRPr>
            </a:lvl2pPr>
            <a:lvl3pPr marL="509585" indent="-161924">
              <a:buFont typeface="Courier New" pitchFamily="49" charset="0"/>
              <a:buChar char="o"/>
              <a:defRPr sz="1400">
                <a:latin typeface="Arial" panose="020B0604020202020204" pitchFamily="34" charset="0"/>
                <a:cs typeface="Arial" panose="020B0604020202020204" pitchFamily="34" charset="0"/>
              </a:defRPr>
            </a:lvl3pPr>
            <a:lvl4pPr marL="682621" indent="-173037">
              <a:defRPr sz="1400">
                <a:latin typeface="Arial" panose="020B0604020202020204" pitchFamily="34" charset="0"/>
                <a:cs typeface="Arial" panose="020B0604020202020204" pitchFamily="34" charset="0"/>
              </a:defRPr>
            </a:lvl4pPr>
            <a:lvl5pPr>
              <a:defRPr sz="1800"/>
            </a:lvl5pPr>
          </a:lstStyle>
          <a:p>
            <a:pPr lvl="0"/>
            <a:r>
              <a:rPr lang="en-US" dirty="0"/>
              <a:t>Click to edit Master text first level</a:t>
            </a:r>
          </a:p>
          <a:p>
            <a:pPr lvl="1"/>
            <a:r>
              <a:rPr lang="en-US" dirty="0"/>
              <a:t>Second level</a:t>
            </a:r>
          </a:p>
          <a:p>
            <a:pPr lvl="2"/>
            <a:r>
              <a:rPr lang="en-US" dirty="0"/>
              <a:t>Third level</a:t>
            </a:r>
          </a:p>
          <a:p>
            <a:pPr lvl="3"/>
            <a:r>
              <a:rPr lang="en-US" dirty="0"/>
              <a:t>Fourth level</a:t>
            </a:r>
          </a:p>
        </p:txBody>
      </p:sp>
      <p:sp>
        <p:nvSpPr>
          <p:cNvPr id="9"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dirty="0"/>
              <a:t>Click to edit Master footer. This space is reserved for footnotes and sources only, and cannot be expanded beyond its current size. SOURCE::</a:t>
            </a:r>
            <a:r>
              <a:rPr lang="en-US" dirty="0" err="1"/>
              <a:t>xxxxxxxxxxxxxxxxxxxxxxxxxxxxxxxxxxxxxxxxxxxxx</a:t>
            </a:r>
            <a:endParaRPr lang="en-US" dirty="0"/>
          </a:p>
        </p:txBody>
      </p:sp>
    </p:spTree>
    <p:extLst>
      <p:ext uri="{BB962C8B-B14F-4D97-AF65-F5344CB8AC3E}">
        <p14:creationId xmlns:p14="http://schemas.microsoft.com/office/powerpoint/2010/main" val="366376926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29096"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dirty="0">
              <a:solidFill>
                <a:prstClr val="white"/>
              </a:solidFill>
              <a:cs typeface="Arial" panose="020B0604020202020204" pitchFamily="34" charset="0"/>
              <a:sym typeface="Calibri" panose="020F0502020204030204" pitchFamily="34" charset="0"/>
            </a:endParaRPr>
          </a:p>
        </p:txBody>
      </p:sp>
      <p:sp>
        <p:nvSpPr>
          <p:cNvPr id="9"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dirty="0"/>
              <a:t>Click to edit Master footer. This space is reserved for footnotes and sources only, and cannot be expanded beyond its current size. SOURCE::</a:t>
            </a:r>
            <a:r>
              <a:rPr lang="en-US" dirty="0" err="1"/>
              <a:t>xxxxxxxxxxxxxxxxxxxxxxxxxxxxxxxxxxxxxxxxxxxxx</a:t>
            </a:r>
            <a:endParaRPr lang="en-US" dirty="0"/>
          </a:p>
        </p:txBody>
      </p:sp>
      <p:sp>
        <p:nvSpPr>
          <p:cNvPr id="10"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320120139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120"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dirty="0">
              <a:solidFill>
                <a:srgbClr val="70AD47">
                  <a:lumMod val="50000"/>
                </a:srgbClr>
              </a:solidFill>
              <a:cs typeface="Arial" panose="020B0604020202020204" pitchFamily="34" charset="0"/>
              <a:sym typeface="Calibri" panose="020F0502020204030204" pitchFamily="34" charset="0"/>
            </a:endParaRPr>
          </a:p>
        </p:txBody>
      </p:sp>
      <p:sp>
        <p:nvSpPr>
          <p:cNvPr id="4" name="SmartArt Placeholder 26"/>
          <p:cNvSpPr>
            <a:spLocks noGrp="1"/>
          </p:cNvSpPr>
          <p:nvPr>
            <p:ph type="dgm" sz="quarter" idx="18" hasCustomPrompt="1"/>
          </p:nvPr>
        </p:nvSpPr>
        <p:spPr>
          <a:xfrm>
            <a:off x="1350818" y="922317"/>
            <a:ext cx="7204364" cy="4639235"/>
          </a:xfrm>
          <a:prstGeom prst="rect">
            <a:avLst/>
          </a:prstGeom>
          <a:ln w="9525">
            <a:solidFill>
              <a:schemeClr val="tx1"/>
            </a:solidFill>
          </a:ln>
        </p:spPr>
        <p:txBody>
          <a:bodyPr lIns="82058" tIns="41029" rIns="82058" bIns="41029"/>
          <a:lstStyle>
            <a:lvl1pPr>
              <a:defRPr>
                <a:solidFill>
                  <a:schemeClr val="bg2"/>
                </a:solidFill>
                <a:latin typeface="Arial" panose="020B0604020202020204" pitchFamily="34" charset="0"/>
                <a:cs typeface="Arial" panose="020B0604020202020204" pitchFamily="34" charset="0"/>
              </a:defRPr>
            </a:lvl1pPr>
          </a:lstStyle>
          <a:p>
            <a:r>
              <a:rPr lang="en-US" dirty="0"/>
              <a:t>`</a:t>
            </a:r>
          </a:p>
        </p:txBody>
      </p:sp>
      <p:cxnSp>
        <p:nvCxnSpPr>
          <p:cNvPr id="5" name="Straight Connector 4"/>
          <p:cNvCxnSpPr/>
          <p:nvPr userDrawn="1"/>
        </p:nvCxnSpPr>
        <p:spPr>
          <a:xfrm>
            <a:off x="4953000" y="922317"/>
            <a:ext cx="0" cy="463923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a:off x="1350818" y="3141080"/>
            <a:ext cx="7204364"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 Placeholder 42"/>
          <p:cNvSpPr>
            <a:spLocks noGrp="1"/>
          </p:cNvSpPr>
          <p:nvPr>
            <p:ph type="body" sz="quarter" idx="21" hasCustomPrompt="1"/>
          </p:nvPr>
        </p:nvSpPr>
        <p:spPr>
          <a:xfrm>
            <a:off x="1350821" y="989556"/>
            <a:ext cx="3602182" cy="268941"/>
          </a:xfrm>
          <a:prstGeom prst="rect">
            <a:avLst/>
          </a:prstGeom>
        </p:spPr>
        <p:txBody>
          <a:bodyPr lIns="82058" tIns="41029" rIns="82058" bIns="41029"/>
          <a:lstStyle>
            <a:lvl1pPr marL="0" indent="0" algn="ctr">
              <a:buNone/>
              <a:defRPr sz="1400" b="1" baseline="0">
                <a:solidFill>
                  <a:srgbClr val="3F5F1F"/>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0" name="Text Placeholder 42"/>
          <p:cNvSpPr>
            <a:spLocks noGrp="1"/>
          </p:cNvSpPr>
          <p:nvPr>
            <p:ph type="body" sz="quarter" idx="22" hasCustomPrompt="1"/>
          </p:nvPr>
        </p:nvSpPr>
        <p:spPr>
          <a:xfrm>
            <a:off x="4953004" y="989556"/>
            <a:ext cx="3602182" cy="268941"/>
          </a:xfrm>
          <a:prstGeom prst="rect">
            <a:avLst/>
          </a:prstGeom>
        </p:spPr>
        <p:txBody>
          <a:bodyPr lIns="82058" tIns="41029" rIns="82058" bIns="41029"/>
          <a:lstStyle>
            <a:lvl1pPr marL="0" indent="0" algn="ctr">
              <a:buNone/>
              <a:defRPr sz="1400" b="1" baseline="0">
                <a:solidFill>
                  <a:srgbClr val="3F5F1F"/>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1" name="Text Placeholder 42"/>
          <p:cNvSpPr>
            <a:spLocks noGrp="1"/>
          </p:cNvSpPr>
          <p:nvPr>
            <p:ph type="body" sz="quarter" idx="23" hasCustomPrompt="1"/>
          </p:nvPr>
        </p:nvSpPr>
        <p:spPr>
          <a:xfrm>
            <a:off x="1350821" y="3208318"/>
            <a:ext cx="3602182" cy="268941"/>
          </a:xfrm>
          <a:prstGeom prst="rect">
            <a:avLst/>
          </a:prstGeom>
        </p:spPr>
        <p:txBody>
          <a:bodyPr lIns="82058" tIns="41029" rIns="82058" bIns="41029"/>
          <a:lstStyle>
            <a:lvl1pPr marL="0" indent="0" algn="ctr">
              <a:buNone/>
              <a:defRPr sz="1400" b="1" baseline="0">
                <a:solidFill>
                  <a:srgbClr val="3F5F1F"/>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2" name="Text Placeholder 42"/>
          <p:cNvSpPr>
            <a:spLocks noGrp="1"/>
          </p:cNvSpPr>
          <p:nvPr>
            <p:ph type="body" sz="quarter" idx="24" hasCustomPrompt="1"/>
          </p:nvPr>
        </p:nvSpPr>
        <p:spPr>
          <a:xfrm>
            <a:off x="4953004" y="3208318"/>
            <a:ext cx="3602182" cy="268941"/>
          </a:xfrm>
          <a:prstGeom prst="rect">
            <a:avLst/>
          </a:prstGeom>
        </p:spPr>
        <p:txBody>
          <a:bodyPr lIns="82058" tIns="41029" rIns="82058" bIns="41029"/>
          <a:lstStyle>
            <a:lvl1pPr marL="0" indent="0" algn="ctr">
              <a:buNone/>
              <a:defRPr sz="1400" b="1" baseline="0">
                <a:solidFill>
                  <a:srgbClr val="3F5F1F"/>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3" name="Text Placeholder 42"/>
          <p:cNvSpPr>
            <a:spLocks noGrp="1"/>
          </p:cNvSpPr>
          <p:nvPr>
            <p:ph type="body" sz="quarter" idx="25" hasCustomPrompt="1"/>
          </p:nvPr>
        </p:nvSpPr>
        <p:spPr>
          <a:xfrm rot="16200000">
            <a:off x="-72049" y="1894916"/>
            <a:ext cx="2245379" cy="300182"/>
          </a:xfrm>
          <a:prstGeom prst="rect">
            <a:avLst/>
          </a:prstGeom>
        </p:spPr>
        <p:txBody>
          <a:bodyPr lIns="82058" tIns="41029" rIns="82058" bIns="41029"/>
          <a:lstStyle>
            <a:lvl1pPr marL="0" indent="0" algn="ctr">
              <a:buNone/>
              <a:defRPr sz="1400" b="1" baseline="0">
                <a:solidFill>
                  <a:schemeClr val="tx1"/>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4" name="Text Placeholder 42"/>
          <p:cNvSpPr>
            <a:spLocks noGrp="1"/>
          </p:cNvSpPr>
          <p:nvPr>
            <p:ph type="body" sz="quarter" idx="26" hasCustomPrompt="1"/>
          </p:nvPr>
        </p:nvSpPr>
        <p:spPr>
          <a:xfrm rot="16200000">
            <a:off x="-125978" y="4234844"/>
            <a:ext cx="2353235" cy="300183"/>
          </a:xfrm>
          <a:prstGeom prst="rect">
            <a:avLst/>
          </a:prstGeom>
        </p:spPr>
        <p:txBody>
          <a:bodyPr lIns="82058" tIns="41029" rIns="82058" bIns="41029"/>
          <a:lstStyle>
            <a:lvl1pPr marL="0" indent="0" algn="ctr">
              <a:buNone/>
              <a:defRPr sz="1400" b="1" baseline="0">
                <a:solidFill>
                  <a:schemeClr val="tx1"/>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5" name="Text Placeholder 42"/>
          <p:cNvSpPr>
            <a:spLocks noGrp="1"/>
          </p:cNvSpPr>
          <p:nvPr>
            <p:ph type="body" sz="quarter" idx="27" hasCustomPrompt="1"/>
          </p:nvPr>
        </p:nvSpPr>
        <p:spPr>
          <a:xfrm>
            <a:off x="1350821" y="5696027"/>
            <a:ext cx="3602182" cy="268941"/>
          </a:xfrm>
          <a:prstGeom prst="rect">
            <a:avLst/>
          </a:prstGeom>
        </p:spPr>
        <p:txBody>
          <a:bodyPr lIns="82058" tIns="41029" rIns="82058" bIns="41029"/>
          <a:lstStyle>
            <a:lvl1pPr marL="0" indent="0" algn="ctr">
              <a:buNone/>
              <a:defRPr sz="1400" b="1" baseline="0">
                <a:solidFill>
                  <a:schemeClr val="tx1"/>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6" name="Text Placeholder 42"/>
          <p:cNvSpPr>
            <a:spLocks noGrp="1"/>
          </p:cNvSpPr>
          <p:nvPr>
            <p:ph type="body" sz="quarter" idx="28" hasCustomPrompt="1"/>
          </p:nvPr>
        </p:nvSpPr>
        <p:spPr>
          <a:xfrm>
            <a:off x="5028046" y="5696027"/>
            <a:ext cx="3527136" cy="268941"/>
          </a:xfrm>
          <a:prstGeom prst="rect">
            <a:avLst/>
          </a:prstGeom>
        </p:spPr>
        <p:txBody>
          <a:bodyPr lIns="82058" tIns="41029" rIns="82058" bIns="41029"/>
          <a:lstStyle>
            <a:lvl1pPr marL="0" indent="0" algn="ctr">
              <a:buNone/>
              <a:defRPr sz="1400" b="1" baseline="0">
                <a:solidFill>
                  <a:schemeClr val="tx1"/>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7" name="Text Placeholder 51"/>
          <p:cNvSpPr>
            <a:spLocks noGrp="1"/>
          </p:cNvSpPr>
          <p:nvPr>
            <p:ph type="body" sz="quarter" idx="29" hasCustomPrompt="1"/>
          </p:nvPr>
        </p:nvSpPr>
        <p:spPr>
          <a:xfrm>
            <a:off x="1425867" y="1325727"/>
            <a:ext cx="3452090" cy="1748118"/>
          </a:xfrm>
          <a:prstGeom prst="rect">
            <a:avLst/>
          </a:prstGeom>
        </p:spPr>
        <p:txBody>
          <a:bodyPr lIns="82058" tIns="41029" rIns="82058" bIns="41029"/>
          <a:lstStyle>
            <a:lvl1pPr marL="159730" indent="-159730">
              <a:buFont typeface="Arial" pitchFamily="34" charset="0"/>
              <a:buChar char="•"/>
              <a:defRPr sz="1200" baseline="0">
                <a:latin typeface="Arial" panose="020B0604020202020204" pitchFamily="34" charset="0"/>
                <a:cs typeface="Arial" panose="020B0604020202020204" pitchFamily="34" charset="0"/>
              </a:defRPr>
            </a:lvl1pPr>
          </a:lstStyle>
          <a:p>
            <a:pPr lvl="0"/>
            <a:r>
              <a:rPr lang="en-US" dirty="0"/>
              <a:t>Click to edit text </a:t>
            </a:r>
          </a:p>
        </p:txBody>
      </p:sp>
      <p:sp>
        <p:nvSpPr>
          <p:cNvPr id="18" name="Text Placeholder 51"/>
          <p:cNvSpPr>
            <a:spLocks noGrp="1"/>
          </p:cNvSpPr>
          <p:nvPr>
            <p:ph type="body" sz="quarter" idx="30" hasCustomPrompt="1"/>
          </p:nvPr>
        </p:nvSpPr>
        <p:spPr>
          <a:xfrm>
            <a:off x="1425867" y="3544492"/>
            <a:ext cx="3452090" cy="1949824"/>
          </a:xfrm>
          <a:prstGeom prst="rect">
            <a:avLst/>
          </a:prstGeom>
        </p:spPr>
        <p:txBody>
          <a:bodyPr lIns="82058" tIns="41029" rIns="82058" bIns="41029"/>
          <a:lstStyle>
            <a:lvl1pPr marL="159730" indent="-159730">
              <a:buFont typeface="Arial" pitchFamily="34" charset="0"/>
              <a:buChar char="•"/>
              <a:defRPr sz="1200" baseline="0">
                <a:latin typeface="Arial" panose="020B0604020202020204" pitchFamily="34" charset="0"/>
                <a:cs typeface="Arial" panose="020B0604020202020204" pitchFamily="34" charset="0"/>
              </a:defRPr>
            </a:lvl1pPr>
          </a:lstStyle>
          <a:p>
            <a:pPr lvl="0"/>
            <a:r>
              <a:rPr lang="en-US" dirty="0"/>
              <a:t>Click to edit text </a:t>
            </a:r>
          </a:p>
        </p:txBody>
      </p:sp>
      <p:sp>
        <p:nvSpPr>
          <p:cNvPr id="19" name="Text Placeholder 51"/>
          <p:cNvSpPr>
            <a:spLocks noGrp="1"/>
          </p:cNvSpPr>
          <p:nvPr>
            <p:ph type="body" sz="quarter" idx="31" hasCustomPrompt="1"/>
          </p:nvPr>
        </p:nvSpPr>
        <p:spPr>
          <a:xfrm>
            <a:off x="5028049" y="3544492"/>
            <a:ext cx="3452090" cy="1949824"/>
          </a:xfrm>
          <a:prstGeom prst="rect">
            <a:avLst/>
          </a:prstGeom>
        </p:spPr>
        <p:txBody>
          <a:bodyPr lIns="82058" tIns="41029" rIns="82058" bIns="41029"/>
          <a:lstStyle>
            <a:lvl1pPr marL="159730" indent="-159730">
              <a:buFont typeface="Arial" pitchFamily="34" charset="0"/>
              <a:buChar char="•"/>
              <a:defRPr sz="1200" baseline="0">
                <a:latin typeface="Arial" panose="020B0604020202020204" pitchFamily="34" charset="0"/>
                <a:cs typeface="Arial" panose="020B0604020202020204" pitchFamily="34" charset="0"/>
              </a:defRPr>
            </a:lvl1pPr>
          </a:lstStyle>
          <a:p>
            <a:pPr lvl="0"/>
            <a:r>
              <a:rPr lang="en-US" dirty="0"/>
              <a:t>Click to edit text </a:t>
            </a:r>
          </a:p>
        </p:txBody>
      </p:sp>
      <p:sp>
        <p:nvSpPr>
          <p:cNvPr id="20" name="Text Placeholder 51"/>
          <p:cNvSpPr>
            <a:spLocks noGrp="1"/>
          </p:cNvSpPr>
          <p:nvPr>
            <p:ph type="body" sz="quarter" idx="32" hasCustomPrompt="1"/>
          </p:nvPr>
        </p:nvSpPr>
        <p:spPr>
          <a:xfrm>
            <a:off x="5028049" y="1325727"/>
            <a:ext cx="3452090" cy="1748118"/>
          </a:xfrm>
          <a:prstGeom prst="rect">
            <a:avLst/>
          </a:prstGeom>
        </p:spPr>
        <p:txBody>
          <a:bodyPr lIns="82058" tIns="41029" rIns="82058" bIns="41029"/>
          <a:lstStyle>
            <a:lvl1pPr marL="159730" indent="-159730">
              <a:buFont typeface="Arial" pitchFamily="34" charset="0"/>
              <a:buChar char="•"/>
              <a:defRPr sz="1200" baseline="0">
                <a:latin typeface="Arial" panose="020B0604020202020204" pitchFamily="34" charset="0"/>
                <a:cs typeface="Arial" panose="020B0604020202020204" pitchFamily="34" charset="0"/>
              </a:defRPr>
            </a:lvl1pPr>
          </a:lstStyle>
          <a:p>
            <a:pPr lvl="0"/>
            <a:r>
              <a:rPr lang="en-US" dirty="0"/>
              <a:t>Click to edit text </a:t>
            </a:r>
          </a:p>
        </p:txBody>
      </p:sp>
      <p:sp>
        <p:nvSpPr>
          <p:cNvPr id="21"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dirty="0"/>
              <a:t>Click to edit Master footer. This space is reserved for footnotes and sources only, and cannot be expanded beyond its current size. SOURCE::</a:t>
            </a:r>
            <a:r>
              <a:rPr lang="en-US" dirty="0" err="1"/>
              <a:t>xxxxxxxxxxxxxxxxxxxxxxxxxxxxxxxxxxxxxxxxxxxxx</a:t>
            </a:r>
            <a:endParaRPr lang="en-US" dirty="0"/>
          </a:p>
        </p:txBody>
      </p:sp>
      <p:sp>
        <p:nvSpPr>
          <p:cNvPr id="23"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390882303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144"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dirty="0">
              <a:solidFill>
                <a:srgbClr val="70AD47">
                  <a:lumMod val="50000"/>
                </a:srgbClr>
              </a:solidFill>
              <a:cs typeface="Arial" panose="020B0604020202020204" pitchFamily="34" charset="0"/>
              <a:sym typeface="Calibri" panose="020F0502020204030204" pitchFamily="34" charset="0"/>
            </a:endParaRPr>
          </a:p>
        </p:txBody>
      </p:sp>
      <p:sp>
        <p:nvSpPr>
          <p:cNvPr id="4" name="Text Placeholder 14"/>
          <p:cNvSpPr>
            <a:spLocks noGrp="1"/>
          </p:cNvSpPr>
          <p:nvPr>
            <p:ph type="body" sz="quarter" idx="35" hasCustomPrompt="1"/>
          </p:nvPr>
        </p:nvSpPr>
        <p:spPr>
          <a:xfrm>
            <a:off x="450326" y="1008557"/>
            <a:ext cx="4319158" cy="460302"/>
          </a:xfrm>
          <a:prstGeom prst="rect">
            <a:avLst/>
          </a:prstGeom>
          <a:solidFill>
            <a:srgbClr val="3F5F1F"/>
          </a:solidFill>
        </p:spPr>
        <p:txBody>
          <a:bodyPr lIns="0" tIns="0" rIns="0" bIns="0" anchor="ctr"/>
          <a:lstStyle>
            <a:lvl1pPr marL="0" indent="0" algn="ctr">
              <a:buNone/>
              <a:defRPr sz="1600" b="1" baseline="0">
                <a:solidFill>
                  <a:schemeClr val="bg1"/>
                </a:solidFill>
                <a:latin typeface="Arial" panose="020B0604020202020204" pitchFamily="34" charset="0"/>
                <a:cs typeface="Arial" panose="020B0604020202020204" pitchFamily="34" charset="0"/>
              </a:defRPr>
            </a:lvl1pPr>
          </a:lstStyle>
          <a:p>
            <a:pPr lvl="0"/>
            <a:r>
              <a:rPr lang="en-US" dirty="0"/>
              <a:t>Click to edit Header text</a:t>
            </a:r>
          </a:p>
        </p:txBody>
      </p:sp>
      <p:cxnSp>
        <p:nvCxnSpPr>
          <p:cNvPr id="5" name="Straight Connector 4"/>
          <p:cNvCxnSpPr/>
          <p:nvPr userDrawn="1"/>
        </p:nvCxnSpPr>
        <p:spPr>
          <a:xfrm>
            <a:off x="450322" y="1549540"/>
            <a:ext cx="430854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 Placeholder 9"/>
          <p:cNvSpPr>
            <a:spLocks noGrp="1"/>
          </p:cNvSpPr>
          <p:nvPr>
            <p:ph type="body" sz="quarter" idx="10"/>
          </p:nvPr>
        </p:nvSpPr>
        <p:spPr>
          <a:xfrm>
            <a:off x="450326" y="1644574"/>
            <a:ext cx="4319158" cy="4222236"/>
          </a:xfrm>
          <a:prstGeom prst="rect">
            <a:avLst/>
          </a:prstGeom>
        </p:spPr>
        <p:txBody>
          <a:bodyPr lIns="0" tIns="0" rIns="0" bIns="0"/>
          <a:lstStyle>
            <a:lvl1pPr marL="168274" indent="-168274">
              <a:buFont typeface="Arial" panose="020B0604020202020204" pitchFamily="34" charset="0"/>
              <a:buChar char="•"/>
              <a:defRPr sz="1400">
                <a:latin typeface="Arial" panose="020B0604020202020204" pitchFamily="34" charset="0"/>
                <a:cs typeface="Arial" panose="020B0604020202020204" pitchFamily="34" charset="0"/>
              </a:defRPr>
            </a:lvl1pPr>
            <a:lvl2pPr marL="320927" indent="-161195">
              <a:buFont typeface="Wingdings" panose="05000000000000000000" pitchFamily="2" charset="2"/>
              <a:buChar char="ü"/>
              <a:defRPr sz="1200">
                <a:latin typeface="Arial" panose="020B0604020202020204" pitchFamily="34" charset="0"/>
                <a:cs typeface="Arial" panose="020B0604020202020204" pitchFamily="34" charset="0"/>
              </a:defRPr>
            </a:lvl2pPr>
            <a:lvl3pPr marL="470398" indent="-149473">
              <a:buFont typeface="Courier New" panose="02070309020205020404" pitchFamily="49" charset="0"/>
              <a:buChar char="o"/>
              <a:defRPr sz="1200">
                <a:latin typeface="Arial" panose="020B0604020202020204" pitchFamily="34" charset="0"/>
                <a:cs typeface="Arial" panose="020B0604020202020204" pitchFamily="34" charset="0"/>
              </a:defRPr>
            </a:lvl3pPr>
            <a:lvl4pPr marL="630127" indent="-159730">
              <a:buFont typeface="Wingdings" panose="05000000000000000000" pitchFamily="2" charset="2"/>
              <a:buChar char="Ø"/>
              <a:defRPr sz="1200">
                <a:latin typeface="Arial" panose="020B0604020202020204" pitchFamily="34" charset="0"/>
                <a:cs typeface="Arial" panose="020B0604020202020204" pitchFamily="34"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14"/>
          <p:cNvSpPr>
            <a:spLocks noGrp="1"/>
          </p:cNvSpPr>
          <p:nvPr>
            <p:ph type="body" sz="quarter" idx="38" hasCustomPrompt="1"/>
          </p:nvPr>
        </p:nvSpPr>
        <p:spPr>
          <a:xfrm>
            <a:off x="5151120" y="1009149"/>
            <a:ext cx="4304296" cy="460302"/>
          </a:xfrm>
          <a:prstGeom prst="rect">
            <a:avLst/>
          </a:prstGeom>
          <a:solidFill>
            <a:srgbClr val="3F5F1F"/>
          </a:solidFill>
        </p:spPr>
        <p:txBody>
          <a:bodyPr lIns="0" tIns="0" rIns="0" bIns="0" anchor="ctr"/>
          <a:lstStyle>
            <a:lvl1pPr marL="0" indent="0" algn="ctr">
              <a:buNone/>
              <a:defRPr sz="1600" b="1" baseline="0">
                <a:solidFill>
                  <a:schemeClr val="bg1"/>
                </a:solidFill>
                <a:latin typeface="Arial" panose="020B0604020202020204" pitchFamily="34" charset="0"/>
                <a:cs typeface="Arial" panose="020B0604020202020204" pitchFamily="34" charset="0"/>
              </a:defRPr>
            </a:lvl1pPr>
          </a:lstStyle>
          <a:p>
            <a:pPr lvl="0"/>
            <a:r>
              <a:rPr lang="en-US" dirty="0"/>
              <a:t>Click to edit Header text</a:t>
            </a:r>
          </a:p>
        </p:txBody>
      </p:sp>
      <p:cxnSp>
        <p:nvCxnSpPr>
          <p:cNvPr id="10" name="Straight Connector 9"/>
          <p:cNvCxnSpPr/>
          <p:nvPr userDrawn="1"/>
        </p:nvCxnSpPr>
        <p:spPr>
          <a:xfrm>
            <a:off x="5151120" y="1550132"/>
            <a:ext cx="430429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9"/>
          <p:cNvSpPr>
            <a:spLocks noGrp="1"/>
          </p:cNvSpPr>
          <p:nvPr>
            <p:ph type="body" sz="quarter" idx="39"/>
          </p:nvPr>
        </p:nvSpPr>
        <p:spPr>
          <a:xfrm>
            <a:off x="5151120" y="1645165"/>
            <a:ext cx="4304296" cy="4222236"/>
          </a:xfrm>
          <a:prstGeom prst="rect">
            <a:avLst/>
          </a:prstGeom>
        </p:spPr>
        <p:txBody>
          <a:bodyPr lIns="0" tIns="0" rIns="0" bIns="0"/>
          <a:lstStyle>
            <a:lvl1pPr marL="168274" indent="-168274">
              <a:buFont typeface="Arial" panose="020B0604020202020204" pitchFamily="34" charset="0"/>
              <a:buChar char="•"/>
              <a:defRPr sz="1292">
                <a:latin typeface="Arial" panose="020B0604020202020204" pitchFamily="34" charset="0"/>
                <a:cs typeface="Arial" panose="020B0604020202020204" pitchFamily="34" charset="0"/>
              </a:defRPr>
            </a:lvl1pPr>
            <a:lvl2pPr marL="320927" indent="-161195">
              <a:buFont typeface="Wingdings" panose="05000000000000000000" pitchFamily="2" charset="2"/>
              <a:buChar char="ü"/>
              <a:defRPr sz="1108">
                <a:latin typeface="Arial" panose="020B0604020202020204" pitchFamily="34" charset="0"/>
                <a:cs typeface="Arial" panose="020B0604020202020204" pitchFamily="34" charset="0"/>
              </a:defRPr>
            </a:lvl2pPr>
            <a:lvl3pPr marL="470398" indent="-149473">
              <a:buFont typeface="Courier New" panose="02070309020205020404" pitchFamily="49" charset="0"/>
              <a:buChar char="o"/>
              <a:defRPr sz="1108">
                <a:latin typeface="Arial" panose="020B0604020202020204" pitchFamily="34" charset="0"/>
                <a:cs typeface="Arial" panose="020B0604020202020204" pitchFamily="34" charset="0"/>
              </a:defRPr>
            </a:lvl3pPr>
            <a:lvl4pPr marL="630127" indent="-159730">
              <a:buFont typeface="Wingdings" panose="05000000000000000000" pitchFamily="2" charset="2"/>
              <a:buChar char="Ø"/>
              <a:defRPr sz="1108">
                <a:latin typeface="Arial" panose="020B0604020202020204" pitchFamily="34" charset="0"/>
                <a:cs typeface="Arial" panose="020B0604020202020204" pitchFamily="34"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dirty="0"/>
              <a:t>Click to edit Master footer. This space is reserved for footnotes and sources only, and cannot be expanded beyond its current size. SOURCE::</a:t>
            </a:r>
            <a:r>
              <a:rPr lang="en-US" dirty="0" err="1"/>
              <a:t>xxxxxxxxxxxxxxxxxxxxxxxxxxxxxxxxxxxxxxxxxxxxx</a:t>
            </a:r>
            <a:endParaRPr lang="en-US" dirty="0"/>
          </a:p>
        </p:txBody>
      </p:sp>
      <p:sp>
        <p:nvSpPr>
          <p:cNvPr id="13"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310731822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168"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dirty="0">
              <a:solidFill>
                <a:srgbClr val="70AD47">
                  <a:lumMod val="50000"/>
                </a:srgbClr>
              </a:solidFill>
              <a:cs typeface="Arial" panose="020B0604020202020204" pitchFamily="34" charset="0"/>
              <a:sym typeface="Calibri" panose="020F0502020204030204" pitchFamily="34" charset="0"/>
            </a:endParaRPr>
          </a:p>
        </p:txBody>
      </p:sp>
      <p:sp>
        <p:nvSpPr>
          <p:cNvPr id="9"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dirty="0"/>
              <a:t>Click to edit Master footer. This space is reserved for footnotes and sources only, and cannot be expanded beyond its current size. SOURCE::</a:t>
            </a:r>
            <a:r>
              <a:rPr lang="en-US" dirty="0" err="1"/>
              <a:t>xxxxxxxxxxxxxxxxxxxxxxxxxxxxxxxxxxxxxxxxxxxxx</a:t>
            </a:r>
            <a:endParaRPr lang="en-US" dirty="0"/>
          </a:p>
        </p:txBody>
      </p:sp>
      <p:sp>
        <p:nvSpPr>
          <p:cNvPr id="4" name="Content Placeholder 2"/>
          <p:cNvSpPr>
            <a:spLocks noGrp="1"/>
          </p:cNvSpPr>
          <p:nvPr>
            <p:ph idx="1" hasCustomPrompt="1"/>
          </p:nvPr>
        </p:nvSpPr>
        <p:spPr>
          <a:xfrm>
            <a:off x="450588" y="1277003"/>
            <a:ext cx="3602182" cy="201706"/>
          </a:xfrm>
          <a:prstGeom prst="rect">
            <a:avLst/>
          </a:prstGeom>
        </p:spPr>
        <p:txBody>
          <a:bodyPr lIns="0" tIns="0" rIns="0" bIns="0"/>
          <a:lstStyle>
            <a:lvl1pPr marL="0" indent="0">
              <a:buFont typeface="Arial" pitchFamily="34" charset="0"/>
              <a:buNone/>
              <a:defRPr sz="1200">
                <a:latin typeface="Arial" panose="020B0604020202020204" pitchFamily="34" charset="0"/>
                <a:cs typeface="Arial" panose="020B0604020202020204" pitchFamily="34" charset="0"/>
              </a:defRPr>
            </a:lvl1pPr>
            <a:lvl2pPr marL="708819" indent="-284052">
              <a:defRPr sz="1108"/>
            </a:lvl2pPr>
            <a:lvl3pPr>
              <a:buFont typeface="Courier New" pitchFamily="49" charset="0"/>
              <a:buChar char="o"/>
              <a:defRPr sz="1108"/>
            </a:lvl3pPr>
            <a:lvl4pPr>
              <a:defRPr sz="1108"/>
            </a:lvl4pPr>
          </a:lstStyle>
          <a:p>
            <a:pPr lvl="0"/>
            <a:r>
              <a:rPr lang="en-US" dirty="0"/>
              <a:t>Click to edit Master Graph units</a:t>
            </a:r>
          </a:p>
        </p:txBody>
      </p:sp>
      <p:sp>
        <p:nvSpPr>
          <p:cNvPr id="5" name="Text Placeholder 10"/>
          <p:cNvSpPr>
            <a:spLocks noGrp="1"/>
          </p:cNvSpPr>
          <p:nvPr>
            <p:ph type="body" sz="quarter" idx="21" hasCustomPrompt="1"/>
          </p:nvPr>
        </p:nvSpPr>
        <p:spPr>
          <a:xfrm>
            <a:off x="450588" y="1008063"/>
            <a:ext cx="3602182" cy="201706"/>
          </a:xfrm>
          <a:prstGeom prst="rect">
            <a:avLst/>
          </a:prstGeom>
        </p:spPr>
        <p:txBody>
          <a:bodyPr lIns="0" tIns="0" rIns="0" bIns="0"/>
          <a:lstStyle>
            <a:lvl1pPr marL="0" indent="0">
              <a:buNone/>
              <a:defRPr sz="1400" b="1" i="0" baseline="0">
                <a:solidFill>
                  <a:schemeClr val="tx1"/>
                </a:solidFill>
                <a:latin typeface="Arial" panose="020B0604020202020204" pitchFamily="34" charset="0"/>
                <a:cs typeface="Arial" panose="020B0604020202020204" pitchFamily="34" charset="0"/>
              </a:defRPr>
            </a:lvl1pPr>
          </a:lstStyle>
          <a:p>
            <a:pPr lvl="0"/>
            <a:r>
              <a:rPr lang="en-US" dirty="0"/>
              <a:t>Click to insert Master Graph title</a:t>
            </a:r>
          </a:p>
        </p:txBody>
      </p:sp>
      <p:sp>
        <p:nvSpPr>
          <p:cNvPr id="6" name="SmartArt Placeholder 12"/>
          <p:cNvSpPr>
            <a:spLocks noGrp="1"/>
          </p:cNvSpPr>
          <p:nvPr>
            <p:ph type="dgm" sz="quarter" idx="20" hasCustomPrompt="1"/>
          </p:nvPr>
        </p:nvSpPr>
        <p:spPr>
          <a:xfrm rot="5400000">
            <a:off x="4022002" y="3302283"/>
            <a:ext cx="3577155" cy="360462"/>
          </a:xfrm>
          <a:prstGeom prst="triangle">
            <a:avLst>
              <a:gd name="adj" fmla="val 50232"/>
            </a:avLst>
          </a:prstGeom>
          <a:solidFill>
            <a:srgbClr val="3F5F1F"/>
          </a:solidFill>
        </p:spPr>
        <p:txBody>
          <a:bodyPr lIns="82058" tIns="41029" rIns="82058" bIns="41029"/>
          <a:lstStyle>
            <a:lvl1pPr>
              <a:defRPr lang="en-US">
                <a:solidFill>
                  <a:schemeClr val="tx2"/>
                </a:solidFill>
                <a:latin typeface="Arial" panose="020B0604020202020204" pitchFamily="34" charset="0"/>
                <a:cs typeface="Arial" panose="020B0604020202020204" pitchFamily="34" charset="0"/>
              </a:defRPr>
            </a:lvl1pPr>
          </a:lstStyle>
          <a:p>
            <a:r>
              <a:rPr lang="en-US" dirty="0"/>
              <a:t>`</a:t>
            </a:r>
          </a:p>
        </p:txBody>
      </p:sp>
      <p:sp>
        <p:nvSpPr>
          <p:cNvPr id="7" name="Text Placeholder 5"/>
          <p:cNvSpPr>
            <a:spLocks noGrp="1"/>
          </p:cNvSpPr>
          <p:nvPr>
            <p:ph type="body" sz="quarter" idx="29"/>
          </p:nvPr>
        </p:nvSpPr>
        <p:spPr>
          <a:xfrm>
            <a:off x="6138356" y="1008064"/>
            <a:ext cx="3317841" cy="4676161"/>
          </a:xfrm>
          <a:prstGeom prst="rect">
            <a:avLst/>
          </a:prstGeom>
        </p:spPr>
        <p:txBody>
          <a:bodyPr lIns="0" tIns="0" rIns="0" bIns="0" numCol="1"/>
          <a:lstStyle>
            <a:lvl1pPr marL="168274" indent="-168274" algn="just">
              <a:buFont typeface="Arial" pitchFamily="34" charset="0"/>
              <a:buChar char="•"/>
              <a:tabLst>
                <a:tab pos="3595378" algn="l"/>
              </a:tabLst>
              <a:defRPr sz="1400" baseline="0">
                <a:latin typeface="Arial" panose="020B0604020202020204" pitchFamily="34" charset="0"/>
                <a:cs typeface="Arial" panose="020B0604020202020204" pitchFamily="34" charset="0"/>
              </a:defRPr>
            </a:lvl1pPr>
            <a:lvl2pPr algn="just">
              <a:tabLst>
                <a:tab pos="3595378" algn="l"/>
              </a:tabLst>
              <a:defRPr sz="1108"/>
            </a:lvl2pPr>
            <a:lvl3pPr algn="just">
              <a:buFont typeface="Courier New" pitchFamily="49" charset="0"/>
              <a:buChar char="o"/>
              <a:tabLst>
                <a:tab pos="3595378" algn="l"/>
              </a:tabLst>
              <a:defRPr sz="1108"/>
            </a:lvl3pPr>
            <a:lvl4pPr algn="just">
              <a:tabLst>
                <a:tab pos="3595378" algn="l"/>
              </a:tabLst>
              <a:defRPr sz="1108"/>
            </a:lvl4pPr>
          </a:lstStyle>
          <a:p>
            <a:pPr lvl="0"/>
            <a:r>
              <a:rPr lang="en-US" dirty="0"/>
              <a:t>Click to edit Master text</a:t>
            </a:r>
          </a:p>
        </p:txBody>
      </p:sp>
      <p:sp>
        <p:nvSpPr>
          <p:cNvPr id="10"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41434003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7_Title Slide">
  <p:cSld name="8_Title Slide">
    <p:spTree>
      <p:nvGrpSpPr>
        <p:cNvPr id="1" name="Shape 84"/>
        <p:cNvGrpSpPr/>
        <p:nvPr/>
      </p:nvGrpSpPr>
      <p:grpSpPr>
        <a:xfrm>
          <a:off x="0" y="0"/>
          <a:ext cx="0" cy="0"/>
          <a:chOff x="0" y="0"/>
          <a:chExt cx="0" cy="0"/>
        </a:xfrm>
      </p:grpSpPr>
      <p:pic>
        <p:nvPicPr>
          <p:cNvPr id="85" name="Google Shape;85;p15"/>
          <p:cNvPicPr preferRelativeResize="0"/>
          <p:nvPr/>
        </p:nvPicPr>
        <p:blipFill rotWithShape="1">
          <a:blip r:embed="rId2">
            <a:alphaModFix/>
          </a:blip>
          <a:srcRect/>
          <a:stretch/>
        </p:blipFill>
        <p:spPr>
          <a:xfrm>
            <a:off x="1588" y="1588"/>
            <a:ext cx="1588" cy="1588"/>
          </a:xfrm>
          <a:prstGeom prst="rect">
            <a:avLst/>
          </a:prstGeom>
          <a:noFill/>
          <a:ln>
            <a:noFill/>
          </a:ln>
        </p:spPr>
      </p:pic>
      <p:sp>
        <p:nvSpPr>
          <p:cNvPr id="86" name="Google Shape;86;p15"/>
          <p:cNvSpPr txBox="1">
            <a:spLocks noGrp="1"/>
          </p:cNvSpPr>
          <p:nvPr>
            <p:ph type="body" idx="1"/>
          </p:nvPr>
        </p:nvSpPr>
        <p:spPr>
          <a:xfrm>
            <a:off x="450588" y="6055245"/>
            <a:ext cx="7702813" cy="386679"/>
          </a:xfrm>
          <a:prstGeom prst="rect">
            <a:avLst/>
          </a:prstGeom>
          <a:noFill/>
          <a:ln>
            <a:noFill/>
          </a:ln>
        </p:spPr>
        <p:txBody>
          <a:bodyPr spcFirstLastPara="1" wrap="square" lIns="0" tIns="0" rIns="0" bIns="0" anchor="b" anchorCtr="0"/>
          <a:lstStyle>
            <a:lvl1pPr marL="457200" marR="0" lvl="0" indent="-228600" algn="l" rtl="0">
              <a:lnSpc>
                <a:spcPct val="90000"/>
              </a:lnSpc>
              <a:spcBef>
                <a:spcPts val="1000"/>
              </a:spcBef>
              <a:spcAft>
                <a:spcPts val="0"/>
              </a:spcAft>
              <a:buClr>
                <a:schemeClr val="dk1"/>
              </a:buClr>
              <a:buSzPts val="923"/>
              <a:buFont typeface="Arial"/>
              <a:buNone/>
              <a:defRPr sz="922" b="0"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87" name="Google Shape;87;p15"/>
          <p:cNvSpPr txBox="1">
            <a:spLocks noGrp="1"/>
          </p:cNvSpPr>
          <p:nvPr>
            <p:ph type="body" idx="2"/>
          </p:nvPr>
        </p:nvSpPr>
        <p:spPr>
          <a:xfrm>
            <a:off x="450588" y="1277003"/>
            <a:ext cx="3602182" cy="201706"/>
          </a:xfrm>
          <a:prstGeom prst="rect">
            <a:avLst/>
          </a:prstGeom>
          <a:noFill/>
          <a:ln>
            <a:noFill/>
          </a:ln>
        </p:spPr>
        <p:txBody>
          <a:bodyPr spcFirstLastPara="1" wrap="square" lIns="0" tIns="0" rIns="0" bIns="0" anchor="t" anchorCtr="0"/>
          <a:lstStyle>
            <a:lvl1pPr marL="457200" marR="0" lvl="0" indent="-228600" algn="l" rtl="0">
              <a:lnSpc>
                <a:spcPct val="90000"/>
              </a:lnSpc>
              <a:spcBef>
                <a:spcPts val="10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1pPr>
            <a:lvl2pPr marL="914400" marR="0" lvl="1" indent="-298958" algn="l" rtl="0">
              <a:lnSpc>
                <a:spcPct val="90000"/>
              </a:lnSpc>
              <a:spcBef>
                <a:spcPts val="500"/>
              </a:spcBef>
              <a:spcAft>
                <a:spcPts val="0"/>
              </a:spcAft>
              <a:buClr>
                <a:schemeClr val="dk1"/>
              </a:buClr>
              <a:buSzPts val="1108"/>
              <a:buFont typeface="Arial"/>
              <a:buChar char="•"/>
              <a:defRPr sz="1108" b="0" i="0" u="none" strike="noStrike" cap="none">
                <a:solidFill>
                  <a:schemeClr val="dk1"/>
                </a:solidFill>
                <a:latin typeface="Calibri"/>
                <a:ea typeface="Calibri"/>
                <a:cs typeface="Calibri"/>
                <a:sym typeface="Calibri"/>
              </a:defRPr>
            </a:lvl2pPr>
            <a:lvl3pPr marL="1371600" marR="0" lvl="2" indent="-298958" algn="l" rtl="0">
              <a:lnSpc>
                <a:spcPct val="90000"/>
              </a:lnSpc>
              <a:spcBef>
                <a:spcPts val="500"/>
              </a:spcBef>
              <a:spcAft>
                <a:spcPts val="0"/>
              </a:spcAft>
              <a:buClr>
                <a:schemeClr val="dk1"/>
              </a:buClr>
              <a:buSzPts val="1108"/>
              <a:buFont typeface="Courier New"/>
              <a:buChar char="o"/>
              <a:defRPr sz="1108" b="0" i="0" u="none" strike="noStrike" cap="none">
                <a:solidFill>
                  <a:schemeClr val="dk1"/>
                </a:solidFill>
                <a:latin typeface="Calibri"/>
                <a:ea typeface="Calibri"/>
                <a:cs typeface="Calibri"/>
                <a:sym typeface="Calibri"/>
              </a:defRPr>
            </a:lvl3pPr>
            <a:lvl4pPr marL="1828800" marR="0" lvl="3" indent="-298958" algn="l" rtl="0">
              <a:lnSpc>
                <a:spcPct val="90000"/>
              </a:lnSpc>
              <a:spcBef>
                <a:spcPts val="500"/>
              </a:spcBef>
              <a:spcAft>
                <a:spcPts val="0"/>
              </a:spcAft>
              <a:buClr>
                <a:schemeClr val="dk1"/>
              </a:buClr>
              <a:buSzPts val="1108"/>
              <a:buFont typeface="Arial"/>
              <a:buChar char="•"/>
              <a:defRPr sz="1108"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88" name="Google Shape;88;p15"/>
          <p:cNvSpPr txBox="1">
            <a:spLocks noGrp="1"/>
          </p:cNvSpPr>
          <p:nvPr>
            <p:ph type="body" idx="3"/>
          </p:nvPr>
        </p:nvSpPr>
        <p:spPr>
          <a:xfrm>
            <a:off x="450588" y="1008063"/>
            <a:ext cx="3602182" cy="201706"/>
          </a:xfrm>
          <a:prstGeom prst="rect">
            <a:avLst/>
          </a:prstGeom>
          <a:noFill/>
          <a:ln>
            <a:noFill/>
          </a:ln>
        </p:spPr>
        <p:txBody>
          <a:bodyPr spcFirstLastPara="1" wrap="square" lIns="0" tIns="0" rIns="0" bIns="0" anchor="t" anchorCtr="0"/>
          <a:lstStyle>
            <a:lvl1pPr marL="457200" marR="0" lvl="0" indent="-228600" algn="l" rtl="0">
              <a:lnSpc>
                <a:spcPct val="90000"/>
              </a:lnSpc>
              <a:spcBef>
                <a:spcPts val="1000"/>
              </a:spcBef>
              <a:spcAft>
                <a:spcPts val="0"/>
              </a:spcAft>
              <a:buClr>
                <a:schemeClr val="dk1"/>
              </a:buClr>
              <a:buSzPts val="1400"/>
              <a:buFont typeface="Arial"/>
              <a:buNone/>
              <a:defRPr sz="1400" b="1"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89" name="Google Shape;89;p15"/>
          <p:cNvSpPr>
            <a:spLocks noGrp="1"/>
          </p:cNvSpPr>
          <p:nvPr>
            <p:ph type="dgm" idx="4"/>
          </p:nvPr>
        </p:nvSpPr>
        <p:spPr>
          <a:xfrm rot="5400000">
            <a:off x="4022002" y="3302283"/>
            <a:ext cx="3577155" cy="360462"/>
          </a:xfrm>
          <a:prstGeom prst="triangle">
            <a:avLst>
              <a:gd name="adj" fmla="val 50232"/>
            </a:avLst>
          </a:prstGeom>
          <a:solidFill>
            <a:srgbClr val="3F5F1F"/>
          </a:solidFill>
          <a:ln>
            <a:noFill/>
          </a:ln>
        </p:spPr>
        <p:txBody>
          <a:bodyPr spcFirstLastPara="1" wrap="square" lIns="82050" tIns="41025" rIns="82050" bIns="41025" anchor="t" anchorCtr="0"/>
          <a:lstStyle>
            <a:lvl1pPr marR="0" lvl="0" algn="l" rtl="0">
              <a:lnSpc>
                <a:spcPct val="90000"/>
              </a:lnSpc>
              <a:spcBef>
                <a:spcPts val="1000"/>
              </a:spcBef>
              <a:spcAft>
                <a:spcPts val="0"/>
              </a:spcAft>
              <a:buClr>
                <a:schemeClr val="dk2"/>
              </a:buClr>
              <a:buSzPts val="2800"/>
              <a:buFont typeface="Arial"/>
              <a:buChar char="•"/>
              <a:defRPr sz="2800" b="0" i="0" u="none" strike="noStrike" cap="none">
                <a:solidFill>
                  <a:schemeClr val="dk2"/>
                </a:solidFill>
                <a:latin typeface="Arial"/>
                <a:ea typeface="Arial"/>
                <a:cs typeface="Arial"/>
                <a:sym typeface="Arial"/>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90" name="Google Shape;90;p15"/>
          <p:cNvSpPr txBox="1">
            <a:spLocks noGrp="1"/>
          </p:cNvSpPr>
          <p:nvPr>
            <p:ph type="body" idx="5"/>
          </p:nvPr>
        </p:nvSpPr>
        <p:spPr>
          <a:xfrm>
            <a:off x="6138356" y="1008064"/>
            <a:ext cx="3317841" cy="4676161"/>
          </a:xfrm>
          <a:prstGeom prst="rect">
            <a:avLst/>
          </a:prstGeom>
          <a:noFill/>
          <a:ln>
            <a:noFill/>
          </a:ln>
        </p:spPr>
        <p:txBody>
          <a:bodyPr spcFirstLastPara="1" wrap="square" lIns="0" tIns="0" rIns="0" bIns="0" anchor="t" anchorCtr="0"/>
          <a:lstStyle>
            <a:lvl1pPr marL="457200" marR="0" lvl="0" indent="-317500" algn="just" rtl="0">
              <a:lnSpc>
                <a:spcPct val="90000"/>
              </a:lnSpc>
              <a:spcBef>
                <a:spcPts val="10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1pPr>
            <a:lvl2pPr marL="914400" marR="0" lvl="1" indent="-298958" algn="just" rtl="0">
              <a:lnSpc>
                <a:spcPct val="90000"/>
              </a:lnSpc>
              <a:spcBef>
                <a:spcPts val="500"/>
              </a:spcBef>
              <a:spcAft>
                <a:spcPts val="0"/>
              </a:spcAft>
              <a:buClr>
                <a:schemeClr val="dk1"/>
              </a:buClr>
              <a:buSzPts val="1108"/>
              <a:buFont typeface="Arial"/>
              <a:buChar char="•"/>
              <a:defRPr sz="1108" b="0" i="0" u="none" strike="noStrike" cap="none">
                <a:solidFill>
                  <a:schemeClr val="dk1"/>
                </a:solidFill>
                <a:latin typeface="Calibri"/>
                <a:ea typeface="Calibri"/>
                <a:cs typeface="Calibri"/>
                <a:sym typeface="Calibri"/>
              </a:defRPr>
            </a:lvl2pPr>
            <a:lvl3pPr marL="1371600" marR="0" lvl="2" indent="-298958" algn="just" rtl="0">
              <a:lnSpc>
                <a:spcPct val="90000"/>
              </a:lnSpc>
              <a:spcBef>
                <a:spcPts val="500"/>
              </a:spcBef>
              <a:spcAft>
                <a:spcPts val="0"/>
              </a:spcAft>
              <a:buClr>
                <a:schemeClr val="dk1"/>
              </a:buClr>
              <a:buSzPts val="1108"/>
              <a:buFont typeface="Courier New"/>
              <a:buChar char="o"/>
              <a:defRPr sz="1108" b="0" i="0" u="none" strike="noStrike" cap="none">
                <a:solidFill>
                  <a:schemeClr val="dk1"/>
                </a:solidFill>
                <a:latin typeface="Calibri"/>
                <a:ea typeface="Calibri"/>
                <a:cs typeface="Calibri"/>
                <a:sym typeface="Calibri"/>
              </a:defRPr>
            </a:lvl3pPr>
            <a:lvl4pPr marL="1828800" marR="0" lvl="3" indent="-298958" algn="just" rtl="0">
              <a:lnSpc>
                <a:spcPct val="90000"/>
              </a:lnSpc>
              <a:spcBef>
                <a:spcPts val="500"/>
              </a:spcBef>
              <a:spcAft>
                <a:spcPts val="0"/>
              </a:spcAft>
              <a:buClr>
                <a:schemeClr val="dk1"/>
              </a:buClr>
              <a:buSzPts val="1108"/>
              <a:buFont typeface="Arial"/>
              <a:buChar char="•"/>
              <a:defRPr sz="1108"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1" name="Google Shape;91;p15"/>
          <p:cNvSpPr txBox="1">
            <a:spLocks noGrp="1"/>
          </p:cNvSpPr>
          <p:nvPr>
            <p:ph type="title"/>
          </p:nvPr>
        </p:nvSpPr>
        <p:spPr>
          <a:xfrm>
            <a:off x="450741" y="134054"/>
            <a:ext cx="7245459" cy="582389"/>
          </a:xfrm>
          <a:prstGeom prst="rect">
            <a:avLst/>
          </a:prstGeom>
          <a:noFill/>
          <a:ln>
            <a:noFill/>
          </a:ln>
        </p:spPr>
        <p:txBody>
          <a:bodyPr spcFirstLastPara="1" wrap="square" lIns="0" tIns="0" rIns="0" bIns="0" anchor="b" anchorCtr="0"/>
          <a:lstStyle>
            <a:lvl1pPr marR="0" lvl="0" algn="l" rtl="0">
              <a:lnSpc>
                <a:spcPct val="90000"/>
              </a:lnSpc>
              <a:spcBef>
                <a:spcPts val="0"/>
              </a:spcBef>
              <a:spcAft>
                <a:spcPts val="0"/>
              </a:spcAft>
              <a:buClr>
                <a:schemeClr val="dk1"/>
              </a:buClr>
              <a:buSzPts val="2200"/>
              <a:buFont typeface="Arial"/>
              <a:buNone/>
              <a:defRPr sz="2200" b="1"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extLst>
      <p:ext uri="{BB962C8B-B14F-4D97-AF65-F5344CB8AC3E}">
        <p14:creationId xmlns:p14="http://schemas.microsoft.com/office/powerpoint/2010/main" val="427730494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3_Text">
  <p:cSld name="6_Text">
    <p:spTree>
      <p:nvGrpSpPr>
        <p:cNvPr id="1" name="Shape 69"/>
        <p:cNvGrpSpPr/>
        <p:nvPr/>
      </p:nvGrpSpPr>
      <p:grpSpPr>
        <a:xfrm>
          <a:off x="0" y="0"/>
          <a:ext cx="0" cy="0"/>
          <a:chOff x="0" y="0"/>
          <a:chExt cx="0" cy="0"/>
        </a:xfrm>
      </p:grpSpPr>
      <p:pic>
        <p:nvPicPr>
          <p:cNvPr id="70" name="Google Shape;70;p11"/>
          <p:cNvPicPr preferRelativeResize="0"/>
          <p:nvPr/>
        </p:nvPicPr>
        <p:blipFill rotWithShape="1">
          <a:blip r:embed="rId2">
            <a:alphaModFix/>
          </a:blip>
          <a:srcRect/>
          <a:stretch/>
        </p:blipFill>
        <p:spPr>
          <a:xfrm>
            <a:off x="1" y="3"/>
            <a:ext cx="156345" cy="140074"/>
          </a:xfrm>
          <a:prstGeom prst="rect">
            <a:avLst/>
          </a:prstGeom>
          <a:noFill/>
          <a:ln>
            <a:noFill/>
          </a:ln>
        </p:spPr>
      </p:pic>
      <p:sp>
        <p:nvSpPr>
          <p:cNvPr id="71" name="Google Shape;71;p11"/>
          <p:cNvSpPr txBox="1">
            <a:spLocks noGrp="1"/>
          </p:cNvSpPr>
          <p:nvPr>
            <p:ph type="body" idx="1"/>
          </p:nvPr>
        </p:nvSpPr>
        <p:spPr>
          <a:xfrm>
            <a:off x="450588" y="6055245"/>
            <a:ext cx="7702813" cy="386679"/>
          </a:xfrm>
          <a:prstGeom prst="rect">
            <a:avLst/>
          </a:prstGeom>
          <a:noFill/>
          <a:ln>
            <a:noFill/>
          </a:ln>
        </p:spPr>
        <p:txBody>
          <a:bodyPr spcFirstLastPara="1" wrap="square" lIns="0" tIns="0" rIns="0" bIns="0" anchor="b" anchorCtr="0"/>
          <a:lstStyle>
            <a:lvl1pPr marL="457200" marR="0" lvl="0" indent="-228600" algn="l" rtl="0">
              <a:lnSpc>
                <a:spcPct val="90000"/>
              </a:lnSpc>
              <a:spcBef>
                <a:spcPts val="1000"/>
              </a:spcBef>
              <a:spcAft>
                <a:spcPts val="0"/>
              </a:spcAft>
              <a:buClr>
                <a:schemeClr val="dk1"/>
              </a:buClr>
              <a:buSzPts val="923"/>
              <a:buFont typeface="Arial"/>
              <a:buNone/>
              <a:defRPr sz="922" b="0"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72" name="Google Shape;72;p11"/>
          <p:cNvSpPr txBox="1">
            <a:spLocks noGrp="1"/>
          </p:cNvSpPr>
          <p:nvPr>
            <p:ph type="title"/>
          </p:nvPr>
        </p:nvSpPr>
        <p:spPr>
          <a:xfrm>
            <a:off x="450741" y="134054"/>
            <a:ext cx="7245459" cy="582389"/>
          </a:xfrm>
          <a:prstGeom prst="rect">
            <a:avLst/>
          </a:prstGeom>
          <a:noFill/>
          <a:ln>
            <a:noFill/>
          </a:ln>
        </p:spPr>
        <p:txBody>
          <a:bodyPr spcFirstLastPara="1" wrap="square" lIns="0" tIns="0" rIns="0" bIns="0" anchor="b" anchorCtr="0"/>
          <a:lstStyle>
            <a:lvl1pPr marR="0" lvl="0" algn="l" rtl="0">
              <a:lnSpc>
                <a:spcPct val="90000"/>
              </a:lnSpc>
              <a:spcBef>
                <a:spcPts val="0"/>
              </a:spcBef>
              <a:spcAft>
                <a:spcPts val="0"/>
              </a:spcAft>
              <a:buClr>
                <a:schemeClr val="dk1"/>
              </a:buClr>
              <a:buSzPts val="2200"/>
              <a:buFont typeface="Arial"/>
              <a:buNone/>
              <a:defRPr sz="2200" b="1"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extLst>
      <p:ext uri="{BB962C8B-B14F-4D97-AF65-F5344CB8AC3E}">
        <p14:creationId xmlns:p14="http://schemas.microsoft.com/office/powerpoint/2010/main" val="91319836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34216"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721" y="1589"/>
                        <a:ext cx="1719" cy="1587"/>
                      </a:xfrm>
                      <a:prstGeom prst="rect">
                        <a:avLst/>
                      </a:prstGeom>
                    </p:spPr>
                  </p:pic>
                </p:oleObj>
              </mc:Fallback>
            </mc:AlternateContent>
          </a:graphicData>
        </a:graphic>
      </p:graphicFrame>
      <p:sp>
        <p:nvSpPr>
          <p:cNvPr id="10" name="Do not remove" hidden="1"/>
          <p:cNvSpPr/>
          <p:nvPr userDrawn="1">
            <p:custDataLst>
              <p:tags r:id="rId3"/>
            </p:custDataLst>
          </p:nvPr>
        </p:nvSpPr>
        <p:spPr>
          <a:xfrm>
            <a:off x="0" y="0"/>
            <a:ext cx="13758" cy="12700"/>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3">
              <a:buClrTx/>
              <a:buFontTx/>
              <a:buNone/>
            </a:pPr>
            <a:endParaRPr lang="en-US" kern="1200" dirty="0">
              <a:solidFill>
                <a:prstClr val="black"/>
              </a:solidFill>
            </a:endParaRPr>
          </a:p>
        </p:txBody>
      </p:sp>
      <p:sp>
        <p:nvSpPr>
          <p:cNvPr id="2" name="McK 2. Slide Title"/>
          <p:cNvSpPr>
            <a:spLocks noGrp="1"/>
          </p:cNvSpPr>
          <p:nvPr>
            <p:ph type="title"/>
          </p:nvPr>
        </p:nvSpPr>
        <p:spPr>
          <a:xfrm>
            <a:off x="247650" y="388621"/>
            <a:ext cx="8007350" cy="292388"/>
          </a:xfrm>
          <a:prstGeom prst="rect">
            <a:avLst/>
          </a:prstGeom>
        </p:spPr>
        <p:txBody>
          <a:bodyPr/>
          <a:lstStyle>
            <a:lvl1pPr>
              <a:defRPr sz="1900"/>
            </a:lvl1pPr>
          </a:lstStyle>
          <a:p>
            <a:r>
              <a:rPr lang="en-US" dirty="0"/>
              <a:t>Click to edit Master title style</a:t>
            </a:r>
          </a:p>
        </p:txBody>
      </p:sp>
    </p:spTree>
    <p:extLst>
      <p:ext uri="{BB962C8B-B14F-4D97-AF65-F5344CB8AC3E}">
        <p14:creationId xmlns:p14="http://schemas.microsoft.com/office/powerpoint/2010/main" val="142978980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38312"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dirty="0">
              <a:solidFill>
                <a:prstClr val="white"/>
              </a:solidFill>
              <a:cs typeface="Arial" panose="020B0604020202020204" pitchFamily="34" charset="0"/>
              <a:sym typeface="Calibri" panose="020F0502020204030204" pitchFamily="34" charset="0"/>
            </a:endParaRPr>
          </a:p>
        </p:txBody>
      </p:sp>
      <p:sp>
        <p:nvSpPr>
          <p:cNvPr id="6" name="Title 1"/>
          <p:cNvSpPr>
            <a:spLocks noGrp="1"/>
          </p:cNvSpPr>
          <p:nvPr>
            <p:ph type="title" hasCustomPrompt="1"/>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Style</a:t>
            </a:r>
            <a:endParaRPr lang="en-US" dirty="0"/>
          </a:p>
        </p:txBody>
      </p:sp>
      <p:sp>
        <p:nvSpPr>
          <p:cNvPr id="5" name="Text Placeholder 7"/>
          <p:cNvSpPr>
            <a:spLocks noGrp="1"/>
          </p:cNvSpPr>
          <p:nvPr>
            <p:ph type="body" sz="quarter" idx="13" hasCustomPrompt="1"/>
          </p:nvPr>
        </p:nvSpPr>
        <p:spPr>
          <a:xfrm>
            <a:off x="450276" y="1066801"/>
            <a:ext cx="9005453" cy="5181599"/>
          </a:xfrm>
          <a:prstGeom prst="rect">
            <a:avLst/>
          </a:prstGeom>
        </p:spPr>
        <p:txBody>
          <a:bodyPr lIns="0" tIns="0" rIns="0" bIns="0">
            <a:noAutofit/>
          </a:bodyPr>
          <a:lstStyle>
            <a:lvl1pPr marL="173037" indent="-173037">
              <a:spcBef>
                <a:spcPts val="718"/>
              </a:spcBef>
              <a:defRPr sz="1600" baseline="0">
                <a:latin typeface="Arial" panose="020B0604020202020204" pitchFamily="34" charset="0"/>
                <a:cs typeface="Arial" panose="020B0604020202020204" pitchFamily="34" charset="0"/>
              </a:defRPr>
            </a:lvl1pPr>
            <a:lvl2pPr marL="347661" indent="-174624">
              <a:spcBef>
                <a:spcPts val="718"/>
              </a:spcBef>
              <a:buFont typeface="Wingdings" panose="05000000000000000000" pitchFamily="2" charset="2"/>
              <a:buChar char="ü"/>
              <a:defRPr sz="1400">
                <a:latin typeface="Arial" panose="020B0604020202020204" pitchFamily="34" charset="0"/>
                <a:cs typeface="Arial" panose="020B0604020202020204" pitchFamily="34" charset="0"/>
              </a:defRPr>
            </a:lvl2pPr>
            <a:lvl3pPr marL="509585" indent="-161924">
              <a:buFont typeface="Courier New" pitchFamily="49" charset="0"/>
              <a:buChar char="o"/>
              <a:defRPr sz="1400">
                <a:latin typeface="Arial" panose="020B0604020202020204" pitchFamily="34" charset="0"/>
                <a:cs typeface="Arial" panose="020B0604020202020204" pitchFamily="34" charset="0"/>
              </a:defRPr>
            </a:lvl3pPr>
            <a:lvl4pPr marL="682621" indent="-173037">
              <a:defRPr sz="1400">
                <a:latin typeface="Arial" panose="020B0604020202020204" pitchFamily="34" charset="0"/>
                <a:cs typeface="Arial" panose="020B0604020202020204" pitchFamily="34" charset="0"/>
              </a:defRPr>
            </a:lvl4pPr>
            <a:lvl5pPr>
              <a:defRPr sz="1800"/>
            </a:lvl5pPr>
          </a:lstStyle>
          <a:p>
            <a:pPr lvl="0"/>
            <a:r>
              <a:rPr lang="en-US" dirty="0"/>
              <a:t>Click to edit Master text first level</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039985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matchingName="AGRA cover 1">
  <p:cSld name="AGRA cover 1">
    <p:bg>
      <p:bgPr>
        <a:solidFill>
          <a:srgbClr val="F9FCF6"/>
        </a:solidFill>
        <a:effectLst/>
      </p:bgPr>
    </p:bg>
    <p:spTree>
      <p:nvGrpSpPr>
        <p:cNvPr id="1" name="Shape 33"/>
        <p:cNvGrpSpPr/>
        <p:nvPr/>
      </p:nvGrpSpPr>
      <p:grpSpPr>
        <a:xfrm>
          <a:off x="0" y="0"/>
          <a:ext cx="0" cy="0"/>
          <a:chOff x="0" y="0"/>
          <a:chExt cx="0" cy="0"/>
        </a:xfrm>
      </p:grpSpPr>
      <p:sp>
        <p:nvSpPr>
          <p:cNvPr id="34" name="Google Shape;34;p6"/>
          <p:cNvSpPr/>
          <p:nvPr/>
        </p:nvSpPr>
        <p:spPr>
          <a:xfrm>
            <a:off x="0" y="0"/>
            <a:ext cx="171979" cy="158750"/>
          </a:xfrm>
          <a:prstGeom prst="rect">
            <a:avLst/>
          </a:prstGeom>
          <a:noFill/>
          <a:ln>
            <a:noFill/>
          </a:ln>
        </p:spPr>
      </p:sp>
      <p:pic>
        <p:nvPicPr>
          <p:cNvPr id="35" name="Google Shape;35;p6" descr="http://downloads.clipart.com/24666832.jpg?t=1279123826&amp;h=f68d76e4ad2619ae90f6543f6c0c93e0&amp;u=design.admin"/>
          <p:cNvPicPr preferRelativeResize="0"/>
          <p:nvPr/>
        </p:nvPicPr>
        <p:blipFill rotWithShape="1">
          <a:blip r:embed="rId2">
            <a:alphaModFix/>
          </a:blip>
          <a:srcRect/>
          <a:stretch/>
        </p:blipFill>
        <p:spPr>
          <a:xfrm>
            <a:off x="0" y="0"/>
            <a:ext cx="2022475" cy="6858000"/>
          </a:xfrm>
          <a:prstGeom prst="rect">
            <a:avLst/>
          </a:prstGeom>
          <a:noFill/>
          <a:ln>
            <a:noFill/>
          </a:ln>
        </p:spPr>
      </p:pic>
      <p:sp>
        <p:nvSpPr>
          <p:cNvPr id="36" name="Google Shape;36;p6"/>
          <p:cNvSpPr/>
          <p:nvPr/>
        </p:nvSpPr>
        <p:spPr>
          <a:xfrm rot="5400000">
            <a:off x="-1259482" y="3280330"/>
            <a:ext cx="6858000" cy="297523"/>
          </a:xfrm>
          <a:prstGeom prst="rect">
            <a:avLst/>
          </a:prstGeom>
          <a:solidFill>
            <a:srgbClr val="3F5F1F"/>
          </a:solidFill>
          <a:ln>
            <a:noFill/>
          </a:ln>
        </p:spPr>
        <p:txBody>
          <a:bodyPr spcFirstLastPara="1" wrap="square" lIns="45700" tIns="45700" rIns="45700" bIns="45700" anchor="ctr" anchorCtr="0">
            <a:noAutofit/>
          </a:bodyPr>
          <a:lstStyle/>
          <a:p>
            <a:pPr marL="0" marR="0" lvl="0" indent="0" algn="ctr" rtl="0">
              <a:spcBef>
                <a:spcPts val="0"/>
              </a:spcBef>
              <a:spcAft>
                <a:spcPts val="0"/>
              </a:spcAft>
              <a:buNone/>
            </a:pPr>
            <a:endParaRPr sz="1200" dirty="0">
              <a:solidFill>
                <a:srgbClr val="000000"/>
              </a:solidFill>
              <a:latin typeface="Calibri"/>
              <a:ea typeface="Calibri"/>
              <a:cs typeface="Calibri"/>
              <a:sym typeface="Calibri"/>
            </a:endParaRPr>
          </a:p>
        </p:txBody>
      </p:sp>
      <p:sp>
        <p:nvSpPr>
          <p:cNvPr id="37" name="Google Shape;37;p6"/>
          <p:cNvSpPr txBox="1">
            <a:spLocks noGrp="1"/>
          </p:cNvSpPr>
          <p:nvPr>
            <p:ph type="ctrTitle"/>
          </p:nvPr>
        </p:nvSpPr>
        <p:spPr>
          <a:xfrm>
            <a:off x="2916055" y="1524000"/>
            <a:ext cx="6508954" cy="1143000"/>
          </a:xfrm>
          <a:prstGeom prst="rect">
            <a:avLst/>
          </a:prstGeom>
          <a:noFill/>
          <a:ln>
            <a:noFill/>
          </a:ln>
        </p:spPr>
        <p:txBody>
          <a:bodyPr spcFirstLastPara="1" wrap="square" lIns="91425" tIns="45700" rIns="91425" bIns="45700" anchor="t" anchorCtr="0"/>
          <a:lstStyle>
            <a:lvl1pPr marR="0" lvl="0" algn="l" rtl="0">
              <a:lnSpc>
                <a:spcPct val="90000"/>
              </a:lnSpc>
              <a:spcBef>
                <a:spcPts val="0"/>
              </a:spcBef>
              <a:spcAft>
                <a:spcPts val="0"/>
              </a:spcAft>
              <a:buClr>
                <a:schemeClr val="dk1"/>
              </a:buClr>
              <a:buSzPts val="3200"/>
              <a:buFont typeface="Arial"/>
              <a:buNone/>
              <a:defRPr sz="3200" b="0"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38" name="Google Shape;38;p6"/>
          <p:cNvSpPr txBox="1">
            <a:spLocks noGrp="1"/>
          </p:cNvSpPr>
          <p:nvPr>
            <p:ph type="body" idx="1"/>
          </p:nvPr>
        </p:nvSpPr>
        <p:spPr>
          <a:xfrm>
            <a:off x="2916767" y="2948676"/>
            <a:ext cx="6508242" cy="546100"/>
          </a:xfrm>
          <a:prstGeom prst="rect">
            <a:avLst/>
          </a:prstGeom>
          <a:noFill/>
          <a:ln>
            <a:noFill/>
          </a:ln>
        </p:spPr>
        <p:txBody>
          <a:bodyPr spcFirstLastPara="1" wrap="square" lIns="91425" tIns="45700" rIns="91425" bIns="45700" anchor="t" anchorCtr="0"/>
          <a:lstStyle>
            <a:lvl1pPr marL="457200" marR="0" lvl="0" indent="-228600" algn="l" rtl="0">
              <a:lnSpc>
                <a:spcPct val="90000"/>
              </a:lnSpc>
              <a:spcBef>
                <a:spcPts val="1000"/>
              </a:spcBef>
              <a:spcAft>
                <a:spcPts val="0"/>
              </a:spcAft>
              <a:buClr>
                <a:schemeClr val="dk1"/>
              </a:buClr>
              <a:buSzPts val="2400"/>
              <a:buFont typeface="Arial"/>
              <a:buNone/>
              <a:defRPr sz="2400" b="0" i="1"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9" name="Google Shape;39;p6"/>
          <p:cNvSpPr txBox="1">
            <a:spLocks noGrp="1"/>
          </p:cNvSpPr>
          <p:nvPr>
            <p:ph type="body" idx="2"/>
          </p:nvPr>
        </p:nvSpPr>
        <p:spPr>
          <a:xfrm>
            <a:off x="2916767" y="3657600"/>
            <a:ext cx="6508242" cy="546100"/>
          </a:xfrm>
          <a:prstGeom prst="rect">
            <a:avLst/>
          </a:prstGeom>
          <a:noFill/>
          <a:ln>
            <a:noFill/>
          </a:ln>
        </p:spPr>
        <p:txBody>
          <a:bodyPr spcFirstLastPara="1" wrap="square" lIns="91425" tIns="45700" rIns="91425" bIns="45700" anchor="t" anchorCtr="0"/>
          <a:lstStyle>
            <a:lvl1pPr marL="457200" marR="0" lvl="0" indent="-228600" algn="l" rtl="0">
              <a:lnSpc>
                <a:spcPct val="90000"/>
              </a:lnSpc>
              <a:spcBef>
                <a:spcPts val="1000"/>
              </a:spcBef>
              <a:spcAft>
                <a:spcPts val="0"/>
              </a:spcAft>
              <a:buClr>
                <a:schemeClr val="dk1"/>
              </a:buClr>
              <a:buSzPts val="1800"/>
              <a:buFont typeface="Arial"/>
              <a:buNone/>
              <a:defRPr sz="1800" b="0" i="1"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pic>
        <p:nvPicPr>
          <p:cNvPr id="40" name="Google Shape;40;p6"/>
          <p:cNvPicPr preferRelativeResize="0"/>
          <p:nvPr/>
        </p:nvPicPr>
        <p:blipFill rotWithShape="1">
          <a:blip r:embed="rId3">
            <a:alphaModFix/>
          </a:blip>
          <a:srcRect/>
          <a:stretch/>
        </p:blipFill>
        <p:spPr>
          <a:xfrm>
            <a:off x="7162800" y="5360773"/>
            <a:ext cx="2448862" cy="820700"/>
          </a:xfrm>
          <a:prstGeom prst="rect">
            <a:avLst/>
          </a:prstGeom>
          <a:noFill/>
          <a:ln>
            <a:noFill/>
          </a:ln>
        </p:spPr>
      </p:pic>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39336"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dirty="0">
              <a:solidFill>
                <a:prstClr val="white"/>
              </a:solidFill>
              <a:cs typeface="Arial" panose="020B0604020202020204" pitchFamily="34" charset="0"/>
              <a:sym typeface="Calibri" panose="020F0502020204030204" pitchFamily="34" charset="0"/>
            </a:endParaRPr>
          </a:p>
        </p:txBody>
      </p:sp>
      <p:sp>
        <p:nvSpPr>
          <p:cNvPr id="6"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319892894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40360"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dirty="0">
              <a:solidFill>
                <a:prstClr val="white"/>
              </a:solidFill>
              <a:cs typeface="Arial" panose="020B0604020202020204" pitchFamily="34" charset="0"/>
              <a:sym typeface="Calibri" panose="020F0502020204030204" pitchFamily="34" charset="0"/>
            </a:endParaRPr>
          </a:p>
        </p:txBody>
      </p:sp>
      <p:sp>
        <p:nvSpPr>
          <p:cNvPr id="6"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
        <p:nvSpPr>
          <p:cNvPr id="5" name="Text Placeholder 7"/>
          <p:cNvSpPr>
            <a:spLocks noGrp="1"/>
          </p:cNvSpPr>
          <p:nvPr>
            <p:ph type="body" sz="quarter" idx="13" hasCustomPrompt="1"/>
          </p:nvPr>
        </p:nvSpPr>
        <p:spPr>
          <a:xfrm>
            <a:off x="450276" y="1066801"/>
            <a:ext cx="9005453" cy="4876799"/>
          </a:xfrm>
          <a:prstGeom prst="rect">
            <a:avLst/>
          </a:prstGeom>
        </p:spPr>
        <p:txBody>
          <a:bodyPr lIns="0" tIns="0" rIns="0" bIns="0">
            <a:noAutofit/>
          </a:bodyPr>
          <a:lstStyle>
            <a:lvl1pPr marL="173037" indent="-173037">
              <a:spcBef>
                <a:spcPts val="718"/>
              </a:spcBef>
              <a:defRPr sz="1600" baseline="0">
                <a:latin typeface="Arial" panose="020B0604020202020204" pitchFamily="34" charset="0"/>
                <a:cs typeface="Arial" panose="020B0604020202020204" pitchFamily="34" charset="0"/>
              </a:defRPr>
            </a:lvl1pPr>
            <a:lvl2pPr marL="347661" indent="-174624">
              <a:spcBef>
                <a:spcPts val="718"/>
              </a:spcBef>
              <a:buFont typeface="Wingdings" panose="05000000000000000000" pitchFamily="2" charset="2"/>
              <a:buChar char="ü"/>
              <a:defRPr sz="1400">
                <a:latin typeface="Arial" panose="020B0604020202020204" pitchFamily="34" charset="0"/>
                <a:cs typeface="Arial" panose="020B0604020202020204" pitchFamily="34" charset="0"/>
              </a:defRPr>
            </a:lvl2pPr>
            <a:lvl3pPr marL="509585" indent="-161924">
              <a:buFont typeface="Courier New" pitchFamily="49" charset="0"/>
              <a:buChar char="o"/>
              <a:defRPr sz="1400">
                <a:latin typeface="Arial" panose="020B0604020202020204" pitchFamily="34" charset="0"/>
                <a:cs typeface="Arial" panose="020B0604020202020204" pitchFamily="34" charset="0"/>
              </a:defRPr>
            </a:lvl3pPr>
            <a:lvl4pPr marL="682621" indent="-173037">
              <a:defRPr sz="1400">
                <a:latin typeface="Arial" panose="020B0604020202020204" pitchFamily="34" charset="0"/>
                <a:cs typeface="Arial" panose="020B0604020202020204" pitchFamily="34" charset="0"/>
              </a:defRPr>
            </a:lvl4pPr>
            <a:lvl5pPr>
              <a:defRPr sz="1800"/>
            </a:lvl5pPr>
          </a:lstStyle>
          <a:p>
            <a:pPr lvl="0"/>
            <a:r>
              <a:rPr lang="en-US" dirty="0"/>
              <a:t>Click to edit Master text first level</a:t>
            </a:r>
          </a:p>
          <a:p>
            <a:pPr lvl="1"/>
            <a:r>
              <a:rPr lang="en-US" dirty="0"/>
              <a:t>Second level</a:t>
            </a:r>
          </a:p>
          <a:p>
            <a:pPr lvl="2"/>
            <a:r>
              <a:rPr lang="en-US" dirty="0"/>
              <a:t>Third level</a:t>
            </a:r>
          </a:p>
          <a:p>
            <a:pPr lvl="3"/>
            <a:r>
              <a:rPr lang="en-US" dirty="0"/>
              <a:t>Fourth level</a:t>
            </a:r>
          </a:p>
        </p:txBody>
      </p:sp>
      <p:sp>
        <p:nvSpPr>
          <p:cNvPr id="9"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dirty="0"/>
              <a:t>Click to edit Master footer. This space is reserved for footnotes and sources only, and cannot be expanded beyond its current size. SOURCE::</a:t>
            </a:r>
            <a:r>
              <a:rPr lang="en-US" dirty="0" err="1"/>
              <a:t>xxxxxxxxxxxxxxxxxxxxxxxxxxxxxxxxxxxxxxxxxxxxx</a:t>
            </a:r>
            <a:endParaRPr lang="en-US" dirty="0"/>
          </a:p>
        </p:txBody>
      </p:sp>
    </p:spTree>
    <p:extLst>
      <p:ext uri="{BB962C8B-B14F-4D97-AF65-F5344CB8AC3E}">
        <p14:creationId xmlns:p14="http://schemas.microsoft.com/office/powerpoint/2010/main" val="53620153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41384"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dirty="0">
              <a:solidFill>
                <a:prstClr val="white"/>
              </a:solidFill>
              <a:cs typeface="Arial" panose="020B0604020202020204" pitchFamily="34" charset="0"/>
              <a:sym typeface="Calibri" panose="020F0502020204030204" pitchFamily="34" charset="0"/>
            </a:endParaRPr>
          </a:p>
        </p:txBody>
      </p:sp>
      <p:sp>
        <p:nvSpPr>
          <p:cNvPr id="9"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dirty="0"/>
              <a:t>Click to edit Master footer. This space is reserved for footnotes and sources only, and cannot be expanded beyond its current size. SOURCE::</a:t>
            </a:r>
            <a:r>
              <a:rPr lang="en-US" dirty="0" err="1"/>
              <a:t>xxxxxxxxxxxxxxxxxxxxxxxxxxxxxxxxxxxxxxxxxxxxx</a:t>
            </a:r>
            <a:endParaRPr lang="en-US" dirty="0"/>
          </a:p>
        </p:txBody>
      </p:sp>
      <p:sp>
        <p:nvSpPr>
          <p:cNvPr id="10"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107185302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408"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dirty="0">
              <a:solidFill>
                <a:srgbClr val="70AD47">
                  <a:lumMod val="50000"/>
                </a:srgbClr>
              </a:solidFill>
              <a:cs typeface="Arial" panose="020B0604020202020204" pitchFamily="34" charset="0"/>
              <a:sym typeface="Calibri" panose="020F0502020204030204" pitchFamily="34" charset="0"/>
            </a:endParaRPr>
          </a:p>
        </p:txBody>
      </p:sp>
      <p:sp>
        <p:nvSpPr>
          <p:cNvPr id="4" name="SmartArt Placeholder 26"/>
          <p:cNvSpPr>
            <a:spLocks noGrp="1"/>
          </p:cNvSpPr>
          <p:nvPr>
            <p:ph type="dgm" sz="quarter" idx="18" hasCustomPrompt="1"/>
          </p:nvPr>
        </p:nvSpPr>
        <p:spPr>
          <a:xfrm>
            <a:off x="1350818" y="922317"/>
            <a:ext cx="7204364" cy="4639235"/>
          </a:xfrm>
          <a:prstGeom prst="rect">
            <a:avLst/>
          </a:prstGeom>
          <a:ln w="9525">
            <a:solidFill>
              <a:schemeClr val="tx1"/>
            </a:solidFill>
          </a:ln>
        </p:spPr>
        <p:txBody>
          <a:bodyPr lIns="82058" tIns="41029" rIns="82058" bIns="41029"/>
          <a:lstStyle>
            <a:lvl1pPr>
              <a:defRPr>
                <a:solidFill>
                  <a:schemeClr val="bg2"/>
                </a:solidFill>
                <a:latin typeface="Arial" panose="020B0604020202020204" pitchFamily="34" charset="0"/>
                <a:cs typeface="Arial" panose="020B0604020202020204" pitchFamily="34" charset="0"/>
              </a:defRPr>
            </a:lvl1pPr>
          </a:lstStyle>
          <a:p>
            <a:r>
              <a:rPr lang="en-US" dirty="0"/>
              <a:t>`</a:t>
            </a:r>
          </a:p>
        </p:txBody>
      </p:sp>
      <p:cxnSp>
        <p:nvCxnSpPr>
          <p:cNvPr id="5" name="Straight Connector 4"/>
          <p:cNvCxnSpPr/>
          <p:nvPr userDrawn="1"/>
        </p:nvCxnSpPr>
        <p:spPr>
          <a:xfrm>
            <a:off x="4953000" y="922317"/>
            <a:ext cx="0" cy="463923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a:off x="1350818" y="3141080"/>
            <a:ext cx="7204364"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 Placeholder 42"/>
          <p:cNvSpPr>
            <a:spLocks noGrp="1"/>
          </p:cNvSpPr>
          <p:nvPr>
            <p:ph type="body" sz="quarter" idx="21" hasCustomPrompt="1"/>
          </p:nvPr>
        </p:nvSpPr>
        <p:spPr>
          <a:xfrm>
            <a:off x="1350821" y="989556"/>
            <a:ext cx="3602182" cy="268941"/>
          </a:xfrm>
          <a:prstGeom prst="rect">
            <a:avLst/>
          </a:prstGeom>
        </p:spPr>
        <p:txBody>
          <a:bodyPr lIns="82058" tIns="41029" rIns="82058" bIns="41029"/>
          <a:lstStyle>
            <a:lvl1pPr marL="0" indent="0" algn="ctr">
              <a:buNone/>
              <a:defRPr sz="1400" b="1" baseline="0">
                <a:solidFill>
                  <a:srgbClr val="3F5F1F"/>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0" name="Text Placeholder 42"/>
          <p:cNvSpPr>
            <a:spLocks noGrp="1"/>
          </p:cNvSpPr>
          <p:nvPr>
            <p:ph type="body" sz="quarter" idx="22" hasCustomPrompt="1"/>
          </p:nvPr>
        </p:nvSpPr>
        <p:spPr>
          <a:xfrm>
            <a:off x="4953004" y="989556"/>
            <a:ext cx="3602182" cy="268941"/>
          </a:xfrm>
          <a:prstGeom prst="rect">
            <a:avLst/>
          </a:prstGeom>
        </p:spPr>
        <p:txBody>
          <a:bodyPr lIns="82058" tIns="41029" rIns="82058" bIns="41029"/>
          <a:lstStyle>
            <a:lvl1pPr marL="0" indent="0" algn="ctr">
              <a:buNone/>
              <a:defRPr sz="1400" b="1" baseline="0">
                <a:solidFill>
                  <a:srgbClr val="3F5F1F"/>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1" name="Text Placeholder 42"/>
          <p:cNvSpPr>
            <a:spLocks noGrp="1"/>
          </p:cNvSpPr>
          <p:nvPr>
            <p:ph type="body" sz="quarter" idx="23" hasCustomPrompt="1"/>
          </p:nvPr>
        </p:nvSpPr>
        <p:spPr>
          <a:xfrm>
            <a:off x="1350821" y="3208318"/>
            <a:ext cx="3602182" cy="268941"/>
          </a:xfrm>
          <a:prstGeom prst="rect">
            <a:avLst/>
          </a:prstGeom>
        </p:spPr>
        <p:txBody>
          <a:bodyPr lIns="82058" tIns="41029" rIns="82058" bIns="41029"/>
          <a:lstStyle>
            <a:lvl1pPr marL="0" indent="0" algn="ctr">
              <a:buNone/>
              <a:defRPr sz="1400" b="1" baseline="0">
                <a:solidFill>
                  <a:srgbClr val="3F5F1F"/>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2" name="Text Placeholder 42"/>
          <p:cNvSpPr>
            <a:spLocks noGrp="1"/>
          </p:cNvSpPr>
          <p:nvPr>
            <p:ph type="body" sz="quarter" idx="24" hasCustomPrompt="1"/>
          </p:nvPr>
        </p:nvSpPr>
        <p:spPr>
          <a:xfrm>
            <a:off x="4953004" y="3208318"/>
            <a:ext cx="3602182" cy="268941"/>
          </a:xfrm>
          <a:prstGeom prst="rect">
            <a:avLst/>
          </a:prstGeom>
        </p:spPr>
        <p:txBody>
          <a:bodyPr lIns="82058" tIns="41029" rIns="82058" bIns="41029"/>
          <a:lstStyle>
            <a:lvl1pPr marL="0" indent="0" algn="ctr">
              <a:buNone/>
              <a:defRPr sz="1400" b="1" baseline="0">
                <a:solidFill>
                  <a:srgbClr val="3F5F1F"/>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3" name="Text Placeholder 42"/>
          <p:cNvSpPr>
            <a:spLocks noGrp="1"/>
          </p:cNvSpPr>
          <p:nvPr>
            <p:ph type="body" sz="quarter" idx="25" hasCustomPrompt="1"/>
          </p:nvPr>
        </p:nvSpPr>
        <p:spPr>
          <a:xfrm rot="16200000">
            <a:off x="-72049" y="1894916"/>
            <a:ext cx="2245379" cy="300182"/>
          </a:xfrm>
          <a:prstGeom prst="rect">
            <a:avLst/>
          </a:prstGeom>
        </p:spPr>
        <p:txBody>
          <a:bodyPr lIns="82058" tIns="41029" rIns="82058" bIns="41029"/>
          <a:lstStyle>
            <a:lvl1pPr marL="0" indent="0" algn="ctr">
              <a:buNone/>
              <a:defRPr sz="1400" b="1" baseline="0">
                <a:solidFill>
                  <a:schemeClr val="tx1"/>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4" name="Text Placeholder 42"/>
          <p:cNvSpPr>
            <a:spLocks noGrp="1"/>
          </p:cNvSpPr>
          <p:nvPr>
            <p:ph type="body" sz="quarter" idx="26" hasCustomPrompt="1"/>
          </p:nvPr>
        </p:nvSpPr>
        <p:spPr>
          <a:xfrm rot="16200000">
            <a:off x="-125978" y="4234844"/>
            <a:ext cx="2353235" cy="300183"/>
          </a:xfrm>
          <a:prstGeom prst="rect">
            <a:avLst/>
          </a:prstGeom>
        </p:spPr>
        <p:txBody>
          <a:bodyPr lIns="82058" tIns="41029" rIns="82058" bIns="41029"/>
          <a:lstStyle>
            <a:lvl1pPr marL="0" indent="0" algn="ctr">
              <a:buNone/>
              <a:defRPr sz="1400" b="1" baseline="0">
                <a:solidFill>
                  <a:schemeClr val="tx1"/>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5" name="Text Placeholder 42"/>
          <p:cNvSpPr>
            <a:spLocks noGrp="1"/>
          </p:cNvSpPr>
          <p:nvPr>
            <p:ph type="body" sz="quarter" idx="27" hasCustomPrompt="1"/>
          </p:nvPr>
        </p:nvSpPr>
        <p:spPr>
          <a:xfrm>
            <a:off x="1350821" y="5696027"/>
            <a:ext cx="3602182" cy="268941"/>
          </a:xfrm>
          <a:prstGeom prst="rect">
            <a:avLst/>
          </a:prstGeom>
        </p:spPr>
        <p:txBody>
          <a:bodyPr lIns="82058" tIns="41029" rIns="82058" bIns="41029"/>
          <a:lstStyle>
            <a:lvl1pPr marL="0" indent="0" algn="ctr">
              <a:buNone/>
              <a:defRPr sz="1400" b="1" baseline="0">
                <a:solidFill>
                  <a:schemeClr val="tx1"/>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6" name="Text Placeholder 42"/>
          <p:cNvSpPr>
            <a:spLocks noGrp="1"/>
          </p:cNvSpPr>
          <p:nvPr>
            <p:ph type="body" sz="quarter" idx="28" hasCustomPrompt="1"/>
          </p:nvPr>
        </p:nvSpPr>
        <p:spPr>
          <a:xfrm>
            <a:off x="5028046" y="5696027"/>
            <a:ext cx="3527136" cy="268941"/>
          </a:xfrm>
          <a:prstGeom prst="rect">
            <a:avLst/>
          </a:prstGeom>
        </p:spPr>
        <p:txBody>
          <a:bodyPr lIns="82058" tIns="41029" rIns="82058" bIns="41029"/>
          <a:lstStyle>
            <a:lvl1pPr marL="0" indent="0" algn="ctr">
              <a:buNone/>
              <a:defRPr sz="1400" b="1" baseline="0">
                <a:solidFill>
                  <a:schemeClr val="tx1"/>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7" name="Text Placeholder 51"/>
          <p:cNvSpPr>
            <a:spLocks noGrp="1"/>
          </p:cNvSpPr>
          <p:nvPr>
            <p:ph type="body" sz="quarter" idx="29" hasCustomPrompt="1"/>
          </p:nvPr>
        </p:nvSpPr>
        <p:spPr>
          <a:xfrm>
            <a:off x="1425867" y="1325727"/>
            <a:ext cx="3452090" cy="1748118"/>
          </a:xfrm>
          <a:prstGeom prst="rect">
            <a:avLst/>
          </a:prstGeom>
        </p:spPr>
        <p:txBody>
          <a:bodyPr lIns="82058" tIns="41029" rIns="82058" bIns="41029"/>
          <a:lstStyle>
            <a:lvl1pPr marL="159730" indent="-159730">
              <a:buFont typeface="Arial" pitchFamily="34" charset="0"/>
              <a:buChar char="•"/>
              <a:defRPr sz="1200" baseline="0">
                <a:latin typeface="Arial" panose="020B0604020202020204" pitchFamily="34" charset="0"/>
                <a:cs typeface="Arial" panose="020B0604020202020204" pitchFamily="34" charset="0"/>
              </a:defRPr>
            </a:lvl1pPr>
          </a:lstStyle>
          <a:p>
            <a:pPr lvl="0"/>
            <a:r>
              <a:rPr lang="en-US" dirty="0"/>
              <a:t>Click to edit text </a:t>
            </a:r>
          </a:p>
        </p:txBody>
      </p:sp>
      <p:sp>
        <p:nvSpPr>
          <p:cNvPr id="18" name="Text Placeholder 51"/>
          <p:cNvSpPr>
            <a:spLocks noGrp="1"/>
          </p:cNvSpPr>
          <p:nvPr>
            <p:ph type="body" sz="quarter" idx="30" hasCustomPrompt="1"/>
          </p:nvPr>
        </p:nvSpPr>
        <p:spPr>
          <a:xfrm>
            <a:off x="1425867" y="3544492"/>
            <a:ext cx="3452090" cy="1949824"/>
          </a:xfrm>
          <a:prstGeom prst="rect">
            <a:avLst/>
          </a:prstGeom>
        </p:spPr>
        <p:txBody>
          <a:bodyPr lIns="82058" tIns="41029" rIns="82058" bIns="41029"/>
          <a:lstStyle>
            <a:lvl1pPr marL="159730" indent="-159730">
              <a:buFont typeface="Arial" pitchFamily="34" charset="0"/>
              <a:buChar char="•"/>
              <a:defRPr sz="1200" baseline="0">
                <a:latin typeface="Arial" panose="020B0604020202020204" pitchFamily="34" charset="0"/>
                <a:cs typeface="Arial" panose="020B0604020202020204" pitchFamily="34" charset="0"/>
              </a:defRPr>
            </a:lvl1pPr>
          </a:lstStyle>
          <a:p>
            <a:pPr lvl="0"/>
            <a:r>
              <a:rPr lang="en-US" dirty="0"/>
              <a:t>Click to edit text </a:t>
            </a:r>
          </a:p>
        </p:txBody>
      </p:sp>
      <p:sp>
        <p:nvSpPr>
          <p:cNvPr id="19" name="Text Placeholder 51"/>
          <p:cNvSpPr>
            <a:spLocks noGrp="1"/>
          </p:cNvSpPr>
          <p:nvPr>
            <p:ph type="body" sz="quarter" idx="31" hasCustomPrompt="1"/>
          </p:nvPr>
        </p:nvSpPr>
        <p:spPr>
          <a:xfrm>
            <a:off x="5028049" y="3544492"/>
            <a:ext cx="3452090" cy="1949824"/>
          </a:xfrm>
          <a:prstGeom prst="rect">
            <a:avLst/>
          </a:prstGeom>
        </p:spPr>
        <p:txBody>
          <a:bodyPr lIns="82058" tIns="41029" rIns="82058" bIns="41029"/>
          <a:lstStyle>
            <a:lvl1pPr marL="159730" indent="-159730">
              <a:buFont typeface="Arial" pitchFamily="34" charset="0"/>
              <a:buChar char="•"/>
              <a:defRPr sz="1200" baseline="0">
                <a:latin typeface="Arial" panose="020B0604020202020204" pitchFamily="34" charset="0"/>
                <a:cs typeface="Arial" panose="020B0604020202020204" pitchFamily="34" charset="0"/>
              </a:defRPr>
            </a:lvl1pPr>
          </a:lstStyle>
          <a:p>
            <a:pPr lvl="0"/>
            <a:r>
              <a:rPr lang="en-US" dirty="0"/>
              <a:t>Click to edit text </a:t>
            </a:r>
          </a:p>
        </p:txBody>
      </p:sp>
      <p:sp>
        <p:nvSpPr>
          <p:cNvPr id="20" name="Text Placeholder 51"/>
          <p:cNvSpPr>
            <a:spLocks noGrp="1"/>
          </p:cNvSpPr>
          <p:nvPr>
            <p:ph type="body" sz="quarter" idx="32" hasCustomPrompt="1"/>
          </p:nvPr>
        </p:nvSpPr>
        <p:spPr>
          <a:xfrm>
            <a:off x="5028049" y="1325727"/>
            <a:ext cx="3452090" cy="1748118"/>
          </a:xfrm>
          <a:prstGeom prst="rect">
            <a:avLst/>
          </a:prstGeom>
        </p:spPr>
        <p:txBody>
          <a:bodyPr lIns="82058" tIns="41029" rIns="82058" bIns="41029"/>
          <a:lstStyle>
            <a:lvl1pPr marL="159730" indent="-159730">
              <a:buFont typeface="Arial" pitchFamily="34" charset="0"/>
              <a:buChar char="•"/>
              <a:defRPr sz="1200" baseline="0">
                <a:latin typeface="Arial" panose="020B0604020202020204" pitchFamily="34" charset="0"/>
                <a:cs typeface="Arial" panose="020B0604020202020204" pitchFamily="34" charset="0"/>
              </a:defRPr>
            </a:lvl1pPr>
          </a:lstStyle>
          <a:p>
            <a:pPr lvl="0"/>
            <a:r>
              <a:rPr lang="en-US" dirty="0"/>
              <a:t>Click to edit text </a:t>
            </a:r>
          </a:p>
        </p:txBody>
      </p:sp>
      <p:sp>
        <p:nvSpPr>
          <p:cNvPr id="21"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dirty="0"/>
              <a:t>Click to edit Master footer. This space is reserved for footnotes and sources only, and cannot be expanded beyond its current size. SOURCE::</a:t>
            </a:r>
            <a:r>
              <a:rPr lang="en-US" dirty="0" err="1"/>
              <a:t>xxxxxxxxxxxxxxxxxxxxxxxxxxxxxxxxxxxxxxxxxxxxx</a:t>
            </a:r>
            <a:endParaRPr lang="en-US" dirty="0"/>
          </a:p>
        </p:txBody>
      </p:sp>
      <p:sp>
        <p:nvSpPr>
          <p:cNvPr id="23"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168879105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432"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dirty="0">
              <a:solidFill>
                <a:srgbClr val="70AD47">
                  <a:lumMod val="50000"/>
                </a:srgbClr>
              </a:solidFill>
              <a:cs typeface="Arial" panose="020B0604020202020204" pitchFamily="34" charset="0"/>
              <a:sym typeface="Calibri" panose="020F0502020204030204" pitchFamily="34" charset="0"/>
            </a:endParaRPr>
          </a:p>
        </p:txBody>
      </p:sp>
      <p:sp>
        <p:nvSpPr>
          <p:cNvPr id="4" name="Text Placeholder 14"/>
          <p:cNvSpPr>
            <a:spLocks noGrp="1"/>
          </p:cNvSpPr>
          <p:nvPr>
            <p:ph type="body" sz="quarter" idx="35" hasCustomPrompt="1"/>
          </p:nvPr>
        </p:nvSpPr>
        <p:spPr>
          <a:xfrm>
            <a:off x="450326" y="1008557"/>
            <a:ext cx="4319158" cy="460302"/>
          </a:xfrm>
          <a:prstGeom prst="rect">
            <a:avLst/>
          </a:prstGeom>
          <a:solidFill>
            <a:srgbClr val="3F5F1F"/>
          </a:solidFill>
        </p:spPr>
        <p:txBody>
          <a:bodyPr lIns="0" tIns="0" rIns="0" bIns="0" anchor="ctr"/>
          <a:lstStyle>
            <a:lvl1pPr marL="0" indent="0" algn="ctr">
              <a:buNone/>
              <a:defRPr sz="1600" b="1" baseline="0">
                <a:solidFill>
                  <a:schemeClr val="bg1"/>
                </a:solidFill>
                <a:latin typeface="Arial" panose="020B0604020202020204" pitchFamily="34" charset="0"/>
                <a:cs typeface="Arial" panose="020B0604020202020204" pitchFamily="34" charset="0"/>
              </a:defRPr>
            </a:lvl1pPr>
          </a:lstStyle>
          <a:p>
            <a:pPr lvl="0"/>
            <a:r>
              <a:rPr lang="en-US" dirty="0"/>
              <a:t>Click to edit Header text</a:t>
            </a:r>
          </a:p>
        </p:txBody>
      </p:sp>
      <p:cxnSp>
        <p:nvCxnSpPr>
          <p:cNvPr id="5" name="Straight Connector 4"/>
          <p:cNvCxnSpPr/>
          <p:nvPr userDrawn="1"/>
        </p:nvCxnSpPr>
        <p:spPr>
          <a:xfrm>
            <a:off x="450322" y="1549540"/>
            <a:ext cx="430854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 Placeholder 9"/>
          <p:cNvSpPr>
            <a:spLocks noGrp="1"/>
          </p:cNvSpPr>
          <p:nvPr>
            <p:ph type="body" sz="quarter" idx="10"/>
          </p:nvPr>
        </p:nvSpPr>
        <p:spPr>
          <a:xfrm>
            <a:off x="450326" y="1644574"/>
            <a:ext cx="4319158" cy="4222236"/>
          </a:xfrm>
          <a:prstGeom prst="rect">
            <a:avLst/>
          </a:prstGeom>
        </p:spPr>
        <p:txBody>
          <a:bodyPr lIns="0" tIns="0" rIns="0" bIns="0"/>
          <a:lstStyle>
            <a:lvl1pPr marL="168274" indent="-168274">
              <a:buFont typeface="Arial" panose="020B0604020202020204" pitchFamily="34" charset="0"/>
              <a:buChar char="•"/>
              <a:defRPr sz="1400">
                <a:latin typeface="Arial" panose="020B0604020202020204" pitchFamily="34" charset="0"/>
                <a:cs typeface="Arial" panose="020B0604020202020204" pitchFamily="34" charset="0"/>
              </a:defRPr>
            </a:lvl1pPr>
            <a:lvl2pPr marL="320927" indent="-161195">
              <a:buFont typeface="Wingdings" panose="05000000000000000000" pitchFamily="2" charset="2"/>
              <a:buChar char="ü"/>
              <a:defRPr sz="1200">
                <a:latin typeface="Arial" panose="020B0604020202020204" pitchFamily="34" charset="0"/>
                <a:cs typeface="Arial" panose="020B0604020202020204" pitchFamily="34" charset="0"/>
              </a:defRPr>
            </a:lvl2pPr>
            <a:lvl3pPr marL="470398" indent="-149473">
              <a:buFont typeface="Courier New" panose="02070309020205020404" pitchFamily="49" charset="0"/>
              <a:buChar char="o"/>
              <a:defRPr sz="1200">
                <a:latin typeface="Arial" panose="020B0604020202020204" pitchFamily="34" charset="0"/>
                <a:cs typeface="Arial" panose="020B0604020202020204" pitchFamily="34" charset="0"/>
              </a:defRPr>
            </a:lvl3pPr>
            <a:lvl4pPr marL="630127" indent="-159730">
              <a:buFont typeface="Wingdings" panose="05000000000000000000" pitchFamily="2" charset="2"/>
              <a:buChar char="Ø"/>
              <a:defRPr sz="1200">
                <a:latin typeface="Arial" panose="020B0604020202020204" pitchFamily="34" charset="0"/>
                <a:cs typeface="Arial" panose="020B0604020202020204" pitchFamily="34"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14"/>
          <p:cNvSpPr>
            <a:spLocks noGrp="1"/>
          </p:cNvSpPr>
          <p:nvPr>
            <p:ph type="body" sz="quarter" idx="38" hasCustomPrompt="1"/>
          </p:nvPr>
        </p:nvSpPr>
        <p:spPr>
          <a:xfrm>
            <a:off x="5151120" y="1009149"/>
            <a:ext cx="4304296" cy="460302"/>
          </a:xfrm>
          <a:prstGeom prst="rect">
            <a:avLst/>
          </a:prstGeom>
          <a:solidFill>
            <a:srgbClr val="3F5F1F"/>
          </a:solidFill>
        </p:spPr>
        <p:txBody>
          <a:bodyPr lIns="0" tIns="0" rIns="0" bIns="0" anchor="ctr"/>
          <a:lstStyle>
            <a:lvl1pPr marL="0" indent="0" algn="ctr">
              <a:buNone/>
              <a:defRPr sz="1600" b="1" baseline="0">
                <a:solidFill>
                  <a:schemeClr val="bg1"/>
                </a:solidFill>
                <a:latin typeface="Arial" panose="020B0604020202020204" pitchFamily="34" charset="0"/>
                <a:cs typeface="Arial" panose="020B0604020202020204" pitchFamily="34" charset="0"/>
              </a:defRPr>
            </a:lvl1pPr>
          </a:lstStyle>
          <a:p>
            <a:pPr lvl="0"/>
            <a:r>
              <a:rPr lang="en-US" dirty="0"/>
              <a:t>Click to edit Header text</a:t>
            </a:r>
          </a:p>
        </p:txBody>
      </p:sp>
      <p:cxnSp>
        <p:nvCxnSpPr>
          <p:cNvPr id="10" name="Straight Connector 9"/>
          <p:cNvCxnSpPr/>
          <p:nvPr userDrawn="1"/>
        </p:nvCxnSpPr>
        <p:spPr>
          <a:xfrm>
            <a:off x="5151120" y="1550132"/>
            <a:ext cx="430429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9"/>
          <p:cNvSpPr>
            <a:spLocks noGrp="1"/>
          </p:cNvSpPr>
          <p:nvPr>
            <p:ph type="body" sz="quarter" idx="39"/>
          </p:nvPr>
        </p:nvSpPr>
        <p:spPr>
          <a:xfrm>
            <a:off x="5151120" y="1645165"/>
            <a:ext cx="4304296" cy="4222236"/>
          </a:xfrm>
          <a:prstGeom prst="rect">
            <a:avLst/>
          </a:prstGeom>
        </p:spPr>
        <p:txBody>
          <a:bodyPr lIns="0" tIns="0" rIns="0" bIns="0"/>
          <a:lstStyle>
            <a:lvl1pPr marL="168274" indent="-168274">
              <a:buFont typeface="Arial" panose="020B0604020202020204" pitchFamily="34" charset="0"/>
              <a:buChar char="•"/>
              <a:defRPr sz="1292">
                <a:latin typeface="Arial" panose="020B0604020202020204" pitchFamily="34" charset="0"/>
                <a:cs typeface="Arial" panose="020B0604020202020204" pitchFamily="34" charset="0"/>
              </a:defRPr>
            </a:lvl1pPr>
            <a:lvl2pPr marL="320927" indent="-161195">
              <a:buFont typeface="Wingdings" panose="05000000000000000000" pitchFamily="2" charset="2"/>
              <a:buChar char="ü"/>
              <a:defRPr sz="1108">
                <a:latin typeface="Arial" panose="020B0604020202020204" pitchFamily="34" charset="0"/>
                <a:cs typeface="Arial" panose="020B0604020202020204" pitchFamily="34" charset="0"/>
              </a:defRPr>
            </a:lvl2pPr>
            <a:lvl3pPr marL="470398" indent="-149473">
              <a:buFont typeface="Courier New" panose="02070309020205020404" pitchFamily="49" charset="0"/>
              <a:buChar char="o"/>
              <a:defRPr sz="1108">
                <a:latin typeface="Arial" panose="020B0604020202020204" pitchFamily="34" charset="0"/>
                <a:cs typeface="Arial" panose="020B0604020202020204" pitchFamily="34" charset="0"/>
              </a:defRPr>
            </a:lvl3pPr>
            <a:lvl4pPr marL="630127" indent="-159730">
              <a:buFont typeface="Wingdings" panose="05000000000000000000" pitchFamily="2" charset="2"/>
              <a:buChar char="Ø"/>
              <a:defRPr sz="1108">
                <a:latin typeface="Arial" panose="020B0604020202020204" pitchFamily="34" charset="0"/>
                <a:cs typeface="Arial" panose="020B0604020202020204" pitchFamily="34"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dirty="0"/>
              <a:t>Click to edit Master footer. This space is reserved for footnotes and sources only, and cannot be expanded beyond its current size. SOURCE::</a:t>
            </a:r>
            <a:r>
              <a:rPr lang="en-US" dirty="0" err="1"/>
              <a:t>xxxxxxxxxxxxxxxxxxxxxxxxxxxxxxxxxxxxxxxxxxxxx</a:t>
            </a:r>
            <a:endParaRPr lang="en-US" dirty="0"/>
          </a:p>
        </p:txBody>
      </p:sp>
      <p:sp>
        <p:nvSpPr>
          <p:cNvPr id="13"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344664006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456"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dirty="0">
              <a:solidFill>
                <a:srgbClr val="70AD47">
                  <a:lumMod val="50000"/>
                </a:srgbClr>
              </a:solidFill>
              <a:cs typeface="Arial" panose="020B0604020202020204" pitchFamily="34" charset="0"/>
              <a:sym typeface="Calibri" panose="020F0502020204030204" pitchFamily="34" charset="0"/>
            </a:endParaRPr>
          </a:p>
        </p:txBody>
      </p:sp>
      <p:sp>
        <p:nvSpPr>
          <p:cNvPr id="9"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dirty="0"/>
              <a:t>Click to edit Master footer. This space is reserved for footnotes and sources only, and cannot be expanded beyond its current size. SOURCE::</a:t>
            </a:r>
            <a:r>
              <a:rPr lang="en-US" dirty="0" err="1"/>
              <a:t>xxxxxxxxxxxxxxxxxxxxxxxxxxxxxxxxxxxxxxxxxxxxx</a:t>
            </a:r>
            <a:endParaRPr lang="en-US" dirty="0"/>
          </a:p>
        </p:txBody>
      </p:sp>
      <p:sp>
        <p:nvSpPr>
          <p:cNvPr id="4" name="Content Placeholder 2"/>
          <p:cNvSpPr>
            <a:spLocks noGrp="1"/>
          </p:cNvSpPr>
          <p:nvPr>
            <p:ph idx="1" hasCustomPrompt="1"/>
          </p:nvPr>
        </p:nvSpPr>
        <p:spPr>
          <a:xfrm>
            <a:off x="450588" y="1277003"/>
            <a:ext cx="3602182" cy="201706"/>
          </a:xfrm>
          <a:prstGeom prst="rect">
            <a:avLst/>
          </a:prstGeom>
        </p:spPr>
        <p:txBody>
          <a:bodyPr lIns="0" tIns="0" rIns="0" bIns="0"/>
          <a:lstStyle>
            <a:lvl1pPr marL="0" indent="0">
              <a:buFont typeface="Arial" pitchFamily="34" charset="0"/>
              <a:buNone/>
              <a:defRPr sz="1200">
                <a:latin typeface="Arial" panose="020B0604020202020204" pitchFamily="34" charset="0"/>
                <a:cs typeface="Arial" panose="020B0604020202020204" pitchFamily="34" charset="0"/>
              </a:defRPr>
            </a:lvl1pPr>
            <a:lvl2pPr marL="708819" indent="-284052">
              <a:defRPr sz="1108"/>
            </a:lvl2pPr>
            <a:lvl3pPr>
              <a:buFont typeface="Courier New" pitchFamily="49" charset="0"/>
              <a:buChar char="o"/>
              <a:defRPr sz="1108"/>
            </a:lvl3pPr>
            <a:lvl4pPr>
              <a:defRPr sz="1108"/>
            </a:lvl4pPr>
          </a:lstStyle>
          <a:p>
            <a:pPr lvl="0"/>
            <a:r>
              <a:rPr lang="en-US" dirty="0"/>
              <a:t>Click to edit Master Graph units</a:t>
            </a:r>
          </a:p>
        </p:txBody>
      </p:sp>
      <p:sp>
        <p:nvSpPr>
          <p:cNvPr id="5" name="Text Placeholder 10"/>
          <p:cNvSpPr>
            <a:spLocks noGrp="1"/>
          </p:cNvSpPr>
          <p:nvPr>
            <p:ph type="body" sz="quarter" idx="21" hasCustomPrompt="1"/>
          </p:nvPr>
        </p:nvSpPr>
        <p:spPr>
          <a:xfrm>
            <a:off x="450588" y="1008063"/>
            <a:ext cx="3602182" cy="201706"/>
          </a:xfrm>
          <a:prstGeom prst="rect">
            <a:avLst/>
          </a:prstGeom>
        </p:spPr>
        <p:txBody>
          <a:bodyPr lIns="0" tIns="0" rIns="0" bIns="0"/>
          <a:lstStyle>
            <a:lvl1pPr marL="0" indent="0">
              <a:buNone/>
              <a:defRPr sz="1400" b="1" i="0" baseline="0">
                <a:solidFill>
                  <a:schemeClr val="tx1"/>
                </a:solidFill>
                <a:latin typeface="Arial" panose="020B0604020202020204" pitchFamily="34" charset="0"/>
                <a:cs typeface="Arial" panose="020B0604020202020204" pitchFamily="34" charset="0"/>
              </a:defRPr>
            </a:lvl1pPr>
          </a:lstStyle>
          <a:p>
            <a:pPr lvl="0"/>
            <a:r>
              <a:rPr lang="en-US" dirty="0"/>
              <a:t>Click to insert Master Graph title</a:t>
            </a:r>
          </a:p>
        </p:txBody>
      </p:sp>
      <p:sp>
        <p:nvSpPr>
          <p:cNvPr id="6" name="SmartArt Placeholder 12"/>
          <p:cNvSpPr>
            <a:spLocks noGrp="1"/>
          </p:cNvSpPr>
          <p:nvPr>
            <p:ph type="dgm" sz="quarter" idx="20" hasCustomPrompt="1"/>
          </p:nvPr>
        </p:nvSpPr>
        <p:spPr>
          <a:xfrm rot="5400000">
            <a:off x="4022002" y="3302283"/>
            <a:ext cx="3577155" cy="360462"/>
          </a:xfrm>
          <a:prstGeom prst="triangle">
            <a:avLst>
              <a:gd name="adj" fmla="val 50232"/>
            </a:avLst>
          </a:prstGeom>
          <a:solidFill>
            <a:srgbClr val="3F5F1F"/>
          </a:solidFill>
        </p:spPr>
        <p:txBody>
          <a:bodyPr lIns="82058" tIns="41029" rIns="82058" bIns="41029"/>
          <a:lstStyle>
            <a:lvl1pPr>
              <a:defRPr lang="en-US">
                <a:solidFill>
                  <a:schemeClr val="tx2"/>
                </a:solidFill>
                <a:latin typeface="Arial" panose="020B0604020202020204" pitchFamily="34" charset="0"/>
                <a:cs typeface="Arial" panose="020B0604020202020204" pitchFamily="34" charset="0"/>
              </a:defRPr>
            </a:lvl1pPr>
          </a:lstStyle>
          <a:p>
            <a:r>
              <a:rPr lang="en-US" dirty="0"/>
              <a:t>`</a:t>
            </a:r>
          </a:p>
        </p:txBody>
      </p:sp>
      <p:sp>
        <p:nvSpPr>
          <p:cNvPr id="7" name="Text Placeholder 5"/>
          <p:cNvSpPr>
            <a:spLocks noGrp="1"/>
          </p:cNvSpPr>
          <p:nvPr>
            <p:ph type="body" sz="quarter" idx="29"/>
          </p:nvPr>
        </p:nvSpPr>
        <p:spPr>
          <a:xfrm>
            <a:off x="6138356" y="1008064"/>
            <a:ext cx="3317841" cy="4676161"/>
          </a:xfrm>
          <a:prstGeom prst="rect">
            <a:avLst/>
          </a:prstGeom>
        </p:spPr>
        <p:txBody>
          <a:bodyPr lIns="0" tIns="0" rIns="0" bIns="0" numCol="1"/>
          <a:lstStyle>
            <a:lvl1pPr marL="168274" indent="-168274" algn="just">
              <a:buFont typeface="Arial" pitchFamily="34" charset="0"/>
              <a:buChar char="•"/>
              <a:tabLst>
                <a:tab pos="3595378" algn="l"/>
              </a:tabLst>
              <a:defRPr sz="1400" baseline="0">
                <a:latin typeface="Arial" panose="020B0604020202020204" pitchFamily="34" charset="0"/>
                <a:cs typeface="Arial" panose="020B0604020202020204" pitchFamily="34" charset="0"/>
              </a:defRPr>
            </a:lvl1pPr>
            <a:lvl2pPr algn="just">
              <a:tabLst>
                <a:tab pos="3595378" algn="l"/>
              </a:tabLst>
              <a:defRPr sz="1108"/>
            </a:lvl2pPr>
            <a:lvl3pPr algn="just">
              <a:buFont typeface="Courier New" pitchFamily="49" charset="0"/>
              <a:buChar char="o"/>
              <a:tabLst>
                <a:tab pos="3595378" algn="l"/>
              </a:tabLst>
              <a:defRPr sz="1108"/>
            </a:lvl3pPr>
            <a:lvl4pPr algn="just">
              <a:tabLst>
                <a:tab pos="3595378" algn="l"/>
              </a:tabLst>
              <a:defRPr sz="1108"/>
            </a:lvl4pPr>
          </a:lstStyle>
          <a:p>
            <a:pPr lvl="0"/>
            <a:r>
              <a:rPr lang="en-US" dirty="0"/>
              <a:t>Click to edit Master text</a:t>
            </a:r>
          </a:p>
        </p:txBody>
      </p:sp>
      <p:sp>
        <p:nvSpPr>
          <p:cNvPr id="10"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234043590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4_Text">
  <p:cSld name="6_Text">
    <p:spTree>
      <p:nvGrpSpPr>
        <p:cNvPr id="1" name="Shape 73"/>
        <p:cNvGrpSpPr/>
        <p:nvPr/>
      </p:nvGrpSpPr>
      <p:grpSpPr>
        <a:xfrm>
          <a:off x="0" y="0"/>
          <a:ext cx="0" cy="0"/>
          <a:chOff x="0" y="0"/>
          <a:chExt cx="0" cy="0"/>
        </a:xfrm>
      </p:grpSpPr>
      <p:pic>
        <p:nvPicPr>
          <p:cNvPr id="74" name="Google Shape;74;p12"/>
          <p:cNvPicPr preferRelativeResize="0"/>
          <p:nvPr/>
        </p:nvPicPr>
        <p:blipFill rotWithShape="1">
          <a:blip r:embed="rId2">
            <a:alphaModFix/>
          </a:blip>
          <a:srcRect/>
          <a:stretch/>
        </p:blipFill>
        <p:spPr>
          <a:xfrm>
            <a:off x="1" y="3"/>
            <a:ext cx="156345" cy="140074"/>
          </a:xfrm>
          <a:prstGeom prst="rect">
            <a:avLst/>
          </a:prstGeom>
          <a:noFill/>
          <a:ln>
            <a:noFill/>
          </a:ln>
        </p:spPr>
      </p:pic>
      <p:sp>
        <p:nvSpPr>
          <p:cNvPr id="75" name="Google Shape;75;p12"/>
          <p:cNvSpPr txBox="1">
            <a:spLocks noGrp="1"/>
          </p:cNvSpPr>
          <p:nvPr>
            <p:ph type="title"/>
          </p:nvPr>
        </p:nvSpPr>
        <p:spPr>
          <a:xfrm>
            <a:off x="450741" y="134054"/>
            <a:ext cx="7245459" cy="582389"/>
          </a:xfrm>
          <a:prstGeom prst="rect">
            <a:avLst/>
          </a:prstGeom>
          <a:noFill/>
          <a:ln>
            <a:noFill/>
          </a:ln>
        </p:spPr>
        <p:txBody>
          <a:bodyPr spcFirstLastPara="1" wrap="square" lIns="0" tIns="0" rIns="0" bIns="0" anchor="b" anchorCtr="0"/>
          <a:lstStyle>
            <a:lvl1pPr marR="0" lvl="0" algn="l" rtl="0">
              <a:lnSpc>
                <a:spcPct val="90000"/>
              </a:lnSpc>
              <a:spcBef>
                <a:spcPts val="0"/>
              </a:spcBef>
              <a:spcAft>
                <a:spcPts val="0"/>
              </a:spcAft>
              <a:buClr>
                <a:schemeClr val="dk1"/>
              </a:buClr>
              <a:buSzPts val="2200"/>
              <a:buFont typeface="Arial"/>
              <a:buNone/>
              <a:defRPr sz="2200" b="1"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76" name="Google Shape;76;p12"/>
          <p:cNvSpPr txBox="1">
            <a:spLocks noGrp="1"/>
          </p:cNvSpPr>
          <p:nvPr>
            <p:ph type="body" idx="1"/>
          </p:nvPr>
        </p:nvSpPr>
        <p:spPr>
          <a:xfrm>
            <a:off x="450276" y="1066801"/>
            <a:ext cx="9005453" cy="5181599"/>
          </a:xfrm>
          <a:prstGeom prst="rect">
            <a:avLst/>
          </a:prstGeom>
          <a:noFill/>
          <a:ln>
            <a:noFill/>
          </a:ln>
        </p:spPr>
        <p:txBody>
          <a:bodyPr spcFirstLastPara="1" wrap="square" lIns="0" tIns="0" rIns="0" bIns="0" anchor="t" anchorCtr="0"/>
          <a:lstStyle>
            <a:lvl1pPr marL="457200" marR="0" lvl="0" indent="-330200" algn="l" rtl="0">
              <a:lnSpc>
                <a:spcPct val="90000"/>
              </a:lnSpc>
              <a:spcBef>
                <a:spcPts val="718"/>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17500" algn="l" rtl="0">
              <a:lnSpc>
                <a:spcPct val="90000"/>
              </a:lnSpc>
              <a:spcBef>
                <a:spcPts val="718"/>
              </a:spcBef>
              <a:spcAft>
                <a:spcPts val="0"/>
              </a:spcAft>
              <a:buClr>
                <a:schemeClr val="dk1"/>
              </a:buClr>
              <a:buSzPts val="1400"/>
              <a:buFont typeface="Noto Sans Symbols"/>
              <a:buChar char="✓"/>
              <a:defRPr sz="1400" b="0" i="0" u="none" strike="noStrike" cap="none">
                <a:solidFill>
                  <a:schemeClr val="dk1"/>
                </a:solidFill>
                <a:latin typeface="Arial"/>
                <a:ea typeface="Arial"/>
                <a:cs typeface="Arial"/>
                <a:sym typeface="Arial"/>
              </a:defRPr>
            </a:lvl2pPr>
            <a:lvl3pPr marL="1371600" marR="0" lvl="2" indent="-317500" algn="l" rtl="0">
              <a:lnSpc>
                <a:spcPct val="90000"/>
              </a:lnSpc>
              <a:spcBef>
                <a:spcPts val="500"/>
              </a:spcBef>
              <a:spcAft>
                <a:spcPts val="0"/>
              </a:spcAft>
              <a:buClr>
                <a:schemeClr val="dk1"/>
              </a:buClr>
              <a:buSzPts val="1400"/>
              <a:buFont typeface="Courier New"/>
              <a:buChar char="o"/>
              <a:defRPr sz="1400" b="0" i="0" u="none" strike="noStrike" cap="none">
                <a:solidFill>
                  <a:schemeClr val="dk1"/>
                </a:solidFill>
                <a:latin typeface="Arial"/>
                <a:ea typeface="Arial"/>
                <a:cs typeface="Arial"/>
                <a:sym typeface="Arial"/>
              </a:defRPr>
            </a:lvl3pPr>
            <a:lvl4pPr marL="1828800" marR="0" lvl="3" indent="-317500" algn="l" rtl="0">
              <a:lnSpc>
                <a:spcPct val="90000"/>
              </a:lnSpc>
              <a:spcBef>
                <a:spcPts val="5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393400305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7_Title Slide">
  <p:cSld name="8_Title Slide">
    <p:spTree>
      <p:nvGrpSpPr>
        <p:cNvPr id="1" name="Shape 84"/>
        <p:cNvGrpSpPr/>
        <p:nvPr/>
      </p:nvGrpSpPr>
      <p:grpSpPr>
        <a:xfrm>
          <a:off x="0" y="0"/>
          <a:ext cx="0" cy="0"/>
          <a:chOff x="0" y="0"/>
          <a:chExt cx="0" cy="0"/>
        </a:xfrm>
      </p:grpSpPr>
      <p:pic>
        <p:nvPicPr>
          <p:cNvPr id="85" name="Google Shape;85;p15"/>
          <p:cNvPicPr preferRelativeResize="0"/>
          <p:nvPr/>
        </p:nvPicPr>
        <p:blipFill rotWithShape="1">
          <a:blip r:embed="rId2">
            <a:alphaModFix/>
          </a:blip>
          <a:srcRect/>
          <a:stretch/>
        </p:blipFill>
        <p:spPr>
          <a:xfrm>
            <a:off x="1588" y="1588"/>
            <a:ext cx="1588" cy="1588"/>
          </a:xfrm>
          <a:prstGeom prst="rect">
            <a:avLst/>
          </a:prstGeom>
          <a:noFill/>
          <a:ln>
            <a:noFill/>
          </a:ln>
        </p:spPr>
      </p:pic>
      <p:sp>
        <p:nvSpPr>
          <p:cNvPr id="86" name="Google Shape;86;p15"/>
          <p:cNvSpPr txBox="1">
            <a:spLocks noGrp="1"/>
          </p:cNvSpPr>
          <p:nvPr>
            <p:ph type="body" idx="1"/>
          </p:nvPr>
        </p:nvSpPr>
        <p:spPr>
          <a:xfrm>
            <a:off x="450588" y="6055245"/>
            <a:ext cx="7702813" cy="386679"/>
          </a:xfrm>
          <a:prstGeom prst="rect">
            <a:avLst/>
          </a:prstGeom>
          <a:noFill/>
          <a:ln>
            <a:noFill/>
          </a:ln>
        </p:spPr>
        <p:txBody>
          <a:bodyPr spcFirstLastPara="1" wrap="square" lIns="0" tIns="0" rIns="0" bIns="0" anchor="b" anchorCtr="0"/>
          <a:lstStyle>
            <a:lvl1pPr marL="457200" marR="0" lvl="0" indent="-228600" algn="l" rtl="0">
              <a:lnSpc>
                <a:spcPct val="90000"/>
              </a:lnSpc>
              <a:spcBef>
                <a:spcPts val="1000"/>
              </a:spcBef>
              <a:spcAft>
                <a:spcPts val="0"/>
              </a:spcAft>
              <a:buClr>
                <a:schemeClr val="dk1"/>
              </a:buClr>
              <a:buSzPts val="923"/>
              <a:buFont typeface="Arial"/>
              <a:buNone/>
              <a:defRPr sz="922" b="0"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87" name="Google Shape;87;p15"/>
          <p:cNvSpPr txBox="1">
            <a:spLocks noGrp="1"/>
          </p:cNvSpPr>
          <p:nvPr>
            <p:ph type="body" idx="2"/>
          </p:nvPr>
        </p:nvSpPr>
        <p:spPr>
          <a:xfrm>
            <a:off x="450588" y="1277003"/>
            <a:ext cx="3602182" cy="201706"/>
          </a:xfrm>
          <a:prstGeom prst="rect">
            <a:avLst/>
          </a:prstGeom>
          <a:noFill/>
          <a:ln>
            <a:noFill/>
          </a:ln>
        </p:spPr>
        <p:txBody>
          <a:bodyPr spcFirstLastPara="1" wrap="square" lIns="0" tIns="0" rIns="0" bIns="0" anchor="t" anchorCtr="0"/>
          <a:lstStyle>
            <a:lvl1pPr marL="457200" marR="0" lvl="0" indent="-228600" algn="l" rtl="0">
              <a:lnSpc>
                <a:spcPct val="90000"/>
              </a:lnSpc>
              <a:spcBef>
                <a:spcPts val="10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1pPr>
            <a:lvl2pPr marL="914400" marR="0" lvl="1" indent="-298958" algn="l" rtl="0">
              <a:lnSpc>
                <a:spcPct val="90000"/>
              </a:lnSpc>
              <a:spcBef>
                <a:spcPts val="500"/>
              </a:spcBef>
              <a:spcAft>
                <a:spcPts val="0"/>
              </a:spcAft>
              <a:buClr>
                <a:schemeClr val="dk1"/>
              </a:buClr>
              <a:buSzPts val="1108"/>
              <a:buFont typeface="Arial"/>
              <a:buChar char="•"/>
              <a:defRPr sz="1108" b="0" i="0" u="none" strike="noStrike" cap="none">
                <a:solidFill>
                  <a:schemeClr val="dk1"/>
                </a:solidFill>
                <a:latin typeface="Calibri"/>
                <a:ea typeface="Calibri"/>
                <a:cs typeface="Calibri"/>
                <a:sym typeface="Calibri"/>
              </a:defRPr>
            </a:lvl2pPr>
            <a:lvl3pPr marL="1371600" marR="0" lvl="2" indent="-298958" algn="l" rtl="0">
              <a:lnSpc>
                <a:spcPct val="90000"/>
              </a:lnSpc>
              <a:spcBef>
                <a:spcPts val="500"/>
              </a:spcBef>
              <a:spcAft>
                <a:spcPts val="0"/>
              </a:spcAft>
              <a:buClr>
                <a:schemeClr val="dk1"/>
              </a:buClr>
              <a:buSzPts val="1108"/>
              <a:buFont typeface="Courier New"/>
              <a:buChar char="o"/>
              <a:defRPr sz="1108" b="0" i="0" u="none" strike="noStrike" cap="none">
                <a:solidFill>
                  <a:schemeClr val="dk1"/>
                </a:solidFill>
                <a:latin typeface="Calibri"/>
                <a:ea typeface="Calibri"/>
                <a:cs typeface="Calibri"/>
                <a:sym typeface="Calibri"/>
              </a:defRPr>
            </a:lvl3pPr>
            <a:lvl4pPr marL="1828800" marR="0" lvl="3" indent="-298958" algn="l" rtl="0">
              <a:lnSpc>
                <a:spcPct val="90000"/>
              </a:lnSpc>
              <a:spcBef>
                <a:spcPts val="500"/>
              </a:spcBef>
              <a:spcAft>
                <a:spcPts val="0"/>
              </a:spcAft>
              <a:buClr>
                <a:schemeClr val="dk1"/>
              </a:buClr>
              <a:buSzPts val="1108"/>
              <a:buFont typeface="Arial"/>
              <a:buChar char="•"/>
              <a:defRPr sz="1108"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88" name="Google Shape;88;p15"/>
          <p:cNvSpPr txBox="1">
            <a:spLocks noGrp="1"/>
          </p:cNvSpPr>
          <p:nvPr>
            <p:ph type="body" idx="3"/>
          </p:nvPr>
        </p:nvSpPr>
        <p:spPr>
          <a:xfrm>
            <a:off x="450588" y="1008063"/>
            <a:ext cx="3602182" cy="201706"/>
          </a:xfrm>
          <a:prstGeom prst="rect">
            <a:avLst/>
          </a:prstGeom>
          <a:noFill/>
          <a:ln>
            <a:noFill/>
          </a:ln>
        </p:spPr>
        <p:txBody>
          <a:bodyPr spcFirstLastPara="1" wrap="square" lIns="0" tIns="0" rIns="0" bIns="0" anchor="t" anchorCtr="0"/>
          <a:lstStyle>
            <a:lvl1pPr marL="457200" marR="0" lvl="0" indent="-228600" algn="l" rtl="0">
              <a:lnSpc>
                <a:spcPct val="90000"/>
              </a:lnSpc>
              <a:spcBef>
                <a:spcPts val="1000"/>
              </a:spcBef>
              <a:spcAft>
                <a:spcPts val="0"/>
              </a:spcAft>
              <a:buClr>
                <a:schemeClr val="dk1"/>
              </a:buClr>
              <a:buSzPts val="1400"/>
              <a:buFont typeface="Arial"/>
              <a:buNone/>
              <a:defRPr sz="1400" b="1"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89" name="Google Shape;89;p15"/>
          <p:cNvSpPr>
            <a:spLocks noGrp="1"/>
          </p:cNvSpPr>
          <p:nvPr>
            <p:ph type="dgm" idx="4"/>
          </p:nvPr>
        </p:nvSpPr>
        <p:spPr>
          <a:xfrm rot="5400000">
            <a:off x="4022002" y="3302283"/>
            <a:ext cx="3577155" cy="360462"/>
          </a:xfrm>
          <a:prstGeom prst="triangle">
            <a:avLst>
              <a:gd name="adj" fmla="val 50232"/>
            </a:avLst>
          </a:prstGeom>
          <a:solidFill>
            <a:srgbClr val="3F5F1F"/>
          </a:solidFill>
          <a:ln>
            <a:noFill/>
          </a:ln>
        </p:spPr>
        <p:txBody>
          <a:bodyPr spcFirstLastPara="1" wrap="square" lIns="82050" tIns="41025" rIns="82050" bIns="41025" anchor="t" anchorCtr="0"/>
          <a:lstStyle>
            <a:lvl1pPr marR="0" lvl="0" algn="l" rtl="0">
              <a:lnSpc>
                <a:spcPct val="90000"/>
              </a:lnSpc>
              <a:spcBef>
                <a:spcPts val="1000"/>
              </a:spcBef>
              <a:spcAft>
                <a:spcPts val="0"/>
              </a:spcAft>
              <a:buClr>
                <a:schemeClr val="dk2"/>
              </a:buClr>
              <a:buSzPts val="2800"/>
              <a:buFont typeface="Arial"/>
              <a:buChar char="•"/>
              <a:defRPr sz="2800" b="0" i="0" u="none" strike="noStrike" cap="none">
                <a:solidFill>
                  <a:schemeClr val="dk2"/>
                </a:solidFill>
                <a:latin typeface="Arial"/>
                <a:ea typeface="Arial"/>
                <a:cs typeface="Arial"/>
                <a:sym typeface="Arial"/>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90" name="Google Shape;90;p15"/>
          <p:cNvSpPr txBox="1">
            <a:spLocks noGrp="1"/>
          </p:cNvSpPr>
          <p:nvPr>
            <p:ph type="body" idx="5"/>
          </p:nvPr>
        </p:nvSpPr>
        <p:spPr>
          <a:xfrm>
            <a:off x="6138356" y="1008064"/>
            <a:ext cx="3317841" cy="4676161"/>
          </a:xfrm>
          <a:prstGeom prst="rect">
            <a:avLst/>
          </a:prstGeom>
          <a:noFill/>
          <a:ln>
            <a:noFill/>
          </a:ln>
        </p:spPr>
        <p:txBody>
          <a:bodyPr spcFirstLastPara="1" wrap="square" lIns="0" tIns="0" rIns="0" bIns="0" anchor="t" anchorCtr="0"/>
          <a:lstStyle>
            <a:lvl1pPr marL="457200" marR="0" lvl="0" indent="-317500" algn="just" rtl="0">
              <a:lnSpc>
                <a:spcPct val="90000"/>
              </a:lnSpc>
              <a:spcBef>
                <a:spcPts val="10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1pPr>
            <a:lvl2pPr marL="914400" marR="0" lvl="1" indent="-298958" algn="just" rtl="0">
              <a:lnSpc>
                <a:spcPct val="90000"/>
              </a:lnSpc>
              <a:spcBef>
                <a:spcPts val="500"/>
              </a:spcBef>
              <a:spcAft>
                <a:spcPts val="0"/>
              </a:spcAft>
              <a:buClr>
                <a:schemeClr val="dk1"/>
              </a:buClr>
              <a:buSzPts val="1108"/>
              <a:buFont typeface="Arial"/>
              <a:buChar char="•"/>
              <a:defRPr sz="1108" b="0" i="0" u="none" strike="noStrike" cap="none">
                <a:solidFill>
                  <a:schemeClr val="dk1"/>
                </a:solidFill>
                <a:latin typeface="Calibri"/>
                <a:ea typeface="Calibri"/>
                <a:cs typeface="Calibri"/>
                <a:sym typeface="Calibri"/>
              </a:defRPr>
            </a:lvl2pPr>
            <a:lvl3pPr marL="1371600" marR="0" lvl="2" indent="-298958" algn="just" rtl="0">
              <a:lnSpc>
                <a:spcPct val="90000"/>
              </a:lnSpc>
              <a:spcBef>
                <a:spcPts val="500"/>
              </a:spcBef>
              <a:spcAft>
                <a:spcPts val="0"/>
              </a:spcAft>
              <a:buClr>
                <a:schemeClr val="dk1"/>
              </a:buClr>
              <a:buSzPts val="1108"/>
              <a:buFont typeface="Courier New"/>
              <a:buChar char="o"/>
              <a:defRPr sz="1108" b="0" i="0" u="none" strike="noStrike" cap="none">
                <a:solidFill>
                  <a:schemeClr val="dk1"/>
                </a:solidFill>
                <a:latin typeface="Calibri"/>
                <a:ea typeface="Calibri"/>
                <a:cs typeface="Calibri"/>
                <a:sym typeface="Calibri"/>
              </a:defRPr>
            </a:lvl3pPr>
            <a:lvl4pPr marL="1828800" marR="0" lvl="3" indent="-298958" algn="just" rtl="0">
              <a:lnSpc>
                <a:spcPct val="90000"/>
              </a:lnSpc>
              <a:spcBef>
                <a:spcPts val="500"/>
              </a:spcBef>
              <a:spcAft>
                <a:spcPts val="0"/>
              </a:spcAft>
              <a:buClr>
                <a:schemeClr val="dk1"/>
              </a:buClr>
              <a:buSzPts val="1108"/>
              <a:buFont typeface="Arial"/>
              <a:buChar char="•"/>
              <a:defRPr sz="1108"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1" name="Google Shape;91;p15"/>
          <p:cNvSpPr txBox="1">
            <a:spLocks noGrp="1"/>
          </p:cNvSpPr>
          <p:nvPr>
            <p:ph type="title"/>
          </p:nvPr>
        </p:nvSpPr>
        <p:spPr>
          <a:xfrm>
            <a:off x="450741" y="134054"/>
            <a:ext cx="7245459" cy="582389"/>
          </a:xfrm>
          <a:prstGeom prst="rect">
            <a:avLst/>
          </a:prstGeom>
          <a:noFill/>
          <a:ln>
            <a:noFill/>
          </a:ln>
        </p:spPr>
        <p:txBody>
          <a:bodyPr spcFirstLastPara="1" wrap="square" lIns="0" tIns="0" rIns="0" bIns="0" anchor="b" anchorCtr="0"/>
          <a:lstStyle>
            <a:lvl1pPr marR="0" lvl="0" algn="l" rtl="0">
              <a:lnSpc>
                <a:spcPct val="90000"/>
              </a:lnSpc>
              <a:spcBef>
                <a:spcPts val="0"/>
              </a:spcBef>
              <a:spcAft>
                <a:spcPts val="0"/>
              </a:spcAft>
              <a:buClr>
                <a:schemeClr val="dk1"/>
              </a:buClr>
              <a:buSzPts val="2200"/>
              <a:buFont typeface="Arial"/>
              <a:buNone/>
              <a:defRPr sz="2200" b="1"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extLst>
      <p:ext uri="{BB962C8B-B14F-4D97-AF65-F5344CB8AC3E}">
        <p14:creationId xmlns:p14="http://schemas.microsoft.com/office/powerpoint/2010/main" val="169607458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3_Text">
  <p:cSld name="6_Text">
    <p:spTree>
      <p:nvGrpSpPr>
        <p:cNvPr id="1" name="Shape 69"/>
        <p:cNvGrpSpPr/>
        <p:nvPr/>
      </p:nvGrpSpPr>
      <p:grpSpPr>
        <a:xfrm>
          <a:off x="0" y="0"/>
          <a:ext cx="0" cy="0"/>
          <a:chOff x="0" y="0"/>
          <a:chExt cx="0" cy="0"/>
        </a:xfrm>
      </p:grpSpPr>
      <p:pic>
        <p:nvPicPr>
          <p:cNvPr id="70" name="Google Shape;70;p11"/>
          <p:cNvPicPr preferRelativeResize="0"/>
          <p:nvPr/>
        </p:nvPicPr>
        <p:blipFill rotWithShape="1">
          <a:blip r:embed="rId2">
            <a:alphaModFix/>
          </a:blip>
          <a:srcRect/>
          <a:stretch/>
        </p:blipFill>
        <p:spPr>
          <a:xfrm>
            <a:off x="1" y="3"/>
            <a:ext cx="156345" cy="140074"/>
          </a:xfrm>
          <a:prstGeom prst="rect">
            <a:avLst/>
          </a:prstGeom>
          <a:noFill/>
          <a:ln>
            <a:noFill/>
          </a:ln>
        </p:spPr>
      </p:pic>
      <p:sp>
        <p:nvSpPr>
          <p:cNvPr id="71" name="Google Shape;71;p11"/>
          <p:cNvSpPr txBox="1">
            <a:spLocks noGrp="1"/>
          </p:cNvSpPr>
          <p:nvPr>
            <p:ph type="body" idx="1"/>
          </p:nvPr>
        </p:nvSpPr>
        <p:spPr>
          <a:xfrm>
            <a:off x="450588" y="6055245"/>
            <a:ext cx="7702813" cy="386679"/>
          </a:xfrm>
          <a:prstGeom prst="rect">
            <a:avLst/>
          </a:prstGeom>
          <a:noFill/>
          <a:ln>
            <a:noFill/>
          </a:ln>
        </p:spPr>
        <p:txBody>
          <a:bodyPr spcFirstLastPara="1" wrap="square" lIns="0" tIns="0" rIns="0" bIns="0" anchor="b" anchorCtr="0"/>
          <a:lstStyle>
            <a:lvl1pPr marL="457200" marR="0" lvl="0" indent="-228600" algn="l" rtl="0">
              <a:lnSpc>
                <a:spcPct val="90000"/>
              </a:lnSpc>
              <a:spcBef>
                <a:spcPts val="1000"/>
              </a:spcBef>
              <a:spcAft>
                <a:spcPts val="0"/>
              </a:spcAft>
              <a:buClr>
                <a:schemeClr val="dk1"/>
              </a:buClr>
              <a:buSzPts val="923"/>
              <a:buFont typeface="Arial"/>
              <a:buNone/>
              <a:defRPr sz="922" b="0"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72" name="Google Shape;72;p11"/>
          <p:cNvSpPr txBox="1">
            <a:spLocks noGrp="1"/>
          </p:cNvSpPr>
          <p:nvPr>
            <p:ph type="title"/>
          </p:nvPr>
        </p:nvSpPr>
        <p:spPr>
          <a:xfrm>
            <a:off x="450741" y="134054"/>
            <a:ext cx="7245459" cy="582389"/>
          </a:xfrm>
          <a:prstGeom prst="rect">
            <a:avLst/>
          </a:prstGeom>
          <a:noFill/>
          <a:ln>
            <a:noFill/>
          </a:ln>
        </p:spPr>
        <p:txBody>
          <a:bodyPr spcFirstLastPara="1" wrap="square" lIns="0" tIns="0" rIns="0" bIns="0" anchor="b" anchorCtr="0"/>
          <a:lstStyle>
            <a:lvl1pPr marR="0" lvl="0" algn="l" rtl="0">
              <a:lnSpc>
                <a:spcPct val="90000"/>
              </a:lnSpc>
              <a:spcBef>
                <a:spcPts val="0"/>
              </a:spcBef>
              <a:spcAft>
                <a:spcPts val="0"/>
              </a:spcAft>
              <a:buClr>
                <a:schemeClr val="dk1"/>
              </a:buClr>
              <a:buSzPts val="2200"/>
              <a:buFont typeface="Arial"/>
              <a:buNone/>
              <a:defRPr sz="2200" b="1"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extLst>
      <p:ext uri="{BB962C8B-B14F-4D97-AF65-F5344CB8AC3E}">
        <p14:creationId xmlns:p14="http://schemas.microsoft.com/office/powerpoint/2010/main" val="299977060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46504"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721" y="1589"/>
                        <a:ext cx="1719" cy="1587"/>
                      </a:xfrm>
                      <a:prstGeom prst="rect">
                        <a:avLst/>
                      </a:prstGeom>
                    </p:spPr>
                  </p:pic>
                </p:oleObj>
              </mc:Fallback>
            </mc:AlternateContent>
          </a:graphicData>
        </a:graphic>
      </p:graphicFrame>
      <p:sp>
        <p:nvSpPr>
          <p:cNvPr id="10" name="Do not remove" hidden="1"/>
          <p:cNvSpPr/>
          <p:nvPr userDrawn="1">
            <p:custDataLst>
              <p:tags r:id="rId3"/>
            </p:custDataLst>
          </p:nvPr>
        </p:nvSpPr>
        <p:spPr>
          <a:xfrm>
            <a:off x="0" y="0"/>
            <a:ext cx="13758" cy="12700"/>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3">
              <a:buClrTx/>
              <a:buFontTx/>
              <a:buNone/>
            </a:pPr>
            <a:endParaRPr lang="en-US" kern="1200" dirty="0">
              <a:solidFill>
                <a:prstClr val="black"/>
              </a:solidFill>
            </a:endParaRPr>
          </a:p>
        </p:txBody>
      </p:sp>
      <p:sp>
        <p:nvSpPr>
          <p:cNvPr id="2" name="McK 2. Slide Title"/>
          <p:cNvSpPr>
            <a:spLocks noGrp="1"/>
          </p:cNvSpPr>
          <p:nvPr>
            <p:ph type="title"/>
          </p:nvPr>
        </p:nvSpPr>
        <p:spPr>
          <a:xfrm>
            <a:off x="247650" y="388621"/>
            <a:ext cx="8007350" cy="292388"/>
          </a:xfrm>
          <a:prstGeom prst="rect">
            <a:avLst/>
          </a:prstGeom>
        </p:spPr>
        <p:txBody>
          <a:bodyPr/>
          <a:lstStyle>
            <a:lvl1pPr>
              <a:defRPr sz="1900"/>
            </a:lvl1pPr>
          </a:lstStyle>
          <a:p>
            <a:r>
              <a:rPr lang="en-US" dirty="0"/>
              <a:t>Click to edit Master title style</a:t>
            </a:r>
          </a:p>
        </p:txBody>
      </p:sp>
    </p:spTree>
    <p:extLst>
      <p:ext uri="{BB962C8B-B14F-4D97-AF65-F5344CB8AC3E}">
        <p14:creationId xmlns:p14="http://schemas.microsoft.com/office/powerpoint/2010/main" val="18341703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Standard/Deliverable Cover Page">
  <p:cSld name="Standard/Deliverable Cover Page">
    <p:bg>
      <p:bgPr>
        <a:solidFill>
          <a:schemeClr val="lt1"/>
        </a:solidFill>
        <a:effectLst/>
      </p:bgPr>
    </p:bg>
    <p:spTree>
      <p:nvGrpSpPr>
        <p:cNvPr id="1" name="Shape 41"/>
        <p:cNvGrpSpPr/>
        <p:nvPr/>
      </p:nvGrpSpPr>
      <p:grpSpPr>
        <a:xfrm>
          <a:off x="0" y="0"/>
          <a:ext cx="0" cy="0"/>
          <a:chOff x="0" y="0"/>
          <a:chExt cx="0" cy="0"/>
        </a:xfrm>
      </p:grpSpPr>
      <p:pic>
        <p:nvPicPr>
          <p:cNvPr id="42" name="Google Shape;42;p7"/>
          <p:cNvPicPr preferRelativeResize="0"/>
          <p:nvPr/>
        </p:nvPicPr>
        <p:blipFill rotWithShape="1">
          <a:blip r:embed="rId2">
            <a:alphaModFix/>
          </a:blip>
          <a:srcRect/>
          <a:stretch/>
        </p:blipFill>
        <p:spPr>
          <a:xfrm>
            <a:off x="0" y="0"/>
            <a:ext cx="171979" cy="158750"/>
          </a:xfrm>
          <a:prstGeom prst="rect">
            <a:avLst/>
          </a:prstGeom>
          <a:noFill/>
          <a:ln>
            <a:noFill/>
          </a:ln>
        </p:spPr>
      </p:pic>
      <p:sp>
        <p:nvSpPr>
          <p:cNvPr id="43" name="Google Shape;43;p7"/>
          <p:cNvSpPr txBox="1">
            <a:spLocks noGrp="1"/>
          </p:cNvSpPr>
          <p:nvPr>
            <p:ph type="ctrTitle"/>
          </p:nvPr>
        </p:nvSpPr>
        <p:spPr>
          <a:xfrm>
            <a:off x="1058260" y="1795999"/>
            <a:ext cx="8397935" cy="1156710"/>
          </a:xfrm>
          <a:prstGeom prst="rect">
            <a:avLst/>
          </a:prstGeom>
          <a:noFill/>
          <a:ln>
            <a:noFill/>
          </a:ln>
        </p:spPr>
        <p:txBody>
          <a:bodyPr spcFirstLastPara="1" wrap="square" lIns="0" tIns="0" rIns="0" bIns="0" anchor="t" anchorCtr="0"/>
          <a:lstStyle>
            <a:lvl1pPr marR="0" lvl="0" algn="l" rtl="0">
              <a:lnSpc>
                <a:spcPct val="90000"/>
              </a:lnSpc>
              <a:spcBef>
                <a:spcPts val="0"/>
              </a:spcBef>
              <a:spcAft>
                <a:spcPts val="0"/>
              </a:spcAft>
              <a:buClr>
                <a:srgbClr val="385623"/>
              </a:buClr>
              <a:buSzPts val="2800"/>
              <a:buFont typeface="Arial"/>
              <a:buNone/>
              <a:defRPr sz="2800" b="1" i="0" u="none" strike="noStrike" cap="none">
                <a:solidFill>
                  <a:srgbClr val="385623"/>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44" name="Google Shape;44;p7"/>
          <p:cNvSpPr txBox="1">
            <a:spLocks noGrp="1"/>
          </p:cNvSpPr>
          <p:nvPr>
            <p:ph type="subTitle" idx="1"/>
          </p:nvPr>
        </p:nvSpPr>
        <p:spPr>
          <a:xfrm>
            <a:off x="1058260" y="2952712"/>
            <a:ext cx="8397935" cy="656824"/>
          </a:xfrm>
          <a:prstGeom prst="rect">
            <a:avLst/>
          </a:prstGeom>
          <a:noFill/>
          <a:ln>
            <a:noFill/>
          </a:ln>
        </p:spPr>
        <p:txBody>
          <a:bodyPr spcFirstLastPara="1" wrap="square" lIns="0" tIns="0" rIns="0" bIns="0" anchor="t" anchorCtr="0"/>
          <a:lstStyle>
            <a:lvl1pPr marR="0" lvl="0" algn="l" rtl="0">
              <a:lnSpc>
                <a:spcPct val="90000"/>
              </a:lnSpc>
              <a:spcBef>
                <a:spcPts val="1000"/>
              </a:spcBef>
              <a:spcAft>
                <a:spcPts val="0"/>
              </a:spcAft>
              <a:buClr>
                <a:srgbClr val="548135"/>
              </a:buClr>
              <a:buSzPts val="2200"/>
              <a:buFont typeface="Arial"/>
              <a:buNone/>
              <a:defRPr sz="2200" b="0" i="1" u="none" strike="noStrike" cap="none">
                <a:solidFill>
                  <a:srgbClr val="548135"/>
                </a:solidFill>
                <a:latin typeface="Arial"/>
                <a:ea typeface="Arial"/>
                <a:cs typeface="Arial"/>
                <a:sym typeface="Arial"/>
              </a:defRPr>
            </a:lvl1pPr>
            <a:lvl2pPr marR="0" lvl="1" algn="ctr" rtl="0">
              <a:lnSpc>
                <a:spcPct val="90000"/>
              </a:lnSpc>
              <a:spcBef>
                <a:spcPts val="500"/>
              </a:spcBef>
              <a:spcAft>
                <a:spcPts val="0"/>
              </a:spcAft>
              <a:buClr>
                <a:srgbClr val="888888"/>
              </a:buClr>
              <a:buSzPts val="2400"/>
              <a:buFont typeface="Arial"/>
              <a:buNone/>
              <a:defRPr sz="2400" b="0" i="0" u="none" strike="noStrike" cap="none">
                <a:solidFill>
                  <a:srgbClr val="888888"/>
                </a:solidFill>
                <a:latin typeface="Calibri"/>
                <a:ea typeface="Calibri"/>
                <a:cs typeface="Calibri"/>
                <a:sym typeface="Calibri"/>
              </a:defRPr>
            </a:lvl2pPr>
            <a:lvl3pPr marR="0" lvl="2" algn="ctr" rtl="0">
              <a:lnSpc>
                <a:spcPct val="90000"/>
              </a:lnSpc>
              <a:spcBef>
                <a:spcPts val="500"/>
              </a:spcBef>
              <a:spcAft>
                <a:spcPts val="0"/>
              </a:spcAft>
              <a:buClr>
                <a:srgbClr val="888888"/>
              </a:buClr>
              <a:buSzPts val="2000"/>
              <a:buFont typeface="Arial"/>
              <a:buNone/>
              <a:defRPr sz="2000" b="0" i="0" u="none" strike="noStrike" cap="none">
                <a:solidFill>
                  <a:srgbClr val="888888"/>
                </a:solidFill>
                <a:latin typeface="Calibri"/>
                <a:ea typeface="Calibri"/>
                <a:cs typeface="Calibri"/>
                <a:sym typeface="Calibri"/>
              </a:defRPr>
            </a:lvl3pPr>
            <a:lvl4pPr marR="0" lvl="3"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4pPr>
            <a:lvl5pPr marR="0" lvl="4"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5pPr>
            <a:lvl6pPr marR="0" lvl="5"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6pPr>
            <a:lvl7pPr marR="0" lvl="6"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7pPr>
            <a:lvl8pPr marR="0" lvl="7"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8pPr>
            <a:lvl9pPr marR="0" lvl="8"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9pPr>
          </a:lstStyle>
          <a:p>
            <a:endParaRPr/>
          </a:p>
        </p:txBody>
      </p:sp>
      <p:sp>
        <p:nvSpPr>
          <p:cNvPr id="45" name="Google Shape;45;p7"/>
          <p:cNvSpPr txBox="1">
            <a:spLocks noGrp="1"/>
          </p:cNvSpPr>
          <p:nvPr>
            <p:ph type="body" idx="2"/>
          </p:nvPr>
        </p:nvSpPr>
        <p:spPr>
          <a:xfrm>
            <a:off x="1058365" y="3962400"/>
            <a:ext cx="8397831" cy="372821"/>
          </a:xfrm>
          <a:prstGeom prst="rect">
            <a:avLst/>
          </a:prstGeom>
          <a:noFill/>
          <a:ln>
            <a:noFill/>
          </a:ln>
        </p:spPr>
        <p:txBody>
          <a:bodyPr spcFirstLastPara="1" wrap="square" lIns="0" tIns="0" rIns="0" bIns="0" anchor="t" anchorCtr="0"/>
          <a:lstStyle>
            <a:lvl1pPr marL="457200" marR="0" lvl="0" indent="-228600" algn="l" rtl="0">
              <a:lnSpc>
                <a:spcPct val="90000"/>
              </a:lnSpc>
              <a:spcBef>
                <a:spcPts val="1000"/>
              </a:spcBef>
              <a:spcAft>
                <a:spcPts val="0"/>
              </a:spcAft>
              <a:buClr>
                <a:srgbClr val="548135"/>
              </a:buClr>
              <a:buSzPts val="1800"/>
              <a:buFont typeface="Arial"/>
              <a:buNone/>
              <a:defRPr sz="1800" b="0" i="0" u="none" strike="noStrike" cap="none">
                <a:solidFill>
                  <a:srgbClr val="548135"/>
                </a:solidFill>
                <a:latin typeface="Arial"/>
                <a:ea typeface="Arial"/>
                <a:cs typeface="Arial"/>
                <a:sym typeface="Arial"/>
              </a:defRPr>
            </a:lvl1pPr>
            <a:lvl2pPr marL="914400" marR="0" lvl="1"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2pPr>
            <a:lvl3pPr marL="1371600" marR="0" lvl="2"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6" name="Google Shape;46;p7"/>
          <p:cNvSpPr/>
          <p:nvPr/>
        </p:nvSpPr>
        <p:spPr>
          <a:xfrm>
            <a:off x="457200" y="1795999"/>
            <a:ext cx="457200" cy="365736"/>
          </a:xfrm>
          <a:prstGeom prst="rect">
            <a:avLst/>
          </a:prstGeom>
          <a:solidFill>
            <a:srgbClr val="38562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dirty="0">
              <a:solidFill>
                <a:srgbClr val="FFFFFF"/>
              </a:solidFill>
              <a:latin typeface="Calibri"/>
              <a:ea typeface="Calibri"/>
              <a:cs typeface="Calibri"/>
              <a:sym typeface="Calibri"/>
            </a:endParaRPr>
          </a:p>
        </p:txBody>
      </p:sp>
      <p:pic>
        <p:nvPicPr>
          <p:cNvPr id="47" name="Google Shape;47;p7"/>
          <p:cNvPicPr preferRelativeResize="0"/>
          <p:nvPr/>
        </p:nvPicPr>
        <p:blipFill rotWithShape="1">
          <a:blip r:embed="rId3">
            <a:alphaModFix/>
          </a:blip>
          <a:srcRect/>
          <a:stretch/>
        </p:blipFill>
        <p:spPr>
          <a:xfrm>
            <a:off x="0" y="5947172"/>
            <a:ext cx="9906000" cy="910828"/>
          </a:xfrm>
          <a:prstGeom prst="rect">
            <a:avLst/>
          </a:prstGeom>
          <a:noFill/>
          <a:ln>
            <a:noFill/>
          </a:ln>
        </p:spPr>
      </p:pic>
      <p:cxnSp>
        <p:nvCxnSpPr>
          <p:cNvPr id="48" name="Google Shape;48;p7"/>
          <p:cNvCxnSpPr/>
          <p:nvPr/>
        </p:nvCxnSpPr>
        <p:spPr>
          <a:xfrm>
            <a:off x="1058260" y="3777482"/>
            <a:ext cx="8397935" cy="0"/>
          </a:xfrm>
          <a:prstGeom prst="straightConnector1">
            <a:avLst/>
          </a:prstGeom>
          <a:noFill/>
          <a:ln w="28575" cap="flat" cmpd="sng">
            <a:solidFill>
              <a:srgbClr val="385623"/>
            </a:solidFill>
            <a:prstDash val="solid"/>
            <a:miter lim="800000"/>
            <a:headEnd type="none" w="sm" len="sm"/>
            <a:tailEnd type="none" w="sm" len="sm"/>
          </a:ln>
        </p:spPr>
      </p:cxn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55698"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dirty="0">
              <a:solidFill>
                <a:prstClr val="white"/>
              </a:solidFill>
              <a:cs typeface="Arial" panose="020B0604020202020204" pitchFamily="34" charset="0"/>
              <a:sym typeface="Calibri" panose="020F0502020204030204" pitchFamily="34" charset="0"/>
            </a:endParaRPr>
          </a:p>
        </p:txBody>
      </p:sp>
      <p:sp>
        <p:nvSpPr>
          <p:cNvPr id="6" name="Title 1"/>
          <p:cNvSpPr>
            <a:spLocks noGrp="1"/>
          </p:cNvSpPr>
          <p:nvPr>
            <p:ph type="title" hasCustomPrompt="1"/>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Style</a:t>
            </a:r>
            <a:endParaRPr lang="en-US" dirty="0"/>
          </a:p>
        </p:txBody>
      </p:sp>
      <p:sp>
        <p:nvSpPr>
          <p:cNvPr id="5" name="Text Placeholder 7"/>
          <p:cNvSpPr>
            <a:spLocks noGrp="1"/>
          </p:cNvSpPr>
          <p:nvPr>
            <p:ph type="body" sz="quarter" idx="13" hasCustomPrompt="1"/>
          </p:nvPr>
        </p:nvSpPr>
        <p:spPr>
          <a:xfrm>
            <a:off x="450276" y="1066801"/>
            <a:ext cx="9005453" cy="5181599"/>
          </a:xfrm>
          <a:prstGeom prst="rect">
            <a:avLst/>
          </a:prstGeom>
        </p:spPr>
        <p:txBody>
          <a:bodyPr lIns="0" tIns="0" rIns="0" bIns="0">
            <a:noAutofit/>
          </a:bodyPr>
          <a:lstStyle>
            <a:lvl1pPr marL="173037" indent="-173037">
              <a:spcBef>
                <a:spcPts val="718"/>
              </a:spcBef>
              <a:defRPr sz="1600" baseline="0">
                <a:latin typeface="Arial" panose="020B0604020202020204" pitchFamily="34" charset="0"/>
                <a:cs typeface="Arial" panose="020B0604020202020204" pitchFamily="34" charset="0"/>
              </a:defRPr>
            </a:lvl1pPr>
            <a:lvl2pPr marL="347661" indent="-174624">
              <a:spcBef>
                <a:spcPts val="718"/>
              </a:spcBef>
              <a:buFont typeface="Wingdings" panose="05000000000000000000" pitchFamily="2" charset="2"/>
              <a:buChar char="ü"/>
              <a:defRPr sz="1400">
                <a:latin typeface="Arial" panose="020B0604020202020204" pitchFamily="34" charset="0"/>
                <a:cs typeface="Arial" panose="020B0604020202020204" pitchFamily="34" charset="0"/>
              </a:defRPr>
            </a:lvl2pPr>
            <a:lvl3pPr marL="509585" indent="-161924">
              <a:buFont typeface="Courier New" pitchFamily="49" charset="0"/>
              <a:buChar char="o"/>
              <a:defRPr sz="1400">
                <a:latin typeface="Arial" panose="020B0604020202020204" pitchFamily="34" charset="0"/>
                <a:cs typeface="Arial" panose="020B0604020202020204" pitchFamily="34" charset="0"/>
              </a:defRPr>
            </a:lvl3pPr>
            <a:lvl4pPr marL="682621" indent="-173037">
              <a:defRPr sz="1400">
                <a:latin typeface="Arial" panose="020B0604020202020204" pitchFamily="34" charset="0"/>
                <a:cs typeface="Arial" panose="020B0604020202020204" pitchFamily="34" charset="0"/>
              </a:defRPr>
            </a:lvl4pPr>
            <a:lvl5pPr>
              <a:defRPr sz="1800"/>
            </a:lvl5pPr>
          </a:lstStyle>
          <a:p>
            <a:pPr lvl="0"/>
            <a:r>
              <a:rPr lang="en-US" dirty="0"/>
              <a:t>Click to edit Master text first level</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3643529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5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56722"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dirty="0">
              <a:solidFill>
                <a:prstClr val="white"/>
              </a:solidFill>
              <a:cs typeface="Arial" panose="020B0604020202020204" pitchFamily="34" charset="0"/>
              <a:sym typeface="Calibri" panose="020F0502020204030204" pitchFamily="34" charset="0"/>
            </a:endParaRPr>
          </a:p>
        </p:txBody>
      </p:sp>
      <p:sp>
        <p:nvSpPr>
          <p:cNvPr id="6"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265108141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57746"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dirty="0">
              <a:solidFill>
                <a:prstClr val="white"/>
              </a:solidFill>
              <a:cs typeface="Arial" panose="020B0604020202020204" pitchFamily="34" charset="0"/>
              <a:sym typeface="Calibri" panose="020F0502020204030204" pitchFamily="34" charset="0"/>
            </a:endParaRPr>
          </a:p>
        </p:txBody>
      </p:sp>
      <p:sp>
        <p:nvSpPr>
          <p:cNvPr id="6"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
        <p:nvSpPr>
          <p:cNvPr id="5" name="Text Placeholder 7"/>
          <p:cNvSpPr>
            <a:spLocks noGrp="1"/>
          </p:cNvSpPr>
          <p:nvPr>
            <p:ph type="body" sz="quarter" idx="13" hasCustomPrompt="1"/>
          </p:nvPr>
        </p:nvSpPr>
        <p:spPr>
          <a:xfrm>
            <a:off x="450276" y="1066801"/>
            <a:ext cx="9005453" cy="4876799"/>
          </a:xfrm>
          <a:prstGeom prst="rect">
            <a:avLst/>
          </a:prstGeom>
        </p:spPr>
        <p:txBody>
          <a:bodyPr lIns="0" tIns="0" rIns="0" bIns="0">
            <a:noAutofit/>
          </a:bodyPr>
          <a:lstStyle>
            <a:lvl1pPr marL="173037" indent="-173037">
              <a:spcBef>
                <a:spcPts val="718"/>
              </a:spcBef>
              <a:defRPr sz="1600" baseline="0">
                <a:latin typeface="Arial" panose="020B0604020202020204" pitchFamily="34" charset="0"/>
                <a:cs typeface="Arial" panose="020B0604020202020204" pitchFamily="34" charset="0"/>
              </a:defRPr>
            </a:lvl1pPr>
            <a:lvl2pPr marL="347661" indent="-174624">
              <a:spcBef>
                <a:spcPts val="718"/>
              </a:spcBef>
              <a:buFont typeface="Wingdings" panose="05000000000000000000" pitchFamily="2" charset="2"/>
              <a:buChar char="ü"/>
              <a:defRPr sz="1400">
                <a:latin typeface="Arial" panose="020B0604020202020204" pitchFamily="34" charset="0"/>
                <a:cs typeface="Arial" panose="020B0604020202020204" pitchFamily="34" charset="0"/>
              </a:defRPr>
            </a:lvl2pPr>
            <a:lvl3pPr marL="509585" indent="-161924">
              <a:buFont typeface="Courier New" pitchFamily="49" charset="0"/>
              <a:buChar char="o"/>
              <a:defRPr sz="1400">
                <a:latin typeface="Arial" panose="020B0604020202020204" pitchFamily="34" charset="0"/>
                <a:cs typeface="Arial" panose="020B0604020202020204" pitchFamily="34" charset="0"/>
              </a:defRPr>
            </a:lvl3pPr>
            <a:lvl4pPr marL="682621" indent="-173037">
              <a:defRPr sz="1400">
                <a:latin typeface="Arial" panose="020B0604020202020204" pitchFamily="34" charset="0"/>
                <a:cs typeface="Arial" panose="020B0604020202020204" pitchFamily="34" charset="0"/>
              </a:defRPr>
            </a:lvl4pPr>
            <a:lvl5pPr>
              <a:defRPr sz="1800"/>
            </a:lvl5pPr>
          </a:lstStyle>
          <a:p>
            <a:pPr lvl="0"/>
            <a:r>
              <a:rPr lang="en-US" dirty="0"/>
              <a:t>Click to edit Master text first level</a:t>
            </a:r>
          </a:p>
          <a:p>
            <a:pPr lvl="1"/>
            <a:r>
              <a:rPr lang="en-US" dirty="0"/>
              <a:t>Second level</a:t>
            </a:r>
          </a:p>
          <a:p>
            <a:pPr lvl="2"/>
            <a:r>
              <a:rPr lang="en-US" dirty="0"/>
              <a:t>Third level</a:t>
            </a:r>
          </a:p>
          <a:p>
            <a:pPr lvl="3"/>
            <a:r>
              <a:rPr lang="en-US" dirty="0"/>
              <a:t>Fourth level</a:t>
            </a:r>
          </a:p>
        </p:txBody>
      </p:sp>
      <p:sp>
        <p:nvSpPr>
          <p:cNvPr id="9"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dirty="0"/>
              <a:t>Click to edit Master footer. This space is reserved for footnotes and sources only, and cannot be expanded beyond its current size. SOURCE::</a:t>
            </a:r>
            <a:r>
              <a:rPr lang="en-US" dirty="0" err="1"/>
              <a:t>xxxxxxxxxxxxxxxxxxxxxxxxxxxxxxxxxxxxxxxxxxxxx</a:t>
            </a:r>
            <a:endParaRPr lang="en-US" dirty="0"/>
          </a:p>
        </p:txBody>
      </p:sp>
    </p:spTree>
    <p:extLst>
      <p:ext uri="{BB962C8B-B14F-4D97-AF65-F5344CB8AC3E}">
        <p14:creationId xmlns:p14="http://schemas.microsoft.com/office/powerpoint/2010/main" val="404730645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58770"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dirty="0">
              <a:solidFill>
                <a:prstClr val="white"/>
              </a:solidFill>
              <a:cs typeface="Arial" panose="020B0604020202020204" pitchFamily="34" charset="0"/>
              <a:sym typeface="Calibri" panose="020F0502020204030204" pitchFamily="34" charset="0"/>
            </a:endParaRPr>
          </a:p>
        </p:txBody>
      </p:sp>
      <p:sp>
        <p:nvSpPr>
          <p:cNvPr id="9"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dirty="0"/>
              <a:t>Click to edit Master footer. This space is reserved for footnotes and sources only, and cannot be expanded beyond its current size. SOURCE::</a:t>
            </a:r>
            <a:r>
              <a:rPr lang="en-US" dirty="0" err="1"/>
              <a:t>xxxxxxxxxxxxxxxxxxxxxxxxxxxxxxxxxxxxxxxxxxxxx</a:t>
            </a:r>
            <a:endParaRPr lang="en-US" dirty="0"/>
          </a:p>
        </p:txBody>
      </p:sp>
      <p:sp>
        <p:nvSpPr>
          <p:cNvPr id="10"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192913110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794"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dirty="0">
              <a:solidFill>
                <a:srgbClr val="70AD47">
                  <a:lumMod val="50000"/>
                </a:srgbClr>
              </a:solidFill>
              <a:cs typeface="Arial" panose="020B0604020202020204" pitchFamily="34" charset="0"/>
              <a:sym typeface="Calibri" panose="020F0502020204030204" pitchFamily="34" charset="0"/>
            </a:endParaRPr>
          </a:p>
        </p:txBody>
      </p:sp>
      <p:sp>
        <p:nvSpPr>
          <p:cNvPr id="4" name="SmartArt Placeholder 26"/>
          <p:cNvSpPr>
            <a:spLocks noGrp="1"/>
          </p:cNvSpPr>
          <p:nvPr>
            <p:ph type="dgm" sz="quarter" idx="18" hasCustomPrompt="1"/>
          </p:nvPr>
        </p:nvSpPr>
        <p:spPr>
          <a:xfrm>
            <a:off x="1350818" y="922317"/>
            <a:ext cx="7204364" cy="4639235"/>
          </a:xfrm>
          <a:prstGeom prst="rect">
            <a:avLst/>
          </a:prstGeom>
          <a:ln w="9525">
            <a:solidFill>
              <a:schemeClr val="tx1"/>
            </a:solidFill>
          </a:ln>
        </p:spPr>
        <p:txBody>
          <a:bodyPr lIns="82058" tIns="41029" rIns="82058" bIns="41029"/>
          <a:lstStyle>
            <a:lvl1pPr>
              <a:defRPr>
                <a:solidFill>
                  <a:schemeClr val="bg2"/>
                </a:solidFill>
                <a:latin typeface="Arial" panose="020B0604020202020204" pitchFamily="34" charset="0"/>
                <a:cs typeface="Arial" panose="020B0604020202020204" pitchFamily="34" charset="0"/>
              </a:defRPr>
            </a:lvl1pPr>
          </a:lstStyle>
          <a:p>
            <a:r>
              <a:rPr lang="en-US" dirty="0"/>
              <a:t>`</a:t>
            </a:r>
          </a:p>
        </p:txBody>
      </p:sp>
      <p:cxnSp>
        <p:nvCxnSpPr>
          <p:cNvPr id="5" name="Straight Connector 4"/>
          <p:cNvCxnSpPr/>
          <p:nvPr userDrawn="1"/>
        </p:nvCxnSpPr>
        <p:spPr>
          <a:xfrm>
            <a:off x="4953000" y="922317"/>
            <a:ext cx="0" cy="463923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a:off x="1350818" y="3141080"/>
            <a:ext cx="7204364"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 Placeholder 42"/>
          <p:cNvSpPr>
            <a:spLocks noGrp="1"/>
          </p:cNvSpPr>
          <p:nvPr>
            <p:ph type="body" sz="quarter" idx="21" hasCustomPrompt="1"/>
          </p:nvPr>
        </p:nvSpPr>
        <p:spPr>
          <a:xfrm>
            <a:off x="1350821" y="989556"/>
            <a:ext cx="3602182" cy="268941"/>
          </a:xfrm>
          <a:prstGeom prst="rect">
            <a:avLst/>
          </a:prstGeom>
        </p:spPr>
        <p:txBody>
          <a:bodyPr lIns="82058" tIns="41029" rIns="82058" bIns="41029"/>
          <a:lstStyle>
            <a:lvl1pPr marL="0" indent="0" algn="ctr">
              <a:buNone/>
              <a:defRPr sz="1400" b="1" baseline="0">
                <a:solidFill>
                  <a:srgbClr val="3F5F1F"/>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0" name="Text Placeholder 42"/>
          <p:cNvSpPr>
            <a:spLocks noGrp="1"/>
          </p:cNvSpPr>
          <p:nvPr>
            <p:ph type="body" sz="quarter" idx="22" hasCustomPrompt="1"/>
          </p:nvPr>
        </p:nvSpPr>
        <p:spPr>
          <a:xfrm>
            <a:off x="4953004" y="989556"/>
            <a:ext cx="3602182" cy="268941"/>
          </a:xfrm>
          <a:prstGeom prst="rect">
            <a:avLst/>
          </a:prstGeom>
        </p:spPr>
        <p:txBody>
          <a:bodyPr lIns="82058" tIns="41029" rIns="82058" bIns="41029"/>
          <a:lstStyle>
            <a:lvl1pPr marL="0" indent="0" algn="ctr">
              <a:buNone/>
              <a:defRPr sz="1400" b="1" baseline="0">
                <a:solidFill>
                  <a:srgbClr val="3F5F1F"/>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1" name="Text Placeholder 42"/>
          <p:cNvSpPr>
            <a:spLocks noGrp="1"/>
          </p:cNvSpPr>
          <p:nvPr>
            <p:ph type="body" sz="quarter" idx="23" hasCustomPrompt="1"/>
          </p:nvPr>
        </p:nvSpPr>
        <p:spPr>
          <a:xfrm>
            <a:off x="1350821" y="3208318"/>
            <a:ext cx="3602182" cy="268941"/>
          </a:xfrm>
          <a:prstGeom prst="rect">
            <a:avLst/>
          </a:prstGeom>
        </p:spPr>
        <p:txBody>
          <a:bodyPr lIns="82058" tIns="41029" rIns="82058" bIns="41029"/>
          <a:lstStyle>
            <a:lvl1pPr marL="0" indent="0" algn="ctr">
              <a:buNone/>
              <a:defRPr sz="1400" b="1" baseline="0">
                <a:solidFill>
                  <a:srgbClr val="3F5F1F"/>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2" name="Text Placeholder 42"/>
          <p:cNvSpPr>
            <a:spLocks noGrp="1"/>
          </p:cNvSpPr>
          <p:nvPr>
            <p:ph type="body" sz="quarter" idx="24" hasCustomPrompt="1"/>
          </p:nvPr>
        </p:nvSpPr>
        <p:spPr>
          <a:xfrm>
            <a:off x="4953004" y="3208318"/>
            <a:ext cx="3602182" cy="268941"/>
          </a:xfrm>
          <a:prstGeom prst="rect">
            <a:avLst/>
          </a:prstGeom>
        </p:spPr>
        <p:txBody>
          <a:bodyPr lIns="82058" tIns="41029" rIns="82058" bIns="41029"/>
          <a:lstStyle>
            <a:lvl1pPr marL="0" indent="0" algn="ctr">
              <a:buNone/>
              <a:defRPr sz="1400" b="1" baseline="0">
                <a:solidFill>
                  <a:srgbClr val="3F5F1F"/>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3" name="Text Placeholder 42"/>
          <p:cNvSpPr>
            <a:spLocks noGrp="1"/>
          </p:cNvSpPr>
          <p:nvPr>
            <p:ph type="body" sz="quarter" idx="25" hasCustomPrompt="1"/>
          </p:nvPr>
        </p:nvSpPr>
        <p:spPr>
          <a:xfrm rot="16200000">
            <a:off x="-72049" y="1894916"/>
            <a:ext cx="2245379" cy="300182"/>
          </a:xfrm>
          <a:prstGeom prst="rect">
            <a:avLst/>
          </a:prstGeom>
        </p:spPr>
        <p:txBody>
          <a:bodyPr lIns="82058" tIns="41029" rIns="82058" bIns="41029"/>
          <a:lstStyle>
            <a:lvl1pPr marL="0" indent="0" algn="ctr">
              <a:buNone/>
              <a:defRPr sz="1400" b="1" baseline="0">
                <a:solidFill>
                  <a:schemeClr val="tx1"/>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4" name="Text Placeholder 42"/>
          <p:cNvSpPr>
            <a:spLocks noGrp="1"/>
          </p:cNvSpPr>
          <p:nvPr>
            <p:ph type="body" sz="quarter" idx="26" hasCustomPrompt="1"/>
          </p:nvPr>
        </p:nvSpPr>
        <p:spPr>
          <a:xfrm rot="16200000">
            <a:off x="-125978" y="4234844"/>
            <a:ext cx="2353235" cy="300183"/>
          </a:xfrm>
          <a:prstGeom prst="rect">
            <a:avLst/>
          </a:prstGeom>
        </p:spPr>
        <p:txBody>
          <a:bodyPr lIns="82058" tIns="41029" rIns="82058" bIns="41029"/>
          <a:lstStyle>
            <a:lvl1pPr marL="0" indent="0" algn="ctr">
              <a:buNone/>
              <a:defRPr sz="1400" b="1" baseline="0">
                <a:solidFill>
                  <a:schemeClr val="tx1"/>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5" name="Text Placeholder 42"/>
          <p:cNvSpPr>
            <a:spLocks noGrp="1"/>
          </p:cNvSpPr>
          <p:nvPr>
            <p:ph type="body" sz="quarter" idx="27" hasCustomPrompt="1"/>
          </p:nvPr>
        </p:nvSpPr>
        <p:spPr>
          <a:xfrm>
            <a:off x="1350821" y="5696027"/>
            <a:ext cx="3602182" cy="268941"/>
          </a:xfrm>
          <a:prstGeom prst="rect">
            <a:avLst/>
          </a:prstGeom>
        </p:spPr>
        <p:txBody>
          <a:bodyPr lIns="82058" tIns="41029" rIns="82058" bIns="41029"/>
          <a:lstStyle>
            <a:lvl1pPr marL="0" indent="0" algn="ctr">
              <a:buNone/>
              <a:defRPr sz="1400" b="1" baseline="0">
                <a:solidFill>
                  <a:schemeClr val="tx1"/>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6" name="Text Placeholder 42"/>
          <p:cNvSpPr>
            <a:spLocks noGrp="1"/>
          </p:cNvSpPr>
          <p:nvPr>
            <p:ph type="body" sz="quarter" idx="28" hasCustomPrompt="1"/>
          </p:nvPr>
        </p:nvSpPr>
        <p:spPr>
          <a:xfrm>
            <a:off x="5028046" y="5696027"/>
            <a:ext cx="3527136" cy="268941"/>
          </a:xfrm>
          <a:prstGeom prst="rect">
            <a:avLst/>
          </a:prstGeom>
        </p:spPr>
        <p:txBody>
          <a:bodyPr lIns="82058" tIns="41029" rIns="82058" bIns="41029"/>
          <a:lstStyle>
            <a:lvl1pPr marL="0" indent="0" algn="ctr">
              <a:buNone/>
              <a:defRPr sz="1400" b="1" baseline="0">
                <a:solidFill>
                  <a:schemeClr val="tx1"/>
                </a:solidFill>
                <a:latin typeface="Arial" panose="020B0604020202020204" pitchFamily="34" charset="0"/>
                <a:cs typeface="Arial" panose="020B0604020202020204" pitchFamily="34" charset="0"/>
              </a:defRPr>
            </a:lvl1pPr>
          </a:lstStyle>
          <a:p>
            <a:pPr lvl="0"/>
            <a:r>
              <a:rPr lang="en-US" dirty="0"/>
              <a:t>Click to edit box title</a:t>
            </a:r>
          </a:p>
        </p:txBody>
      </p:sp>
      <p:sp>
        <p:nvSpPr>
          <p:cNvPr id="17" name="Text Placeholder 51"/>
          <p:cNvSpPr>
            <a:spLocks noGrp="1"/>
          </p:cNvSpPr>
          <p:nvPr>
            <p:ph type="body" sz="quarter" idx="29" hasCustomPrompt="1"/>
          </p:nvPr>
        </p:nvSpPr>
        <p:spPr>
          <a:xfrm>
            <a:off x="1425867" y="1325727"/>
            <a:ext cx="3452090" cy="1748118"/>
          </a:xfrm>
          <a:prstGeom prst="rect">
            <a:avLst/>
          </a:prstGeom>
        </p:spPr>
        <p:txBody>
          <a:bodyPr lIns="82058" tIns="41029" rIns="82058" bIns="41029"/>
          <a:lstStyle>
            <a:lvl1pPr marL="159730" indent="-159730">
              <a:buFont typeface="Arial" pitchFamily="34" charset="0"/>
              <a:buChar char="•"/>
              <a:defRPr sz="1200" baseline="0">
                <a:latin typeface="Arial" panose="020B0604020202020204" pitchFamily="34" charset="0"/>
                <a:cs typeface="Arial" panose="020B0604020202020204" pitchFamily="34" charset="0"/>
              </a:defRPr>
            </a:lvl1pPr>
          </a:lstStyle>
          <a:p>
            <a:pPr lvl="0"/>
            <a:r>
              <a:rPr lang="en-US" dirty="0"/>
              <a:t>Click to edit text </a:t>
            </a:r>
          </a:p>
        </p:txBody>
      </p:sp>
      <p:sp>
        <p:nvSpPr>
          <p:cNvPr id="18" name="Text Placeholder 51"/>
          <p:cNvSpPr>
            <a:spLocks noGrp="1"/>
          </p:cNvSpPr>
          <p:nvPr>
            <p:ph type="body" sz="quarter" idx="30" hasCustomPrompt="1"/>
          </p:nvPr>
        </p:nvSpPr>
        <p:spPr>
          <a:xfrm>
            <a:off x="1425867" y="3544492"/>
            <a:ext cx="3452090" cy="1949824"/>
          </a:xfrm>
          <a:prstGeom prst="rect">
            <a:avLst/>
          </a:prstGeom>
        </p:spPr>
        <p:txBody>
          <a:bodyPr lIns="82058" tIns="41029" rIns="82058" bIns="41029"/>
          <a:lstStyle>
            <a:lvl1pPr marL="159730" indent="-159730">
              <a:buFont typeface="Arial" pitchFamily="34" charset="0"/>
              <a:buChar char="•"/>
              <a:defRPr sz="1200" baseline="0">
                <a:latin typeface="Arial" panose="020B0604020202020204" pitchFamily="34" charset="0"/>
                <a:cs typeface="Arial" panose="020B0604020202020204" pitchFamily="34" charset="0"/>
              </a:defRPr>
            </a:lvl1pPr>
          </a:lstStyle>
          <a:p>
            <a:pPr lvl="0"/>
            <a:r>
              <a:rPr lang="en-US" dirty="0"/>
              <a:t>Click to edit text </a:t>
            </a:r>
          </a:p>
        </p:txBody>
      </p:sp>
      <p:sp>
        <p:nvSpPr>
          <p:cNvPr id="19" name="Text Placeholder 51"/>
          <p:cNvSpPr>
            <a:spLocks noGrp="1"/>
          </p:cNvSpPr>
          <p:nvPr>
            <p:ph type="body" sz="quarter" idx="31" hasCustomPrompt="1"/>
          </p:nvPr>
        </p:nvSpPr>
        <p:spPr>
          <a:xfrm>
            <a:off x="5028049" y="3544492"/>
            <a:ext cx="3452090" cy="1949824"/>
          </a:xfrm>
          <a:prstGeom prst="rect">
            <a:avLst/>
          </a:prstGeom>
        </p:spPr>
        <p:txBody>
          <a:bodyPr lIns="82058" tIns="41029" rIns="82058" bIns="41029"/>
          <a:lstStyle>
            <a:lvl1pPr marL="159730" indent="-159730">
              <a:buFont typeface="Arial" pitchFamily="34" charset="0"/>
              <a:buChar char="•"/>
              <a:defRPr sz="1200" baseline="0">
                <a:latin typeface="Arial" panose="020B0604020202020204" pitchFamily="34" charset="0"/>
                <a:cs typeface="Arial" panose="020B0604020202020204" pitchFamily="34" charset="0"/>
              </a:defRPr>
            </a:lvl1pPr>
          </a:lstStyle>
          <a:p>
            <a:pPr lvl="0"/>
            <a:r>
              <a:rPr lang="en-US" dirty="0"/>
              <a:t>Click to edit text </a:t>
            </a:r>
          </a:p>
        </p:txBody>
      </p:sp>
      <p:sp>
        <p:nvSpPr>
          <p:cNvPr id="20" name="Text Placeholder 51"/>
          <p:cNvSpPr>
            <a:spLocks noGrp="1"/>
          </p:cNvSpPr>
          <p:nvPr>
            <p:ph type="body" sz="quarter" idx="32" hasCustomPrompt="1"/>
          </p:nvPr>
        </p:nvSpPr>
        <p:spPr>
          <a:xfrm>
            <a:off x="5028049" y="1325727"/>
            <a:ext cx="3452090" cy="1748118"/>
          </a:xfrm>
          <a:prstGeom prst="rect">
            <a:avLst/>
          </a:prstGeom>
        </p:spPr>
        <p:txBody>
          <a:bodyPr lIns="82058" tIns="41029" rIns="82058" bIns="41029"/>
          <a:lstStyle>
            <a:lvl1pPr marL="159730" indent="-159730">
              <a:buFont typeface="Arial" pitchFamily="34" charset="0"/>
              <a:buChar char="•"/>
              <a:defRPr sz="1200" baseline="0">
                <a:latin typeface="Arial" panose="020B0604020202020204" pitchFamily="34" charset="0"/>
                <a:cs typeface="Arial" panose="020B0604020202020204" pitchFamily="34" charset="0"/>
              </a:defRPr>
            </a:lvl1pPr>
          </a:lstStyle>
          <a:p>
            <a:pPr lvl="0"/>
            <a:r>
              <a:rPr lang="en-US" dirty="0"/>
              <a:t>Click to edit text </a:t>
            </a:r>
          </a:p>
        </p:txBody>
      </p:sp>
      <p:sp>
        <p:nvSpPr>
          <p:cNvPr id="21"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dirty="0"/>
              <a:t>Click to edit Master footer. This space is reserved for footnotes and sources only, and cannot be expanded beyond its current size. SOURCE::</a:t>
            </a:r>
            <a:r>
              <a:rPr lang="en-US" dirty="0" err="1"/>
              <a:t>xxxxxxxxxxxxxxxxxxxxxxxxxxxxxxxxxxxxxxxxxxxxx</a:t>
            </a:r>
            <a:endParaRPr lang="en-US" dirty="0"/>
          </a:p>
        </p:txBody>
      </p:sp>
      <p:sp>
        <p:nvSpPr>
          <p:cNvPr id="23"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44055217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818"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dirty="0">
              <a:solidFill>
                <a:srgbClr val="70AD47">
                  <a:lumMod val="50000"/>
                </a:srgbClr>
              </a:solidFill>
              <a:cs typeface="Arial" panose="020B0604020202020204" pitchFamily="34" charset="0"/>
              <a:sym typeface="Calibri" panose="020F0502020204030204" pitchFamily="34" charset="0"/>
            </a:endParaRPr>
          </a:p>
        </p:txBody>
      </p:sp>
      <p:sp>
        <p:nvSpPr>
          <p:cNvPr id="4" name="Text Placeholder 14"/>
          <p:cNvSpPr>
            <a:spLocks noGrp="1"/>
          </p:cNvSpPr>
          <p:nvPr>
            <p:ph type="body" sz="quarter" idx="35" hasCustomPrompt="1"/>
          </p:nvPr>
        </p:nvSpPr>
        <p:spPr>
          <a:xfrm>
            <a:off x="450326" y="1008557"/>
            <a:ext cx="4319158" cy="460302"/>
          </a:xfrm>
          <a:prstGeom prst="rect">
            <a:avLst/>
          </a:prstGeom>
          <a:solidFill>
            <a:srgbClr val="3F5F1F"/>
          </a:solidFill>
        </p:spPr>
        <p:txBody>
          <a:bodyPr lIns="0" tIns="0" rIns="0" bIns="0" anchor="ctr"/>
          <a:lstStyle>
            <a:lvl1pPr marL="0" indent="0" algn="ctr">
              <a:buNone/>
              <a:defRPr sz="1600" b="1" baseline="0">
                <a:solidFill>
                  <a:schemeClr val="bg1"/>
                </a:solidFill>
                <a:latin typeface="Arial" panose="020B0604020202020204" pitchFamily="34" charset="0"/>
                <a:cs typeface="Arial" panose="020B0604020202020204" pitchFamily="34" charset="0"/>
              </a:defRPr>
            </a:lvl1pPr>
          </a:lstStyle>
          <a:p>
            <a:pPr lvl="0"/>
            <a:r>
              <a:rPr lang="en-US" dirty="0"/>
              <a:t>Click to edit Header text</a:t>
            </a:r>
          </a:p>
        </p:txBody>
      </p:sp>
      <p:cxnSp>
        <p:nvCxnSpPr>
          <p:cNvPr id="5" name="Straight Connector 4"/>
          <p:cNvCxnSpPr/>
          <p:nvPr userDrawn="1"/>
        </p:nvCxnSpPr>
        <p:spPr>
          <a:xfrm>
            <a:off x="450322" y="1549540"/>
            <a:ext cx="430854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 Placeholder 9"/>
          <p:cNvSpPr>
            <a:spLocks noGrp="1"/>
          </p:cNvSpPr>
          <p:nvPr>
            <p:ph type="body" sz="quarter" idx="10"/>
          </p:nvPr>
        </p:nvSpPr>
        <p:spPr>
          <a:xfrm>
            <a:off x="450326" y="1644574"/>
            <a:ext cx="4319158" cy="4222236"/>
          </a:xfrm>
          <a:prstGeom prst="rect">
            <a:avLst/>
          </a:prstGeom>
        </p:spPr>
        <p:txBody>
          <a:bodyPr lIns="0" tIns="0" rIns="0" bIns="0"/>
          <a:lstStyle>
            <a:lvl1pPr marL="168274" indent="-168274">
              <a:buFont typeface="Arial" panose="020B0604020202020204" pitchFamily="34" charset="0"/>
              <a:buChar char="•"/>
              <a:defRPr sz="1400">
                <a:latin typeface="Arial" panose="020B0604020202020204" pitchFamily="34" charset="0"/>
                <a:cs typeface="Arial" panose="020B0604020202020204" pitchFamily="34" charset="0"/>
              </a:defRPr>
            </a:lvl1pPr>
            <a:lvl2pPr marL="320927" indent="-161195">
              <a:buFont typeface="Wingdings" panose="05000000000000000000" pitchFamily="2" charset="2"/>
              <a:buChar char="ü"/>
              <a:defRPr sz="1200">
                <a:latin typeface="Arial" panose="020B0604020202020204" pitchFamily="34" charset="0"/>
                <a:cs typeface="Arial" panose="020B0604020202020204" pitchFamily="34" charset="0"/>
              </a:defRPr>
            </a:lvl2pPr>
            <a:lvl3pPr marL="470398" indent="-149473">
              <a:buFont typeface="Courier New" panose="02070309020205020404" pitchFamily="49" charset="0"/>
              <a:buChar char="o"/>
              <a:defRPr sz="1200">
                <a:latin typeface="Arial" panose="020B0604020202020204" pitchFamily="34" charset="0"/>
                <a:cs typeface="Arial" panose="020B0604020202020204" pitchFamily="34" charset="0"/>
              </a:defRPr>
            </a:lvl3pPr>
            <a:lvl4pPr marL="630127" indent="-159730">
              <a:buFont typeface="Wingdings" panose="05000000000000000000" pitchFamily="2" charset="2"/>
              <a:buChar char="Ø"/>
              <a:defRPr sz="1200">
                <a:latin typeface="Arial" panose="020B0604020202020204" pitchFamily="34" charset="0"/>
                <a:cs typeface="Arial" panose="020B0604020202020204" pitchFamily="34"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14"/>
          <p:cNvSpPr>
            <a:spLocks noGrp="1"/>
          </p:cNvSpPr>
          <p:nvPr>
            <p:ph type="body" sz="quarter" idx="38" hasCustomPrompt="1"/>
          </p:nvPr>
        </p:nvSpPr>
        <p:spPr>
          <a:xfrm>
            <a:off x="5151120" y="1009149"/>
            <a:ext cx="4304296" cy="460302"/>
          </a:xfrm>
          <a:prstGeom prst="rect">
            <a:avLst/>
          </a:prstGeom>
          <a:solidFill>
            <a:srgbClr val="3F5F1F"/>
          </a:solidFill>
        </p:spPr>
        <p:txBody>
          <a:bodyPr lIns="0" tIns="0" rIns="0" bIns="0" anchor="ctr"/>
          <a:lstStyle>
            <a:lvl1pPr marL="0" indent="0" algn="ctr">
              <a:buNone/>
              <a:defRPr sz="1600" b="1" baseline="0">
                <a:solidFill>
                  <a:schemeClr val="bg1"/>
                </a:solidFill>
                <a:latin typeface="Arial" panose="020B0604020202020204" pitchFamily="34" charset="0"/>
                <a:cs typeface="Arial" panose="020B0604020202020204" pitchFamily="34" charset="0"/>
              </a:defRPr>
            </a:lvl1pPr>
          </a:lstStyle>
          <a:p>
            <a:pPr lvl="0"/>
            <a:r>
              <a:rPr lang="en-US" dirty="0"/>
              <a:t>Click to edit Header text</a:t>
            </a:r>
          </a:p>
        </p:txBody>
      </p:sp>
      <p:cxnSp>
        <p:nvCxnSpPr>
          <p:cNvPr id="10" name="Straight Connector 9"/>
          <p:cNvCxnSpPr/>
          <p:nvPr userDrawn="1"/>
        </p:nvCxnSpPr>
        <p:spPr>
          <a:xfrm>
            <a:off x="5151120" y="1550132"/>
            <a:ext cx="430429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9"/>
          <p:cNvSpPr>
            <a:spLocks noGrp="1"/>
          </p:cNvSpPr>
          <p:nvPr>
            <p:ph type="body" sz="quarter" idx="39"/>
          </p:nvPr>
        </p:nvSpPr>
        <p:spPr>
          <a:xfrm>
            <a:off x="5151120" y="1645165"/>
            <a:ext cx="4304296" cy="4222236"/>
          </a:xfrm>
          <a:prstGeom prst="rect">
            <a:avLst/>
          </a:prstGeom>
        </p:spPr>
        <p:txBody>
          <a:bodyPr lIns="0" tIns="0" rIns="0" bIns="0"/>
          <a:lstStyle>
            <a:lvl1pPr marL="168274" indent="-168274">
              <a:buFont typeface="Arial" panose="020B0604020202020204" pitchFamily="34" charset="0"/>
              <a:buChar char="•"/>
              <a:defRPr sz="1292">
                <a:latin typeface="Arial" panose="020B0604020202020204" pitchFamily="34" charset="0"/>
                <a:cs typeface="Arial" panose="020B0604020202020204" pitchFamily="34" charset="0"/>
              </a:defRPr>
            </a:lvl1pPr>
            <a:lvl2pPr marL="320927" indent="-161195">
              <a:buFont typeface="Wingdings" panose="05000000000000000000" pitchFamily="2" charset="2"/>
              <a:buChar char="ü"/>
              <a:defRPr sz="1108">
                <a:latin typeface="Arial" panose="020B0604020202020204" pitchFamily="34" charset="0"/>
                <a:cs typeface="Arial" panose="020B0604020202020204" pitchFamily="34" charset="0"/>
              </a:defRPr>
            </a:lvl2pPr>
            <a:lvl3pPr marL="470398" indent="-149473">
              <a:buFont typeface="Courier New" panose="02070309020205020404" pitchFamily="49" charset="0"/>
              <a:buChar char="o"/>
              <a:defRPr sz="1108">
                <a:latin typeface="Arial" panose="020B0604020202020204" pitchFamily="34" charset="0"/>
                <a:cs typeface="Arial" panose="020B0604020202020204" pitchFamily="34" charset="0"/>
              </a:defRPr>
            </a:lvl3pPr>
            <a:lvl4pPr marL="630127" indent="-159730">
              <a:buFont typeface="Wingdings" panose="05000000000000000000" pitchFamily="2" charset="2"/>
              <a:buChar char="Ø"/>
              <a:defRPr sz="1108">
                <a:latin typeface="Arial" panose="020B0604020202020204" pitchFamily="34" charset="0"/>
                <a:cs typeface="Arial" panose="020B0604020202020204" pitchFamily="34" charset="0"/>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dirty="0"/>
              <a:t>Click to edit Master footer. This space is reserved for footnotes and sources only, and cannot be expanded beyond its current size. SOURCE::</a:t>
            </a:r>
            <a:r>
              <a:rPr lang="en-US" dirty="0" err="1"/>
              <a:t>xxxxxxxxxxxxxxxxxxxxxxxxxxxxxxxxxxxxxxxxxxxxx</a:t>
            </a:r>
            <a:endParaRPr lang="en-US" dirty="0"/>
          </a:p>
        </p:txBody>
      </p:sp>
      <p:sp>
        <p:nvSpPr>
          <p:cNvPr id="13"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85790792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842"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dirty="0">
              <a:solidFill>
                <a:srgbClr val="70AD47">
                  <a:lumMod val="50000"/>
                </a:srgbClr>
              </a:solidFill>
              <a:cs typeface="Arial" panose="020B0604020202020204" pitchFamily="34" charset="0"/>
              <a:sym typeface="Calibri" panose="020F0502020204030204" pitchFamily="34" charset="0"/>
            </a:endParaRPr>
          </a:p>
        </p:txBody>
      </p:sp>
      <p:sp>
        <p:nvSpPr>
          <p:cNvPr id="9"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dirty="0"/>
              <a:t>Click to edit Master footer. This space is reserved for footnotes and sources only, and cannot be expanded beyond its current size. SOURCE::</a:t>
            </a:r>
            <a:r>
              <a:rPr lang="en-US" dirty="0" err="1"/>
              <a:t>xxxxxxxxxxxxxxxxxxxxxxxxxxxxxxxxxxxxxxxxxxxxx</a:t>
            </a:r>
            <a:endParaRPr lang="en-US" dirty="0"/>
          </a:p>
        </p:txBody>
      </p:sp>
      <p:sp>
        <p:nvSpPr>
          <p:cNvPr id="4" name="Content Placeholder 2"/>
          <p:cNvSpPr>
            <a:spLocks noGrp="1"/>
          </p:cNvSpPr>
          <p:nvPr>
            <p:ph idx="1" hasCustomPrompt="1"/>
          </p:nvPr>
        </p:nvSpPr>
        <p:spPr>
          <a:xfrm>
            <a:off x="450588" y="1277003"/>
            <a:ext cx="3602182" cy="201706"/>
          </a:xfrm>
          <a:prstGeom prst="rect">
            <a:avLst/>
          </a:prstGeom>
        </p:spPr>
        <p:txBody>
          <a:bodyPr lIns="0" tIns="0" rIns="0" bIns="0"/>
          <a:lstStyle>
            <a:lvl1pPr marL="0" indent="0">
              <a:buFont typeface="Arial" pitchFamily="34" charset="0"/>
              <a:buNone/>
              <a:defRPr sz="1200">
                <a:latin typeface="Arial" panose="020B0604020202020204" pitchFamily="34" charset="0"/>
                <a:cs typeface="Arial" panose="020B0604020202020204" pitchFamily="34" charset="0"/>
              </a:defRPr>
            </a:lvl1pPr>
            <a:lvl2pPr marL="708819" indent="-284052">
              <a:defRPr sz="1108"/>
            </a:lvl2pPr>
            <a:lvl3pPr>
              <a:buFont typeface="Courier New" pitchFamily="49" charset="0"/>
              <a:buChar char="o"/>
              <a:defRPr sz="1108"/>
            </a:lvl3pPr>
            <a:lvl4pPr>
              <a:defRPr sz="1108"/>
            </a:lvl4pPr>
          </a:lstStyle>
          <a:p>
            <a:pPr lvl="0"/>
            <a:r>
              <a:rPr lang="en-US" dirty="0"/>
              <a:t>Click to edit Master Graph units</a:t>
            </a:r>
          </a:p>
        </p:txBody>
      </p:sp>
      <p:sp>
        <p:nvSpPr>
          <p:cNvPr id="5" name="Text Placeholder 10"/>
          <p:cNvSpPr>
            <a:spLocks noGrp="1"/>
          </p:cNvSpPr>
          <p:nvPr>
            <p:ph type="body" sz="quarter" idx="21" hasCustomPrompt="1"/>
          </p:nvPr>
        </p:nvSpPr>
        <p:spPr>
          <a:xfrm>
            <a:off x="450588" y="1008063"/>
            <a:ext cx="3602182" cy="201706"/>
          </a:xfrm>
          <a:prstGeom prst="rect">
            <a:avLst/>
          </a:prstGeom>
        </p:spPr>
        <p:txBody>
          <a:bodyPr lIns="0" tIns="0" rIns="0" bIns="0"/>
          <a:lstStyle>
            <a:lvl1pPr marL="0" indent="0">
              <a:buNone/>
              <a:defRPr sz="1400" b="1" i="0" baseline="0">
                <a:solidFill>
                  <a:schemeClr val="tx1"/>
                </a:solidFill>
                <a:latin typeface="Arial" panose="020B0604020202020204" pitchFamily="34" charset="0"/>
                <a:cs typeface="Arial" panose="020B0604020202020204" pitchFamily="34" charset="0"/>
              </a:defRPr>
            </a:lvl1pPr>
          </a:lstStyle>
          <a:p>
            <a:pPr lvl="0"/>
            <a:r>
              <a:rPr lang="en-US" dirty="0"/>
              <a:t>Click to insert Master Graph title</a:t>
            </a:r>
          </a:p>
        </p:txBody>
      </p:sp>
      <p:sp>
        <p:nvSpPr>
          <p:cNvPr id="6" name="SmartArt Placeholder 12"/>
          <p:cNvSpPr>
            <a:spLocks noGrp="1"/>
          </p:cNvSpPr>
          <p:nvPr>
            <p:ph type="dgm" sz="quarter" idx="20" hasCustomPrompt="1"/>
          </p:nvPr>
        </p:nvSpPr>
        <p:spPr>
          <a:xfrm rot="5400000">
            <a:off x="4022002" y="3302283"/>
            <a:ext cx="3577155" cy="360462"/>
          </a:xfrm>
          <a:prstGeom prst="triangle">
            <a:avLst>
              <a:gd name="adj" fmla="val 50232"/>
            </a:avLst>
          </a:prstGeom>
          <a:solidFill>
            <a:srgbClr val="3F5F1F"/>
          </a:solidFill>
        </p:spPr>
        <p:txBody>
          <a:bodyPr lIns="82058" tIns="41029" rIns="82058" bIns="41029"/>
          <a:lstStyle>
            <a:lvl1pPr>
              <a:defRPr lang="en-US">
                <a:solidFill>
                  <a:schemeClr val="tx2"/>
                </a:solidFill>
                <a:latin typeface="Arial" panose="020B0604020202020204" pitchFamily="34" charset="0"/>
                <a:cs typeface="Arial" panose="020B0604020202020204" pitchFamily="34" charset="0"/>
              </a:defRPr>
            </a:lvl1pPr>
          </a:lstStyle>
          <a:p>
            <a:r>
              <a:rPr lang="en-US" dirty="0"/>
              <a:t>`</a:t>
            </a:r>
          </a:p>
        </p:txBody>
      </p:sp>
      <p:sp>
        <p:nvSpPr>
          <p:cNvPr id="7" name="Text Placeholder 5"/>
          <p:cNvSpPr>
            <a:spLocks noGrp="1"/>
          </p:cNvSpPr>
          <p:nvPr>
            <p:ph type="body" sz="quarter" idx="29"/>
          </p:nvPr>
        </p:nvSpPr>
        <p:spPr>
          <a:xfrm>
            <a:off x="6138356" y="1008064"/>
            <a:ext cx="3317841" cy="4676161"/>
          </a:xfrm>
          <a:prstGeom prst="rect">
            <a:avLst/>
          </a:prstGeom>
        </p:spPr>
        <p:txBody>
          <a:bodyPr lIns="0" tIns="0" rIns="0" bIns="0" numCol="1"/>
          <a:lstStyle>
            <a:lvl1pPr marL="168274" indent="-168274" algn="just">
              <a:buFont typeface="Arial" pitchFamily="34" charset="0"/>
              <a:buChar char="•"/>
              <a:tabLst>
                <a:tab pos="3595378" algn="l"/>
              </a:tabLst>
              <a:defRPr sz="1400" baseline="0">
                <a:latin typeface="Arial" panose="020B0604020202020204" pitchFamily="34" charset="0"/>
                <a:cs typeface="Arial" panose="020B0604020202020204" pitchFamily="34" charset="0"/>
              </a:defRPr>
            </a:lvl1pPr>
            <a:lvl2pPr algn="just">
              <a:tabLst>
                <a:tab pos="3595378" algn="l"/>
              </a:tabLst>
              <a:defRPr sz="1108"/>
            </a:lvl2pPr>
            <a:lvl3pPr algn="just">
              <a:buFont typeface="Courier New" pitchFamily="49" charset="0"/>
              <a:buChar char="o"/>
              <a:tabLst>
                <a:tab pos="3595378" algn="l"/>
              </a:tabLst>
              <a:defRPr sz="1108"/>
            </a:lvl3pPr>
            <a:lvl4pPr algn="just">
              <a:tabLst>
                <a:tab pos="3595378" algn="l"/>
              </a:tabLst>
              <a:defRPr sz="1108"/>
            </a:lvl4pPr>
          </a:lstStyle>
          <a:p>
            <a:pPr lvl="0"/>
            <a:r>
              <a:rPr lang="en-US" dirty="0"/>
              <a:t>Click to edit Master text</a:t>
            </a:r>
          </a:p>
        </p:txBody>
      </p:sp>
      <p:sp>
        <p:nvSpPr>
          <p:cNvPr id="10"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388828240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6795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721" y="1589"/>
                        <a:ext cx="1719" cy="1587"/>
                      </a:xfrm>
                      <a:prstGeom prst="rect">
                        <a:avLst/>
                      </a:prstGeom>
                    </p:spPr>
                  </p:pic>
                </p:oleObj>
              </mc:Fallback>
            </mc:AlternateContent>
          </a:graphicData>
        </a:graphic>
      </p:graphicFrame>
      <p:pic>
        <p:nvPicPr>
          <p:cNvPr id="12" name="Picture 11" descr="covertemps-5.jpg"/>
          <p:cNvPicPr>
            <a:picLocks noChangeAspect="1"/>
          </p:cNvPicPr>
          <p:nvPr userDrawn="1"/>
        </p:nvPicPr>
        <p:blipFill>
          <a:blip r:embed="rId6" cstate="print">
            <a:extLst>
              <a:ext uri="{28A0092B-C50C-407E-A947-70E740481C1C}">
                <a14:useLocalDpi xmlns:a14="http://schemas.microsoft.com/office/drawing/2010/main" val="0"/>
              </a:ext>
            </a:extLst>
          </a:blip>
          <a:srcRect b="13333"/>
          <a:stretch>
            <a:fillRect/>
          </a:stretch>
        </p:blipFill>
        <p:spPr bwMode="ltGray">
          <a:xfrm>
            <a:off x="0" y="0"/>
            <a:ext cx="9906000" cy="5943600"/>
          </a:xfrm>
          <a:prstGeom prst="rect">
            <a:avLst/>
          </a:prstGeom>
        </p:spPr>
      </p:pic>
      <p:sp>
        <p:nvSpPr>
          <p:cNvPr id="5" name="doc id"/>
          <p:cNvSpPr txBox="1">
            <a:spLocks noChangeArrowheads="1"/>
          </p:cNvSpPr>
          <p:nvPr/>
        </p:nvSpPr>
        <p:spPr bwMode="auto">
          <a:xfrm>
            <a:off x="9332171" y="37255"/>
            <a:ext cx="326398"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buClrTx/>
              <a:buFontTx/>
              <a:buNone/>
              <a:defRPr/>
            </a:pPr>
            <a:endParaRPr lang="en-US" sz="800" kern="1200" dirty="0" smtClean="0">
              <a:solidFill>
                <a:srgbClr val="000000"/>
              </a:solidFill>
              <a:latin typeface="Arial"/>
              <a:ea typeface="+mn-ea"/>
              <a:cs typeface="+mn-cs"/>
            </a:endParaRPr>
          </a:p>
        </p:txBody>
      </p:sp>
      <p:sp>
        <p:nvSpPr>
          <p:cNvPr id="13314" name="Rectangle 1026"/>
          <p:cNvSpPr>
            <a:spLocks noGrp="1" noChangeArrowheads="1"/>
          </p:cNvSpPr>
          <p:nvPr>
            <p:ph type="ctrTitle"/>
          </p:nvPr>
        </p:nvSpPr>
        <p:spPr bwMode="auto">
          <a:xfrm>
            <a:off x="664662" y="1282691"/>
            <a:ext cx="8531407" cy="507831"/>
          </a:xfrm>
          <a:prstGeom prst="rect">
            <a:avLst/>
          </a:prstGeom>
        </p:spPr>
        <p:txBody>
          <a:bodyPr anchor="t">
            <a:spAutoFit/>
          </a:bodyPr>
          <a:lstStyle>
            <a:lvl1pPr>
              <a:defRPr sz="3300" b="0"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664662" y="2793630"/>
            <a:ext cx="8531407" cy="219820"/>
          </a:xfrm>
        </p:spPr>
        <p:txBody>
          <a:bodyPr wrap="square">
            <a:spAutoFit/>
          </a:bodyPr>
          <a:lstStyle>
            <a:lvl1pPr>
              <a:defRPr sz="1400" baseline="0">
                <a:solidFill>
                  <a:schemeClr val="bg1"/>
                </a:solidFill>
                <a:latin typeface="+mn-lt"/>
                <a:ea typeface="+mn-ea"/>
              </a:defRPr>
            </a:lvl1pPr>
          </a:lstStyle>
          <a:p>
            <a:pPr lvl="0"/>
            <a:r>
              <a:rPr lang="en-US" noProof="0" smtClean="0"/>
              <a:t>Click to edit Master subtitle style</a:t>
            </a:r>
            <a:endParaRPr lang="en-US" noProof="0" dirty="0" smtClean="0"/>
          </a:p>
        </p:txBody>
      </p:sp>
      <p:sp>
        <p:nvSpPr>
          <p:cNvPr id="16" name="Document type" hidden="1"/>
          <p:cNvSpPr txBox="1">
            <a:spLocks noChangeArrowheads="1"/>
          </p:cNvSpPr>
          <p:nvPr userDrawn="1"/>
        </p:nvSpPr>
        <p:spPr bwMode="auto">
          <a:xfrm>
            <a:off x="664662" y="4016558"/>
            <a:ext cx="853140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fontAlgn="base" hangingPunct="1">
              <a:spcBef>
                <a:spcPct val="0"/>
              </a:spcBef>
              <a:spcAft>
                <a:spcPct val="0"/>
              </a:spcAft>
              <a:buClrTx/>
              <a:buFontTx/>
              <a:buNone/>
              <a:defRPr lang="x-none"/>
            </a:pPr>
            <a:r>
              <a:rPr sz="1400" kern="1200" dirty="0" smtClean="0">
                <a:solidFill>
                  <a:srgbClr val="FFFFFF"/>
                </a:solidFill>
                <a:latin typeface="Arial"/>
                <a:ea typeface="+mn-ea"/>
                <a:cs typeface="+mn-cs"/>
              </a:rPr>
              <a:t>Document type | Date</a:t>
            </a:r>
          </a:p>
        </p:txBody>
      </p:sp>
    </p:spTree>
    <p:extLst>
      <p:ext uri="{BB962C8B-B14F-4D97-AF65-F5344CB8AC3E}">
        <p14:creationId xmlns:p14="http://schemas.microsoft.com/office/powerpoint/2010/main" val="618901198"/>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68975" name="think-cell Slide" r:id="rId5" imgW="470" imgH="469" progId="TCLayout.ActiveDocument.1">
                  <p:embed/>
                </p:oleObj>
              </mc:Choice>
              <mc:Fallback>
                <p:oleObj name="think-cell Slide" r:id="rId5" imgW="470" imgH="469" progId="TCLayout.ActiveDocument.1">
                  <p:embed/>
                  <p:pic>
                    <p:nvPicPr>
                      <p:cNvPr id="0" name=""/>
                      <p:cNvPicPr/>
                      <p:nvPr/>
                    </p:nvPicPr>
                    <p:blipFill>
                      <a:blip r:embed="rId6"/>
                      <a:stretch>
                        <a:fillRect/>
                      </a:stretch>
                    </p:blipFill>
                    <p:spPr>
                      <a:xfrm>
                        <a:off x="1721" y="1589"/>
                        <a:ext cx="1719" cy="1587"/>
                      </a:xfrm>
                      <a:prstGeom prst="rect">
                        <a:avLst/>
                      </a:prstGeom>
                    </p:spPr>
                  </p:pic>
                </p:oleObj>
              </mc:Fallback>
            </mc:AlternateContent>
          </a:graphicData>
        </a:graphic>
      </p:graphicFrame>
      <p:sp>
        <p:nvSpPr>
          <p:cNvPr id="10" name="Do not remove" hidden="1"/>
          <p:cNvSpPr/>
          <p:nvPr userDrawn="1">
            <p:custDataLst>
              <p:tags r:id="rId3"/>
            </p:custDataLst>
          </p:nvPr>
        </p:nvSpPr>
        <p:spPr>
          <a:xfrm>
            <a:off x="0" y="0"/>
            <a:ext cx="13758" cy="12700"/>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US" sz="1600" kern="1200" dirty="0" smtClean="0">
              <a:solidFill>
                <a:srgbClr val="000000"/>
              </a:solidFill>
            </a:endParaRPr>
          </a:p>
        </p:txBody>
      </p:sp>
      <p:sp>
        <p:nvSpPr>
          <p:cNvPr id="2" name="McK 2. Slide Title"/>
          <p:cNvSpPr>
            <a:spLocks noGrp="1"/>
          </p:cNvSpPr>
          <p:nvPr>
            <p:ph type="title"/>
          </p:nvPr>
        </p:nvSpPr>
        <p:spPr>
          <a:xfrm>
            <a:off x="247650" y="404011"/>
            <a:ext cx="8007350" cy="276999"/>
          </a:xfrm>
        </p:spPr>
        <p:txBody>
          <a:bodyPr/>
          <a:lstStyle>
            <a:lvl1pPr>
              <a:defRPr sz="1800"/>
            </a:lvl1pPr>
          </a:lstStyle>
          <a:p>
            <a:r>
              <a:rPr lang="en-US" dirty="0" smtClean="0"/>
              <a:t>Click to edit Master title style</a:t>
            </a:r>
            <a:endParaRPr lang="en-US" dirty="0"/>
          </a:p>
        </p:txBody>
      </p:sp>
    </p:spTree>
    <p:extLst>
      <p:ext uri="{BB962C8B-B14F-4D97-AF65-F5344CB8AC3E}">
        <p14:creationId xmlns:p14="http://schemas.microsoft.com/office/powerpoint/2010/main" val="1950498422"/>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47650" y="404011"/>
            <a:ext cx="8007350" cy="276999"/>
          </a:xfrm>
        </p:spPr>
        <p:txBody>
          <a:bodyPr/>
          <a:lstStyle>
            <a:lvl1pPr>
              <a:defRPr sz="1800"/>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95300" y="6356511"/>
            <a:ext cx="2311400" cy="365125"/>
          </a:xfrm>
          <a:prstGeom prst="rect">
            <a:avLst/>
          </a:prstGeom>
        </p:spPr>
        <p:txBody>
          <a:bodyPr/>
          <a:lstStyle/>
          <a:p>
            <a:pPr fontAlgn="base">
              <a:spcBef>
                <a:spcPct val="0"/>
              </a:spcBef>
              <a:spcAft>
                <a:spcPct val="0"/>
              </a:spcAft>
              <a:buClrTx/>
              <a:buFontTx/>
              <a:buNone/>
            </a:pPr>
            <a:fld id="{2CBB78D2-3EDF-44DD-BD93-60A225E69B3E}" type="datetimeFigureOut">
              <a:rPr lang="en-US" sz="1600" kern="1200" smtClean="0">
                <a:solidFill>
                  <a:prstClr val="black">
                    <a:tint val="75000"/>
                  </a:prstClr>
                </a:solidFill>
                <a:latin typeface="Arial" charset="0"/>
                <a:ea typeface="+mn-ea"/>
                <a:cs typeface="+mn-cs"/>
              </a:rPr>
              <a:pPr fontAlgn="base">
                <a:spcBef>
                  <a:spcPct val="0"/>
                </a:spcBef>
                <a:spcAft>
                  <a:spcPct val="0"/>
                </a:spcAft>
                <a:buClrTx/>
                <a:buFontTx/>
                <a:buNone/>
              </a:pPr>
              <a:t>8/23/2019</a:t>
            </a:fld>
            <a:endParaRPr lang="en-US" sz="1600" kern="1200" dirty="0">
              <a:solidFill>
                <a:prstClr val="black">
                  <a:tint val="75000"/>
                </a:prstClr>
              </a:solidFill>
              <a:latin typeface="Arial" charset="0"/>
              <a:ea typeface="+mn-ea"/>
              <a:cs typeface="+mn-cs"/>
            </a:endParaRPr>
          </a:p>
        </p:txBody>
      </p:sp>
      <p:sp>
        <p:nvSpPr>
          <p:cNvPr id="5" name="Footer Placeholder 4"/>
          <p:cNvSpPr>
            <a:spLocks noGrp="1"/>
          </p:cNvSpPr>
          <p:nvPr>
            <p:ph type="ftr" sz="quarter" idx="11"/>
          </p:nvPr>
        </p:nvSpPr>
        <p:spPr>
          <a:xfrm>
            <a:off x="3384550" y="6356511"/>
            <a:ext cx="3136900" cy="365125"/>
          </a:xfrm>
          <a:prstGeom prst="rect">
            <a:avLst/>
          </a:prstGeom>
        </p:spPr>
        <p:txBody>
          <a:bodyPr/>
          <a:lstStyle/>
          <a:p>
            <a:pPr fontAlgn="base">
              <a:spcBef>
                <a:spcPct val="0"/>
              </a:spcBef>
              <a:spcAft>
                <a:spcPct val="0"/>
              </a:spcAft>
              <a:buClrTx/>
              <a:buFontTx/>
              <a:buNone/>
            </a:pPr>
            <a:endParaRPr lang="en-US" sz="1600" kern="1200" dirty="0">
              <a:solidFill>
                <a:prstClr val="black">
                  <a:tint val="75000"/>
                </a:prstClr>
              </a:solidFill>
              <a:latin typeface="Arial" charset="0"/>
              <a:ea typeface="+mn-ea"/>
              <a:cs typeface="+mn-cs"/>
            </a:endParaRPr>
          </a:p>
        </p:txBody>
      </p:sp>
      <p:sp>
        <p:nvSpPr>
          <p:cNvPr id="6" name="Slide Number Placeholder 5"/>
          <p:cNvSpPr>
            <a:spLocks noGrp="1"/>
          </p:cNvSpPr>
          <p:nvPr>
            <p:ph type="sldNum" sz="quarter" idx="12"/>
          </p:nvPr>
        </p:nvSpPr>
        <p:spPr>
          <a:xfrm>
            <a:off x="7099300" y="6356511"/>
            <a:ext cx="2311400" cy="365125"/>
          </a:xfrm>
          <a:prstGeom prst="rect">
            <a:avLst/>
          </a:prstGeom>
        </p:spPr>
        <p:txBody>
          <a:bodyPr/>
          <a:lstStyle/>
          <a:p>
            <a:pPr fontAlgn="base">
              <a:spcBef>
                <a:spcPct val="0"/>
              </a:spcBef>
              <a:spcAft>
                <a:spcPct val="0"/>
              </a:spcAft>
              <a:buClrTx/>
              <a:buFontTx/>
              <a:buNone/>
            </a:pPr>
            <a:fld id="{4FAD6F48-C937-4B90-AF1D-01ADEA9D6D76}" type="slidenum">
              <a:rPr lang="en-US" sz="1600" kern="1200" smtClean="0">
                <a:solidFill>
                  <a:prstClr val="black">
                    <a:tint val="75000"/>
                  </a:prstClr>
                </a:solidFill>
                <a:latin typeface="Arial" charset="0"/>
                <a:ea typeface="+mn-ea"/>
                <a:cs typeface="+mn-cs"/>
              </a:rPr>
              <a:pPr fontAlgn="base">
                <a:spcBef>
                  <a:spcPct val="0"/>
                </a:spcBef>
                <a:spcAft>
                  <a:spcPct val="0"/>
                </a:spcAft>
                <a:buClrTx/>
                <a:buFontTx/>
                <a:buNone/>
              </a:pPr>
              <a:t>‹#›</a:t>
            </a:fld>
            <a:endParaRPr lang="en-US" sz="1600" kern="1200" dirty="0">
              <a:solidFill>
                <a:prstClr val="black">
                  <a:tint val="75000"/>
                </a:prstClr>
              </a:solidFill>
              <a:latin typeface="Arial" charset="0"/>
              <a:ea typeface="+mn-ea"/>
              <a:cs typeface="+mn-cs"/>
            </a:endParaRPr>
          </a:p>
        </p:txBody>
      </p:sp>
    </p:spTree>
    <p:extLst>
      <p:ext uri="{BB962C8B-B14F-4D97-AF65-F5344CB8AC3E}">
        <p14:creationId xmlns:p14="http://schemas.microsoft.com/office/powerpoint/2010/main" val="1520590997"/>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1_Standard/Deliverable Cover Page">
  <p:cSld name="1_Standard/Deliverable Cover Page">
    <p:bg>
      <p:bgPr>
        <a:gradFill>
          <a:gsLst>
            <a:gs pos="0">
              <a:schemeClr val="lt1"/>
            </a:gs>
            <a:gs pos="75000">
              <a:srgbClr val="FAFAFA"/>
            </a:gs>
            <a:gs pos="100000">
              <a:srgbClr val="E1EFD8"/>
            </a:gs>
          </a:gsLst>
          <a:lin ang="5400000" scaled="0"/>
        </a:gradFill>
        <a:effectLst/>
      </p:bgPr>
    </p:bg>
    <p:spTree>
      <p:nvGrpSpPr>
        <p:cNvPr id="1" name="Shape 49"/>
        <p:cNvGrpSpPr/>
        <p:nvPr/>
      </p:nvGrpSpPr>
      <p:grpSpPr>
        <a:xfrm>
          <a:off x="0" y="0"/>
          <a:ext cx="0" cy="0"/>
          <a:chOff x="0" y="0"/>
          <a:chExt cx="0" cy="0"/>
        </a:xfrm>
      </p:grpSpPr>
      <p:pic>
        <p:nvPicPr>
          <p:cNvPr id="50" name="Google Shape;50;p8"/>
          <p:cNvPicPr preferRelativeResize="0"/>
          <p:nvPr/>
        </p:nvPicPr>
        <p:blipFill rotWithShape="1">
          <a:blip r:embed="rId2">
            <a:alphaModFix/>
          </a:blip>
          <a:srcRect/>
          <a:stretch/>
        </p:blipFill>
        <p:spPr>
          <a:xfrm>
            <a:off x="0" y="0"/>
            <a:ext cx="171979" cy="158750"/>
          </a:xfrm>
          <a:prstGeom prst="rect">
            <a:avLst/>
          </a:prstGeom>
          <a:noFill/>
          <a:ln>
            <a:noFill/>
          </a:ln>
        </p:spPr>
      </p:pic>
      <p:sp>
        <p:nvSpPr>
          <p:cNvPr id="51" name="Google Shape;51;p8"/>
          <p:cNvSpPr txBox="1">
            <a:spLocks noGrp="1"/>
          </p:cNvSpPr>
          <p:nvPr>
            <p:ph type="ctrTitle"/>
          </p:nvPr>
        </p:nvSpPr>
        <p:spPr>
          <a:xfrm>
            <a:off x="1058260" y="3726066"/>
            <a:ext cx="8397935" cy="1156710"/>
          </a:xfrm>
          <a:prstGeom prst="rect">
            <a:avLst/>
          </a:prstGeom>
          <a:noFill/>
          <a:ln>
            <a:noFill/>
          </a:ln>
        </p:spPr>
        <p:txBody>
          <a:bodyPr spcFirstLastPara="1" wrap="square" lIns="0" tIns="0" rIns="0" bIns="0" anchor="t" anchorCtr="0"/>
          <a:lstStyle>
            <a:lvl1pPr marR="0" lvl="0" algn="l" rtl="0">
              <a:lnSpc>
                <a:spcPct val="90000"/>
              </a:lnSpc>
              <a:spcBef>
                <a:spcPts val="0"/>
              </a:spcBef>
              <a:spcAft>
                <a:spcPts val="0"/>
              </a:spcAft>
              <a:buClr>
                <a:srgbClr val="385623"/>
              </a:buClr>
              <a:buSzPts val="2800"/>
              <a:buFont typeface="Arial"/>
              <a:buNone/>
              <a:defRPr sz="2800" b="1" i="0" u="none" strike="noStrike" cap="none">
                <a:solidFill>
                  <a:srgbClr val="385623"/>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52" name="Google Shape;52;p8"/>
          <p:cNvSpPr txBox="1">
            <a:spLocks noGrp="1"/>
          </p:cNvSpPr>
          <p:nvPr>
            <p:ph type="subTitle" idx="1"/>
          </p:nvPr>
        </p:nvSpPr>
        <p:spPr>
          <a:xfrm>
            <a:off x="1058260" y="4882778"/>
            <a:ext cx="8397935" cy="826221"/>
          </a:xfrm>
          <a:prstGeom prst="rect">
            <a:avLst/>
          </a:prstGeom>
          <a:noFill/>
          <a:ln>
            <a:noFill/>
          </a:ln>
        </p:spPr>
        <p:txBody>
          <a:bodyPr spcFirstLastPara="1" wrap="square" lIns="0" tIns="0" rIns="0" bIns="0" anchor="t" anchorCtr="0"/>
          <a:lstStyle>
            <a:lvl1pPr marR="0" lvl="0" algn="l" rtl="0">
              <a:lnSpc>
                <a:spcPct val="90000"/>
              </a:lnSpc>
              <a:spcBef>
                <a:spcPts val="1000"/>
              </a:spcBef>
              <a:spcAft>
                <a:spcPts val="0"/>
              </a:spcAft>
              <a:buClr>
                <a:srgbClr val="548135"/>
              </a:buClr>
              <a:buSzPts val="2200"/>
              <a:buFont typeface="Arial"/>
              <a:buNone/>
              <a:defRPr sz="2200" b="0" i="1" u="none" strike="noStrike" cap="none">
                <a:solidFill>
                  <a:srgbClr val="548135"/>
                </a:solidFill>
                <a:latin typeface="Arial"/>
                <a:ea typeface="Arial"/>
                <a:cs typeface="Arial"/>
                <a:sym typeface="Arial"/>
              </a:defRPr>
            </a:lvl1pPr>
            <a:lvl2pPr marR="0" lvl="1" algn="ctr" rtl="0">
              <a:lnSpc>
                <a:spcPct val="90000"/>
              </a:lnSpc>
              <a:spcBef>
                <a:spcPts val="500"/>
              </a:spcBef>
              <a:spcAft>
                <a:spcPts val="0"/>
              </a:spcAft>
              <a:buClr>
                <a:srgbClr val="888888"/>
              </a:buClr>
              <a:buSzPts val="2400"/>
              <a:buFont typeface="Arial"/>
              <a:buNone/>
              <a:defRPr sz="2400" b="0" i="0" u="none" strike="noStrike" cap="none">
                <a:solidFill>
                  <a:srgbClr val="888888"/>
                </a:solidFill>
                <a:latin typeface="Calibri"/>
                <a:ea typeface="Calibri"/>
                <a:cs typeface="Calibri"/>
                <a:sym typeface="Calibri"/>
              </a:defRPr>
            </a:lvl2pPr>
            <a:lvl3pPr marR="0" lvl="2" algn="ctr" rtl="0">
              <a:lnSpc>
                <a:spcPct val="90000"/>
              </a:lnSpc>
              <a:spcBef>
                <a:spcPts val="500"/>
              </a:spcBef>
              <a:spcAft>
                <a:spcPts val="0"/>
              </a:spcAft>
              <a:buClr>
                <a:srgbClr val="888888"/>
              </a:buClr>
              <a:buSzPts val="2000"/>
              <a:buFont typeface="Arial"/>
              <a:buNone/>
              <a:defRPr sz="2000" b="0" i="0" u="none" strike="noStrike" cap="none">
                <a:solidFill>
                  <a:srgbClr val="888888"/>
                </a:solidFill>
                <a:latin typeface="Calibri"/>
                <a:ea typeface="Calibri"/>
                <a:cs typeface="Calibri"/>
                <a:sym typeface="Calibri"/>
              </a:defRPr>
            </a:lvl3pPr>
            <a:lvl4pPr marR="0" lvl="3"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4pPr>
            <a:lvl5pPr marR="0" lvl="4"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5pPr>
            <a:lvl6pPr marR="0" lvl="5"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6pPr>
            <a:lvl7pPr marR="0" lvl="6"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7pPr>
            <a:lvl8pPr marR="0" lvl="7"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8pPr>
            <a:lvl9pPr marR="0" lvl="8"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9pPr>
          </a:lstStyle>
          <a:p>
            <a:endParaRPr/>
          </a:p>
        </p:txBody>
      </p:sp>
      <p:sp>
        <p:nvSpPr>
          <p:cNvPr id="53" name="Google Shape;53;p8"/>
          <p:cNvSpPr txBox="1">
            <a:spLocks noGrp="1"/>
          </p:cNvSpPr>
          <p:nvPr>
            <p:ph type="body" idx="2"/>
          </p:nvPr>
        </p:nvSpPr>
        <p:spPr>
          <a:xfrm>
            <a:off x="1058365" y="5700181"/>
            <a:ext cx="8397831" cy="311885"/>
          </a:xfrm>
          <a:prstGeom prst="rect">
            <a:avLst/>
          </a:prstGeom>
          <a:noFill/>
          <a:ln>
            <a:noFill/>
          </a:ln>
        </p:spPr>
        <p:txBody>
          <a:bodyPr spcFirstLastPara="1" wrap="square" lIns="0" tIns="0" rIns="0" bIns="0" anchor="t" anchorCtr="0"/>
          <a:lstStyle>
            <a:lvl1pPr marL="457200" marR="0" lvl="0" indent="-228600" algn="l" rtl="0">
              <a:lnSpc>
                <a:spcPct val="90000"/>
              </a:lnSpc>
              <a:spcBef>
                <a:spcPts val="1000"/>
              </a:spcBef>
              <a:spcAft>
                <a:spcPts val="0"/>
              </a:spcAft>
              <a:buClr>
                <a:srgbClr val="548135"/>
              </a:buClr>
              <a:buSzPts val="1800"/>
              <a:buFont typeface="Arial"/>
              <a:buNone/>
              <a:defRPr sz="1800" b="0" i="0" u="none" strike="noStrike" cap="none">
                <a:solidFill>
                  <a:srgbClr val="548135"/>
                </a:solidFill>
                <a:latin typeface="Arial"/>
                <a:ea typeface="Arial"/>
                <a:cs typeface="Arial"/>
                <a:sym typeface="Arial"/>
              </a:defRPr>
            </a:lvl1pPr>
            <a:lvl2pPr marL="914400" marR="0" lvl="1"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2pPr>
            <a:lvl3pPr marL="1371600" marR="0" lvl="2"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54" name="Google Shape;54;p8"/>
          <p:cNvSpPr/>
          <p:nvPr/>
        </p:nvSpPr>
        <p:spPr>
          <a:xfrm>
            <a:off x="457200" y="3726066"/>
            <a:ext cx="457200" cy="365736"/>
          </a:xfrm>
          <a:prstGeom prst="rect">
            <a:avLst/>
          </a:prstGeom>
          <a:solidFill>
            <a:srgbClr val="38562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dirty="0">
              <a:solidFill>
                <a:srgbClr val="FFFFFF"/>
              </a:solidFill>
              <a:latin typeface="Calibri"/>
              <a:ea typeface="Calibri"/>
              <a:cs typeface="Calibri"/>
              <a:sym typeface="Calibri"/>
            </a:endParaRPr>
          </a:p>
        </p:txBody>
      </p:sp>
      <p:sp>
        <p:nvSpPr>
          <p:cNvPr id="55" name="Google Shape;55;p8"/>
          <p:cNvSpPr>
            <a:spLocks noGrp="1"/>
          </p:cNvSpPr>
          <p:nvPr>
            <p:ph type="pic" idx="3"/>
          </p:nvPr>
        </p:nvSpPr>
        <p:spPr>
          <a:xfrm>
            <a:off x="3308000" y="0"/>
            <a:ext cx="3291840" cy="3118104"/>
          </a:xfrm>
          <a:prstGeom prst="rect">
            <a:avLst/>
          </a:prstGeom>
          <a:noFill/>
          <a:ln>
            <a:noFill/>
          </a:ln>
        </p:spPr>
        <p:txBody>
          <a:bodyPr spcFirstLastPara="1" wrap="square" lIns="91425" tIns="822950" rIns="91425" bIns="45700" anchor="t" anchorCtr="0"/>
          <a:lstStyle>
            <a:lvl1pPr marR="0" lvl="0" algn="ctr" rtl="0">
              <a:lnSpc>
                <a:spcPct val="90000"/>
              </a:lnSpc>
              <a:spcBef>
                <a:spcPts val="1000"/>
              </a:spcBef>
              <a:spcAft>
                <a:spcPts val="0"/>
              </a:spcAft>
              <a:buClr>
                <a:schemeClr val="dk1"/>
              </a:buClr>
              <a:buSzPts val="2800"/>
              <a:buFont typeface="Arial"/>
              <a:buNone/>
              <a:defRPr sz="2800" b="0" i="0" u="none" strike="noStrike" cap="none">
                <a:solidFill>
                  <a:schemeClr val="dk1"/>
                </a:solidFill>
                <a:latin typeface="Calibri"/>
                <a:ea typeface="Calibri"/>
                <a:cs typeface="Calibri"/>
                <a:sym typeface="Calibri"/>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56" name="Google Shape;56;p8"/>
          <p:cNvSpPr>
            <a:spLocks noGrp="1"/>
          </p:cNvSpPr>
          <p:nvPr>
            <p:ph type="pic" idx="4"/>
          </p:nvPr>
        </p:nvSpPr>
        <p:spPr>
          <a:xfrm>
            <a:off x="0" y="0"/>
            <a:ext cx="3291840" cy="3119846"/>
          </a:xfrm>
          <a:prstGeom prst="rect">
            <a:avLst/>
          </a:prstGeom>
          <a:noFill/>
          <a:ln>
            <a:noFill/>
          </a:ln>
        </p:spPr>
        <p:txBody>
          <a:bodyPr spcFirstLastPara="1" wrap="square" lIns="91425" tIns="822950" rIns="91425" bIns="45700" anchor="t" anchorCtr="0"/>
          <a:lstStyle>
            <a:lvl1pPr marR="0" lvl="0" algn="ctr" rtl="0">
              <a:lnSpc>
                <a:spcPct val="90000"/>
              </a:lnSpc>
              <a:spcBef>
                <a:spcPts val="1000"/>
              </a:spcBef>
              <a:spcAft>
                <a:spcPts val="0"/>
              </a:spcAft>
              <a:buClr>
                <a:schemeClr val="dk1"/>
              </a:buClr>
              <a:buSzPts val="2800"/>
              <a:buFont typeface="Arial"/>
              <a:buNone/>
              <a:defRPr sz="2800" b="0" i="0" u="none" strike="noStrike" cap="none">
                <a:solidFill>
                  <a:schemeClr val="dk1"/>
                </a:solidFill>
                <a:latin typeface="Calibri"/>
                <a:ea typeface="Calibri"/>
                <a:cs typeface="Calibri"/>
                <a:sym typeface="Calibri"/>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57" name="Google Shape;57;p8"/>
          <p:cNvSpPr>
            <a:spLocks noGrp="1"/>
          </p:cNvSpPr>
          <p:nvPr>
            <p:ph type="pic" idx="5"/>
          </p:nvPr>
        </p:nvSpPr>
        <p:spPr>
          <a:xfrm>
            <a:off x="6616000" y="0"/>
            <a:ext cx="3291840" cy="3118104"/>
          </a:xfrm>
          <a:prstGeom prst="rect">
            <a:avLst/>
          </a:prstGeom>
          <a:noFill/>
          <a:ln>
            <a:noFill/>
          </a:ln>
        </p:spPr>
        <p:txBody>
          <a:bodyPr spcFirstLastPara="1" wrap="square" lIns="91425" tIns="822950" rIns="91425" bIns="45700" anchor="t" anchorCtr="0"/>
          <a:lstStyle>
            <a:lvl1pPr marR="0" lvl="0" algn="ctr" rtl="0">
              <a:lnSpc>
                <a:spcPct val="90000"/>
              </a:lnSpc>
              <a:spcBef>
                <a:spcPts val="1000"/>
              </a:spcBef>
              <a:spcAft>
                <a:spcPts val="0"/>
              </a:spcAft>
              <a:buClr>
                <a:schemeClr val="dk1"/>
              </a:buClr>
              <a:buSzPts val="2800"/>
              <a:buFont typeface="Arial"/>
              <a:buNone/>
              <a:defRPr sz="2800" b="0" i="0" u="none" strike="noStrike" cap="none">
                <a:solidFill>
                  <a:schemeClr val="dk1"/>
                </a:solidFill>
                <a:latin typeface="Calibri"/>
                <a:ea typeface="Calibri"/>
                <a:cs typeface="Calibri"/>
                <a:sym typeface="Calibri"/>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pic>
        <p:nvPicPr>
          <p:cNvPr id="58" name="Google Shape;58;p8"/>
          <p:cNvPicPr preferRelativeResize="0"/>
          <p:nvPr/>
        </p:nvPicPr>
        <p:blipFill rotWithShape="1">
          <a:blip r:embed="rId3">
            <a:alphaModFix/>
          </a:blip>
          <a:srcRect/>
          <a:stretch/>
        </p:blipFill>
        <p:spPr>
          <a:xfrm>
            <a:off x="8305800" y="6172200"/>
            <a:ext cx="1391895" cy="466473"/>
          </a:xfrm>
          <a:prstGeom prst="rect">
            <a:avLst/>
          </a:prstGeom>
          <a:noFill/>
          <a:ln>
            <a:noFill/>
          </a:ln>
        </p:spPr>
      </p:pic>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7204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721" y="1589"/>
                        <a:ext cx="1719" cy="1587"/>
                      </a:xfrm>
                      <a:prstGeom prst="rect">
                        <a:avLst/>
                      </a:prstGeom>
                    </p:spPr>
                  </p:pic>
                </p:oleObj>
              </mc:Fallback>
            </mc:AlternateContent>
          </a:graphicData>
        </a:graphic>
      </p:graphicFrame>
      <p:pic>
        <p:nvPicPr>
          <p:cNvPr id="12" name="Picture 11" descr="covertemps-5.jpg"/>
          <p:cNvPicPr>
            <a:picLocks noChangeAspect="1"/>
          </p:cNvPicPr>
          <p:nvPr userDrawn="1"/>
        </p:nvPicPr>
        <p:blipFill>
          <a:blip r:embed="rId6" cstate="print">
            <a:extLst>
              <a:ext uri="{28A0092B-C50C-407E-A947-70E740481C1C}">
                <a14:useLocalDpi xmlns:a14="http://schemas.microsoft.com/office/drawing/2010/main" val="0"/>
              </a:ext>
            </a:extLst>
          </a:blip>
          <a:srcRect b="13333"/>
          <a:stretch>
            <a:fillRect/>
          </a:stretch>
        </p:blipFill>
        <p:spPr bwMode="ltGray">
          <a:xfrm>
            <a:off x="0" y="0"/>
            <a:ext cx="9906000" cy="5943600"/>
          </a:xfrm>
          <a:prstGeom prst="rect">
            <a:avLst/>
          </a:prstGeom>
        </p:spPr>
      </p:pic>
      <p:sp>
        <p:nvSpPr>
          <p:cNvPr id="5" name="doc id"/>
          <p:cNvSpPr txBox="1">
            <a:spLocks noChangeArrowheads="1"/>
          </p:cNvSpPr>
          <p:nvPr/>
        </p:nvSpPr>
        <p:spPr bwMode="auto">
          <a:xfrm>
            <a:off x="9332171" y="37255"/>
            <a:ext cx="326398"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buClrTx/>
              <a:buFontTx/>
              <a:buNone/>
              <a:defRPr/>
            </a:pPr>
            <a:endParaRPr lang="en-US" sz="800" kern="1200" dirty="0" smtClean="0">
              <a:solidFill>
                <a:srgbClr val="000000"/>
              </a:solidFill>
              <a:latin typeface="Arial"/>
              <a:ea typeface="+mn-ea"/>
              <a:cs typeface="+mn-cs"/>
            </a:endParaRPr>
          </a:p>
        </p:txBody>
      </p:sp>
      <p:sp>
        <p:nvSpPr>
          <p:cNvPr id="13314" name="Rectangle 1026"/>
          <p:cNvSpPr>
            <a:spLocks noGrp="1" noChangeArrowheads="1"/>
          </p:cNvSpPr>
          <p:nvPr>
            <p:ph type="ctrTitle"/>
          </p:nvPr>
        </p:nvSpPr>
        <p:spPr bwMode="auto">
          <a:xfrm>
            <a:off x="664662" y="1282691"/>
            <a:ext cx="8531407" cy="507831"/>
          </a:xfrm>
          <a:prstGeom prst="rect">
            <a:avLst/>
          </a:prstGeom>
        </p:spPr>
        <p:txBody>
          <a:bodyPr anchor="t">
            <a:spAutoFit/>
          </a:bodyPr>
          <a:lstStyle>
            <a:lvl1pPr>
              <a:defRPr sz="3300" b="0"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664662" y="2793630"/>
            <a:ext cx="8531407" cy="219820"/>
          </a:xfrm>
        </p:spPr>
        <p:txBody>
          <a:bodyPr wrap="square">
            <a:spAutoFit/>
          </a:bodyPr>
          <a:lstStyle>
            <a:lvl1pPr>
              <a:defRPr sz="1400" baseline="0">
                <a:solidFill>
                  <a:schemeClr val="bg1"/>
                </a:solidFill>
                <a:latin typeface="+mn-lt"/>
                <a:ea typeface="+mn-ea"/>
              </a:defRPr>
            </a:lvl1pPr>
          </a:lstStyle>
          <a:p>
            <a:pPr lvl="0"/>
            <a:r>
              <a:rPr lang="en-US" noProof="0" smtClean="0"/>
              <a:t>Click to edit Master subtitle style</a:t>
            </a:r>
            <a:endParaRPr lang="en-US" noProof="0" dirty="0" smtClean="0"/>
          </a:p>
        </p:txBody>
      </p:sp>
      <p:sp>
        <p:nvSpPr>
          <p:cNvPr id="16" name="Document type" hidden="1"/>
          <p:cNvSpPr txBox="1">
            <a:spLocks noChangeArrowheads="1"/>
          </p:cNvSpPr>
          <p:nvPr userDrawn="1"/>
        </p:nvSpPr>
        <p:spPr bwMode="auto">
          <a:xfrm>
            <a:off x="664662" y="4016558"/>
            <a:ext cx="853140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fontAlgn="base" hangingPunct="1">
              <a:spcBef>
                <a:spcPct val="0"/>
              </a:spcBef>
              <a:spcAft>
                <a:spcPct val="0"/>
              </a:spcAft>
              <a:buClrTx/>
              <a:buFontTx/>
              <a:buNone/>
              <a:defRPr lang="x-none"/>
            </a:pPr>
            <a:r>
              <a:rPr sz="1400" kern="1200" dirty="0" smtClean="0">
                <a:solidFill>
                  <a:srgbClr val="FFFFFF"/>
                </a:solidFill>
                <a:latin typeface="Arial"/>
                <a:ea typeface="+mn-ea"/>
                <a:cs typeface="+mn-cs"/>
              </a:rPr>
              <a:t>Document type | Date</a:t>
            </a:r>
          </a:p>
        </p:txBody>
      </p:sp>
    </p:spTree>
    <p:extLst>
      <p:ext uri="{BB962C8B-B14F-4D97-AF65-F5344CB8AC3E}">
        <p14:creationId xmlns:p14="http://schemas.microsoft.com/office/powerpoint/2010/main" val="4263523598"/>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65816043"/>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10983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721" y="1589"/>
                        <a:ext cx="1719" cy="1587"/>
                      </a:xfrm>
                      <a:prstGeom prst="rect">
                        <a:avLst/>
                      </a:prstGeom>
                    </p:spPr>
                  </p:pic>
                </p:oleObj>
              </mc:Fallback>
            </mc:AlternateContent>
          </a:graphicData>
        </a:graphic>
      </p:graphicFrame>
      <p:pic>
        <p:nvPicPr>
          <p:cNvPr id="12" name="Picture 11" descr="covertemps-5.jpg"/>
          <p:cNvPicPr>
            <a:picLocks noChangeAspect="1"/>
          </p:cNvPicPr>
          <p:nvPr userDrawn="1"/>
        </p:nvPicPr>
        <p:blipFill>
          <a:blip r:embed="rId6" cstate="print">
            <a:extLst>
              <a:ext uri="{28A0092B-C50C-407E-A947-70E740481C1C}">
                <a14:useLocalDpi xmlns:a14="http://schemas.microsoft.com/office/drawing/2010/main" val="0"/>
              </a:ext>
            </a:extLst>
          </a:blip>
          <a:srcRect b="13333"/>
          <a:stretch>
            <a:fillRect/>
          </a:stretch>
        </p:blipFill>
        <p:spPr bwMode="ltGray">
          <a:xfrm>
            <a:off x="0" y="0"/>
            <a:ext cx="9906000" cy="5943600"/>
          </a:xfrm>
          <a:prstGeom prst="rect">
            <a:avLst/>
          </a:prstGeom>
        </p:spPr>
      </p:pic>
      <p:sp>
        <p:nvSpPr>
          <p:cNvPr id="5" name="doc id"/>
          <p:cNvSpPr txBox="1">
            <a:spLocks noChangeArrowheads="1"/>
          </p:cNvSpPr>
          <p:nvPr/>
        </p:nvSpPr>
        <p:spPr bwMode="auto">
          <a:xfrm>
            <a:off x="9332171" y="37255"/>
            <a:ext cx="326398"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buClrTx/>
              <a:buFontTx/>
              <a:buNone/>
              <a:defRPr/>
            </a:pPr>
            <a:endParaRPr lang="en-US" sz="800" kern="1200" dirty="0" smtClean="0">
              <a:solidFill>
                <a:srgbClr val="000000"/>
              </a:solidFill>
              <a:latin typeface="Arial"/>
              <a:ea typeface="+mn-ea"/>
              <a:cs typeface="+mn-cs"/>
            </a:endParaRPr>
          </a:p>
        </p:txBody>
      </p:sp>
      <p:sp>
        <p:nvSpPr>
          <p:cNvPr id="13314" name="Rectangle 1026"/>
          <p:cNvSpPr>
            <a:spLocks noGrp="1" noChangeArrowheads="1"/>
          </p:cNvSpPr>
          <p:nvPr>
            <p:ph type="ctrTitle"/>
          </p:nvPr>
        </p:nvSpPr>
        <p:spPr bwMode="auto">
          <a:xfrm>
            <a:off x="664662" y="1282691"/>
            <a:ext cx="8531407" cy="507831"/>
          </a:xfrm>
          <a:prstGeom prst="rect">
            <a:avLst/>
          </a:prstGeom>
        </p:spPr>
        <p:txBody>
          <a:bodyPr anchor="t">
            <a:spAutoFit/>
          </a:bodyPr>
          <a:lstStyle>
            <a:lvl1pPr>
              <a:defRPr sz="3300" b="0"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664662" y="2793630"/>
            <a:ext cx="8531407" cy="219820"/>
          </a:xfrm>
        </p:spPr>
        <p:txBody>
          <a:bodyPr wrap="square">
            <a:spAutoFit/>
          </a:bodyPr>
          <a:lstStyle>
            <a:lvl1pPr>
              <a:defRPr sz="1400" baseline="0">
                <a:solidFill>
                  <a:schemeClr val="bg1"/>
                </a:solidFill>
                <a:latin typeface="+mn-lt"/>
                <a:ea typeface="+mn-ea"/>
              </a:defRPr>
            </a:lvl1pPr>
          </a:lstStyle>
          <a:p>
            <a:pPr lvl="0"/>
            <a:r>
              <a:rPr lang="en-US" noProof="0" smtClean="0"/>
              <a:t>Click to edit Master subtitle style</a:t>
            </a:r>
            <a:endParaRPr lang="en-US" noProof="0" dirty="0" smtClean="0"/>
          </a:p>
        </p:txBody>
      </p:sp>
      <p:sp>
        <p:nvSpPr>
          <p:cNvPr id="16" name="Document type" hidden="1"/>
          <p:cNvSpPr txBox="1">
            <a:spLocks noChangeArrowheads="1"/>
          </p:cNvSpPr>
          <p:nvPr userDrawn="1"/>
        </p:nvSpPr>
        <p:spPr bwMode="auto">
          <a:xfrm>
            <a:off x="664662" y="4016558"/>
            <a:ext cx="853140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fontAlgn="base" hangingPunct="1">
              <a:spcBef>
                <a:spcPct val="0"/>
              </a:spcBef>
              <a:spcAft>
                <a:spcPct val="0"/>
              </a:spcAft>
              <a:buClrTx/>
              <a:buFontTx/>
              <a:buNone/>
              <a:defRPr lang="x-none"/>
            </a:pPr>
            <a:r>
              <a:rPr sz="1400" kern="1200" dirty="0" smtClean="0">
                <a:solidFill>
                  <a:srgbClr val="FFFFFF"/>
                </a:solidFill>
                <a:latin typeface="Arial"/>
                <a:ea typeface="+mn-ea"/>
                <a:cs typeface="+mn-cs"/>
              </a:rPr>
              <a:t>Document type | Date</a:t>
            </a:r>
          </a:p>
        </p:txBody>
      </p:sp>
    </p:spTree>
    <p:extLst>
      <p:ext uri="{BB962C8B-B14F-4D97-AF65-F5344CB8AC3E}">
        <p14:creationId xmlns:p14="http://schemas.microsoft.com/office/powerpoint/2010/main" val="3660739257"/>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110854" name="think-cell Slide" r:id="rId5" imgW="470" imgH="469" progId="TCLayout.ActiveDocument.1">
                  <p:embed/>
                </p:oleObj>
              </mc:Choice>
              <mc:Fallback>
                <p:oleObj name="think-cell Slide" r:id="rId5" imgW="470" imgH="469" progId="TCLayout.ActiveDocument.1">
                  <p:embed/>
                  <p:pic>
                    <p:nvPicPr>
                      <p:cNvPr id="0" name=""/>
                      <p:cNvPicPr/>
                      <p:nvPr/>
                    </p:nvPicPr>
                    <p:blipFill>
                      <a:blip r:embed="rId6"/>
                      <a:stretch>
                        <a:fillRect/>
                      </a:stretch>
                    </p:blipFill>
                    <p:spPr>
                      <a:xfrm>
                        <a:off x="1721" y="1589"/>
                        <a:ext cx="1719" cy="1587"/>
                      </a:xfrm>
                      <a:prstGeom prst="rect">
                        <a:avLst/>
                      </a:prstGeom>
                    </p:spPr>
                  </p:pic>
                </p:oleObj>
              </mc:Fallback>
            </mc:AlternateContent>
          </a:graphicData>
        </a:graphic>
      </p:graphicFrame>
      <p:sp>
        <p:nvSpPr>
          <p:cNvPr id="10" name="Do not remove" hidden="1"/>
          <p:cNvSpPr/>
          <p:nvPr userDrawn="1">
            <p:custDataLst>
              <p:tags r:id="rId3"/>
            </p:custDataLst>
          </p:nvPr>
        </p:nvSpPr>
        <p:spPr>
          <a:xfrm>
            <a:off x="0" y="0"/>
            <a:ext cx="13758" cy="12700"/>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US" sz="1600" kern="1200" dirty="0" smtClean="0">
              <a:solidFill>
                <a:srgbClr val="000000"/>
              </a:solidFill>
            </a:endParaRPr>
          </a:p>
        </p:txBody>
      </p:sp>
      <p:sp>
        <p:nvSpPr>
          <p:cNvPr id="2" name="McK 2. Slide Title"/>
          <p:cNvSpPr>
            <a:spLocks noGrp="1"/>
          </p:cNvSpPr>
          <p:nvPr>
            <p:ph type="title"/>
          </p:nvPr>
        </p:nvSpPr>
        <p:spPr>
          <a:xfrm>
            <a:off x="247650" y="404011"/>
            <a:ext cx="8007350" cy="276999"/>
          </a:xfrm>
        </p:spPr>
        <p:txBody>
          <a:bodyPr/>
          <a:lstStyle>
            <a:lvl1pPr>
              <a:defRPr sz="1800"/>
            </a:lvl1pPr>
          </a:lstStyle>
          <a:p>
            <a:r>
              <a:rPr lang="en-US" dirty="0" smtClean="0"/>
              <a:t>Click to edit Master title style</a:t>
            </a:r>
            <a:endParaRPr lang="en-US" dirty="0"/>
          </a:p>
        </p:txBody>
      </p:sp>
    </p:spTree>
    <p:extLst>
      <p:ext uri="{BB962C8B-B14F-4D97-AF65-F5344CB8AC3E}">
        <p14:creationId xmlns:p14="http://schemas.microsoft.com/office/powerpoint/2010/main" val="790093270"/>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47650" y="404011"/>
            <a:ext cx="8007350" cy="276999"/>
          </a:xfrm>
        </p:spPr>
        <p:txBody>
          <a:bodyPr/>
          <a:lstStyle>
            <a:lvl1pPr>
              <a:defRPr sz="1800"/>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95300" y="6356511"/>
            <a:ext cx="2311400" cy="365125"/>
          </a:xfrm>
          <a:prstGeom prst="rect">
            <a:avLst/>
          </a:prstGeom>
        </p:spPr>
        <p:txBody>
          <a:bodyPr/>
          <a:lstStyle/>
          <a:p>
            <a:pPr fontAlgn="base">
              <a:spcBef>
                <a:spcPct val="0"/>
              </a:spcBef>
              <a:spcAft>
                <a:spcPct val="0"/>
              </a:spcAft>
              <a:buClrTx/>
              <a:buFontTx/>
              <a:buNone/>
            </a:pPr>
            <a:fld id="{2CBB78D2-3EDF-44DD-BD93-60A225E69B3E}" type="datetimeFigureOut">
              <a:rPr lang="en-US" sz="1600" kern="1200" smtClean="0">
                <a:solidFill>
                  <a:prstClr val="black">
                    <a:tint val="75000"/>
                  </a:prstClr>
                </a:solidFill>
                <a:latin typeface="Arial" charset="0"/>
                <a:ea typeface="+mn-ea"/>
                <a:cs typeface="+mn-cs"/>
              </a:rPr>
              <a:pPr fontAlgn="base">
                <a:spcBef>
                  <a:spcPct val="0"/>
                </a:spcBef>
                <a:spcAft>
                  <a:spcPct val="0"/>
                </a:spcAft>
                <a:buClrTx/>
                <a:buFontTx/>
                <a:buNone/>
              </a:pPr>
              <a:t>8/23/2019</a:t>
            </a:fld>
            <a:endParaRPr lang="en-US" sz="1600" kern="1200" dirty="0">
              <a:solidFill>
                <a:prstClr val="black">
                  <a:tint val="75000"/>
                </a:prstClr>
              </a:solidFill>
              <a:latin typeface="Arial" charset="0"/>
              <a:ea typeface="+mn-ea"/>
              <a:cs typeface="+mn-cs"/>
            </a:endParaRPr>
          </a:p>
        </p:txBody>
      </p:sp>
      <p:sp>
        <p:nvSpPr>
          <p:cNvPr id="5" name="Footer Placeholder 4"/>
          <p:cNvSpPr>
            <a:spLocks noGrp="1"/>
          </p:cNvSpPr>
          <p:nvPr>
            <p:ph type="ftr" sz="quarter" idx="11"/>
          </p:nvPr>
        </p:nvSpPr>
        <p:spPr>
          <a:xfrm>
            <a:off x="3384550" y="6356511"/>
            <a:ext cx="3136900" cy="365125"/>
          </a:xfrm>
          <a:prstGeom prst="rect">
            <a:avLst/>
          </a:prstGeom>
        </p:spPr>
        <p:txBody>
          <a:bodyPr/>
          <a:lstStyle/>
          <a:p>
            <a:pPr fontAlgn="base">
              <a:spcBef>
                <a:spcPct val="0"/>
              </a:spcBef>
              <a:spcAft>
                <a:spcPct val="0"/>
              </a:spcAft>
              <a:buClrTx/>
              <a:buFontTx/>
              <a:buNone/>
            </a:pPr>
            <a:endParaRPr lang="en-US" sz="1600" kern="1200" dirty="0">
              <a:solidFill>
                <a:prstClr val="black">
                  <a:tint val="75000"/>
                </a:prstClr>
              </a:solidFill>
              <a:latin typeface="Arial" charset="0"/>
              <a:ea typeface="+mn-ea"/>
              <a:cs typeface="+mn-cs"/>
            </a:endParaRPr>
          </a:p>
        </p:txBody>
      </p:sp>
      <p:sp>
        <p:nvSpPr>
          <p:cNvPr id="6" name="Slide Number Placeholder 5"/>
          <p:cNvSpPr>
            <a:spLocks noGrp="1"/>
          </p:cNvSpPr>
          <p:nvPr>
            <p:ph type="sldNum" sz="quarter" idx="12"/>
          </p:nvPr>
        </p:nvSpPr>
        <p:spPr>
          <a:xfrm>
            <a:off x="7099300" y="6356511"/>
            <a:ext cx="2311400" cy="365125"/>
          </a:xfrm>
          <a:prstGeom prst="rect">
            <a:avLst/>
          </a:prstGeom>
        </p:spPr>
        <p:txBody>
          <a:bodyPr/>
          <a:lstStyle/>
          <a:p>
            <a:pPr fontAlgn="base">
              <a:spcBef>
                <a:spcPct val="0"/>
              </a:spcBef>
              <a:spcAft>
                <a:spcPct val="0"/>
              </a:spcAft>
              <a:buClrTx/>
              <a:buFontTx/>
              <a:buNone/>
            </a:pPr>
            <a:fld id="{4FAD6F48-C937-4B90-AF1D-01ADEA9D6D76}" type="slidenum">
              <a:rPr lang="en-US" sz="1600" kern="1200" smtClean="0">
                <a:solidFill>
                  <a:prstClr val="black">
                    <a:tint val="75000"/>
                  </a:prstClr>
                </a:solidFill>
                <a:latin typeface="Arial" charset="0"/>
                <a:ea typeface="+mn-ea"/>
                <a:cs typeface="+mn-cs"/>
              </a:rPr>
              <a:pPr fontAlgn="base">
                <a:spcBef>
                  <a:spcPct val="0"/>
                </a:spcBef>
                <a:spcAft>
                  <a:spcPct val="0"/>
                </a:spcAft>
                <a:buClrTx/>
                <a:buFontTx/>
                <a:buNone/>
              </a:pPr>
              <a:t>‹#›</a:t>
            </a:fld>
            <a:endParaRPr lang="en-US" sz="1600" kern="1200" dirty="0">
              <a:solidFill>
                <a:prstClr val="black">
                  <a:tint val="75000"/>
                </a:prstClr>
              </a:solidFill>
              <a:latin typeface="Arial" charset="0"/>
              <a:ea typeface="+mn-ea"/>
              <a:cs typeface="+mn-cs"/>
            </a:endParaRPr>
          </a:p>
        </p:txBody>
      </p:sp>
    </p:spTree>
    <p:extLst>
      <p:ext uri="{BB962C8B-B14F-4D97-AF65-F5344CB8AC3E}">
        <p14:creationId xmlns:p14="http://schemas.microsoft.com/office/powerpoint/2010/main" val="818796213"/>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722" y="1593"/>
          <a:ext cx="1719" cy="1587"/>
        </p:xfrm>
        <a:graphic>
          <a:graphicData uri="http://schemas.openxmlformats.org/presentationml/2006/ole">
            <mc:AlternateContent xmlns:mc="http://schemas.openxmlformats.org/markup-compatibility/2006">
              <mc:Choice xmlns:v="urn:schemas-microsoft-com:vml" Requires="v">
                <p:oleObj spid="_x0000_s11392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722" y="1593"/>
                        <a:ext cx="1719" cy="1587"/>
                      </a:xfrm>
                      <a:prstGeom prst="rect">
                        <a:avLst/>
                      </a:prstGeom>
                    </p:spPr>
                  </p:pic>
                </p:oleObj>
              </mc:Fallback>
            </mc:AlternateContent>
          </a:graphicData>
        </a:graphic>
      </p:graphicFrame>
      <p:pic>
        <p:nvPicPr>
          <p:cNvPr id="12" name="Picture 11" descr="covertemps-5.jpg"/>
          <p:cNvPicPr>
            <a:picLocks noChangeAspect="1"/>
          </p:cNvPicPr>
          <p:nvPr userDrawn="1"/>
        </p:nvPicPr>
        <p:blipFill>
          <a:blip r:embed="rId6" cstate="print">
            <a:extLst>
              <a:ext uri="{28A0092B-C50C-407E-A947-70E740481C1C}">
                <a14:useLocalDpi xmlns:a14="http://schemas.microsoft.com/office/drawing/2010/main" val="0"/>
              </a:ext>
            </a:extLst>
          </a:blip>
          <a:srcRect b="13333"/>
          <a:stretch>
            <a:fillRect/>
          </a:stretch>
        </p:blipFill>
        <p:spPr bwMode="ltGray">
          <a:xfrm>
            <a:off x="0" y="0"/>
            <a:ext cx="9906000" cy="5943600"/>
          </a:xfrm>
          <a:prstGeom prst="rect">
            <a:avLst/>
          </a:prstGeom>
        </p:spPr>
      </p:pic>
      <p:sp>
        <p:nvSpPr>
          <p:cNvPr id="5" name="doc id"/>
          <p:cNvSpPr txBox="1">
            <a:spLocks noChangeArrowheads="1"/>
          </p:cNvSpPr>
          <p:nvPr/>
        </p:nvSpPr>
        <p:spPr bwMode="auto">
          <a:xfrm>
            <a:off x="9332171" y="37255"/>
            <a:ext cx="326398"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buClrTx/>
              <a:buFontTx/>
              <a:buNone/>
              <a:defRPr/>
            </a:pPr>
            <a:endParaRPr lang="en-US" sz="800" kern="1200" dirty="0" smtClean="0">
              <a:solidFill>
                <a:srgbClr val="000000"/>
              </a:solidFill>
              <a:latin typeface="Arial"/>
              <a:ea typeface="+mn-ea"/>
              <a:cs typeface="+mn-cs"/>
            </a:endParaRPr>
          </a:p>
        </p:txBody>
      </p:sp>
      <p:sp>
        <p:nvSpPr>
          <p:cNvPr id="13314" name="Rectangle 1026"/>
          <p:cNvSpPr>
            <a:spLocks noGrp="1" noChangeArrowheads="1"/>
          </p:cNvSpPr>
          <p:nvPr>
            <p:ph type="ctrTitle"/>
          </p:nvPr>
        </p:nvSpPr>
        <p:spPr bwMode="auto">
          <a:xfrm>
            <a:off x="664673" y="1282851"/>
            <a:ext cx="8531407" cy="507831"/>
          </a:xfrm>
          <a:prstGeom prst="rect">
            <a:avLst/>
          </a:prstGeom>
        </p:spPr>
        <p:txBody>
          <a:bodyPr anchor="t">
            <a:spAutoFit/>
          </a:bodyPr>
          <a:lstStyle>
            <a:lvl1pPr>
              <a:defRPr sz="3300" b="0"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664673" y="2793630"/>
            <a:ext cx="8531407" cy="219820"/>
          </a:xfrm>
        </p:spPr>
        <p:txBody>
          <a:bodyPr wrap="square">
            <a:spAutoFit/>
          </a:bodyPr>
          <a:lstStyle>
            <a:lvl1pPr>
              <a:defRPr sz="1400" baseline="0">
                <a:solidFill>
                  <a:schemeClr val="bg1"/>
                </a:solidFill>
                <a:latin typeface="+mn-lt"/>
                <a:ea typeface="+mn-ea"/>
              </a:defRPr>
            </a:lvl1pPr>
          </a:lstStyle>
          <a:p>
            <a:pPr lvl="0"/>
            <a:r>
              <a:rPr lang="en-US" noProof="0" smtClean="0"/>
              <a:t>Click to edit Master subtitle style</a:t>
            </a:r>
            <a:endParaRPr lang="en-US" noProof="0" dirty="0" smtClean="0"/>
          </a:p>
        </p:txBody>
      </p:sp>
      <p:sp>
        <p:nvSpPr>
          <p:cNvPr id="16" name="Document type" hidden="1"/>
          <p:cNvSpPr txBox="1">
            <a:spLocks noChangeArrowheads="1"/>
          </p:cNvSpPr>
          <p:nvPr userDrawn="1"/>
        </p:nvSpPr>
        <p:spPr bwMode="auto">
          <a:xfrm>
            <a:off x="664673" y="4016558"/>
            <a:ext cx="853140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fontAlgn="base" hangingPunct="1">
              <a:spcBef>
                <a:spcPct val="0"/>
              </a:spcBef>
              <a:spcAft>
                <a:spcPct val="0"/>
              </a:spcAft>
              <a:buClrTx/>
              <a:buFontTx/>
              <a:buNone/>
              <a:defRPr lang="x-none"/>
            </a:pPr>
            <a:r>
              <a:rPr sz="1400" kern="1200" dirty="0" smtClean="0">
                <a:solidFill>
                  <a:srgbClr val="FFFFFF"/>
                </a:solidFill>
                <a:latin typeface="Arial"/>
                <a:ea typeface="+mn-ea"/>
                <a:cs typeface="+mn-cs"/>
              </a:rPr>
              <a:t>Document type | Date</a:t>
            </a:r>
          </a:p>
        </p:txBody>
      </p:sp>
    </p:spTree>
    <p:extLst>
      <p:ext uri="{BB962C8B-B14F-4D97-AF65-F5344CB8AC3E}">
        <p14:creationId xmlns:p14="http://schemas.microsoft.com/office/powerpoint/2010/main" val="4161580782"/>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722" y="1593"/>
          <a:ext cx="1719" cy="1587"/>
        </p:xfrm>
        <a:graphic>
          <a:graphicData uri="http://schemas.openxmlformats.org/presentationml/2006/ole">
            <mc:AlternateContent xmlns:mc="http://schemas.openxmlformats.org/markup-compatibility/2006">
              <mc:Choice xmlns:v="urn:schemas-microsoft-com:vml" Requires="v">
                <p:oleObj spid="_x0000_s114948"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722" y="1593"/>
                        <a:ext cx="1719" cy="1587"/>
                      </a:xfrm>
                      <a:prstGeom prst="rect">
                        <a:avLst/>
                      </a:prstGeom>
                    </p:spPr>
                  </p:pic>
                </p:oleObj>
              </mc:Fallback>
            </mc:AlternateContent>
          </a:graphicData>
        </a:graphic>
      </p:graphicFrame>
      <p:sp>
        <p:nvSpPr>
          <p:cNvPr id="10" name="Do not remove" hidden="1"/>
          <p:cNvSpPr/>
          <p:nvPr userDrawn="1">
            <p:custDataLst>
              <p:tags r:id="rId3"/>
            </p:custDataLst>
          </p:nvPr>
        </p:nvSpPr>
        <p:spPr>
          <a:xfrm>
            <a:off x="0" y="0"/>
            <a:ext cx="13758" cy="12700"/>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US" sz="1600" kern="1200" dirty="0" smtClean="0">
              <a:solidFill>
                <a:srgbClr val="000000"/>
              </a:solidFill>
            </a:endParaRPr>
          </a:p>
        </p:txBody>
      </p:sp>
      <p:sp>
        <p:nvSpPr>
          <p:cNvPr id="2" name="McK 2. Slide Title"/>
          <p:cNvSpPr>
            <a:spLocks noGrp="1"/>
          </p:cNvSpPr>
          <p:nvPr>
            <p:ph type="title"/>
          </p:nvPr>
        </p:nvSpPr>
        <p:spPr>
          <a:xfrm>
            <a:off x="247650" y="342455"/>
            <a:ext cx="8007350" cy="338554"/>
          </a:xfrm>
        </p:spPr>
        <p:txBody>
          <a:bodyPr/>
          <a:lstStyle>
            <a:lvl1pPr>
              <a:defRPr sz="2200"/>
            </a:lvl1pPr>
          </a:lstStyle>
          <a:p>
            <a:r>
              <a:rPr lang="en-US" smtClean="0"/>
              <a:t>Click to edit Master title style</a:t>
            </a:r>
            <a:endParaRPr lang="en-US"/>
          </a:p>
        </p:txBody>
      </p:sp>
    </p:spTree>
    <p:extLst>
      <p:ext uri="{BB962C8B-B14F-4D97-AF65-F5344CB8AC3E}">
        <p14:creationId xmlns:p14="http://schemas.microsoft.com/office/powerpoint/2010/main" val="2569179701"/>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3" y="3"/>
          <a:ext cx="156346" cy="140074"/>
        </p:xfrm>
        <a:graphic>
          <a:graphicData uri="http://schemas.openxmlformats.org/presentationml/2006/ole">
            <mc:AlternateContent xmlns:mc="http://schemas.openxmlformats.org/markup-compatibility/2006">
              <mc:Choice xmlns:v="urn:schemas-microsoft-com:vml" Requires="v">
                <p:oleObj spid="_x0000_s11597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 y="3"/>
                        <a:ext cx="156346"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1"/>
          <p:cNvSpPr>
            <a:spLocks noGrp="1"/>
          </p:cNvSpPr>
          <p:nvPr>
            <p:ph type="title"/>
          </p:nvPr>
        </p:nvSpPr>
        <p:spPr>
          <a:xfrm>
            <a:off x="374543" y="293191"/>
            <a:ext cx="9005454" cy="228268"/>
          </a:xfrm>
          <a:prstGeom prst="rect">
            <a:avLst/>
          </a:prstGeom>
        </p:spPr>
        <p:txBody>
          <a:bodyPr lIns="0" tIns="0" rIns="0" bIns="0" anchor="b"/>
          <a:lstStyle>
            <a:lvl1pPr marL="0" marR="0" indent="0" algn="l" defTabSz="685160" rtl="0" eaLnBrk="1" fontAlgn="auto" latinLnBrk="0" hangingPunct="1">
              <a:lnSpc>
                <a:spcPct val="90000"/>
              </a:lnSpc>
              <a:spcBef>
                <a:spcPct val="0"/>
              </a:spcBef>
              <a:spcAft>
                <a:spcPts val="0"/>
              </a:spcAft>
              <a:buClrTx/>
              <a:buSzTx/>
              <a:buFontTx/>
              <a:buNone/>
              <a:tabLst/>
              <a:defRPr lang="en-US" sz="1648" b="1" smtClean="0">
                <a:solidFill>
                  <a:schemeClr val="tx1"/>
                </a:solidFill>
                <a:latin typeface="+mn-lt"/>
              </a:defRPr>
            </a:lvl1pPr>
          </a:lstStyle>
          <a:p>
            <a:r>
              <a:rPr lang="en-US" sz="1648"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979964508"/>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116996"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ext Placeholder 7"/>
          <p:cNvSpPr>
            <a:spLocks noGrp="1"/>
          </p:cNvSpPr>
          <p:nvPr>
            <p:ph type="body" sz="quarter" idx="13" hasCustomPrompt="1"/>
          </p:nvPr>
        </p:nvSpPr>
        <p:spPr>
          <a:xfrm>
            <a:off x="450276" y="1330699"/>
            <a:ext cx="9005453" cy="4989391"/>
          </a:xfrm>
          <a:prstGeom prst="rect">
            <a:avLst/>
          </a:prstGeom>
        </p:spPr>
        <p:txBody>
          <a:bodyPr lIns="0" tIns="0" rIns="0" bIns="0">
            <a:noAutofit/>
          </a:bodyPr>
          <a:lstStyle>
            <a:lvl1pPr marL="159731" indent="-159731">
              <a:spcBef>
                <a:spcPts val="663"/>
              </a:spcBef>
              <a:defRPr sz="1662" baseline="0"/>
            </a:lvl1pPr>
            <a:lvl2pPr marL="320928" indent="-161196">
              <a:spcBef>
                <a:spcPts val="663"/>
              </a:spcBef>
              <a:defRPr sz="1477"/>
            </a:lvl2pPr>
            <a:lvl3pPr marL="470401" indent="-149473">
              <a:buFont typeface="Courier New" pitchFamily="49" charset="0"/>
              <a:buChar char="o"/>
              <a:defRPr sz="1477"/>
            </a:lvl3pPr>
            <a:lvl4pPr marL="630131" indent="-159731">
              <a:defRPr sz="1477"/>
            </a:lvl4pPr>
            <a:lvl5pPr>
              <a:defRPr sz="1662"/>
            </a:lvl5pPr>
          </a:lstStyle>
          <a:p>
            <a:pPr lvl="0"/>
            <a:r>
              <a:rPr lang="en-US" dirty="0" smtClean="0"/>
              <a:t>Click to edit Master text first level</a:t>
            </a:r>
          </a:p>
          <a:p>
            <a:pPr lvl="1"/>
            <a:r>
              <a:rPr lang="en-US" dirty="0" smtClean="0"/>
              <a:t>Second level</a:t>
            </a:r>
          </a:p>
          <a:p>
            <a:pPr lvl="2"/>
            <a:r>
              <a:rPr lang="en-US" dirty="0" smtClean="0"/>
              <a:t>Third level</a:t>
            </a:r>
          </a:p>
          <a:p>
            <a:pPr lvl="3"/>
            <a:r>
              <a:rPr lang="en-US" dirty="0" smtClean="0"/>
              <a:t>Fourth level</a:t>
            </a:r>
          </a:p>
        </p:txBody>
      </p:sp>
      <p:sp>
        <p:nvSpPr>
          <p:cNvPr id="6" name="Title 1"/>
          <p:cNvSpPr>
            <a:spLocks noGrp="1"/>
          </p:cNvSpPr>
          <p:nvPr>
            <p:ph type="title" hasCustomPrompt="1"/>
          </p:nvPr>
        </p:nvSpPr>
        <p:spPr>
          <a:xfrm>
            <a:off x="450742" y="133086"/>
            <a:ext cx="9005454" cy="738664"/>
          </a:xfrm>
          <a:prstGeom prst="rect">
            <a:avLst/>
          </a:prstGeom>
        </p:spPr>
        <p:txBody>
          <a:bodyPr lIns="0" tIns="0" rIns="0" bIns="0" anchor="b"/>
          <a:lstStyle>
            <a:lvl1pPr algn="l">
              <a:defRPr sz="2400" b="1" baseline="0">
                <a:solidFill>
                  <a:schemeClr val="bg1"/>
                </a:solidFill>
              </a:defRPr>
            </a:lvl1pPr>
          </a:lstStyle>
          <a:p>
            <a:r>
              <a:rPr lang="en-US" dirty="0" smtClean="0"/>
              <a:t>Click to edit </a:t>
            </a:r>
            <a:br>
              <a:rPr lang="en-US" dirty="0" smtClean="0"/>
            </a:br>
            <a:r>
              <a:rPr lang="en-US" dirty="0" smtClean="0"/>
              <a:t>Master title</a:t>
            </a:r>
            <a:endParaRPr lang="en-US" dirty="0"/>
          </a:p>
        </p:txBody>
      </p:sp>
      <p:sp>
        <p:nvSpPr>
          <p:cNvPr id="12" name="Text Placeholder 9"/>
          <p:cNvSpPr>
            <a:spLocks noGrp="1"/>
          </p:cNvSpPr>
          <p:nvPr>
            <p:ph type="body" sz="quarter" idx="37" hasCustomPrompt="1"/>
          </p:nvPr>
        </p:nvSpPr>
        <p:spPr>
          <a:xfrm>
            <a:off x="450284" y="6549116"/>
            <a:ext cx="7626926" cy="284052"/>
          </a:xfrm>
          <a:prstGeom prst="rect">
            <a:avLst/>
          </a:prstGeom>
        </p:spPr>
        <p:txBody>
          <a:bodyPr lIns="0" tIns="0" rIns="0" bIns="0" anchor="b"/>
          <a:lstStyle>
            <a:lvl1pPr marL="0" indent="0">
              <a:buNone/>
              <a:defRPr sz="923"/>
            </a:lvl1pPr>
          </a:lstStyle>
          <a:p>
            <a:r>
              <a:rPr lang="en-US" dirty="0" smtClean="0"/>
              <a:t>Click to edit Master footer. This space is reserved for footnotes and sources only, and cannot be expanded beyond its current size.                                        </a:t>
            </a:r>
            <a:r>
              <a:rPr lang="en-IN" dirty="0" smtClean="0"/>
              <a:t>Source: [Author/Publisher Name], [Report Name], [Year]</a:t>
            </a:r>
          </a:p>
        </p:txBody>
      </p:sp>
    </p:spTree>
    <p:extLst>
      <p:ext uri="{BB962C8B-B14F-4D97-AF65-F5344CB8AC3E}">
        <p14:creationId xmlns:p14="http://schemas.microsoft.com/office/powerpoint/2010/main" val="2725288440"/>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722" y="1593"/>
          <a:ext cx="1719" cy="1587"/>
        </p:xfrm>
        <a:graphic>
          <a:graphicData uri="http://schemas.openxmlformats.org/presentationml/2006/ole">
            <mc:AlternateContent xmlns:mc="http://schemas.openxmlformats.org/markup-compatibility/2006">
              <mc:Choice xmlns:v="urn:schemas-microsoft-com:vml" Requires="v">
                <p:oleObj spid="_x0000_s11904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722" y="1593"/>
                        <a:ext cx="1719" cy="1587"/>
                      </a:xfrm>
                      <a:prstGeom prst="rect">
                        <a:avLst/>
                      </a:prstGeom>
                    </p:spPr>
                  </p:pic>
                </p:oleObj>
              </mc:Fallback>
            </mc:AlternateContent>
          </a:graphicData>
        </a:graphic>
      </p:graphicFrame>
      <p:pic>
        <p:nvPicPr>
          <p:cNvPr id="12" name="Picture 11" descr="covertemps-5.jpg"/>
          <p:cNvPicPr>
            <a:picLocks noChangeAspect="1"/>
          </p:cNvPicPr>
          <p:nvPr userDrawn="1"/>
        </p:nvPicPr>
        <p:blipFill>
          <a:blip r:embed="rId6" cstate="print">
            <a:extLst>
              <a:ext uri="{28A0092B-C50C-407E-A947-70E740481C1C}">
                <a14:useLocalDpi xmlns:a14="http://schemas.microsoft.com/office/drawing/2010/main" val="0"/>
              </a:ext>
            </a:extLst>
          </a:blip>
          <a:srcRect b="13333"/>
          <a:stretch>
            <a:fillRect/>
          </a:stretch>
        </p:blipFill>
        <p:spPr bwMode="ltGray">
          <a:xfrm>
            <a:off x="0" y="0"/>
            <a:ext cx="9906000" cy="5943600"/>
          </a:xfrm>
          <a:prstGeom prst="rect">
            <a:avLst/>
          </a:prstGeom>
        </p:spPr>
      </p:pic>
      <p:sp>
        <p:nvSpPr>
          <p:cNvPr id="5" name="doc id"/>
          <p:cNvSpPr txBox="1">
            <a:spLocks noChangeArrowheads="1"/>
          </p:cNvSpPr>
          <p:nvPr/>
        </p:nvSpPr>
        <p:spPr bwMode="auto">
          <a:xfrm>
            <a:off x="9332171" y="37255"/>
            <a:ext cx="326398"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buClrTx/>
              <a:buFontTx/>
              <a:buNone/>
              <a:defRPr/>
            </a:pPr>
            <a:endParaRPr lang="en-US" sz="800" kern="1200" dirty="0" smtClean="0">
              <a:solidFill>
                <a:srgbClr val="000000"/>
              </a:solidFill>
              <a:latin typeface="Arial"/>
              <a:ea typeface="+mn-ea"/>
              <a:cs typeface="+mn-cs"/>
            </a:endParaRPr>
          </a:p>
        </p:txBody>
      </p:sp>
      <p:sp>
        <p:nvSpPr>
          <p:cNvPr id="13314" name="Rectangle 1026"/>
          <p:cNvSpPr>
            <a:spLocks noGrp="1" noChangeArrowheads="1"/>
          </p:cNvSpPr>
          <p:nvPr>
            <p:ph type="ctrTitle"/>
          </p:nvPr>
        </p:nvSpPr>
        <p:spPr bwMode="auto">
          <a:xfrm>
            <a:off x="664673" y="1282851"/>
            <a:ext cx="8531407" cy="507831"/>
          </a:xfrm>
          <a:prstGeom prst="rect">
            <a:avLst/>
          </a:prstGeom>
        </p:spPr>
        <p:txBody>
          <a:bodyPr anchor="t">
            <a:spAutoFit/>
          </a:bodyPr>
          <a:lstStyle>
            <a:lvl1pPr>
              <a:defRPr sz="3300" b="0"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664673" y="2793630"/>
            <a:ext cx="8531407" cy="219820"/>
          </a:xfrm>
        </p:spPr>
        <p:txBody>
          <a:bodyPr wrap="square">
            <a:spAutoFit/>
          </a:bodyPr>
          <a:lstStyle>
            <a:lvl1pPr>
              <a:defRPr sz="1400" baseline="0">
                <a:solidFill>
                  <a:schemeClr val="bg1"/>
                </a:solidFill>
                <a:latin typeface="+mn-lt"/>
                <a:ea typeface="+mn-ea"/>
              </a:defRPr>
            </a:lvl1pPr>
          </a:lstStyle>
          <a:p>
            <a:pPr lvl="0"/>
            <a:r>
              <a:rPr lang="en-US" noProof="0" smtClean="0"/>
              <a:t>Click to edit Master subtitle style</a:t>
            </a:r>
            <a:endParaRPr lang="en-US" noProof="0" dirty="0" smtClean="0"/>
          </a:p>
        </p:txBody>
      </p:sp>
      <p:sp>
        <p:nvSpPr>
          <p:cNvPr id="16" name="Document type" hidden="1"/>
          <p:cNvSpPr txBox="1">
            <a:spLocks noChangeArrowheads="1"/>
          </p:cNvSpPr>
          <p:nvPr userDrawn="1"/>
        </p:nvSpPr>
        <p:spPr bwMode="auto">
          <a:xfrm>
            <a:off x="664673" y="4016558"/>
            <a:ext cx="853140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fontAlgn="base" hangingPunct="1">
              <a:spcBef>
                <a:spcPct val="0"/>
              </a:spcBef>
              <a:spcAft>
                <a:spcPct val="0"/>
              </a:spcAft>
              <a:buClrTx/>
              <a:buFontTx/>
              <a:buNone/>
              <a:defRPr lang="x-none"/>
            </a:pPr>
            <a:r>
              <a:rPr sz="1400" kern="1200" dirty="0" smtClean="0">
                <a:solidFill>
                  <a:srgbClr val="FFFFFF"/>
                </a:solidFill>
                <a:latin typeface="Arial"/>
                <a:ea typeface="+mn-ea"/>
                <a:cs typeface="+mn-cs"/>
              </a:rPr>
              <a:t>Document type | Date</a:t>
            </a:r>
          </a:p>
        </p:txBody>
      </p:sp>
    </p:spTree>
    <p:extLst>
      <p:ext uri="{BB962C8B-B14F-4D97-AF65-F5344CB8AC3E}">
        <p14:creationId xmlns:p14="http://schemas.microsoft.com/office/powerpoint/2010/main" val="6071097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3_Blank">
  <p:cSld name="3_Blank">
    <p:bg>
      <p:bgPr>
        <a:solidFill>
          <a:srgbClr val="006547"/>
        </a:solidFill>
        <a:effectLst/>
      </p:bgPr>
    </p:bg>
    <p:spTree>
      <p:nvGrpSpPr>
        <p:cNvPr id="1" name="Shape 59"/>
        <p:cNvGrpSpPr/>
        <p:nvPr/>
      </p:nvGrpSpPr>
      <p:grpSpPr>
        <a:xfrm>
          <a:off x="0" y="0"/>
          <a:ext cx="0" cy="0"/>
          <a:chOff x="0" y="0"/>
          <a:chExt cx="0" cy="0"/>
        </a:xfrm>
      </p:grpSpPr>
      <p:pic>
        <p:nvPicPr>
          <p:cNvPr id="60" name="Google Shape;60;p9"/>
          <p:cNvPicPr preferRelativeResize="0"/>
          <p:nvPr/>
        </p:nvPicPr>
        <p:blipFill rotWithShape="1">
          <a:blip r:embed="rId2">
            <a:alphaModFix/>
          </a:blip>
          <a:srcRect/>
          <a:stretch/>
        </p:blipFill>
        <p:spPr>
          <a:xfrm>
            <a:off x="1588" y="1588"/>
            <a:ext cx="1588" cy="1588"/>
          </a:xfrm>
          <a:prstGeom prst="rect">
            <a:avLst/>
          </a:prstGeom>
          <a:noFill/>
          <a:ln>
            <a:noFill/>
          </a:ln>
        </p:spPr>
      </p:pic>
      <p:pic>
        <p:nvPicPr>
          <p:cNvPr id="61" name="Google Shape;61;p9"/>
          <p:cNvPicPr preferRelativeResize="0"/>
          <p:nvPr/>
        </p:nvPicPr>
        <p:blipFill rotWithShape="1">
          <a:blip r:embed="rId3">
            <a:alphaModFix/>
          </a:blip>
          <a:srcRect/>
          <a:stretch/>
        </p:blipFill>
        <p:spPr>
          <a:xfrm>
            <a:off x="0" y="5947172"/>
            <a:ext cx="9906000" cy="910828"/>
          </a:xfrm>
          <a:prstGeom prst="rect">
            <a:avLst/>
          </a:prstGeom>
          <a:noFill/>
          <a:ln>
            <a:noFill/>
          </a:ln>
        </p:spPr>
      </p:pic>
      <p:sp>
        <p:nvSpPr>
          <p:cNvPr id="62" name="Google Shape;62;p9"/>
          <p:cNvSpPr txBox="1">
            <a:spLocks noGrp="1"/>
          </p:cNvSpPr>
          <p:nvPr>
            <p:ph type="title"/>
          </p:nvPr>
        </p:nvSpPr>
        <p:spPr>
          <a:xfrm>
            <a:off x="577850" y="2514600"/>
            <a:ext cx="8915400" cy="1143000"/>
          </a:xfrm>
          <a:prstGeom prst="rect">
            <a:avLst/>
          </a:prstGeom>
          <a:noFill/>
          <a:ln>
            <a:noFill/>
          </a:ln>
        </p:spPr>
        <p:txBody>
          <a:bodyPr spcFirstLastPara="1" wrap="square" lIns="91425" tIns="45700" rIns="91425" bIns="45700" anchor="t" anchorCtr="0"/>
          <a:lstStyle>
            <a:lvl1pPr marR="0" lvl="0" algn="l" rtl="0">
              <a:lnSpc>
                <a:spcPct val="90000"/>
              </a:lnSpc>
              <a:spcBef>
                <a:spcPts val="0"/>
              </a:spcBef>
              <a:spcAft>
                <a:spcPts val="0"/>
              </a:spcAft>
              <a:buClr>
                <a:schemeClr val="lt1"/>
              </a:buClr>
              <a:buSzPts val="4400"/>
              <a:buFont typeface="Arial"/>
              <a:buNone/>
              <a:defRPr sz="4400" b="0" i="0" u="none" strike="noStrike" cap="none">
                <a:solidFill>
                  <a:schemeClr val="lt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722" y="1593"/>
          <a:ext cx="1719" cy="1587"/>
        </p:xfrm>
        <a:graphic>
          <a:graphicData uri="http://schemas.openxmlformats.org/presentationml/2006/ole">
            <mc:AlternateContent xmlns:mc="http://schemas.openxmlformats.org/markup-compatibility/2006">
              <mc:Choice xmlns:v="urn:schemas-microsoft-com:vml" Requires="v">
                <p:oleObj spid="_x0000_s12006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722" y="1593"/>
                        <a:ext cx="1719" cy="1587"/>
                      </a:xfrm>
                      <a:prstGeom prst="rect">
                        <a:avLst/>
                      </a:prstGeom>
                    </p:spPr>
                  </p:pic>
                </p:oleObj>
              </mc:Fallback>
            </mc:AlternateContent>
          </a:graphicData>
        </a:graphic>
      </p:graphicFrame>
      <p:sp>
        <p:nvSpPr>
          <p:cNvPr id="3" name="Do not remove" hidden="1"/>
          <p:cNvSpPr/>
          <p:nvPr userDrawn="1">
            <p:custDataLst>
              <p:tags r:id="rId3"/>
            </p:custDataLst>
          </p:nvPr>
        </p:nvSpPr>
        <p:spPr>
          <a:xfrm>
            <a:off x="0" y="0"/>
            <a:ext cx="13758" cy="12700"/>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US" sz="1600" kern="1200" dirty="0" smtClean="0">
              <a:solidFill>
                <a:srgbClr val="000000"/>
              </a:solidFill>
            </a:endParaRPr>
          </a:p>
        </p:txBody>
      </p:sp>
      <p:sp>
        <p:nvSpPr>
          <p:cNvPr id="2" name="McK 2. Slide Title"/>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91049689"/>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722" y="1593"/>
          <a:ext cx="1719" cy="1587"/>
        </p:xfrm>
        <a:graphic>
          <a:graphicData uri="http://schemas.openxmlformats.org/presentationml/2006/ole">
            <mc:AlternateContent xmlns:mc="http://schemas.openxmlformats.org/markup-compatibility/2006">
              <mc:Choice xmlns:v="urn:schemas-microsoft-com:vml" Requires="v">
                <p:oleObj spid="_x0000_s12211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722" y="1593"/>
                        <a:ext cx="1719" cy="1587"/>
                      </a:xfrm>
                      <a:prstGeom prst="rect">
                        <a:avLst/>
                      </a:prstGeom>
                    </p:spPr>
                  </p:pic>
                </p:oleObj>
              </mc:Fallback>
            </mc:AlternateContent>
          </a:graphicData>
        </a:graphic>
      </p:graphicFrame>
      <p:pic>
        <p:nvPicPr>
          <p:cNvPr id="12" name="Picture 11" descr="covertemps-5.jpg"/>
          <p:cNvPicPr>
            <a:picLocks noChangeAspect="1"/>
          </p:cNvPicPr>
          <p:nvPr userDrawn="1"/>
        </p:nvPicPr>
        <p:blipFill>
          <a:blip r:embed="rId6" cstate="print">
            <a:extLst>
              <a:ext uri="{28A0092B-C50C-407E-A947-70E740481C1C}">
                <a14:useLocalDpi xmlns:a14="http://schemas.microsoft.com/office/drawing/2010/main" val="0"/>
              </a:ext>
            </a:extLst>
          </a:blip>
          <a:srcRect b="13333"/>
          <a:stretch>
            <a:fillRect/>
          </a:stretch>
        </p:blipFill>
        <p:spPr bwMode="ltGray">
          <a:xfrm>
            <a:off x="0" y="0"/>
            <a:ext cx="9906000" cy="5943600"/>
          </a:xfrm>
          <a:prstGeom prst="rect">
            <a:avLst/>
          </a:prstGeom>
        </p:spPr>
      </p:pic>
      <p:sp>
        <p:nvSpPr>
          <p:cNvPr id="5" name="doc id"/>
          <p:cNvSpPr txBox="1">
            <a:spLocks noChangeArrowheads="1"/>
          </p:cNvSpPr>
          <p:nvPr/>
        </p:nvSpPr>
        <p:spPr bwMode="auto">
          <a:xfrm>
            <a:off x="9332171" y="37255"/>
            <a:ext cx="326398"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buClrTx/>
              <a:buFontTx/>
              <a:buNone/>
              <a:defRPr/>
            </a:pPr>
            <a:endParaRPr lang="en-US" sz="800" kern="1200" dirty="0" smtClean="0">
              <a:solidFill>
                <a:srgbClr val="000000"/>
              </a:solidFill>
              <a:latin typeface="Arial"/>
              <a:ea typeface="+mn-ea"/>
              <a:cs typeface="+mn-cs"/>
            </a:endParaRPr>
          </a:p>
        </p:txBody>
      </p:sp>
      <p:sp>
        <p:nvSpPr>
          <p:cNvPr id="13314" name="Rectangle 1026"/>
          <p:cNvSpPr>
            <a:spLocks noGrp="1" noChangeArrowheads="1"/>
          </p:cNvSpPr>
          <p:nvPr>
            <p:ph type="ctrTitle"/>
          </p:nvPr>
        </p:nvSpPr>
        <p:spPr bwMode="auto">
          <a:xfrm>
            <a:off x="664673" y="1282851"/>
            <a:ext cx="8531407" cy="507831"/>
          </a:xfrm>
          <a:prstGeom prst="rect">
            <a:avLst/>
          </a:prstGeom>
        </p:spPr>
        <p:txBody>
          <a:bodyPr anchor="t">
            <a:spAutoFit/>
          </a:bodyPr>
          <a:lstStyle>
            <a:lvl1pPr>
              <a:defRPr sz="3300" b="0"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664673" y="2793630"/>
            <a:ext cx="8531407" cy="219820"/>
          </a:xfrm>
        </p:spPr>
        <p:txBody>
          <a:bodyPr wrap="square">
            <a:spAutoFit/>
          </a:bodyPr>
          <a:lstStyle>
            <a:lvl1pPr>
              <a:defRPr sz="1400" baseline="0">
                <a:solidFill>
                  <a:schemeClr val="bg1"/>
                </a:solidFill>
                <a:latin typeface="+mn-lt"/>
                <a:ea typeface="+mn-ea"/>
              </a:defRPr>
            </a:lvl1pPr>
          </a:lstStyle>
          <a:p>
            <a:pPr lvl="0"/>
            <a:r>
              <a:rPr lang="en-US" noProof="0" smtClean="0"/>
              <a:t>Click to edit Master subtitle style</a:t>
            </a:r>
            <a:endParaRPr lang="en-US" noProof="0" dirty="0" smtClean="0"/>
          </a:p>
        </p:txBody>
      </p:sp>
      <p:sp>
        <p:nvSpPr>
          <p:cNvPr id="16" name="Document type" hidden="1"/>
          <p:cNvSpPr txBox="1">
            <a:spLocks noChangeArrowheads="1"/>
          </p:cNvSpPr>
          <p:nvPr userDrawn="1"/>
        </p:nvSpPr>
        <p:spPr bwMode="auto">
          <a:xfrm>
            <a:off x="664673" y="4016558"/>
            <a:ext cx="853140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fontAlgn="base" hangingPunct="1">
              <a:spcBef>
                <a:spcPct val="0"/>
              </a:spcBef>
              <a:spcAft>
                <a:spcPct val="0"/>
              </a:spcAft>
              <a:buClrTx/>
              <a:buFontTx/>
              <a:buNone/>
              <a:defRPr lang="x-none"/>
            </a:pPr>
            <a:r>
              <a:rPr sz="1400" kern="1200" dirty="0" smtClean="0">
                <a:solidFill>
                  <a:srgbClr val="FFFFFF"/>
                </a:solidFill>
                <a:latin typeface="Arial"/>
                <a:ea typeface="+mn-ea"/>
                <a:cs typeface="+mn-cs"/>
              </a:rPr>
              <a:t>Document type | Date</a:t>
            </a:r>
          </a:p>
        </p:txBody>
      </p:sp>
    </p:spTree>
    <p:extLst>
      <p:ext uri="{BB962C8B-B14F-4D97-AF65-F5344CB8AC3E}">
        <p14:creationId xmlns:p14="http://schemas.microsoft.com/office/powerpoint/2010/main" val="1234857969"/>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722" y="1593"/>
          <a:ext cx="1719" cy="1587"/>
        </p:xfrm>
        <a:graphic>
          <a:graphicData uri="http://schemas.openxmlformats.org/presentationml/2006/ole">
            <mc:AlternateContent xmlns:mc="http://schemas.openxmlformats.org/markup-compatibility/2006">
              <mc:Choice xmlns:v="urn:schemas-microsoft-com:vml" Requires="v">
                <p:oleObj spid="_x0000_s12314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722" y="1593"/>
                        <a:ext cx="1719" cy="1587"/>
                      </a:xfrm>
                      <a:prstGeom prst="rect">
                        <a:avLst/>
                      </a:prstGeom>
                    </p:spPr>
                  </p:pic>
                </p:oleObj>
              </mc:Fallback>
            </mc:AlternateContent>
          </a:graphicData>
        </a:graphic>
      </p:graphicFrame>
      <p:sp>
        <p:nvSpPr>
          <p:cNvPr id="3" name="Do not remove" hidden="1"/>
          <p:cNvSpPr/>
          <p:nvPr userDrawn="1">
            <p:custDataLst>
              <p:tags r:id="rId3"/>
            </p:custDataLst>
          </p:nvPr>
        </p:nvSpPr>
        <p:spPr>
          <a:xfrm>
            <a:off x="0" y="0"/>
            <a:ext cx="13758" cy="12700"/>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US" sz="1600" kern="1200" dirty="0" smtClean="0">
              <a:solidFill>
                <a:srgbClr val="000000"/>
              </a:solidFill>
            </a:endParaRPr>
          </a:p>
        </p:txBody>
      </p:sp>
      <p:sp>
        <p:nvSpPr>
          <p:cNvPr id="2" name="McK 2. Slide Title"/>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46410182"/>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722" y="1593"/>
          <a:ext cx="1719" cy="1587"/>
        </p:xfrm>
        <a:graphic>
          <a:graphicData uri="http://schemas.openxmlformats.org/presentationml/2006/ole">
            <mc:AlternateContent xmlns:mc="http://schemas.openxmlformats.org/markup-compatibility/2006">
              <mc:Choice xmlns:v="urn:schemas-microsoft-com:vml" Requires="v">
                <p:oleObj spid="_x0000_s12926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722" y="1593"/>
                        <a:ext cx="1719" cy="1587"/>
                      </a:xfrm>
                      <a:prstGeom prst="rect">
                        <a:avLst/>
                      </a:prstGeom>
                    </p:spPr>
                  </p:pic>
                </p:oleObj>
              </mc:Fallback>
            </mc:AlternateContent>
          </a:graphicData>
        </a:graphic>
      </p:graphicFrame>
      <p:pic>
        <p:nvPicPr>
          <p:cNvPr id="12" name="Picture 11" descr="covertemps-5.jpg"/>
          <p:cNvPicPr>
            <a:picLocks noChangeAspect="1"/>
          </p:cNvPicPr>
          <p:nvPr userDrawn="1"/>
        </p:nvPicPr>
        <p:blipFill>
          <a:blip r:embed="rId6" cstate="print">
            <a:extLst>
              <a:ext uri="{28A0092B-C50C-407E-A947-70E740481C1C}">
                <a14:useLocalDpi xmlns:a14="http://schemas.microsoft.com/office/drawing/2010/main" val="0"/>
              </a:ext>
            </a:extLst>
          </a:blip>
          <a:srcRect b="13333"/>
          <a:stretch>
            <a:fillRect/>
          </a:stretch>
        </p:blipFill>
        <p:spPr bwMode="ltGray">
          <a:xfrm>
            <a:off x="0" y="0"/>
            <a:ext cx="9906000" cy="5943600"/>
          </a:xfrm>
          <a:prstGeom prst="rect">
            <a:avLst/>
          </a:prstGeom>
        </p:spPr>
      </p:pic>
      <p:sp>
        <p:nvSpPr>
          <p:cNvPr id="5" name="doc id"/>
          <p:cNvSpPr txBox="1">
            <a:spLocks noChangeArrowheads="1"/>
          </p:cNvSpPr>
          <p:nvPr/>
        </p:nvSpPr>
        <p:spPr bwMode="auto">
          <a:xfrm>
            <a:off x="9332171" y="37255"/>
            <a:ext cx="326398"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buClrTx/>
              <a:buFontTx/>
              <a:buNone/>
              <a:defRPr/>
            </a:pPr>
            <a:endParaRPr lang="en-US" sz="800" kern="1200" dirty="0" smtClean="0">
              <a:solidFill>
                <a:srgbClr val="000000"/>
              </a:solidFill>
              <a:latin typeface="Arial"/>
              <a:ea typeface="+mn-ea"/>
            </a:endParaRPr>
          </a:p>
        </p:txBody>
      </p:sp>
      <p:sp>
        <p:nvSpPr>
          <p:cNvPr id="13314" name="Rectangle 1026"/>
          <p:cNvSpPr>
            <a:spLocks noGrp="1" noChangeArrowheads="1"/>
          </p:cNvSpPr>
          <p:nvPr>
            <p:ph type="ctrTitle"/>
          </p:nvPr>
        </p:nvSpPr>
        <p:spPr bwMode="auto">
          <a:xfrm>
            <a:off x="664673" y="1282851"/>
            <a:ext cx="8531407" cy="507831"/>
          </a:xfrm>
          <a:prstGeom prst="rect">
            <a:avLst/>
          </a:prstGeom>
        </p:spPr>
        <p:txBody>
          <a:bodyPr anchor="t">
            <a:spAutoFit/>
          </a:bodyPr>
          <a:lstStyle>
            <a:lvl1pPr>
              <a:defRPr sz="3300" b="0"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664673" y="2793630"/>
            <a:ext cx="8531407" cy="219820"/>
          </a:xfrm>
        </p:spPr>
        <p:txBody>
          <a:bodyPr wrap="square">
            <a:spAutoFit/>
          </a:bodyPr>
          <a:lstStyle>
            <a:lvl1pPr>
              <a:defRPr sz="1400" baseline="0">
                <a:solidFill>
                  <a:schemeClr val="bg1"/>
                </a:solidFill>
                <a:latin typeface="+mn-lt"/>
                <a:ea typeface="+mn-ea"/>
              </a:defRPr>
            </a:lvl1pPr>
          </a:lstStyle>
          <a:p>
            <a:pPr lvl="0"/>
            <a:r>
              <a:rPr lang="en-US" noProof="0" smtClean="0"/>
              <a:t>Click to edit Master subtitle style</a:t>
            </a:r>
            <a:endParaRPr lang="en-US" noProof="0" dirty="0" smtClean="0"/>
          </a:p>
        </p:txBody>
      </p:sp>
      <p:sp>
        <p:nvSpPr>
          <p:cNvPr id="16" name="Document type" hidden="1"/>
          <p:cNvSpPr txBox="1">
            <a:spLocks noChangeArrowheads="1"/>
          </p:cNvSpPr>
          <p:nvPr userDrawn="1"/>
        </p:nvSpPr>
        <p:spPr bwMode="auto">
          <a:xfrm>
            <a:off x="664673" y="4016558"/>
            <a:ext cx="853140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fontAlgn="base" hangingPunct="1">
              <a:spcBef>
                <a:spcPct val="0"/>
              </a:spcBef>
              <a:spcAft>
                <a:spcPct val="0"/>
              </a:spcAft>
              <a:buClrTx/>
              <a:buFontTx/>
              <a:buNone/>
              <a:defRPr lang="x-none"/>
            </a:pPr>
            <a:r>
              <a:rPr sz="1400" kern="1200" dirty="0" smtClean="0">
                <a:solidFill>
                  <a:srgbClr val="FFFFFF"/>
                </a:solidFill>
                <a:latin typeface="Arial"/>
                <a:ea typeface="+mn-ea"/>
              </a:rPr>
              <a:t>Document type | Date</a:t>
            </a:r>
          </a:p>
        </p:txBody>
      </p:sp>
    </p:spTree>
    <p:extLst>
      <p:ext uri="{BB962C8B-B14F-4D97-AF65-F5344CB8AC3E}">
        <p14:creationId xmlns:p14="http://schemas.microsoft.com/office/powerpoint/2010/main" val="4153120645"/>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722" y="1593"/>
          <a:ext cx="1719" cy="1587"/>
        </p:xfrm>
        <a:graphic>
          <a:graphicData uri="http://schemas.openxmlformats.org/presentationml/2006/ole">
            <mc:AlternateContent xmlns:mc="http://schemas.openxmlformats.org/markup-compatibility/2006">
              <mc:Choice xmlns:v="urn:schemas-microsoft-com:vml" Requires="v">
                <p:oleObj spid="_x0000_s130285"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722" y="1593"/>
                        <a:ext cx="1719" cy="1587"/>
                      </a:xfrm>
                      <a:prstGeom prst="rect">
                        <a:avLst/>
                      </a:prstGeom>
                    </p:spPr>
                  </p:pic>
                </p:oleObj>
              </mc:Fallback>
            </mc:AlternateContent>
          </a:graphicData>
        </a:graphic>
      </p:graphicFrame>
      <p:sp>
        <p:nvSpPr>
          <p:cNvPr id="10" name="Do not remove" hidden="1"/>
          <p:cNvSpPr/>
          <p:nvPr userDrawn="1">
            <p:custDataLst>
              <p:tags r:id="rId3"/>
            </p:custDataLst>
          </p:nvPr>
        </p:nvSpPr>
        <p:spPr>
          <a:xfrm>
            <a:off x="0" y="0"/>
            <a:ext cx="13758" cy="12700"/>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US" sz="1600" kern="1200" dirty="0" smtClean="0">
              <a:solidFill>
                <a:srgbClr val="000000"/>
              </a:solidFill>
            </a:endParaRPr>
          </a:p>
        </p:txBody>
      </p:sp>
      <p:sp>
        <p:nvSpPr>
          <p:cNvPr id="2" name="McK 2. Slide Title"/>
          <p:cNvSpPr>
            <a:spLocks noGrp="1"/>
          </p:cNvSpPr>
          <p:nvPr>
            <p:ph type="title"/>
          </p:nvPr>
        </p:nvSpPr>
        <p:spPr>
          <a:xfrm>
            <a:off x="247650" y="342455"/>
            <a:ext cx="8007350" cy="338554"/>
          </a:xfrm>
        </p:spPr>
        <p:txBody>
          <a:bodyPr/>
          <a:lstStyle>
            <a:lvl1pPr>
              <a:defRPr sz="2200"/>
            </a:lvl1pPr>
          </a:lstStyle>
          <a:p>
            <a:r>
              <a:rPr lang="en-US" smtClean="0"/>
              <a:t>Click to edit Master title style</a:t>
            </a:r>
            <a:endParaRPr lang="en-US"/>
          </a:p>
        </p:txBody>
      </p:sp>
    </p:spTree>
    <p:extLst>
      <p:ext uri="{BB962C8B-B14F-4D97-AF65-F5344CB8AC3E}">
        <p14:creationId xmlns:p14="http://schemas.microsoft.com/office/powerpoint/2010/main" val="2054170708"/>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3" y="3"/>
          <a:ext cx="156346" cy="140074"/>
        </p:xfrm>
        <a:graphic>
          <a:graphicData uri="http://schemas.openxmlformats.org/presentationml/2006/ole">
            <mc:AlternateContent xmlns:mc="http://schemas.openxmlformats.org/markup-compatibility/2006">
              <mc:Choice xmlns:v="urn:schemas-microsoft-com:vml" Requires="v">
                <p:oleObj spid="_x0000_s13130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 y="3"/>
                        <a:ext cx="156346"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1"/>
          <p:cNvSpPr>
            <a:spLocks noGrp="1"/>
          </p:cNvSpPr>
          <p:nvPr>
            <p:ph type="title"/>
          </p:nvPr>
        </p:nvSpPr>
        <p:spPr>
          <a:xfrm>
            <a:off x="374543" y="293191"/>
            <a:ext cx="9005454" cy="228268"/>
          </a:xfrm>
          <a:prstGeom prst="rect">
            <a:avLst/>
          </a:prstGeom>
        </p:spPr>
        <p:txBody>
          <a:bodyPr lIns="0" tIns="0" rIns="0" bIns="0" anchor="b"/>
          <a:lstStyle>
            <a:lvl1pPr marL="0" marR="0" indent="0" algn="l" defTabSz="685160" rtl="0" eaLnBrk="1" fontAlgn="auto" latinLnBrk="0" hangingPunct="1">
              <a:lnSpc>
                <a:spcPct val="90000"/>
              </a:lnSpc>
              <a:spcBef>
                <a:spcPct val="0"/>
              </a:spcBef>
              <a:spcAft>
                <a:spcPts val="0"/>
              </a:spcAft>
              <a:buClrTx/>
              <a:buSzTx/>
              <a:buFontTx/>
              <a:buNone/>
              <a:tabLst/>
              <a:defRPr lang="en-US" sz="1648" b="1" smtClean="0">
                <a:solidFill>
                  <a:schemeClr val="tx1"/>
                </a:solidFill>
                <a:latin typeface="+mn-lt"/>
              </a:defRPr>
            </a:lvl1pPr>
          </a:lstStyle>
          <a:p>
            <a:r>
              <a:rPr lang="en-US" sz="1648"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2503868922"/>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13233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ext Placeholder 7"/>
          <p:cNvSpPr>
            <a:spLocks noGrp="1"/>
          </p:cNvSpPr>
          <p:nvPr>
            <p:ph type="body" sz="quarter" idx="13" hasCustomPrompt="1"/>
          </p:nvPr>
        </p:nvSpPr>
        <p:spPr>
          <a:xfrm>
            <a:off x="450276" y="1330699"/>
            <a:ext cx="9005453" cy="4989391"/>
          </a:xfrm>
          <a:prstGeom prst="rect">
            <a:avLst/>
          </a:prstGeom>
        </p:spPr>
        <p:txBody>
          <a:bodyPr lIns="0" tIns="0" rIns="0" bIns="0">
            <a:noAutofit/>
          </a:bodyPr>
          <a:lstStyle>
            <a:lvl1pPr marL="159731" indent="-159731">
              <a:spcBef>
                <a:spcPts val="663"/>
              </a:spcBef>
              <a:defRPr sz="1662" baseline="0"/>
            </a:lvl1pPr>
            <a:lvl2pPr marL="320928" indent="-161196">
              <a:spcBef>
                <a:spcPts val="663"/>
              </a:spcBef>
              <a:defRPr sz="1477"/>
            </a:lvl2pPr>
            <a:lvl3pPr marL="470401" indent="-149473">
              <a:buFont typeface="Courier New" pitchFamily="49" charset="0"/>
              <a:buChar char="o"/>
              <a:defRPr sz="1477"/>
            </a:lvl3pPr>
            <a:lvl4pPr marL="630131" indent="-159731">
              <a:defRPr sz="1477"/>
            </a:lvl4pPr>
            <a:lvl5pPr>
              <a:defRPr sz="1662"/>
            </a:lvl5pPr>
          </a:lstStyle>
          <a:p>
            <a:pPr lvl="0"/>
            <a:r>
              <a:rPr lang="en-US" dirty="0" smtClean="0"/>
              <a:t>Click to edit Master text first level</a:t>
            </a:r>
          </a:p>
          <a:p>
            <a:pPr lvl="1"/>
            <a:r>
              <a:rPr lang="en-US" dirty="0" smtClean="0"/>
              <a:t>Second level</a:t>
            </a:r>
          </a:p>
          <a:p>
            <a:pPr lvl="2"/>
            <a:r>
              <a:rPr lang="en-US" dirty="0" smtClean="0"/>
              <a:t>Third level</a:t>
            </a:r>
          </a:p>
          <a:p>
            <a:pPr lvl="3"/>
            <a:r>
              <a:rPr lang="en-US" dirty="0" smtClean="0"/>
              <a:t>Fourth level</a:t>
            </a:r>
          </a:p>
        </p:txBody>
      </p:sp>
      <p:sp>
        <p:nvSpPr>
          <p:cNvPr id="6" name="Title 1"/>
          <p:cNvSpPr>
            <a:spLocks noGrp="1"/>
          </p:cNvSpPr>
          <p:nvPr>
            <p:ph type="title" hasCustomPrompt="1"/>
          </p:nvPr>
        </p:nvSpPr>
        <p:spPr>
          <a:xfrm>
            <a:off x="450742" y="133086"/>
            <a:ext cx="9005454" cy="738664"/>
          </a:xfrm>
          <a:prstGeom prst="rect">
            <a:avLst/>
          </a:prstGeom>
        </p:spPr>
        <p:txBody>
          <a:bodyPr lIns="0" tIns="0" rIns="0" bIns="0" anchor="b"/>
          <a:lstStyle>
            <a:lvl1pPr algn="l">
              <a:defRPr sz="2400" b="1" baseline="0">
                <a:solidFill>
                  <a:schemeClr val="bg1"/>
                </a:solidFill>
              </a:defRPr>
            </a:lvl1pPr>
          </a:lstStyle>
          <a:p>
            <a:r>
              <a:rPr lang="en-US" dirty="0" smtClean="0"/>
              <a:t>Click to edit </a:t>
            </a:r>
            <a:br>
              <a:rPr lang="en-US" dirty="0" smtClean="0"/>
            </a:br>
            <a:r>
              <a:rPr lang="en-US" dirty="0" smtClean="0"/>
              <a:t>Master title</a:t>
            </a:r>
            <a:endParaRPr lang="en-US" dirty="0"/>
          </a:p>
        </p:txBody>
      </p:sp>
      <p:sp>
        <p:nvSpPr>
          <p:cNvPr id="12" name="Text Placeholder 9"/>
          <p:cNvSpPr>
            <a:spLocks noGrp="1"/>
          </p:cNvSpPr>
          <p:nvPr>
            <p:ph type="body" sz="quarter" idx="37" hasCustomPrompt="1"/>
          </p:nvPr>
        </p:nvSpPr>
        <p:spPr>
          <a:xfrm>
            <a:off x="450284" y="6549116"/>
            <a:ext cx="7626926" cy="284052"/>
          </a:xfrm>
          <a:prstGeom prst="rect">
            <a:avLst/>
          </a:prstGeom>
        </p:spPr>
        <p:txBody>
          <a:bodyPr lIns="0" tIns="0" rIns="0" bIns="0" anchor="b"/>
          <a:lstStyle>
            <a:lvl1pPr marL="0" indent="0">
              <a:buNone/>
              <a:defRPr sz="923"/>
            </a:lvl1pPr>
          </a:lstStyle>
          <a:p>
            <a:r>
              <a:rPr lang="en-US" dirty="0" smtClean="0"/>
              <a:t>Click to edit Master footer. This space is reserved for footnotes and sources only, and cannot be expanded beyond its current size.                                        </a:t>
            </a:r>
            <a:r>
              <a:rPr lang="en-IN" dirty="0" smtClean="0"/>
              <a:t>Source: [Author/Publisher Name], [Report Name], [Year]</a:t>
            </a:r>
          </a:p>
        </p:txBody>
      </p:sp>
    </p:spTree>
    <p:extLst>
      <p:ext uri="{BB962C8B-B14F-4D97-AF65-F5344CB8AC3E}">
        <p14:creationId xmlns:p14="http://schemas.microsoft.com/office/powerpoint/2010/main" val="789445581"/>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13845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721" y="1589"/>
                        <a:ext cx="1719" cy="1587"/>
                      </a:xfrm>
                      <a:prstGeom prst="rect">
                        <a:avLst/>
                      </a:prstGeom>
                    </p:spPr>
                  </p:pic>
                </p:oleObj>
              </mc:Fallback>
            </mc:AlternateContent>
          </a:graphicData>
        </a:graphic>
      </p:graphicFrame>
      <p:pic>
        <p:nvPicPr>
          <p:cNvPr id="12" name="Picture 11" descr="covertemps-5.jpg"/>
          <p:cNvPicPr>
            <a:picLocks noChangeAspect="1"/>
          </p:cNvPicPr>
          <p:nvPr userDrawn="1"/>
        </p:nvPicPr>
        <p:blipFill>
          <a:blip r:embed="rId6" cstate="print">
            <a:extLst>
              <a:ext uri="{28A0092B-C50C-407E-A947-70E740481C1C}">
                <a14:useLocalDpi xmlns:a14="http://schemas.microsoft.com/office/drawing/2010/main" val="0"/>
              </a:ext>
            </a:extLst>
          </a:blip>
          <a:srcRect b="13333"/>
          <a:stretch>
            <a:fillRect/>
          </a:stretch>
        </p:blipFill>
        <p:spPr bwMode="ltGray">
          <a:xfrm>
            <a:off x="0" y="0"/>
            <a:ext cx="9906000" cy="5943600"/>
          </a:xfrm>
          <a:prstGeom prst="rect">
            <a:avLst/>
          </a:prstGeom>
        </p:spPr>
      </p:pic>
      <p:sp>
        <p:nvSpPr>
          <p:cNvPr id="5" name="doc id"/>
          <p:cNvSpPr txBox="1">
            <a:spLocks noChangeArrowheads="1"/>
          </p:cNvSpPr>
          <p:nvPr/>
        </p:nvSpPr>
        <p:spPr bwMode="auto">
          <a:xfrm>
            <a:off x="9332171" y="37255"/>
            <a:ext cx="326398"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3314" name="Rectangle 1026"/>
          <p:cNvSpPr>
            <a:spLocks noGrp="1" noChangeArrowheads="1"/>
          </p:cNvSpPr>
          <p:nvPr>
            <p:ph type="ctrTitle"/>
          </p:nvPr>
        </p:nvSpPr>
        <p:spPr bwMode="auto">
          <a:xfrm>
            <a:off x="664662" y="1282691"/>
            <a:ext cx="8531407" cy="507831"/>
          </a:xfrm>
          <a:prstGeom prst="rect">
            <a:avLst/>
          </a:prstGeom>
        </p:spPr>
        <p:txBody>
          <a:bodyPr anchor="t">
            <a:spAutoFit/>
          </a:bodyPr>
          <a:lstStyle>
            <a:lvl1pPr>
              <a:defRPr sz="3300" b="0" baseline="0">
                <a:solidFill>
                  <a:schemeClr val="bg1"/>
                </a:solidFill>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664662" y="2793630"/>
            <a:ext cx="8531407" cy="219820"/>
          </a:xfrm>
        </p:spPr>
        <p:txBody>
          <a:bodyPr wrap="square">
            <a:spAutoFit/>
          </a:bodyPr>
          <a:lstStyle>
            <a:lvl1pPr>
              <a:defRPr sz="1400" baseline="0">
                <a:solidFill>
                  <a:schemeClr val="bg1"/>
                </a:solidFill>
                <a:latin typeface="+mn-lt"/>
                <a:ea typeface="+mn-ea"/>
              </a:defRPr>
            </a:lvl1pPr>
          </a:lstStyle>
          <a:p>
            <a:pPr lvl="0"/>
            <a:r>
              <a:rPr lang="en-US" noProof="0"/>
              <a:t>Click to edit Master subtitle style</a:t>
            </a:r>
            <a:endParaRPr lang="en-US" noProof="0" dirty="0"/>
          </a:p>
        </p:txBody>
      </p:sp>
      <p:sp>
        <p:nvSpPr>
          <p:cNvPr id="16" name="Document type" hidden="1"/>
          <p:cNvSpPr txBox="1">
            <a:spLocks noChangeArrowheads="1"/>
          </p:cNvSpPr>
          <p:nvPr userDrawn="1"/>
        </p:nvSpPr>
        <p:spPr bwMode="auto">
          <a:xfrm>
            <a:off x="664662" y="4016558"/>
            <a:ext cx="853140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lang="x-none"/>
            </a:pPr>
            <a:r>
              <a:rPr kumimoji="0" lang="x-none" sz="1400" b="0" i="0" u="none" strike="noStrike" kern="1200" cap="none" spc="0" normalizeH="0" baseline="0" noProof="0" dirty="0">
                <a:ln>
                  <a:noFill/>
                </a:ln>
                <a:solidFill>
                  <a:srgbClr val="FFFFFF"/>
                </a:solidFill>
                <a:effectLst/>
                <a:uLnTx/>
                <a:uFillTx/>
                <a:latin typeface="Arial"/>
                <a:ea typeface="+mn-ea"/>
                <a:cs typeface="+mn-cs"/>
              </a:rPr>
              <a:t>Document type | Date</a:t>
            </a:r>
          </a:p>
        </p:txBody>
      </p:sp>
    </p:spTree>
    <p:extLst>
      <p:ext uri="{BB962C8B-B14F-4D97-AF65-F5344CB8AC3E}">
        <p14:creationId xmlns:p14="http://schemas.microsoft.com/office/powerpoint/2010/main" val="377847888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139479"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721" y="1589"/>
                        <a:ext cx="1719" cy="1587"/>
                      </a:xfrm>
                      <a:prstGeom prst="rect">
                        <a:avLst/>
                      </a:prstGeom>
                    </p:spPr>
                  </p:pic>
                </p:oleObj>
              </mc:Fallback>
            </mc:AlternateContent>
          </a:graphicData>
        </a:graphic>
      </p:graphicFrame>
      <p:sp>
        <p:nvSpPr>
          <p:cNvPr id="10" name="Do not remove" hidden="1"/>
          <p:cNvSpPr/>
          <p:nvPr userDrawn="1">
            <p:custDataLst>
              <p:tags r:id="rId3"/>
            </p:custDataLst>
          </p:nvPr>
        </p:nvSpPr>
        <p:spPr>
          <a:xfrm>
            <a:off x="0" y="0"/>
            <a:ext cx="13758" cy="12700"/>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2" name="McK 2. Slide Title"/>
          <p:cNvSpPr>
            <a:spLocks noGrp="1"/>
          </p:cNvSpPr>
          <p:nvPr>
            <p:ph type="title"/>
          </p:nvPr>
        </p:nvSpPr>
        <p:spPr>
          <a:xfrm>
            <a:off x="247650" y="388621"/>
            <a:ext cx="8007350" cy="292388"/>
          </a:xfrm>
        </p:spPr>
        <p:txBody>
          <a:bodyPr/>
          <a:lstStyle>
            <a:lvl1pPr>
              <a:defRPr sz="1900"/>
            </a:lvl1pPr>
          </a:lstStyle>
          <a:p>
            <a:r>
              <a:rPr lang="en-US" dirty="0"/>
              <a:t>Click to edit Master title style</a:t>
            </a:r>
          </a:p>
        </p:txBody>
      </p:sp>
    </p:spTree>
    <p:extLst>
      <p:ext uri="{BB962C8B-B14F-4D97-AF65-F5344CB8AC3E}">
        <p14:creationId xmlns:p14="http://schemas.microsoft.com/office/powerpoint/2010/main" val="375180952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3"/>
          <a:ext cx="156346" cy="140074"/>
        </p:xfrm>
        <a:graphic>
          <a:graphicData uri="http://schemas.openxmlformats.org/presentationml/2006/ole">
            <mc:AlternateContent xmlns:mc="http://schemas.openxmlformats.org/markup-compatibility/2006">
              <mc:Choice xmlns:v="urn:schemas-microsoft-com:vml" Requires="v">
                <p:oleObj spid="_x0000_s140503"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3"/>
                        <a:ext cx="156346"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1"/>
          <p:cNvSpPr>
            <a:spLocks noGrp="1"/>
          </p:cNvSpPr>
          <p:nvPr>
            <p:ph type="title"/>
          </p:nvPr>
        </p:nvSpPr>
        <p:spPr>
          <a:xfrm>
            <a:off x="374543" y="293191"/>
            <a:ext cx="9005454" cy="228268"/>
          </a:xfrm>
          <a:prstGeom prst="rect">
            <a:avLst/>
          </a:prstGeom>
        </p:spPr>
        <p:txBody>
          <a:bodyPr lIns="0" tIns="0" rIns="0" bIns="0" anchor="b"/>
          <a:lstStyle>
            <a:lvl1pPr marL="0" marR="0" indent="0" algn="l" defTabSz="685160" rtl="0" eaLnBrk="1" fontAlgn="auto" latinLnBrk="0" hangingPunct="1">
              <a:lnSpc>
                <a:spcPct val="90000"/>
              </a:lnSpc>
              <a:spcBef>
                <a:spcPct val="0"/>
              </a:spcBef>
              <a:spcAft>
                <a:spcPts val="0"/>
              </a:spcAft>
              <a:buClrTx/>
              <a:buSzTx/>
              <a:buFontTx/>
              <a:buNone/>
              <a:tabLst/>
              <a:defRPr lang="en-US" sz="1648" b="1" smtClean="0">
                <a:solidFill>
                  <a:schemeClr val="tx1"/>
                </a:solidFill>
                <a:latin typeface="+mn-lt"/>
              </a:defRPr>
            </a:lvl1pPr>
          </a:lstStyle>
          <a:p>
            <a:r>
              <a:rPr lang="en-US" sz="1648"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5821713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3_Text">
  <p:cSld name="3_Text">
    <p:spTree>
      <p:nvGrpSpPr>
        <p:cNvPr id="1" name="Shape 69"/>
        <p:cNvGrpSpPr/>
        <p:nvPr/>
      </p:nvGrpSpPr>
      <p:grpSpPr>
        <a:xfrm>
          <a:off x="0" y="0"/>
          <a:ext cx="0" cy="0"/>
          <a:chOff x="0" y="0"/>
          <a:chExt cx="0" cy="0"/>
        </a:xfrm>
      </p:grpSpPr>
      <p:pic>
        <p:nvPicPr>
          <p:cNvPr id="70" name="Google Shape;70;p11"/>
          <p:cNvPicPr preferRelativeResize="0"/>
          <p:nvPr/>
        </p:nvPicPr>
        <p:blipFill rotWithShape="1">
          <a:blip r:embed="rId2">
            <a:alphaModFix/>
          </a:blip>
          <a:srcRect/>
          <a:stretch/>
        </p:blipFill>
        <p:spPr>
          <a:xfrm>
            <a:off x="1" y="3"/>
            <a:ext cx="156345" cy="140074"/>
          </a:xfrm>
          <a:prstGeom prst="rect">
            <a:avLst/>
          </a:prstGeom>
          <a:noFill/>
          <a:ln>
            <a:noFill/>
          </a:ln>
        </p:spPr>
      </p:pic>
      <p:sp>
        <p:nvSpPr>
          <p:cNvPr id="71" name="Google Shape;71;p11"/>
          <p:cNvSpPr txBox="1">
            <a:spLocks noGrp="1"/>
          </p:cNvSpPr>
          <p:nvPr>
            <p:ph type="body" idx="1"/>
          </p:nvPr>
        </p:nvSpPr>
        <p:spPr>
          <a:xfrm>
            <a:off x="450588" y="6055245"/>
            <a:ext cx="7702813" cy="386679"/>
          </a:xfrm>
          <a:prstGeom prst="rect">
            <a:avLst/>
          </a:prstGeom>
          <a:noFill/>
          <a:ln>
            <a:noFill/>
          </a:ln>
        </p:spPr>
        <p:txBody>
          <a:bodyPr spcFirstLastPara="1" wrap="square" lIns="0" tIns="0" rIns="0" bIns="0" anchor="b" anchorCtr="0"/>
          <a:lstStyle>
            <a:lvl1pPr marL="457200" marR="0" lvl="0" indent="-228600" algn="l" rtl="0">
              <a:lnSpc>
                <a:spcPct val="90000"/>
              </a:lnSpc>
              <a:spcBef>
                <a:spcPts val="1000"/>
              </a:spcBef>
              <a:spcAft>
                <a:spcPts val="0"/>
              </a:spcAft>
              <a:buClr>
                <a:schemeClr val="dk1"/>
              </a:buClr>
              <a:buSzPts val="923"/>
              <a:buFont typeface="Arial"/>
              <a:buNone/>
              <a:defRPr sz="922" b="0"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72" name="Google Shape;72;p11"/>
          <p:cNvSpPr txBox="1">
            <a:spLocks noGrp="1"/>
          </p:cNvSpPr>
          <p:nvPr>
            <p:ph type="title"/>
          </p:nvPr>
        </p:nvSpPr>
        <p:spPr>
          <a:xfrm>
            <a:off x="450741" y="134054"/>
            <a:ext cx="7245459" cy="582389"/>
          </a:xfrm>
          <a:prstGeom prst="rect">
            <a:avLst/>
          </a:prstGeom>
          <a:noFill/>
          <a:ln>
            <a:noFill/>
          </a:ln>
        </p:spPr>
        <p:txBody>
          <a:bodyPr spcFirstLastPara="1" wrap="square" lIns="0" tIns="0" rIns="0" bIns="0" anchor="b" anchorCtr="0"/>
          <a:lstStyle>
            <a:lvl1pPr marR="0" lvl="0" algn="l" rtl="0">
              <a:lnSpc>
                <a:spcPct val="90000"/>
              </a:lnSpc>
              <a:spcBef>
                <a:spcPts val="0"/>
              </a:spcBef>
              <a:spcAft>
                <a:spcPts val="0"/>
              </a:spcAft>
              <a:buClr>
                <a:schemeClr val="dk1"/>
              </a:buClr>
              <a:buSzPts val="2200"/>
              <a:buFont typeface="Arial"/>
              <a:buNone/>
              <a:defRPr sz="2200" b="1"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95300" y="6356351"/>
            <a:ext cx="2311400" cy="365125"/>
          </a:xfrm>
          <a:prstGeom prst="rect">
            <a:avLst/>
          </a:prstGeo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2CBB78D2-3EDF-44DD-BD93-60A225E69B3E}" type="datetimeFigureOut">
              <a:rPr kumimoji="0" lang="en-US" sz="16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8/23/2019</a:t>
            </a:fld>
            <a:endParaRPr kumimoji="0" lang="en-US" sz="16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sp>
        <p:nvSpPr>
          <p:cNvPr id="5" name="Footer Placeholder 4"/>
          <p:cNvSpPr>
            <a:spLocks noGrp="1"/>
          </p:cNvSpPr>
          <p:nvPr>
            <p:ph type="ftr" sz="quarter" idx="11"/>
          </p:nvPr>
        </p:nvSpPr>
        <p:spPr>
          <a:xfrm>
            <a:off x="3384550" y="6356351"/>
            <a:ext cx="3136900" cy="365125"/>
          </a:xfrm>
          <a:prstGeom prst="rect">
            <a:avLst/>
          </a:prstGeo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sp>
        <p:nvSpPr>
          <p:cNvPr id="6" name="Slide Number Placeholder 5"/>
          <p:cNvSpPr>
            <a:spLocks noGrp="1"/>
          </p:cNvSpPr>
          <p:nvPr>
            <p:ph type="sldNum" sz="quarter" idx="12"/>
          </p:nvPr>
        </p:nvSpPr>
        <p:spPr>
          <a:xfrm>
            <a:off x="7099300" y="6356351"/>
            <a:ext cx="2311400" cy="365125"/>
          </a:xfrm>
          <a:prstGeom prst="rect">
            <a:avLst/>
          </a:prstGeo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4FAD6F48-C937-4B90-AF1D-01ADEA9D6D76}" type="slidenum">
              <a:rPr kumimoji="0" lang="en-US" sz="16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a:t>
            </a:fld>
            <a:endParaRPr kumimoji="0" lang="en-US" sz="16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spTree>
    <p:extLst>
      <p:ext uri="{BB962C8B-B14F-4D97-AF65-F5344CB8AC3E}">
        <p14:creationId xmlns:p14="http://schemas.microsoft.com/office/powerpoint/2010/main" val="312694206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141527"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ext Placeholder 7"/>
          <p:cNvSpPr>
            <a:spLocks noGrp="1"/>
          </p:cNvSpPr>
          <p:nvPr>
            <p:ph type="body" sz="quarter" idx="13" hasCustomPrompt="1"/>
          </p:nvPr>
        </p:nvSpPr>
        <p:spPr>
          <a:xfrm>
            <a:off x="450276" y="1330699"/>
            <a:ext cx="9005453" cy="4989391"/>
          </a:xfrm>
          <a:prstGeom prst="rect">
            <a:avLst/>
          </a:prstGeom>
        </p:spPr>
        <p:txBody>
          <a:bodyPr lIns="0" tIns="0" rIns="0" bIns="0">
            <a:noAutofit/>
          </a:bodyPr>
          <a:lstStyle>
            <a:lvl1pPr marL="159731" indent="-159731">
              <a:spcBef>
                <a:spcPts val="663"/>
              </a:spcBef>
              <a:defRPr sz="1662" baseline="0"/>
            </a:lvl1pPr>
            <a:lvl2pPr marL="320928" indent="-161196">
              <a:spcBef>
                <a:spcPts val="663"/>
              </a:spcBef>
              <a:defRPr sz="1477"/>
            </a:lvl2pPr>
            <a:lvl3pPr marL="470401" indent="-149473">
              <a:buFont typeface="Courier New" pitchFamily="49" charset="0"/>
              <a:buChar char="o"/>
              <a:defRPr sz="1477"/>
            </a:lvl3pPr>
            <a:lvl4pPr marL="630131" indent="-159731">
              <a:defRPr sz="1477"/>
            </a:lvl4pPr>
            <a:lvl5pPr>
              <a:defRPr sz="1662"/>
            </a:lvl5pPr>
          </a:lstStyle>
          <a:p>
            <a:pPr lvl="0"/>
            <a:r>
              <a:rPr lang="en-US" dirty="0"/>
              <a:t>Click to edit Master text first level</a:t>
            </a:r>
          </a:p>
          <a:p>
            <a:pPr lvl="1"/>
            <a:r>
              <a:rPr lang="en-US" dirty="0"/>
              <a:t>Second level</a:t>
            </a:r>
          </a:p>
          <a:p>
            <a:pPr lvl="2"/>
            <a:r>
              <a:rPr lang="en-US" dirty="0"/>
              <a:t>Third level</a:t>
            </a:r>
          </a:p>
          <a:p>
            <a:pPr lvl="3"/>
            <a:r>
              <a:rPr lang="en-US" dirty="0"/>
              <a:t>Fourth level</a:t>
            </a:r>
          </a:p>
        </p:txBody>
      </p:sp>
      <p:sp>
        <p:nvSpPr>
          <p:cNvPr id="6" name="Title 1"/>
          <p:cNvSpPr>
            <a:spLocks noGrp="1"/>
          </p:cNvSpPr>
          <p:nvPr>
            <p:ph type="title" hasCustomPrompt="1"/>
          </p:nvPr>
        </p:nvSpPr>
        <p:spPr>
          <a:xfrm>
            <a:off x="450742" y="133087"/>
            <a:ext cx="9005454" cy="738664"/>
          </a:xfrm>
          <a:prstGeom prst="rect">
            <a:avLst/>
          </a:prstGeom>
        </p:spPr>
        <p:txBody>
          <a:bodyPr lIns="0" tIns="0" rIns="0" bIns="0" anchor="b"/>
          <a:lstStyle>
            <a:lvl1pPr algn="l">
              <a:defRPr sz="2400" b="1" baseline="0">
                <a:solidFill>
                  <a:schemeClr val="bg1"/>
                </a:solidFill>
              </a:defRPr>
            </a:lvl1pPr>
          </a:lstStyle>
          <a:p>
            <a:r>
              <a:rPr lang="en-US" dirty="0"/>
              <a:t>Click to edit </a:t>
            </a:r>
            <a:br>
              <a:rPr lang="en-US" dirty="0"/>
            </a:br>
            <a:r>
              <a:rPr lang="en-US" dirty="0"/>
              <a:t>Master title</a:t>
            </a:r>
          </a:p>
        </p:txBody>
      </p:sp>
      <p:sp>
        <p:nvSpPr>
          <p:cNvPr id="12" name="Text Placeholder 9"/>
          <p:cNvSpPr>
            <a:spLocks noGrp="1"/>
          </p:cNvSpPr>
          <p:nvPr>
            <p:ph type="body" sz="quarter" idx="37" hasCustomPrompt="1"/>
          </p:nvPr>
        </p:nvSpPr>
        <p:spPr>
          <a:xfrm>
            <a:off x="450275" y="6549116"/>
            <a:ext cx="7626926" cy="284052"/>
          </a:xfrm>
          <a:prstGeom prst="rect">
            <a:avLst/>
          </a:prstGeom>
        </p:spPr>
        <p:txBody>
          <a:bodyPr lIns="0" tIns="0" rIns="0" bIns="0" anchor="b"/>
          <a:lstStyle>
            <a:lvl1pPr marL="0" indent="0">
              <a:buNone/>
              <a:defRPr sz="923"/>
            </a:lvl1pPr>
          </a:lstStyle>
          <a:p>
            <a:r>
              <a:rPr lang="en-US" dirty="0"/>
              <a:t>Click to edit Master footer. This space is reserved for footnotes and sources only, and cannot be expanded beyond its current size.                                        </a:t>
            </a:r>
            <a:r>
              <a:rPr lang="en-IN" dirty="0"/>
              <a:t>Source: [Author/Publisher Name], [Report Name], [Year]</a:t>
            </a:r>
          </a:p>
        </p:txBody>
      </p:sp>
    </p:spTree>
    <p:extLst>
      <p:ext uri="{BB962C8B-B14F-4D97-AF65-F5344CB8AC3E}">
        <p14:creationId xmlns:p14="http://schemas.microsoft.com/office/powerpoint/2010/main" val="256916755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matchingName="2_Blank">
  <p:cSld name="2_Blank">
    <p:bg>
      <p:bgPr>
        <a:solidFill>
          <a:srgbClr val="A8D08C"/>
        </a:solidFill>
        <a:effectLst/>
      </p:bgPr>
    </p:bg>
    <p:spTree>
      <p:nvGrpSpPr>
        <p:cNvPr id="1" name="Shape 77"/>
        <p:cNvGrpSpPr/>
        <p:nvPr/>
      </p:nvGrpSpPr>
      <p:grpSpPr>
        <a:xfrm>
          <a:off x="0" y="0"/>
          <a:ext cx="0" cy="0"/>
          <a:chOff x="0" y="0"/>
          <a:chExt cx="0" cy="0"/>
        </a:xfrm>
      </p:grpSpPr>
      <p:pic>
        <p:nvPicPr>
          <p:cNvPr id="78" name="Google Shape;78;p13"/>
          <p:cNvPicPr preferRelativeResize="0"/>
          <p:nvPr/>
        </p:nvPicPr>
        <p:blipFill rotWithShape="1">
          <a:blip r:embed="rId2">
            <a:alphaModFix/>
          </a:blip>
          <a:srcRect/>
          <a:stretch/>
        </p:blipFill>
        <p:spPr>
          <a:xfrm>
            <a:off x="1588" y="1588"/>
            <a:ext cx="1588" cy="1588"/>
          </a:xfrm>
          <a:prstGeom prst="rect">
            <a:avLst/>
          </a:prstGeom>
          <a:noFill/>
          <a:ln>
            <a:noFill/>
          </a:ln>
        </p:spPr>
      </p:pic>
      <p:pic>
        <p:nvPicPr>
          <p:cNvPr id="79" name="Google Shape;79;p13"/>
          <p:cNvPicPr preferRelativeResize="0"/>
          <p:nvPr/>
        </p:nvPicPr>
        <p:blipFill rotWithShape="1">
          <a:blip r:embed="rId3">
            <a:alphaModFix/>
          </a:blip>
          <a:srcRect/>
          <a:stretch/>
        </p:blipFill>
        <p:spPr>
          <a:xfrm>
            <a:off x="0" y="5947172"/>
            <a:ext cx="9906000" cy="910828"/>
          </a:xfrm>
          <a:prstGeom prst="rect">
            <a:avLst/>
          </a:prstGeom>
          <a:noFill/>
          <a:ln>
            <a:noFill/>
          </a:ln>
        </p:spPr>
      </p:pic>
      <p:sp>
        <p:nvSpPr>
          <p:cNvPr id="80" name="Google Shape;80;p13"/>
          <p:cNvSpPr txBox="1">
            <a:spLocks noGrp="1"/>
          </p:cNvSpPr>
          <p:nvPr>
            <p:ph type="title"/>
          </p:nvPr>
        </p:nvSpPr>
        <p:spPr>
          <a:xfrm>
            <a:off x="577850" y="2514600"/>
            <a:ext cx="8915400" cy="1143000"/>
          </a:xfrm>
          <a:prstGeom prst="rect">
            <a:avLst/>
          </a:prstGeom>
          <a:noFill/>
          <a:ln>
            <a:noFill/>
          </a:ln>
        </p:spPr>
        <p:txBody>
          <a:bodyPr spcFirstLastPara="1" wrap="square" lIns="91425" tIns="45700" rIns="91425" bIns="45700" anchor="t" anchorCtr="0"/>
          <a:lstStyle>
            <a:lvl1pPr marR="0" lvl="0" algn="l" rtl="0">
              <a:lnSpc>
                <a:spcPct val="90000"/>
              </a:lnSpc>
              <a:spcBef>
                <a:spcPts val="0"/>
              </a:spcBef>
              <a:spcAft>
                <a:spcPts val="0"/>
              </a:spcAft>
              <a:buClr>
                <a:srgbClr val="385623"/>
              </a:buClr>
              <a:buSzPts val="4400"/>
              <a:buFont typeface="Arial"/>
              <a:buNone/>
              <a:defRPr sz="4400" b="0" i="0" u="none" strike="noStrike" cap="none">
                <a:solidFill>
                  <a:srgbClr val="385623"/>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extLst>
      <p:ext uri="{BB962C8B-B14F-4D97-AF65-F5344CB8AC3E}">
        <p14:creationId xmlns:p14="http://schemas.microsoft.com/office/powerpoint/2010/main" val="216617625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5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174228" name="think-cell Slide" r:id="rId5" imgW="270" imgH="270" progId="TCLayout.ActiveDocument.1">
                  <p:embed/>
                </p:oleObj>
              </mc:Choice>
              <mc:Fallback>
                <p:oleObj name="think-cell Slide" r:id="rId5" imgW="270" imgH="27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200" b="1" i="0" baseline="0" dirty="0">
              <a:latin typeface="Calibri" panose="020F0502020204030204" pitchFamily="34" charset="0"/>
              <a:ea typeface="+mj-ea"/>
              <a:cs typeface="Arial" panose="020B0604020202020204" pitchFamily="34" charset="0"/>
              <a:sym typeface="Calibri" panose="020F0502020204030204" pitchFamily="34" charset="0"/>
            </a:endParaRPr>
          </a:p>
        </p:txBody>
      </p:sp>
      <p:sp>
        <p:nvSpPr>
          <p:cNvPr id="6"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387411828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14357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721" y="1589"/>
                        <a:ext cx="1719" cy="1587"/>
                      </a:xfrm>
                      <a:prstGeom prst="rect">
                        <a:avLst/>
                      </a:prstGeom>
                    </p:spPr>
                  </p:pic>
                </p:oleObj>
              </mc:Fallback>
            </mc:AlternateContent>
          </a:graphicData>
        </a:graphic>
      </p:graphicFrame>
      <p:pic>
        <p:nvPicPr>
          <p:cNvPr id="12" name="Picture 11" descr="covertemps-5.jpg"/>
          <p:cNvPicPr>
            <a:picLocks noChangeAspect="1"/>
          </p:cNvPicPr>
          <p:nvPr userDrawn="1"/>
        </p:nvPicPr>
        <p:blipFill>
          <a:blip r:embed="rId6" cstate="print">
            <a:extLst>
              <a:ext uri="{28A0092B-C50C-407E-A947-70E740481C1C}">
                <a14:useLocalDpi xmlns:a14="http://schemas.microsoft.com/office/drawing/2010/main" val="0"/>
              </a:ext>
            </a:extLst>
          </a:blip>
          <a:srcRect b="13333"/>
          <a:stretch>
            <a:fillRect/>
          </a:stretch>
        </p:blipFill>
        <p:spPr bwMode="ltGray">
          <a:xfrm>
            <a:off x="0" y="0"/>
            <a:ext cx="9906000" cy="5943600"/>
          </a:xfrm>
          <a:prstGeom prst="rect">
            <a:avLst/>
          </a:prstGeom>
        </p:spPr>
      </p:pic>
      <p:sp>
        <p:nvSpPr>
          <p:cNvPr id="5" name="doc id"/>
          <p:cNvSpPr txBox="1">
            <a:spLocks noChangeArrowheads="1"/>
          </p:cNvSpPr>
          <p:nvPr/>
        </p:nvSpPr>
        <p:spPr bwMode="auto">
          <a:xfrm>
            <a:off x="9332171" y="37255"/>
            <a:ext cx="326398"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smtClean="0">
              <a:ln>
                <a:noFill/>
              </a:ln>
              <a:solidFill>
                <a:srgbClr val="000000"/>
              </a:solidFill>
              <a:effectLst/>
              <a:uLnTx/>
              <a:uFillTx/>
              <a:latin typeface="Arial"/>
              <a:ea typeface="+mn-ea"/>
              <a:cs typeface="+mn-cs"/>
            </a:endParaRPr>
          </a:p>
        </p:txBody>
      </p:sp>
      <p:sp>
        <p:nvSpPr>
          <p:cNvPr id="13314" name="Rectangle 1026"/>
          <p:cNvSpPr>
            <a:spLocks noGrp="1" noChangeArrowheads="1"/>
          </p:cNvSpPr>
          <p:nvPr>
            <p:ph type="ctrTitle"/>
          </p:nvPr>
        </p:nvSpPr>
        <p:spPr bwMode="auto">
          <a:xfrm>
            <a:off x="664662" y="1282691"/>
            <a:ext cx="8531407" cy="507831"/>
          </a:xfrm>
          <a:prstGeom prst="rect">
            <a:avLst/>
          </a:prstGeom>
        </p:spPr>
        <p:txBody>
          <a:bodyPr anchor="t">
            <a:spAutoFit/>
          </a:bodyPr>
          <a:lstStyle>
            <a:lvl1pPr>
              <a:defRPr sz="3300" b="0"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664662" y="2793630"/>
            <a:ext cx="8531407" cy="219820"/>
          </a:xfrm>
        </p:spPr>
        <p:txBody>
          <a:bodyPr wrap="square">
            <a:spAutoFit/>
          </a:bodyPr>
          <a:lstStyle>
            <a:lvl1pPr>
              <a:defRPr sz="1400" baseline="0">
                <a:solidFill>
                  <a:schemeClr val="bg1"/>
                </a:solidFill>
                <a:latin typeface="+mn-lt"/>
                <a:ea typeface="+mn-ea"/>
              </a:defRPr>
            </a:lvl1pPr>
          </a:lstStyle>
          <a:p>
            <a:pPr lvl="0"/>
            <a:r>
              <a:rPr lang="en-US" noProof="0" smtClean="0"/>
              <a:t>Click to edit Master subtitle style</a:t>
            </a:r>
            <a:endParaRPr lang="en-US" noProof="0" dirty="0" smtClean="0"/>
          </a:p>
        </p:txBody>
      </p:sp>
      <p:sp>
        <p:nvSpPr>
          <p:cNvPr id="16" name="Document type" hidden="1"/>
          <p:cNvSpPr txBox="1">
            <a:spLocks noChangeArrowheads="1"/>
          </p:cNvSpPr>
          <p:nvPr userDrawn="1"/>
        </p:nvSpPr>
        <p:spPr bwMode="auto">
          <a:xfrm>
            <a:off x="664662" y="4016558"/>
            <a:ext cx="853140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lang="x-none"/>
            </a:pPr>
            <a:r>
              <a:rPr kumimoji="0" lang="x-none" sz="1400" b="0" i="0" u="none" strike="noStrike" kern="1200" cap="none" spc="0" normalizeH="0" baseline="0" noProof="0" dirty="0" smtClean="0">
                <a:ln>
                  <a:noFill/>
                </a:ln>
                <a:solidFill>
                  <a:srgbClr val="FFFFFF"/>
                </a:solidFill>
                <a:effectLst/>
                <a:uLnTx/>
                <a:uFillTx/>
                <a:latin typeface="Arial"/>
                <a:ea typeface="+mn-ea"/>
                <a:cs typeface="+mn-cs"/>
              </a:rPr>
              <a:t>Document type | Date</a:t>
            </a:r>
          </a:p>
        </p:txBody>
      </p:sp>
    </p:spTree>
    <p:extLst>
      <p:ext uri="{BB962C8B-B14F-4D97-AF65-F5344CB8AC3E}">
        <p14:creationId xmlns:p14="http://schemas.microsoft.com/office/powerpoint/2010/main" val="2565281123"/>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144596"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721" y="1589"/>
                        <a:ext cx="1719" cy="1587"/>
                      </a:xfrm>
                      <a:prstGeom prst="rect">
                        <a:avLst/>
                      </a:prstGeom>
                    </p:spPr>
                  </p:pic>
                </p:oleObj>
              </mc:Fallback>
            </mc:AlternateContent>
          </a:graphicData>
        </a:graphic>
      </p:graphicFrame>
      <p:sp>
        <p:nvSpPr>
          <p:cNvPr id="10" name="Do not remove" hidden="1"/>
          <p:cNvSpPr/>
          <p:nvPr userDrawn="1">
            <p:custDataLst>
              <p:tags r:id="rId3"/>
            </p:custDataLst>
          </p:nvPr>
        </p:nvSpPr>
        <p:spPr>
          <a:xfrm>
            <a:off x="0" y="0"/>
            <a:ext cx="13758" cy="12700"/>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smtClean="0">
              <a:ln>
                <a:noFill/>
              </a:ln>
              <a:solidFill>
                <a:srgbClr val="000000"/>
              </a:solidFill>
              <a:effectLst/>
              <a:uLnTx/>
              <a:uFillTx/>
              <a:latin typeface="Arial"/>
              <a:ea typeface="+mn-ea"/>
              <a:cs typeface="+mn-cs"/>
            </a:endParaRPr>
          </a:p>
        </p:txBody>
      </p:sp>
      <p:sp>
        <p:nvSpPr>
          <p:cNvPr id="2" name="McK 2. Slide Title"/>
          <p:cNvSpPr>
            <a:spLocks noGrp="1"/>
          </p:cNvSpPr>
          <p:nvPr>
            <p:ph type="title"/>
          </p:nvPr>
        </p:nvSpPr>
        <p:spPr>
          <a:xfrm>
            <a:off x="247650" y="388621"/>
            <a:ext cx="8007350" cy="292388"/>
          </a:xfrm>
        </p:spPr>
        <p:txBody>
          <a:bodyPr/>
          <a:lstStyle>
            <a:lvl1pPr>
              <a:defRPr sz="1900"/>
            </a:lvl1pPr>
          </a:lstStyle>
          <a:p>
            <a:r>
              <a:rPr lang="en-US" dirty="0" smtClean="0"/>
              <a:t>Click to edit Master title style</a:t>
            </a:r>
            <a:endParaRPr lang="en-US" dirty="0"/>
          </a:p>
        </p:txBody>
      </p:sp>
    </p:spTree>
    <p:extLst>
      <p:ext uri="{BB962C8B-B14F-4D97-AF65-F5344CB8AC3E}">
        <p14:creationId xmlns:p14="http://schemas.microsoft.com/office/powerpoint/2010/main" val="630760071"/>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3"/>
          <a:ext cx="156346" cy="140074"/>
        </p:xfrm>
        <a:graphic>
          <a:graphicData uri="http://schemas.openxmlformats.org/presentationml/2006/ole">
            <mc:AlternateContent xmlns:mc="http://schemas.openxmlformats.org/markup-compatibility/2006">
              <mc:Choice xmlns:v="urn:schemas-microsoft-com:vml" Requires="v">
                <p:oleObj spid="_x0000_s145620"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3"/>
                        <a:ext cx="156346"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1"/>
          <p:cNvSpPr>
            <a:spLocks noGrp="1"/>
          </p:cNvSpPr>
          <p:nvPr>
            <p:ph type="title"/>
          </p:nvPr>
        </p:nvSpPr>
        <p:spPr>
          <a:xfrm>
            <a:off x="374543" y="293191"/>
            <a:ext cx="9005454" cy="228268"/>
          </a:xfrm>
          <a:prstGeom prst="rect">
            <a:avLst/>
          </a:prstGeom>
        </p:spPr>
        <p:txBody>
          <a:bodyPr lIns="0" tIns="0" rIns="0" bIns="0" anchor="b"/>
          <a:lstStyle>
            <a:lvl1pPr marL="0" marR="0" indent="0" algn="l" defTabSz="685160" rtl="0" eaLnBrk="1" fontAlgn="auto" latinLnBrk="0" hangingPunct="1">
              <a:lnSpc>
                <a:spcPct val="90000"/>
              </a:lnSpc>
              <a:spcBef>
                <a:spcPct val="0"/>
              </a:spcBef>
              <a:spcAft>
                <a:spcPts val="0"/>
              </a:spcAft>
              <a:buClrTx/>
              <a:buSzTx/>
              <a:buFontTx/>
              <a:buNone/>
              <a:tabLst/>
              <a:defRPr lang="en-US" sz="1648" b="1" smtClean="0">
                <a:solidFill>
                  <a:schemeClr val="tx1"/>
                </a:solidFill>
                <a:latin typeface="+mn-lt"/>
              </a:defRPr>
            </a:lvl1pPr>
          </a:lstStyle>
          <a:p>
            <a:r>
              <a:rPr lang="en-US" sz="1648"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2909891047"/>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95300" y="6356351"/>
            <a:ext cx="2311400" cy="365125"/>
          </a:xfrm>
          <a:prstGeom prst="rect">
            <a:avLst/>
          </a:prstGeom>
        </p:spPr>
        <p:txBody>
          <a:bodyPr/>
          <a:lstStyle/>
          <a:p>
            <a:pPr fontAlgn="base">
              <a:spcBef>
                <a:spcPct val="0"/>
              </a:spcBef>
              <a:spcAft>
                <a:spcPct val="0"/>
              </a:spcAft>
              <a:buClrTx/>
            </a:pPr>
            <a:fld id="{2CBB78D2-3EDF-44DD-BD93-60A225E69B3E}" type="datetimeFigureOut">
              <a:rPr lang="en-US" sz="1600" kern="1200" smtClean="0">
                <a:solidFill>
                  <a:prstClr val="black">
                    <a:tint val="75000"/>
                  </a:prstClr>
                </a:solidFill>
                <a:latin typeface="Arial" charset="0"/>
                <a:ea typeface="+mn-ea"/>
                <a:cs typeface="+mn-cs"/>
              </a:rPr>
              <a:pPr fontAlgn="base">
                <a:spcBef>
                  <a:spcPct val="0"/>
                </a:spcBef>
                <a:spcAft>
                  <a:spcPct val="0"/>
                </a:spcAft>
                <a:buClrTx/>
              </a:pPr>
              <a:t>8/23/2019</a:t>
            </a:fld>
            <a:endParaRPr lang="en-US" sz="1600" kern="1200" dirty="0">
              <a:solidFill>
                <a:prstClr val="black">
                  <a:tint val="75000"/>
                </a:prstClr>
              </a:solidFill>
              <a:latin typeface="Arial" charset="0"/>
              <a:ea typeface="+mn-ea"/>
              <a:cs typeface="+mn-cs"/>
            </a:endParaRPr>
          </a:p>
        </p:txBody>
      </p:sp>
      <p:sp>
        <p:nvSpPr>
          <p:cNvPr id="5" name="Footer Placeholder 4"/>
          <p:cNvSpPr>
            <a:spLocks noGrp="1"/>
          </p:cNvSpPr>
          <p:nvPr>
            <p:ph type="ftr" sz="quarter" idx="11"/>
          </p:nvPr>
        </p:nvSpPr>
        <p:spPr>
          <a:xfrm>
            <a:off x="3384550" y="6356351"/>
            <a:ext cx="3136900" cy="365125"/>
          </a:xfrm>
          <a:prstGeom prst="rect">
            <a:avLst/>
          </a:prstGeom>
        </p:spPr>
        <p:txBody>
          <a:bodyPr/>
          <a:lstStyle/>
          <a:p>
            <a:pPr fontAlgn="base">
              <a:spcBef>
                <a:spcPct val="0"/>
              </a:spcBef>
              <a:spcAft>
                <a:spcPct val="0"/>
              </a:spcAft>
              <a:buClrTx/>
            </a:pPr>
            <a:endParaRPr lang="en-US" sz="1600" kern="1200" dirty="0">
              <a:solidFill>
                <a:prstClr val="black">
                  <a:tint val="75000"/>
                </a:prstClr>
              </a:solidFill>
              <a:latin typeface="Arial" charset="0"/>
              <a:ea typeface="+mn-ea"/>
              <a:cs typeface="+mn-cs"/>
            </a:endParaRPr>
          </a:p>
        </p:txBody>
      </p:sp>
      <p:sp>
        <p:nvSpPr>
          <p:cNvPr id="6" name="Slide Number Placeholder 5"/>
          <p:cNvSpPr>
            <a:spLocks noGrp="1"/>
          </p:cNvSpPr>
          <p:nvPr>
            <p:ph type="sldNum" sz="quarter" idx="12"/>
          </p:nvPr>
        </p:nvSpPr>
        <p:spPr>
          <a:xfrm>
            <a:off x="7099300" y="6356351"/>
            <a:ext cx="2311400" cy="365125"/>
          </a:xfrm>
          <a:prstGeom prst="rect">
            <a:avLst/>
          </a:prstGeom>
        </p:spPr>
        <p:txBody>
          <a:bodyPr/>
          <a:lstStyle/>
          <a:p>
            <a:pPr fontAlgn="base">
              <a:spcBef>
                <a:spcPct val="0"/>
              </a:spcBef>
              <a:spcAft>
                <a:spcPct val="0"/>
              </a:spcAft>
              <a:buClrTx/>
            </a:pPr>
            <a:fld id="{4FAD6F48-C937-4B90-AF1D-01ADEA9D6D76}" type="slidenum">
              <a:rPr lang="en-US" sz="1600" kern="1200" smtClean="0">
                <a:solidFill>
                  <a:prstClr val="black">
                    <a:tint val="75000"/>
                  </a:prstClr>
                </a:solidFill>
                <a:latin typeface="Arial" charset="0"/>
                <a:ea typeface="+mn-ea"/>
                <a:cs typeface="+mn-cs"/>
              </a:rPr>
              <a:pPr fontAlgn="base">
                <a:spcBef>
                  <a:spcPct val="0"/>
                </a:spcBef>
                <a:spcAft>
                  <a:spcPct val="0"/>
                </a:spcAft>
                <a:buClrTx/>
              </a:pPr>
              <a:t>‹#›</a:t>
            </a:fld>
            <a:endParaRPr lang="en-US" sz="1600" kern="1200" dirty="0">
              <a:solidFill>
                <a:prstClr val="black">
                  <a:tint val="75000"/>
                </a:prstClr>
              </a:solidFill>
              <a:latin typeface="Arial" charset="0"/>
              <a:ea typeface="+mn-ea"/>
              <a:cs typeface="+mn-cs"/>
            </a:endParaRPr>
          </a:p>
        </p:txBody>
      </p:sp>
    </p:spTree>
    <p:extLst>
      <p:ext uri="{BB962C8B-B14F-4D97-AF65-F5344CB8AC3E}">
        <p14:creationId xmlns:p14="http://schemas.microsoft.com/office/powerpoint/2010/main" val="474095655"/>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146644"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ext Placeholder 7"/>
          <p:cNvSpPr>
            <a:spLocks noGrp="1"/>
          </p:cNvSpPr>
          <p:nvPr>
            <p:ph type="body" sz="quarter" idx="13" hasCustomPrompt="1"/>
          </p:nvPr>
        </p:nvSpPr>
        <p:spPr>
          <a:xfrm>
            <a:off x="450276" y="1330699"/>
            <a:ext cx="9005453" cy="4989391"/>
          </a:xfrm>
          <a:prstGeom prst="rect">
            <a:avLst/>
          </a:prstGeom>
        </p:spPr>
        <p:txBody>
          <a:bodyPr lIns="0" tIns="0" rIns="0" bIns="0">
            <a:noAutofit/>
          </a:bodyPr>
          <a:lstStyle>
            <a:lvl1pPr marL="159731" indent="-159731">
              <a:spcBef>
                <a:spcPts val="663"/>
              </a:spcBef>
              <a:defRPr sz="1662" baseline="0"/>
            </a:lvl1pPr>
            <a:lvl2pPr marL="320928" indent="-161196">
              <a:spcBef>
                <a:spcPts val="663"/>
              </a:spcBef>
              <a:defRPr sz="1477"/>
            </a:lvl2pPr>
            <a:lvl3pPr marL="470401" indent="-149473">
              <a:buFont typeface="Courier New" pitchFamily="49" charset="0"/>
              <a:buChar char="o"/>
              <a:defRPr sz="1477"/>
            </a:lvl3pPr>
            <a:lvl4pPr marL="630131" indent="-159731">
              <a:defRPr sz="1477"/>
            </a:lvl4pPr>
            <a:lvl5pPr>
              <a:defRPr sz="1662"/>
            </a:lvl5pPr>
          </a:lstStyle>
          <a:p>
            <a:pPr lvl="0"/>
            <a:r>
              <a:rPr lang="en-US" dirty="0" smtClean="0"/>
              <a:t>Click to edit Master text first level</a:t>
            </a:r>
          </a:p>
          <a:p>
            <a:pPr lvl="1"/>
            <a:r>
              <a:rPr lang="en-US" dirty="0" smtClean="0"/>
              <a:t>Second level</a:t>
            </a:r>
          </a:p>
          <a:p>
            <a:pPr lvl="2"/>
            <a:r>
              <a:rPr lang="en-US" dirty="0" smtClean="0"/>
              <a:t>Third level</a:t>
            </a:r>
          </a:p>
          <a:p>
            <a:pPr lvl="3"/>
            <a:r>
              <a:rPr lang="en-US" dirty="0" smtClean="0"/>
              <a:t>Fourth level</a:t>
            </a:r>
          </a:p>
        </p:txBody>
      </p:sp>
      <p:sp>
        <p:nvSpPr>
          <p:cNvPr id="6" name="Title 1"/>
          <p:cNvSpPr>
            <a:spLocks noGrp="1"/>
          </p:cNvSpPr>
          <p:nvPr>
            <p:ph type="title" hasCustomPrompt="1"/>
          </p:nvPr>
        </p:nvSpPr>
        <p:spPr>
          <a:xfrm>
            <a:off x="450742" y="133087"/>
            <a:ext cx="9005454" cy="738664"/>
          </a:xfrm>
          <a:prstGeom prst="rect">
            <a:avLst/>
          </a:prstGeom>
        </p:spPr>
        <p:txBody>
          <a:bodyPr lIns="0" tIns="0" rIns="0" bIns="0" anchor="b"/>
          <a:lstStyle>
            <a:lvl1pPr algn="l">
              <a:defRPr sz="2400" b="1" baseline="0">
                <a:solidFill>
                  <a:schemeClr val="bg1"/>
                </a:solidFill>
              </a:defRPr>
            </a:lvl1pPr>
          </a:lstStyle>
          <a:p>
            <a:r>
              <a:rPr lang="en-US" dirty="0" smtClean="0"/>
              <a:t>Click to edit </a:t>
            </a:r>
            <a:br>
              <a:rPr lang="en-US" dirty="0" smtClean="0"/>
            </a:br>
            <a:r>
              <a:rPr lang="en-US" dirty="0" smtClean="0"/>
              <a:t>Master title</a:t>
            </a:r>
            <a:endParaRPr lang="en-US" dirty="0"/>
          </a:p>
        </p:txBody>
      </p:sp>
      <p:sp>
        <p:nvSpPr>
          <p:cNvPr id="12" name="Text Placeholder 9"/>
          <p:cNvSpPr>
            <a:spLocks noGrp="1"/>
          </p:cNvSpPr>
          <p:nvPr>
            <p:ph type="body" sz="quarter" idx="37" hasCustomPrompt="1"/>
          </p:nvPr>
        </p:nvSpPr>
        <p:spPr>
          <a:xfrm>
            <a:off x="450275" y="6549116"/>
            <a:ext cx="7626926" cy="284052"/>
          </a:xfrm>
          <a:prstGeom prst="rect">
            <a:avLst/>
          </a:prstGeom>
        </p:spPr>
        <p:txBody>
          <a:bodyPr lIns="0" tIns="0" rIns="0" bIns="0" anchor="b"/>
          <a:lstStyle>
            <a:lvl1pPr marL="0" indent="0">
              <a:buNone/>
              <a:defRPr sz="923"/>
            </a:lvl1pPr>
          </a:lstStyle>
          <a:p>
            <a:r>
              <a:rPr lang="en-US" dirty="0" smtClean="0"/>
              <a:t>Click to edit Master footer. This space is reserved for footnotes and sources only, and cannot be expanded beyond its current size.                                        </a:t>
            </a:r>
            <a:r>
              <a:rPr lang="en-IN" dirty="0" smtClean="0"/>
              <a:t>Source: [Author/Publisher Name], [Report Name], [Year]</a:t>
            </a:r>
          </a:p>
        </p:txBody>
      </p:sp>
    </p:spTree>
    <p:extLst>
      <p:ext uri="{BB962C8B-B14F-4D97-AF65-F5344CB8AC3E}">
        <p14:creationId xmlns:p14="http://schemas.microsoft.com/office/powerpoint/2010/main" val="1610779930"/>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5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222230"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dirty="0">
              <a:solidFill>
                <a:prstClr val="white"/>
              </a:solidFill>
              <a:cs typeface="Arial" panose="020B0604020202020204" pitchFamily="34" charset="0"/>
              <a:sym typeface="Calibri" panose="020F0502020204030204" pitchFamily="34" charset="0"/>
            </a:endParaRPr>
          </a:p>
        </p:txBody>
      </p:sp>
      <p:sp>
        <p:nvSpPr>
          <p:cNvPr id="6"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dirty="0">
                <a:solidFill>
                  <a:schemeClr val="tx1"/>
                </a:solidFill>
                <a:latin typeface="+mn-lt"/>
              </a:rPr>
              <a:t>Click to edit Master title style</a:t>
            </a:r>
            <a:endParaRPr lang="en-US" dirty="0"/>
          </a:p>
        </p:txBody>
      </p:sp>
    </p:spTree>
    <p:extLst>
      <p:ext uri="{BB962C8B-B14F-4D97-AF65-F5344CB8AC3E}">
        <p14:creationId xmlns:p14="http://schemas.microsoft.com/office/powerpoint/2010/main" val="8198890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4_Text">
  <p:cSld name="4_Text">
    <p:spTree>
      <p:nvGrpSpPr>
        <p:cNvPr id="1" name="Shape 73"/>
        <p:cNvGrpSpPr/>
        <p:nvPr/>
      </p:nvGrpSpPr>
      <p:grpSpPr>
        <a:xfrm>
          <a:off x="0" y="0"/>
          <a:ext cx="0" cy="0"/>
          <a:chOff x="0" y="0"/>
          <a:chExt cx="0" cy="0"/>
        </a:xfrm>
      </p:grpSpPr>
      <p:pic>
        <p:nvPicPr>
          <p:cNvPr id="74" name="Google Shape;74;p12"/>
          <p:cNvPicPr preferRelativeResize="0"/>
          <p:nvPr/>
        </p:nvPicPr>
        <p:blipFill rotWithShape="1">
          <a:blip r:embed="rId2">
            <a:alphaModFix/>
          </a:blip>
          <a:srcRect/>
          <a:stretch/>
        </p:blipFill>
        <p:spPr>
          <a:xfrm>
            <a:off x="1" y="3"/>
            <a:ext cx="156345" cy="140074"/>
          </a:xfrm>
          <a:prstGeom prst="rect">
            <a:avLst/>
          </a:prstGeom>
          <a:noFill/>
          <a:ln>
            <a:noFill/>
          </a:ln>
        </p:spPr>
      </p:pic>
      <p:sp>
        <p:nvSpPr>
          <p:cNvPr id="75" name="Google Shape;75;p12"/>
          <p:cNvSpPr txBox="1">
            <a:spLocks noGrp="1"/>
          </p:cNvSpPr>
          <p:nvPr>
            <p:ph type="title"/>
          </p:nvPr>
        </p:nvSpPr>
        <p:spPr>
          <a:xfrm>
            <a:off x="450741" y="134054"/>
            <a:ext cx="7245459" cy="582389"/>
          </a:xfrm>
          <a:prstGeom prst="rect">
            <a:avLst/>
          </a:prstGeom>
          <a:noFill/>
          <a:ln>
            <a:noFill/>
          </a:ln>
        </p:spPr>
        <p:txBody>
          <a:bodyPr spcFirstLastPara="1" wrap="square" lIns="0" tIns="0" rIns="0" bIns="0" anchor="b" anchorCtr="0"/>
          <a:lstStyle>
            <a:lvl1pPr marR="0" lvl="0" algn="l" rtl="0">
              <a:lnSpc>
                <a:spcPct val="90000"/>
              </a:lnSpc>
              <a:spcBef>
                <a:spcPts val="0"/>
              </a:spcBef>
              <a:spcAft>
                <a:spcPts val="0"/>
              </a:spcAft>
              <a:buClr>
                <a:schemeClr val="dk1"/>
              </a:buClr>
              <a:buSzPts val="2200"/>
              <a:buFont typeface="Arial"/>
              <a:buNone/>
              <a:defRPr sz="2200" b="1"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76" name="Google Shape;76;p12"/>
          <p:cNvSpPr txBox="1">
            <a:spLocks noGrp="1"/>
          </p:cNvSpPr>
          <p:nvPr>
            <p:ph type="body" idx="1"/>
          </p:nvPr>
        </p:nvSpPr>
        <p:spPr>
          <a:xfrm>
            <a:off x="450276" y="1066801"/>
            <a:ext cx="9005453" cy="5181599"/>
          </a:xfrm>
          <a:prstGeom prst="rect">
            <a:avLst/>
          </a:prstGeom>
          <a:noFill/>
          <a:ln>
            <a:noFill/>
          </a:ln>
        </p:spPr>
        <p:txBody>
          <a:bodyPr spcFirstLastPara="1" wrap="square" lIns="0" tIns="0" rIns="0" bIns="0" anchor="t" anchorCtr="0"/>
          <a:lstStyle>
            <a:lvl1pPr marL="457200" marR="0" lvl="0" indent="-330200" algn="l" rtl="0">
              <a:lnSpc>
                <a:spcPct val="90000"/>
              </a:lnSpc>
              <a:spcBef>
                <a:spcPts val="718"/>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17500" algn="l" rtl="0">
              <a:lnSpc>
                <a:spcPct val="90000"/>
              </a:lnSpc>
              <a:spcBef>
                <a:spcPts val="718"/>
              </a:spcBef>
              <a:spcAft>
                <a:spcPts val="0"/>
              </a:spcAft>
              <a:buClr>
                <a:schemeClr val="dk1"/>
              </a:buClr>
              <a:buSzPts val="1400"/>
              <a:buFont typeface="Noto Sans Symbols"/>
              <a:buChar char="✓"/>
              <a:defRPr sz="1400" b="0" i="0" u="none" strike="noStrike" cap="none">
                <a:solidFill>
                  <a:schemeClr val="dk1"/>
                </a:solidFill>
                <a:latin typeface="Arial"/>
                <a:ea typeface="Arial"/>
                <a:cs typeface="Arial"/>
                <a:sym typeface="Arial"/>
              </a:defRPr>
            </a:lvl2pPr>
            <a:lvl3pPr marL="1371600" marR="0" lvl="2" indent="-317500" algn="l" rtl="0">
              <a:lnSpc>
                <a:spcPct val="90000"/>
              </a:lnSpc>
              <a:spcBef>
                <a:spcPts val="500"/>
              </a:spcBef>
              <a:spcAft>
                <a:spcPts val="0"/>
              </a:spcAft>
              <a:buClr>
                <a:schemeClr val="dk1"/>
              </a:buClr>
              <a:buSzPts val="1400"/>
              <a:buFont typeface="Courier New"/>
              <a:buChar char="o"/>
              <a:defRPr sz="1400" b="0" i="0" u="none" strike="noStrike" cap="none">
                <a:solidFill>
                  <a:schemeClr val="dk1"/>
                </a:solidFill>
                <a:latin typeface="Arial"/>
                <a:ea typeface="Arial"/>
                <a:cs typeface="Arial"/>
                <a:sym typeface="Arial"/>
              </a:defRPr>
            </a:lvl3pPr>
            <a:lvl4pPr marL="1828800" marR="0" lvl="3" indent="-317500" algn="l" rtl="0">
              <a:lnSpc>
                <a:spcPct val="90000"/>
              </a:lnSpc>
              <a:spcBef>
                <a:spcPts val="5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14869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721" y="1589"/>
                        <a:ext cx="1719" cy="1587"/>
                      </a:xfrm>
                      <a:prstGeom prst="rect">
                        <a:avLst/>
                      </a:prstGeom>
                    </p:spPr>
                  </p:pic>
                </p:oleObj>
              </mc:Fallback>
            </mc:AlternateContent>
          </a:graphicData>
        </a:graphic>
      </p:graphicFrame>
      <p:pic>
        <p:nvPicPr>
          <p:cNvPr id="12" name="Picture 11" descr="covertemps-5.jpg"/>
          <p:cNvPicPr>
            <a:picLocks noChangeAspect="1"/>
          </p:cNvPicPr>
          <p:nvPr userDrawn="1"/>
        </p:nvPicPr>
        <p:blipFill>
          <a:blip r:embed="rId6" cstate="print">
            <a:extLst>
              <a:ext uri="{28A0092B-C50C-407E-A947-70E740481C1C}">
                <a14:useLocalDpi xmlns:a14="http://schemas.microsoft.com/office/drawing/2010/main" val="0"/>
              </a:ext>
            </a:extLst>
          </a:blip>
          <a:srcRect b="13333"/>
          <a:stretch>
            <a:fillRect/>
          </a:stretch>
        </p:blipFill>
        <p:spPr bwMode="ltGray">
          <a:xfrm>
            <a:off x="0" y="0"/>
            <a:ext cx="9906000" cy="5943600"/>
          </a:xfrm>
          <a:prstGeom prst="rect">
            <a:avLst/>
          </a:prstGeom>
        </p:spPr>
      </p:pic>
      <p:sp>
        <p:nvSpPr>
          <p:cNvPr id="5" name="doc id"/>
          <p:cNvSpPr txBox="1">
            <a:spLocks noChangeArrowheads="1"/>
          </p:cNvSpPr>
          <p:nvPr/>
        </p:nvSpPr>
        <p:spPr bwMode="auto">
          <a:xfrm>
            <a:off x="9332171" y="37255"/>
            <a:ext cx="326398"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smtClean="0">
              <a:ln>
                <a:noFill/>
              </a:ln>
              <a:solidFill>
                <a:srgbClr val="000000"/>
              </a:solidFill>
              <a:effectLst/>
              <a:uLnTx/>
              <a:uFillTx/>
              <a:latin typeface="Arial"/>
              <a:ea typeface="+mn-ea"/>
              <a:cs typeface="+mn-cs"/>
            </a:endParaRPr>
          </a:p>
        </p:txBody>
      </p:sp>
      <p:sp>
        <p:nvSpPr>
          <p:cNvPr id="13314" name="Rectangle 1026"/>
          <p:cNvSpPr>
            <a:spLocks noGrp="1" noChangeArrowheads="1"/>
          </p:cNvSpPr>
          <p:nvPr>
            <p:ph type="ctrTitle"/>
          </p:nvPr>
        </p:nvSpPr>
        <p:spPr bwMode="auto">
          <a:xfrm>
            <a:off x="664662" y="1282691"/>
            <a:ext cx="8531407" cy="507831"/>
          </a:xfrm>
          <a:prstGeom prst="rect">
            <a:avLst/>
          </a:prstGeom>
        </p:spPr>
        <p:txBody>
          <a:bodyPr anchor="t">
            <a:spAutoFit/>
          </a:bodyPr>
          <a:lstStyle>
            <a:lvl1pPr>
              <a:defRPr sz="3300" b="0"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664662" y="2793630"/>
            <a:ext cx="8531407" cy="219820"/>
          </a:xfrm>
        </p:spPr>
        <p:txBody>
          <a:bodyPr wrap="square">
            <a:spAutoFit/>
          </a:bodyPr>
          <a:lstStyle>
            <a:lvl1pPr>
              <a:defRPr sz="1400" baseline="0">
                <a:solidFill>
                  <a:schemeClr val="bg1"/>
                </a:solidFill>
                <a:latin typeface="+mn-lt"/>
                <a:ea typeface="+mn-ea"/>
              </a:defRPr>
            </a:lvl1pPr>
          </a:lstStyle>
          <a:p>
            <a:pPr lvl="0"/>
            <a:r>
              <a:rPr lang="en-US" noProof="0" smtClean="0"/>
              <a:t>Click to edit Master subtitle style</a:t>
            </a:r>
            <a:endParaRPr lang="en-US" noProof="0" dirty="0" smtClean="0"/>
          </a:p>
        </p:txBody>
      </p:sp>
      <p:sp>
        <p:nvSpPr>
          <p:cNvPr id="16" name="Document type" hidden="1"/>
          <p:cNvSpPr txBox="1">
            <a:spLocks noChangeArrowheads="1"/>
          </p:cNvSpPr>
          <p:nvPr userDrawn="1"/>
        </p:nvSpPr>
        <p:spPr bwMode="auto">
          <a:xfrm>
            <a:off x="664662" y="4016558"/>
            <a:ext cx="853140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lang="x-none"/>
            </a:pPr>
            <a:r>
              <a:rPr kumimoji="0" lang="x-none" sz="1400" b="0" i="0" u="none" strike="noStrike" kern="1200" cap="none" spc="0" normalizeH="0" baseline="0" noProof="0" dirty="0" smtClean="0">
                <a:ln>
                  <a:noFill/>
                </a:ln>
                <a:solidFill>
                  <a:srgbClr val="FFFFFF"/>
                </a:solidFill>
                <a:effectLst/>
                <a:uLnTx/>
                <a:uFillTx/>
                <a:latin typeface="Arial"/>
                <a:ea typeface="+mn-ea"/>
                <a:cs typeface="+mn-cs"/>
              </a:rPr>
              <a:t>Document type | Date</a:t>
            </a:r>
          </a:p>
        </p:txBody>
      </p:sp>
    </p:spTree>
    <p:extLst>
      <p:ext uri="{BB962C8B-B14F-4D97-AF65-F5344CB8AC3E}">
        <p14:creationId xmlns:p14="http://schemas.microsoft.com/office/powerpoint/2010/main" val="3262770538"/>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149716"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721" y="1589"/>
                        <a:ext cx="1719" cy="1587"/>
                      </a:xfrm>
                      <a:prstGeom prst="rect">
                        <a:avLst/>
                      </a:prstGeom>
                    </p:spPr>
                  </p:pic>
                </p:oleObj>
              </mc:Fallback>
            </mc:AlternateContent>
          </a:graphicData>
        </a:graphic>
      </p:graphicFrame>
      <p:sp>
        <p:nvSpPr>
          <p:cNvPr id="10" name="Do not remove" hidden="1"/>
          <p:cNvSpPr/>
          <p:nvPr userDrawn="1">
            <p:custDataLst>
              <p:tags r:id="rId3"/>
            </p:custDataLst>
          </p:nvPr>
        </p:nvSpPr>
        <p:spPr>
          <a:xfrm>
            <a:off x="0" y="0"/>
            <a:ext cx="13758" cy="12700"/>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smtClean="0">
              <a:ln>
                <a:noFill/>
              </a:ln>
              <a:solidFill>
                <a:srgbClr val="000000"/>
              </a:solidFill>
              <a:effectLst/>
              <a:uLnTx/>
              <a:uFillTx/>
              <a:latin typeface="Arial"/>
              <a:ea typeface="+mn-ea"/>
              <a:cs typeface="+mn-cs"/>
            </a:endParaRPr>
          </a:p>
        </p:txBody>
      </p:sp>
      <p:sp>
        <p:nvSpPr>
          <p:cNvPr id="2" name="McK 2. Slide Title"/>
          <p:cNvSpPr>
            <a:spLocks noGrp="1"/>
          </p:cNvSpPr>
          <p:nvPr>
            <p:ph type="title"/>
          </p:nvPr>
        </p:nvSpPr>
        <p:spPr>
          <a:xfrm>
            <a:off x="247650" y="388621"/>
            <a:ext cx="8007350" cy="292388"/>
          </a:xfrm>
        </p:spPr>
        <p:txBody>
          <a:bodyPr/>
          <a:lstStyle>
            <a:lvl1pPr>
              <a:defRPr sz="1900"/>
            </a:lvl1pPr>
          </a:lstStyle>
          <a:p>
            <a:r>
              <a:rPr lang="en-US" dirty="0" smtClean="0"/>
              <a:t>Click to edit Master title style</a:t>
            </a:r>
            <a:endParaRPr lang="en-US" dirty="0"/>
          </a:p>
        </p:txBody>
      </p:sp>
    </p:spTree>
    <p:extLst>
      <p:ext uri="{BB962C8B-B14F-4D97-AF65-F5344CB8AC3E}">
        <p14:creationId xmlns:p14="http://schemas.microsoft.com/office/powerpoint/2010/main" val="1213705980"/>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95300" y="6356351"/>
            <a:ext cx="2311400" cy="365125"/>
          </a:xfrm>
          <a:prstGeom prst="rect">
            <a:avLst/>
          </a:prstGeom>
        </p:spPr>
        <p:txBody>
          <a:bodyPr/>
          <a:lstStyle/>
          <a:p>
            <a:pPr fontAlgn="base">
              <a:spcBef>
                <a:spcPct val="0"/>
              </a:spcBef>
              <a:spcAft>
                <a:spcPct val="0"/>
              </a:spcAft>
              <a:buClrTx/>
              <a:defRPr/>
            </a:pPr>
            <a:fld id="{2CBB78D2-3EDF-44DD-BD93-60A225E69B3E}" type="datetimeFigureOut">
              <a:rPr lang="en-US" sz="1600" kern="1200" smtClean="0">
                <a:solidFill>
                  <a:prstClr val="black">
                    <a:tint val="75000"/>
                  </a:prstClr>
                </a:solidFill>
                <a:latin typeface="Arial" charset="0"/>
                <a:ea typeface="+mn-ea"/>
                <a:cs typeface="+mn-cs"/>
              </a:rPr>
              <a:pPr fontAlgn="base">
                <a:spcBef>
                  <a:spcPct val="0"/>
                </a:spcBef>
                <a:spcAft>
                  <a:spcPct val="0"/>
                </a:spcAft>
                <a:buClrTx/>
                <a:defRPr/>
              </a:pPr>
              <a:t>8/23/2019</a:t>
            </a:fld>
            <a:endParaRPr lang="en-US" sz="1600" kern="1200" dirty="0">
              <a:solidFill>
                <a:prstClr val="black">
                  <a:tint val="75000"/>
                </a:prstClr>
              </a:solidFill>
              <a:latin typeface="Arial" charset="0"/>
              <a:ea typeface="+mn-ea"/>
              <a:cs typeface="+mn-cs"/>
            </a:endParaRPr>
          </a:p>
        </p:txBody>
      </p:sp>
      <p:sp>
        <p:nvSpPr>
          <p:cNvPr id="5" name="Footer Placeholder 4"/>
          <p:cNvSpPr>
            <a:spLocks noGrp="1"/>
          </p:cNvSpPr>
          <p:nvPr>
            <p:ph type="ftr" sz="quarter" idx="11"/>
          </p:nvPr>
        </p:nvSpPr>
        <p:spPr>
          <a:xfrm>
            <a:off x="3384550" y="6356351"/>
            <a:ext cx="3136900" cy="365125"/>
          </a:xfrm>
          <a:prstGeom prst="rect">
            <a:avLst/>
          </a:prstGeom>
        </p:spPr>
        <p:txBody>
          <a:bodyPr/>
          <a:lstStyle/>
          <a:p>
            <a:pPr fontAlgn="base">
              <a:spcBef>
                <a:spcPct val="0"/>
              </a:spcBef>
              <a:spcAft>
                <a:spcPct val="0"/>
              </a:spcAft>
              <a:buClrTx/>
              <a:defRPr/>
            </a:pPr>
            <a:endParaRPr lang="en-US" sz="1600" kern="1200" dirty="0">
              <a:solidFill>
                <a:prstClr val="black">
                  <a:tint val="75000"/>
                </a:prstClr>
              </a:solidFill>
              <a:latin typeface="Arial" charset="0"/>
              <a:ea typeface="+mn-ea"/>
              <a:cs typeface="+mn-cs"/>
            </a:endParaRPr>
          </a:p>
        </p:txBody>
      </p:sp>
      <p:sp>
        <p:nvSpPr>
          <p:cNvPr id="6" name="Slide Number Placeholder 5"/>
          <p:cNvSpPr>
            <a:spLocks noGrp="1"/>
          </p:cNvSpPr>
          <p:nvPr>
            <p:ph type="sldNum" sz="quarter" idx="12"/>
          </p:nvPr>
        </p:nvSpPr>
        <p:spPr>
          <a:xfrm>
            <a:off x="7099300" y="6356351"/>
            <a:ext cx="2311400" cy="365125"/>
          </a:xfrm>
          <a:prstGeom prst="rect">
            <a:avLst/>
          </a:prstGeom>
        </p:spPr>
        <p:txBody>
          <a:bodyPr/>
          <a:lstStyle/>
          <a:p>
            <a:pPr fontAlgn="base">
              <a:spcBef>
                <a:spcPct val="0"/>
              </a:spcBef>
              <a:spcAft>
                <a:spcPct val="0"/>
              </a:spcAft>
              <a:buClrTx/>
              <a:defRPr/>
            </a:pPr>
            <a:fld id="{4FAD6F48-C937-4B90-AF1D-01ADEA9D6D76}" type="slidenum">
              <a:rPr lang="en-US" sz="1600" kern="1200" smtClean="0">
                <a:solidFill>
                  <a:prstClr val="black">
                    <a:tint val="75000"/>
                  </a:prstClr>
                </a:solidFill>
                <a:latin typeface="Arial" charset="0"/>
                <a:ea typeface="+mn-ea"/>
                <a:cs typeface="+mn-cs"/>
              </a:rPr>
              <a:pPr fontAlgn="base">
                <a:spcBef>
                  <a:spcPct val="0"/>
                </a:spcBef>
                <a:spcAft>
                  <a:spcPct val="0"/>
                </a:spcAft>
                <a:buClrTx/>
                <a:defRPr/>
              </a:pPr>
              <a:t>‹#›</a:t>
            </a:fld>
            <a:endParaRPr lang="en-US" sz="1600" kern="1200" dirty="0">
              <a:solidFill>
                <a:prstClr val="black">
                  <a:tint val="75000"/>
                </a:prstClr>
              </a:solidFill>
              <a:latin typeface="Arial" charset="0"/>
              <a:ea typeface="+mn-ea"/>
              <a:cs typeface="+mn-cs"/>
            </a:endParaRPr>
          </a:p>
        </p:txBody>
      </p:sp>
    </p:spTree>
    <p:extLst>
      <p:ext uri="{BB962C8B-B14F-4D97-AF65-F5344CB8AC3E}">
        <p14:creationId xmlns:p14="http://schemas.microsoft.com/office/powerpoint/2010/main" val="1833883697"/>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150740"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ext Placeholder 7"/>
          <p:cNvSpPr>
            <a:spLocks noGrp="1"/>
          </p:cNvSpPr>
          <p:nvPr>
            <p:ph type="body" sz="quarter" idx="13" hasCustomPrompt="1"/>
          </p:nvPr>
        </p:nvSpPr>
        <p:spPr>
          <a:xfrm>
            <a:off x="450276" y="1330699"/>
            <a:ext cx="9005453" cy="4989391"/>
          </a:xfrm>
          <a:prstGeom prst="rect">
            <a:avLst/>
          </a:prstGeom>
        </p:spPr>
        <p:txBody>
          <a:bodyPr lIns="0" tIns="0" rIns="0" bIns="0">
            <a:noAutofit/>
          </a:bodyPr>
          <a:lstStyle>
            <a:lvl1pPr marL="159731" indent="-159731">
              <a:spcBef>
                <a:spcPts val="663"/>
              </a:spcBef>
              <a:defRPr sz="1662" baseline="0"/>
            </a:lvl1pPr>
            <a:lvl2pPr marL="320928" indent="-161196">
              <a:spcBef>
                <a:spcPts val="663"/>
              </a:spcBef>
              <a:defRPr sz="1477"/>
            </a:lvl2pPr>
            <a:lvl3pPr marL="470401" indent="-149473">
              <a:buFont typeface="Courier New" pitchFamily="49" charset="0"/>
              <a:buChar char="o"/>
              <a:defRPr sz="1477"/>
            </a:lvl3pPr>
            <a:lvl4pPr marL="630131" indent="-159731">
              <a:defRPr sz="1477"/>
            </a:lvl4pPr>
            <a:lvl5pPr>
              <a:defRPr sz="1662"/>
            </a:lvl5pPr>
          </a:lstStyle>
          <a:p>
            <a:pPr lvl="0"/>
            <a:r>
              <a:rPr lang="en-US" dirty="0" smtClean="0"/>
              <a:t>Click to edit Master text first level</a:t>
            </a:r>
          </a:p>
          <a:p>
            <a:pPr lvl="1"/>
            <a:r>
              <a:rPr lang="en-US" dirty="0" smtClean="0"/>
              <a:t>Second level</a:t>
            </a:r>
          </a:p>
          <a:p>
            <a:pPr lvl="2"/>
            <a:r>
              <a:rPr lang="en-US" dirty="0" smtClean="0"/>
              <a:t>Third level</a:t>
            </a:r>
          </a:p>
          <a:p>
            <a:pPr lvl="3"/>
            <a:r>
              <a:rPr lang="en-US" dirty="0" smtClean="0"/>
              <a:t>Fourth level</a:t>
            </a:r>
          </a:p>
        </p:txBody>
      </p:sp>
      <p:sp>
        <p:nvSpPr>
          <p:cNvPr id="6" name="Title 1"/>
          <p:cNvSpPr>
            <a:spLocks noGrp="1"/>
          </p:cNvSpPr>
          <p:nvPr>
            <p:ph type="title" hasCustomPrompt="1"/>
          </p:nvPr>
        </p:nvSpPr>
        <p:spPr>
          <a:xfrm>
            <a:off x="450742" y="133087"/>
            <a:ext cx="9005454" cy="738664"/>
          </a:xfrm>
          <a:prstGeom prst="rect">
            <a:avLst/>
          </a:prstGeom>
        </p:spPr>
        <p:txBody>
          <a:bodyPr lIns="0" tIns="0" rIns="0" bIns="0" anchor="b"/>
          <a:lstStyle>
            <a:lvl1pPr algn="l">
              <a:defRPr sz="2400" b="1" baseline="0">
                <a:solidFill>
                  <a:schemeClr val="bg1"/>
                </a:solidFill>
              </a:defRPr>
            </a:lvl1pPr>
          </a:lstStyle>
          <a:p>
            <a:r>
              <a:rPr lang="en-US" dirty="0" smtClean="0"/>
              <a:t>Click to edit </a:t>
            </a:r>
            <a:br>
              <a:rPr lang="en-US" dirty="0" smtClean="0"/>
            </a:br>
            <a:r>
              <a:rPr lang="en-US" dirty="0" smtClean="0"/>
              <a:t>Master title</a:t>
            </a:r>
            <a:endParaRPr lang="en-US" dirty="0"/>
          </a:p>
        </p:txBody>
      </p:sp>
      <p:sp>
        <p:nvSpPr>
          <p:cNvPr id="12" name="Text Placeholder 9"/>
          <p:cNvSpPr>
            <a:spLocks noGrp="1"/>
          </p:cNvSpPr>
          <p:nvPr>
            <p:ph type="body" sz="quarter" idx="37" hasCustomPrompt="1"/>
          </p:nvPr>
        </p:nvSpPr>
        <p:spPr>
          <a:xfrm>
            <a:off x="450275" y="6549116"/>
            <a:ext cx="7626926" cy="284052"/>
          </a:xfrm>
          <a:prstGeom prst="rect">
            <a:avLst/>
          </a:prstGeom>
        </p:spPr>
        <p:txBody>
          <a:bodyPr lIns="0" tIns="0" rIns="0" bIns="0" anchor="b"/>
          <a:lstStyle>
            <a:lvl1pPr marL="0" indent="0">
              <a:buNone/>
              <a:defRPr sz="923"/>
            </a:lvl1pPr>
          </a:lstStyle>
          <a:p>
            <a:r>
              <a:rPr lang="en-US" dirty="0" smtClean="0"/>
              <a:t>Click to edit Master footer. This space is reserved for footnotes and sources only, and cannot be expanded beyond its current size.                                        </a:t>
            </a:r>
            <a:r>
              <a:rPr lang="en-IN" dirty="0" smtClean="0"/>
              <a:t>Source: [Author/Publisher Name], [Report Name], [Year]</a:t>
            </a:r>
          </a:p>
        </p:txBody>
      </p:sp>
    </p:spTree>
    <p:extLst>
      <p:ext uri="{BB962C8B-B14F-4D97-AF65-F5344CB8AC3E}">
        <p14:creationId xmlns:p14="http://schemas.microsoft.com/office/powerpoint/2010/main" val="2421456915"/>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16404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721" y="1589"/>
                        <a:ext cx="1719" cy="1587"/>
                      </a:xfrm>
                      <a:prstGeom prst="rect">
                        <a:avLst/>
                      </a:prstGeom>
                    </p:spPr>
                  </p:pic>
                </p:oleObj>
              </mc:Fallback>
            </mc:AlternateContent>
          </a:graphicData>
        </a:graphic>
      </p:graphicFrame>
      <p:pic>
        <p:nvPicPr>
          <p:cNvPr id="12" name="Picture 11" descr="covertemps-5.jpg"/>
          <p:cNvPicPr>
            <a:picLocks noChangeAspect="1"/>
          </p:cNvPicPr>
          <p:nvPr userDrawn="1"/>
        </p:nvPicPr>
        <p:blipFill>
          <a:blip r:embed="rId6" cstate="print">
            <a:extLst>
              <a:ext uri="{28A0092B-C50C-407E-A947-70E740481C1C}">
                <a14:useLocalDpi xmlns:a14="http://schemas.microsoft.com/office/drawing/2010/main" val="0"/>
              </a:ext>
            </a:extLst>
          </a:blip>
          <a:srcRect b="13333"/>
          <a:stretch>
            <a:fillRect/>
          </a:stretch>
        </p:blipFill>
        <p:spPr bwMode="ltGray">
          <a:xfrm>
            <a:off x="0" y="0"/>
            <a:ext cx="9906000" cy="5943600"/>
          </a:xfrm>
          <a:prstGeom prst="rect">
            <a:avLst/>
          </a:prstGeom>
        </p:spPr>
      </p:pic>
      <p:sp>
        <p:nvSpPr>
          <p:cNvPr id="5" name="doc id"/>
          <p:cNvSpPr txBox="1">
            <a:spLocks noChangeArrowheads="1"/>
          </p:cNvSpPr>
          <p:nvPr/>
        </p:nvSpPr>
        <p:spPr bwMode="auto">
          <a:xfrm>
            <a:off x="9332171" y="37255"/>
            <a:ext cx="326398"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smtClean="0">
              <a:ln>
                <a:noFill/>
              </a:ln>
              <a:solidFill>
                <a:srgbClr val="000000"/>
              </a:solidFill>
              <a:effectLst/>
              <a:uLnTx/>
              <a:uFillTx/>
              <a:latin typeface="Arial"/>
              <a:ea typeface="+mn-ea"/>
              <a:cs typeface="+mn-cs"/>
            </a:endParaRPr>
          </a:p>
        </p:txBody>
      </p:sp>
      <p:sp>
        <p:nvSpPr>
          <p:cNvPr id="13314" name="Rectangle 1026"/>
          <p:cNvSpPr>
            <a:spLocks noGrp="1" noChangeArrowheads="1"/>
          </p:cNvSpPr>
          <p:nvPr>
            <p:ph type="ctrTitle"/>
          </p:nvPr>
        </p:nvSpPr>
        <p:spPr bwMode="auto">
          <a:xfrm>
            <a:off x="664662" y="1282691"/>
            <a:ext cx="8531407" cy="507831"/>
          </a:xfrm>
          <a:prstGeom prst="rect">
            <a:avLst/>
          </a:prstGeom>
        </p:spPr>
        <p:txBody>
          <a:bodyPr anchor="t">
            <a:spAutoFit/>
          </a:bodyPr>
          <a:lstStyle>
            <a:lvl1pPr>
              <a:defRPr sz="3300" b="0"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664662" y="2793630"/>
            <a:ext cx="8531407" cy="219820"/>
          </a:xfrm>
        </p:spPr>
        <p:txBody>
          <a:bodyPr wrap="square">
            <a:spAutoFit/>
          </a:bodyPr>
          <a:lstStyle>
            <a:lvl1pPr>
              <a:defRPr sz="1400" baseline="0">
                <a:solidFill>
                  <a:schemeClr val="bg1"/>
                </a:solidFill>
                <a:latin typeface="+mn-lt"/>
                <a:ea typeface="+mn-ea"/>
              </a:defRPr>
            </a:lvl1pPr>
          </a:lstStyle>
          <a:p>
            <a:pPr lvl="0"/>
            <a:r>
              <a:rPr lang="en-US" noProof="0" smtClean="0"/>
              <a:t>Click to edit Master subtitle style</a:t>
            </a:r>
            <a:endParaRPr lang="en-US" noProof="0" dirty="0" smtClean="0"/>
          </a:p>
        </p:txBody>
      </p:sp>
      <p:sp>
        <p:nvSpPr>
          <p:cNvPr id="16" name="Document type" hidden="1"/>
          <p:cNvSpPr txBox="1">
            <a:spLocks noChangeArrowheads="1"/>
          </p:cNvSpPr>
          <p:nvPr userDrawn="1"/>
        </p:nvSpPr>
        <p:spPr bwMode="auto">
          <a:xfrm>
            <a:off x="664662" y="4016558"/>
            <a:ext cx="853140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lang="x-none"/>
            </a:pPr>
            <a:r>
              <a:rPr kumimoji="0" lang="x-none" sz="1400" b="0" i="0" u="none" strike="noStrike" kern="1200" cap="none" spc="0" normalizeH="0" baseline="0" noProof="0" dirty="0" smtClean="0">
                <a:ln>
                  <a:noFill/>
                </a:ln>
                <a:solidFill>
                  <a:srgbClr val="FFFFFF"/>
                </a:solidFill>
                <a:effectLst/>
                <a:uLnTx/>
                <a:uFillTx/>
                <a:latin typeface="Arial"/>
                <a:ea typeface="+mn-ea"/>
                <a:cs typeface="+mn-cs"/>
              </a:rPr>
              <a:t>Document type | Date</a:t>
            </a:r>
          </a:p>
        </p:txBody>
      </p:sp>
    </p:spTree>
    <p:extLst>
      <p:ext uri="{BB962C8B-B14F-4D97-AF65-F5344CB8AC3E}">
        <p14:creationId xmlns:p14="http://schemas.microsoft.com/office/powerpoint/2010/main" val="2523849740"/>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165065"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721" y="1589"/>
                        <a:ext cx="1719" cy="1587"/>
                      </a:xfrm>
                      <a:prstGeom prst="rect">
                        <a:avLst/>
                      </a:prstGeom>
                    </p:spPr>
                  </p:pic>
                </p:oleObj>
              </mc:Fallback>
            </mc:AlternateContent>
          </a:graphicData>
        </a:graphic>
      </p:graphicFrame>
      <p:sp>
        <p:nvSpPr>
          <p:cNvPr id="10" name="Do not remove" hidden="1"/>
          <p:cNvSpPr/>
          <p:nvPr userDrawn="1">
            <p:custDataLst>
              <p:tags r:id="rId3"/>
            </p:custDataLst>
          </p:nvPr>
        </p:nvSpPr>
        <p:spPr>
          <a:xfrm>
            <a:off x="0" y="0"/>
            <a:ext cx="13758" cy="12700"/>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smtClean="0">
              <a:ln>
                <a:noFill/>
              </a:ln>
              <a:solidFill>
                <a:srgbClr val="000000"/>
              </a:solidFill>
              <a:effectLst/>
              <a:uLnTx/>
              <a:uFillTx/>
              <a:latin typeface="Arial"/>
              <a:ea typeface="+mn-ea"/>
              <a:cs typeface="+mn-cs"/>
            </a:endParaRPr>
          </a:p>
        </p:txBody>
      </p:sp>
      <p:sp>
        <p:nvSpPr>
          <p:cNvPr id="2" name="McK 2. Slide Title"/>
          <p:cNvSpPr>
            <a:spLocks noGrp="1"/>
          </p:cNvSpPr>
          <p:nvPr>
            <p:ph type="title"/>
          </p:nvPr>
        </p:nvSpPr>
        <p:spPr>
          <a:xfrm>
            <a:off x="247650" y="388621"/>
            <a:ext cx="8007350" cy="292388"/>
          </a:xfrm>
        </p:spPr>
        <p:txBody>
          <a:bodyPr/>
          <a:lstStyle>
            <a:lvl1pPr>
              <a:defRPr sz="1900"/>
            </a:lvl1pPr>
          </a:lstStyle>
          <a:p>
            <a:r>
              <a:rPr lang="en-US" dirty="0" smtClean="0"/>
              <a:t>Click to edit Master title style</a:t>
            </a:r>
            <a:endParaRPr lang="en-US" dirty="0"/>
          </a:p>
        </p:txBody>
      </p:sp>
    </p:spTree>
    <p:extLst>
      <p:ext uri="{BB962C8B-B14F-4D97-AF65-F5344CB8AC3E}">
        <p14:creationId xmlns:p14="http://schemas.microsoft.com/office/powerpoint/2010/main" val="2412272746"/>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95300" y="6356351"/>
            <a:ext cx="2311400" cy="365125"/>
          </a:xfrm>
          <a:prstGeom prst="rect">
            <a:avLst/>
          </a:prstGeom>
        </p:spPr>
        <p:txBody>
          <a:bodyPr/>
          <a:lstStyle/>
          <a:p>
            <a:pPr fontAlgn="base">
              <a:spcBef>
                <a:spcPct val="0"/>
              </a:spcBef>
              <a:spcAft>
                <a:spcPct val="0"/>
              </a:spcAft>
              <a:buClrTx/>
              <a:defRPr/>
            </a:pPr>
            <a:fld id="{2CBB78D2-3EDF-44DD-BD93-60A225E69B3E}" type="datetimeFigureOut">
              <a:rPr lang="en-US" sz="1600" kern="1200" smtClean="0">
                <a:solidFill>
                  <a:prstClr val="black">
                    <a:tint val="75000"/>
                  </a:prstClr>
                </a:solidFill>
                <a:latin typeface="Arial" charset="0"/>
                <a:ea typeface="+mn-ea"/>
                <a:cs typeface="+mn-cs"/>
              </a:rPr>
              <a:pPr fontAlgn="base">
                <a:spcBef>
                  <a:spcPct val="0"/>
                </a:spcBef>
                <a:spcAft>
                  <a:spcPct val="0"/>
                </a:spcAft>
                <a:buClrTx/>
                <a:defRPr/>
              </a:pPr>
              <a:t>8/23/2019</a:t>
            </a:fld>
            <a:endParaRPr lang="en-US" sz="1600" kern="1200" dirty="0">
              <a:solidFill>
                <a:prstClr val="black">
                  <a:tint val="75000"/>
                </a:prstClr>
              </a:solidFill>
              <a:latin typeface="Arial" charset="0"/>
              <a:ea typeface="+mn-ea"/>
              <a:cs typeface="+mn-cs"/>
            </a:endParaRPr>
          </a:p>
        </p:txBody>
      </p:sp>
      <p:sp>
        <p:nvSpPr>
          <p:cNvPr id="5" name="Footer Placeholder 4"/>
          <p:cNvSpPr>
            <a:spLocks noGrp="1"/>
          </p:cNvSpPr>
          <p:nvPr>
            <p:ph type="ftr" sz="quarter" idx="11"/>
          </p:nvPr>
        </p:nvSpPr>
        <p:spPr>
          <a:xfrm>
            <a:off x="3384550" y="6356351"/>
            <a:ext cx="3136900" cy="365125"/>
          </a:xfrm>
          <a:prstGeom prst="rect">
            <a:avLst/>
          </a:prstGeom>
        </p:spPr>
        <p:txBody>
          <a:bodyPr/>
          <a:lstStyle/>
          <a:p>
            <a:pPr fontAlgn="base">
              <a:spcBef>
                <a:spcPct val="0"/>
              </a:spcBef>
              <a:spcAft>
                <a:spcPct val="0"/>
              </a:spcAft>
              <a:buClrTx/>
              <a:defRPr/>
            </a:pPr>
            <a:endParaRPr lang="en-US" sz="1600" kern="1200" dirty="0">
              <a:solidFill>
                <a:prstClr val="black">
                  <a:tint val="75000"/>
                </a:prstClr>
              </a:solidFill>
              <a:latin typeface="Arial" charset="0"/>
              <a:ea typeface="+mn-ea"/>
              <a:cs typeface="+mn-cs"/>
            </a:endParaRPr>
          </a:p>
        </p:txBody>
      </p:sp>
      <p:sp>
        <p:nvSpPr>
          <p:cNvPr id="6" name="Slide Number Placeholder 5"/>
          <p:cNvSpPr>
            <a:spLocks noGrp="1"/>
          </p:cNvSpPr>
          <p:nvPr>
            <p:ph type="sldNum" sz="quarter" idx="12"/>
          </p:nvPr>
        </p:nvSpPr>
        <p:spPr>
          <a:xfrm>
            <a:off x="7099300" y="6356351"/>
            <a:ext cx="2311400" cy="365125"/>
          </a:xfrm>
          <a:prstGeom prst="rect">
            <a:avLst/>
          </a:prstGeom>
        </p:spPr>
        <p:txBody>
          <a:bodyPr/>
          <a:lstStyle/>
          <a:p>
            <a:pPr fontAlgn="base">
              <a:spcBef>
                <a:spcPct val="0"/>
              </a:spcBef>
              <a:spcAft>
                <a:spcPct val="0"/>
              </a:spcAft>
              <a:buClrTx/>
              <a:defRPr/>
            </a:pPr>
            <a:fld id="{4FAD6F48-C937-4B90-AF1D-01ADEA9D6D76}" type="slidenum">
              <a:rPr lang="en-US" sz="1600" kern="1200" smtClean="0">
                <a:solidFill>
                  <a:prstClr val="black">
                    <a:tint val="75000"/>
                  </a:prstClr>
                </a:solidFill>
                <a:latin typeface="Arial" charset="0"/>
                <a:ea typeface="+mn-ea"/>
                <a:cs typeface="+mn-cs"/>
              </a:rPr>
              <a:pPr fontAlgn="base">
                <a:spcBef>
                  <a:spcPct val="0"/>
                </a:spcBef>
                <a:spcAft>
                  <a:spcPct val="0"/>
                </a:spcAft>
                <a:buClrTx/>
                <a:defRPr/>
              </a:pPr>
              <a:t>‹#›</a:t>
            </a:fld>
            <a:endParaRPr lang="en-US" sz="1600" kern="1200" dirty="0">
              <a:solidFill>
                <a:prstClr val="black">
                  <a:tint val="75000"/>
                </a:prstClr>
              </a:solidFill>
              <a:latin typeface="Arial" charset="0"/>
              <a:ea typeface="+mn-ea"/>
              <a:cs typeface="+mn-cs"/>
            </a:endParaRPr>
          </a:p>
        </p:txBody>
      </p:sp>
    </p:spTree>
    <p:extLst>
      <p:ext uri="{BB962C8B-B14F-4D97-AF65-F5344CB8AC3E}">
        <p14:creationId xmlns:p14="http://schemas.microsoft.com/office/powerpoint/2010/main" val="2178369928"/>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166089"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ext Placeholder 7"/>
          <p:cNvSpPr>
            <a:spLocks noGrp="1"/>
          </p:cNvSpPr>
          <p:nvPr>
            <p:ph type="body" sz="quarter" idx="13" hasCustomPrompt="1"/>
          </p:nvPr>
        </p:nvSpPr>
        <p:spPr>
          <a:xfrm>
            <a:off x="450276" y="1330699"/>
            <a:ext cx="9005453" cy="4989391"/>
          </a:xfrm>
          <a:prstGeom prst="rect">
            <a:avLst/>
          </a:prstGeom>
        </p:spPr>
        <p:txBody>
          <a:bodyPr lIns="0" tIns="0" rIns="0" bIns="0">
            <a:noAutofit/>
          </a:bodyPr>
          <a:lstStyle>
            <a:lvl1pPr marL="159731" indent="-159731">
              <a:spcBef>
                <a:spcPts val="663"/>
              </a:spcBef>
              <a:defRPr sz="1662" baseline="0"/>
            </a:lvl1pPr>
            <a:lvl2pPr marL="320928" indent="-161196">
              <a:spcBef>
                <a:spcPts val="663"/>
              </a:spcBef>
              <a:defRPr sz="1477"/>
            </a:lvl2pPr>
            <a:lvl3pPr marL="470401" indent="-149473">
              <a:buFont typeface="Courier New" pitchFamily="49" charset="0"/>
              <a:buChar char="o"/>
              <a:defRPr sz="1477"/>
            </a:lvl3pPr>
            <a:lvl4pPr marL="630131" indent="-159731">
              <a:defRPr sz="1477"/>
            </a:lvl4pPr>
            <a:lvl5pPr>
              <a:defRPr sz="1662"/>
            </a:lvl5pPr>
          </a:lstStyle>
          <a:p>
            <a:pPr lvl="0"/>
            <a:r>
              <a:rPr lang="en-US" dirty="0" smtClean="0"/>
              <a:t>Click to edit Master text first level</a:t>
            </a:r>
          </a:p>
          <a:p>
            <a:pPr lvl="1"/>
            <a:r>
              <a:rPr lang="en-US" dirty="0" smtClean="0"/>
              <a:t>Second level</a:t>
            </a:r>
          </a:p>
          <a:p>
            <a:pPr lvl="2"/>
            <a:r>
              <a:rPr lang="en-US" dirty="0" smtClean="0"/>
              <a:t>Third level</a:t>
            </a:r>
          </a:p>
          <a:p>
            <a:pPr lvl="3"/>
            <a:r>
              <a:rPr lang="en-US" dirty="0" smtClean="0"/>
              <a:t>Fourth level</a:t>
            </a:r>
          </a:p>
        </p:txBody>
      </p:sp>
      <p:sp>
        <p:nvSpPr>
          <p:cNvPr id="6" name="Title 1"/>
          <p:cNvSpPr>
            <a:spLocks noGrp="1"/>
          </p:cNvSpPr>
          <p:nvPr>
            <p:ph type="title" hasCustomPrompt="1"/>
          </p:nvPr>
        </p:nvSpPr>
        <p:spPr>
          <a:xfrm>
            <a:off x="450742" y="133087"/>
            <a:ext cx="9005454" cy="738664"/>
          </a:xfrm>
          <a:prstGeom prst="rect">
            <a:avLst/>
          </a:prstGeom>
        </p:spPr>
        <p:txBody>
          <a:bodyPr lIns="0" tIns="0" rIns="0" bIns="0" anchor="b"/>
          <a:lstStyle>
            <a:lvl1pPr algn="l">
              <a:defRPr sz="2400" b="1" baseline="0">
                <a:solidFill>
                  <a:schemeClr val="bg1"/>
                </a:solidFill>
              </a:defRPr>
            </a:lvl1pPr>
          </a:lstStyle>
          <a:p>
            <a:r>
              <a:rPr lang="en-US" dirty="0" smtClean="0"/>
              <a:t>Click to edit </a:t>
            </a:r>
            <a:br>
              <a:rPr lang="en-US" dirty="0" smtClean="0"/>
            </a:br>
            <a:r>
              <a:rPr lang="en-US" dirty="0" smtClean="0"/>
              <a:t>Master title</a:t>
            </a:r>
            <a:endParaRPr lang="en-US" dirty="0"/>
          </a:p>
        </p:txBody>
      </p:sp>
      <p:sp>
        <p:nvSpPr>
          <p:cNvPr id="12" name="Text Placeholder 9"/>
          <p:cNvSpPr>
            <a:spLocks noGrp="1"/>
          </p:cNvSpPr>
          <p:nvPr>
            <p:ph type="body" sz="quarter" idx="37" hasCustomPrompt="1"/>
          </p:nvPr>
        </p:nvSpPr>
        <p:spPr>
          <a:xfrm>
            <a:off x="450275" y="6549116"/>
            <a:ext cx="7626926" cy="284052"/>
          </a:xfrm>
          <a:prstGeom prst="rect">
            <a:avLst/>
          </a:prstGeom>
        </p:spPr>
        <p:txBody>
          <a:bodyPr lIns="0" tIns="0" rIns="0" bIns="0" anchor="b"/>
          <a:lstStyle>
            <a:lvl1pPr marL="0" indent="0">
              <a:buNone/>
              <a:defRPr sz="923"/>
            </a:lvl1pPr>
          </a:lstStyle>
          <a:p>
            <a:r>
              <a:rPr lang="en-US" dirty="0" smtClean="0"/>
              <a:t>Click to edit Master footer. This space is reserved for footnotes and sources only, and cannot be expanded beyond its current size.                                        </a:t>
            </a:r>
            <a:r>
              <a:rPr lang="en-IN" dirty="0" smtClean="0"/>
              <a:t>Source: [Author/Publisher Name], [Report Name], [Year]</a:t>
            </a:r>
          </a:p>
        </p:txBody>
      </p:sp>
    </p:spTree>
    <p:extLst>
      <p:ext uri="{BB962C8B-B14F-4D97-AF65-F5344CB8AC3E}">
        <p14:creationId xmlns:p14="http://schemas.microsoft.com/office/powerpoint/2010/main" val="1807102824"/>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18444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721" y="1589"/>
                        <a:ext cx="1719" cy="1587"/>
                      </a:xfrm>
                      <a:prstGeom prst="rect">
                        <a:avLst/>
                      </a:prstGeom>
                    </p:spPr>
                  </p:pic>
                </p:oleObj>
              </mc:Fallback>
            </mc:AlternateContent>
          </a:graphicData>
        </a:graphic>
      </p:graphicFrame>
      <p:pic>
        <p:nvPicPr>
          <p:cNvPr id="12" name="Picture 11" descr="covertemps-5.jpg"/>
          <p:cNvPicPr>
            <a:picLocks noChangeAspect="1"/>
          </p:cNvPicPr>
          <p:nvPr userDrawn="1"/>
        </p:nvPicPr>
        <p:blipFill>
          <a:blip r:embed="rId6" cstate="print">
            <a:extLst>
              <a:ext uri="{28A0092B-C50C-407E-A947-70E740481C1C}">
                <a14:useLocalDpi xmlns:a14="http://schemas.microsoft.com/office/drawing/2010/main" val="0"/>
              </a:ext>
            </a:extLst>
          </a:blip>
          <a:srcRect b="13333"/>
          <a:stretch>
            <a:fillRect/>
          </a:stretch>
        </p:blipFill>
        <p:spPr bwMode="ltGray">
          <a:xfrm>
            <a:off x="0" y="0"/>
            <a:ext cx="9906000" cy="5943600"/>
          </a:xfrm>
          <a:prstGeom prst="rect">
            <a:avLst/>
          </a:prstGeom>
        </p:spPr>
      </p:pic>
      <p:sp>
        <p:nvSpPr>
          <p:cNvPr id="5" name="doc id"/>
          <p:cNvSpPr txBox="1">
            <a:spLocks noChangeArrowheads="1"/>
          </p:cNvSpPr>
          <p:nvPr/>
        </p:nvSpPr>
        <p:spPr bwMode="auto">
          <a:xfrm>
            <a:off x="9332171" y="37255"/>
            <a:ext cx="326398"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smtClean="0">
              <a:ln>
                <a:noFill/>
              </a:ln>
              <a:solidFill>
                <a:srgbClr val="000000"/>
              </a:solidFill>
              <a:effectLst/>
              <a:uLnTx/>
              <a:uFillTx/>
              <a:latin typeface="Arial"/>
              <a:ea typeface="+mn-ea"/>
              <a:cs typeface="+mn-cs"/>
            </a:endParaRPr>
          </a:p>
        </p:txBody>
      </p:sp>
      <p:sp>
        <p:nvSpPr>
          <p:cNvPr id="13314" name="Rectangle 1026"/>
          <p:cNvSpPr>
            <a:spLocks noGrp="1" noChangeArrowheads="1"/>
          </p:cNvSpPr>
          <p:nvPr>
            <p:ph type="ctrTitle"/>
          </p:nvPr>
        </p:nvSpPr>
        <p:spPr bwMode="auto">
          <a:xfrm>
            <a:off x="664662" y="1282691"/>
            <a:ext cx="8531407" cy="507831"/>
          </a:xfrm>
          <a:prstGeom prst="rect">
            <a:avLst/>
          </a:prstGeom>
        </p:spPr>
        <p:txBody>
          <a:bodyPr anchor="t">
            <a:spAutoFit/>
          </a:bodyPr>
          <a:lstStyle>
            <a:lvl1pPr>
              <a:defRPr sz="3300" b="0"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664662" y="2793630"/>
            <a:ext cx="8531407" cy="219820"/>
          </a:xfrm>
        </p:spPr>
        <p:txBody>
          <a:bodyPr wrap="square">
            <a:spAutoFit/>
          </a:bodyPr>
          <a:lstStyle>
            <a:lvl1pPr>
              <a:defRPr sz="1400" baseline="0">
                <a:solidFill>
                  <a:schemeClr val="bg1"/>
                </a:solidFill>
                <a:latin typeface="+mn-lt"/>
                <a:ea typeface="+mn-ea"/>
              </a:defRPr>
            </a:lvl1pPr>
          </a:lstStyle>
          <a:p>
            <a:pPr lvl="0"/>
            <a:r>
              <a:rPr lang="en-US" noProof="0" smtClean="0"/>
              <a:t>Click to edit Master subtitle style</a:t>
            </a:r>
            <a:endParaRPr lang="en-US" noProof="0" dirty="0" smtClean="0"/>
          </a:p>
        </p:txBody>
      </p:sp>
      <p:sp>
        <p:nvSpPr>
          <p:cNvPr id="16" name="Document type" hidden="1"/>
          <p:cNvSpPr txBox="1">
            <a:spLocks noChangeArrowheads="1"/>
          </p:cNvSpPr>
          <p:nvPr userDrawn="1"/>
        </p:nvSpPr>
        <p:spPr bwMode="auto">
          <a:xfrm>
            <a:off x="664662" y="4016558"/>
            <a:ext cx="853140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lang="x-none"/>
            </a:pPr>
            <a:r>
              <a:rPr kumimoji="0" lang="x-none" sz="1400" b="0" i="0" u="none" strike="noStrike" kern="1200" cap="none" spc="0" normalizeH="0" baseline="0" noProof="0" dirty="0" smtClean="0">
                <a:ln>
                  <a:noFill/>
                </a:ln>
                <a:solidFill>
                  <a:srgbClr val="FFFFFF"/>
                </a:solidFill>
                <a:effectLst/>
                <a:uLnTx/>
                <a:uFillTx/>
                <a:latin typeface="Arial"/>
                <a:ea typeface="+mn-ea"/>
                <a:cs typeface="+mn-cs"/>
              </a:rPr>
              <a:t>Document type | Date</a:t>
            </a:r>
          </a:p>
        </p:txBody>
      </p:sp>
    </p:spTree>
    <p:extLst>
      <p:ext uri="{BB962C8B-B14F-4D97-AF65-F5344CB8AC3E}">
        <p14:creationId xmlns:p14="http://schemas.microsoft.com/office/powerpoint/2010/main" val="851231526"/>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185467"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721" y="1589"/>
                        <a:ext cx="1719" cy="1587"/>
                      </a:xfrm>
                      <a:prstGeom prst="rect">
                        <a:avLst/>
                      </a:prstGeom>
                    </p:spPr>
                  </p:pic>
                </p:oleObj>
              </mc:Fallback>
            </mc:AlternateContent>
          </a:graphicData>
        </a:graphic>
      </p:graphicFrame>
      <p:sp>
        <p:nvSpPr>
          <p:cNvPr id="10" name="Do not remove" hidden="1"/>
          <p:cNvSpPr/>
          <p:nvPr userDrawn="1">
            <p:custDataLst>
              <p:tags r:id="rId3"/>
            </p:custDataLst>
          </p:nvPr>
        </p:nvSpPr>
        <p:spPr>
          <a:xfrm>
            <a:off x="0" y="0"/>
            <a:ext cx="13758" cy="12700"/>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smtClean="0">
              <a:ln>
                <a:noFill/>
              </a:ln>
              <a:solidFill>
                <a:srgbClr val="000000"/>
              </a:solidFill>
              <a:effectLst/>
              <a:uLnTx/>
              <a:uFillTx/>
              <a:latin typeface="Arial"/>
              <a:ea typeface="+mn-ea"/>
              <a:cs typeface="+mn-cs"/>
            </a:endParaRPr>
          </a:p>
        </p:txBody>
      </p:sp>
      <p:sp>
        <p:nvSpPr>
          <p:cNvPr id="2" name="McK 2. Slide Title"/>
          <p:cNvSpPr>
            <a:spLocks noGrp="1"/>
          </p:cNvSpPr>
          <p:nvPr>
            <p:ph type="title"/>
          </p:nvPr>
        </p:nvSpPr>
        <p:spPr>
          <a:xfrm>
            <a:off x="247650" y="388621"/>
            <a:ext cx="8007350" cy="292388"/>
          </a:xfrm>
        </p:spPr>
        <p:txBody>
          <a:bodyPr/>
          <a:lstStyle>
            <a:lvl1pPr>
              <a:defRPr sz="1900"/>
            </a:lvl1pPr>
          </a:lstStyle>
          <a:p>
            <a:r>
              <a:rPr lang="en-US" dirty="0" smtClean="0"/>
              <a:t>Click to edit Master title style</a:t>
            </a:r>
            <a:endParaRPr lang="en-US" dirty="0"/>
          </a:p>
        </p:txBody>
      </p:sp>
    </p:spTree>
    <p:extLst>
      <p:ext uri="{BB962C8B-B14F-4D97-AF65-F5344CB8AC3E}">
        <p14:creationId xmlns:p14="http://schemas.microsoft.com/office/powerpoint/2010/main" val="418446606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_rels/slideMaster10.xml.rels><?xml version="1.0" encoding="UTF-8" standalone="yes"?>
<Relationships xmlns="http://schemas.openxmlformats.org/package/2006/relationships"><Relationship Id="rId8" Type="http://schemas.openxmlformats.org/officeDocument/2006/relationships/tags" Target="../tags/tag134.xml"/><Relationship Id="rId13" Type="http://schemas.openxmlformats.org/officeDocument/2006/relationships/tags" Target="../tags/tag139.xml"/><Relationship Id="rId18" Type="http://schemas.openxmlformats.org/officeDocument/2006/relationships/tags" Target="../tags/tag144.xml"/><Relationship Id="rId26" Type="http://schemas.openxmlformats.org/officeDocument/2006/relationships/image" Target="../media/image20.png"/><Relationship Id="rId3" Type="http://schemas.openxmlformats.org/officeDocument/2006/relationships/slideLayout" Target="../slideLayouts/slideLayout67.xml"/><Relationship Id="rId21" Type="http://schemas.openxmlformats.org/officeDocument/2006/relationships/tags" Target="../tags/tag147.xml"/><Relationship Id="rId7" Type="http://schemas.openxmlformats.org/officeDocument/2006/relationships/tags" Target="../tags/tag133.xml"/><Relationship Id="rId12" Type="http://schemas.openxmlformats.org/officeDocument/2006/relationships/tags" Target="../tags/tag138.xml"/><Relationship Id="rId17" Type="http://schemas.openxmlformats.org/officeDocument/2006/relationships/tags" Target="../tags/tag143.xml"/><Relationship Id="rId25" Type="http://schemas.openxmlformats.org/officeDocument/2006/relationships/image" Target="../media/image16.emf"/><Relationship Id="rId2" Type="http://schemas.openxmlformats.org/officeDocument/2006/relationships/slideLayout" Target="../slideLayouts/slideLayout66.xml"/><Relationship Id="rId16" Type="http://schemas.openxmlformats.org/officeDocument/2006/relationships/tags" Target="../tags/tag142.xml"/><Relationship Id="rId20" Type="http://schemas.openxmlformats.org/officeDocument/2006/relationships/tags" Target="../tags/tag146.xml"/><Relationship Id="rId1" Type="http://schemas.openxmlformats.org/officeDocument/2006/relationships/slideLayout" Target="../slideLayouts/slideLayout65.xml"/><Relationship Id="rId6" Type="http://schemas.openxmlformats.org/officeDocument/2006/relationships/vmlDrawing" Target="../drawings/vmlDrawing51.vml"/><Relationship Id="rId11" Type="http://schemas.openxmlformats.org/officeDocument/2006/relationships/tags" Target="../tags/tag137.xml"/><Relationship Id="rId24" Type="http://schemas.openxmlformats.org/officeDocument/2006/relationships/image" Target="../media/image19.emf"/><Relationship Id="rId5" Type="http://schemas.openxmlformats.org/officeDocument/2006/relationships/theme" Target="../theme/theme10.xml"/><Relationship Id="rId15" Type="http://schemas.openxmlformats.org/officeDocument/2006/relationships/tags" Target="../tags/tag141.xml"/><Relationship Id="rId23" Type="http://schemas.openxmlformats.org/officeDocument/2006/relationships/oleObject" Target="../embeddings/oleObject51.bin"/><Relationship Id="rId10" Type="http://schemas.openxmlformats.org/officeDocument/2006/relationships/tags" Target="../tags/tag136.xml"/><Relationship Id="rId19" Type="http://schemas.openxmlformats.org/officeDocument/2006/relationships/tags" Target="../tags/tag145.xml"/><Relationship Id="rId4" Type="http://schemas.openxmlformats.org/officeDocument/2006/relationships/slideLayout" Target="../slideLayouts/slideLayout68.xml"/><Relationship Id="rId9" Type="http://schemas.openxmlformats.org/officeDocument/2006/relationships/tags" Target="../tags/tag135.xml"/><Relationship Id="rId14" Type="http://schemas.openxmlformats.org/officeDocument/2006/relationships/tags" Target="../tags/tag140.xml"/><Relationship Id="rId22" Type="http://schemas.openxmlformats.org/officeDocument/2006/relationships/tags" Target="../tags/tag148.xml"/></Relationships>
</file>

<file path=ppt/slideMasters/_rels/slideMaster11.xml.rels><?xml version="1.0" encoding="UTF-8" standalone="yes"?>
<Relationships xmlns="http://schemas.openxmlformats.org/package/2006/relationships"><Relationship Id="rId8" Type="http://schemas.openxmlformats.org/officeDocument/2006/relationships/tags" Target="../tags/tag157.xml"/><Relationship Id="rId13" Type="http://schemas.openxmlformats.org/officeDocument/2006/relationships/tags" Target="../tags/tag162.xml"/><Relationship Id="rId18" Type="http://schemas.openxmlformats.org/officeDocument/2006/relationships/tags" Target="../tags/tag167.xml"/><Relationship Id="rId3" Type="http://schemas.openxmlformats.org/officeDocument/2006/relationships/theme" Target="../theme/theme11.xml"/><Relationship Id="rId21" Type="http://schemas.openxmlformats.org/officeDocument/2006/relationships/oleObject" Target="../embeddings/oleObject56.bin"/><Relationship Id="rId7" Type="http://schemas.openxmlformats.org/officeDocument/2006/relationships/tags" Target="../tags/tag156.xml"/><Relationship Id="rId12" Type="http://schemas.openxmlformats.org/officeDocument/2006/relationships/tags" Target="../tags/tag161.xml"/><Relationship Id="rId17" Type="http://schemas.openxmlformats.org/officeDocument/2006/relationships/tags" Target="../tags/tag166.xml"/><Relationship Id="rId2" Type="http://schemas.openxmlformats.org/officeDocument/2006/relationships/slideLayout" Target="../slideLayouts/slideLayout70.xml"/><Relationship Id="rId16" Type="http://schemas.openxmlformats.org/officeDocument/2006/relationships/tags" Target="../tags/tag165.xml"/><Relationship Id="rId20" Type="http://schemas.openxmlformats.org/officeDocument/2006/relationships/tags" Target="../tags/tag169.xml"/><Relationship Id="rId1" Type="http://schemas.openxmlformats.org/officeDocument/2006/relationships/slideLayout" Target="../slideLayouts/slideLayout69.xml"/><Relationship Id="rId6" Type="http://schemas.openxmlformats.org/officeDocument/2006/relationships/tags" Target="../tags/tag155.xml"/><Relationship Id="rId11" Type="http://schemas.openxmlformats.org/officeDocument/2006/relationships/tags" Target="../tags/tag160.xml"/><Relationship Id="rId24" Type="http://schemas.openxmlformats.org/officeDocument/2006/relationships/image" Target="../media/image20.png"/><Relationship Id="rId5" Type="http://schemas.openxmlformats.org/officeDocument/2006/relationships/tags" Target="../tags/tag154.xml"/><Relationship Id="rId15" Type="http://schemas.openxmlformats.org/officeDocument/2006/relationships/tags" Target="../tags/tag164.xml"/><Relationship Id="rId23" Type="http://schemas.openxmlformats.org/officeDocument/2006/relationships/image" Target="../media/image16.emf"/><Relationship Id="rId10" Type="http://schemas.openxmlformats.org/officeDocument/2006/relationships/tags" Target="../tags/tag159.xml"/><Relationship Id="rId19" Type="http://schemas.openxmlformats.org/officeDocument/2006/relationships/tags" Target="../tags/tag168.xml"/><Relationship Id="rId4" Type="http://schemas.openxmlformats.org/officeDocument/2006/relationships/vmlDrawing" Target="../drawings/vmlDrawing56.vml"/><Relationship Id="rId9" Type="http://schemas.openxmlformats.org/officeDocument/2006/relationships/tags" Target="../tags/tag158.xml"/><Relationship Id="rId14" Type="http://schemas.openxmlformats.org/officeDocument/2006/relationships/tags" Target="../tags/tag163.xml"/><Relationship Id="rId22" Type="http://schemas.openxmlformats.org/officeDocument/2006/relationships/image" Target="../media/image19.emf"/></Relationships>
</file>

<file path=ppt/slideMasters/_rels/slideMaster12.xml.rels><?xml version="1.0" encoding="UTF-8" standalone="yes"?>
<Relationships xmlns="http://schemas.openxmlformats.org/package/2006/relationships"><Relationship Id="rId8" Type="http://schemas.openxmlformats.org/officeDocument/2006/relationships/tags" Target="../tags/tag176.xml"/><Relationship Id="rId13" Type="http://schemas.openxmlformats.org/officeDocument/2006/relationships/tags" Target="../tags/tag181.xml"/><Relationship Id="rId18" Type="http://schemas.openxmlformats.org/officeDocument/2006/relationships/tags" Target="../tags/tag186.xml"/><Relationship Id="rId3" Type="http://schemas.openxmlformats.org/officeDocument/2006/relationships/theme" Target="../theme/theme12.xml"/><Relationship Id="rId21" Type="http://schemas.openxmlformats.org/officeDocument/2006/relationships/oleObject" Target="../embeddings/oleObject59.bin"/><Relationship Id="rId7" Type="http://schemas.openxmlformats.org/officeDocument/2006/relationships/tags" Target="../tags/tag175.xml"/><Relationship Id="rId12" Type="http://schemas.openxmlformats.org/officeDocument/2006/relationships/tags" Target="../tags/tag180.xml"/><Relationship Id="rId17" Type="http://schemas.openxmlformats.org/officeDocument/2006/relationships/tags" Target="../tags/tag185.xml"/><Relationship Id="rId2" Type="http://schemas.openxmlformats.org/officeDocument/2006/relationships/slideLayout" Target="../slideLayouts/slideLayout72.xml"/><Relationship Id="rId16" Type="http://schemas.openxmlformats.org/officeDocument/2006/relationships/tags" Target="../tags/tag184.xml"/><Relationship Id="rId20" Type="http://schemas.openxmlformats.org/officeDocument/2006/relationships/tags" Target="../tags/tag188.xml"/><Relationship Id="rId1" Type="http://schemas.openxmlformats.org/officeDocument/2006/relationships/slideLayout" Target="../slideLayouts/slideLayout71.xml"/><Relationship Id="rId6" Type="http://schemas.openxmlformats.org/officeDocument/2006/relationships/tags" Target="../tags/tag174.xml"/><Relationship Id="rId11" Type="http://schemas.openxmlformats.org/officeDocument/2006/relationships/tags" Target="../tags/tag179.xml"/><Relationship Id="rId24" Type="http://schemas.openxmlformats.org/officeDocument/2006/relationships/image" Target="../media/image20.png"/><Relationship Id="rId5" Type="http://schemas.openxmlformats.org/officeDocument/2006/relationships/tags" Target="../tags/tag173.xml"/><Relationship Id="rId15" Type="http://schemas.openxmlformats.org/officeDocument/2006/relationships/tags" Target="../tags/tag183.xml"/><Relationship Id="rId23" Type="http://schemas.openxmlformats.org/officeDocument/2006/relationships/image" Target="../media/image16.emf"/><Relationship Id="rId10" Type="http://schemas.openxmlformats.org/officeDocument/2006/relationships/tags" Target="../tags/tag178.xml"/><Relationship Id="rId19" Type="http://schemas.openxmlformats.org/officeDocument/2006/relationships/tags" Target="../tags/tag187.xml"/><Relationship Id="rId4" Type="http://schemas.openxmlformats.org/officeDocument/2006/relationships/vmlDrawing" Target="../drawings/vmlDrawing59.vml"/><Relationship Id="rId9" Type="http://schemas.openxmlformats.org/officeDocument/2006/relationships/tags" Target="../tags/tag177.xml"/><Relationship Id="rId14" Type="http://schemas.openxmlformats.org/officeDocument/2006/relationships/tags" Target="../tags/tag182.xml"/><Relationship Id="rId22" Type="http://schemas.openxmlformats.org/officeDocument/2006/relationships/image" Target="../media/image19.emf"/></Relationships>
</file>

<file path=ppt/slideMasters/_rels/slideMaster13.xml.rels><?xml version="1.0" encoding="UTF-8" standalone="yes"?>
<Relationships xmlns="http://schemas.openxmlformats.org/package/2006/relationships"><Relationship Id="rId8" Type="http://schemas.openxmlformats.org/officeDocument/2006/relationships/tags" Target="../tags/tag193.xml"/><Relationship Id="rId13" Type="http://schemas.openxmlformats.org/officeDocument/2006/relationships/tags" Target="../tags/tag198.xml"/><Relationship Id="rId18" Type="http://schemas.openxmlformats.org/officeDocument/2006/relationships/tags" Target="../tags/tag203.xml"/><Relationship Id="rId26" Type="http://schemas.openxmlformats.org/officeDocument/2006/relationships/image" Target="../media/image20.png"/><Relationship Id="rId3" Type="http://schemas.openxmlformats.org/officeDocument/2006/relationships/slideLayout" Target="../slideLayouts/slideLayout75.xml"/><Relationship Id="rId21" Type="http://schemas.openxmlformats.org/officeDocument/2006/relationships/tags" Target="../tags/tag206.xml"/><Relationship Id="rId7" Type="http://schemas.openxmlformats.org/officeDocument/2006/relationships/tags" Target="../tags/tag192.xml"/><Relationship Id="rId12" Type="http://schemas.openxmlformats.org/officeDocument/2006/relationships/tags" Target="../tags/tag197.xml"/><Relationship Id="rId17" Type="http://schemas.openxmlformats.org/officeDocument/2006/relationships/tags" Target="../tags/tag202.xml"/><Relationship Id="rId25" Type="http://schemas.openxmlformats.org/officeDocument/2006/relationships/image" Target="../media/image16.emf"/><Relationship Id="rId2" Type="http://schemas.openxmlformats.org/officeDocument/2006/relationships/slideLayout" Target="../slideLayouts/slideLayout74.xml"/><Relationship Id="rId16" Type="http://schemas.openxmlformats.org/officeDocument/2006/relationships/tags" Target="../tags/tag201.xml"/><Relationship Id="rId20" Type="http://schemas.openxmlformats.org/officeDocument/2006/relationships/tags" Target="../tags/tag205.xml"/><Relationship Id="rId1" Type="http://schemas.openxmlformats.org/officeDocument/2006/relationships/slideLayout" Target="../slideLayouts/slideLayout73.xml"/><Relationship Id="rId6" Type="http://schemas.openxmlformats.org/officeDocument/2006/relationships/vmlDrawing" Target="../drawings/vmlDrawing62.vml"/><Relationship Id="rId11" Type="http://schemas.openxmlformats.org/officeDocument/2006/relationships/tags" Target="../tags/tag196.xml"/><Relationship Id="rId24" Type="http://schemas.openxmlformats.org/officeDocument/2006/relationships/image" Target="../media/image19.emf"/><Relationship Id="rId5" Type="http://schemas.openxmlformats.org/officeDocument/2006/relationships/theme" Target="../theme/theme13.xml"/><Relationship Id="rId15" Type="http://schemas.openxmlformats.org/officeDocument/2006/relationships/tags" Target="../tags/tag200.xml"/><Relationship Id="rId23" Type="http://schemas.openxmlformats.org/officeDocument/2006/relationships/oleObject" Target="../embeddings/oleObject62.bin"/><Relationship Id="rId10" Type="http://schemas.openxmlformats.org/officeDocument/2006/relationships/tags" Target="../tags/tag195.xml"/><Relationship Id="rId19" Type="http://schemas.openxmlformats.org/officeDocument/2006/relationships/tags" Target="../tags/tag204.xml"/><Relationship Id="rId4" Type="http://schemas.openxmlformats.org/officeDocument/2006/relationships/slideLayout" Target="../slideLayouts/slideLayout76.xml"/><Relationship Id="rId9" Type="http://schemas.openxmlformats.org/officeDocument/2006/relationships/tags" Target="../tags/tag194.xml"/><Relationship Id="rId14" Type="http://schemas.openxmlformats.org/officeDocument/2006/relationships/tags" Target="../tags/tag199.xml"/><Relationship Id="rId22" Type="http://schemas.openxmlformats.org/officeDocument/2006/relationships/tags" Target="../tags/tag207.xml"/></Relationships>
</file>

<file path=ppt/slideMasters/_rels/slideMaster14.xml.rels><?xml version="1.0" encoding="UTF-8" standalone="yes"?>
<Relationships xmlns="http://schemas.openxmlformats.org/package/2006/relationships"><Relationship Id="rId8" Type="http://schemas.openxmlformats.org/officeDocument/2006/relationships/theme" Target="../theme/theme14.xml"/><Relationship Id="rId13" Type="http://schemas.openxmlformats.org/officeDocument/2006/relationships/tags" Target="../tags/tag216.xml"/><Relationship Id="rId18" Type="http://schemas.openxmlformats.org/officeDocument/2006/relationships/tags" Target="../tags/tag221.xml"/><Relationship Id="rId26" Type="http://schemas.openxmlformats.org/officeDocument/2006/relationships/tags" Target="../tags/tag229.xml"/><Relationship Id="rId3" Type="http://schemas.openxmlformats.org/officeDocument/2006/relationships/slideLayout" Target="../slideLayouts/slideLayout79.xml"/><Relationship Id="rId21" Type="http://schemas.openxmlformats.org/officeDocument/2006/relationships/tags" Target="../tags/tag224.xml"/><Relationship Id="rId7" Type="http://schemas.openxmlformats.org/officeDocument/2006/relationships/slideLayout" Target="../slideLayouts/slideLayout83.xml"/><Relationship Id="rId12" Type="http://schemas.openxmlformats.org/officeDocument/2006/relationships/tags" Target="../tags/tag215.xml"/><Relationship Id="rId17" Type="http://schemas.openxmlformats.org/officeDocument/2006/relationships/tags" Target="../tags/tag220.xml"/><Relationship Id="rId25" Type="http://schemas.openxmlformats.org/officeDocument/2006/relationships/tags" Target="../tags/tag228.xml"/><Relationship Id="rId2" Type="http://schemas.openxmlformats.org/officeDocument/2006/relationships/slideLayout" Target="../slideLayouts/slideLayout78.xml"/><Relationship Id="rId16" Type="http://schemas.openxmlformats.org/officeDocument/2006/relationships/tags" Target="../tags/tag219.xml"/><Relationship Id="rId20" Type="http://schemas.openxmlformats.org/officeDocument/2006/relationships/tags" Target="../tags/tag223.xml"/><Relationship Id="rId29" Type="http://schemas.openxmlformats.org/officeDocument/2006/relationships/image" Target="../media/image16.emf"/><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tags" Target="../tags/tag214.xml"/><Relationship Id="rId24" Type="http://schemas.openxmlformats.org/officeDocument/2006/relationships/tags" Target="../tags/tag227.xml"/><Relationship Id="rId5" Type="http://schemas.openxmlformats.org/officeDocument/2006/relationships/slideLayout" Target="../slideLayouts/slideLayout81.xml"/><Relationship Id="rId15" Type="http://schemas.openxmlformats.org/officeDocument/2006/relationships/tags" Target="../tags/tag218.xml"/><Relationship Id="rId23" Type="http://schemas.openxmlformats.org/officeDocument/2006/relationships/tags" Target="../tags/tag226.xml"/><Relationship Id="rId28" Type="http://schemas.openxmlformats.org/officeDocument/2006/relationships/image" Target="../media/image19.emf"/><Relationship Id="rId10" Type="http://schemas.openxmlformats.org/officeDocument/2006/relationships/tags" Target="../tags/tag213.xml"/><Relationship Id="rId19" Type="http://schemas.openxmlformats.org/officeDocument/2006/relationships/tags" Target="../tags/tag222.xml"/><Relationship Id="rId4" Type="http://schemas.openxmlformats.org/officeDocument/2006/relationships/slideLayout" Target="../slideLayouts/slideLayout80.xml"/><Relationship Id="rId9" Type="http://schemas.openxmlformats.org/officeDocument/2006/relationships/vmlDrawing" Target="../drawings/vmlDrawing67.vml"/><Relationship Id="rId14" Type="http://schemas.openxmlformats.org/officeDocument/2006/relationships/tags" Target="../tags/tag217.xml"/><Relationship Id="rId22" Type="http://schemas.openxmlformats.org/officeDocument/2006/relationships/tags" Target="../tags/tag225.xml"/><Relationship Id="rId27" Type="http://schemas.openxmlformats.org/officeDocument/2006/relationships/oleObject" Target="../embeddings/oleObject67.bin"/><Relationship Id="rId30" Type="http://schemas.openxmlformats.org/officeDocument/2006/relationships/image" Target="../media/image20.png"/></Relationships>
</file>

<file path=ppt/slideMasters/_rels/slideMaster15.xml.rels><?xml version="1.0" encoding="UTF-8" standalone="yes"?>
<Relationships xmlns="http://schemas.openxmlformats.org/package/2006/relationships"><Relationship Id="rId8" Type="http://schemas.openxmlformats.org/officeDocument/2006/relationships/vmlDrawing" Target="../drawings/vmlDrawing73.vml"/><Relationship Id="rId13" Type="http://schemas.openxmlformats.org/officeDocument/2006/relationships/tags" Target="../tags/tag241.xml"/><Relationship Id="rId18" Type="http://schemas.openxmlformats.org/officeDocument/2006/relationships/tags" Target="../tags/tag246.xml"/><Relationship Id="rId26" Type="http://schemas.openxmlformats.org/officeDocument/2006/relationships/image" Target="../media/image19.emf"/><Relationship Id="rId3" Type="http://schemas.openxmlformats.org/officeDocument/2006/relationships/slideLayout" Target="../slideLayouts/slideLayout86.xml"/><Relationship Id="rId21" Type="http://schemas.openxmlformats.org/officeDocument/2006/relationships/tags" Target="../tags/tag249.xml"/><Relationship Id="rId7" Type="http://schemas.openxmlformats.org/officeDocument/2006/relationships/theme" Target="../theme/theme15.xml"/><Relationship Id="rId12" Type="http://schemas.openxmlformats.org/officeDocument/2006/relationships/tags" Target="../tags/tag240.xml"/><Relationship Id="rId17" Type="http://schemas.openxmlformats.org/officeDocument/2006/relationships/tags" Target="../tags/tag245.xml"/><Relationship Id="rId25" Type="http://schemas.openxmlformats.org/officeDocument/2006/relationships/oleObject" Target="../embeddings/oleObject73.bin"/><Relationship Id="rId2" Type="http://schemas.openxmlformats.org/officeDocument/2006/relationships/slideLayout" Target="../slideLayouts/slideLayout85.xml"/><Relationship Id="rId16" Type="http://schemas.openxmlformats.org/officeDocument/2006/relationships/tags" Target="../tags/tag244.xml"/><Relationship Id="rId20" Type="http://schemas.openxmlformats.org/officeDocument/2006/relationships/tags" Target="../tags/tag248.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tags" Target="../tags/tag239.xml"/><Relationship Id="rId24" Type="http://schemas.openxmlformats.org/officeDocument/2006/relationships/tags" Target="../tags/tag252.xml"/><Relationship Id="rId5" Type="http://schemas.openxmlformats.org/officeDocument/2006/relationships/slideLayout" Target="../slideLayouts/slideLayout88.xml"/><Relationship Id="rId15" Type="http://schemas.openxmlformats.org/officeDocument/2006/relationships/tags" Target="../tags/tag243.xml"/><Relationship Id="rId23" Type="http://schemas.openxmlformats.org/officeDocument/2006/relationships/tags" Target="../tags/tag251.xml"/><Relationship Id="rId28" Type="http://schemas.openxmlformats.org/officeDocument/2006/relationships/image" Target="../media/image20.png"/><Relationship Id="rId10" Type="http://schemas.openxmlformats.org/officeDocument/2006/relationships/tags" Target="../tags/tag238.xml"/><Relationship Id="rId19" Type="http://schemas.openxmlformats.org/officeDocument/2006/relationships/tags" Target="../tags/tag247.xml"/><Relationship Id="rId4" Type="http://schemas.openxmlformats.org/officeDocument/2006/relationships/slideLayout" Target="../slideLayouts/slideLayout87.xml"/><Relationship Id="rId9" Type="http://schemas.openxmlformats.org/officeDocument/2006/relationships/tags" Target="../tags/tag237.xml"/><Relationship Id="rId14" Type="http://schemas.openxmlformats.org/officeDocument/2006/relationships/tags" Target="../tags/tag242.xml"/><Relationship Id="rId22" Type="http://schemas.openxmlformats.org/officeDocument/2006/relationships/tags" Target="../tags/tag250.xml"/><Relationship Id="rId27" Type="http://schemas.openxmlformats.org/officeDocument/2006/relationships/image" Target="../media/image16.emf"/></Relationships>
</file>

<file path=ppt/slideMasters/_rels/slideMaster16.xml.rels><?xml version="1.0" encoding="UTF-8" standalone="yes"?>
<Relationships xmlns="http://schemas.openxmlformats.org/package/2006/relationships"><Relationship Id="rId8" Type="http://schemas.openxmlformats.org/officeDocument/2006/relationships/tags" Target="../tags/tag261.xml"/><Relationship Id="rId13" Type="http://schemas.openxmlformats.org/officeDocument/2006/relationships/tags" Target="../tags/tag266.xml"/><Relationship Id="rId18" Type="http://schemas.openxmlformats.org/officeDocument/2006/relationships/tags" Target="../tags/tag271.xml"/><Relationship Id="rId26" Type="http://schemas.openxmlformats.org/officeDocument/2006/relationships/image" Target="../media/image20.png"/><Relationship Id="rId3" Type="http://schemas.openxmlformats.org/officeDocument/2006/relationships/slideLayout" Target="../slideLayouts/slideLayout92.xml"/><Relationship Id="rId21" Type="http://schemas.openxmlformats.org/officeDocument/2006/relationships/tags" Target="../tags/tag274.xml"/><Relationship Id="rId7" Type="http://schemas.openxmlformats.org/officeDocument/2006/relationships/tags" Target="../tags/tag260.xml"/><Relationship Id="rId12" Type="http://schemas.openxmlformats.org/officeDocument/2006/relationships/tags" Target="../tags/tag265.xml"/><Relationship Id="rId17" Type="http://schemas.openxmlformats.org/officeDocument/2006/relationships/tags" Target="../tags/tag270.xml"/><Relationship Id="rId25" Type="http://schemas.openxmlformats.org/officeDocument/2006/relationships/image" Target="../media/image16.emf"/><Relationship Id="rId2" Type="http://schemas.openxmlformats.org/officeDocument/2006/relationships/slideLayout" Target="../slideLayouts/slideLayout91.xml"/><Relationship Id="rId16" Type="http://schemas.openxmlformats.org/officeDocument/2006/relationships/tags" Target="../tags/tag269.xml"/><Relationship Id="rId20" Type="http://schemas.openxmlformats.org/officeDocument/2006/relationships/tags" Target="../tags/tag273.xml"/><Relationship Id="rId1" Type="http://schemas.openxmlformats.org/officeDocument/2006/relationships/slideLayout" Target="../slideLayouts/slideLayout90.xml"/><Relationship Id="rId6" Type="http://schemas.openxmlformats.org/officeDocument/2006/relationships/vmlDrawing" Target="../drawings/vmlDrawing79.vml"/><Relationship Id="rId11" Type="http://schemas.openxmlformats.org/officeDocument/2006/relationships/tags" Target="../tags/tag264.xml"/><Relationship Id="rId24" Type="http://schemas.openxmlformats.org/officeDocument/2006/relationships/image" Target="../media/image19.emf"/><Relationship Id="rId5" Type="http://schemas.openxmlformats.org/officeDocument/2006/relationships/theme" Target="../theme/theme16.xml"/><Relationship Id="rId15" Type="http://schemas.openxmlformats.org/officeDocument/2006/relationships/tags" Target="../tags/tag268.xml"/><Relationship Id="rId23" Type="http://schemas.openxmlformats.org/officeDocument/2006/relationships/oleObject" Target="../embeddings/oleObject79.bin"/><Relationship Id="rId10" Type="http://schemas.openxmlformats.org/officeDocument/2006/relationships/tags" Target="../tags/tag263.xml"/><Relationship Id="rId19" Type="http://schemas.openxmlformats.org/officeDocument/2006/relationships/tags" Target="../tags/tag272.xml"/><Relationship Id="rId4" Type="http://schemas.openxmlformats.org/officeDocument/2006/relationships/slideLayout" Target="../slideLayouts/slideLayout93.xml"/><Relationship Id="rId9" Type="http://schemas.openxmlformats.org/officeDocument/2006/relationships/tags" Target="../tags/tag262.xml"/><Relationship Id="rId14" Type="http://schemas.openxmlformats.org/officeDocument/2006/relationships/tags" Target="../tags/tag267.xml"/><Relationship Id="rId22" Type="http://schemas.openxmlformats.org/officeDocument/2006/relationships/tags" Target="../tags/tag275.xml"/></Relationships>
</file>

<file path=ppt/slideMasters/_rels/slideMaster17.xml.rels><?xml version="1.0" encoding="UTF-8" standalone="yes"?>
<Relationships xmlns="http://schemas.openxmlformats.org/package/2006/relationships"><Relationship Id="rId8" Type="http://schemas.openxmlformats.org/officeDocument/2006/relationships/tags" Target="../tags/tag281.xml"/><Relationship Id="rId13" Type="http://schemas.openxmlformats.org/officeDocument/2006/relationships/tags" Target="../tags/tag286.xml"/><Relationship Id="rId18" Type="http://schemas.openxmlformats.org/officeDocument/2006/relationships/tags" Target="../tags/tag291.xml"/><Relationship Id="rId26" Type="http://schemas.openxmlformats.org/officeDocument/2006/relationships/image" Target="../media/image20.png"/><Relationship Id="rId3" Type="http://schemas.openxmlformats.org/officeDocument/2006/relationships/slideLayout" Target="../slideLayouts/slideLayout96.xml"/><Relationship Id="rId21" Type="http://schemas.openxmlformats.org/officeDocument/2006/relationships/tags" Target="../tags/tag294.xml"/><Relationship Id="rId7" Type="http://schemas.openxmlformats.org/officeDocument/2006/relationships/tags" Target="../tags/tag280.xml"/><Relationship Id="rId12" Type="http://schemas.openxmlformats.org/officeDocument/2006/relationships/tags" Target="../tags/tag285.xml"/><Relationship Id="rId17" Type="http://schemas.openxmlformats.org/officeDocument/2006/relationships/tags" Target="../tags/tag290.xml"/><Relationship Id="rId25" Type="http://schemas.openxmlformats.org/officeDocument/2006/relationships/image" Target="../media/image16.emf"/><Relationship Id="rId2" Type="http://schemas.openxmlformats.org/officeDocument/2006/relationships/slideLayout" Target="../slideLayouts/slideLayout95.xml"/><Relationship Id="rId16" Type="http://schemas.openxmlformats.org/officeDocument/2006/relationships/tags" Target="../tags/tag289.xml"/><Relationship Id="rId20" Type="http://schemas.openxmlformats.org/officeDocument/2006/relationships/tags" Target="../tags/tag293.xml"/><Relationship Id="rId1" Type="http://schemas.openxmlformats.org/officeDocument/2006/relationships/slideLayout" Target="../slideLayouts/slideLayout94.xml"/><Relationship Id="rId6" Type="http://schemas.openxmlformats.org/officeDocument/2006/relationships/vmlDrawing" Target="../drawings/vmlDrawing83.vml"/><Relationship Id="rId11" Type="http://schemas.openxmlformats.org/officeDocument/2006/relationships/tags" Target="../tags/tag284.xml"/><Relationship Id="rId24" Type="http://schemas.openxmlformats.org/officeDocument/2006/relationships/image" Target="../media/image19.emf"/><Relationship Id="rId5" Type="http://schemas.openxmlformats.org/officeDocument/2006/relationships/theme" Target="../theme/theme17.xml"/><Relationship Id="rId15" Type="http://schemas.openxmlformats.org/officeDocument/2006/relationships/tags" Target="../tags/tag288.xml"/><Relationship Id="rId23" Type="http://schemas.openxmlformats.org/officeDocument/2006/relationships/oleObject" Target="../embeddings/oleObject83.bin"/><Relationship Id="rId10" Type="http://schemas.openxmlformats.org/officeDocument/2006/relationships/tags" Target="../tags/tag283.xml"/><Relationship Id="rId19" Type="http://schemas.openxmlformats.org/officeDocument/2006/relationships/tags" Target="../tags/tag292.xml"/><Relationship Id="rId4" Type="http://schemas.openxmlformats.org/officeDocument/2006/relationships/slideLayout" Target="../slideLayouts/slideLayout97.xml"/><Relationship Id="rId9" Type="http://schemas.openxmlformats.org/officeDocument/2006/relationships/tags" Target="../tags/tag282.xml"/><Relationship Id="rId14" Type="http://schemas.openxmlformats.org/officeDocument/2006/relationships/tags" Target="../tags/tag287.xml"/><Relationship Id="rId22" Type="http://schemas.openxmlformats.org/officeDocument/2006/relationships/tags" Target="../tags/tag295.xml"/></Relationships>
</file>

<file path=ppt/slideMasters/_rels/slideMaster18.xml.rels><?xml version="1.0" encoding="UTF-8" standalone="yes"?>
<Relationships xmlns="http://schemas.openxmlformats.org/package/2006/relationships"><Relationship Id="rId8" Type="http://schemas.openxmlformats.org/officeDocument/2006/relationships/tags" Target="../tags/tag300.xml"/><Relationship Id="rId13" Type="http://schemas.openxmlformats.org/officeDocument/2006/relationships/tags" Target="../tags/tag305.xml"/><Relationship Id="rId18" Type="http://schemas.openxmlformats.org/officeDocument/2006/relationships/tags" Target="../tags/tag310.xml"/><Relationship Id="rId26" Type="http://schemas.openxmlformats.org/officeDocument/2006/relationships/image" Target="../media/image16.emf"/><Relationship Id="rId3" Type="http://schemas.openxmlformats.org/officeDocument/2006/relationships/slideLayout" Target="../slideLayouts/slideLayout100.xml"/><Relationship Id="rId21" Type="http://schemas.openxmlformats.org/officeDocument/2006/relationships/tags" Target="../tags/tag313.xml"/><Relationship Id="rId7" Type="http://schemas.openxmlformats.org/officeDocument/2006/relationships/vmlDrawing" Target="../drawings/vmlDrawing87.vml"/><Relationship Id="rId12" Type="http://schemas.openxmlformats.org/officeDocument/2006/relationships/tags" Target="../tags/tag304.xml"/><Relationship Id="rId17" Type="http://schemas.openxmlformats.org/officeDocument/2006/relationships/tags" Target="../tags/tag309.xml"/><Relationship Id="rId25" Type="http://schemas.openxmlformats.org/officeDocument/2006/relationships/image" Target="../media/image19.emf"/><Relationship Id="rId2" Type="http://schemas.openxmlformats.org/officeDocument/2006/relationships/slideLayout" Target="../slideLayouts/slideLayout99.xml"/><Relationship Id="rId16" Type="http://schemas.openxmlformats.org/officeDocument/2006/relationships/tags" Target="../tags/tag308.xml"/><Relationship Id="rId20" Type="http://schemas.openxmlformats.org/officeDocument/2006/relationships/tags" Target="../tags/tag312.xml"/><Relationship Id="rId1" Type="http://schemas.openxmlformats.org/officeDocument/2006/relationships/slideLayout" Target="../slideLayouts/slideLayout98.xml"/><Relationship Id="rId6" Type="http://schemas.openxmlformats.org/officeDocument/2006/relationships/theme" Target="../theme/theme18.xml"/><Relationship Id="rId11" Type="http://schemas.openxmlformats.org/officeDocument/2006/relationships/tags" Target="../tags/tag303.xml"/><Relationship Id="rId24" Type="http://schemas.openxmlformats.org/officeDocument/2006/relationships/oleObject" Target="../embeddings/oleObject87.bin"/><Relationship Id="rId5" Type="http://schemas.openxmlformats.org/officeDocument/2006/relationships/slideLayout" Target="../slideLayouts/slideLayout102.xml"/><Relationship Id="rId15" Type="http://schemas.openxmlformats.org/officeDocument/2006/relationships/tags" Target="../tags/tag307.xml"/><Relationship Id="rId23" Type="http://schemas.openxmlformats.org/officeDocument/2006/relationships/tags" Target="../tags/tag315.xml"/><Relationship Id="rId10" Type="http://schemas.openxmlformats.org/officeDocument/2006/relationships/tags" Target="../tags/tag302.xml"/><Relationship Id="rId19" Type="http://schemas.openxmlformats.org/officeDocument/2006/relationships/tags" Target="../tags/tag311.xml"/><Relationship Id="rId4" Type="http://schemas.openxmlformats.org/officeDocument/2006/relationships/slideLayout" Target="../slideLayouts/slideLayout101.xml"/><Relationship Id="rId9" Type="http://schemas.openxmlformats.org/officeDocument/2006/relationships/tags" Target="../tags/tag301.xml"/><Relationship Id="rId14" Type="http://schemas.openxmlformats.org/officeDocument/2006/relationships/tags" Target="../tags/tag306.xml"/><Relationship Id="rId22" Type="http://schemas.openxmlformats.org/officeDocument/2006/relationships/tags" Target="../tags/tag314.xml"/><Relationship Id="rId27" Type="http://schemas.openxmlformats.org/officeDocument/2006/relationships/image" Target="../media/image20.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tags" Target="../tags/tag3.xml"/><Relationship Id="rId18" Type="http://schemas.openxmlformats.org/officeDocument/2006/relationships/image" Target="../media/image7.png"/><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vmlDrawing" Target="../drawings/vmlDrawing2.vml"/><Relationship Id="rId17" Type="http://schemas.openxmlformats.org/officeDocument/2006/relationships/image" Target="../media/image10.png"/><Relationship Id="rId2" Type="http://schemas.openxmlformats.org/officeDocument/2006/relationships/slideLayout" Target="../slideLayouts/slideLayout9.xml"/><Relationship Id="rId16" Type="http://schemas.openxmlformats.org/officeDocument/2006/relationships/image" Target="../media/image2.png"/><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theme" Target="../theme/theme2.xml"/><Relationship Id="rId5" Type="http://schemas.openxmlformats.org/officeDocument/2006/relationships/slideLayout" Target="../slideLayouts/slideLayout12.xml"/><Relationship Id="rId15" Type="http://schemas.openxmlformats.org/officeDocument/2006/relationships/image" Target="../media/image1.emf"/><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vmlDrawing" Target="../drawings/vmlDrawing8.vml"/><Relationship Id="rId18" Type="http://schemas.openxmlformats.org/officeDocument/2006/relationships/image" Target="../media/image15.png"/><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theme" Target="../theme/theme3.xml"/><Relationship Id="rId17" Type="http://schemas.openxmlformats.org/officeDocument/2006/relationships/image" Target="../media/image14.png"/><Relationship Id="rId2" Type="http://schemas.openxmlformats.org/officeDocument/2006/relationships/slideLayout" Target="../slideLayouts/slideLayout19.xml"/><Relationship Id="rId16" Type="http://schemas.openxmlformats.org/officeDocument/2006/relationships/image" Target="../media/image18.emf"/><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oleObject" Target="../embeddings/oleObject8.bin"/><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tags" Target="../tags/tag1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tags" Target="../tags/tag29.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vmlDrawing" Target="../drawings/vmlDrawing17.vml"/><Relationship Id="rId17" Type="http://schemas.openxmlformats.org/officeDocument/2006/relationships/image" Target="../media/image15.png"/><Relationship Id="rId2" Type="http://schemas.openxmlformats.org/officeDocument/2006/relationships/slideLayout" Target="../slideLayouts/slideLayout30.xml"/><Relationship Id="rId16" Type="http://schemas.openxmlformats.org/officeDocument/2006/relationships/image" Target="../media/image14.png"/><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theme" Target="../theme/theme4.xml"/><Relationship Id="rId5" Type="http://schemas.openxmlformats.org/officeDocument/2006/relationships/slideLayout" Target="../slideLayouts/slideLayout33.xml"/><Relationship Id="rId15" Type="http://schemas.openxmlformats.org/officeDocument/2006/relationships/image" Target="../media/image18.emf"/><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oleObject" Target="../embeddings/oleObject17.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vmlDrawing" Target="../drawings/vmlDrawing26.vml"/><Relationship Id="rId18" Type="http://schemas.openxmlformats.org/officeDocument/2006/relationships/image" Target="../media/image15.png"/><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theme" Target="../theme/theme5.xml"/><Relationship Id="rId17" Type="http://schemas.openxmlformats.org/officeDocument/2006/relationships/image" Target="../media/image14.png"/><Relationship Id="rId2" Type="http://schemas.openxmlformats.org/officeDocument/2006/relationships/slideLayout" Target="../slideLayouts/slideLayout40.xml"/><Relationship Id="rId16" Type="http://schemas.openxmlformats.org/officeDocument/2006/relationships/image" Target="../media/image18.emf"/><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5" Type="http://schemas.openxmlformats.org/officeDocument/2006/relationships/oleObject" Target="../embeddings/oleObject26.bin"/><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tags" Target="../tags/tag46.xml"/></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13" Type="http://schemas.openxmlformats.org/officeDocument/2006/relationships/image" Target="../media/image14.png"/><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image" Target="../media/image18.emf"/><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oleObject" Target="../embeddings/oleObject35.bin"/><Relationship Id="rId5" Type="http://schemas.openxmlformats.org/officeDocument/2006/relationships/slideLayout" Target="../slideLayouts/slideLayout54.xml"/><Relationship Id="rId10" Type="http://schemas.openxmlformats.org/officeDocument/2006/relationships/tags" Target="../tags/tag63.xml"/><Relationship Id="rId4" Type="http://schemas.openxmlformats.org/officeDocument/2006/relationships/slideLayout" Target="../slideLayouts/slideLayout53.xml"/><Relationship Id="rId9" Type="http://schemas.openxmlformats.org/officeDocument/2006/relationships/vmlDrawing" Target="../drawings/vmlDrawing35.vml"/><Relationship Id="rId14" Type="http://schemas.openxmlformats.org/officeDocument/2006/relationships/image" Target="../media/image15.png"/></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tags" Target="../tags/tag85.xml"/><Relationship Id="rId18" Type="http://schemas.openxmlformats.org/officeDocument/2006/relationships/tags" Target="../tags/tag90.xml"/><Relationship Id="rId3" Type="http://schemas.openxmlformats.org/officeDocument/2006/relationships/slideLayout" Target="../slideLayouts/slideLayout59.xml"/><Relationship Id="rId21" Type="http://schemas.openxmlformats.org/officeDocument/2006/relationships/tags" Target="../tags/tag93.xml"/><Relationship Id="rId7" Type="http://schemas.openxmlformats.org/officeDocument/2006/relationships/tags" Target="../tags/tag79.xml"/><Relationship Id="rId12" Type="http://schemas.openxmlformats.org/officeDocument/2006/relationships/tags" Target="../tags/tag84.xml"/><Relationship Id="rId17" Type="http://schemas.openxmlformats.org/officeDocument/2006/relationships/tags" Target="../tags/tag89.xml"/><Relationship Id="rId25" Type="http://schemas.openxmlformats.org/officeDocument/2006/relationships/image" Target="../media/image20.png"/><Relationship Id="rId2" Type="http://schemas.openxmlformats.org/officeDocument/2006/relationships/slideLayout" Target="../slideLayouts/slideLayout58.xml"/><Relationship Id="rId16" Type="http://schemas.openxmlformats.org/officeDocument/2006/relationships/tags" Target="../tags/tag88.xml"/><Relationship Id="rId20" Type="http://schemas.openxmlformats.org/officeDocument/2006/relationships/tags" Target="../tags/tag92.xml"/><Relationship Id="rId1" Type="http://schemas.openxmlformats.org/officeDocument/2006/relationships/slideLayout" Target="../slideLayouts/slideLayout57.xml"/><Relationship Id="rId6" Type="http://schemas.openxmlformats.org/officeDocument/2006/relationships/tags" Target="../tags/tag78.xml"/><Relationship Id="rId11" Type="http://schemas.openxmlformats.org/officeDocument/2006/relationships/tags" Target="../tags/tag83.xml"/><Relationship Id="rId24" Type="http://schemas.openxmlformats.org/officeDocument/2006/relationships/image" Target="../media/image16.emf"/><Relationship Id="rId5" Type="http://schemas.openxmlformats.org/officeDocument/2006/relationships/vmlDrawing" Target="../drawings/vmlDrawing43.vml"/><Relationship Id="rId15" Type="http://schemas.openxmlformats.org/officeDocument/2006/relationships/tags" Target="../tags/tag87.xml"/><Relationship Id="rId23" Type="http://schemas.openxmlformats.org/officeDocument/2006/relationships/image" Target="../media/image19.emf"/><Relationship Id="rId10" Type="http://schemas.openxmlformats.org/officeDocument/2006/relationships/tags" Target="../tags/tag82.xml"/><Relationship Id="rId19" Type="http://schemas.openxmlformats.org/officeDocument/2006/relationships/tags" Target="../tags/tag91.xml"/><Relationship Id="rId4" Type="http://schemas.openxmlformats.org/officeDocument/2006/relationships/theme" Target="../theme/theme7.xml"/><Relationship Id="rId9" Type="http://schemas.openxmlformats.org/officeDocument/2006/relationships/tags" Target="../tags/tag81.xml"/><Relationship Id="rId14" Type="http://schemas.openxmlformats.org/officeDocument/2006/relationships/tags" Target="../tags/tag86.xml"/><Relationship Id="rId22" Type="http://schemas.openxmlformats.org/officeDocument/2006/relationships/oleObject" Target="../embeddings/oleObject43.bin"/></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100.xml"/><Relationship Id="rId13" Type="http://schemas.openxmlformats.org/officeDocument/2006/relationships/tags" Target="../tags/tag105.xml"/><Relationship Id="rId18" Type="http://schemas.openxmlformats.org/officeDocument/2006/relationships/tags" Target="../tags/tag110.xml"/><Relationship Id="rId3" Type="http://schemas.openxmlformats.org/officeDocument/2006/relationships/theme" Target="../theme/theme8.xml"/><Relationship Id="rId21" Type="http://schemas.openxmlformats.org/officeDocument/2006/relationships/oleObject" Target="../embeddings/oleObject46.bin"/><Relationship Id="rId7" Type="http://schemas.openxmlformats.org/officeDocument/2006/relationships/tags" Target="../tags/tag99.xml"/><Relationship Id="rId12" Type="http://schemas.openxmlformats.org/officeDocument/2006/relationships/tags" Target="../tags/tag104.xml"/><Relationship Id="rId17" Type="http://schemas.openxmlformats.org/officeDocument/2006/relationships/tags" Target="../tags/tag109.xml"/><Relationship Id="rId25" Type="http://schemas.openxmlformats.org/officeDocument/2006/relationships/image" Target="../media/image20.png"/><Relationship Id="rId2" Type="http://schemas.openxmlformats.org/officeDocument/2006/relationships/slideLayout" Target="../slideLayouts/slideLayout61.xml"/><Relationship Id="rId16" Type="http://schemas.openxmlformats.org/officeDocument/2006/relationships/tags" Target="../tags/tag108.xml"/><Relationship Id="rId20" Type="http://schemas.openxmlformats.org/officeDocument/2006/relationships/tags" Target="../tags/tag112.xml"/><Relationship Id="rId1" Type="http://schemas.openxmlformats.org/officeDocument/2006/relationships/slideLayout" Target="../slideLayouts/slideLayout60.xml"/><Relationship Id="rId6" Type="http://schemas.openxmlformats.org/officeDocument/2006/relationships/tags" Target="../tags/tag98.xml"/><Relationship Id="rId11" Type="http://schemas.openxmlformats.org/officeDocument/2006/relationships/tags" Target="../tags/tag103.xml"/><Relationship Id="rId24" Type="http://schemas.openxmlformats.org/officeDocument/2006/relationships/image" Target="../media/image16.emf"/><Relationship Id="rId5" Type="http://schemas.openxmlformats.org/officeDocument/2006/relationships/tags" Target="../tags/tag97.xml"/><Relationship Id="rId15" Type="http://schemas.openxmlformats.org/officeDocument/2006/relationships/tags" Target="../tags/tag107.xml"/><Relationship Id="rId23" Type="http://schemas.openxmlformats.org/officeDocument/2006/relationships/image" Target="../media/image24.png"/><Relationship Id="rId10" Type="http://schemas.openxmlformats.org/officeDocument/2006/relationships/tags" Target="../tags/tag102.xml"/><Relationship Id="rId19" Type="http://schemas.openxmlformats.org/officeDocument/2006/relationships/tags" Target="../tags/tag111.xml"/><Relationship Id="rId4" Type="http://schemas.openxmlformats.org/officeDocument/2006/relationships/vmlDrawing" Target="../drawings/vmlDrawing46.vml"/><Relationship Id="rId9" Type="http://schemas.openxmlformats.org/officeDocument/2006/relationships/tags" Target="../tags/tag101.xml"/><Relationship Id="rId14" Type="http://schemas.openxmlformats.org/officeDocument/2006/relationships/tags" Target="../tags/tag106.xml"/><Relationship Id="rId22" Type="http://schemas.openxmlformats.org/officeDocument/2006/relationships/image" Target="../media/image19.emf"/></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116.xml"/><Relationship Id="rId13" Type="http://schemas.openxmlformats.org/officeDocument/2006/relationships/tags" Target="../tags/tag121.xml"/><Relationship Id="rId18" Type="http://schemas.openxmlformats.org/officeDocument/2006/relationships/tags" Target="../tags/tag126.xml"/><Relationship Id="rId3" Type="http://schemas.openxmlformats.org/officeDocument/2006/relationships/slideLayout" Target="../slideLayouts/slideLayout64.xml"/><Relationship Id="rId21" Type="http://schemas.openxmlformats.org/officeDocument/2006/relationships/tags" Target="../tags/tag129.xml"/><Relationship Id="rId7" Type="http://schemas.openxmlformats.org/officeDocument/2006/relationships/tags" Target="../tags/tag115.xml"/><Relationship Id="rId12" Type="http://schemas.openxmlformats.org/officeDocument/2006/relationships/tags" Target="../tags/tag120.xml"/><Relationship Id="rId17" Type="http://schemas.openxmlformats.org/officeDocument/2006/relationships/tags" Target="../tags/tag125.xml"/><Relationship Id="rId25" Type="http://schemas.openxmlformats.org/officeDocument/2006/relationships/image" Target="../media/image20.png"/><Relationship Id="rId2" Type="http://schemas.openxmlformats.org/officeDocument/2006/relationships/slideLayout" Target="../slideLayouts/slideLayout63.xml"/><Relationship Id="rId16" Type="http://schemas.openxmlformats.org/officeDocument/2006/relationships/tags" Target="../tags/tag124.xml"/><Relationship Id="rId20" Type="http://schemas.openxmlformats.org/officeDocument/2006/relationships/tags" Target="../tags/tag128.xml"/><Relationship Id="rId1" Type="http://schemas.openxmlformats.org/officeDocument/2006/relationships/slideLayout" Target="../slideLayouts/slideLayout62.xml"/><Relationship Id="rId6" Type="http://schemas.openxmlformats.org/officeDocument/2006/relationships/tags" Target="../tags/tag114.xml"/><Relationship Id="rId11" Type="http://schemas.openxmlformats.org/officeDocument/2006/relationships/tags" Target="../tags/tag119.xml"/><Relationship Id="rId24" Type="http://schemas.openxmlformats.org/officeDocument/2006/relationships/image" Target="../media/image16.emf"/><Relationship Id="rId5" Type="http://schemas.openxmlformats.org/officeDocument/2006/relationships/vmlDrawing" Target="../drawings/vmlDrawing48.vml"/><Relationship Id="rId15" Type="http://schemas.openxmlformats.org/officeDocument/2006/relationships/tags" Target="../tags/tag123.xml"/><Relationship Id="rId23" Type="http://schemas.openxmlformats.org/officeDocument/2006/relationships/image" Target="../media/image19.emf"/><Relationship Id="rId10" Type="http://schemas.openxmlformats.org/officeDocument/2006/relationships/tags" Target="../tags/tag118.xml"/><Relationship Id="rId19" Type="http://schemas.openxmlformats.org/officeDocument/2006/relationships/tags" Target="../tags/tag127.xml"/><Relationship Id="rId4" Type="http://schemas.openxmlformats.org/officeDocument/2006/relationships/theme" Target="../theme/theme9.xml"/><Relationship Id="rId9" Type="http://schemas.openxmlformats.org/officeDocument/2006/relationships/tags" Target="../tags/tag117.xml"/><Relationship Id="rId14" Type="http://schemas.openxmlformats.org/officeDocument/2006/relationships/tags" Target="../tags/tag122.xml"/><Relationship Id="rId22" Type="http://schemas.openxmlformats.org/officeDocument/2006/relationships/oleObject" Target="../embeddings/oleObject48.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alpha val="10980"/>
          </a:schemeClr>
        </a:solidFill>
        <a:effectLst/>
      </p:bgPr>
    </p:bg>
    <p:spTree>
      <p:nvGrpSpPr>
        <p:cNvPr id="1" name="Shape 9"/>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val="1402600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9378" name="think-cell Slide" r:id="rId11" imgW="327" imgH="327" progId="TCLayout.ActiveDocument.1">
                  <p:embed/>
                </p:oleObj>
              </mc:Choice>
              <mc:Fallback>
                <p:oleObj name="think-cell Slide" r:id="rId11" imgW="327" imgH="327"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pic>
        <p:nvPicPr>
          <p:cNvPr id="10" name="Google Shape;10;p1"/>
          <p:cNvPicPr preferRelativeResize="0"/>
          <p:nvPr/>
        </p:nvPicPr>
        <p:blipFill rotWithShape="1">
          <a:blip r:embed="rId13">
            <a:alphaModFix/>
          </a:blip>
          <a:srcRect/>
          <a:stretch/>
        </p:blipFill>
        <p:spPr>
          <a:xfrm>
            <a:off x="1588" y="1588"/>
            <a:ext cx="1588" cy="1588"/>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48" r:id="rId1"/>
    <p:sldLayoutId id="2147483650" r:id="rId2"/>
    <p:sldLayoutId id="2147483651" r:id="rId3"/>
    <p:sldLayoutId id="2147483652" r:id="rId4"/>
    <p:sldLayoutId id="2147483653" r:id="rId5"/>
    <p:sldLayoutId id="2147483654" r:id="rId6"/>
    <p:sldLayoutId id="2147483655" r:id="rId7"/>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nvPr>
        </p:nvGraphicFramePr>
        <p:xfrm>
          <a:off x="0" y="0"/>
          <a:ext cx="175483" cy="161974"/>
        </p:xfrm>
        <a:graphic>
          <a:graphicData uri="http://schemas.openxmlformats.org/presentationml/2006/ole">
            <mc:AlternateContent xmlns:mc="http://schemas.openxmlformats.org/markup-compatibility/2006">
              <mc:Choice xmlns:v="urn:schemas-microsoft-com:vml" Requires="v">
                <p:oleObj spid="_x0000_s112900"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0" y="0"/>
                        <a:ext cx="175483" cy="161974"/>
                      </a:xfrm>
                      <a:prstGeom prst="rect">
                        <a:avLst/>
                      </a:prstGeom>
                    </p:spPr>
                  </p:pic>
                </p:oleObj>
              </mc:Fallback>
            </mc:AlternateContent>
          </a:graphicData>
        </a:graphic>
      </p:graphicFrame>
      <p:pic>
        <p:nvPicPr>
          <p:cNvPr id="59" name="Picture 58"/>
          <p:cNvPicPr>
            <a:picLocks/>
          </p:cNvPicPr>
          <p:nvPr userDrawn="1"/>
        </p:nvPicPr>
        <p:blipFill>
          <a:blip r:embed="rId25" cstate="print"/>
          <a:stretch>
            <a:fillRect/>
          </a:stretch>
        </p:blipFill>
        <p:spPr bwMode="auto">
          <a:xfrm>
            <a:off x="189523" y="681170"/>
            <a:ext cx="8065476" cy="50511"/>
          </a:xfrm>
          <a:prstGeom prst="rect">
            <a:avLst/>
          </a:prstGeom>
        </p:spPr>
      </p:pic>
      <p:pic>
        <p:nvPicPr>
          <p:cNvPr id="60" name="Picture 59" descr="AGRALogo.png"/>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bwMode="ltGray">
          <a:xfrm>
            <a:off x="8329382" y="388621"/>
            <a:ext cx="1354131" cy="530864"/>
          </a:xfrm>
          <a:prstGeom prst="rect">
            <a:avLst/>
          </a:prstGeom>
        </p:spPr>
      </p:pic>
      <p:sp>
        <p:nvSpPr>
          <p:cNvPr id="1033" name="doc id"/>
          <p:cNvSpPr>
            <a:spLocks noChangeArrowheads="1"/>
          </p:cNvSpPr>
          <p:nvPr/>
        </p:nvSpPr>
        <p:spPr bwMode="auto">
          <a:xfrm>
            <a:off x="8933827" y="37255"/>
            <a:ext cx="726499"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429" fontAlgn="base">
              <a:spcBef>
                <a:spcPct val="0"/>
              </a:spcBef>
              <a:spcAft>
                <a:spcPct val="0"/>
              </a:spcAft>
              <a:buClrTx/>
              <a:buFontTx/>
              <a:buNone/>
            </a:pPr>
            <a:endParaRPr lang="en-US" sz="800" kern="1200" dirty="0">
              <a:ea typeface="+mn-ea"/>
              <a:cs typeface="+mn-cs"/>
            </a:endParaRPr>
          </a:p>
        </p:txBody>
      </p:sp>
      <p:sp>
        <p:nvSpPr>
          <p:cNvPr id="1036" name="Rectangle 286"/>
          <p:cNvSpPr>
            <a:spLocks noGrp="1" noChangeArrowheads="1"/>
          </p:cNvSpPr>
          <p:nvPr>
            <p:ph type="body" idx="1"/>
          </p:nvPr>
        </p:nvSpPr>
        <p:spPr bwMode="auto">
          <a:xfrm>
            <a:off x="1878084" y="2508985"/>
            <a:ext cx="4755582"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auto">
          <a:xfrm>
            <a:off x="247650" y="388621"/>
            <a:ext cx="8007350"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1. On-page tracker" hidden="1"/>
          <p:cNvSpPr>
            <a:spLocks noChangeArrowheads="1"/>
          </p:cNvSpPr>
          <p:nvPr/>
        </p:nvSpPr>
        <p:spPr bwMode="auto">
          <a:xfrm>
            <a:off x="247690" y="8087"/>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buClrTx/>
              <a:buFontTx/>
              <a:buNone/>
            </a:pPr>
            <a:r>
              <a:rPr lang="en-US" sz="1000" kern="1200" dirty="0">
                <a:solidFill>
                  <a:srgbClr val="808080"/>
                </a:solidFill>
                <a:ea typeface="+mn-ea"/>
                <a:cs typeface="+mn-cs"/>
              </a:rPr>
              <a:t>TRACKER</a:t>
            </a:r>
          </a:p>
        </p:txBody>
      </p:sp>
      <p:sp>
        <p:nvSpPr>
          <p:cNvPr id="11" name="3. Unit of measure" hidden="1"/>
          <p:cNvSpPr txBox="1">
            <a:spLocks noChangeArrowheads="1"/>
          </p:cNvSpPr>
          <p:nvPr/>
        </p:nvSpPr>
        <p:spPr bwMode="auto">
          <a:xfrm>
            <a:off x="247650" y="749678"/>
            <a:ext cx="800735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buClrTx/>
              <a:buFontTx/>
              <a:buNone/>
              <a:defRPr/>
            </a:pPr>
            <a:r>
              <a:rPr lang="en-US" sz="1600" kern="1200" dirty="0" smtClean="0">
                <a:solidFill>
                  <a:srgbClr val="808080"/>
                </a:solidFill>
                <a:latin typeface="Arial"/>
                <a:ea typeface="+mn-ea"/>
                <a:cs typeface="+mn-cs"/>
              </a:rPr>
              <a:t>Unit of measure</a:t>
            </a:r>
          </a:p>
        </p:txBody>
      </p:sp>
      <p:grpSp>
        <p:nvGrpSpPr>
          <p:cNvPr id="15" name="ACET" hidden="1"/>
          <p:cNvGrpSpPr>
            <a:grpSpLocks/>
          </p:cNvGrpSpPr>
          <p:nvPr/>
        </p:nvGrpSpPr>
        <p:grpSpPr bwMode="auto">
          <a:xfrm>
            <a:off x="1878084" y="1915010"/>
            <a:ext cx="4713466"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buClrTx/>
                <a:buFontTx/>
                <a:buNone/>
              </a:pPr>
              <a:r>
                <a:rPr lang="en-US" sz="1600" b="1" kern="1200" dirty="0">
                  <a:ea typeface="+mn-ea"/>
                  <a:cs typeface="+mn-cs"/>
                </a:rPr>
                <a:t>Title</a:t>
              </a:r>
            </a:p>
            <a:p>
              <a:pPr fontAlgn="base">
                <a:spcBef>
                  <a:spcPct val="0"/>
                </a:spcBef>
                <a:spcAft>
                  <a:spcPct val="0"/>
                </a:spcAft>
                <a:buClrTx/>
                <a:buFontTx/>
                <a:buNone/>
              </a:pPr>
              <a:r>
                <a:rPr lang="en-US" sz="1600" kern="1200" dirty="0">
                  <a:solidFill>
                    <a:srgbClr val="808080"/>
                  </a:solidFill>
                  <a:ea typeface="+mn-ea"/>
                  <a:cs typeface="+mn-cs"/>
                </a:rPr>
                <a:t>Unit of measure</a:t>
              </a:r>
            </a:p>
          </p:txBody>
        </p:sp>
      </p:grpSp>
      <p:sp>
        <p:nvSpPr>
          <p:cNvPr id="104" name="Slide Number"/>
          <p:cNvSpPr txBox="1">
            <a:spLocks/>
          </p:cNvSpPr>
          <p:nvPr userDrawn="1"/>
        </p:nvSpPr>
        <p:spPr bwMode="auto">
          <a:xfrm>
            <a:off x="9558393" y="6643759"/>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buClrTx/>
              <a:buFontTx/>
              <a:buNone/>
            </a:pPr>
            <a:fld id="{42C328C1-A84F-4A39-A664-DBA00541A8C6}" type="slidenum">
              <a:rPr lang="en-US" sz="800" kern="1200" smtClean="0">
                <a:ea typeface="+mn-ea"/>
                <a:cs typeface="+mn-cs"/>
              </a:rPr>
              <a:pPr algn="r" fontAlgn="base">
                <a:spcBef>
                  <a:spcPct val="0"/>
                </a:spcBef>
                <a:spcAft>
                  <a:spcPct val="0"/>
                </a:spcAft>
                <a:buClrTx/>
                <a:buFontTx/>
                <a:buNone/>
              </a:pPr>
              <a:t>‹#›</a:t>
            </a:fld>
            <a:endParaRPr lang="en-US" sz="800" kern="1200" dirty="0">
              <a:ea typeface="+mn-ea"/>
              <a:cs typeface="+mn-cs"/>
            </a:endParaRPr>
          </a:p>
        </p:txBody>
      </p:sp>
      <p:grpSp>
        <p:nvGrpSpPr>
          <p:cNvPr id="105" name="Slide Elements" hidden="1"/>
          <p:cNvGrpSpPr/>
          <p:nvPr userDrawn="1"/>
        </p:nvGrpSpPr>
        <p:grpSpPr bwMode="auto">
          <a:xfrm>
            <a:off x="247654" y="6441985"/>
            <a:ext cx="9336748" cy="324724"/>
            <a:chOff x="119063" y="6306659"/>
            <a:chExt cx="8618537" cy="324724"/>
          </a:xfrm>
        </p:grpSpPr>
        <p:sp>
          <p:nvSpPr>
            <p:cNvPr id="106" name="4. Footnote"/>
            <p:cNvSpPr txBox="1">
              <a:spLocks noChangeArrowheads="1"/>
            </p:cNvSpPr>
            <p:nvPr/>
          </p:nvSpPr>
          <p:spPr bwMode="auto">
            <a:xfrm>
              <a:off x="119063" y="6306659"/>
              <a:ext cx="861853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fontAlgn="base">
                <a:spcBef>
                  <a:spcPct val="0"/>
                </a:spcBef>
                <a:spcAft>
                  <a:spcPct val="0"/>
                </a:spcAft>
                <a:buClrTx/>
                <a:buFontTx/>
                <a:buNone/>
                <a:defRPr lang="x-none"/>
              </a:pPr>
              <a:r>
                <a:rPr sz="800" kern="1200" dirty="0" smtClean="0">
                  <a:solidFill>
                    <a:srgbClr val="000000"/>
                  </a:solidFill>
                  <a:latin typeface="Arial"/>
                  <a:ea typeface="+mn-ea"/>
                  <a:cs typeface="+mn-cs"/>
                </a:rPr>
                <a:t>1 Footnote</a:t>
              </a:r>
            </a:p>
          </p:txBody>
        </p:sp>
        <p:sp>
          <p:nvSpPr>
            <p:cNvPr id="107" name="5. Source"/>
            <p:cNvSpPr>
              <a:spLocks noChangeArrowheads="1"/>
            </p:cNvSpPr>
            <p:nvPr/>
          </p:nvSpPr>
          <p:spPr bwMode="auto">
            <a:xfrm>
              <a:off x="119063" y="6508272"/>
              <a:ext cx="794619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19113" indent="-519113" defTabSz="895350" fontAlgn="base">
                <a:spcBef>
                  <a:spcPct val="0"/>
                </a:spcBef>
                <a:spcAft>
                  <a:spcPct val="0"/>
                </a:spcAft>
                <a:buClrTx/>
                <a:buFontTx/>
                <a:buNone/>
                <a:tabLst>
                  <a:tab pos="612775" algn="l"/>
                </a:tabLst>
              </a:pPr>
              <a:r>
                <a:rPr lang="x-none" sz="800" kern="1200" dirty="0">
                  <a:ea typeface="+mn-ea"/>
                  <a:cs typeface="+mn-cs"/>
                </a:rPr>
                <a:t>SOURCE : </a:t>
              </a:r>
              <a:r>
                <a:rPr lang="x-none" sz="800" kern="1200" dirty="0" smtClean="0">
                  <a:ea typeface="+mn-ea"/>
                  <a:cs typeface="+mn-cs"/>
                </a:rPr>
                <a:t>Source</a:t>
              </a:r>
              <a:endParaRPr lang="en-US" sz="800" kern="1200" dirty="0" smtClean="0">
                <a:ea typeface="+mn-ea"/>
                <a:cs typeface="+mn-cs"/>
              </a:endParaRPr>
            </a:p>
          </p:txBody>
        </p:sp>
      </p:grpSp>
      <p:grpSp>
        <p:nvGrpSpPr>
          <p:cNvPr id="108" name="McKSticker" hidden="1"/>
          <p:cNvGrpSpPr/>
          <p:nvPr userDrawn="1"/>
        </p:nvGrpSpPr>
        <p:grpSpPr bwMode="auto">
          <a:xfrm>
            <a:off x="9209576" y="981082"/>
            <a:ext cx="473335" cy="150811"/>
            <a:chOff x="8303851" y="285750"/>
            <a:chExt cx="436924" cy="150811"/>
          </a:xfrm>
        </p:grpSpPr>
        <p:sp>
          <p:nvSpPr>
            <p:cNvPr id="109" name="StickerRectangle"/>
            <p:cNvSpPr>
              <a:spLocks noChangeArrowheads="1"/>
            </p:cNvSpPr>
            <p:nvPr/>
          </p:nvSpPr>
          <p:spPr bwMode="auto">
            <a:xfrm>
              <a:off x="8303851" y="285750"/>
              <a:ext cx="436924"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02960"/>
                </a:buClr>
                <a:buFontTx/>
                <a:buNone/>
              </a:pPr>
              <a:r>
                <a:rPr lang="x-none" sz="800" kern="1200" dirty="0" smtClean="0">
                  <a:solidFill>
                    <a:srgbClr val="808080"/>
                  </a:solidFill>
                  <a:ea typeface="+mn-ea"/>
                  <a:cs typeface="+mn-cs"/>
                </a:rPr>
                <a:t>STICKER</a:t>
              </a:r>
              <a:endParaRPr lang="x-none" sz="800" kern="1200" dirty="0">
                <a:solidFill>
                  <a:srgbClr val="808080"/>
                </a:solidFill>
                <a:ea typeface="+mn-ea"/>
                <a:cs typeface="+mn-cs"/>
              </a:endParaRPr>
            </a:p>
          </p:txBody>
        </p:sp>
        <p:cxnSp>
          <p:nvCxnSpPr>
            <p:cNvPr id="110" name="AutoShape 31"/>
            <p:cNvCxnSpPr>
              <a:cxnSpLocks noChangeShapeType="1"/>
              <a:stCxn id="109" idx="2"/>
              <a:endCxn id="109" idx="4"/>
            </p:cNvCxnSpPr>
            <p:nvPr/>
          </p:nvCxnSpPr>
          <p:spPr bwMode="auto">
            <a:xfrm>
              <a:off x="8303851"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11" name="AutoShape 32"/>
            <p:cNvCxnSpPr>
              <a:cxnSpLocks noChangeShapeType="1"/>
              <a:stCxn id="109" idx="4"/>
              <a:endCxn id="109" idx="6"/>
            </p:cNvCxnSpPr>
            <p:nvPr/>
          </p:nvCxnSpPr>
          <p:spPr bwMode="auto">
            <a:xfrm>
              <a:off x="8303851" y="436561"/>
              <a:ext cx="436924"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12" name="LegendBoxes" hidden="1"/>
          <p:cNvGrpSpPr/>
          <p:nvPr userDrawn="1"/>
        </p:nvGrpSpPr>
        <p:grpSpPr bwMode="auto">
          <a:xfrm>
            <a:off x="8855846" y="974734"/>
            <a:ext cx="784921" cy="997467"/>
            <a:chOff x="7835905" y="279400"/>
            <a:chExt cx="724543" cy="997467"/>
          </a:xfrm>
        </p:grpSpPr>
        <p:sp>
          <p:nvSpPr>
            <p:cNvPr id="113"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14"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15"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16"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17" name="Legend1"/>
            <p:cNvSpPr>
              <a:spLocks noChangeArrowheads="1"/>
            </p:cNvSpPr>
            <p:nvPr/>
          </p:nvSpPr>
          <p:spPr bwMode="auto">
            <a:xfrm>
              <a:off x="8089905"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cs typeface="+mn-cs"/>
                </a:rPr>
                <a:t>Legend</a:t>
              </a:r>
              <a:endParaRPr lang="x-none" sz="1200" kern="1200" dirty="0">
                <a:ea typeface="+mn-ea"/>
                <a:cs typeface="+mn-cs"/>
              </a:endParaRPr>
            </a:p>
          </p:txBody>
        </p:sp>
        <p:sp>
          <p:nvSpPr>
            <p:cNvPr id="118" name="Legend2"/>
            <p:cNvSpPr>
              <a:spLocks noChangeArrowheads="1"/>
            </p:cNvSpPr>
            <p:nvPr/>
          </p:nvSpPr>
          <p:spPr bwMode="auto">
            <a:xfrm>
              <a:off x="8089905" y="54927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cs typeface="+mn-cs"/>
                </a:rPr>
                <a:t>Legend</a:t>
              </a:r>
              <a:endParaRPr lang="x-none" sz="1200" kern="1200" dirty="0">
                <a:ea typeface="+mn-ea"/>
                <a:cs typeface="+mn-cs"/>
              </a:endParaRPr>
            </a:p>
          </p:txBody>
        </p:sp>
        <p:sp>
          <p:nvSpPr>
            <p:cNvPr id="119" name="Legend3"/>
            <p:cNvSpPr>
              <a:spLocks noChangeArrowheads="1"/>
            </p:cNvSpPr>
            <p:nvPr/>
          </p:nvSpPr>
          <p:spPr bwMode="auto">
            <a:xfrm>
              <a:off x="8089905" y="820738"/>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20" name="Legend4"/>
            <p:cNvSpPr>
              <a:spLocks noChangeArrowheads="1"/>
            </p:cNvSpPr>
            <p:nvPr/>
          </p:nvSpPr>
          <p:spPr bwMode="auto">
            <a:xfrm>
              <a:off x="8089905" y="10922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grpSp>
      <p:grpSp>
        <p:nvGrpSpPr>
          <p:cNvPr id="121" name="LegendLines" hidden="1"/>
          <p:cNvGrpSpPr/>
          <p:nvPr userDrawn="1"/>
        </p:nvGrpSpPr>
        <p:grpSpPr bwMode="auto">
          <a:xfrm>
            <a:off x="8522391" y="974733"/>
            <a:ext cx="1118561" cy="730767"/>
            <a:chOff x="7540629" y="279400"/>
            <a:chExt cx="1032518" cy="730767"/>
          </a:xfrm>
        </p:grpSpPr>
        <p:sp>
          <p:nvSpPr>
            <p:cNvPr id="122"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dirty="0">
                <a:ea typeface="+mn-ea"/>
                <a:cs typeface="+mn-cs"/>
              </a:endParaRPr>
            </a:p>
          </p:txBody>
        </p:sp>
        <p:sp>
          <p:nvSpPr>
            <p:cNvPr id="123"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dirty="0">
                <a:ea typeface="+mn-ea"/>
                <a:cs typeface="+mn-cs"/>
              </a:endParaRPr>
            </a:p>
          </p:txBody>
        </p:sp>
        <p:sp>
          <p:nvSpPr>
            <p:cNvPr id="124"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dirty="0">
                <a:ea typeface="+mn-ea"/>
                <a:cs typeface="+mn-cs"/>
              </a:endParaRPr>
            </a:p>
          </p:txBody>
        </p:sp>
        <p:sp>
          <p:nvSpPr>
            <p:cNvPr id="125" name="Legend1"/>
            <p:cNvSpPr>
              <a:spLocks noChangeArrowheads="1"/>
            </p:cNvSpPr>
            <p:nvPr/>
          </p:nvSpPr>
          <p:spPr bwMode="auto">
            <a:xfrm>
              <a:off x="8102604"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cs typeface="+mn-cs"/>
                </a:rPr>
                <a:t>Legend</a:t>
              </a:r>
              <a:endParaRPr lang="x-none" sz="1200" kern="1200" dirty="0">
                <a:ea typeface="+mn-ea"/>
                <a:cs typeface="+mn-cs"/>
              </a:endParaRPr>
            </a:p>
          </p:txBody>
        </p:sp>
        <p:sp>
          <p:nvSpPr>
            <p:cNvPr id="126" name="Legend2"/>
            <p:cNvSpPr>
              <a:spLocks noChangeArrowheads="1"/>
            </p:cNvSpPr>
            <p:nvPr/>
          </p:nvSpPr>
          <p:spPr bwMode="auto">
            <a:xfrm>
              <a:off x="8102604" y="5461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cs typeface="+mn-cs"/>
                </a:rPr>
                <a:t>Legend</a:t>
              </a:r>
              <a:endParaRPr lang="x-none" sz="1200" kern="1200" dirty="0">
                <a:ea typeface="+mn-ea"/>
                <a:cs typeface="+mn-cs"/>
              </a:endParaRPr>
            </a:p>
          </p:txBody>
        </p:sp>
        <p:sp>
          <p:nvSpPr>
            <p:cNvPr id="127" name="Legend3"/>
            <p:cNvSpPr>
              <a:spLocks noChangeArrowheads="1"/>
            </p:cNvSpPr>
            <p:nvPr/>
          </p:nvSpPr>
          <p:spPr bwMode="auto">
            <a:xfrm>
              <a:off x="8102604" y="8255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cs typeface="+mn-cs"/>
                </a:rPr>
                <a:t>Legend</a:t>
              </a:r>
              <a:endParaRPr lang="x-none" sz="1200" kern="1200" dirty="0">
                <a:ea typeface="+mn-ea"/>
                <a:cs typeface="+mn-cs"/>
              </a:endParaRPr>
            </a:p>
          </p:txBody>
        </p:sp>
      </p:grpSp>
      <p:grpSp>
        <p:nvGrpSpPr>
          <p:cNvPr id="128" name="LegendMoons" hidden="1"/>
          <p:cNvGrpSpPr/>
          <p:nvPr userDrawn="1"/>
        </p:nvGrpSpPr>
        <p:grpSpPr bwMode="auto">
          <a:xfrm>
            <a:off x="8783531" y="946154"/>
            <a:ext cx="857153" cy="1306516"/>
            <a:chOff x="7769225" y="250825"/>
            <a:chExt cx="791218" cy="1306516"/>
          </a:xfrm>
        </p:grpSpPr>
        <p:grpSp>
          <p:nvGrpSpPr>
            <p:cNvPr id="129" name="MoonLegend1"/>
            <p:cNvGrpSpPr>
              <a:grpSpLocks noChangeAspect="1"/>
            </p:cNvGrpSpPr>
            <p:nvPr>
              <p:custDataLst>
                <p:tags r:id="rId8"/>
              </p:custDataLst>
            </p:nvPr>
          </p:nvGrpSpPr>
          <p:grpSpPr bwMode="auto">
            <a:xfrm>
              <a:off x="7769225" y="250825"/>
              <a:ext cx="209550" cy="209551"/>
              <a:chOff x="4533" y="183"/>
              <a:chExt cx="144" cy="144"/>
            </a:xfrm>
          </p:grpSpPr>
          <p:sp>
            <p:nvSpPr>
              <p:cNvPr id="147" name="Oval 38"/>
              <p:cNvSpPr>
                <a:spLocks noChangeAspect="1" noChangeArrowheads="1"/>
              </p:cNvSpPr>
              <p:nvPr>
                <p:custDataLst>
                  <p:tags r:id="rId21"/>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8" name="Arc 39"/>
              <p:cNvSpPr>
                <a:spLocks noChangeAspect="1"/>
              </p:cNvSpPr>
              <p:nvPr>
                <p:custDataLst>
                  <p:tags r:id="rId22"/>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grpSp>
          <p:nvGrpSpPr>
            <p:cNvPr id="130" name="MoonLegend2"/>
            <p:cNvGrpSpPr>
              <a:grpSpLocks noChangeAspect="1"/>
            </p:cNvGrpSpPr>
            <p:nvPr>
              <p:custDataLst>
                <p:tags r:id="rId9"/>
              </p:custDataLst>
            </p:nvPr>
          </p:nvGrpSpPr>
          <p:grpSpPr bwMode="auto">
            <a:xfrm>
              <a:off x="7769225" y="525066"/>
              <a:ext cx="209550" cy="209551"/>
              <a:chOff x="1694" y="2044"/>
              <a:chExt cx="160" cy="160"/>
            </a:xfrm>
          </p:grpSpPr>
          <p:sp>
            <p:nvSpPr>
              <p:cNvPr id="145"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6" name="Arc 42"/>
              <p:cNvSpPr>
                <a:spLocks noChangeAspect="1"/>
              </p:cNvSpPr>
              <p:nvPr>
                <p:custDataLst>
                  <p:tags r:id="rId20"/>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grpSp>
          <p:nvGrpSpPr>
            <p:cNvPr id="131" name="MoonLegend4"/>
            <p:cNvGrpSpPr>
              <a:grpSpLocks noChangeAspect="1"/>
            </p:cNvGrpSpPr>
            <p:nvPr>
              <p:custDataLst>
                <p:tags r:id="rId10"/>
              </p:custDataLst>
            </p:nvPr>
          </p:nvGrpSpPr>
          <p:grpSpPr bwMode="auto">
            <a:xfrm>
              <a:off x="7769225" y="1073548"/>
              <a:ext cx="209550" cy="209551"/>
              <a:chOff x="4495" y="1198"/>
              <a:chExt cx="160" cy="160"/>
            </a:xfrm>
          </p:grpSpPr>
          <p:sp>
            <p:nvSpPr>
              <p:cNvPr id="143"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4"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grpSp>
          <p:nvGrpSpPr>
            <p:cNvPr id="132" name="MoonLegend5"/>
            <p:cNvGrpSpPr>
              <a:grpSpLocks noChangeAspect="1"/>
            </p:cNvGrpSpPr>
            <p:nvPr>
              <p:custDataLst>
                <p:tags r:id="rId11"/>
              </p:custDataLst>
            </p:nvPr>
          </p:nvGrpSpPr>
          <p:grpSpPr bwMode="auto">
            <a:xfrm>
              <a:off x="7769225" y="1347790"/>
              <a:ext cx="209550" cy="209551"/>
              <a:chOff x="4495" y="1440"/>
              <a:chExt cx="160" cy="160"/>
            </a:xfrm>
          </p:grpSpPr>
          <p:sp>
            <p:nvSpPr>
              <p:cNvPr id="141" name="Oval 50"/>
              <p:cNvSpPr>
                <a:spLocks noChangeAspect="1" noChangeArrowheads="1"/>
              </p:cNvSpPr>
              <p:nvPr>
                <p:custDataLst>
                  <p:tags r:id="rId15"/>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2" name="Oval 51"/>
              <p:cNvSpPr>
                <a:spLocks noChangeAspect="1" noChangeArrowheads="1"/>
              </p:cNvSpPr>
              <p:nvPr>
                <p:custDataLst>
                  <p:tags r:id="rId16"/>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grpSp>
          <p:nvGrpSpPr>
            <p:cNvPr id="133" name="MoonLegend3"/>
            <p:cNvGrpSpPr>
              <a:grpSpLocks noChangeAspect="1"/>
            </p:cNvGrpSpPr>
            <p:nvPr>
              <p:custDataLst>
                <p:tags r:id="rId12"/>
              </p:custDataLst>
            </p:nvPr>
          </p:nvGrpSpPr>
          <p:grpSpPr bwMode="auto">
            <a:xfrm>
              <a:off x="7769225" y="799307"/>
              <a:ext cx="209550" cy="209551"/>
              <a:chOff x="4495" y="1198"/>
              <a:chExt cx="160" cy="160"/>
            </a:xfrm>
          </p:grpSpPr>
          <p:sp>
            <p:nvSpPr>
              <p:cNvPr id="139"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0"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sp>
          <p:nvSpPr>
            <p:cNvPr id="134" name="Legend1"/>
            <p:cNvSpPr>
              <a:spLocks noChangeArrowheads="1"/>
            </p:cNvSpPr>
            <p:nvPr/>
          </p:nvSpPr>
          <p:spPr bwMode="auto">
            <a:xfrm>
              <a:off x="8089900" y="26352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cs typeface="+mn-cs"/>
                </a:rPr>
                <a:t>Legend</a:t>
              </a:r>
              <a:endParaRPr lang="x-none" sz="1200" kern="1200" dirty="0">
                <a:ea typeface="+mn-ea"/>
                <a:cs typeface="+mn-cs"/>
              </a:endParaRPr>
            </a:p>
          </p:txBody>
        </p:sp>
        <p:sp>
          <p:nvSpPr>
            <p:cNvPr id="135" name="Legend2"/>
            <p:cNvSpPr>
              <a:spLocks noChangeArrowheads="1"/>
            </p:cNvSpPr>
            <p:nvPr/>
          </p:nvSpPr>
          <p:spPr bwMode="auto">
            <a:xfrm>
              <a:off x="8089900" y="538163"/>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cs typeface="+mn-cs"/>
                </a:rPr>
                <a:t>Legend</a:t>
              </a:r>
              <a:endParaRPr lang="x-none" sz="1200" kern="1200" dirty="0">
                <a:ea typeface="+mn-ea"/>
                <a:cs typeface="+mn-cs"/>
              </a:endParaRPr>
            </a:p>
          </p:txBody>
        </p:sp>
        <p:sp>
          <p:nvSpPr>
            <p:cNvPr id="136" name="Legend3"/>
            <p:cNvSpPr>
              <a:spLocks noChangeArrowheads="1"/>
            </p:cNvSpPr>
            <p:nvPr/>
          </p:nvSpPr>
          <p:spPr bwMode="auto">
            <a:xfrm>
              <a:off x="8089900" y="812802"/>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cs typeface="+mn-cs"/>
                </a:rPr>
                <a:t>Legend</a:t>
              </a:r>
              <a:endParaRPr lang="x-none" sz="1200" kern="1200" dirty="0">
                <a:ea typeface="+mn-ea"/>
                <a:cs typeface="+mn-cs"/>
              </a:endParaRPr>
            </a:p>
          </p:txBody>
        </p:sp>
        <p:sp>
          <p:nvSpPr>
            <p:cNvPr id="137" name="Legend4"/>
            <p:cNvSpPr>
              <a:spLocks noChangeArrowheads="1"/>
            </p:cNvSpPr>
            <p:nvPr/>
          </p:nvSpPr>
          <p:spPr bwMode="auto">
            <a:xfrm>
              <a:off x="8089900" y="108426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cs typeface="+mn-cs"/>
                </a:rPr>
                <a:t>Legend</a:t>
              </a:r>
              <a:endParaRPr lang="x-none" sz="1200" kern="1200" dirty="0">
                <a:ea typeface="+mn-ea"/>
                <a:cs typeface="+mn-cs"/>
              </a:endParaRPr>
            </a:p>
          </p:txBody>
        </p:sp>
        <p:sp>
          <p:nvSpPr>
            <p:cNvPr id="138" name="Legend5"/>
            <p:cNvSpPr>
              <a:spLocks noChangeArrowheads="1"/>
            </p:cNvSpPr>
            <p:nvPr/>
          </p:nvSpPr>
          <p:spPr bwMode="auto">
            <a:xfrm>
              <a:off x="8089900" y="136049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cs typeface="+mn-cs"/>
                </a:rPr>
                <a:t>Legend</a:t>
              </a:r>
              <a:endParaRPr lang="x-none" sz="1200" kern="1200" dirty="0">
                <a:ea typeface="+mn-ea"/>
                <a:cs typeface="+mn-cs"/>
              </a:endParaRPr>
            </a:p>
          </p:txBody>
        </p:sp>
      </p:grpSp>
    </p:spTree>
    <p:extLst>
      <p:ext uri="{BB962C8B-B14F-4D97-AF65-F5344CB8AC3E}">
        <p14:creationId xmlns:p14="http://schemas.microsoft.com/office/powerpoint/2010/main" val="2942035210"/>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4" r:id="rId4"/>
  </p:sldLayoutIdLst>
  <p:timing>
    <p:tnLst>
      <p:par>
        <p:cTn id="1" dur="indefinite" restart="never" nodeType="tmRoot"/>
      </p:par>
    </p:tnLst>
  </p:timing>
  <p:hf hdr="0" ftr="0" dt="0"/>
  <p:txStyles>
    <p:titleStyle>
      <a:lvl1pPr algn="l" defTabSz="913429" rtl="0" eaLnBrk="1" fontAlgn="base" hangingPunct="1">
        <a:spcBef>
          <a:spcPct val="0"/>
        </a:spcBef>
        <a:spcAft>
          <a:spcPct val="0"/>
        </a:spcAft>
        <a:tabLst>
          <a:tab pos="275324" algn="l"/>
        </a:tabLst>
        <a:defRPr sz="1900" b="1" baseline="0">
          <a:solidFill>
            <a:schemeClr val="tx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nvPr>
        </p:nvGraphicFramePr>
        <p:xfrm>
          <a:off x="0" y="0"/>
          <a:ext cx="175483" cy="161974"/>
        </p:xfrm>
        <a:graphic>
          <a:graphicData uri="http://schemas.openxmlformats.org/presentationml/2006/ole">
            <mc:AlternateContent xmlns:mc="http://schemas.openxmlformats.org/markup-compatibility/2006">
              <mc:Choice xmlns:v="urn:schemas-microsoft-com:vml" Requires="v">
                <p:oleObj spid="_x0000_s118020"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0" y="0"/>
                        <a:ext cx="175483" cy="161974"/>
                      </a:xfrm>
                      <a:prstGeom prst="rect">
                        <a:avLst/>
                      </a:prstGeom>
                    </p:spPr>
                  </p:pic>
                </p:oleObj>
              </mc:Fallback>
            </mc:AlternateContent>
          </a:graphicData>
        </a:graphic>
      </p:graphicFrame>
      <p:pic>
        <p:nvPicPr>
          <p:cNvPr id="59" name="Picture 58"/>
          <p:cNvPicPr>
            <a:picLocks/>
          </p:cNvPicPr>
          <p:nvPr userDrawn="1"/>
        </p:nvPicPr>
        <p:blipFill>
          <a:blip r:embed="rId23" cstate="print"/>
          <a:stretch>
            <a:fillRect/>
          </a:stretch>
        </p:blipFill>
        <p:spPr bwMode="auto">
          <a:xfrm>
            <a:off x="189523" y="681170"/>
            <a:ext cx="8065476" cy="50511"/>
          </a:xfrm>
          <a:prstGeom prst="rect">
            <a:avLst/>
          </a:prstGeom>
        </p:spPr>
      </p:pic>
      <p:pic>
        <p:nvPicPr>
          <p:cNvPr id="60" name="Picture 59" descr="AGRALogo.png"/>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bwMode="ltGray">
          <a:xfrm>
            <a:off x="8329382" y="388621"/>
            <a:ext cx="1354131" cy="530864"/>
          </a:xfrm>
          <a:prstGeom prst="rect">
            <a:avLst/>
          </a:prstGeom>
        </p:spPr>
      </p:pic>
      <p:sp>
        <p:nvSpPr>
          <p:cNvPr id="1033" name="doc id"/>
          <p:cNvSpPr>
            <a:spLocks noChangeArrowheads="1"/>
          </p:cNvSpPr>
          <p:nvPr/>
        </p:nvSpPr>
        <p:spPr bwMode="auto">
          <a:xfrm>
            <a:off x="8933827" y="37255"/>
            <a:ext cx="726499"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429" fontAlgn="base">
              <a:spcBef>
                <a:spcPct val="0"/>
              </a:spcBef>
              <a:spcAft>
                <a:spcPct val="0"/>
              </a:spcAft>
              <a:buClrTx/>
              <a:buFontTx/>
              <a:buNone/>
            </a:pPr>
            <a:endParaRPr lang="en-US" sz="800" kern="1200" dirty="0">
              <a:ea typeface="+mn-ea"/>
              <a:cs typeface="+mn-cs"/>
            </a:endParaRPr>
          </a:p>
        </p:txBody>
      </p:sp>
      <p:sp>
        <p:nvSpPr>
          <p:cNvPr id="1036" name="Rectangle 286"/>
          <p:cNvSpPr>
            <a:spLocks noGrp="1" noChangeArrowheads="1"/>
          </p:cNvSpPr>
          <p:nvPr>
            <p:ph type="body" idx="1"/>
          </p:nvPr>
        </p:nvSpPr>
        <p:spPr bwMode="auto">
          <a:xfrm>
            <a:off x="1878084" y="2508985"/>
            <a:ext cx="4755582"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auto">
          <a:xfrm>
            <a:off x="247650" y="388621"/>
            <a:ext cx="8007350"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1. On-page tracker" hidden="1"/>
          <p:cNvSpPr>
            <a:spLocks noChangeArrowheads="1"/>
          </p:cNvSpPr>
          <p:nvPr/>
        </p:nvSpPr>
        <p:spPr bwMode="auto">
          <a:xfrm>
            <a:off x="247690" y="8087"/>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buClrTx/>
              <a:buFontTx/>
              <a:buNone/>
            </a:pPr>
            <a:r>
              <a:rPr lang="en-US" sz="1000" kern="1200" dirty="0">
                <a:solidFill>
                  <a:srgbClr val="808080"/>
                </a:solidFill>
                <a:ea typeface="+mn-ea"/>
                <a:cs typeface="+mn-cs"/>
              </a:rPr>
              <a:t>TRACKER</a:t>
            </a:r>
          </a:p>
        </p:txBody>
      </p:sp>
      <p:sp>
        <p:nvSpPr>
          <p:cNvPr id="11" name="3. Unit of measure" hidden="1"/>
          <p:cNvSpPr txBox="1">
            <a:spLocks noChangeArrowheads="1"/>
          </p:cNvSpPr>
          <p:nvPr/>
        </p:nvSpPr>
        <p:spPr bwMode="auto">
          <a:xfrm>
            <a:off x="247650" y="749678"/>
            <a:ext cx="800735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buClrTx/>
              <a:buFontTx/>
              <a:buNone/>
              <a:defRPr/>
            </a:pPr>
            <a:r>
              <a:rPr lang="en-US" sz="1600" kern="1200" dirty="0" smtClean="0">
                <a:solidFill>
                  <a:srgbClr val="808080"/>
                </a:solidFill>
                <a:latin typeface="Arial"/>
                <a:ea typeface="+mn-ea"/>
                <a:cs typeface="+mn-cs"/>
              </a:rPr>
              <a:t>Unit of measure</a:t>
            </a:r>
          </a:p>
        </p:txBody>
      </p:sp>
      <p:grpSp>
        <p:nvGrpSpPr>
          <p:cNvPr id="15" name="ACET" hidden="1"/>
          <p:cNvGrpSpPr>
            <a:grpSpLocks/>
          </p:cNvGrpSpPr>
          <p:nvPr/>
        </p:nvGrpSpPr>
        <p:grpSpPr bwMode="auto">
          <a:xfrm>
            <a:off x="1878084" y="1915010"/>
            <a:ext cx="4713466"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buClrTx/>
                <a:buFontTx/>
                <a:buNone/>
              </a:pPr>
              <a:r>
                <a:rPr lang="en-US" sz="1600" b="1" kern="1200" dirty="0">
                  <a:ea typeface="+mn-ea"/>
                  <a:cs typeface="+mn-cs"/>
                </a:rPr>
                <a:t>Title</a:t>
              </a:r>
            </a:p>
            <a:p>
              <a:pPr fontAlgn="base">
                <a:spcBef>
                  <a:spcPct val="0"/>
                </a:spcBef>
                <a:spcAft>
                  <a:spcPct val="0"/>
                </a:spcAft>
                <a:buClrTx/>
                <a:buFontTx/>
                <a:buNone/>
              </a:pPr>
              <a:r>
                <a:rPr lang="en-US" sz="1600" kern="1200" dirty="0">
                  <a:solidFill>
                    <a:srgbClr val="808080"/>
                  </a:solidFill>
                  <a:ea typeface="+mn-ea"/>
                  <a:cs typeface="+mn-cs"/>
                </a:rPr>
                <a:t>Unit of measure</a:t>
              </a:r>
            </a:p>
          </p:txBody>
        </p:sp>
      </p:grpSp>
      <p:sp>
        <p:nvSpPr>
          <p:cNvPr id="104" name="Slide Number"/>
          <p:cNvSpPr txBox="1">
            <a:spLocks/>
          </p:cNvSpPr>
          <p:nvPr userDrawn="1"/>
        </p:nvSpPr>
        <p:spPr bwMode="auto">
          <a:xfrm>
            <a:off x="9558393" y="6643759"/>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buClrTx/>
              <a:buFontTx/>
              <a:buNone/>
            </a:pPr>
            <a:fld id="{42C328C1-A84F-4A39-A664-DBA00541A8C6}" type="slidenum">
              <a:rPr lang="en-US" sz="800" kern="1200" smtClean="0">
                <a:ea typeface="+mn-ea"/>
                <a:cs typeface="+mn-cs"/>
              </a:rPr>
              <a:pPr algn="r" fontAlgn="base">
                <a:spcBef>
                  <a:spcPct val="0"/>
                </a:spcBef>
                <a:spcAft>
                  <a:spcPct val="0"/>
                </a:spcAft>
                <a:buClrTx/>
                <a:buFontTx/>
                <a:buNone/>
              </a:pPr>
              <a:t>‹#›</a:t>
            </a:fld>
            <a:endParaRPr lang="en-US" sz="800" kern="1200" dirty="0">
              <a:ea typeface="+mn-ea"/>
              <a:cs typeface="+mn-cs"/>
            </a:endParaRPr>
          </a:p>
        </p:txBody>
      </p:sp>
      <p:grpSp>
        <p:nvGrpSpPr>
          <p:cNvPr id="105" name="Slide Elements" hidden="1"/>
          <p:cNvGrpSpPr/>
          <p:nvPr userDrawn="1"/>
        </p:nvGrpSpPr>
        <p:grpSpPr bwMode="auto">
          <a:xfrm>
            <a:off x="247654" y="6441985"/>
            <a:ext cx="9336748" cy="324724"/>
            <a:chOff x="119063" y="6306659"/>
            <a:chExt cx="8618537" cy="324724"/>
          </a:xfrm>
        </p:grpSpPr>
        <p:sp>
          <p:nvSpPr>
            <p:cNvPr id="106" name="4. Footnote"/>
            <p:cNvSpPr txBox="1">
              <a:spLocks noChangeArrowheads="1"/>
            </p:cNvSpPr>
            <p:nvPr/>
          </p:nvSpPr>
          <p:spPr bwMode="auto">
            <a:xfrm>
              <a:off x="119063" y="6306659"/>
              <a:ext cx="861853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fontAlgn="base">
                <a:spcBef>
                  <a:spcPct val="0"/>
                </a:spcBef>
                <a:spcAft>
                  <a:spcPct val="0"/>
                </a:spcAft>
                <a:buClrTx/>
                <a:buFontTx/>
                <a:buNone/>
                <a:defRPr lang="x-none"/>
              </a:pPr>
              <a:r>
                <a:rPr sz="800" kern="1200" dirty="0" smtClean="0">
                  <a:solidFill>
                    <a:srgbClr val="000000"/>
                  </a:solidFill>
                  <a:latin typeface="Arial"/>
                  <a:ea typeface="+mn-ea"/>
                  <a:cs typeface="+mn-cs"/>
                </a:rPr>
                <a:t>1 Footnote</a:t>
              </a:r>
            </a:p>
          </p:txBody>
        </p:sp>
        <p:sp>
          <p:nvSpPr>
            <p:cNvPr id="107" name="5. Source"/>
            <p:cNvSpPr>
              <a:spLocks noChangeArrowheads="1"/>
            </p:cNvSpPr>
            <p:nvPr/>
          </p:nvSpPr>
          <p:spPr bwMode="auto">
            <a:xfrm>
              <a:off x="119063" y="6508272"/>
              <a:ext cx="794619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19113" indent="-519113" defTabSz="895350" fontAlgn="base">
                <a:spcBef>
                  <a:spcPct val="0"/>
                </a:spcBef>
                <a:spcAft>
                  <a:spcPct val="0"/>
                </a:spcAft>
                <a:buClrTx/>
                <a:buFontTx/>
                <a:buNone/>
                <a:tabLst>
                  <a:tab pos="612775" algn="l"/>
                </a:tabLst>
              </a:pPr>
              <a:r>
                <a:rPr lang="x-none" sz="800" kern="1200" dirty="0">
                  <a:ea typeface="+mn-ea"/>
                  <a:cs typeface="+mn-cs"/>
                </a:rPr>
                <a:t>SOURCE : </a:t>
              </a:r>
              <a:r>
                <a:rPr lang="x-none" sz="800" kern="1200" dirty="0" smtClean="0">
                  <a:ea typeface="+mn-ea"/>
                  <a:cs typeface="+mn-cs"/>
                </a:rPr>
                <a:t>Source</a:t>
              </a:r>
              <a:endParaRPr lang="en-US" sz="800" kern="1200" dirty="0" smtClean="0">
                <a:ea typeface="+mn-ea"/>
                <a:cs typeface="+mn-cs"/>
              </a:endParaRPr>
            </a:p>
          </p:txBody>
        </p:sp>
      </p:grpSp>
      <p:grpSp>
        <p:nvGrpSpPr>
          <p:cNvPr id="108" name="McKSticker" hidden="1"/>
          <p:cNvGrpSpPr/>
          <p:nvPr userDrawn="1"/>
        </p:nvGrpSpPr>
        <p:grpSpPr bwMode="auto">
          <a:xfrm>
            <a:off x="9209576" y="981082"/>
            <a:ext cx="473335" cy="150811"/>
            <a:chOff x="8303851" y="285750"/>
            <a:chExt cx="436924" cy="150811"/>
          </a:xfrm>
        </p:grpSpPr>
        <p:sp>
          <p:nvSpPr>
            <p:cNvPr id="109" name="StickerRectangle"/>
            <p:cNvSpPr>
              <a:spLocks noChangeArrowheads="1"/>
            </p:cNvSpPr>
            <p:nvPr/>
          </p:nvSpPr>
          <p:spPr bwMode="auto">
            <a:xfrm>
              <a:off x="8303851" y="285750"/>
              <a:ext cx="436924"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02960"/>
                </a:buClr>
                <a:buFontTx/>
                <a:buNone/>
              </a:pPr>
              <a:r>
                <a:rPr lang="x-none" sz="800" kern="1200" dirty="0" smtClean="0">
                  <a:solidFill>
                    <a:srgbClr val="808080"/>
                  </a:solidFill>
                  <a:ea typeface="+mn-ea"/>
                  <a:cs typeface="+mn-cs"/>
                </a:rPr>
                <a:t>STICKER</a:t>
              </a:r>
              <a:endParaRPr lang="x-none" sz="800" kern="1200" dirty="0">
                <a:solidFill>
                  <a:srgbClr val="808080"/>
                </a:solidFill>
                <a:ea typeface="+mn-ea"/>
                <a:cs typeface="+mn-cs"/>
              </a:endParaRPr>
            </a:p>
          </p:txBody>
        </p:sp>
        <p:cxnSp>
          <p:nvCxnSpPr>
            <p:cNvPr id="110" name="AutoShape 31"/>
            <p:cNvCxnSpPr>
              <a:cxnSpLocks noChangeShapeType="1"/>
              <a:stCxn id="109" idx="2"/>
              <a:endCxn id="109" idx="4"/>
            </p:cNvCxnSpPr>
            <p:nvPr/>
          </p:nvCxnSpPr>
          <p:spPr bwMode="auto">
            <a:xfrm>
              <a:off x="8303851"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11" name="AutoShape 32"/>
            <p:cNvCxnSpPr>
              <a:cxnSpLocks noChangeShapeType="1"/>
              <a:stCxn id="109" idx="4"/>
              <a:endCxn id="109" idx="6"/>
            </p:cNvCxnSpPr>
            <p:nvPr/>
          </p:nvCxnSpPr>
          <p:spPr bwMode="auto">
            <a:xfrm>
              <a:off x="8303851" y="436561"/>
              <a:ext cx="436924"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12" name="LegendBoxes" hidden="1"/>
          <p:cNvGrpSpPr/>
          <p:nvPr userDrawn="1"/>
        </p:nvGrpSpPr>
        <p:grpSpPr bwMode="auto">
          <a:xfrm>
            <a:off x="8855846" y="974734"/>
            <a:ext cx="784921" cy="997467"/>
            <a:chOff x="7835905" y="279400"/>
            <a:chExt cx="724543" cy="997467"/>
          </a:xfrm>
        </p:grpSpPr>
        <p:sp>
          <p:nvSpPr>
            <p:cNvPr id="113"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14"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15"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16"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17" name="Legend1"/>
            <p:cNvSpPr>
              <a:spLocks noChangeArrowheads="1"/>
            </p:cNvSpPr>
            <p:nvPr/>
          </p:nvSpPr>
          <p:spPr bwMode="auto">
            <a:xfrm>
              <a:off x="8089905"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cs typeface="+mn-cs"/>
                </a:rPr>
                <a:t>Legend</a:t>
              </a:r>
              <a:endParaRPr lang="x-none" sz="1200" kern="1200" dirty="0">
                <a:ea typeface="+mn-ea"/>
                <a:cs typeface="+mn-cs"/>
              </a:endParaRPr>
            </a:p>
          </p:txBody>
        </p:sp>
        <p:sp>
          <p:nvSpPr>
            <p:cNvPr id="118" name="Legend2"/>
            <p:cNvSpPr>
              <a:spLocks noChangeArrowheads="1"/>
            </p:cNvSpPr>
            <p:nvPr/>
          </p:nvSpPr>
          <p:spPr bwMode="auto">
            <a:xfrm>
              <a:off x="8089905" y="54927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cs typeface="+mn-cs"/>
                </a:rPr>
                <a:t>Legend</a:t>
              </a:r>
              <a:endParaRPr lang="x-none" sz="1200" kern="1200" dirty="0">
                <a:ea typeface="+mn-ea"/>
                <a:cs typeface="+mn-cs"/>
              </a:endParaRPr>
            </a:p>
          </p:txBody>
        </p:sp>
        <p:sp>
          <p:nvSpPr>
            <p:cNvPr id="119" name="Legend3"/>
            <p:cNvSpPr>
              <a:spLocks noChangeArrowheads="1"/>
            </p:cNvSpPr>
            <p:nvPr/>
          </p:nvSpPr>
          <p:spPr bwMode="auto">
            <a:xfrm>
              <a:off x="8089905" y="820738"/>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20" name="Legend4"/>
            <p:cNvSpPr>
              <a:spLocks noChangeArrowheads="1"/>
            </p:cNvSpPr>
            <p:nvPr/>
          </p:nvSpPr>
          <p:spPr bwMode="auto">
            <a:xfrm>
              <a:off x="8089905" y="10922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grpSp>
      <p:grpSp>
        <p:nvGrpSpPr>
          <p:cNvPr id="121" name="LegendLines" hidden="1"/>
          <p:cNvGrpSpPr/>
          <p:nvPr userDrawn="1"/>
        </p:nvGrpSpPr>
        <p:grpSpPr bwMode="auto">
          <a:xfrm>
            <a:off x="8522391" y="974733"/>
            <a:ext cx="1118561" cy="730767"/>
            <a:chOff x="7540629" y="279400"/>
            <a:chExt cx="1032518" cy="730767"/>
          </a:xfrm>
        </p:grpSpPr>
        <p:sp>
          <p:nvSpPr>
            <p:cNvPr id="122"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dirty="0">
                <a:ea typeface="+mn-ea"/>
                <a:cs typeface="+mn-cs"/>
              </a:endParaRPr>
            </a:p>
          </p:txBody>
        </p:sp>
        <p:sp>
          <p:nvSpPr>
            <p:cNvPr id="123"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dirty="0">
                <a:ea typeface="+mn-ea"/>
                <a:cs typeface="+mn-cs"/>
              </a:endParaRPr>
            </a:p>
          </p:txBody>
        </p:sp>
        <p:sp>
          <p:nvSpPr>
            <p:cNvPr id="124"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dirty="0">
                <a:ea typeface="+mn-ea"/>
                <a:cs typeface="+mn-cs"/>
              </a:endParaRPr>
            </a:p>
          </p:txBody>
        </p:sp>
        <p:sp>
          <p:nvSpPr>
            <p:cNvPr id="125" name="Legend1"/>
            <p:cNvSpPr>
              <a:spLocks noChangeArrowheads="1"/>
            </p:cNvSpPr>
            <p:nvPr/>
          </p:nvSpPr>
          <p:spPr bwMode="auto">
            <a:xfrm>
              <a:off x="8102604"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cs typeface="+mn-cs"/>
                </a:rPr>
                <a:t>Legend</a:t>
              </a:r>
              <a:endParaRPr lang="x-none" sz="1200" kern="1200" dirty="0">
                <a:ea typeface="+mn-ea"/>
                <a:cs typeface="+mn-cs"/>
              </a:endParaRPr>
            </a:p>
          </p:txBody>
        </p:sp>
        <p:sp>
          <p:nvSpPr>
            <p:cNvPr id="126" name="Legend2"/>
            <p:cNvSpPr>
              <a:spLocks noChangeArrowheads="1"/>
            </p:cNvSpPr>
            <p:nvPr/>
          </p:nvSpPr>
          <p:spPr bwMode="auto">
            <a:xfrm>
              <a:off x="8102604" y="5461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cs typeface="+mn-cs"/>
                </a:rPr>
                <a:t>Legend</a:t>
              </a:r>
              <a:endParaRPr lang="x-none" sz="1200" kern="1200" dirty="0">
                <a:ea typeface="+mn-ea"/>
                <a:cs typeface="+mn-cs"/>
              </a:endParaRPr>
            </a:p>
          </p:txBody>
        </p:sp>
        <p:sp>
          <p:nvSpPr>
            <p:cNvPr id="127" name="Legend3"/>
            <p:cNvSpPr>
              <a:spLocks noChangeArrowheads="1"/>
            </p:cNvSpPr>
            <p:nvPr/>
          </p:nvSpPr>
          <p:spPr bwMode="auto">
            <a:xfrm>
              <a:off x="8102604" y="8255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cs typeface="+mn-cs"/>
                </a:rPr>
                <a:t>Legend</a:t>
              </a:r>
              <a:endParaRPr lang="x-none" sz="1200" kern="1200" dirty="0">
                <a:ea typeface="+mn-ea"/>
                <a:cs typeface="+mn-cs"/>
              </a:endParaRPr>
            </a:p>
          </p:txBody>
        </p:sp>
      </p:grpSp>
      <p:grpSp>
        <p:nvGrpSpPr>
          <p:cNvPr id="128" name="LegendMoons" hidden="1"/>
          <p:cNvGrpSpPr/>
          <p:nvPr userDrawn="1"/>
        </p:nvGrpSpPr>
        <p:grpSpPr bwMode="auto">
          <a:xfrm>
            <a:off x="8783531" y="946154"/>
            <a:ext cx="857153" cy="1306516"/>
            <a:chOff x="7769225" y="250825"/>
            <a:chExt cx="791218" cy="1306516"/>
          </a:xfrm>
        </p:grpSpPr>
        <p:grpSp>
          <p:nvGrpSpPr>
            <p:cNvPr id="129" name="MoonLegend1"/>
            <p:cNvGrpSpPr>
              <a:grpSpLocks noChangeAspect="1"/>
            </p:cNvGrpSpPr>
            <p:nvPr>
              <p:custDataLst>
                <p:tags r:id="rId6"/>
              </p:custDataLst>
            </p:nvPr>
          </p:nvGrpSpPr>
          <p:grpSpPr bwMode="auto">
            <a:xfrm>
              <a:off x="7769225" y="250825"/>
              <a:ext cx="209550" cy="209551"/>
              <a:chOff x="4533" y="183"/>
              <a:chExt cx="144" cy="144"/>
            </a:xfrm>
          </p:grpSpPr>
          <p:sp>
            <p:nvSpPr>
              <p:cNvPr id="147" name="Oval 38"/>
              <p:cNvSpPr>
                <a:spLocks noChangeAspect="1" noChangeArrowheads="1"/>
              </p:cNvSpPr>
              <p:nvPr>
                <p:custDataLst>
                  <p:tags r:id="rId19"/>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8" name="Arc 39"/>
              <p:cNvSpPr>
                <a:spLocks noChangeAspect="1"/>
              </p:cNvSpPr>
              <p:nvPr>
                <p:custDataLst>
                  <p:tags r:id="rId20"/>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grpSp>
          <p:nvGrpSpPr>
            <p:cNvPr id="130" name="MoonLegend2"/>
            <p:cNvGrpSpPr>
              <a:grpSpLocks noChangeAspect="1"/>
            </p:cNvGrpSpPr>
            <p:nvPr>
              <p:custDataLst>
                <p:tags r:id="rId7"/>
              </p:custDataLst>
            </p:nvPr>
          </p:nvGrpSpPr>
          <p:grpSpPr bwMode="auto">
            <a:xfrm>
              <a:off x="7769225" y="525066"/>
              <a:ext cx="209550" cy="209551"/>
              <a:chOff x="1694" y="2044"/>
              <a:chExt cx="160" cy="160"/>
            </a:xfrm>
          </p:grpSpPr>
          <p:sp>
            <p:nvSpPr>
              <p:cNvPr id="145"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6" name="Arc 42"/>
              <p:cNvSpPr>
                <a:spLocks noChangeAspect="1"/>
              </p:cNvSpPr>
              <p:nvPr>
                <p:custDataLst>
                  <p:tags r:id="rId18"/>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grpSp>
          <p:nvGrpSpPr>
            <p:cNvPr id="131" name="MoonLegend4"/>
            <p:cNvGrpSpPr>
              <a:grpSpLocks noChangeAspect="1"/>
            </p:cNvGrpSpPr>
            <p:nvPr>
              <p:custDataLst>
                <p:tags r:id="rId8"/>
              </p:custDataLst>
            </p:nvPr>
          </p:nvGrpSpPr>
          <p:grpSpPr bwMode="auto">
            <a:xfrm>
              <a:off x="7769225" y="1073548"/>
              <a:ext cx="209550" cy="209551"/>
              <a:chOff x="4495" y="1198"/>
              <a:chExt cx="160" cy="160"/>
            </a:xfrm>
          </p:grpSpPr>
          <p:sp>
            <p:nvSpPr>
              <p:cNvPr id="143"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4" name="Arc 48"/>
              <p:cNvSpPr>
                <a:spLocks noChangeAspect="1"/>
              </p:cNvSpPr>
              <p:nvPr>
                <p:custDataLst>
                  <p:tags r:id="rId16"/>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grpSp>
          <p:nvGrpSpPr>
            <p:cNvPr id="132" name="MoonLegend5"/>
            <p:cNvGrpSpPr>
              <a:grpSpLocks noChangeAspect="1"/>
            </p:cNvGrpSpPr>
            <p:nvPr>
              <p:custDataLst>
                <p:tags r:id="rId9"/>
              </p:custDataLst>
            </p:nvPr>
          </p:nvGrpSpPr>
          <p:grpSpPr bwMode="auto">
            <a:xfrm>
              <a:off x="7769225" y="1347790"/>
              <a:ext cx="209550" cy="209551"/>
              <a:chOff x="4495" y="1440"/>
              <a:chExt cx="160" cy="160"/>
            </a:xfrm>
          </p:grpSpPr>
          <p:sp>
            <p:nvSpPr>
              <p:cNvPr id="141" name="Oval 50"/>
              <p:cNvSpPr>
                <a:spLocks noChangeAspect="1" noChangeArrowheads="1"/>
              </p:cNvSpPr>
              <p:nvPr>
                <p:custDataLst>
                  <p:tags r:id="rId13"/>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2" name="Oval 51"/>
              <p:cNvSpPr>
                <a:spLocks noChangeAspect="1" noChangeArrowheads="1"/>
              </p:cNvSpPr>
              <p:nvPr>
                <p:custDataLst>
                  <p:tags r:id="rId14"/>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grpSp>
          <p:nvGrpSpPr>
            <p:cNvPr id="133" name="MoonLegend3"/>
            <p:cNvGrpSpPr>
              <a:grpSpLocks noChangeAspect="1"/>
            </p:cNvGrpSpPr>
            <p:nvPr>
              <p:custDataLst>
                <p:tags r:id="rId10"/>
              </p:custDataLst>
            </p:nvPr>
          </p:nvGrpSpPr>
          <p:grpSpPr bwMode="auto">
            <a:xfrm>
              <a:off x="7769225" y="799307"/>
              <a:ext cx="209550" cy="209551"/>
              <a:chOff x="4495" y="1198"/>
              <a:chExt cx="160" cy="160"/>
            </a:xfrm>
          </p:grpSpPr>
          <p:sp>
            <p:nvSpPr>
              <p:cNvPr id="139" name="Oval 47"/>
              <p:cNvSpPr>
                <a:spLocks noChangeAspect="1" noChangeArrowheads="1"/>
              </p:cNvSpPr>
              <p:nvPr>
                <p:custDataLst>
                  <p:tags r:id="rId1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0" name="Arc 48"/>
              <p:cNvSpPr>
                <a:spLocks noChangeAspect="1"/>
              </p:cNvSpPr>
              <p:nvPr>
                <p:custDataLst>
                  <p:tags r:id="rId12"/>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sp>
          <p:nvSpPr>
            <p:cNvPr id="134" name="Legend1"/>
            <p:cNvSpPr>
              <a:spLocks noChangeArrowheads="1"/>
            </p:cNvSpPr>
            <p:nvPr/>
          </p:nvSpPr>
          <p:spPr bwMode="auto">
            <a:xfrm>
              <a:off x="8089900" y="26352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cs typeface="+mn-cs"/>
                </a:rPr>
                <a:t>Legend</a:t>
              </a:r>
              <a:endParaRPr lang="x-none" sz="1200" kern="1200" dirty="0">
                <a:ea typeface="+mn-ea"/>
                <a:cs typeface="+mn-cs"/>
              </a:endParaRPr>
            </a:p>
          </p:txBody>
        </p:sp>
        <p:sp>
          <p:nvSpPr>
            <p:cNvPr id="135" name="Legend2"/>
            <p:cNvSpPr>
              <a:spLocks noChangeArrowheads="1"/>
            </p:cNvSpPr>
            <p:nvPr/>
          </p:nvSpPr>
          <p:spPr bwMode="auto">
            <a:xfrm>
              <a:off x="8089900" y="538163"/>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cs typeface="+mn-cs"/>
                </a:rPr>
                <a:t>Legend</a:t>
              </a:r>
              <a:endParaRPr lang="x-none" sz="1200" kern="1200" dirty="0">
                <a:ea typeface="+mn-ea"/>
                <a:cs typeface="+mn-cs"/>
              </a:endParaRPr>
            </a:p>
          </p:txBody>
        </p:sp>
        <p:sp>
          <p:nvSpPr>
            <p:cNvPr id="136" name="Legend3"/>
            <p:cNvSpPr>
              <a:spLocks noChangeArrowheads="1"/>
            </p:cNvSpPr>
            <p:nvPr/>
          </p:nvSpPr>
          <p:spPr bwMode="auto">
            <a:xfrm>
              <a:off x="8089900" y="812802"/>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cs typeface="+mn-cs"/>
                </a:rPr>
                <a:t>Legend</a:t>
              </a:r>
              <a:endParaRPr lang="x-none" sz="1200" kern="1200" dirty="0">
                <a:ea typeface="+mn-ea"/>
                <a:cs typeface="+mn-cs"/>
              </a:endParaRPr>
            </a:p>
          </p:txBody>
        </p:sp>
        <p:sp>
          <p:nvSpPr>
            <p:cNvPr id="137" name="Legend4"/>
            <p:cNvSpPr>
              <a:spLocks noChangeArrowheads="1"/>
            </p:cNvSpPr>
            <p:nvPr/>
          </p:nvSpPr>
          <p:spPr bwMode="auto">
            <a:xfrm>
              <a:off x="8089900" y="108426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cs typeface="+mn-cs"/>
                </a:rPr>
                <a:t>Legend</a:t>
              </a:r>
              <a:endParaRPr lang="x-none" sz="1200" kern="1200" dirty="0">
                <a:ea typeface="+mn-ea"/>
                <a:cs typeface="+mn-cs"/>
              </a:endParaRPr>
            </a:p>
          </p:txBody>
        </p:sp>
        <p:sp>
          <p:nvSpPr>
            <p:cNvPr id="138" name="Legend5"/>
            <p:cNvSpPr>
              <a:spLocks noChangeArrowheads="1"/>
            </p:cNvSpPr>
            <p:nvPr/>
          </p:nvSpPr>
          <p:spPr bwMode="auto">
            <a:xfrm>
              <a:off x="8089900" y="136049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cs typeface="+mn-cs"/>
                </a:rPr>
                <a:t>Legend</a:t>
              </a:r>
              <a:endParaRPr lang="x-none" sz="1200" kern="1200" dirty="0">
                <a:ea typeface="+mn-ea"/>
                <a:cs typeface="+mn-cs"/>
              </a:endParaRPr>
            </a:p>
          </p:txBody>
        </p:sp>
      </p:grpSp>
    </p:spTree>
    <p:extLst>
      <p:ext uri="{BB962C8B-B14F-4D97-AF65-F5344CB8AC3E}">
        <p14:creationId xmlns:p14="http://schemas.microsoft.com/office/powerpoint/2010/main" val="3051468500"/>
      </p:ext>
    </p:extLst>
  </p:cSld>
  <p:clrMap bg1="lt1" tx1="dk1" bg2="lt2" tx2="dk2" accent1="accent1" accent2="accent2" accent3="accent3" accent4="accent4" accent5="accent5" accent6="accent6" hlink="hlink" folHlink="folHlink"/>
  <p:sldLayoutIdLst>
    <p:sldLayoutId id="2147483766" r:id="rId1"/>
    <p:sldLayoutId id="2147483767" r:id="rId2"/>
  </p:sldLayoutIdLst>
  <p:timing>
    <p:tnLst>
      <p:par>
        <p:cTn id="1" dur="indefinite" restart="never" nodeType="tmRoot"/>
      </p:par>
    </p:tnLst>
  </p:timing>
  <p:hf hdr="0" ftr="0" dt="0"/>
  <p:txStyles>
    <p:titleStyle>
      <a:lvl1pPr algn="l" defTabSz="913429" rtl="0" eaLnBrk="1" fontAlgn="base" hangingPunct="1">
        <a:spcBef>
          <a:spcPct val="0"/>
        </a:spcBef>
        <a:spcAft>
          <a:spcPct val="0"/>
        </a:spcAft>
        <a:tabLst>
          <a:tab pos="275324" algn="l"/>
        </a:tabLst>
        <a:defRPr sz="1900" b="1" baseline="0">
          <a:solidFill>
            <a:schemeClr val="tx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nvPr>
        </p:nvGraphicFramePr>
        <p:xfrm>
          <a:off x="0" y="0"/>
          <a:ext cx="175483" cy="161974"/>
        </p:xfrm>
        <a:graphic>
          <a:graphicData uri="http://schemas.openxmlformats.org/presentationml/2006/ole">
            <mc:AlternateContent xmlns:mc="http://schemas.openxmlformats.org/markup-compatibility/2006">
              <mc:Choice xmlns:v="urn:schemas-microsoft-com:vml" Requires="v">
                <p:oleObj spid="_x0000_s121092"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0" y="0"/>
                        <a:ext cx="175483" cy="161974"/>
                      </a:xfrm>
                      <a:prstGeom prst="rect">
                        <a:avLst/>
                      </a:prstGeom>
                    </p:spPr>
                  </p:pic>
                </p:oleObj>
              </mc:Fallback>
            </mc:AlternateContent>
          </a:graphicData>
        </a:graphic>
      </p:graphicFrame>
      <p:pic>
        <p:nvPicPr>
          <p:cNvPr id="59" name="Picture 58"/>
          <p:cNvPicPr>
            <a:picLocks/>
          </p:cNvPicPr>
          <p:nvPr userDrawn="1"/>
        </p:nvPicPr>
        <p:blipFill>
          <a:blip r:embed="rId23" cstate="print"/>
          <a:stretch>
            <a:fillRect/>
          </a:stretch>
        </p:blipFill>
        <p:spPr bwMode="auto">
          <a:xfrm>
            <a:off x="189523" y="681170"/>
            <a:ext cx="8065476" cy="50511"/>
          </a:xfrm>
          <a:prstGeom prst="rect">
            <a:avLst/>
          </a:prstGeom>
        </p:spPr>
      </p:pic>
      <p:pic>
        <p:nvPicPr>
          <p:cNvPr id="60" name="Picture 59" descr="AGRALogo.png"/>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bwMode="ltGray">
          <a:xfrm>
            <a:off x="8329382" y="388621"/>
            <a:ext cx="1354131" cy="530864"/>
          </a:xfrm>
          <a:prstGeom prst="rect">
            <a:avLst/>
          </a:prstGeom>
        </p:spPr>
      </p:pic>
      <p:sp>
        <p:nvSpPr>
          <p:cNvPr id="1033" name="doc id"/>
          <p:cNvSpPr>
            <a:spLocks noChangeArrowheads="1"/>
          </p:cNvSpPr>
          <p:nvPr/>
        </p:nvSpPr>
        <p:spPr bwMode="auto">
          <a:xfrm>
            <a:off x="8933827" y="37255"/>
            <a:ext cx="726499"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429" fontAlgn="base">
              <a:spcBef>
                <a:spcPct val="0"/>
              </a:spcBef>
              <a:spcAft>
                <a:spcPct val="0"/>
              </a:spcAft>
              <a:buClrTx/>
              <a:buFontTx/>
              <a:buNone/>
            </a:pPr>
            <a:endParaRPr lang="en-US" sz="800" kern="1200" dirty="0">
              <a:ea typeface="+mn-ea"/>
              <a:cs typeface="+mn-cs"/>
            </a:endParaRPr>
          </a:p>
        </p:txBody>
      </p:sp>
      <p:sp>
        <p:nvSpPr>
          <p:cNvPr id="1036" name="Rectangle 286"/>
          <p:cNvSpPr>
            <a:spLocks noGrp="1" noChangeArrowheads="1"/>
          </p:cNvSpPr>
          <p:nvPr>
            <p:ph type="body" idx="1"/>
          </p:nvPr>
        </p:nvSpPr>
        <p:spPr bwMode="auto">
          <a:xfrm>
            <a:off x="1878084" y="2508985"/>
            <a:ext cx="4755582"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auto">
          <a:xfrm>
            <a:off x="247650" y="388621"/>
            <a:ext cx="8007350"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1. On-page tracker" hidden="1"/>
          <p:cNvSpPr>
            <a:spLocks noChangeArrowheads="1"/>
          </p:cNvSpPr>
          <p:nvPr/>
        </p:nvSpPr>
        <p:spPr bwMode="auto">
          <a:xfrm>
            <a:off x="247690" y="8087"/>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buClrTx/>
              <a:buFontTx/>
              <a:buNone/>
            </a:pPr>
            <a:r>
              <a:rPr lang="en-US" sz="1000" kern="1200" dirty="0">
                <a:solidFill>
                  <a:srgbClr val="808080"/>
                </a:solidFill>
                <a:ea typeface="+mn-ea"/>
                <a:cs typeface="+mn-cs"/>
              </a:rPr>
              <a:t>TRACKER</a:t>
            </a:r>
          </a:p>
        </p:txBody>
      </p:sp>
      <p:sp>
        <p:nvSpPr>
          <p:cNvPr id="11" name="3. Unit of measure" hidden="1"/>
          <p:cNvSpPr txBox="1">
            <a:spLocks noChangeArrowheads="1"/>
          </p:cNvSpPr>
          <p:nvPr/>
        </p:nvSpPr>
        <p:spPr bwMode="auto">
          <a:xfrm>
            <a:off x="247650" y="749678"/>
            <a:ext cx="800735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buClrTx/>
              <a:buFontTx/>
              <a:buNone/>
              <a:defRPr/>
            </a:pPr>
            <a:r>
              <a:rPr lang="en-US" sz="1600" kern="1200" dirty="0" smtClean="0">
                <a:solidFill>
                  <a:srgbClr val="808080"/>
                </a:solidFill>
                <a:latin typeface="Arial"/>
                <a:ea typeface="+mn-ea"/>
                <a:cs typeface="+mn-cs"/>
              </a:rPr>
              <a:t>Unit of measure</a:t>
            </a:r>
          </a:p>
        </p:txBody>
      </p:sp>
      <p:grpSp>
        <p:nvGrpSpPr>
          <p:cNvPr id="15" name="ACET" hidden="1"/>
          <p:cNvGrpSpPr>
            <a:grpSpLocks/>
          </p:cNvGrpSpPr>
          <p:nvPr/>
        </p:nvGrpSpPr>
        <p:grpSpPr bwMode="auto">
          <a:xfrm>
            <a:off x="1878084" y="1915010"/>
            <a:ext cx="4713466"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buClrTx/>
                <a:buFontTx/>
                <a:buNone/>
              </a:pPr>
              <a:r>
                <a:rPr lang="en-US" sz="1600" b="1" kern="1200" dirty="0">
                  <a:ea typeface="+mn-ea"/>
                  <a:cs typeface="+mn-cs"/>
                </a:rPr>
                <a:t>Title</a:t>
              </a:r>
            </a:p>
            <a:p>
              <a:pPr fontAlgn="base">
                <a:spcBef>
                  <a:spcPct val="0"/>
                </a:spcBef>
                <a:spcAft>
                  <a:spcPct val="0"/>
                </a:spcAft>
                <a:buClrTx/>
                <a:buFontTx/>
                <a:buNone/>
              </a:pPr>
              <a:r>
                <a:rPr lang="en-US" sz="1600" kern="1200" dirty="0">
                  <a:solidFill>
                    <a:srgbClr val="808080"/>
                  </a:solidFill>
                  <a:ea typeface="+mn-ea"/>
                  <a:cs typeface="+mn-cs"/>
                </a:rPr>
                <a:t>Unit of measure</a:t>
              </a:r>
            </a:p>
          </p:txBody>
        </p:sp>
      </p:grpSp>
      <p:sp>
        <p:nvSpPr>
          <p:cNvPr id="104" name="Slide Number"/>
          <p:cNvSpPr txBox="1">
            <a:spLocks/>
          </p:cNvSpPr>
          <p:nvPr userDrawn="1"/>
        </p:nvSpPr>
        <p:spPr bwMode="auto">
          <a:xfrm>
            <a:off x="9558393" y="6643759"/>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buClrTx/>
              <a:buFontTx/>
              <a:buNone/>
            </a:pPr>
            <a:fld id="{42C328C1-A84F-4A39-A664-DBA00541A8C6}" type="slidenum">
              <a:rPr lang="en-US" sz="800" kern="1200" smtClean="0">
                <a:ea typeface="+mn-ea"/>
                <a:cs typeface="+mn-cs"/>
              </a:rPr>
              <a:pPr algn="r" fontAlgn="base">
                <a:spcBef>
                  <a:spcPct val="0"/>
                </a:spcBef>
                <a:spcAft>
                  <a:spcPct val="0"/>
                </a:spcAft>
                <a:buClrTx/>
                <a:buFontTx/>
                <a:buNone/>
              </a:pPr>
              <a:t>‹#›</a:t>
            </a:fld>
            <a:endParaRPr lang="en-US" sz="800" kern="1200" dirty="0">
              <a:ea typeface="+mn-ea"/>
              <a:cs typeface="+mn-cs"/>
            </a:endParaRPr>
          </a:p>
        </p:txBody>
      </p:sp>
      <p:grpSp>
        <p:nvGrpSpPr>
          <p:cNvPr id="105" name="Slide Elements" hidden="1"/>
          <p:cNvGrpSpPr/>
          <p:nvPr userDrawn="1"/>
        </p:nvGrpSpPr>
        <p:grpSpPr bwMode="auto">
          <a:xfrm>
            <a:off x="247654" y="6441985"/>
            <a:ext cx="9336748" cy="324724"/>
            <a:chOff x="119063" y="6306659"/>
            <a:chExt cx="8618537" cy="324724"/>
          </a:xfrm>
        </p:grpSpPr>
        <p:sp>
          <p:nvSpPr>
            <p:cNvPr id="106" name="4. Footnote"/>
            <p:cNvSpPr txBox="1">
              <a:spLocks noChangeArrowheads="1"/>
            </p:cNvSpPr>
            <p:nvPr/>
          </p:nvSpPr>
          <p:spPr bwMode="auto">
            <a:xfrm>
              <a:off x="119063" y="6306659"/>
              <a:ext cx="861853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fontAlgn="base">
                <a:spcBef>
                  <a:spcPct val="0"/>
                </a:spcBef>
                <a:spcAft>
                  <a:spcPct val="0"/>
                </a:spcAft>
                <a:buClrTx/>
                <a:buFontTx/>
                <a:buNone/>
                <a:defRPr lang="x-none"/>
              </a:pPr>
              <a:r>
                <a:rPr sz="800" kern="1200" dirty="0" smtClean="0">
                  <a:solidFill>
                    <a:srgbClr val="000000"/>
                  </a:solidFill>
                  <a:latin typeface="Arial"/>
                  <a:ea typeface="+mn-ea"/>
                  <a:cs typeface="+mn-cs"/>
                </a:rPr>
                <a:t>1 Footnote</a:t>
              </a:r>
            </a:p>
          </p:txBody>
        </p:sp>
        <p:sp>
          <p:nvSpPr>
            <p:cNvPr id="107" name="5. Source"/>
            <p:cNvSpPr>
              <a:spLocks noChangeArrowheads="1"/>
            </p:cNvSpPr>
            <p:nvPr/>
          </p:nvSpPr>
          <p:spPr bwMode="auto">
            <a:xfrm>
              <a:off x="119063" y="6508272"/>
              <a:ext cx="794619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19113" indent="-519113" defTabSz="895350" fontAlgn="base">
                <a:spcBef>
                  <a:spcPct val="0"/>
                </a:spcBef>
                <a:spcAft>
                  <a:spcPct val="0"/>
                </a:spcAft>
                <a:buClrTx/>
                <a:buFontTx/>
                <a:buNone/>
                <a:tabLst>
                  <a:tab pos="612775" algn="l"/>
                </a:tabLst>
              </a:pPr>
              <a:r>
                <a:rPr lang="x-none" sz="800" kern="1200" dirty="0">
                  <a:ea typeface="+mn-ea"/>
                  <a:cs typeface="+mn-cs"/>
                </a:rPr>
                <a:t>SOURCE : </a:t>
              </a:r>
              <a:r>
                <a:rPr lang="x-none" sz="800" kern="1200" dirty="0" smtClean="0">
                  <a:ea typeface="+mn-ea"/>
                  <a:cs typeface="+mn-cs"/>
                </a:rPr>
                <a:t>Source</a:t>
              </a:r>
              <a:endParaRPr lang="en-US" sz="800" kern="1200" dirty="0" smtClean="0">
                <a:ea typeface="+mn-ea"/>
                <a:cs typeface="+mn-cs"/>
              </a:endParaRPr>
            </a:p>
          </p:txBody>
        </p:sp>
      </p:grpSp>
      <p:grpSp>
        <p:nvGrpSpPr>
          <p:cNvPr id="108" name="McKSticker" hidden="1"/>
          <p:cNvGrpSpPr/>
          <p:nvPr userDrawn="1"/>
        </p:nvGrpSpPr>
        <p:grpSpPr bwMode="auto">
          <a:xfrm>
            <a:off x="9209576" y="981082"/>
            <a:ext cx="473335" cy="150811"/>
            <a:chOff x="8303851" y="285750"/>
            <a:chExt cx="436924" cy="150811"/>
          </a:xfrm>
        </p:grpSpPr>
        <p:sp>
          <p:nvSpPr>
            <p:cNvPr id="109" name="StickerRectangle"/>
            <p:cNvSpPr>
              <a:spLocks noChangeArrowheads="1"/>
            </p:cNvSpPr>
            <p:nvPr/>
          </p:nvSpPr>
          <p:spPr bwMode="auto">
            <a:xfrm>
              <a:off x="8303851" y="285750"/>
              <a:ext cx="436924"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02960"/>
                </a:buClr>
                <a:buFontTx/>
                <a:buNone/>
              </a:pPr>
              <a:r>
                <a:rPr lang="x-none" sz="800" kern="1200" dirty="0" smtClean="0">
                  <a:solidFill>
                    <a:srgbClr val="808080"/>
                  </a:solidFill>
                  <a:ea typeface="+mn-ea"/>
                  <a:cs typeface="+mn-cs"/>
                </a:rPr>
                <a:t>STICKER</a:t>
              </a:r>
              <a:endParaRPr lang="x-none" sz="800" kern="1200" dirty="0">
                <a:solidFill>
                  <a:srgbClr val="808080"/>
                </a:solidFill>
                <a:ea typeface="+mn-ea"/>
                <a:cs typeface="+mn-cs"/>
              </a:endParaRPr>
            </a:p>
          </p:txBody>
        </p:sp>
        <p:cxnSp>
          <p:nvCxnSpPr>
            <p:cNvPr id="110" name="AutoShape 31"/>
            <p:cNvCxnSpPr>
              <a:cxnSpLocks noChangeShapeType="1"/>
              <a:stCxn id="109" idx="2"/>
              <a:endCxn id="109" idx="4"/>
            </p:cNvCxnSpPr>
            <p:nvPr/>
          </p:nvCxnSpPr>
          <p:spPr bwMode="auto">
            <a:xfrm>
              <a:off x="8303851"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11" name="AutoShape 32"/>
            <p:cNvCxnSpPr>
              <a:cxnSpLocks noChangeShapeType="1"/>
              <a:stCxn id="109" idx="4"/>
              <a:endCxn id="109" idx="6"/>
            </p:cNvCxnSpPr>
            <p:nvPr/>
          </p:nvCxnSpPr>
          <p:spPr bwMode="auto">
            <a:xfrm>
              <a:off x="8303851" y="436561"/>
              <a:ext cx="436924"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12" name="LegendBoxes" hidden="1"/>
          <p:cNvGrpSpPr/>
          <p:nvPr userDrawn="1"/>
        </p:nvGrpSpPr>
        <p:grpSpPr bwMode="auto">
          <a:xfrm>
            <a:off x="8855846" y="974734"/>
            <a:ext cx="784921" cy="997467"/>
            <a:chOff x="7835905" y="279400"/>
            <a:chExt cx="724543" cy="997467"/>
          </a:xfrm>
        </p:grpSpPr>
        <p:sp>
          <p:nvSpPr>
            <p:cNvPr id="113"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14"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15"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16"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17" name="Legend1"/>
            <p:cNvSpPr>
              <a:spLocks noChangeArrowheads="1"/>
            </p:cNvSpPr>
            <p:nvPr/>
          </p:nvSpPr>
          <p:spPr bwMode="auto">
            <a:xfrm>
              <a:off x="8089905"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cs typeface="+mn-cs"/>
                </a:rPr>
                <a:t>Legend</a:t>
              </a:r>
              <a:endParaRPr lang="x-none" sz="1200" kern="1200" dirty="0">
                <a:ea typeface="+mn-ea"/>
                <a:cs typeface="+mn-cs"/>
              </a:endParaRPr>
            </a:p>
          </p:txBody>
        </p:sp>
        <p:sp>
          <p:nvSpPr>
            <p:cNvPr id="118" name="Legend2"/>
            <p:cNvSpPr>
              <a:spLocks noChangeArrowheads="1"/>
            </p:cNvSpPr>
            <p:nvPr/>
          </p:nvSpPr>
          <p:spPr bwMode="auto">
            <a:xfrm>
              <a:off x="8089905" y="54927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cs typeface="+mn-cs"/>
                </a:rPr>
                <a:t>Legend</a:t>
              </a:r>
              <a:endParaRPr lang="x-none" sz="1200" kern="1200" dirty="0">
                <a:ea typeface="+mn-ea"/>
                <a:cs typeface="+mn-cs"/>
              </a:endParaRPr>
            </a:p>
          </p:txBody>
        </p:sp>
        <p:sp>
          <p:nvSpPr>
            <p:cNvPr id="119" name="Legend3"/>
            <p:cNvSpPr>
              <a:spLocks noChangeArrowheads="1"/>
            </p:cNvSpPr>
            <p:nvPr/>
          </p:nvSpPr>
          <p:spPr bwMode="auto">
            <a:xfrm>
              <a:off x="8089905" y="820738"/>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20" name="Legend4"/>
            <p:cNvSpPr>
              <a:spLocks noChangeArrowheads="1"/>
            </p:cNvSpPr>
            <p:nvPr/>
          </p:nvSpPr>
          <p:spPr bwMode="auto">
            <a:xfrm>
              <a:off x="8089905" y="10922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grpSp>
      <p:grpSp>
        <p:nvGrpSpPr>
          <p:cNvPr id="121" name="LegendLines" hidden="1"/>
          <p:cNvGrpSpPr/>
          <p:nvPr userDrawn="1"/>
        </p:nvGrpSpPr>
        <p:grpSpPr bwMode="auto">
          <a:xfrm>
            <a:off x="8522391" y="974733"/>
            <a:ext cx="1118561" cy="730767"/>
            <a:chOff x="7540629" y="279400"/>
            <a:chExt cx="1032518" cy="730767"/>
          </a:xfrm>
        </p:grpSpPr>
        <p:sp>
          <p:nvSpPr>
            <p:cNvPr id="122"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dirty="0">
                <a:ea typeface="+mn-ea"/>
                <a:cs typeface="+mn-cs"/>
              </a:endParaRPr>
            </a:p>
          </p:txBody>
        </p:sp>
        <p:sp>
          <p:nvSpPr>
            <p:cNvPr id="123"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dirty="0">
                <a:ea typeface="+mn-ea"/>
                <a:cs typeface="+mn-cs"/>
              </a:endParaRPr>
            </a:p>
          </p:txBody>
        </p:sp>
        <p:sp>
          <p:nvSpPr>
            <p:cNvPr id="124"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dirty="0">
                <a:ea typeface="+mn-ea"/>
                <a:cs typeface="+mn-cs"/>
              </a:endParaRPr>
            </a:p>
          </p:txBody>
        </p:sp>
        <p:sp>
          <p:nvSpPr>
            <p:cNvPr id="125" name="Legend1"/>
            <p:cNvSpPr>
              <a:spLocks noChangeArrowheads="1"/>
            </p:cNvSpPr>
            <p:nvPr/>
          </p:nvSpPr>
          <p:spPr bwMode="auto">
            <a:xfrm>
              <a:off x="8102604"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cs typeface="+mn-cs"/>
                </a:rPr>
                <a:t>Legend</a:t>
              </a:r>
              <a:endParaRPr lang="x-none" sz="1200" kern="1200" dirty="0">
                <a:ea typeface="+mn-ea"/>
                <a:cs typeface="+mn-cs"/>
              </a:endParaRPr>
            </a:p>
          </p:txBody>
        </p:sp>
        <p:sp>
          <p:nvSpPr>
            <p:cNvPr id="126" name="Legend2"/>
            <p:cNvSpPr>
              <a:spLocks noChangeArrowheads="1"/>
            </p:cNvSpPr>
            <p:nvPr/>
          </p:nvSpPr>
          <p:spPr bwMode="auto">
            <a:xfrm>
              <a:off x="8102604" y="5461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cs typeface="+mn-cs"/>
                </a:rPr>
                <a:t>Legend</a:t>
              </a:r>
              <a:endParaRPr lang="x-none" sz="1200" kern="1200" dirty="0">
                <a:ea typeface="+mn-ea"/>
                <a:cs typeface="+mn-cs"/>
              </a:endParaRPr>
            </a:p>
          </p:txBody>
        </p:sp>
        <p:sp>
          <p:nvSpPr>
            <p:cNvPr id="127" name="Legend3"/>
            <p:cNvSpPr>
              <a:spLocks noChangeArrowheads="1"/>
            </p:cNvSpPr>
            <p:nvPr/>
          </p:nvSpPr>
          <p:spPr bwMode="auto">
            <a:xfrm>
              <a:off x="8102604" y="8255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cs typeface="+mn-cs"/>
                </a:rPr>
                <a:t>Legend</a:t>
              </a:r>
              <a:endParaRPr lang="x-none" sz="1200" kern="1200" dirty="0">
                <a:ea typeface="+mn-ea"/>
                <a:cs typeface="+mn-cs"/>
              </a:endParaRPr>
            </a:p>
          </p:txBody>
        </p:sp>
      </p:grpSp>
      <p:grpSp>
        <p:nvGrpSpPr>
          <p:cNvPr id="128" name="LegendMoons" hidden="1"/>
          <p:cNvGrpSpPr/>
          <p:nvPr userDrawn="1"/>
        </p:nvGrpSpPr>
        <p:grpSpPr bwMode="auto">
          <a:xfrm>
            <a:off x="8783531" y="946154"/>
            <a:ext cx="857153" cy="1306516"/>
            <a:chOff x="7769225" y="250825"/>
            <a:chExt cx="791218" cy="1306516"/>
          </a:xfrm>
        </p:grpSpPr>
        <p:grpSp>
          <p:nvGrpSpPr>
            <p:cNvPr id="129" name="MoonLegend1"/>
            <p:cNvGrpSpPr>
              <a:grpSpLocks noChangeAspect="1"/>
            </p:cNvGrpSpPr>
            <p:nvPr>
              <p:custDataLst>
                <p:tags r:id="rId6"/>
              </p:custDataLst>
            </p:nvPr>
          </p:nvGrpSpPr>
          <p:grpSpPr bwMode="auto">
            <a:xfrm>
              <a:off x="7769225" y="250825"/>
              <a:ext cx="209550" cy="209551"/>
              <a:chOff x="4533" y="183"/>
              <a:chExt cx="144" cy="144"/>
            </a:xfrm>
          </p:grpSpPr>
          <p:sp>
            <p:nvSpPr>
              <p:cNvPr id="147" name="Oval 38"/>
              <p:cNvSpPr>
                <a:spLocks noChangeAspect="1" noChangeArrowheads="1"/>
              </p:cNvSpPr>
              <p:nvPr>
                <p:custDataLst>
                  <p:tags r:id="rId19"/>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8" name="Arc 39"/>
              <p:cNvSpPr>
                <a:spLocks noChangeAspect="1"/>
              </p:cNvSpPr>
              <p:nvPr>
                <p:custDataLst>
                  <p:tags r:id="rId20"/>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grpSp>
          <p:nvGrpSpPr>
            <p:cNvPr id="130" name="MoonLegend2"/>
            <p:cNvGrpSpPr>
              <a:grpSpLocks noChangeAspect="1"/>
            </p:cNvGrpSpPr>
            <p:nvPr>
              <p:custDataLst>
                <p:tags r:id="rId7"/>
              </p:custDataLst>
            </p:nvPr>
          </p:nvGrpSpPr>
          <p:grpSpPr bwMode="auto">
            <a:xfrm>
              <a:off x="7769225" y="525066"/>
              <a:ext cx="209550" cy="209551"/>
              <a:chOff x="1694" y="2044"/>
              <a:chExt cx="160" cy="160"/>
            </a:xfrm>
          </p:grpSpPr>
          <p:sp>
            <p:nvSpPr>
              <p:cNvPr id="145"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6" name="Arc 42"/>
              <p:cNvSpPr>
                <a:spLocks noChangeAspect="1"/>
              </p:cNvSpPr>
              <p:nvPr>
                <p:custDataLst>
                  <p:tags r:id="rId18"/>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grpSp>
          <p:nvGrpSpPr>
            <p:cNvPr id="131" name="MoonLegend4"/>
            <p:cNvGrpSpPr>
              <a:grpSpLocks noChangeAspect="1"/>
            </p:cNvGrpSpPr>
            <p:nvPr>
              <p:custDataLst>
                <p:tags r:id="rId8"/>
              </p:custDataLst>
            </p:nvPr>
          </p:nvGrpSpPr>
          <p:grpSpPr bwMode="auto">
            <a:xfrm>
              <a:off x="7769225" y="1073548"/>
              <a:ext cx="209550" cy="209551"/>
              <a:chOff x="4495" y="1198"/>
              <a:chExt cx="160" cy="160"/>
            </a:xfrm>
          </p:grpSpPr>
          <p:sp>
            <p:nvSpPr>
              <p:cNvPr id="143"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4" name="Arc 48"/>
              <p:cNvSpPr>
                <a:spLocks noChangeAspect="1"/>
              </p:cNvSpPr>
              <p:nvPr>
                <p:custDataLst>
                  <p:tags r:id="rId16"/>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grpSp>
          <p:nvGrpSpPr>
            <p:cNvPr id="132" name="MoonLegend5"/>
            <p:cNvGrpSpPr>
              <a:grpSpLocks noChangeAspect="1"/>
            </p:cNvGrpSpPr>
            <p:nvPr>
              <p:custDataLst>
                <p:tags r:id="rId9"/>
              </p:custDataLst>
            </p:nvPr>
          </p:nvGrpSpPr>
          <p:grpSpPr bwMode="auto">
            <a:xfrm>
              <a:off x="7769225" y="1347790"/>
              <a:ext cx="209550" cy="209551"/>
              <a:chOff x="4495" y="1440"/>
              <a:chExt cx="160" cy="160"/>
            </a:xfrm>
          </p:grpSpPr>
          <p:sp>
            <p:nvSpPr>
              <p:cNvPr id="141" name="Oval 50"/>
              <p:cNvSpPr>
                <a:spLocks noChangeAspect="1" noChangeArrowheads="1"/>
              </p:cNvSpPr>
              <p:nvPr>
                <p:custDataLst>
                  <p:tags r:id="rId13"/>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2" name="Oval 51"/>
              <p:cNvSpPr>
                <a:spLocks noChangeAspect="1" noChangeArrowheads="1"/>
              </p:cNvSpPr>
              <p:nvPr>
                <p:custDataLst>
                  <p:tags r:id="rId14"/>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grpSp>
          <p:nvGrpSpPr>
            <p:cNvPr id="133" name="MoonLegend3"/>
            <p:cNvGrpSpPr>
              <a:grpSpLocks noChangeAspect="1"/>
            </p:cNvGrpSpPr>
            <p:nvPr>
              <p:custDataLst>
                <p:tags r:id="rId10"/>
              </p:custDataLst>
            </p:nvPr>
          </p:nvGrpSpPr>
          <p:grpSpPr bwMode="auto">
            <a:xfrm>
              <a:off x="7769225" y="799307"/>
              <a:ext cx="209550" cy="209551"/>
              <a:chOff x="4495" y="1198"/>
              <a:chExt cx="160" cy="160"/>
            </a:xfrm>
          </p:grpSpPr>
          <p:sp>
            <p:nvSpPr>
              <p:cNvPr id="139" name="Oval 47"/>
              <p:cNvSpPr>
                <a:spLocks noChangeAspect="1" noChangeArrowheads="1"/>
              </p:cNvSpPr>
              <p:nvPr>
                <p:custDataLst>
                  <p:tags r:id="rId1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0" name="Arc 48"/>
              <p:cNvSpPr>
                <a:spLocks noChangeAspect="1"/>
              </p:cNvSpPr>
              <p:nvPr>
                <p:custDataLst>
                  <p:tags r:id="rId12"/>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sp>
          <p:nvSpPr>
            <p:cNvPr id="134" name="Legend1"/>
            <p:cNvSpPr>
              <a:spLocks noChangeArrowheads="1"/>
            </p:cNvSpPr>
            <p:nvPr/>
          </p:nvSpPr>
          <p:spPr bwMode="auto">
            <a:xfrm>
              <a:off x="8089900" y="26352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cs typeface="+mn-cs"/>
                </a:rPr>
                <a:t>Legend</a:t>
              </a:r>
              <a:endParaRPr lang="x-none" sz="1200" kern="1200" dirty="0">
                <a:ea typeface="+mn-ea"/>
                <a:cs typeface="+mn-cs"/>
              </a:endParaRPr>
            </a:p>
          </p:txBody>
        </p:sp>
        <p:sp>
          <p:nvSpPr>
            <p:cNvPr id="135" name="Legend2"/>
            <p:cNvSpPr>
              <a:spLocks noChangeArrowheads="1"/>
            </p:cNvSpPr>
            <p:nvPr/>
          </p:nvSpPr>
          <p:spPr bwMode="auto">
            <a:xfrm>
              <a:off x="8089900" y="538163"/>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cs typeface="+mn-cs"/>
                </a:rPr>
                <a:t>Legend</a:t>
              </a:r>
              <a:endParaRPr lang="x-none" sz="1200" kern="1200" dirty="0">
                <a:ea typeface="+mn-ea"/>
                <a:cs typeface="+mn-cs"/>
              </a:endParaRPr>
            </a:p>
          </p:txBody>
        </p:sp>
        <p:sp>
          <p:nvSpPr>
            <p:cNvPr id="136" name="Legend3"/>
            <p:cNvSpPr>
              <a:spLocks noChangeArrowheads="1"/>
            </p:cNvSpPr>
            <p:nvPr/>
          </p:nvSpPr>
          <p:spPr bwMode="auto">
            <a:xfrm>
              <a:off x="8089900" y="812802"/>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cs typeface="+mn-cs"/>
                </a:rPr>
                <a:t>Legend</a:t>
              </a:r>
              <a:endParaRPr lang="x-none" sz="1200" kern="1200" dirty="0">
                <a:ea typeface="+mn-ea"/>
                <a:cs typeface="+mn-cs"/>
              </a:endParaRPr>
            </a:p>
          </p:txBody>
        </p:sp>
        <p:sp>
          <p:nvSpPr>
            <p:cNvPr id="137" name="Legend4"/>
            <p:cNvSpPr>
              <a:spLocks noChangeArrowheads="1"/>
            </p:cNvSpPr>
            <p:nvPr/>
          </p:nvSpPr>
          <p:spPr bwMode="auto">
            <a:xfrm>
              <a:off x="8089900" y="108426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cs typeface="+mn-cs"/>
                </a:rPr>
                <a:t>Legend</a:t>
              </a:r>
              <a:endParaRPr lang="x-none" sz="1200" kern="1200" dirty="0">
                <a:ea typeface="+mn-ea"/>
                <a:cs typeface="+mn-cs"/>
              </a:endParaRPr>
            </a:p>
          </p:txBody>
        </p:sp>
        <p:sp>
          <p:nvSpPr>
            <p:cNvPr id="138" name="Legend5"/>
            <p:cNvSpPr>
              <a:spLocks noChangeArrowheads="1"/>
            </p:cNvSpPr>
            <p:nvPr/>
          </p:nvSpPr>
          <p:spPr bwMode="auto">
            <a:xfrm>
              <a:off x="8089900" y="136049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cs typeface="+mn-cs"/>
                </a:rPr>
                <a:t>Legend</a:t>
              </a:r>
              <a:endParaRPr lang="x-none" sz="1200" kern="1200" dirty="0">
                <a:ea typeface="+mn-ea"/>
                <a:cs typeface="+mn-cs"/>
              </a:endParaRPr>
            </a:p>
          </p:txBody>
        </p:sp>
      </p:grpSp>
    </p:spTree>
    <p:extLst>
      <p:ext uri="{BB962C8B-B14F-4D97-AF65-F5344CB8AC3E}">
        <p14:creationId xmlns:p14="http://schemas.microsoft.com/office/powerpoint/2010/main" val="3356735623"/>
      </p:ext>
    </p:extLst>
  </p:cSld>
  <p:clrMap bg1="lt1" tx1="dk1" bg2="lt2" tx2="dk2" accent1="accent1" accent2="accent2" accent3="accent3" accent4="accent4" accent5="accent5" accent6="accent6" hlink="hlink" folHlink="folHlink"/>
  <p:sldLayoutIdLst>
    <p:sldLayoutId id="2147483769" r:id="rId1"/>
    <p:sldLayoutId id="2147483770" r:id="rId2"/>
  </p:sldLayoutIdLst>
  <p:timing>
    <p:tnLst>
      <p:par>
        <p:cTn id="1" dur="indefinite" restart="never" nodeType="tmRoot"/>
      </p:par>
    </p:tnLst>
  </p:timing>
  <p:hf hdr="0" ftr="0" dt="0"/>
  <p:txStyles>
    <p:titleStyle>
      <a:lvl1pPr algn="l" defTabSz="913429" rtl="0" eaLnBrk="1" fontAlgn="base" hangingPunct="1">
        <a:spcBef>
          <a:spcPct val="0"/>
        </a:spcBef>
        <a:spcAft>
          <a:spcPct val="0"/>
        </a:spcAft>
        <a:tabLst>
          <a:tab pos="275324" algn="l"/>
        </a:tabLst>
        <a:defRPr sz="1900" b="1" baseline="0">
          <a:solidFill>
            <a:schemeClr val="tx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nvPr>
        </p:nvGraphicFramePr>
        <p:xfrm>
          <a:off x="0" y="0"/>
          <a:ext cx="175483" cy="161974"/>
        </p:xfrm>
        <a:graphic>
          <a:graphicData uri="http://schemas.openxmlformats.org/presentationml/2006/ole">
            <mc:AlternateContent xmlns:mc="http://schemas.openxmlformats.org/markup-compatibility/2006">
              <mc:Choice xmlns:v="urn:schemas-microsoft-com:vml" Requires="v">
                <p:oleObj spid="_x0000_s128237"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0" y="0"/>
                        <a:ext cx="175483" cy="161974"/>
                      </a:xfrm>
                      <a:prstGeom prst="rect">
                        <a:avLst/>
                      </a:prstGeom>
                    </p:spPr>
                  </p:pic>
                </p:oleObj>
              </mc:Fallback>
            </mc:AlternateContent>
          </a:graphicData>
        </a:graphic>
      </p:graphicFrame>
      <p:pic>
        <p:nvPicPr>
          <p:cNvPr id="59" name="Picture 58"/>
          <p:cNvPicPr>
            <a:picLocks/>
          </p:cNvPicPr>
          <p:nvPr userDrawn="1"/>
        </p:nvPicPr>
        <p:blipFill>
          <a:blip r:embed="rId25" cstate="print"/>
          <a:stretch>
            <a:fillRect/>
          </a:stretch>
        </p:blipFill>
        <p:spPr bwMode="auto">
          <a:xfrm>
            <a:off x="189523" y="681170"/>
            <a:ext cx="8065476" cy="50511"/>
          </a:xfrm>
          <a:prstGeom prst="rect">
            <a:avLst/>
          </a:prstGeom>
        </p:spPr>
      </p:pic>
      <p:pic>
        <p:nvPicPr>
          <p:cNvPr id="60" name="Picture 59" descr="AGRALogo.png"/>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bwMode="ltGray">
          <a:xfrm>
            <a:off x="8329382" y="388621"/>
            <a:ext cx="1354131" cy="530864"/>
          </a:xfrm>
          <a:prstGeom prst="rect">
            <a:avLst/>
          </a:prstGeom>
        </p:spPr>
      </p:pic>
      <p:sp>
        <p:nvSpPr>
          <p:cNvPr id="1033" name="doc id"/>
          <p:cNvSpPr>
            <a:spLocks noChangeArrowheads="1"/>
          </p:cNvSpPr>
          <p:nvPr/>
        </p:nvSpPr>
        <p:spPr bwMode="auto">
          <a:xfrm>
            <a:off x="8933827" y="37255"/>
            <a:ext cx="726499"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429" fontAlgn="base">
              <a:spcBef>
                <a:spcPct val="0"/>
              </a:spcBef>
              <a:spcAft>
                <a:spcPct val="0"/>
              </a:spcAft>
              <a:buClrTx/>
              <a:buFontTx/>
              <a:buNone/>
            </a:pPr>
            <a:endParaRPr lang="en-US" sz="800" kern="1200" dirty="0">
              <a:ea typeface="+mn-ea"/>
            </a:endParaRPr>
          </a:p>
        </p:txBody>
      </p:sp>
      <p:sp>
        <p:nvSpPr>
          <p:cNvPr id="1036" name="Rectangle 286"/>
          <p:cNvSpPr>
            <a:spLocks noGrp="1" noChangeArrowheads="1"/>
          </p:cNvSpPr>
          <p:nvPr>
            <p:ph type="body" idx="1"/>
          </p:nvPr>
        </p:nvSpPr>
        <p:spPr bwMode="auto">
          <a:xfrm>
            <a:off x="1878084" y="2508985"/>
            <a:ext cx="4755582"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auto">
          <a:xfrm>
            <a:off x="247650" y="388621"/>
            <a:ext cx="8007350"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1. On-page tracker" hidden="1"/>
          <p:cNvSpPr>
            <a:spLocks noChangeArrowheads="1"/>
          </p:cNvSpPr>
          <p:nvPr/>
        </p:nvSpPr>
        <p:spPr bwMode="auto">
          <a:xfrm>
            <a:off x="247690" y="8087"/>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buClrTx/>
              <a:buFontTx/>
              <a:buNone/>
            </a:pPr>
            <a:r>
              <a:rPr lang="en-US" sz="1000" kern="1200" dirty="0">
                <a:solidFill>
                  <a:srgbClr val="808080"/>
                </a:solidFill>
                <a:ea typeface="+mn-ea"/>
              </a:rPr>
              <a:t>TRACKER</a:t>
            </a:r>
          </a:p>
        </p:txBody>
      </p:sp>
      <p:sp>
        <p:nvSpPr>
          <p:cNvPr id="11" name="3. Unit of measure" hidden="1"/>
          <p:cNvSpPr txBox="1">
            <a:spLocks noChangeArrowheads="1"/>
          </p:cNvSpPr>
          <p:nvPr/>
        </p:nvSpPr>
        <p:spPr bwMode="auto">
          <a:xfrm>
            <a:off x="247650" y="749678"/>
            <a:ext cx="800735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buClrTx/>
              <a:buFontTx/>
              <a:buNone/>
              <a:defRPr/>
            </a:pPr>
            <a:r>
              <a:rPr lang="en-US" sz="1600" kern="1200" dirty="0" smtClean="0">
                <a:solidFill>
                  <a:srgbClr val="808080"/>
                </a:solidFill>
                <a:latin typeface="Arial"/>
                <a:ea typeface="+mn-ea"/>
              </a:rPr>
              <a:t>Unit of measure</a:t>
            </a:r>
          </a:p>
        </p:txBody>
      </p:sp>
      <p:grpSp>
        <p:nvGrpSpPr>
          <p:cNvPr id="15" name="ACET" hidden="1"/>
          <p:cNvGrpSpPr>
            <a:grpSpLocks/>
          </p:cNvGrpSpPr>
          <p:nvPr/>
        </p:nvGrpSpPr>
        <p:grpSpPr bwMode="auto">
          <a:xfrm>
            <a:off x="1878084" y="1915010"/>
            <a:ext cx="4713466"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buClrTx/>
                <a:buFontTx/>
                <a:buNone/>
              </a:pPr>
              <a:r>
                <a:rPr lang="en-US" sz="1600" b="1" kern="1200" dirty="0">
                  <a:ea typeface="+mn-ea"/>
                </a:rPr>
                <a:t>Title</a:t>
              </a:r>
            </a:p>
            <a:p>
              <a:pPr fontAlgn="base">
                <a:spcBef>
                  <a:spcPct val="0"/>
                </a:spcBef>
                <a:spcAft>
                  <a:spcPct val="0"/>
                </a:spcAft>
                <a:buClrTx/>
                <a:buFontTx/>
                <a:buNone/>
              </a:pPr>
              <a:r>
                <a:rPr lang="en-US" sz="1600" kern="1200" dirty="0">
                  <a:solidFill>
                    <a:srgbClr val="808080"/>
                  </a:solidFill>
                  <a:ea typeface="+mn-ea"/>
                </a:rPr>
                <a:t>Unit of measure</a:t>
              </a:r>
            </a:p>
          </p:txBody>
        </p:sp>
      </p:grpSp>
      <p:sp>
        <p:nvSpPr>
          <p:cNvPr id="104" name="Slide Number"/>
          <p:cNvSpPr txBox="1">
            <a:spLocks/>
          </p:cNvSpPr>
          <p:nvPr userDrawn="1"/>
        </p:nvSpPr>
        <p:spPr bwMode="auto">
          <a:xfrm>
            <a:off x="9558393" y="6643759"/>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buClrTx/>
              <a:buFontTx/>
              <a:buNone/>
            </a:pPr>
            <a:fld id="{42C328C1-A84F-4A39-A664-DBA00541A8C6}" type="slidenum">
              <a:rPr lang="en-US" sz="800" kern="1200" smtClean="0">
                <a:ea typeface="+mn-ea"/>
              </a:rPr>
              <a:pPr algn="r" fontAlgn="base">
                <a:spcBef>
                  <a:spcPct val="0"/>
                </a:spcBef>
                <a:spcAft>
                  <a:spcPct val="0"/>
                </a:spcAft>
                <a:buClrTx/>
                <a:buFontTx/>
                <a:buNone/>
              </a:pPr>
              <a:t>‹#›</a:t>
            </a:fld>
            <a:endParaRPr lang="en-US" sz="800" kern="1200" dirty="0">
              <a:ea typeface="+mn-ea"/>
            </a:endParaRPr>
          </a:p>
        </p:txBody>
      </p:sp>
      <p:grpSp>
        <p:nvGrpSpPr>
          <p:cNvPr id="105" name="Slide Elements" hidden="1"/>
          <p:cNvGrpSpPr/>
          <p:nvPr userDrawn="1"/>
        </p:nvGrpSpPr>
        <p:grpSpPr bwMode="auto">
          <a:xfrm>
            <a:off x="247654" y="6441985"/>
            <a:ext cx="9336748" cy="324724"/>
            <a:chOff x="119063" y="6306659"/>
            <a:chExt cx="8618537" cy="324724"/>
          </a:xfrm>
        </p:grpSpPr>
        <p:sp>
          <p:nvSpPr>
            <p:cNvPr id="106" name="4. Footnote"/>
            <p:cNvSpPr txBox="1">
              <a:spLocks noChangeArrowheads="1"/>
            </p:cNvSpPr>
            <p:nvPr/>
          </p:nvSpPr>
          <p:spPr bwMode="auto">
            <a:xfrm>
              <a:off x="119063" y="6306659"/>
              <a:ext cx="861853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fontAlgn="base">
                <a:spcBef>
                  <a:spcPct val="0"/>
                </a:spcBef>
                <a:spcAft>
                  <a:spcPct val="0"/>
                </a:spcAft>
                <a:buClrTx/>
                <a:buFontTx/>
                <a:buNone/>
                <a:defRPr lang="x-none"/>
              </a:pPr>
              <a:r>
                <a:rPr sz="800" kern="1200" dirty="0" smtClean="0">
                  <a:solidFill>
                    <a:srgbClr val="000000"/>
                  </a:solidFill>
                  <a:latin typeface="Arial"/>
                  <a:ea typeface="+mn-ea"/>
                </a:rPr>
                <a:t>1 Footnote</a:t>
              </a:r>
            </a:p>
          </p:txBody>
        </p:sp>
        <p:sp>
          <p:nvSpPr>
            <p:cNvPr id="107" name="5. Source"/>
            <p:cNvSpPr>
              <a:spLocks noChangeArrowheads="1"/>
            </p:cNvSpPr>
            <p:nvPr/>
          </p:nvSpPr>
          <p:spPr bwMode="auto">
            <a:xfrm>
              <a:off x="119063" y="6508272"/>
              <a:ext cx="794619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19113" indent="-519113" defTabSz="895350" fontAlgn="base">
                <a:spcBef>
                  <a:spcPct val="0"/>
                </a:spcBef>
                <a:spcAft>
                  <a:spcPct val="0"/>
                </a:spcAft>
                <a:buClrTx/>
                <a:buFontTx/>
                <a:buNone/>
                <a:tabLst>
                  <a:tab pos="612775" algn="l"/>
                </a:tabLst>
              </a:pPr>
              <a:r>
                <a:rPr lang="x-none" sz="800" kern="1200" dirty="0">
                  <a:ea typeface="+mn-ea"/>
                </a:rPr>
                <a:t>SOURCE : </a:t>
              </a:r>
              <a:r>
                <a:rPr lang="x-none" sz="800" kern="1200" dirty="0" smtClean="0">
                  <a:ea typeface="+mn-ea"/>
                </a:rPr>
                <a:t>Source</a:t>
              </a:r>
              <a:endParaRPr lang="en-US" sz="800" kern="1200" dirty="0" smtClean="0">
                <a:ea typeface="+mn-ea"/>
              </a:endParaRPr>
            </a:p>
          </p:txBody>
        </p:sp>
      </p:grpSp>
      <p:grpSp>
        <p:nvGrpSpPr>
          <p:cNvPr id="108" name="McKSticker" hidden="1"/>
          <p:cNvGrpSpPr/>
          <p:nvPr userDrawn="1"/>
        </p:nvGrpSpPr>
        <p:grpSpPr bwMode="auto">
          <a:xfrm>
            <a:off x="9209576" y="981082"/>
            <a:ext cx="473335" cy="150811"/>
            <a:chOff x="8303851" y="285750"/>
            <a:chExt cx="436924" cy="150811"/>
          </a:xfrm>
        </p:grpSpPr>
        <p:sp>
          <p:nvSpPr>
            <p:cNvPr id="109" name="StickerRectangle"/>
            <p:cNvSpPr>
              <a:spLocks noChangeArrowheads="1"/>
            </p:cNvSpPr>
            <p:nvPr/>
          </p:nvSpPr>
          <p:spPr bwMode="auto">
            <a:xfrm>
              <a:off x="8303851" y="285750"/>
              <a:ext cx="436924"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02960"/>
                </a:buClr>
                <a:buFontTx/>
                <a:buNone/>
              </a:pPr>
              <a:r>
                <a:rPr lang="x-none" sz="800" kern="1200" dirty="0" smtClean="0">
                  <a:solidFill>
                    <a:srgbClr val="808080"/>
                  </a:solidFill>
                  <a:ea typeface="+mn-ea"/>
                </a:rPr>
                <a:t>STICKER</a:t>
              </a:r>
              <a:endParaRPr lang="x-none" sz="800" kern="1200" dirty="0">
                <a:solidFill>
                  <a:srgbClr val="808080"/>
                </a:solidFill>
                <a:ea typeface="+mn-ea"/>
              </a:endParaRPr>
            </a:p>
          </p:txBody>
        </p:sp>
        <p:cxnSp>
          <p:nvCxnSpPr>
            <p:cNvPr id="110" name="AutoShape 31"/>
            <p:cNvCxnSpPr>
              <a:cxnSpLocks noChangeShapeType="1"/>
              <a:stCxn id="109" idx="2"/>
              <a:endCxn id="109" idx="4"/>
            </p:cNvCxnSpPr>
            <p:nvPr/>
          </p:nvCxnSpPr>
          <p:spPr bwMode="auto">
            <a:xfrm>
              <a:off x="8303851"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11" name="AutoShape 32"/>
            <p:cNvCxnSpPr>
              <a:cxnSpLocks noChangeShapeType="1"/>
              <a:stCxn id="109" idx="4"/>
              <a:endCxn id="109" idx="6"/>
            </p:cNvCxnSpPr>
            <p:nvPr/>
          </p:nvCxnSpPr>
          <p:spPr bwMode="auto">
            <a:xfrm>
              <a:off x="8303851" y="436561"/>
              <a:ext cx="436924"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12" name="LegendBoxes" hidden="1"/>
          <p:cNvGrpSpPr/>
          <p:nvPr userDrawn="1"/>
        </p:nvGrpSpPr>
        <p:grpSpPr bwMode="auto">
          <a:xfrm>
            <a:off x="8855846" y="974734"/>
            <a:ext cx="784921" cy="997467"/>
            <a:chOff x="7835905" y="279400"/>
            <a:chExt cx="724543" cy="997467"/>
          </a:xfrm>
        </p:grpSpPr>
        <p:sp>
          <p:nvSpPr>
            <p:cNvPr id="113"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endParaRPr>
            </a:p>
          </p:txBody>
        </p:sp>
        <p:sp>
          <p:nvSpPr>
            <p:cNvPr id="114"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endParaRPr>
            </a:p>
          </p:txBody>
        </p:sp>
        <p:sp>
          <p:nvSpPr>
            <p:cNvPr id="115"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endParaRPr>
            </a:p>
          </p:txBody>
        </p:sp>
        <p:sp>
          <p:nvSpPr>
            <p:cNvPr id="116"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endParaRPr>
            </a:p>
          </p:txBody>
        </p:sp>
        <p:sp>
          <p:nvSpPr>
            <p:cNvPr id="117" name="Legend1"/>
            <p:cNvSpPr>
              <a:spLocks noChangeArrowheads="1"/>
            </p:cNvSpPr>
            <p:nvPr/>
          </p:nvSpPr>
          <p:spPr bwMode="auto">
            <a:xfrm>
              <a:off x="8089905"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rPr>
                <a:t>Legend</a:t>
              </a:r>
              <a:endParaRPr lang="x-none" sz="1200" kern="1200" dirty="0">
                <a:ea typeface="+mn-ea"/>
              </a:endParaRPr>
            </a:p>
          </p:txBody>
        </p:sp>
        <p:sp>
          <p:nvSpPr>
            <p:cNvPr id="118" name="Legend2"/>
            <p:cNvSpPr>
              <a:spLocks noChangeArrowheads="1"/>
            </p:cNvSpPr>
            <p:nvPr/>
          </p:nvSpPr>
          <p:spPr bwMode="auto">
            <a:xfrm>
              <a:off x="8089905" y="54927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rPr>
                <a:t>Legend</a:t>
              </a:r>
              <a:endParaRPr lang="x-none" sz="1200" kern="1200" dirty="0">
                <a:ea typeface="+mn-ea"/>
              </a:endParaRPr>
            </a:p>
          </p:txBody>
        </p:sp>
        <p:sp>
          <p:nvSpPr>
            <p:cNvPr id="119" name="Legend3"/>
            <p:cNvSpPr>
              <a:spLocks noChangeArrowheads="1"/>
            </p:cNvSpPr>
            <p:nvPr/>
          </p:nvSpPr>
          <p:spPr bwMode="auto">
            <a:xfrm>
              <a:off x="8089905" y="820738"/>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rPr>
                <a:t>Legend</a:t>
              </a:r>
            </a:p>
          </p:txBody>
        </p:sp>
        <p:sp>
          <p:nvSpPr>
            <p:cNvPr id="120" name="Legend4"/>
            <p:cNvSpPr>
              <a:spLocks noChangeArrowheads="1"/>
            </p:cNvSpPr>
            <p:nvPr/>
          </p:nvSpPr>
          <p:spPr bwMode="auto">
            <a:xfrm>
              <a:off x="8089905" y="10922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rPr>
                <a:t>Legend</a:t>
              </a:r>
            </a:p>
          </p:txBody>
        </p:sp>
      </p:grpSp>
      <p:grpSp>
        <p:nvGrpSpPr>
          <p:cNvPr id="121" name="LegendLines" hidden="1"/>
          <p:cNvGrpSpPr/>
          <p:nvPr userDrawn="1"/>
        </p:nvGrpSpPr>
        <p:grpSpPr bwMode="auto">
          <a:xfrm>
            <a:off x="8522391" y="974733"/>
            <a:ext cx="1118561" cy="730767"/>
            <a:chOff x="7540629" y="279400"/>
            <a:chExt cx="1032518" cy="730767"/>
          </a:xfrm>
        </p:grpSpPr>
        <p:sp>
          <p:nvSpPr>
            <p:cNvPr id="122"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dirty="0">
                <a:ea typeface="+mn-ea"/>
              </a:endParaRPr>
            </a:p>
          </p:txBody>
        </p:sp>
        <p:sp>
          <p:nvSpPr>
            <p:cNvPr id="123"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dirty="0">
                <a:ea typeface="+mn-ea"/>
              </a:endParaRPr>
            </a:p>
          </p:txBody>
        </p:sp>
        <p:sp>
          <p:nvSpPr>
            <p:cNvPr id="124"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dirty="0">
                <a:ea typeface="+mn-ea"/>
              </a:endParaRPr>
            </a:p>
          </p:txBody>
        </p:sp>
        <p:sp>
          <p:nvSpPr>
            <p:cNvPr id="125" name="Legend1"/>
            <p:cNvSpPr>
              <a:spLocks noChangeArrowheads="1"/>
            </p:cNvSpPr>
            <p:nvPr/>
          </p:nvSpPr>
          <p:spPr bwMode="auto">
            <a:xfrm>
              <a:off x="8102604"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rPr>
                <a:t>Legend</a:t>
              </a:r>
              <a:endParaRPr lang="x-none" sz="1200" kern="1200" dirty="0">
                <a:ea typeface="+mn-ea"/>
              </a:endParaRPr>
            </a:p>
          </p:txBody>
        </p:sp>
        <p:sp>
          <p:nvSpPr>
            <p:cNvPr id="126" name="Legend2"/>
            <p:cNvSpPr>
              <a:spLocks noChangeArrowheads="1"/>
            </p:cNvSpPr>
            <p:nvPr/>
          </p:nvSpPr>
          <p:spPr bwMode="auto">
            <a:xfrm>
              <a:off x="8102604" y="5461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rPr>
                <a:t>Legend</a:t>
              </a:r>
              <a:endParaRPr lang="x-none" sz="1200" kern="1200" dirty="0">
                <a:ea typeface="+mn-ea"/>
              </a:endParaRPr>
            </a:p>
          </p:txBody>
        </p:sp>
        <p:sp>
          <p:nvSpPr>
            <p:cNvPr id="127" name="Legend3"/>
            <p:cNvSpPr>
              <a:spLocks noChangeArrowheads="1"/>
            </p:cNvSpPr>
            <p:nvPr/>
          </p:nvSpPr>
          <p:spPr bwMode="auto">
            <a:xfrm>
              <a:off x="8102604" y="8255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rPr>
                <a:t>Legend</a:t>
              </a:r>
              <a:endParaRPr lang="x-none" sz="1200" kern="1200" dirty="0">
                <a:ea typeface="+mn-ea"/>
              </a:endParaRPr>
            </a:p>
          </p:txBody>
        </p:sp>
      </p:grpSp>
      <p:grpSp>
        <p:nvGrpSpPr>
          <p:cNvPr id="128" name="LegendMoons" hidden="1"/>
          <p:cNvGrpSpPr/>
          <p:nvPr userDrawn="1"/>
        </p:nvGrpSpPr>
        <p:grpSpPr bwMode="auto">
          <a:xfrm>
            <a:off x="8783531" y="946154"/>
            <a:ext cx="857153" cy="1306516"/>
            <a:chOff x="7769225" y="250825"/>
            <a:chExt cx="791218" cy="1306516"/>
          </a:xfrm>
        </p:grpSpPr>
        <p:grpSp>
          <p:nvGrpSpPr>
            <p:cNvPr id="129" name="MoonLegend1"/>
            <p:cNvGrpSpPr>
              <a:grpSpLocks noChangeAspect="1"/>
            </p:cNvGrpSpPr>
            <p:nvPr>
              <p:custDataLst>
                <p:tags r:id="rId8"/>
              </p:custDataLst>
            </p:nvPr>
          </p:nvGrpSpPr>
          <p:grpSpPr bwMode="auto">
            <a:xfrm>
              <a:off x="7769225" y="250825"/>
              <a:ext cx="209550" cy="209551"/>
              <a:chOff x="4533" y="183"/>
              <a:chExt cx="144" cy="144"/>
            </a:xfrm>
          </p:grpSpPr>
          <p:sp>
            <p:nvSpPr>
              <p:cNvPr id="147" name="Oval 38"/>
              <p:cNvSpPr>
                <a:spLocks noChangeAspect="1" noChangeArrowheads="1"/>
              </p:cNvSpPr>
              <p:nvPr>
                <p:custDataLst>
                  <p:tags r:id="rId21"/>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endParaRPr>
              </a:p>
            </p:txBody>
          </p:sp>
          <p:sp>
            <p:nvSpPr>
              <p:cNvPr id="148" name="Arc 39"/>
              <p:cNvSpPr>
                <a:spLocks noChangeAspect="1"/>
              </p:cNvSpPr>
              <p:nvPr>
                <p:custDataLst>
                  <p:tags r:id="rId22"/>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endParaRPr>
              </a:p>
            </p:txBody>
          </p:sp>
        </p:grpSp>
        <p:grpSp>
          <p:nvGrpSpPr>
            <p:cNvPr id="130" name="MoonLegend2"/>
            <p:cNvGrpSpPr>
              <a:grpSpLocks noChangeAspect="1"/>
            </p:cNvGrpSpPr>
            <p:nvPr>
              <p:custDataLst>
                <p:tags r:id="rId9"/>
              </p:custDataLst>
            </p:nvPr>
          </p:nvGrpSpPr>
          <p:grpSpPr bwMode="auto">
            <a:xfrm>
              <a:off x="7769225" y="525066"/>
              <a:ext cx="209550" cy="209551"/>
              <a:chOff x="1694" y="2044"/>
              <a:chExt cx="160" cy="160"/>
            </a:xfrm>
          </p:grpSpPr>
          <p:sp>
            <p:nvSpPr>
              <p:cNvPr id="145"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endParaRPr>
              </a:p>
            </p:txBody>
          </p:sp>
          <p:sp>
            <p:nvSpPr>
              <p:cNvPr id="146" name="Arc 42"/>
              <p:cNvSpPr>
                <a:spLocks noChangeAspect="1"/>
              </p:cNvSpPr>
              <p:nvPr>
                <p:custDataLst>
                  <p:tags r:id="rId20"/>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endParaRPr>
              </a:p>
            </p:txBody>
          </p:sp>
        </p:grpSp>
        <p:grpSp>
          <p:nvGrpSpPr>
            <p:cNvPr id="131" name="MoonLegend4"/>
            <p:cNvGrpSpPr>
              <a:grpSpLocks noChangeAspect="1"/>
            </p:cNvGrpSpPr>
            <p:nvPr>
              <p:custDataLst>
                <p:tags r:id="rId10"/>
              </p:custDataLst>
            </p:nvPr>
          </p:nvGrpSpPr>
          <p:grpSpPr bwMode="auto">
            <a:xfrm>
              <a:off x="7769225" y="1073548"/>
              <a:ext cx="209550" cy="209551"/>
              <a:chOff x="4495" y="1198"/>
              <a:chExt cx="160" cy="160"/>
            </a:xfrm>
          </p:grpSpPr>
          <p:sp>
            <p:nvSpPr>
              <p:cNvPr id="143"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endParaRPr>
              </a:p>
            </p:txBody>
          </p:sp>
          <p:sp>
            <p:nvSpPr>
              <p:cNvPr id="144"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endParaRPr>
              </a:p>
            </p:txBody>
          </p:sp>
        </p:grpSp>
        <p:grpSp>
          <p:nvGrpSpPr>
            <p:cNvPr id="132" name="MoonLegend5"/>
            <p:cNvGrpSpPr>
              <a:grpSpLocks noChangeAspect="1"/>
            </p:cNvGrpSpPr>
            <p:nvPr>
              <p:custDataLst>
                <p:tags r:id="rId11"/>
              </p:custDataLst>
            </p:nvPr>
          </p:nvGrpSpPr>
          <p:grpSpPr bwMode="auto">
            <a:xfrm>
              <a:off x="7769225" y="1347790"/>
              <a:ext cx="209550" cy="209551"/>
              <a:chOff x="4495" y="1440"/>
              <a:chExt cx="160" cy="160"/>
            </a:xfrm>
          </p:grpSpPr>
          <p:sp>
            <p:nvSpPr>
              <p:cNvPr id="141" name="Oval 50"/>
              <p:cNvSpPr>
                <a:spLocks noChangeAspect="1" noChangeArrowheads="1"/>
              </p:cNvSpPr>
              <p:nvPr>
                <p:custDataLst>
                  <p:tags r:id="rId15"/>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endParaRPr>
              </a:p>
            </p:txBody>
          </p:sp>
          <p:sp>
            <p:nvSpPr>
              <p:cNvPr id="142" name="Oval 51"/>
              <p:cNvSpPr>
                <a:spLocks noChangeAspect="1" noChangeArrowheads="1"/>
              </p:cNvSpPr>
              <p:nvPr>
                <p:custDataLst>
                  <p:tags r:id="rId16"/>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endParaRPr>
              </a:p>
            </p:txBody>
          </p:sp>
        </p:grpSp>
        <p:grpSp>
          <p:nvGrpSpPr>
            <p:cNvPr id="133" name="MoonLegend3"/>
            <p:cNvGrpSpPr>
              <a:grpSpLocks noChangeAspect="1"/>
            </p:cNvGrpSpPr>
            <p:nvPr>
              <p:custDataLst>
                <p:tags r:id="rId12"/>
              </p:custDataLst>
            </p:nvPr>
          </p:nvGrpSpPr>
          <p:grpSpPr bwMode="auto">
            <a:xfrm>
              <a:off x="7769225" y="799307"/>
              <a:ext cx="209550" cy="209551"/>
              <a:chOff x="4495" y="1198"/>
              <a:chExt cx="160" cy="160"/>
            </a:xfrm>
          </p:grpSpPr>
          <p:sp>
            <p:nvSpPr>
              <p:cNvPr id="139"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endParaRPr>
              </a:p>
            </p:txBody>
          </p:sp>
          <p:sp>
            <p:nvSpPr>
              <p:cNvPr id="140"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endParaRPr>
              </a:p>
            </p:txBody>
          </p:sp>
        </p:grpSp>
        <p:sp>
          <p:nvSpPr>
            <p:cNvPr id="134" name="Legend1"/>
            <p:cNvSpPr>
              <a:spLocks noChangeArrowheads="1"/>
            </p:cNvSpPr>
            <p:nvPr/>
          </p:nvSpPr>
          <p:spPr bwMode="auto">
            <a:xfrm>
              <a:off x="8089900" y="26352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rPr>
                <a:t>Legend</a:t>
              </a:r>
              <a:endParaRPr lang="x-none" sz="1200" kern="1200" dirty="0">
                <a:ea typeface="+mn-ea"/>
              </a:endParaRPr>
            </a:p>
          </p:txBody>
        </p:sp>
        <p:sp>
          <p:nvSpPr>
            <p:cNvPr id="135" name="Legend2"/>
            <p:cNvSpPr>
              <a:spLocks noChangeArrowheads="1"/>
            </p:cNvSpPr>
            <p:nvPr/>
          </p:nvSpPr>
          <p:spPr bwMode="auto">
            <a:xfrm>
              <a:off x="8089900" y="538163"/>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rPr>
                <a:t>Legend</a:t>
              </a:r>
              <a:endParaRPr lang="x-none" sz="1200" kern="1200" dirty="0">
                <a:ea typeface="+mn-ea"/>
              </a:endParaRPr>
            </a:p>
          </p:txBody>
        </p:sp>
        <p:sp>
          <p:nvSpPr>
            <p:cNvPr id="136" name="Legend3"/>
            <p:cNvSpPr>
              <a:spLocks noChangeArrowheads="1"/>
            </p:cNvSpPr>
            <p:nvPr/>
          </p:nvSpPr>
          <p:spPr bwMode="auto">
            <a:xfrm>
              <a:off x="8089900" y="812802"/>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rPr>
                <a:t>Legend</a:t>
              </a:r>
              <a:endParaRPr lang="x-none" sz="1200" kern="1200" dirty="0">
                <a:ea typeface="+mn-ea"/>
              </a:endParaRPr>
            </a:p>
          </p:txBody>
        </p:sp>
        <p:sp>
          <p:nvSpPr>
            <p:cNvPr id="137" name="Legend4"/>
            <p:cNvSpPr>
              <a:spLocks noChangeArrowheads="1"/>
            </p:cNvSpPr>
            <p:nvPr/>
          </p:nvSpPr>
          <p:spPr bwMode="auto">
            <a:xfrm>
              <a:off x="8089900" y="108426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rPr>
                <a:t>Legend</a:t>
              </a:r>
              <a:endParaRPr lang="x-none" sz="1200" kern="1200" dirty="0">
                <a:ea typeface="+mn-ea"/>
              </a:endParaRPr>
            </a:p>
          </p:txBody>
        </p:sp>
        <p:sp>
          <p:nvSpPr>
            <p:cNvPr id="138" name="Legend5"/>
            <p:cNvSpPr>
              <a:spLocks noChangeArrowheads="1"/>
            </p:cNvSpPr>
            <p:nvPr/>
          </p:nvSpPr>
          <p:spPr bwMode="auto">
            <a:xfrm>
              <a:off x="8089900" y="136049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rPr>
                <a:t>Legend</a:t>
              </a:r>
              <a:endParaRPr lang="x-none" sz="1200" kern="1200" dirty="0">
                <a:ea typeface="+mn-ea"/>
              </a:endParaRPr>
            </a:p>
          </p:txBody>
        </p:sp>
      </p:grpSp>
    </p:spTree>
    <p:extLst>
      <p:ext uri="{BB962C8B-B14F-4D97-AF65-F5344CB8AC3E}">
        <p14:creationId xmlns:p14="http://schemas.microsoft.com/office/powerpoint/2010/main" val="3996684785"/>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6" r:id="rId4"/>
  </p:sldLayoutIdLst>
  <p:timing>
    <p:tnLst>
      <p:par>
        <p:cTn id="1" dur="indefinite" restart="never" nodeType="tmRoot"/>
      </p:par>
    </p:tnLst>
  </p:timing>
  <p:hf hdr="0" ftr="0" dt="0"/>
  <p:txStyles>
    <p:titleStyle>
      <a:lvl1pPr algn="l" defTabSz="913429" rtl="0" eaLnBrk="1" fontAlgn="base" hangingPunct="1">
        <a:spcBef>
          <a:spcPct val="0"/>
        </a:spcBef>
        <a:spcAft>
          <a:spcPct val="0"/>
        </a:spcAft>
        <a:tabLst>
          <a:tab pos="275324" algn="l"/>
        </a:tabLst>
        <a:defRPr sz="1900" b="1" baseline="0">
          <a:solidFill>
            <a:schemeClr val="tx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0" y="0"/>
          <a:ext cx="175483" cy="161974"/>
        </p:xfrm>
        <a:graphic>
          <a:graphicData uri="http://schemas.openxmlformats.org/presentationml/2006/ole">
            <mc:AlternateContent xmlns:mc="http://schemas.openxmlformats.org/markup-compatibility/2006">
              <mc:Choice xmlns:v="urn:schemas-microsoft-com:vml" Requires="v">
                <p:oleObj spid="_x0000_s137431" name="think-cell Slide" r:id="rId27" imgW="270" imgH="270" progId="TCLayout.ActiveDocument.1">
                  <p:embed/>
                </p:oleObj>
              </mc:Choice>
              <mc:Fallback>
                <p:oleObj name="think-cell Slide" r:id="rId27" imgW="270" imgH="270" progId="TCLayout.ActiveDocument.1">
                  <p:embed/>
                  <p:pic>
                    <p:nvPicPr>
                      <p:cNvPr id="2" name="Object 1" hidden="1"/>
                      <p:cNvPicPr/>
                      <p:nvPr/>
                    </p:nvPicPr>
                    <p:blipFill>
                      <a:blip r:embed="rId28"/>
                      <a:stretch>
                        <a:fillRect/>
                      </a:stretch>
                    </p:blipFill>
                    <p:spPr>
                      <a:xfrm>
                        <a:off x="0" y="0"/>
                        <a:ext cx="175483" cy="161974"/>
                      </a:xfrm>
                      <a:prstGeom prst="rect">
                        <a:avLst/>
                      </a:prstGeom>
                    </p:spPr>
                  </p:pic>
                </p:oleObj>
              </mc:Fallback>
            </mc:AlternateContent>
          </a:graphicData>
        </a:graphic>
      </p:graphicFrame>
      <p:sp>
        <p:nvSpPr>
          <p:cNvPr id="3" name="Rectangle 2" hidden="1"/>
          <p:cNvSpPr/>
          <p:nvPr userDrawn="1">
            <p:custDataLst>
              <p:tags r:id="rId11"/>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293" rtl="0" eaLnBrk="1" fontAlgn="auto" latinLnBrk="0" hangingPunct="1">
              <a:lnSpc>
                <a:spcPct val="100000"/>
              </a:lnSpc>
              <a:spcBef>
                <a:spcPct val="0"/>
              </a:spcBef>
              <a:spcAft>
                <a:spcPct val="0"/>
              </a:spcAft>
              <a:buClrTx/>
              <a:buSzTx/>
              <a:buFontTx/>
              <a:buNone/>
              <a:tabLst/>
              <a:defRPr/>
            </a:pPr>
            <a:endParaRPr kumimoji="0" lang="en-US" sz="1900" b="1"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pic>
        <p:nvPicPr>
          <p:cNvPr id="59" name="Picture 58"/>
          <p:cNvPicPr>
            <a:picLocks/>
          </p:cNvPicPr>
          <p:nvPr userDrawn="1"/>
        </p:nvPicPr>
        <p:blipFill>
          <a:blip r:embed="rId29" cstate="print"/>
          <a:stretch>
            <a:fillRect/>
          </a:stretch>
        </p:blipFill>
        <p:spPr bwMode="auto">
          <a:xfrm>
            <a:off x="189523" y="681010"/>
            <a:ext cx="8065476" cy="50511"/>
          </a:xfrm>
          <a:prstGeom prst="rect">
            <a:avLst/>
          </a:prstGeom>
        </p:spPr>
      </p:pic>
      <p:pic>
        <p:nvPicPr>
          <p:cNvPr id="60" name="Picture 59" descr="AGRALogo.png"/>
          <p:cNvPicPr>
            <a:picLocks noChangeAspect="1"/>
          </p:cNvPicPr>
          <p:nvPr userDrawn="1"/>
        </p:nvPicPr>
        <p:blipFill>
          <a:blip r:embed="rId30" cstate="print">
            <a:extLst>
              <a:ext uri="{28A0092B-C50C-407E-A947-70E740481C1C}">
                <a14:useLocalDpi xmlns:a14="http://schemas.microsoft.com/office/drawing/2010/main" val="0"/>
              </a:ext>
            </a:extLst>
          </a:blip>
          <a:stretch>
            <a:fillRect/>
          </a:stretch>
        </p:blipFill>
        <p:spPr bwMode="ltGray">
          <a:xfrm>
            <a:off x="8329296" y="388621"/>
            <a:ext cx="1354131" cy="530864"/>
          </a:xfrm>
          <a:prstGeom prst="rect">
            <a:avLst/>
          </a:prstGeom>
        </p:spPr>
      </p:pic>
      <p:sp>
        <p:nvSpPr>
          <p:cNvPr id="1033" name="doc id"/>
          <p:cNvSpPr>
            <a:spLocks noChangeArrowheads="1"/>
          </p:cNvSpPr>
          <p:nvPr/>
        </p:nvSpPr>
        <p:spPr bwMode="auto">
          <a:xfrm>
            <a:off x="8933827" y="37255"/>
            <a:ext cx="726499"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marL="0" marR="0" lvl="0" indent="0" algn="r" defTabSz="913429"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36" name="Rectangle 286"/>
          <p:cNvSpPr>
            <a:spLocks noGrp="1" noChangeArrowheads="1"/>
          </p:cNvSpPr>
          <p:nvPr>
            <p:ph type="body" idx="1"/>
          </p:nvPr>
        </p:nvSpPr>
        <p:spPr bwMode="auto">
          <a:xfrm>
            <a:off x="1878084" y="2508985"/>
            <a:ext cx="4755582"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247650" y="388621"/>
            <a:ext cx="8007350"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a:t>Click to edit Master title style</a:t>
            </a:r>
            <a:endParaRPr lang="en-US" noProof="0" dirty="0"/>
          </a:p>
        </p:txBody>
      </p:sp>
      <p:sp>
        <p:nvSpPr>
          <p:cNvPr id="10" name="1. On-page tracker" hidden="1"/>
          <p:cNvSpPr>
            <a:spLocks noChangeArrowheads="1"/>
          </p:cNvSpPr>
          <p:nvPr/>
        </p:nvSpPr>
        <p:spPr bwMode="auto">
          <a:xfrm>
            <a:off x="247651" y="8087"/>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808080"/>
                </a:solidFill>
                <a:effectLst/>
                <a:uLnTx/>
                <a:uFillTx/>
                <a:latin typeface="Arial"/>
                <a:ea typeface="+mn-ea"/>
                <a:cs typeface="+mn-cs"/>
              </a:rPr>
              <a:t>TRACKER</a:t>
            </a:r>
          </a:p>
        </p:txBody>
      </p:sp>
      <p:sp>
        <p:nvSpPr>
          <p:cNvPr id="11" name="3. Unit of measure" hidden="1"/>
          <p:cNvSpPr txBox="1">
            <a:spLocks noChangeArrowheads="1"/>
          </p:cNvSpPr>
          <p:nvPr/>
        </p:nvSpPr>
        <p:spPr bwMode="auto">
          <a:xfrm>
            <a:off x="247650" y="749678"/>
            <a:ext cx="800735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0" marR="0" lvl="0" indent="0" algn="l" defTabSz="89535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808080"/>
                </a:solidFill>
                <a:effectLst/>
                <a:uLnTx/>
                <a:uFillTx/>
                <a:latin typeface="Arial"/>
                <a:ea typeface="+mn-ea"/>
                <a:cs typeface="+mn-cs"/>
              </a:rPr>
              <a:t>Unit of measure</a:t>
            </a:r>
          </a:p>
        </p:txBody>
      </p:sp>
      <p:grpSp>
        <p:nvGrpSpPr>
          <p:cNvPr id="15" name="ACET" hidden="1"/>
          <p:cNvGrpSpPr>
            <a:grpSpLocks/>
          </p:cNvGrpSpPr>
          <p:nvPr/>
        </p:nvGrpSpPr>
        <p:grpSpPr bwMode="auto">
          <a:xfrm>
            <a:off x="1878084" y="1915010"/>
            <a:ext cx="4713466"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Title</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808080"/>
                  </a:solidFill>
                  <a:effectLst/>
                  <a:uLnTx/>
                  <a:uFillTx/>
                  <a:latin typeface="Arial"/>
                  <a:ea typeface="+mn-ea"/>
                  <a:cs typeface="+mn-cs"/>
                </a:rPr>
                <a:t>Unit of measure</a:t>
              </a:r>
            </a:p>
          </p:txBody>
        </p:sp>
      </p:grpSp>
      <p:sp>
        <p:nvSpPr>
          <p:cNvPr id="104" name="Slide Number"/>
          <p:cNvSpPr txBox="1">
            <a:spLocks/>
          </p:cNvSpPr>
          <p:nvPr userDrawn="1"/>
        </p:nvSpPr>
        <p:spPr bwMode="auto">
          <a:xfrm>
            <a:off x="9558392" y="6643599"/>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42C328C1-A84F-4A39-A664-DBA00541A8C6}"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05" name="Slide Elements" hidden="1"/>
          <p:cNvGrpSpPr/>
          <p:nvPr userDrawn="1"/>
        </p:nvGrpSpPr>
        <p:grpSpPr bwMode="auto">
          <a:xfrm>
            <a:off x="247651" y="6441985"/>
            <a:ext cx="9336748" cy="324724"/>
            <a:chOff x="119063" y="6306659"/>
            <a:chExt cx="8618537" cy="324724"/>
          </a:xfrm>
        </p:grpSpPr>
        <p:sp>
          <p:nvSpPr>
            <p:cNvPr id="106" name="4. Footnote"/>
            <p:cNvSpPr txBox="1">
              <a:spLocks noChangeArrowheads="1"/>
            </p:cNvSpPr>
            <p:nvPr/>
          </p:nvSpPr>
          <p:spPr bwMode="auto">
            <a:xfrm>
              <a:off x="119063" y="6306659"/>
              <a:ext cx="861853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marR="0" lvl="0" indent="-85725" algn="l" defTabSz="895350" rtl="0" eaLnBrk="1" fontAlgn="base" latinLnBrk="0" hangingPunct="1">
                <a:lnSpc>
                  <a:spcPct val="100000"/>
                </a:lnSpc>
                <a:spcBef>
                  <a:spcPct val="0"/>
                </a:spcBef>
                <a:spcAft>
                  <a:spcPct val="0"/>
                </a:spcAft>
                <a:buClrTx/>
                <a:buSzTx/>
                <a:buFontTx/>
                <a:buNone/>
                <a:tabLst/>
                <a:defRPr lang="x-none"/>
              </a:pPr>
              <a:r>
                <a:rPr kumimoji="0" lang="x-none" sz="800" b="0" i="0" u="none" strike="noStrike" kern="1200" cap="none" spc="0" normalizeH="0" baseline="0" noProof="0" dirty="0">
                  <a:ln>
                    <a:noFill/>
                  </a:ln>
                  <a:solidFill>
                    <a:srgbClr val="000000"/>
                  </a:solidFill>
                  <a:effectLst/>
                  <a:uLnTx/>
                  <a:uFillTx/>
                  <a:latin typeface="Arial"/>
                  <a:ea typeface="+mn-ea"/>
                  <a:cs typeface="+mn-cs"/>
                </a:rPr>
                <a:t>1 Footnote</a:t>
              </a:r>
            </a:p>
          </p:txBody>
        </p:sp>
        <p:sp>
          <p:nvSpPr>
            <p:cNvPr id="107" name="5. Source"/>
            <p:cNvSpPr>
              <a:spLocks noChangeArrowheads="1"/>
            </p:cNvSpPr>
            <p:nvPr/>
          </p:nvSpPr>
          <p:spPr bwMode="auto">
            <a:xfrm>
              <a:off x="119063" y="6508272"/>
              <a:ext cx="794619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19113" marR="0" lvl="0" indent="-519113" algn="l" defTabSz="895350" rtl="0" eaLnBrk="1" fontAlgn="base" latinLnBrk="0" hangingPunct="1">
                <a:lnSpc>
                  <a:spcPct val="100000"/>
                </a:lnSpc>
                <a:spcBef>
                  <a:spcPct val="0"/>
                </a:spcBef>
                <a:spcAft>
                  <a:spcPct val="0"/>
                </a:spcAft>
                <a:buClrTx/>
                <a:buSzTx/>
                <a:buFontTx/>
                <a:buNone/>
                <a:tabLst>
                  <a:tab pos="612775" algn="l"/>
                </a:tabLst>
                <a:defRPr/>
              </a:pPr>
              <a:r>
                <a:rPr kumimoji="0" lang="x-none" sz="800" b="0" i="0" u="none" strike="noStrike" kern="1200" cap="none" spc="0" normalizeH="0" baseline="0" noProof="0" dirty="0">
                  <a:ln>
                    <a:noFill/>
                  </a:ln>
                  <a:solidFill>
                    <a:srgbClr val="000000"/>
                  </a:solidFill>
                  <a:effectLst/>
                  <a:uLnTx/>
                  <a:uFillTx/>
                  <a:latin typeface="Arial"/>
                  <a:ea typeface="+mn-ea"/>
                  <a:cs typeface="+mn-cs"/>
                </a:rPr>
                <a:t>SOURCE : Source</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08" name="McKSticker" hidden="1"/>
          <p:cNvGrpSpPr/>
          <p:nvPr userDrawn="1"/>
        </p:nvGrpSpPr>
        <p:grpSpPr bwMode="auto">
          <a:xfrm>
            <a:off x="9210098" y="981080"/>
            <a:ext cx="473335" cy="150811"/>
            <a:chOff x="8303851" y="285750"/>
            <a:chExt cx="436924" cy="150811"/>
          </a:xfrm>
        </p:grpSpPr>
        <p:sp>
          <p:nvSpPr>
            <p:cNvPr id="109" name="StickerRectangle"/>
            <p:cNvSpPr>
              <a:spLocks noChangeArrowheads="1"/>
            </p:cNvSpPr>
            <p:nvPr/>
          </p:nvSpPr>
          <p:spPr bwMode="auto">
            <a:xfrm>
              <a:off x="8303851" y="285750"/>
              <a:ext cx="436924"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marL="0" marR="0" lvl="0" indent="0" algn="r" defTabSz="895350" rtl="0" eaLnBrk="1" fontAlgn="base" latinLnBrk="0" hangingPunct="1">
                <a:lnSpc>
                  <a:spcPct val="100000"/>
                </a:lnSpc>
                <a:spcBef>
                  <a:spcPct val="0"/>
                </a:spcBef>
                <a:spcAft>
                  <a:spcPct val="0"/>
                </a:spcAft>
                <a:buClr>
                  <a:srgbClr val="002960"/>
                </a:buClr>
                <a:buSzTx/>
                <a:buFontTx/>
                <a:buNone/>
                <a:tabLst/>
                <a:defRPr/>
              </a:pPr>
              <a:r>
                <a:rPr kumimoji="0" lang="x-none" sz="800" b="0" i="0" u="none" strike="noStrike" kern="1200" cap="none" spc="0" normalizeH="0" baseline="0" noProof="0" dirty="0">
                  <a:ln>
                    <a:noFill/>
                  </a:ln>
                  <a:solidFill>
                    <a:srgbClr val="808080"/>
                  </a:solidFill>
                  <a:effectLst/>
                  <a:uLnTx/>
                  <a:uFillTx/>
                  <a:latin typeface="Arial"/>
                  <a:ea typeface="+mn-ea"/>
                  <a:cs typeface="+mn-cs"/>
                </a:rPr>
                <a:t>STICKER</a:t>
              </a:r>
            </a:p>
          </p:txBody>
        </p:sp>
        <p:cxnSp>
          <p:nvCxnSpPr>
            <p:cNvPr id="110" name="AutoShape 31"/>
            <p:cNvCxnSpPr>
              <a:cxnSpLocks noChangeShapeType="1"/>
              <a:stCxn id="109" idx="2"/>
              <a:endCxn id="109" idx="4"/>
            </p:cNvCxnSpPr>
            <p:nvPr/>
          </p:nvCxnSpPr>
          <p:spPr bwMode="auto">
            <a:xfrm>
              <a:off x="8303851"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11" name="AutoShape 32"/>
            <p:cNvCxnSpPr>
              <a:cxnSpLocks noChangeShapeType="1"/>
              <a:stCxn id="109" idx="4"/>
              <a:endCxn id="109" idx="6"/>
            </p:cNvCxnSpPr>
            <p:nvPr/>
          </p:nvCxnSpPr>
          <p:spPr bwMode="auto">
            <a:xfrm>
              <a:off x="8303851" y="436561"/>
              <a:ext cx="436924"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12" name="LegendBoxes" hidden="1"/>
          <p:cNvGrpSpPr/>
          <p:nvPr userDrawn="1"/>
        </p:nvGrpSpPr>
        <p:grpSpPr bwMode="auto">
          <a:xfrm>
            <a:off x="8856021" y="974730"/>
            <a:ext cx="784921" cy="997467"/>
            <a:chOff x="7835905" y="279400"/>
            <a:chExt cx="724543" cy="997467"/>
          </a:xfrm>
        </p:grpSpPr>
        <p:sp>
          <p:nvSpPr>
            <p:cNvPr id="113"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4"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5"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6"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7" name="Legend1"/>
            <p:cNvSpPr>
              <a:spLocks noChangeArrowheads="1"/>
            </p:cNvSpPr>
            <p:nvPr/>
          </p:nvSpPr>
          <p:spPr bwMode="auto">
            <a:xfrm>
              <a:off x="8089905"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a:ln>
                    <a:noFill/>
                  </a:ln>
                  <a:solidFill>
                    <a:srgbClr val="000000"/>
                  </a:solidFill>
                  <a:effectLst/>
                  <a:uLnTx/>
                  <a:uFillTx/>
                  <a:latin typeface="Arial"/>
                  <a:ea typeface="+mn-ea"/>
                  <a:cs typeface="+mn-cs"/>
                </a:rPr>
                <a:t>Legend</a:t>
              </a:r>
            </a:p>
          </p:txBody>
        </p:sp>
        <p:sp>
          <p:nvSpPr>
            <p:cNvPr id="118" name="Legend2"/>
            <p:cNvSpPr>
              <a:spLocks noChangeArrowheads="1"/>
            </p:cNvSpPr>
            <p:nvPr/>
          </p:nvSpPr>
          <p:spPr bwMode="auto">
            <a:xfrm>
              <a:off x="8089905" y="54927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a:ln>
                    <a:noFill/>
                  </a:ln>
                  <a:solidFill>
                    <a:srgbClr val="000000"/>
                  </a:solidFill>
                  <a:effectLst/>
                  <a:uLnTx/>
                  <a:uFillTx/>
                  <a:latin typeface="Arial"/>
                  <a:ea typeface="+mn-ea"/>
                  <a:cs typeface="+mn-cs"/>
                </a:rPr>
                <a:t>Legend</a:t>
              </a:r>
            </a:p>
          </p:txBody>
        </p:sp>
        <p:sp>
          <p:nvSpPr>
            <p:cNvPr id="119" name="Legend3"/>
            <p:cNvSpPr>
              <a:spLocks noChangeArrowheads="1"/>
            </p:cNvSpPr>
            <p:nvPr/>
          </p:nvSpPr>
          <p:spPr bwMode="auto">
            <a:xfrm>
              <a:off x="8089905" y="820738"/>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a:ln>
                    <a:noFill/>
                  </a:ln>
                  <a:solidFill>
                    <a:srgbClr val="000000"/>
                  </a:solidFill>
                  <a:effectLst/>
                  <a:uLnTx/>
                  <a:uFillTx/>
                  <a:latin typeface="Arial"/>
                  <a:ea typeface="+mn-ea"/>
                  <a:cs typeface="+mn-cs"/>
                </a:rPr>
                <a:t>Legend</a:t>
              </a:r>
            </a:p>
          </p:txBody>
        </p:sp>
        <p:sp>
          <p:nvSpPr>
            <p:cNvPr id="120" name="Legend4"/>
            <p:cNvSpPr>
              <a:spLocks noChangeArrowheads="1"/>
            </p:cNvSpPr>
            <p:nvPr/>
          </p:nvSpPr>
          <p:spPr bwMode="auto">
            <a:xfrm>
              <a:off x="8089905" y="10922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a:ln>
                    <a:noFill/>
                  </a:ln>
                  <a:solidFill>
                    <a:srgbClr val="000000"/>
                  </a:solidFill>
                  <a:effectLst/>
                  <a:uLnTx/>
                  <a:uFillTx/>
                  <a:latin typeface="Arial"/>
                  <a:ea typeface="+mn-ea"/>
                  <a:cs typeface="+mn-cs"/>
                </a:rPr>
                <a:t>Legend</a:t>
              </a:r>
            </a:p>
          </p:txBody>
        </p:sp>
      </p:grpSp>
      <p:grpSp>
        <p:nvGrpSpPr>
          <p:cNvPr id="121" name="LegendLines" hidden="1"/>
          <p:cNvGrpSpPr/>
          <p:nvPr userDrawn="1"/>
        </p:nvGrpSpPr>
        <p:grpSpPr bwMode="auto">
          <a:xfrm>
            <a:off x="8522565" y="974730"/>
            <a:ext cx="1118561" cy="730767"/>
            <a:chOff x="7540629" y="279400"/>
            <a:chExt cx="1032518" cy="730767"/>
          </a:xfrm>
        </p:grpSpPr>
        <p:sp>
          <p:nvSpPr>
            <p:cNvPr id="122"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23"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24"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25" name="Legend1"/>
            <p:cNvSpPr>
              <a:spLocks noChangeArrowheads="1"/>
            </p:cNvSpPr>
            <p:nvPr/>
          </p:nvSpPr>
          <p:spPr bwMode="auto">
            <a:xfrm>
              <a:off x="8102604"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a:ln>
                    <a:noFill/>
                  </a:ln>
                  <a:solidFill>
                    <a:srgbClr val="000000"/>
                  </a:solidFill>
                  <a:effectLst/>
                  <a:uLnTx/>
                  <a:uFillTx/>
                  <a:latin typeface="Arial"/>
                  <a:ea typeface="+mn-ea"/>
                  <a:cs typeface="+mn-cs"/>
                </a:rPr>
                <a:t>Legend</a:t>
              </a:r>
            </a:p>
          </p:txBody>
        </p:sp>
        <p:sp>
          <p:nvSpPr>
            <p:cNvPr id="126" name="Legend2"/>
            <p:cNvSpPr>
              <a:spLocks noChangeArrowheads="1"/>
            </p:cNvSpPr>
            <p:nvPr/>
          </p:nvSpPr>
          <p:spPr bwMode="auto">
            <a:xfrm>
              <a:off x="8102604" y="5461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a:ln>
                    <a:noFill/>
                  </a:ln>
                  <a:solidFill>
                    <a:srgbClr val="000000"/>
                  </a:solidFill>
                  <a:effectLst/>
                  <a:uLnTx/>
                  <a:uFillTx/>
                  <a:latin typeface="Arial"/>
                  <a:ea typeface="+mn-ea"/>
                  <a:cs typeface="+mn-cs"/>
                </a:rPr>
                <a:t>Legend</a:t>
              </a:r>
            </a:p>
          </p:txBody>
        </p:sp>
        <p:sp>
          <p:nvSpPr>
            <p:cNvPr id="127" name="Legend3"/>
            <p:cNvSpPr>
              <a:spLocks noChangeArrowheads="1"/>
            </p:cNvSpPr>
            <p:nvPr/>
          </p:nvSpPr>
          <p:spPr bwMode="auto">
            <a:xfrm>
              <a:off x="8102604" y="8255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a:ln>
                    <a:noFill/>
                  </a:ln>
                  <a:solidFill>
                    <a:srgbClr val="000000"/>
                  </a:solidFill>
                  <a:effectLst/>
                  <a:uLnTx/>
                  <a:uFillTx/>
                  <a:latin typeface="Arial"/>
                  <a:ea typeface="+mn-ea"/>
                  <a:cs typeface="+mn-cs"/>
                </a:rPr>
                <a:t>Legend</a:t>
              </a:r>
            </a:p>
          </p:txBody>
        </p:sp>
      </p:grpSp>
      <p:grpSp>
        <p:nvGrpSpPr>
          <p:cNvPr id="128" name="LegendMoons" hidden="1"/>
          <p:cNvGrpSpPr/>
          <p:nvPr userDrawn="1"/>
        </p:nvGrpSpPr>
        <p:grpSpPr bwMode="auto">
          <a:xfrm>
            <a:off x="8783790" y="946154"/>
            <a:ext cx="857153" cy="1306516"/>
            <a:chOff x="7769225" y="250825"/>
            <a:chExt cx="791218" cy="1306516"/>
          </a:xfrm>
        </p:grpSpPr>
        <p:grpSp>
          <p:nvGrpSpPr>
            <p:cNvPr id="129" name="MoonLegend1"/>
            <p:cNvGrpSpPr>
              <a:grpSpLocks noChangeAspect="1"/>
            </p:cNvGrpSpPr>
            <p:nvPr>
              <p:custDataLst>
                <p:tags r:id="rId12"/>
              </p:custDataLst>
            </p:nvPr>
          </p:nvGrpSpPr>
          <p:grpSpPr bwMode="auto">
            <a:xfrm>
              <a:off x="7769225" y="250825"/>
              <a:ext cx="209550" cy="209551"/>
              <a:chOff x="4533" y="183"/>
              <a:chExt cx="144" cy="144"/>
            </a:xfrm>
          </p:grpSpPr>
          <p:sp>
            <p:nvSpPr>
              <p:cNvPr id="147" name="Oval 38"/>
              <p:cNvSpPr>
                <a:spLocks noChangeAspect="1" noChangeArrowheads="1"/>
              </p:cNvSpPr>
              <p:nvPr>
                <p:custDataLst>
                  <p:tags r:id="rId25"/>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48" name="Arc 39"/>
              <p:cNvSpPr>
                <a:spLocks noChangeAspect="1"/>
              </p:cNvSpPr>
              <p:nvPr>
                <p:custDataLst>
                  <p:tags r:id="rId26"/>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30" name="MoonLegend2"/>
            <p:cNvGrpSpPr>
              <a:grpSpLocks noChangeAspect="1"/>
            </p:cNvGrpSpPr>
            <p:nvPr>
              <p:custDataLst>
                <p:tags r:id="rId13"/>
              </p:custDataLst>
            </p:nvPr>
          </p:nvGrpSpPr>
          <p:grpSpPr bwMode="auto">
            <a:xfrm>
              <a:off x="7769225" y="525066"/>
              <a:ext cx="209550" cy="209551"/>
              <a:chOff x="1694" y="2044"/>
              <a:chExt cx="160" cy="160"/>
            </a:xfrm>
          </p:grpSpPr>
          <p:sp>
            <p:nvSpPr>
              <p:cNvPr id="145" name="Oval 41"/>
              <p:cNvSpPr>
                <a:spLocks noChangeAspect="1" noChangeArrowheads="1"/>
              </p:cNvSpPr>
              <p:nvPr>
                <p:custDataLst>
                  <p:tags r:id="rId2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46" name="Arc 42"/>
              <p:cNvSpPr>
                <a:spLocks noChangeAspect="1"/>
              </p:cNvSpPr>
              <p:nvPr>
                <p:custDataLst>
                  <p:tags r:id="rId24"/>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31" name="MoonLegend4"/>
            <p:cNvGrpSpPr>
              <a:grpSpLocks noChangeAspect="1"/>
            </p:cNvGrpSpPr>
            <p:nvPr>
              <p:custDataLst>
                <p:tags r:id="rId14"/>
              </p:custDataLst>
            </p:nvPr>
          </p:nvGrpSpPr>
          <p:grpSpPr bwMode="auto">
            <a:xfrm>
              <a:off x="7769225" y="1073548"/>
              <a:ext cx="209550" cy="209551"/>
              <a:chOff x="4495" y="1198"/>
              <a:chExt cx="160" cy="160"/>
            </a:xfrm>
          </p:grpSpPr>
          <p:sp>
            <p:nvSpPr>
              <p:cNvPr id="143" name="Oval 47"/>
              <p:cNvSpPr>
                <a:spLocks noChangeAspect="1" noChangeArrowheads="1"/>
              </p:cNvSpPr>
              <p:nvPr>
                <p:custDataLst>
                  <p:tags r:id="rId2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44" name="Arc 48"/>
              <p:cNvSpPr>
                <a:spLocks noChangeAspect="1"/>
              </p:cNvSpPr>
              <p:nvPr>
                <p:custDataLst>
                  <p:tags r:id="rId22"/>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32" name="MoonLegend5"/>
            <p:cNvGrpSpPr>
              <a:grpSpLocks noChangeAspect="1"/>
            </p:cNvGrpSpPr>
            <p:nvPr>
              <p:custDataLst>
                <p:tags r:id="rId15"/>
              </p:custDataLst>
            </p:nvPr>
          </p:nvGrpSpPr>
          <p:grpSpPr bwMode="auto">
            <a:xfrm>
              <a:off x="7769225" y="1347790"/>
              <a:ext cx="209550" cy="209551"/>
              <a:chOff x="4495" y="1440"/>
              <a:chExt cx="160" cy="160"/>
            </a:xfrm>
          </p:grpSpPr>
          <p:sp>
            <p:nvSpPr>
              <p:cNvPr id="141" name="Oval 50"/>
              <p:cNvSpPr>
                <a:spLocks noChangeAspect="1" noChangeArrowheads="1"/>
              </p:cNvSpPr>
              <p:nvPr>
                <p:custDataLst>
                  <p:tags r:id="rId19"/>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42" name="Oval 51"/>
              <p:cNvSpPr>
                <a:spLocks noChangeAspect="1" noChangeArrowheads="1"/>
              </p:cNvSpPr>
              <p:nvPr>
                <p:custDataLst>
                  <p:tags r:id="rId20"/>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33" name="MoonLegend3"/>
            <p:cNvGrpSpPr>
              <a:grpSpLocks noChangeAspect="1"/>
            </p:cNvGrpSpPr>
            <p:nvPr>
              <p:custDataLst>
                <p:tags r:id="rId16"/>
              </p:custDataLst>
            </p:nvPr>
          </p:nvGrpSpPr>
          <p:grpSpPr bwMode="auto">
            <a:xfrm>
              <a:off x="7769225" y="799307"/>
              <a:ext cx="209550" cy="209551"/>
              <a:chOff x="4495" y="1198"/>
              <a:chExt cx="160" cy="160"/>
            </a:xfrm>
          </p:grpSpPr>
          <p:sp>
            <p:nvSpPr>
              <p:cNvPr id="139"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40" name="Arc 48"/>
              <p:cNvSpPr>
                <a:spLocks noChangeAspect="1"/>
              </p:cNvSpPr>
              <p:nvPr>
                <p:custDataLst>
                  <p:tags r:id="rId18"/>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134" name="Legend1"/>
            <p:cNvSpPr>
              <a:spLocks noChangeArrowheads="1"/>
            </p:cNvSpPr>
            <p:nvPr/>
          </p:nvSpPr>
          <p:spPr bwMode="auto">
            <a:xfrm>
              <a:off x="8089900" y="26352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a:ln>
                    <a:noFill/>
                  </a:ln>
                  <a:solidFill>
                    <a:srgbClr val="000000"/>
                  </a:solidFill>
                  <a:effectLst/>
                  <a:uLnTx/>
                  <a:uFillTx/>
                  <a:latin typeface="Arial"/>
                  <a:ea typeface="+mn-ea"/>
                  <a:cs typeface="+mn-cs"/>
                </a:rPr>
                <a:t>Legend</a:t>
              </a:r>
            </a:p>
          </p:txBody>
        </p:sp>
        <p:sp>
          <p:nvSpPr>
            <p:cNvPr id="135" name="Legend2"/>
            <p:cNvSpPr>
              <a:spLocks noChangeArrowheads="1"/>
            </p:cNvSpPr>
            <p:nvPr/>
          </p:nvSpPr>
          <p:spPr bwMode="auto">
            <a:xfrm>
              <a:off x="8089900" y="538163"/>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a:ln>
                    <a:noFill/>
                  </a:ln>
                  <a:solidFill>
                    <a:srgbClr val="000000"/>
                  </a:solidFill>
                  <a:effectLst/>
                  <a:uLnTx/>
                  <a:uFillTx/>
                  <a:latin typeface="Arial"/>
                  <a:ea typeface="+mn-ea"/>
                  <a:cs typeface="+mn-cs"/>
                </a:rPr>
                <a:t>Legend</a:t>
              </a:r>
            </a:p>
          </p:txBody>
        </p:sp>
        <p:sp>
          <p:nvSpPr>
            <p:cNvPr id="136" name="Legend3"/>
            <p:cNvSpPr>
              <a:spLocks noChangeArrowheads="1"/>
            </p:cNvSpPr>
            <p:nvPr/>
          </p:nvSpPr>
          <p:spPr bwMode="auto">
            <a:xfrm>
              <a:off x="8089900" y="812802"/>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a:ln>
                    <a:noFill/>
                  </a:ln>
                  <a:solidFill>
                    <a:srgbClr val="000000"/>
                  </a:solidFill>
                  <a:effectLst/>
                  <a:uLnTx/>
                  <a:uFillTx/>
                  <a:latin typeface="Arial"/>
                  <a:ea typeface="+mn-ea"/>
                  <a:cs typeface="+mn-cs"/>
                </a:rPr>
                <a:t>Legend</a:t>
              </a:r>
            </a:p>
          </p:txBody>
        </p:sp>
        <p:sp>
          <p:nvSpPr>
            <p:cNvPr id="137" name="Legend4"/>
            <p:cNvSpPr>
              <a:spLocks noChangeArrowheads="1"/>
            </p:cNvSpPr>
            <p:nvPr/>
          </p:nvSpPr>
          <p:spPr bwMode="auto">
            <a:xfrm>
              <a:off x="8089900" y="108426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a:ln>
                    <a:noFill/>
                  </a:ln>
                  <a:solidFill>
                    <a:srgbClr val="000000"/>
                  </a:solidFill>
                  <a:effectLst/>
                  <a:uLnTx/>
                  <a:uFillTx/>
                  <a:latin typeface="Arial"/>
                  <a:ea typeface="+mn-ea"/>
                  <a:cs typeface="+mn-cs"/>
                </a:rPr>
                <a:t>Legend</a:t>
              </a:r>
            </a:p>
          </p:txBody>
        </p:sp>
        <p:sp>
          <p:nvSpPr>
            <p:cNvPr id="138" name="Legend5"/>
            <p:cNvSpPr>
              <a:spLocks noChangeArrowheads="1"/>
            </p:cNvSpPr>
            <p:nvPr/>
          </p:nvSpPr>
          <p:spPr bwMode="auto">
            <a:xfrm>
              <a:off x="8089900" y="136049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a:ln>
                    <a:noFill/>
                  </a:ln>
                  <a:solidFill>
                    <a:srgbClr val="000000"/>
                  </a:solidFill>
                  <a:effectLst/>
                  <a:uLnTx/>
                  <a:uFillTx/>
                  <a:latin typeface="Arial"/>
                  <a:ea typeface="+mn-ea"/>
                  <a:cs typeface="+mn-cs"/>
                </a:rPr>
                <a:t>Legend</a:t>
              </a:r>
            </a:p>
          </p:txBody>
        </p:sp>
      </p:grpSp>
    </p:spTree>
    <p:extLst>
      <p:ext uri="{BB962C8B-B14F-4D97-AF65-F5344CB8AC3E}">
        <p14:creationId xmlns:p14="http://schemas.microsoft.com/office/powerpoint/2010/main" val="2184100290"/>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801" r:id="rId7"/>
  </p:sldLayoutIdLst>
  <p:hf hdr="0" ftr="0" dt="0"/>
  <p:txStyles>
    <p:titleStyle>
      <a:lvl1pPr algn="l" defTabSz="913429" rtl="0" eaLnBrk="1" fontAlgn="base" hangingPunct="1">
        <a:spcBef>
          <a:spcPct val="0"/>
        </a:spcBef>
        <a:spcAft>
          <a:spcPct val="0"/>
        </a:spcAft>
        <a:tabLst>
          <a:tab pos="275324" algn="l"/>
        </a:tabLst>
        <a:defRPr sz="1900" b="1" baseline="0">
          <a:solidFill>
            <a:schemeClr val="tx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nvPr>
        </p:nvGraphicFramePr>
        <p:xfrm>
          <a:off x="0" y="0"/>
          <a:ext cx="175483" cy="161974"/>
        </p:xfrm>
        <a:graphic>
          <a:graphicData uri="http://schemas.openxmlformats.org/presentationml/2006/ole">
            <mc:AlternateContent xmlns:mc="http://schemas.openxmlformats.org/markup-compatibility/2006">
              <mc:Choice xmlns:v="urn:schemas-microsoft-com:vml" Requires="v">
                <p:oleObj spid="_x0000_s142548" name="think-cell Slide" r:id="rId25" imgW="270" imgH="270" progId="TCLayout.ActiveDocument.1">
                  <p:embed/>
                </p:oleObj>
              </mc:Choice>
              <mc:Fallback>
                <p:oleObj name="think-cell Slide" r:id="rId25" imgW="270" imgH="270" progId="TCLayout.ActiveDocument.1">
                  <p:embed/>
                  <p:pic>
                    <p:nvPicPr>
                      <p:cNvPr id="2" name="Object 1" hidden="1"/>
                      <p:cNvPicPr/>
                      <p:nvPr/>
                    </p:nvPicPr>
                    <p:blipFill>
                      <a:blip r:embed="rId26"/>
                      <a:stretch>
                        <a:fillRect/>
                      </a:stretch>
                    </p:blipFill>
                    <p:spPr>
                      <a:xfrm>
                        <a:off x="0" y="0"/>
                        <a:ext cx="175483" cy="161974"/>
                      </a:xfrm>
                      <a:prstGeom prst="rect">
                        <a:avLst/>
                      </a:prstGeom>
                    </p:spPr>
                  </p:pic>
                </p:oleObj>
              </mc:Fallback>
            </mc:AlternateContent>
          </a:graphicData>
        </a:graphic>
      </p:graphicFrame>
      <p:pic>
        <p:nvPicPr>
          <p:cNvPr id="59" name="Picture 58"/>
          <p:cNvPicPr>
            <a:picLocks/>
          </p:cNvPicPr>
          <p:nvPr userDrawn="1"/>
        </p:nvPicPr>
        <p:blipFill>
          <a:blip r:embed="rId27" cstate="print"/>
          <a:stretch>
            <a:fillRect/>
          </a:stretch>
        </p:blipFill>
        <p:spPr bwMode="auto">
          <a:xfrm>
            <a:off x="189523" y="681010"/>
            <a:ext cx="8065476" cy="50511"/>
          </a:xfrm>
          <a:prstGeom prst="rect">
            <a:avLst/>
          </a:prstGeom>
        </p:spPr>
      </p:pic>
      <p:pic>
        <p:nvPicPr>
          <p:cNvPr id="60" name="Picture 59" descr="AGRALogo.png"/>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bwMode="ltGray">
          <a:xfrm>
            <a:off x="8329296" y="388621"/>
            <a:ext cx="1354131" cy="530864"/>
          </a:xfrm>
          <a:prstGeom prst="rect">
            <a:avLst/>
          </a:prstGeom>
        </p:spPr>
      </p:pic>
      <p:sp>
        <p:nvSpPr>
          <p:cNvPr id="1033" name="doc id"/>
          <p:cNvSpPr>
            <a:spLocks noChangeArrowheads="1"/>
          </p:cNvSpPr>
          <p:nvPr/>
        </p:nvSpPr>
        <p:spPr bwMode="auto">
          <a:xfrm>
            <a:off x="8933827" y="37255"/>
            <a:ext cx="726499"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marL="0" marR="0" lvl="0" indent="0" algn="r" defTabSz="913429"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36" name="Rectangle 286"/>
          <p:cNvSpPr>
            <a:spLocks noGrp="1" noChangeArrowheads="1"/>
          </p:cNvSpPr>
          <p:nvPr>
            <p:ph type="body" idx="1"/>
          </p:nvPr>
        </p:nvSpPr>
        <p:spPr bwMode="auto">
          <a:xfrm>
            <a:off x="1878084" y="2508985"/>
            <a:ext cx="4755582"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auto">
          <a:xfrm>
            <a:off x="247650" y="388621"/>
            <a:ext cx="8007350"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1. On-page tracker" hidden="1"/>
          <p:cNvSpPr>
            <a:spLocks noChangeArrowheads="1"/>
          </p:cNvSpPr>
          <p:nvPr/>
        </p:nvSpPr>
        <p:spPr bwMode="auto">
          <a:xfrm>
            <a:off x="247651" y="8087"/>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808080"/>
                </a:solidFill>
                <a:effectLst/>
                <a:uLnTx/>
                <a:uFillTx/>
                <a:latin typeface="Arial"/>
                <a:ea typeface="+mn-ea"/>
                <a:cs typeface="+mn-cs"/>
              </a:rPr>
              <a:t>TRACKER</a:t>
            </a:r>
          </a:p>
        </p:txBody>
      </p:sp>
      <p:sp>
        <p:nvSpPr>
          <p:cNvPr id="11" name="3. Unit of measure" hidden="1"/>
          <p:cNvSpPr txBox="1">
            <a:spLocks noChangeArrowheads="1"/>
          </p:cNvSpPr>
          <p:nvPr/>
        </p:nvSpPr>
        <p:spPr bwMode="auto">
          <a:xfrm>
            <a:off x="247650" y="749678"/>
            <a:ext cx="800735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0" marR="0" lvl="0" indent="0" algn="l" defTabSz="89535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smtClean="0">
                <a:ln>
                  <a:noFill/>
                </a:ln>
                <a:solidFill>
                  <a:srgbClr val="808080"/>
                </a:solidFill>
                <a:effectLst/>
                <a:uLnTx/>
                <a:uFillTx/>
                <a:latin typeface="Arial"/>
                <a:ea typeface="+mn-ea"/>
                <a:cs typeface="+mn-cs"/>
              </a:rPr>
              <a:t>Unit of measure</a:t>
            </a:r>
          </a:p>
        </p:txBody>
      </p:sp>
      <p:grpSp>
        <p:nvGrpSpPr>
          <p:cNvPr id="15" name="ACET" hidden="1"/>
          <p:cNvGrpSpPr>
            <a:grpSpLocks/>
          </p:cNvGrpSpPr>
          <p:nvPr/>
        </p:nvGrpSpPr>
        <p:grpSpPr bwMode="auto">
          <a:xfrm>
            <a:off x="1878084" y="1915010"/>
            <a:ext cx="4713466"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Title</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808080"/>
                  </a:solidFill>
                  <a:effectLst/>
                  <a:uLnTx/>
                  <a:uFillTx/>
                  <a:latin typeface="Arial"/>
                  <a:ea typeface="+mn-ea"/>
                  <a:cs typeface="+mn-cs"/>
                </a:rPr>
                <a:t>Unit of measure</a:t>
              </a:r>
            </a:p>
          </p:txBody>
        </p:sp>
      </p:grpSp>
      <p:sp>
        <p:nvSpPr>
          <p:cNvPr id="104" name="Slide Number"/>
          <p:cNvSpPr txBox="1">
            <a:spLocks/>
          </p:cNvSpPr>
          <p:nvPr userDrawn="1"/>
        </p:nvSpPr>
        <p:spPr bwMode="auto">
          <a:xfrm>
            <a:off x="9558392" y="6643599"/>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42C328C1-A84F-4A39-A664-DBA00541A8C6}"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05" name="Slide Elements" hidden="1"/>
          <p:cNvGrpSpPr/>
          <p:nvPr userDrawn="1"/>
        </p:nvGrpSpPr>
        <p:grpSpPr bwMode="auto">
          <a:xfrm>
            <a:off x="247651" y="6441985"/>
            <a:ext cx="9336748" cy="324724"/>
            <a:chOff x="119063" y="6306659"/>
            <a:chExt cx="8618537" cy="324724"/>
          </a:xfrm>
        </p:grpSpPr>
        <p:sp>
          <p:nvSpPr>
            <p:cNvPr id="106" name="4. Footnote"/>
            <p:cNvSpPr txBox="1">
              <a:spLocks noChangeArrowheads="1"/>
            </p:cNvSpPr>
            <p:nvPr/>
          </p:nvSpPr>
          <p:spPr bwMode="auto">
            <a:xfrm>
              <a:off x="119063" y="6306659"/>
              <a:ext cx="861853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marR="0" lvl="0" indent="-85725" algn="l" defTabSz="895350" rtl="0" eaLnBrk="1" fontAlgn="base" latinLnBrk="0" hangingPunct="1">
                <a:lnSpc>
                  <a:spcPct val="100000"/>
                </a:lnSpc>
                <a:spcBef>
                  <a:spcPct val="0"/>
                </a:spcBef>
                <a:spcAft>
                  <a:spcPct val="0"/>
                </a:spcAft>
                <a:buClrTx/>
                <a:buSzTx/>
                <a:buFontTx/>
                <a:buNone/>
                <a:tabLst/>
                <a:defRPr lang="x-none"/>
              </a:pPr>
              <a:r>
                <a:rPr kumimoji="0" lang="x-none" sz="800" b="0" i="0" u="none" strike="noStrike" kern="1200" cap="none" spc="0" normalizeH="0" baseline="0" noProof="0" dirty="0" smtClean="0">
                  <a:ln>
                    <a:noFill/>
                  </a:ln>
                  <a:solidFill>
                    <a:srgbClr val="000000"/>
                  </a:solidFill>
                  <a:effectLst/>
                  <a:uLnTx/>
                  <a:uFillTx/>
                  <a:latin typeface="Arial"/>
                  <a:ea typeface="+mn-ea"/>
                  <a:cs typeface="+mn-cs"/>
                </a:rPr>
                <a:t>1 Footnote</a:t>
              </a:r>
            </a:p>
          </p:txBody>
        </p:sp>
        <p:sp>
          <p:nvSpPr>
            <p:cNvPr id="107" name="5. Source"/>
            <p:cNvSpPr>
              <a:spLocks noChangeArrowheads="1"/>
            </p:cNvSpPr>
            <p:nvPr/>
          </p:nvSpPr>
          <p:spPr bwMode="auto">
            <a:xfrm>
              <a:off x="119063" y="6508272"/>
              <a:ext cx="794619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19113" marR="0" lvl="0" indent="-519113" algn="l" defTabSz="895350" rtl="0" eaLnBrk="1" fontAlgn="base" latinLnBrk="0" hangingPunct="1">
                <a:lnSpc>
                  <a:spcPct val="100000"/>
                </a:lnSpc>
                <a:spcBef>
                  <a:spcPct val="0"/>
                </a:spcBef>
                <a:spcAft>
                  <a:spcPct val="0"/>
                </a:spcAft>
                <a:buClrTx/>
                <a:buSzTx/>
                <a:buFontTx/>
                <a:buNone/>
                <a:tabLst>
                  <a:tab pos="612775" algn="l"/>
                </a:tabLst>
                <a:defRPr/>
              </a:pPr>
              <a:r>
                <a:rPr kumimoji="0" lang="x-none" sz="800" b="0" i="0" u="none" strike="noStrike" kern="1200" cap="none" spc="0" normalizeH="0" baseline="0" noProof="0" dirty="0">
                  <a:ln>
                    <a:noFill/>
                  </a:ln>
                  <a:solidFill>
                    <a:srgbClr val="000000"/>
                  </a:solidFill>
                  <a:effectLst/>
                  <a:uLnTx/>
                  <a:uFillTx/>
                  <a:latin typeface="Arial"/>
                  <a:ea typeface="+mn-ea"/>
                  <a:cs typeface="+mn-cs"/>
                </a:rPr>
                <a:t>SOURCE : </a:t>
              </a:r>
              <a:r>
                <a:rPr kumimoji="0" lang="x-none" sz="800" b="0" i="0" u="none" strike="noStrike" kern="1200" cap="none" spc="0" normalizeH="0" baseline="0" noProof="0" dirty="0" smtClean="0">
                  <a:ln>
                    <a:noFill/>
                  </a:ln>
                  <a:solidFill>
                    <a:srgbClr val="000000"/>
                  </a:solidFill>
                  <a:effectLst/>
                  <a:uLnTx/>
                  <a:uFillTx/>
                  <a:latin typeface="Arial"/>
                  <a:ea typeface="+mn-ea"/>
                  <a:cs typeface="+mn-cs"/>
                </a:rPr>
                <a:t>Source</a:t>
              </a:r>
              <a:endParaRPr kumimoji="0" lang="en-US" sz="800" b="0" i="0" u="none" strike="noStrike" kern="1200" cap="none" spc="0" normalizeH="0" baseline="0" noProof="0" dirty="0" smtClean="0">
                <a:ln>
                  <a:noFill/>
                </a:ln>
                <a:solidFill>
                  <a:srgbClr val="000000"/>
                </a:solidFill>
                <a:effectLst/>
                <a:uLnTx/>
                <a:uFillTx/>
                <a:latin typeface="Arial"/>
                <a:ea typeface="+mn-ea"/>
                <a:cs typeface="+mn-cs"/>
              </a:endParaRPr>
            </a:p>
          </p:txBody>
        </p:sp>
      </p:grpSp>
      <p:grpSp>
        <p:nvGrpSpPr>
          <p:cNvPr id="108" name="McKSticker" hidden="1"/>
          <p:cNvGrpSpPr/>
          <p:nvPr userDrawn="1"/>
        </p:nvGrpSpPr>
        <p:grpSpPr bwMode="auto">
          <a:xfrm>
            <a:off x="9170647" y="981080"/>
            <a:ext cx="512780" cy="150811"/>
            <a:chOff x="8267440" y="285750"/>
            <a:chExt cx="473335" cy="150811"/>
          </a:xfrm>
        </p:grpSpPr>
        <p:sp>
          <p:nvSpPr>
            <p:cNvPr id="109" name="StickerRectangle"/>
            <p:cNvSpPr>
              <a:spLocks noChangeArrowheads="1"/>
            </p:cNvSpPr>
            <p:nvPr/>
          </p:nvSpPr>
          <p:spPr bwMode="auto">
            <a:xfrm>
              <a:off x="8303851" y="285750"/>
              <a:ext cx="436924"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marL="0" marR="0" lvl="0" indent="0" algn="r" defTabSz="895350" rtl="0" eaLnBrk="1" fontAlgn="base" latinLnBrk="0" hangingPunct="1">
                <a:lnSpc>
                  <a:spcPct val="100000"/>
                </a:lnSpc>
                <a:spcBef>
                  <a:spcPct val="0"/>
                </a:spcBef>
                <a:spcAft>
                  <a:spcPct val="0"/>
                </a:spcAft>
                <a:buClr>
                  <a:srgbClr val="002960"/>
                </a:buClr>
                <a:buSzTx/>
                <a:buFontTx/>
                <a:buNone/>
                <a:tabLst/>
                <a:defRPr/>
              </a:pPr>
              <a:r>
                <a:rPr kumimoji="0" lang="x-none" sz="800" b="0" i="0" u="none" strike="noStrike" kern="1200" cap="none" spc="0" normalizeH="0" baseline="0" noProof="0" dirty="0" smtClean="0">
                  <a:ln>
                    <a:noFill/>
                  </a:ln>
                  <a:solidFill>
                    <a:srgbClr val="808080"/>
                  </a:solidFill>
                  <a:effectLst/>
                  <a:uLnTx/>
                  <a:uFillTx/>
                  <a:latin typeface="Arial"/>
                  <a:ea typeface="+mn-ea"/>
                  <a:cs typeface="+mn-cs"/>
                </a:rPr>
                <a:t>STICKER</a:t>
              </a:r>
              <a:endParaRPr kumimoji="0" lang="x-none" sz="800" b="0" i="0" u="none" strike="noStrike" kern="1200" cap="none" spc="0" normalizeH="0" baseline="0" noProof="0" dirty="0">
                <a:ln>
                  <a:noFill/>
                </a:ln>
                <a:solidFill>
                  <a:srgbClr val="808080"/>
                </a:solidFill>
                <a:effectLst/>
                <a:uLnTx/>
                <a:uFillTx/>
                <a:latin typeface="Arial"/>
                <a:ea typeface="+mn-ea"/>
                <a:cs typeface="+mn-cs"/>
              </a:endParaRPr>
            </a:p>
          </p:txBody>
        </p:sp>
        <p:cxnSp>
          <p:nvCxnSpPr>
            <p:cNvPr id="110" name="AutoShape 31"/>
            <p:cNvCxnSpPr>
              <a:cxnSpLocks noChangeShapeType="1"/>
              <a:stCxn id="109" idx="2"/>
              <a:endCxn id="109" idx="4"/>
            </p:cNvCxnSpPr>
            <p:nvPr/>
          </p:nvCxnSpPr>
          <p:spPr bwMode="auto">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11" name="AutoShape 32"/>
            <p:cNvCxnSpPr>
              <a:cxnSpLocks noChangeShapeType="1"/>
              <a:stCxn id="109" idx="4"/>
              <a:endCxn id="109" idx="6"/>
            </p:cNvCxnSpPr>
            <p:nvPr/>
          </p:nvCxnSpPr>
          <p:spPr bwMode="auto">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12" name="LegendBoxes" hidden="1"/>
          <p:cNvGrpSpPr/>
          <p:nvPr userDrawn="1"/>
        </p:nvGrpSpPr>
        <p:grpSpPr bwMode="auto">
          <a:xfrm>
            <a:off x="8856021" y="974730"/>
            <a:ext cx="784921" cy="997467"/>
            <a:chOff x="7835905" y="279400"/>
            <a:chExt cx="724543" cy="997467"/>
          </a:xfrm>
        </p:grpSpPr>
        <p:sp>
          <p:nvSpPr>
            <p:cNvPr id="113"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4"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5"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6"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7" name="Legend1"/>
            <p:cNvSpPr>
              <a:spLocks noChangeArrowheads="1"/>
            </p:cNvSpPr>
            <p:nvPr/>
          </p:nvSpPr>
          <p:spPr bwMode="auto">
            <a:xfrm>
              <a:off x="8089905"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18" name="Legend2"/>
            <p:cNvSpPr>
              <a:spLocks noChangeArrowheads="1"/>
            </p:cNvSpPr>
            <p:nvPr/>
          </p:nvSpPr>
          <p:spPr bwMode="auto">
            <a:xfrm>
              <a:off x="8089905" y="54927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19" name="Legend3"/>
            <p:cNvSpPr>
              <a:spLocks noChangeArrowheads="1"/>
            </p:cNvSpPr>
            <p:nvPr/>
          </p:nvSpPr>
          <p:spPr bwMode="auto">
            <a:xfrm>
              <a:off x="8089905" y="820738"/>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a:ln>
                    <a:noFill/>
                  </a:ln>
                  <a:solidFill>
                    <a:srgbClr val="000000"/>
                  </a:solidFill>
                  <a:effectLst/>
                  <a:uLnTx/>
                  <a:uFillTx/>
                  <a:latin typeface="Arial"/>
                  <a:ea typeface="+mn-ea"/>
                  <a:cs typeface="+mn-cs"/>
                </a:rPr>
                <a:t>Legend</a:t>
              </a:r>
            </a:p>
          </p:txBody>
        </p:sp>
        <p:sp>
          <p:nvSpPr>
            <p:cNvPr id="120" name="Legend4"/>
            <p:cNvSpPr>
              <a:spLocks noChangeArrowheads="1"/>
            </p:cNvSpPr>
            <p:nvPr/>
          </p:nvSpPr>
          <p:spPr bwMode="auto">
            <a:xfrm>
              <a:off x="8089905" y="10922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a:ln>
                    <a:noFill/>
                  </a:ln>
                  <a:solidFill>
                    <a:srgbClr val="000000"/>
                  </a:solidFill>
                  <a:effectLst/>
                  <a:uLnTx/>
                  <a:uFillTx/>
                  <a:latin typeface="Arial"/>
                  <a:ea typeface="+mn-ea"/>
                  <a:cs typeface="+mn-cs"/>
                </a:rPr>
                <a:t>Legend</a:t>
              </a:r>
            </a:p>
          </p:txBody>
        </p:sp>
      </p:grpSp>
      <p:grpSp>
        <p:nvGrpSpPr>
          <p:cNvPr id="121" name="LegendLines" hidden="1"/>
          <p:cNvGrpSpPr/>
          <p:nvPr userDrawn="1"/>
        </p:nvGrpSpPr>
        <p:grpSpPr bwMode="auto">
          <a:xfrm>
            <a:off x="8522565" y="974730"/>
            <a:ext cx="1118561" cy="730767"/>
            <a:chOff x="7540629" y="279400"/>
            <a:chExt cx="1032518" cy="730767"/>
          </a:xfrm>
        </p:grpSpPr>
        <p:sp>
          <p:nvSpPr>
            <p:cNvPr id="122"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23"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24"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25" name="Legend1"/>
            <p:cNvSpPr>
              <a:spLocks noChangeArrowheads="1"/>
            </p:cNvSpPr>
            <p:nvPr/>
          </p:nvSpPr>
          <p:spPr bwMode="auto">
            <a:xfrm>
              <a:off x="8102604"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26" name="Legend2"/>
            <p:cNvSpPr>
              <a:spLocks noChangeArrowheads="1"/>
            </p:cNvSpPr>
            <p:nvPr/>
          </p:nvSpPr>
          <p:spPr bwMode="auto">
            <a:xfrm>
              <a:off x="8102604" y="5461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27" name="Legend3"/>
            <p:cNvSpPr>
              <a:spLocks noChangeArrowheads="1"/>
            </p:cNvSpPr>
            <p:nvPr/>
          </p:nvSpPr>
          <p:spPr bwMode="auto">
            <a:xfrm>
              <a:off x="8102604" y="8255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28" name="LegendMoons" hidden="1"/>
          <p:cNvGrpSpPr/>
          <p:nvPr userDrawn="1"/>
        </p:nvGrpSpPr>
        <p:grpSpPr bwMode="auto">
          <a:xfrm>
            <a:off x="8783790" y="946154"/>
            <a:ext cx="857153" cy="1306516"/>
            <a:chOff x="7769225" y="250825"/>
            <a:chExt cx="791218" cy="1306516"/>
          </a:xfrm>
        </p:grpSpPr>
        <p:grpSp>
          <p:nvGrpSpPr>
            <p:cNvPr id="129" name="MoonLegend1"/>
            <p:cNvGrpSpPr>
              <a:grpSpLocks noChangeAspect="1"/>
            </p:cNvGrpSpPr>
            <p:nvPr>
              <p:custDataLst>
                <p:tags r:id="rId10"/>
              </p:custDataLst>
            </p:nvPr>
          </p:nvGrpSpPr>
          <p:grpSpPr bwMode="auto">
            <a:xfrm>
              <a:off x="7769225" y="250825"/>
              <a:ext cx="209550" cy="209551"/>
              <a:chOff x="4533" y="183"/>
              <a:chExt cx="144" cy="144"/>
            </a:xfrm>
          </p:grpSpPr>
          <p:sp>
            <p:nvSpPr>
              <p:cNvPr id="147" name="Oval 38"/>
              <p:cNvSpPr>
                <a:spLocks noChangeAspect="1" noChangeArrowheads="1"/>
              </p:cNvSpPr>
              <p:nvPr>
                <p:custDataLst>
                  <p:tags r:id="rId23"/>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48" name="Arc 39"/>
              <p:cNvSpPr>
                <a:spLocks noChangeAspect="1"/>
              </p:cNvSpPr>
              <p:nvPr>
                <p:custDataLst>
                  <p:tags r:id="rId24"/>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30" name="MoonLegend2"/>
            <p:cNvGrpSpPr>
              <a:grpSpLocks noChangeAspect="1"/>
            </p:cNvGrpSpPr>
            <p:nvPr>
              <p:custDataLst>
                <p:tags r:id="rId11"/>
              </p:custDataLst>
            </p:nvPr>
          </p:nvGrpSpPr>
          <p:grpSpPr bwMode="auto">
            <a:xfrm>
              <a:off x="7769225" y="525066"/>
              <a:ext cx="209550" cy="209551"/>
              <a:chOff x="1694" y="2044"/>
              <a:chExt cx="160" cy="160"/>
            </a:xfrm>
          </p:grpSpPr>
          <p:sp>
            <p:nvSpPr>
              <p:cNvPr id="145"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46" name="Arc 42"/>
              <p:cNvSpPr>
                <a:spLocks noChangeAspect="1"/>
              </p:cNvSpPr>
              <p:nvPr>
                <p:custDataLst>
                  <p:tags r:id="rId22"/>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31" name="MoonLegend4"/>
            <p:cNvGrpSpPr>
              <a:grpSpLocks noChangeAspect="1"/>
            </p:cNvGrpSpPr>
            <p:nvPr>
              <p:custDataLst>
                <p:tags r:id="rId12"/>
              </p:custDataLst>
            </p:nvPr>
          </p:nvGrpSpPr>
          <p:grpSpPr bwMode="auto">
            <a:xfrm>
              <a:off x="7769225" y="1073548"/>
              <a:ext cx="209550" cy="209551"/>
              <a:chOff x="4495" y="1198"/>
              <a:chExt cx="160" cy="160"/>
            </a:xfrm>
          </p:grpSpPr>
          <p:sp>
            <p:nvSpPr>
              <p:cNvPr id="143" name="Oval 47"/>
              <p:cNvSpPr>
                <a:spLocks noChangeAspect="1" noChangeArrowheads="1"/>
              </p:cNvSpPr>
              <p:nvPr>
                <p:custDataLst>
                  <p:tags r:id="rId1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44" name="Arc 48"/>
              <p:cNvSpPr>
                <a:spLocks noChangeAspect="1"/>
              </p:cNvSpPr>
              <p:nvPr>
                <p:custDataLst>
                  <p:tags r:id="rId20"/>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32" name="MoonLegend5"/>
            <p:cNvGrpSpPr>
              <a:grpSpLocks noChangeAspect="1"/>
            </p:cNvGrpSpPr>
            <p:nvPr>
              <p:custDataLst>
                <p:tags r:id="rId13"/>
              </p:custDataLst>
            </p:nvPr>
          </p:nvGrpSpPr>
          <p:grpSpPr bwMode="auto">
            <a:xfrm>
              <a:off x="7769225" y="1347790"/>
              <a:ext cx="209550" cy="209551"/>
              <a:chOff x="4495" y="1440"/>
              <a:chExt cx="160" cy="160"/>
            </a:xfrm>
          </p:grpSpPr>
          <p:sp>
            <p:nvSpPr>
              <p:cNvPr id="141" name="Oval 50"/>
              <p:cNvSpPr>
                <a:spLocks noChangeAspect="1" noChangeArrowheads="1"/>
              </p:cNvSpPr>
              <p:nvPr>
                <p:custDataLst>
                  <p:tags r:id="rId17"/>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42" name="Oval 51"/>
              <p:cNvSpPr>
                <a:spLocks noChangeAspect="1" noChangeArrowheads="1"/>
              </p:cNvSpPr>
              <p:nvPr>
                <p:custDataLst>
                  <p:tags r:id="rId18"/>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33" name="MoonLegend3"/>
            <p:cNvGrpSpPr>
              <a:grpSpLocks noChangeAspect="1"/>
            </p:cNvGrpSpPr>
            <p:nvPr>
              <p:custDataLst>
                <p:tags r:id="rId14"/>
              </p:custDataLst>
            </p:nvPr>
          </p:nvGrpSpPr>
          <p:grpSpPr bwMode="auto">
            <a:xfrm>
              <a:off x="7769225" y="799307"/>
              <a:ext cx="209550" cy="209551"/>
              <a:chOff x="4495" y="1198"/>
              <a:chExt cx="160" cy="160"/>
            </a:xfrm>
          </p:grpSpPr>
          <p:sp>
            <p:nvSpPr>
              <p:cNvPr id="139"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40" name="Arc 48"/>
              <p:cNvSpPr>
                <a:spLocks noChangeAspect="1"/>
              </p:cNvSpPr>
              <p:nvPr>
                <p:custDataLst>
                  <p:tags r:id="rId16"/>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134" name="Legend1"/>
            <p:cNvSpPr>
              <a:spLocks noChangeArrowheads="1"/>
            </p:cNvSpPr>
            <p:nvPr/>
          </p:nvSpPr>
          <p:spPr bwMode="auto">
            <a:xfrm>
              <a:off x="8089900" y="26352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5" name="Legend2"/>
            <p:cNvSpPr>
              <a:spLocks noChangeArrowheads="1"/>
            </p:cNvSpPr>
            <p:nvPr/>
          </p:nvSpPr>
          <p:spPr bwMode="auto">
            <a:xfrm>
              <a:off x="8089900" y="538163"/>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6" name="Legend3"/>
            <p:cNvSpPr>
              <a:spLocks noChangeArrowheads="1"/>
            </p:cNvSpPr>
            <p:nvPr/>
          </p:nvSpPr>
          <p:spPr bwMode="auto">
            <a:xfrm>
              <a:off x="8089900" y="812802"/>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7" name="Legend4"/>
            <p:cNvSpPr>
              <a:spLocks noChangeArrowheads="1"/>
            </p:cNvSpPr>
            <p:nvPr/>
          </p:nvSpPr>
          <p:spPr bwMode="auto">
            <a:xfrm>
              <a:off x="8089900" y="108426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8" name="Legend5"/>
            <p:cNvSpPr>
              <a:spLocks noChangeArrowheads="1"/>
            </p:cNvSpPr>
            <p:nvPr/>
          </p:nvSpPr>
          <p:spPr bwMode="auto">
            <a:xfrm>
              <a:off x="8089900" y="136049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grpSp>
    </p:spTree>
    <p:extLst>
      <p:ext uri="{BB962C8B-B14F-4D97-AF65-F5344CB8AC3E}">
        <p14:creationId xmlns:p14="http://schemas.microsoft.com/office/powerpoint/2010/main" val="3238315628"/>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810" r:id="rId6"/>
  </p:sldLayoutIdLst>
  <p:timing>
    <p:tnLst>
      <p:par>
        <p:cTn id="1" dur="indefinite" restart="never" nodeType="tmRoot"/>
      </p:par>
    </p:tnLst>
  </p:timing>
  <p:hf hdr="0" ftr="0" dt="0"/>
  <p:txStyles>
    <p:titleStyle>
      <a:lvl1pPr algn="l" defTabSz="913429" rtl="0" eaLnBrk="1" fontAlgn="base" hangingPunct="1">
        <a:spcBef>
          <a:spcPct val="0"/>
        </a:spcBef>
        <a:spcAft>
          <a:spcPct val="0"/>
        </a:spcAft>
        <a:tabLst>
          <a:tab pos="275324" algn="l"/>
        </a:tabLst>
        <a:defRPr sz="1900" b="1" baseline="0">
          <a:solidFill>
            <a:schemeClr val="tx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nvPr>
        </p:nvGraphicFramePr>
        <p:xfrm>
          <a:off x="0" y="0"/>
          <a:ext cx="175483" cy="161974"/>
        </p:xfrm>
        <a:graphic>
          <a:graphicData uri="http://schemas.openxmlformats.org/presentationml/2006/ole">
            <mc:AlternateContent xmlns:mc="http://schemas.openxmlformats.org/markup-compatibility/2006">
              <mc:Choice xmlns:v="urn:schemas-microsoft-com:vml" Requires="v">
                <p:oleObj spid="_x0000_s147668"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175483" cy="161974"/>
                      </a:xfrm>
                      <a:prstGeom prst="rect">
                        <a:avLst/>
                      </a:prstGeom>
                    </p:spPr>
                  </p:pic>
                </p:oleObj>
              </mc:Fallback>
            </mc:AlternateContent>
          </a:graphicData>
        </a:graphic>
      </p:graphicFrame>
      <p:pic>
        <p:nvPicPr>
          <p:cNvPr id="59" name="Picture 58"/>
          <p:cNvPicPr>
            <a:picLocks/>
          </p:cNvPicPr>
          <p:nvPr userDrawn="1"/>
        </p:nvPicPr>
        <p:blipFill>
          <a:blip r:embed="rId25" cstate="print"/>
          <a:stretch>
            <a:fillRect/>
          </a:stretch>
        </p:blipFill>
        <p:spPr bwMode="auto">
          <a:xfrm>
            <a:off x="189523" y="681010"/>
            <a:ext cx="8065476" cy="50511"/>
          </a:xfrm>
          <a:prstGeom prst="rect">
            <a:avLst/>
          </a:prstGeom>
        </p:spPr>
      </p:pic>
      <p:pic>
        <p:nvPicPr>
          <p:cNvPr id="60" name="Picture 59" descr="AGRALogo.png"/>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bwMode="ltGray">
          <a:xfrm>
            <a:off x="8329296" y="388621"/>
            <a:ext cx="1354131" cy="530864"/>
          </a:xfrm>
          <a:prstGeom prst="rect">
            <a:avLst/>
          </a:prstGeom>
        </p:spPr>
      </p:pic>
      <p:sp>
        <p:nvSpPr>
          <p:cNvPr id="1033" name="doc id"/>
          <p:cNvSpPr>
            <a:spLocks noChangeArrowheads="1"/>
          </p:cNvSpPr>
          <p:nvPr/>
        </p:nvSpPr>
        <p:spPr bwMode="auto">
          <a:xfrm>
            <a:off x="8933827" y="37255"/>
            <a:ext cx="726499"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marL="0" marR="0" lvl="0" indent="0" algn="r" defTabSz="913429"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36" name="Rectangle 286"/>
          <p:cNvSpPr>
            <a:spLocks noGrp="1" noChangeArrowheads="1"/>
          </p:cNvSpPr>
          <p:nvPr>
            <p:ph type="body" idx="1"/>
          </p:nvPr>
        </p:nvSpPr>
        <p:spPr bwMode="auto">
          <a:xfrm>
            <a:off x="1878084" y="2508985"/>
            <a:ext cx="4755582"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auto">
          <a:xfrm>
            <a:off x="247650" y="388621"/>
            <a:ext cx="8007350"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1. On-page tracker" hidden="1"/>
          <p:cNvSpPr>
            <a:spLocks noChangeArrowheads="1"/>
          </p:cNvSpPr>
          <p:nvPr/>
        </p:nvSpPr>
        <p:spPr bwMode="auto">
          <a:xfrm>
            <a:off x="247651" y="8087"/>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808080"/>
                </a:solidFill>
                <a:effectLst/>
                <a:uLnTx/>
                <a:uFillTx/>
                <a:latin typeface="Arial"/>
                <a:ea typeface="+mn-ea"/>
                <a:cs typeface="+mn-cs"/>
              </a:rPr>
              <a:t>TRACKER</a:t>
            </a:r>
          </a:p>
        </p:txBody>
      </p:sp>
      <p:sp>
        <p:nvSpPr>
          <p:cNvPr id="11" name="3. Unit of measure" hidden="1"/>
          <p:cNvSpPr txBox="1">
            <a:spLocks noChangeArrowheads="1"/>
          </p:cNvSpPr>
          <p:nvPr/>
        </p:nvSpPr>
        <p:spPr bwMode="auto">
          <a:xfrm>
            <a:off x="247650" y="749678"/>
            <a:ext cx="800735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0" marR="0" lvl="0" indent="0" algn="l" defTabSz="89535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smtClean="0">
                <a:ln>
                  <a:noFill/>
                </a:ln>
                <a:solidFill>
                  <a:srgbClr val="808080"/>
                </a:solidFill>
                <a:effectLst/>
                <a:uLnTx/>
                <a:uFillTx/>
                <a:latin typeface="Arial"/>
                <a:ea typeface="+mn-ea"/>
                <a:cs typeface="+mn-cs"/>
              </a:rPr>
              <a:t>Unit of measure</a:t>
            </a:r>
          </a:p>
        </p:txBody>
      </p:sp>
      <p:grpSp>
        <p:nvGrpSpPr>
          <p:cNvPr id="15" name="ACET" hidden="1"/>
          <p:cNvGrpSpPr>
            <a:grpSpLocks/>
          </p:cNvGrpSpPr>
          <p:nvPr/>
        </p:nvGrpSpPr>
        <p:grpSpPr bwMode="auto">
          <a:xfrm>
            <a:off x="1878084" y="1915010"/>
            <a:ext cx="4713466"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Title</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808080"/>
                  </a:solidFill>
                  <a:effectLst/>
                  <a:uLnTx/>
                  <a:uFillTx/>
                  <a:latin typeface="Arial"/>
                  <a:ea typeface="+mn-ea"/>
                  <a:cs typeface="+mn-cs"/>
                </a:rPr>
                <a:t>Unit of measure</a:t>
              </a:r>
            </a:p>
          </p:txBody>
        </p:sp>
      </p:grpSp>
      <p:sp>
        <p:nvSpPr>
          <p:cNvPr id="104" name="Slide Number"/>
          <p:cNvSpPr txBox="1">
            <a:spLocks/>
          </p:cNvSpPr>
          <p:nvPr userDrawn="1"/>
        </p:nvSpPr>
        <p:spPr bwMode="auto">
          <a:xfrm>
            <a:off x="9558392" y="6643599"/>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42C328C1-A84F-4A39-A664-DBA00541A8C6}"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05" name="Slide Elements" hidden="1"/>
          <p:cNvGrpSpPr/>
          <p:nvPr userDrawn="1"/>
        </p:nvGrpSpPr>
        <p:grpSpPr bwMode="auto">
          <a:xfrm>
            <a:off x="247651" y="6441985"/>
            <a:ext cx="9336748" cy="324724"/>
            <a:chOff x="119063" y="6306659"/>
            <a:chExt cx="8618537" cy="324724"/>
          </a:xfrm>
        </p:grpSpPr>
        <p:sp>
          <p:nvSpPr>
            <p:cNvPr id="106" name="4. Footnote"/>
            <p:cNvSpPr txBox="1">
              <a:spLocks noChangeArrowheads="1"/>
            </p:cNvSpPr>
            <p:nvPr/>
          </p:nvSpPr>
          <p:spPr bwMode="auto">
            <a:xfrm>
              <a:off x="119063" y="6306659"/>
              <a:ext cx="861853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marR="0" lvl="0" indent="-85725" algn="l" defTabSz="895350" rtl="0" eaLnBrk="1" fontAlgn="base" latinLnBrk="0" hangingPunct="1">
                <a:lnSpc>
                  <a:spcPct val="100000"/>
                </a:lnSpc>
                <a:spcBef>
                  <a:spcPct val="0"/>
                </a:spcBef>
                <a:spcAft>
                  <a:spcPct val="0"/>
                </a:spcAft>
                <a:buClrTx/>
                <a:buSzTx/>
                <a:buFontTx/>
                <a:buNone/>
                <a:tabLst/>
                <a:defRPr lang="x-none"/>
              </a:pPr>
              <a:r>
                <a:rPr kumimoji="0" lang="x-none" sz="800" b="0" i="0" u="none" strike="noStrike" kern="1200" cap="none" spc="0" normalizeH="0" baseline="0" noProof="0" dirty="0" smtClean="0">
                  <a:ln>
                    <a:noFill/>
                  </a:ln>
                  <a:solidFill>
                    <a:srgbClr val="000000"/>
                  </a:solidFill>
                  <a:effectLst/>
                  <a:uLnTx/>
                  <a:uFillTx/>
                  <a:latin typeface="Arial"/>
                  <a:ea typeface="+mn-ea"/>
                  <a:cs typeface="+mn-cs"/>
                </a:rPr>
                <a:t>1 Footnote</a:t>
              </a:r>
            </a:p>
          </p:txBody>
        </p:sp>
        <p:sp>
          <p:nvSpPr>
            <p:cNvPr id="107" name="5. Source"/>
            <p:cNvSpPr>
              <a:spLocks noChangeArrowheads="1"/>
            </p:cNvSpPr>
            <p:nvPr/>
          </p:nvSpPr>
          <p:spPr bwMode="auto">
            <a:xfrm>
              <a:off x="119063" y="6508272"/>
              <a:ext cx="794619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19113" marR="0" lvl="0" indent="-519113" algn="l" defTabSz="895350" rtl="0" eaLnBrk="1" fontAlgn="base" latinLnBrk="0" hangingPunct="1">
                <a:lnSpc>
                  <a:spcPct val="100000"/>
                </a:lnSpc>
                <a:spcBef>
                  <a:spcPct val="0"/>
                </a:spcBef>
                <a:spcAft>
                  <a:spcPct val="0"/>
                </a:spcAft>
                <a:buClrTx/>
                <a:buSzTx/>
                <a:buFontTx/>
                <a:buNone/>
                <a:tabLst>
                  <a:tab pos="612775" algn="l"/>
                </a:tabLst>
                <a:defRPr/>
              </a:pPr>
              <a:r>
                <a:rPr kumimoji="0" lang="x-none" sz="800" b="0" i="0" u="none" strike="noStrike" kern="1200" cap="none" spc="0" normalizeH="0" baseline="0" noProof="0" dirty="0">
                  <a:ln>
                    <a:noFill/>
                  </a:ln>
                  <a:solidFill>
                    <a:srgbClr val="000000"/>
                  </a:solidFill>
                  <a:effectLst/>
                  <a:uLnTx/>
                  <a:uFillTx/>
                  <a:latin typeface="Arial"/>
                  <a:ea typeface="+mn-ea"/>
                  <a:cs typeface="+mn-cs"/>
                </a:rPr>
                <a:t>SOURCE : </a:t>
              </a:r>
              <a:r>
                <a:rPr kumimoji="0" lang="x-none" sz="800" b="0" i="0" u="none" strike="noStrike" kern="1200" cap="none" spc="0" normalizeH="0" baseline="0" noProof="0" dirty="0" smtClean="0">
                  <a:ln>
                    <a:noFill/>
                  </a:ln>
                  <a:solidFill>
                    <a:srgbClr val="000000"/>
                  </a:solidFill>
                  <a:effectLst/>
                  <a:uLnTx/>
                  <a:uFillTx/>
                  <a:latin typeface="Arial"/>
                  <a:ea typeface="+mn-ea"/>
                  <a:cs typeface="+mn-cs"/>
                </a:rPr>
                <a:t>Source</a:t>
              </a:r>
              <a:endParaRPr kumimoji="0" lang="en-US" sz="800" b="0" i="0" u="none" strike="noStrike" kern="1200" cap="none" spc="0" normalizeH="0" baseline="0" noProof="0" dirty="0" smtClean="0">
                <a:ln>
                  <a:noFill/>
                </a:ln>
                <a:solidFill>
                  <a:srgbClr val="000000"/>
                </a:solidFill>
                <a:effectLst/>
                <a:uLnTx/>
                <a:uFillTx/>
                <a:latin typeface="Arial"/>
                <a:ea typeface="+mn-ea"/>
                <a:cs typeface="+mn-cs"/>
              </a:endParaRPr>
            </a:p>
          </p:txBody>
        </p:sp>
      </p:grpSp>
      <p:grpSp>
        <p:nvGrpSpPr>
          <p:cNvPr id="108" name="McKSticker" hidden="1"/>
          <p:cNvGrpSpPr/>
          <p:nvPr userDrawn="1"/>
        </p:nvGrpSpPr>
        <p:grpSpPr bwMode="auto">
          <a:xfrm>
            <a:off x="9170647" y="981080"/>
            <a:ext cx="512780" cy="150811"/>
            <a:chOff x="8267440" y="285750"/>
            <a:chExt cx="473335" cy="150811"/>
          </a:xfrm>
        </p:grpSpPr>
        <p:sp>
          <p:nvSpPr>
            <p:cNvPr id="109" name="StickerRectangle"/>
            <p:cNvSpPr>
              <a:spLocks noChangeArrowheads="1"/>
            </p:cNvSpPr>
            <p:nvPr/>
          </p:nvSpPr>
          <p:spPr bwMode="auto">
            <a:xfrm>
              <a:off x="8303851" y="285750"/>
              <a:ext cx="436924"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marL="0" marR="0" lvl="0" indent="0" algn="r" defTabSz="895350" rtl="0" eaLnBrk="1" fontAlgn="base" latinLnBrk="0" hangingPunct="1">
                <a:lnSpc>
                  <a:spcPct val="100000"/>
                </a:lnSpc>
                <a:spcBef>
                  <a:spcPct val="0"/>
                </a:spcBef>
                <a:spcAft>
                  <a:spcPct val="0"/>
                </a:spcAft>
                <a:buClr>
                  <a:srgbClr val="002960"/>
                </a:buClr>
                <a:buSzTx/>
                <a:buFontTx/>
                <a:buNone/>
                <a:tabLst/>
                <a:defRPr/>
              </a:pPr>
              <a:r>
                <a:rPr kumimoji="0" lang="x-none" sz="800" b="0" i="0" u="none" strike="noStrike" kern="1200" cap="none" spc="0" normalizeH="0" baseline="0" noProof="0" dirty="0" smtClean="0">
                  <a:ln>
                    <a:noFill/>
                  </a:ln>
                  <a:solidFill>
                    <a:srgbClr val="808080"/>
                  </a:solidFill>
                  <a:effectLst/>
                  <a:uLnTx/>
                  <a:uFillTx/>
                  <a:latin typeface="Arial"/>
                  <a:ea typeface="+mn-ea"/>
                  <a:cs typeface="+mn-cs"/>
                </a:rPr>
                <a:t>STICKER</a:t>
              </a:r>
              <a:endParaRPr kumimoji="0" lang="x-none" sz="800" b="0" i="0" u="none" strike="noStrike" kern="1200" cap="none" spc="0" normalizeH="0" baseline="0" noProof="0" dirty="0">
                <a:ln>
                  <a:noFill/>
                </a:ln>
                <a:solidFill>
                  <a:srgbClr val="808080"/>
                </a:solidFill>
                <a:effectLst/>
                <a:uLnTx/>
                <a:uFillTx/>
                <a:latin typeface="Arial"/>
                <a:ea typeface="+mn-ea"/>
                <a:cs typeface="+mn-cs"/>
              </a:endParaRPr>
            </a:p>
          </p:txBody>
        </p:sp>
        <p:cxnSp>
          <p:nvCxnSpPr>
            <p:cNvPr id="110" name="AutoShape 31"/>
            <p:cNvCxnSpPr>
              <a:cxnSpLocks noChangeShapeType="1"/>
              <a:stCxn id="109" idx="2"/>
              <a:endCxn id="109" idx="4"/>
            </p:cNvCxnSpPr>
            <p:nvPr/>
          </p:nvCxnSpPr>
          <p:spPr bwMode="auto">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11" name="AutoShape 32"/>
            <p:cNvCxnSpPr>
              <a:cxnSpLocks noChangeShapeType="1"/>
              <a:stCxn id="109" idx="4"/>
              <a:endCxn id="109" idx="6"/>
            </p:cNvCxnSpPr>
            <p:nvPr/>
          </p:nvCxnSpPr>
          <p:spPr bwMode="auto">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12" name="LegendBoxes" hidden="1"/>
          <p:cNvGrpSpPr/>
          <p:nvPr userDrawn="1"/>
        </p:nvGrpSpPr>
        <p:grpSpPr bwMode="auto">
          <a:xfrm>
            <a:off x="8856021" y="974730"/>
            <a:ext cx="784921" cy="997467"/>
            <a:chOff x="7835905" y="279400"/>
            <a:chExt cx="724543" cy="997467"/>
          </a:xfrm>
        </p:grpSpPr>
        <p:sp>
          <p:nvSpPr>
            <p:cNvPr id="113"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4"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5"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6"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7" name="Legend1"/>
            <p:cNvSpPr>
              <a:spLocks noChangeArrowheads="1"/>
            </p:cNvSpPr>
            <p:nvPr/>
          </p:nvSpPr>
          <p:spPr bwMode="auto">
            <a:xfrm>
              <a:off x="8089905"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18" name="Legend2"/>
            <p:cNvSpPr>
              <a:spLocks noChangeArrowheads="1"/>
            </p:cNvSpPr>
            <p:nvPr/>
          </p:nvSpPr>
          <p:spPr bwMode="auto">
            <a:xfrm>
              <a:off x="8089905" y="54927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19" name="Legend3"/>
            <p:cNvSpPr>
              <a:spLocks noChangeArrowheads="1"/>
            </p:cNvSpPr>
            <p:nvPr/>
          </p:nvSpPr>
          <p:spPr bwMode="auto">
            <a:xfrm>
              <a:off x="8089905" y="820738"/>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a:ln>
                    <a:noFill/>
                  </a:ln>
                  <a:solidFill>
                    <a:srgbClr val="000000"/>
                  </a:solidFill>
                  <a:effectLst/>
                  <a:uLnTx/>
                  <a:uFillTx/>
                  <a:latin typeface="Arial"/>
                  <a:ea typeface="+mn-ea"/>
                  <a:cs typeface="+mn-cs"/>
                </a:rPr>
                <a:t>Legend</a:t>
              </a:r>
            </a:p>
          </p:txBody>
        </p:sp>
        <p:sp>
          <p:nvSpPr>
            <p:cNvPr id="120" name="Legend4"/>
            <p:cNvSpPr>
              <a:spLocks noChangeArrowheads="1"/>
            </p:cNvSpPr>
            <p:nvPr/>
          </p:nvSpPr>
          <p:spPr bwMode="auto">
            <a:xfrm>
              <a:off x="8089905" y="10922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a:ln>
                    <a:noFill/>
                  </a:ln>
                  <a:solidFill>
                    <a:srgbClr val="000000"/>
                  </a:solidFill>
                  <a:effectLst/>
                  <a:uLnTx/>
                  <a:uFillTx/>
                  <a:latin typeface="Arial"/>
                  <a:ea typeface="+mn-ea"/>
                  <a:cs typeface="+mn-cs"/>
                </a:rPr>
                <a:t>Legend</a:t>
              </a:r>
            </a:p>
          </p:txBody>
        </p:sp>
      </p:grpSp>
      <p:grpSp>
        <p:nvGrpSpPr>
          <p:cNvPr id="121" name="LegendLines" hidden="1"/>
          <p:cNvGrpSpPr/>
          <p:nvPr userDrawn="1"/>
        </p:nvGrpSpPr>
        <p:grpSpPr bwMode="auto">
          <a:xfrm>
            <a:off x="8522565" y="974730"/>
            <a:ext cx="1118561" cy="730767"/>
            <a:chOff x="7540629" y="279400"/>
            <a:chExt cx="1032518" cy="730767"/>
          </a:xfrm>
        </p:grpSpPr>
        <p:sp>
          <p:nvSpPr>
            <p:cNvPr id="122"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23"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24"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25" name="Legend1"/>
            <p:cNvSpPr>
              <a:spLocks noChangeArrowheads="1"/>
            </p:cNvSpPr>
            <p:nvPr/>
          </p:nvSpPr>
          <p:spPr bwMode="auto">
            <a:xfrm>
              <a:off x="8102604"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26" name="Legend2"/>
            <p:cNvSpPr>
              <a:spLocks noChangeArrowheads="1"/>
            </p:cNvSpPr>
            <p:nvPr/>
          </p:nvSpPr>
          <p:spPr bwMode="auto">
            <a:xfrm>
              <a:off x="8102604" y="5461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27" name="Legend3"/>
            <p:cNvSpPr>
              <a:spLocks noChangeArrowheads="1"/>
            </p:cNvSpPr>
            <p:nvPr/>
          </p:nvSpPr>
          <p:spPr bwMode="auto">
            <a:xfrm>
              <a:off x="8102604" y="8255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28" name="LegendMoons" hidden="1"/>
          <p:cNvGrpSpPr/>
          <p:nvPr userDrawn="1"/>
        </p:nvGrpSpPr>
        <p:grpSpPr bwMode="auto">
          <a:xfrm>
            <a:off x="8783790" y="946154"/>
            <a:ext cx="857153" cy="1306516"/>
            <a:chOff x="7769225" y="250825"/>
            <a:chExt cx="791218" cy="1306516"/>
          </a:xfrm>
        </p:grpSpPr>
        <p:grpSp>
          <p:nvGrpSpPr>
            <p:cNvPr id="129" name="MoonLegend1"/>
            <p:cNvGrpSpPr>
              <a:grpSpLocks noChangeAspect="1"/>
            </p:cNvGrpSpPr>
            <p:nvPr>
              <p:custDataLst>
                <p:tags r:id="rId8"/>
              </p:custDataLst>
            </p:nvPr>
          </p:nvGrpSpPr>
          <p:grpSpPr bwMode="auto">
            <a:xfrm>
              <a:off x="7769225" y="250825"/>
              <a:ext cx="209550" cy="209551"/>
              <a:chOff x="4533" y="183"/>
              <a:chExt cx="144" cy="144"/>
            </a:xfrm>
          </p:grpSpPr>
          <p:sp>
            <p:nvSpPr>
              <p:cNvPr id="147" name="Oval 38"/>
              <p:cNvSpPr>
                <a:spLocks noChangeAspect="1" noChangeArrowheads="1"/>
              </p:cNvSpPr>
              <p:nvPr>
                <p:custDataLst>
                  <p:tags r:id="rId21"/>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48" name="Arc 39"/>
              <p:cNvSpPr>
                <a:spLocks noChangeAspect="1"/>
              </p:cNvSpPr>
              <p:nvPr>
                <p:custDataLst>
                  <p:tags r:id="rId22"/>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30" name="MoonLegend2"/>
            <p:cNvGrpSpPr>
              <a:grpSpLocks noChangeAspect="1"/>
            </p:cNvGrpSpPr>
            <p:nvPr>
              <p:custDataLst>
                <p:tags r:id="rId9"/>
              </p:custDataLst>
            </p:nvPr>
          </p:nvGrpSpPr>
          <p:grpSpPr bwMode="auto">
            <a:xfrm>
              <a:off x="7769225" y="525066"/>
              <a:ext cx="209550" cy="209551"/>
              <a:chOff x="1694" y="2044"/>
              <a:chExt cx="160" cy="160"/>
            </a:xfrm>
          </p:grpSpPr>
          <p:sp>
            <p:nvSpPr>
              <p:cNvPr id="145"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46" name="Arc 42"/>
              <p:cNvSpPr>
                <a:spLocks noChangeAspect="1"/>
              </p:cNvSpPr>
              <p:nvPr>
                <p:custDataLst>
                  <p:tags r:id="rId20"/>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31" name="MoonLegend4"/>
            <p:cNvGrpSpPr>
              <a:grpSpLocks noChangeAspect="1"/>
            </p:cNvGrpSpPr>
            <p:nvPr>
              <p:custDataLst>
                <p:tags r:id="rId10"/>
              </p:custDataLst>
            </p:nvPr>
          </p:nvGrpSpPr>
          <p:grpSpPr bwMode="auto">
            <a:xfrm>
              <a:off x="7769225" y="1073548"/>
              <a:ext cx="209550" cy="209551"/>
              <a:chOff x="4495" y="1198"/>
              <a:chExt cx="160" cy="160"/>
            </a:xfrm>
          </p:grpSpPr>
          <p:sp>
            <p:nvSpPr>
              <p:cNvPr id="143"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44"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32" name="MoonLegend5"/>
            <p:cNvGrpSpPr>
              <a:grpSpLocks noChangeAspect="1"/>
            </p:cNvGrpSpPr>
            <p:nvPr>
              <p:custDataLst>
                <p:tags r:id="rId11"/>
              </p:custDataLst>
            </p:nvPr>
          </p:nvGrpSpPr>
          <p:grpSpPr bwMode="auto">
            <a:xfrm>
              <a:off x="7769225" y="1347790"/>
              <a:ext cx="209550" cy="209551"/>
              <a:chOff x="4495" y="1440"/>
              <a:chExt cx="160" cy="160"/>
            </a:xfrm>
          </p:grpSpPr>
          <p:sp>
            <p:nvSpPr>
              <p:cNvPr id="141" name="Oval 50"/>
              <p:cNvSpPr>
                <a:spLocks noChangeAspect="1" noChangeArrowheads="1"/>
              </p:cNvSpPr>
              <p:nvPr>
                <p:custDataLst>
                  <p:tags r:id="rId15"/>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42" name="Oval 51"/>
              <p:cNvSpPr>
                <a:spLocks noChangeAspect="1" noChangeArrowheads="1"/>
              </p:cNvSpPr>
              <p:nvPr>
                <p:custDataLst>
                  <p:tags r:id="rId16"/>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33" name="MoonLegend3"/>
            <p:cNvGrpSpPr>
              <a:grpSpLocks noChangeAspect="1"/>
            </p:cNvGrpSpPr>
            <p:nvPr>
              <p:custDataLst>
                <p:tags r:id="rId12"/>
              </p:custDataLst>
            </p:nvPr>
          </p:nvGrpSpPr>
          <p:grpSpPr bwMode="auto">
            <a:xfrm>
              <a:off x="7769225" y="799307"/>
              <a:ext cx="209550" cy="209551"/>
              <a:chOff x="4495" y="1198"/>
              <a:chExt cx="160" cy="160"/>
            </a:xfrm>
          </p:grpSpPr>
          <p:sp>
            <p:nvSpPr>
              <p:cNvPr id="139"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40"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134" name="Legend1"/>
            <p:cNvSpPr>
              <a:spLocks noChangeArrowheads="1"/>
            </p:cNvSpPr>
            <p:nvPr/>
          </p:nvSpPr>
          <p:spPr bwMode="auto">
            <a:xfrm>
              <a:off x="8089900" y="26352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5" name="Legend2"/>
            <p:cNvSpPr>
              <a:spLocks noChangeArrowheads="1"/>
            </p:cNvSpPr>
            <p:nvPr/>
          </p:nvSpPr>
          <p:spPr bwMode="auto">
            <a:xfrm>
              <a:off x="8089900" y="538163"/>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6" name="Legend3"/>
            <p:cNvSpPr>
              <a:spLocks noChangeArrowheads="1"/>
            </p:cNvSpPr>
            <p:nvPr/>
          </p:nvSpPr>
          <p:spPr bwMode="auto">
            <a:xfrm>
              <a:off x="8089900" y="812802"/>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7" name="Legend4"/>
            <p:cNvSpPr>
              <a:spLocks noChangeArrowheads="1"/>
            </p:cNvSpPr>
            <p:nvPr/>
          </p:nvSpPr>
          <p:spPr bwMode="auto">
            <a:xfrm>
              <a:off x="8089900" y="108426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8" name="Legend5"/>
            <p:cNvSpPr>
              <a:spLocks noChangeArrowheads="1"/>
            </p:cNvSpPr>
            <p:nvPr/>
          </p:nvSpPr>
          <p:spPr bwMode="auto">
            <a:xfrm>
              <a:off x="8089900" y="136049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grpSp>
    </p:spTree>
    <p:extLst>
      <p:ext uri="{BB962C8B-B14F-4D97-AF65-F5344CB8AC3E}">
        <p14:creationId xmlns:p14="http://schemas.microsoft.com/office/powerpoint/2010/main" val="2670016758"/>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Lst>
  <p:timing>
    <p:tnLst>
      <p:par>
        <p:cTn id="1" dur="indefinite" restart="never" nodeType="tmRoot"/>
      </p:par>
    </p:tnLst>
  </p:timing>
  <p:hf hdr="0" ftr="0" dt="0"/>
  <p:txStyles>
    <p:titleStyle>
      <a:lvl1pPr algn="l" defTabSz="913429" rtl="0" eaLnBrk="1" fontAlgn="base" hangingPunct="1">
        <a:spcBef>
          <a:spcPct val="0"/>
        </a:spcBef>
        <a:spcAft>
          <a:spcPct val="0"/>
        </a:spcAft>
        <a:tabLst>
          <a:tab pos="275324" algn="l"/>
        </a:tabLst>
        <a:defRPr sz="1900" b="1" baseline="0">
          <a:solidFill>
            <a:schemeClr val="tx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nvPr>
        </p:nvGraphicFramePr>
        <p:xfrm>
          <a:off x="0" y="0"/>
          <a:ext cx="175483" cy="161974"/>
        </p:xfrm>
        <a:graphic>
          <a:graphicData uri="http://schemas.openxmlformats.org/presentationml/2006/ole">
            <mc:AlternateContent xmlns:mc="http://schemas.openxmlformats.org/markup-compatibility/2006">
              <mc:Choice xmlns:v="urn:schemas-microsoft-com:vml" Requires="v">
                <p:oleObj spid="_x0000_s163017"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175483" cy="161974"/>
                      </a:xfrm>
                      <a:prstGeom prst="rect">
                        <a:avLst/>
                      </a:prstGeom>
                    </p:spPr>
                  </p:pic>
                </p:oleObj>
              </mc:Fallback>
            </mc:AlternateContent>
          </a:graphicData>
        </a:graphic>
      </p:graphicFrame>
      <p:pic>
        <p:nvPicPr>
          <p:cNvPr id="59" name="Picture 58"/>
          <p:cNvPicPr>
            <a:picLocks/>
          </p:cNvPicPr>
          <p:nvPr userDrawn="1"/>
        </p:nvPicPr>
        <p:blipFill>
          <a:blip r:embed="rId25" cstate="print"/>
          <a:stretch>
            <a:fillRect/>
          </a:stretch>
        </p:blipFill>
        <p:spPr bwMode="auto">
          <a:xfrm>
            <a:off x="189523" y="681010"/>
            <a:ext cx="8065476" cy="50511"/>
          </a:xfrm>
          <a:prstGeom prst="rect">
            <a:avLst/>
          </a:prstGeom>
        </p:spPr>
      </p:pic>
      <p:pic>
        <p:nvPicPr>
          <p:cNvPr id="60" name="Picture 59" descr="AGRALogo.png"/>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bwMode="ltGray">
          <a:xfrm>
            <a:off x="8329296" y="388621"/>
            <a:ext cx="1354131" cy="530864"/>
          </a:xfrm>
          <a:prstGeom prst="rect">
            <a:avLst/>
          </a:prstGeom>
        </p:spPr>
      </p:pic>
      <p:sp>
        <p:nvSpPr>
          <p:cNvPr id="1033" name="doc id"/>
          <p:cNvSpPr>
            <a:spLocks noChangeArrowheads="1"/>
          </p:cNvSpPr>
          <p:nvPr/>
        </p:nvSpPr>
        <p:spPr bwMode="auto">
          <a:xfrm>
            <a:off x="8933827" y="37255"/>
            <a:ext cx="726499"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marL="0" marR="0" lvl="0" indent="0" algn="r" defTabSz="913429"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36" name="Rectangle 286"/>
          <p:cNvSpPr>
            <a:spLocks noGrp="1" noChangeArrowheads="1"/>
          </p:cNvSpPr>
          <p:nvPr>
            <p:ph type="body" idx="1"/>
          </p:nvPr>
        </p:nvSpPr>
        <p:spPr bwMode="auto">
          <a:xfrm>
            <a:off x="1878084" y="2508985"/>
            <a:ext cx="4755582"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auto">
          <a:xfrm>
            <a:off x="247650" y="388621"/>
            <a:ext cx="8007350"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1. On-page tracker" hidden="1"/>
          <p:cNvSpPr>
            <a:spLocks noChangeArrowheads="1"/>
          </p:cNvSpPr>
          <p:nvPr/>
        </p:nvSpPr>
        <p:spPr bwMode="auto">
          <a:xfrm>
            <a:off x="247651" y="8087"/>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808080"/>
                </a:solidFill>
                <a:effectLst/>
                <a:uLnTx/>
                <a:uFillTx/>
                <a:latin typeface="Arial"/>
                <a:ea typeface="+mn-ea"/>
                <a:cs typeface="+mn-cs"/>
              </a:rPr>
              <a:t>TRACKER</a:t>
            </a:r>
          </a:p>
        </p:txBody>
      </p:sp>
      <p:sp>
        <p:nvSpPr>
          <p:cNvPr id="11" name="3. Unit of measure" hidden="1"/>
          <p:cNvSpPr txBox="1">
            <a:spLocks noChangeArrowheads="1"/>
          </p:cNvSpPr>
          <p:nvPr/>
        </p:nvSpPr>
        <p:spPr bwMode="auto">
          <a:xfrm>
            <a:off x="247650" y="749678"/>
            <a:ext cx="800735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0" marR="0" lvl="0" indent="0" algn="l" defTabSz="89535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smtClean="0">
                <a:ln>
                  <a:noFill/>
                </a:ln>
                <a:solidFill>
                  <a:srgbClr val="808080"/>
                </a:solidFill>
                <a:effectLst/>
                <a:uLnTx/>
                <a:uFillTx/>
                <a:latin typeface="Arial"/>
                <a:ea typeface="+mn-ea"/>
                <a:cs typeface="+mn-cs"/>
              </a:rPr>
              <a:t>Unit of measure</a:t>
            </a:r>
          </a:p>
        </p:txBody>
      </p:sp>
      <p:grpSp>
        <p:nvGrpSpPr>
          <p:cNvPr id="15" name="ACET" hidden="1"/>
          <p:cNvGrpSpPr>
            <a:grpSpLocks/>
          </p:cNvGrpSpPr>
          <p:nvPr/>
        </p:nvGrpSpPr>
        <p:grpSpPr bwMode="auto">
          <a:xfrm>
            <a:off x="1878084" y="1915010"/>
            <a:ext cx="4713466"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Title</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808080"/>
                  </a:solidFill>
                  <a:effectLst/>
                  <a:uLnTx/>
                  <a:uFillTx/>
                  <a:latin typeface="Arial"/>
                  <a:ea typeface="+mn-ea"/>
                  <a:cs typeface="+mn-cs"/>
                </a:rPr>
                <a:t>Unit of measure</a:t>
              </a:r>
            </a:p>
          </p:txBody>
        </p:sp>
      </p:grpSp>
      <p:sp>
        <p:nvSpPr>
          <p:cNvPr id="104" name="Slide Number"/>
          <p:cNvSpPr txBox="1">
            <a:spLocks/>
          </p:cNvSpPr>
          <p:nvPr userDrawn="1"/>
        </p:nvSpPr>
        <p:spPr bwMode="auto">
          <a:xfrm>
            <a:off x="9558392" y="6643599"/>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42C328C1-A84F-4A39-A664-DBA00541A8C6}"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05" name="Slide Elements" hidden="1"/>
          <p:cNvGrpSpPr/>
          <p:nvPr userDrawn="1"/>
        </p:nvGrpSpPr>
        <p:grpSpPr bwMode="auto">
          <a:xfrm>
            <a:off x="247651" y="6441985"/>
            <a:ext cx="9336748" cy="324724"/>
            <a:chOff x="119063" y="6306659"/>
            <a:chExt cx="8618537" cy="324724"/>
          </a:xfrm>
        </p:grpSpPr>
        <p:sp>
          <p:nvSpPr>
            <p:cNvPr id="106" name="4. Footnote"/>
            <p:cNvSpPr txBox="1">
              <a:spLocks noChangeArrowheads="1"/>
            </p:cNvSpPr>
            <p:nvPr/>
          </p:nvSpPr>
          <p:spPr bwMode="auto">
            <a:xfrm>
              <a:off x="119063" y="6306659"/>
              <a:ext cx="861853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marR="0" lvl="0" indent="-85725" algn="l" defTabSz="895350" rtl="0" eaLnBrk="1" fontAlgn="base" latinLnBrk="0" hangingPunct="1">
                <a:lnSpc>
                  <a:spcPct val="100000"/>
                </a:lnSpc>
                <a:spcBef>
                  <a:spcPct val="0"/>
                </a:spcBef>
                <a:spcAft>
                  <a:spcPct val="0"/>
                </a:spcAft>
                <a:buClrTx/>
                <a:buSzTx/>
                <a:buFontTx/>
                <a:buNone/>
                <a:tabLst/>
                <a:defRPr lang="x-none"/>
              </a:pPr>
              <a:r>
                <a:rPr kumimoji="0" lang="x-none" sz="800" b="0" i="0" u="none" strike="noStrike" kern="1200" cap="none" spc="0" normalizeH="0" baseline="0" noProof="0" dirty="0" smtClean="0">
                  <a:ln>
                    <a:noFill/>
                  </a:ln>
                  <a:solidFill>
                    <a:srgbClr val="000000"/>
                  </a:solidFill>
                  <a:effectLst/>
                  <a:uLnTx/>
                  <a:uFillTx/>
                  <a:latin typeface="Arial"/>
                  <a:ea typeface="+mn-ea"/>
                  <a:cs typeface="+mn-cs"/>
                </a:rPr>
                <a:t>1 Footnote</a:t>
              </a:r>
            </a:p>
          </p:txBody>
        </p:sp>
        <p:sp>
          <p:nvSpPr>
            <p:cNvPr id="107" name="5. Source"/>
            <p:cNvSpPr>
              <a:spLocks noChangeArrowheads="1"/>
            </p:cNvSpPr>
            <p:nvPr/>
          </p:nvSpPr>
          <p:spPr bwMode="auto">
            <a:xfrm>
              <a:off x="119063" y="6508272"/>
              <a:ext cx="794619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19113" marR="0" lvl="0" indent="-519113" algn="l" defTabSz="895350" rtl="0" eaLnBrk="1" fontAlgn="base" latinLnBrk="0" hangingPunct="1">
                <a:lnSpc>
                  <a:spcPct val="100000"/>
                </a:lnSpc>
                <a:spcBef>
                  <a:spcPct val="0"/>
                </a:spcBef>
                <a:spcAft>
                  <a:spcPct val="0"/>
                </a:spcAft>
                <a:buClrTx/>
                <a:buSzTx/>
                <a:buFontTx/>
                <a:buNone/>
                <a:tabLst>
                  <a:tab pos="612775" algn="l"/>
                </a:tabLst>
                <a:defRPr/>
              </a:pPr>
              <a:r>
                <a:rPr kumimoji="0" lang="x-none" sz="800" b="0" i="0" u="none" strike="noStrike" kern="1200" cap="none" spc="0" normalizeH="0" baseline="0" noProof="0" dirty="0">
                  <a:ln>
                    <a:noFill/>
                  </a:ln>
                  <a:solidFill>
                    <a:srgbClr val="000000"/>
                  </a:solidFill>
                  <a:effectLst/>
                  <a:uLnTx/>
                  <a:uFillTx/>
                  <a:latin typeface="Arial"/>
                  <a:ea typeface="+mn-ea"/>
                  <a:cs typeface="+mn-cs"/>
                </a:rPr>
                <a:t>SOURCE : </a:t>
              </a:r>
              <a:r>
                <a:rPr kumimoji="0" lang="x-none" sz="800" b="0" i="0" u="none" strike="noStrike" kern="1200" cap="none" spc="0" normalizeH="0" baseline="0" noProof="0" dirty="0" smtClean="0">
                  <a:ln>
                    <a:noFill/>
                  </a:ln>
                  <a:solidFill>
                    <a:srgbClr val="000000"/>
                  </a:solidFill>
                  <a:effectLst/>
                  <a:uLnTx/>
                  <a:uFillTx/>
                  <a:latin typeface="Arial"/>
                  <a:ea typeface="+mn-ea"/>
                  <a:cs typeface="+mn-cs"/>
                </a:rPr>
                <a:t>Source</a:t>
              </a:r>
              <a:endParaRPr kumimoji="0" lang="en-US" sz="800" b="0" i="0" u="none" strike="noStrike" kern="1200" cap="none" spc="0" normalizeH="0" baseline="0" noProof="0" dirty="0" smtClean="0">
                <a:ln>
                  <a:noFill/>
                </a:ln>
                <a:solidFill>
                  <a:srgbClr val="000000"/>
                </a:solidFill>
                <a:effectLst/>
                <a:uLnTx/>
                <a:uFillTx/>
                <a:latin typeface="Arial"/>
                <a:ea typeface="+mn-ea"/>
                <a:cs typeface="+mn-cs"/>
              </a:endParaRPr>
            </a:p>
          </p:txBody>
        </p:sp>
      </p:grpSp>
      <p:grpSp>
        <p:nvGrpSpPr>
          <p:cNvPr id="108" name="McKSticker" hidden="1"/>
          <p:cNvGrpSpPr/>
          <p:nvPr userDrawn="1"/>
        </p:nvGrpSpPr>
        <p:grpSpPr bwMode="auto">
          <a:xfrm>
            <a:off x="9170647" y="981080"/>
            <a:ext cx="512780" cy="150811"/>
            <a:chOff x="8267440" y="285750"/>
            <a:chExt cx="473335" cy="150811"/>
          </a:xfrm>
        </p:grpSpPr>
        <p:sp>
          <p:nvSpPr>
            <p:cNvPr id="109" name="StickerRectangle"/>
            <p:cNvSpPr>
              <a:spLocks noChangeArrowheads="1"/>
            </p:cNvSpPr>
            <p:nvPr/>
          </p:nvSpPr>
          <p:spPr bwMode="auto">
            <a:xfrm>
              <a:off x="8303851" y="285750"/>
              <a:ext cx="436924"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marL="0" marR="0" lvl="0" indent="0" algn="r" defTabSz="895350" rtl="0" eaLnBrk="1" fontAlgn="base" latinLnBrk="0" hangingPunct="1">
                <a:lnSpc>
                  <a:spcPct val="100000"/>
                </a:lnSpc>
                <a:spcBef>
                  <a:spcPct val="0"/>
                </a:spcBef>
                <a:spcAft>
                  <a:spcPct val="0"/>
                </a:spcAft>
                <a:buClr>
                  <a:srgbClr val="002960"/>
                </a:buClr>
                <a:buSzTx/>
                <a:buFontTx/>
                <a:buNone/>
                <a:tabLst/>
                <a:defRPr/>
              </a:pPr>
              <a:r>
                <a:rPr kumimoji="0" lang="x-none" sz="800" b="0" i="0" u="none" strike="noStrike" kern="1200" cap="none" spc="0" normalizeH="0" baseline="0" noProof="0" dirty="0" smtClean="0">
                  <a:ln>
                    <a:noFill/>
                  </a:ln>
                  <a:solidFill>
                    <a:srgbClr val="808080"/>
                  </a:solidFill>
                  <a:effectLst/>
                  <a:uLnTx/>
                  <a:uFillTx/>
                  <a:latin typeface="Arial"/>
                  <a:ea typeface="+mn-ea"/>
                  <a:cs typeface="+mn-cs"/>
                </a:rPr>
                <a:t>STICKER</a:t>
              </a:r>
              <a:endParaRPr kumimoji="0" lang="x-none" sz="800" b="0" i="0" u="none" strike="noStrike" kern="1200" cap="none" spc="0" normalizeH="0" baseline="0" noProof="0" dirty="0">
                <a:ln>
                  <a:noFill/>
                </a:ln>
                <a:solidFill>
                  <a:srgbClr val="808080"/>
                </a:solidFill>
                <a:effectLst/>
                <a:uLnTx/>
                <a:uFillTx/>
                <a:latin typeface="Arial"/>
                <a:ea typeface="+mn-ea"/>
                <a:cs typeface="+mn-cs"/>
              </a:endParaRPr>
            </a:p>
          </p:txBody>
        </p:sp>
        <p:cxnSp>
          <p:nvCxnSpPr>
            <p:cNvPr id="110" name="AutoShape 31"/>
            <p:cNvCxnSpPr>
              <a:cxnSpLocks noChangeShapeType="1"/>
              <a:stCxn id="109" idx="2"/>
              <a:endCxn id="109" idx="4"/>
            </p:cNvCxnSpPr>
            <p:nvPr/>
          </p:nvCxnSpPr>
          <p:spPr bwMode="auto">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11" name="AutoShape 32"/>
            <p:cNvCxnSpPr>
              <a:cxnSpLocks noChangeShapeType="1"/>
              <a:stCxn id="109" idx="4"/>
              <a:endCxn id="109" idx="6"/>
            </p:cNvCxnSpPr>
            <p:nvPr/>
          </p:nvCxnSpPr>
          <p:spPr bwMode="auto">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12" name="LegendBoxes" hidden="1"/>
          <p:cNvGrpSpPr/>
          <p:nvPr userDrawn="1"/>
        </p:nvGrpSpPr>
        <p:grpSpPr bwMode="auto">
          <a:xfrm>
            <a:off x="8856021" y="974730"/>
            <a:ext cx="784921" cy="997467"/>
            <a:chOff x="7835905" y="279400"/>
            <a:chExt cx="724543" cy="997467"/>
          </a:xfrm>
        </p:grpSpPr>
        <p:sp>
          <p:nvSpPr>
            <p:cNvPr id="113"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4"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5"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6"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7" name="Legend1"/>
            <p:cNvSpPr>
              <a:spLocks noChangeArrowheads="1"/>
            </p:cNvSpPr>
            <p:nvPr/>
          </p:nvSpPr>
          <p:spPr bwMode="auto">
            <a:xfrm>
              <a:off x="8089905"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18" name="Legend2"/>
            <p:cNvSpPr>
              <a:spLocks noChangeArrowheads="1"/>
            </p:cNvSpPr>
            <p:nvPr/>
          </p:nvSpPr>
          <p:spPr bwMode="auto">
            <a:xfrm>
              <a:off x="8089905" y="54927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19" name="Legend3"/>
            <p:cNvSpPr>
              <a:spLocks noChangeArrowheads="1"/>
            </p:cNvSpPr>
            <p:nvPr/>
          </p:nvSpPr>
          <p:spPr bwMode="auto">
            <a:xfrm>
              <a:off x="8089905" y="820738"/>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a:ln>
                    <a:noFill/>
                  </a:ln>
                  <a:solidFill>
                    <a:srgbClr val="000000"/>
                  </a:solidFill>
                  <a:effectLst/>
                  <a:uLnTx/>
                  <a:uFillTx/>
                  <a:latin typeface="Arial"/>
                  <a:ea typeface="+mn-ea"/>
                  <a:cs typeface="+mn-cs"/>
                </a:rPr>
                <a:t>Legend</a:t>
              </a:r>
            </a:p>
          </p:txBody>
        </p:sp>
        <p:sp>
          <p:nvSpPr>
            <p:cNvPr id="120" name="Legend4"/>
            <p:cNvSpPr>
              <a:spLocks noChangeArrowheads="1"/>
            </p:cNvSpPr>
            <p:nvPr/>
          </p:nvSpPr>
          <p:spPr bwMode="auto">
            <a:xfrm>
              <a:off x="8089905" y="10922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a:ln>
                    <a:noFill/>
                  </a:ln>
                  <a:solidFill>
                    <a:srgbClr val="000000"/>
                  </a:solidFill>
                  <a:effectLst/>
                  <a:uLnTx/>
                  <a:uFillTx/>
                  <a:latin typeface="Arial"/>
                  <a:ea typeface="+mn-ea"/>
                  <a:cs typeface="+mn-cs"/>
                </a:rPr>
                <a:t>Legend</a:t>
              </a:r>
            </a:p>
          </p:txBody>
        </p:sp>
      </p:grpSp>
      <p:grpSp>
        <p:nvGrpSpPr>
          <p:cNvPr id="121" name="LegendLines" hidden="1"/>
          <p:cNvGrpSpPr/>
          <p:nvPr userDrawn="1"/>
        </p:nvGrpSpPr>
        <p:grpSpPr bwMode="auto">
          <a:xfrm>
            <a:off x="8522565" y="974730"/>
            <a:ext cx="1118561" cy="730767"/>
            <a:chOff x="7540629" y="279400"/>
            <a:chExt cx="1032518" cy="730767"/>
          </a:xfrm>
        </p:grpSpPr>
        <p:sp>
          <p:nvSpPr>
            <p:cNvPr id="122"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23"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24"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25" name="Legend1"/>
            <p:cNvSpPr>
              <a:spLocks noChangeArrowheads="1"/>
            </p:cNvSpPr>
            <p:nvPr/>
          </p:nvSpPr>
          <p:spPr bwMode="auto">
            <a:xfrm>
              <a:off x="8102604"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26" name="Legend2"/>
            <p:cNvSpPr>
              <a:spLocks noChangeArrowheads="1"/>
            </p:cNvSpPr>
            <p:nvPr/>
          </p:nvSpPr>
          <p:spPr bwMode="auto">
            <a:xfrm>
              <a:off x="8102604" y="5461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27" name="Legend3"/>
            <p:cNvSpPr>
              <a:spLocks noChangeArrowheads="1"/>
            </p:cNvSpPr>
            <p:nvPr/>
          </p:nvSpPr>
          <p:spPr bwMode="auto">
            <a:xfrm>
              <a:off x="8102604" y="8255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28" name="LegendMoons" hidden="1"/>
          <p:cNvGrpSpPr/>
          <p:nvPr userDrawn="1"/>
        </p:nvGrpSpPr>
        <p:grpSpPr bwMode="auto">
          <a:xfrm>
            <a:off x="8783790" y="946154"/>
            <a:ext cx="857153" cy="1306516"/>
            <a:chOff x="7769225" y="250825"/>
            <a:chExt cx="791218" cy="1306516"/>
          </a:xfrm>
        </p:grpSpPr>
        <p:grpSp>
          <p:nvGrpSpPr>
            <p:cNvPr id="129" name="MoonLegend1"/>
            <p:cNvGrpSpPr>
              <a:grpSpLocks noChangeAspect="1"/>
            </p:cNvGrpSpPr>
            <p:nvPr>
              <p:custDataLst>
                <p:tags r:id="rId8"/>
              </p:custDataLst>
            </p:nvPr>
          </p:nvGrpSpPr>
          <p:grpSpPr bwMode="auto">
            <a:xfrm>
              <a:off x="7769225" y="250825"/>
              <a:ext cx="209550" cy="209551"/>
              <a:chOff x="4533" y="183"/>
              <a:chExt cx="144" cy="144"/>
            </a:xfrm>
          </p:grpSpPr>
          <p:sp>
            <p:nvSpPr>
              <p:cNvPr id="147" name="Oval 38"/>
              <p:cNvSpPr>
                <a:spLocks noChangeAspect="1" noChangeArrowheads="1"/>
              </p:cNvSpPr>
              <p:nvPr>
                <p:custDataLst>
                  <p:tags r:id="rId21"/>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48" name="Arc 39"/>
              <p:cNvSpPr>
                <a:spLocks noChangeAspect="1"/>
              </p:cNvSpPr>
              <p:nvPr>
                <p:custDataLst>
                  <p:tags r:id="rId22"/>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30" name="MoonLegend2"/>
            <p:cNvGrpSpPr>
              <a:grpSpLocks noChangeAspect="1"/>
            </p:cNvGrpSpPr>
            <p:nvPr>
              <p:custDataLst>
                <p:tags r:id="rId9"/>
              </p:custDataLst>
            </p:nvPr>
          </p:nvGrpSpPr>
          <p:grpSpPr bwMode="auto">
            <a:xfrm>
              <a:off x="7769225" y="525066"/>
              <a:ext cx="209550" cy="209551"/>
              <a:chOff x="1694" y="2044"/>
              <a:chExt cx="160" cy="160"/>
            </a:xfrm>
          </p:grpSpPr>
          <p:sp>
            <p:nvSpPr>
              <p:cNvPr id="145"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46" name="Arc 42"/>
              <p:cNvSpPr>
                <a:spLocks noChangeAspect="1"/>
              </p:cNvSpPr>
              <p:nvPr>
                <p:custDataLst>
                  <p:tags r:id="rId20"/>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31" name="MoonLegend4"/>
            <p:cNvGrpSpPr>
              <a:grpSpLocks noChangeAspect="1"/>
            </p:cNvGrpSpPr>
            <p:nvPr>
              <p:custDataLst>
                <p:tags r:id="rId10"/>
              </p:custDataLst>
            </p:nvPr>
          </p:nvGrpSpPr>
          <p:grpSpPr bwMode="auto">
            <a:xfrm>
              <a:off x="7769225" y="1073548"/>
              <a:ext cx="209550" cy="209551"/>
              <a:chOff x="4495" y="1198"/>
              <a:chExt cx="160" cy="160"/>
            </a:xfrm>
          </p:grpSpPr>
          <p:sp>
            <p:nvSpPr>
              <p:cNvPr id="143"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44"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32" name="MoonLegend5"/>
            <p:cNvGrpSpPr>
              <a:grpSpLocks noChangeAspect="1"/>
            </p:cNvGrpSpPr>
            <p:nvPr>
              <p:custDataLst>
                <p:tags r:id="rId11"/>
              </p:custDataLst>
            </p:nvPr>
          </p:nvGrpSpPr>
          <p:grpSpPr bwMode="auto">
            <a:xfrm>
              <a:off x="7769225" y="1347790"/>
              <a:ext cx="209550" cy="209551"/>
              <a:chOff x="4495" y="1440"/>
              <a:chExt cx="160" cy="160"/>
            </a:xfrm>
          </p:grpSpPr>
          <p:sp>
            <p:nvSpPr>
              <p:cNvPr id="141" name="Oval 50"/>
              <p:cNvSpPr>
                <a:spLocks noChangeAspect="1" noChangeArrowheads="1"/>
              </p:cNvSpPr>
              <p:nvPr>
                <p:custDataLst>
                  <p:tags r:id="rId15"/>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42" name="Oval 51"/>
              <p:cNvSpPr>
                <a:spLocks noChangeAspect="1" noChangeArrowheads="1"/>
              </p:cNvSpPr>
              <p:nvPr>
                <p:custDataLst>
                  <p:tags r:id="rId16"/>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33" name="MoonLegend3"/>
            <p:cNvGrpSpPr>
              <a:grpSpLocks noChangeAspect="1"/>
            </p:cNvGrpSpPr>
            <p:nvPr>
              <p:custDataLst>
                <p:tags r:id="rId12"/>
              </p:custDataLst>
            </p:nvPr>
          </p:nvGrpSpPr>
          <p:grpSpPr bwMode="auto">
            <a:xfrm>
              <a:off x="7769225" y="799307"/>
              <a:ext cx="209550" cy="209551"/>
              <a:chOff x="4495" y="1198"/>
              <a:chExt cx="160" cy="160"/>
            </a:xfrm>
          </p:grpSpPr>
          <p:sp>
            <p:nvSpPr>
              <p:cNvPr id="139"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40"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134" name="Legend1"/>
            <p:cNvSpPr>
              <a:spLocks noChangeArrowheads="1"/>
            </p:cNvSpPr>
            <p:nvPr/>
          </p:nvSpPr>
          <p:spPr bwMode="auto">
            <a:xfrm>
              <a:off x="8089900" y="26352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5" name="Legend2"/>
            <p:cNvSpPr>
              <a:spLocks noChangeArrowheads="1"/>
            </p:cNvSpPr>
            <p:nvPr/>
          </p:nvSpPr>
          <p:spPr bwMode="auto">
            <a:xfrm>
              <a:off x="8089900" y="538163"/>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6" name="Legend3"/>
            <p:cNvSpPr>
              <a:spLocks noChangeArrowheads="1"/>
            </p:cNvSpPr>
            <p:nvPr/>
          </p:nvSpPr>
          <p:spPr bwMode="auto">
            <a:xfrm>
              <a:off x="8089900" y="812802"/>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7" name="Legend4"/>
            <p:cNvSpPr>
              <a:spLocks noChangeArrowheads="1"/>
            </p:cNvSpPr>
            <p:nvPr/>
          </p:nvSpPr>
          <p:spPr bwMode="auto">
            <a:xfrm>
              <a:off x="8089900" y="108426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8" name="Legend5"/>
            <p:cNvSpPr>
              <a:spLocks noChangeArrowheads="1"/>
            </p:cNvSpPr>
            <p:nvPr/>
          </p:nvSpPr>
          <p:spPr bwMode="auto">
            <a:xfrm>
              <a:off x="8089900" y="136049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grpSp>
    </p:spTree>
    <p:extLst>
      <p:ext uri="{BB962C8B-B14F-4D97-AF65-F5344CB8AC3E}">
        <p14:creationId xmlns:p14="http://schemas.microsoft.com/office/powerpoint/2010/main" val="3258971804"/>
      </p:ext>
    </p:extLst>
  </p:cSld>
  <p:clrMap bg1="lt1" tx1="dk1" bg2="lt2" tx2="dk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Lst>
  <p:timing>
    <p:tnLst>
      <p:par>
        <p:cTn id="1" dur="indefinite" restart="never" nodeType="tmRoot"/>
      </p:par>
    </p:tnLst>
  </p:timing>
  <p:hf hdr="0" ftr="0" dt="0"/>
  <p:txStyles>
    <p:titleStyle>
      <a:lvl1pPr algn="l" defTabSz="913429" rtl="0" eaLnBrk="1" fontAlgn="base" hangingPunct="1">
        <a:spcBef>
          <a:spcPct val="0"/>
        </a:spcBef>
        <a:spcAft>
          <a:spcPct val="0"/>
        </a:spcAft>
        <a:tabLst>
          <a:tab pos="275324" algn="l"/>
        </a:tabLst>
        <a:defRPr sz="1900" b="1" baseline="0">
          <a:solidFill>
            <a:schemeClr val="tx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nvPr>
        </p:nvGraphicFramePr>
        <p:xfrm>
          <a:off x="0" y="0"/>
          <a:ext cx="175483" cy="161974"/>
        </p:xfrm>
        <a:graphic>
          <a:graphicData uri="http://schemas.openxmlformats.org/presentationml/2006/ole">
            <mc:AlternateContent xmlns:mc="http://schemas.openxmlformats.org/markup-compatibility/2006">
              <mc:Choice xmlns:v="urn:schemas-microsoft-com:vml" Requires="v">
                <p:oleObj spid="_x0000_s183419"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175483" cy="161974"/>
                      </a:xfrm>
                      <a:prstGeom prst="rect">
                        <a:avLst/>
                      </a:prstGeom>
                    </p:spPr>
                  </p:pic>
                </p:oleObj>
              </mc:Fallback>
            </mc:AlternateContent>
          </a:graphicData>
        </a:graphic>
      </p:graphicFrame>
      <p:pic>
        <p:nvPicPr>
          <p:cNvPr id="59" name="Picture 58"/>
          <p:cNvPicPr>
            <a:picLocks/>
          </p:cNvPicPr>
          <p:nvPr userDrawn="1"/>
        </p:nvPicPr>
        <p:blipFill>
          <a:blip r:embed="rId26" cstate="print"/>
          <a:stretch>
            <a:fillRect/>
          </a:stretch>
        </p:blipFill>
        <p:spPr bwMode="auto">
          <a:xfrm>
            <a:off x="189523" y="681010"/>
            <a:ext cx="8065476" cy="50511"/>
          </a:xfrm>
          <a:prstGeom prst="rect">
            <a:avLst/>
          </a:prstGeom>
        </p:spPr>
      </p:pic>
      <p:pic>
        <p:nvPicPr>
          <p:cNvPr id="60" name="Picture 59" descr="AGRALogo.png"/>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bwMode="ltGray">
          <a:xfrm>
            <a:off x="8329296" y="388621"/>
            <a:ext cx="1354131" cy="530864"/>
          </a:xfrm>
          <a:prstGeom prst="rect">
            <a:avLst/>
          </a:prstGeom>
        </p:spPr>
      </p:pic>
      <p:sp>
        <p:nvSpPr>
          <p:cNvPr id="1033" name="doc id"/>
          <p:cNvSpPr>
            <a:spLocks noChangeArrowheads="1"/>
          </p:cNvSpPr>
          <p:nvPr/>
        </p:nvSpPr>
        <p:spPr bwMode="auto">
          <a:xfrm>
            <a:off x="8933827" y="37255"/>
            <a:ext cx="726499"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marL="0" marR="0" lvl="0" indent="0" algn="r" defTabSz="913429"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36" name="Rectangle 286"/>
          <p:cNvSpPr>
            <a:spLocks noGrp="1" noChangeArrowheads="1"/>
          </p:cNvSpPr>
          <p:nvPr>
            <p:ph type="body" idx="1"/>
          </p:nvPr>
        </p:nvSpPr>
        <p:spPr bwMode="auto">
          <a:xfrm>
            <a:off x="1878084" y="2508985"/>
            <a:ext cx="4755582"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auto">
          <a:xfrm>
            <a:off x="247650" y="388621"/>
            <a:ext cx="8007350"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1. On-page tracker" hidden="1"/>
          <p:cNvSpPr>
            <a:spLocks noChangeArrowheads="1"/>
          </p:cNvSpPr>
          <p:nvPr/>
        </p:nvSpPr>
        <p:spPr bwMode="auto">
          <a:xfrm>
            <a:off x="247651" y="8087"/>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808080"/>
                </a:solidFill>
                <a:effectLst/>
                <a:uLnTx/>
                <a:uFillTx/>
                <a:latin typeface="Arial"/>
                <a:ea typeface="+mn-ea"/>
                <a:cs typeface="+mn-cs"/>
              </a:rPr>
              <a:t>TRACKER</a:t>
            </a:r>
          </a:p>
        </p:txBody>
      </p:sp>
      <p:sp>
        <p:nvSpPr>
          <p:cNvPr id="11" name="3. Unit of measure" hidden="1"/>
          <p:cNvSpPr txBox="1">
            <a:spLocks noChangeArrowheads="1"/>
          </p:cNvSpPr>
          <p:nvPr/>
        </p:nvSpPr>
        <p:spPr bwMode="auto">
          <a:xfrm>
            <a:off x="247650" y="749678"/>
            <a:ext cx="800735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0" marR="0" lvl="0" indent="0" algn="l" defTabSz="89535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smtClean="0">
                <a:ln>
                  <a:noFill/>
                </a:ln>
                <a:solidFill>
                  <a:srgbClr val="808080"/>
                </a:solidFill>
                <a:effectLst/>
                <a:uLnTx/>
                <a:uFillTx/>
                <a:latin typeface="Arial"/>
                <a:ea typeface="+mn-ea"/>
                <a:cs typeface="+mn-cs"/>
              </a:rPr>
              <a:t>Unit of measure</a:t>
            </a:r>
          </a:p>
        </p:txBody>
      </p:sp>
      <p:grpSp>
        <p:nvGrpSpPr>
          <p:cNvPr id="15" name="ACET" hidden="1"/>
          <p:cNvGrpSpPr>
            <a:grpSpLocks/>
          </p:cNvGrpSpPr>
          <p:nvPr/>
        </p:nvGrpSpPr>
        <p:grpSpPr bwMode="auto">
          <a:xfrm>
            <a:off x="1878084" y="1915010"/>
            <a:ext cx="4713466"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Title</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808080"/>
                  </a:solidFill>
                  <a:effectLst/>
                  <a:uLnTx/>
                  <a:uFillTx/>
                  <a:latin typeface="Arial"/>
                  <a:ea typeface="+mn-ea"/>
                  <a:cs typeface="+mn-cs"/>
                </a:rPr>
                <a:t>Unit of measure</a:t>
              </a:r>
            </a:p>
          </p:txBody>
        </p:sp>
      </p:grpSp>
      <p:sp>
        <p:nvSpPr>
          <p:cNvPr id="104" name="Slide Number"/>
          <p:cNvSpPr txBox="1">
            <a:spLocks/>
          </p:cNvSpPr>
          <p:nvPr userDrawn="1"/>
        </p:nvSpPr>
        <p:spPr bwMode="auto">
          <a:xfrm>
            <a:off x="9558392" y="6643599"/>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42C328C1-A84F-4A39-A664-DBA00541A8C6}"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05" name="Slide Elements" hidden="1"/>
          <p:cNvGrpSpPr/>
          <p:nvPr userDrawn="1"/>
        </p:nvGrpSpPr>
        <p:grpSpPr bwMode="auto">
          <a:xfrm>
            <a:off x="247651" y="6441985"/>
            <a:ext cx="9336748" cy="324724"/>
            <a:chOff x="119063" y="6306659"/>
            <a:chExt cx="8618537" cy="324724"/>
          </a:xfrm>
        </p:grpSpPr>
        <p:sp>
          <p:nvSpPr>
            <p:cNvPr id="106" name="4. Footnote"/>
            <p:cNvSpPr txBox="1">
              <a:spLocks noChangeArrowheads="1"/>
            </p:cNvSpPr>
            <p:nvPr/>
          </p:nvSpPr>
          <p:spPr bwMode="auto">
            <a:xfrm>
              <a:off x="119063" y="6306659"/>
              <a:ext cx="861853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marR="0" lvl="0" indent="-85725" algn="l" defTabSz="895350" rtl="0" eaLnBrk="1" fontAlgn="base" latinLnBrk="0" hangingPunct="1">
                <a:lnSpc>
                  <a:spcPct val="100000"/>
                </a:lnSpc>
                <a:spcBef>
                  <a:spcPct val="0"/>
                </a:spcBef>
                <a:spcAft>
                  <a:spcPct val="0"/>
                </a:spcAft>
                <a:buClrTx/>
                <a:buSzTx/>
                <a:buFontTx/>
                <a:buNone/>
                <a:tabLst/>
                <a:defRPr lang="x-none"/>
              </a:pPr>
              <a:r>
                <a:rPr kumimoji="0" lang="x-none" sz="800" b="0" i="0" u="none" strike="noStrike" kern="1200" cap="none" spc="0" normalizeH="0" baseline="0" noProof="0" dirty="0" smtClean="0">
                  <a:ln>
                    <a:noFill/>
                  </a:ln>
                  <a:solidFill>
                    <a:srgbClr val="000000"/>
                  </a:solidFill>
                  <a:effectLst/>
                  <a:uLnTx/>
                  <a:uFillTx/>
                  <a:latin typeface="Arial"/>
                  <a:ea typeface="+mn-ea"/>
                  <a:cs typeface="+mn-cs"/>
                </a:rPr>
                <a:t>1 Footnote</a:t>
              </a:r>
            </a:p>
          </p:txBody>
        </p:sp>
        <p:sp>
          <p:nvSpPr>
            <p:cNvPr id="107" name="5. Source"/>
            <p:cNvSpPr>
              <a:spLocks noChangeArrowheads="1"/>
            </p:cNvSpPr>
            <p:nvPr/>
          </p:nvSpPr>
          <p:spPr bwMode="auto">
            <a:xfrm>
              <a:off x="119063" y="6508272"/>
              <a:ext cx="794619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19113" marR="0" lvl="0" indent="-519113" algn="l" defTabSz="895350" rtl="0" eaLnBrk="1" fontAlgn="base" latinLnBrk="0" hangingPunct="1">
                <a:lnSpc>
                  <a:spcPct val="100000"/>
                </a:lnSpc>
                <a:spcBef>
                  <a:spcPct val="0"/>
                </a:spcBef>
                <a:spcAft>
                  <a:spcPct val="0"/>
                </a:spcAft>
                <a:buClrTx/>
                <a:buSzTx/>
                <a:buFontTx/>
                <a:buNone/>
                <a:tabLst>
                  <a:tab pos="612775" algn="l"/>
                </a:tabLst>
                <a:defRPr/>
              </a:pPr>
              <a:r>
                <a:rPr kumimoji="0" lang="x-none" sz="800" b="0" i="0" u="none" strike="noStrike" kern="1200" cap="none" spc="0" normalizeH="0" baseline="0" noProof="0" dirty="0">
                  <a:ln>
                    <a:noFill/>
                  </a:ln>
                  <a:solidFill>
                    <a:srgbClr val="000000"/>
                  </a:solidFill>
                  <a:effectLst/>
                  <a:uLnTx/>
                  <a:uFillTx/>
                  <a:latin typeface="Arial"/>
                  <a:ea typeface="+mn-ea"/>
                  <a:cs typeface="+mn-cs"/>
                </a:rPr>
                <a:t>SOURCE : </a:t>
              </a:r>
              <a:r>
                <a:rPr kumimoji="0" lang="x-none" sz="800" b="0" i="0" u="none" strike="noStrike" kern="1200" cap="none" spc="0" normalizeH="0" baseline="0" noProof="0" dirty="0" smtClean="0">
                  <a:ln>
                    <a:noFill/>
                  </a:ln>
                  <a:solidFill>
                    <a:srgbClr val="000000"/>
                  </a:solidFill>
                  <a:effectLst/>
                  <a:uLnTx/>
                  <a:uFillTx/>
                  <a:latin typeface="Arial"/>
                  <a:ea typeface="+mn-ea"/>
                  <a:cs typeface="+mn-cs"/>
                </a:rPr>
                <a:t>Source</a:t>
              </a:r>
              <a:endParaRPr kumimoji="0" lang="en-US" sz="800" b="0" i="0" u="none" strike="noStrike" kern="1200" cap="none" spc="0" normalizeH="0" baseline="0" noProof="0" dirty="0" smtClean="0">
                <a:ln>
                  <a:noFill/>
                </a:ln>
                <a:solidFill>
                  <a:srgbClr val="000000"/>
                </a:solidFill>
                <a:effectLst/>
                <a:uLnTx/>
                <a:uFillTx/>
                <a:latin typeface="Arial"/>
                <a:ea typeface="+mn-ea"/>
                <a:cs typeface="+mn-cs"/>
              </a:endParaRPr>
            </a:p>
          </p:txBody>
        </p:sp>
      </p:grpSp>
      <p:grpSp>
        <p:nvGrpSpPr>
          <p:cNvPr id="108" name="McKSticker" hidden="1"/>
          <p:cNvGrpSpPr/>
          <p:nvPr userDrawn="1"/>
        </p:nvGrpSpPr>
        <p:grpSpPr bwMode="auto">
          <a:xfrm>
            <a:off x="9170647" y="981080"/>
            <a:ext cx="512780" cy="150811"/>
            <a:chOff x="8267440" y="285750"/>
            <a:chExt cx="473335" cy="150811"/>
          </a:xfrm>
        </p:grpSpPr>
        <p:sp>
          <p:nvSpPr>
            <p:cNvPr id="109" name="StickerRectangle"/>
            <p:cNvSpPr>
              <a:spLocks noChangeArrowheads="1"/>
            </p:cNvSpPr>
            <p:nvPr/>
          </p:nvSpPr>
          <p:spPr bwMode="auto">
            <a:xfrm>
              <a:off x="8303851" y="285750"/>
              <a:ext cx="436924"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marL="0" marR="0" lvl="0" indent="0" algn="r" defTabSz="895350" rtl="0" eaLnBrk="1" fontAlgn="base" latinLnBrk="0" hangingPunct="1">
                <a:lnSpc>
                  <a:spcPct val="100000"/>
                </a:lnSpc>
                <a:spcBef>
                  <a:spcPct val="0"/>
                </a:spcBef>
                <a:spcAft>
                  <a:spcPct val="0"/>
                </a:spcAft>
                <a:buClr>
                  <a:srgbClr val="002960"/>
                </a:buClr>
                <a:buSzTx/>
                <a:buFontTx/>
                <a:buNone/>
                <a:tabLst/>
                <a:defRPr/>
              </a:pPr>
              <a:r>
                <a:rPr kumimoji="0" lang="x-none" sz="800" b="0" i="0" u="none" strike="noStrike" kern="1200" cap="none" spc="0" normalizeH="0" baseline="0" noProof="0" dirty="0" smtClean="0">
                  <a:ln>
                    <a:noFill/>
                  </a:ln>
                  <a:solidFill>
                    <a:srgbClr val="808080"/>
                  </a:solidFill>
                  <a:effectLst/>
                  <a:uLnTx/>
                  <a:uFillTx/>
                  <a:latin typeface="Arial"/>
                  <a:ea typeface="+mn-ea"/>
                  <a:cs typeface="+mn-cs"/>
                </a:rPr>
                <a:t>STICKER</a:t>
              </a:r>
              <a:endParaRPr kumimoji="0" lang="x-none" sz="800" b="0" i="0" u="none" strike="noStrike" kern="1200" cap="none" spc="0" normalizeH="0" baseline="0" noProof="0" dirty="0">
                <a:ln>
                  <a:noFill/>
                </a:ln>
                <a:solidFill>
                  <a:srgbClr val="808080"/>
                </a:solidFill>
                <a:effectLst/>
                <a:uLnTx/>
                <a:uFillTx/>
                <a:latin typeface="Arial"/>
                <a:ea typeface="+mn-ea"/>
                <a:cs typeface="+mn-cs"/>
              </a:endParaRPr>
            </a:p>
          </p:txBody>
        </p:sp>
        <p:cxnSp>
          <p:nvCxnSpPr>
            <p:cNvPr id="110" name="AutoShape 31"/>
            <p:cNvCxnSpPr>
              <a:cxnSpLocks noChangeShapeType="1"/>
              <a:stCxn id="109" idx="2"/>
              <a:endCxn id="109" idx="4"/>
            </p:cNvCxnSpPr>
            <p:nvPr/>
          </p:nvCxnSpPr>
          <p:spPr bwMode="auto">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11" name="AutoShape 32"/>
            <p:cNvCxnSpPr>
              <a:cxnSpLocks noChangeShapeType="1"/>
              <a:stCxn id="109" idx="4"/>
              <a:endCxn id="109" idx="6"/>
            </p:cNvCxnSpPr>
            <p:nvPr/>
          </p:nvCxnSpPr>
          <p:spPr bwMode="auto">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12" name="LegendBoxes" hidden="1"/>
          <p:cNvGrpSpPr/>
          <p:nvPr userDrawn="1"/>
        </p:nvGrpSpPr>
        <p:grpSpPr bwMode="auto">
          <a:xfrm>
            <a:off x="8856021" y="974730"/>
            <a:ext cx="784921" cy="997467"/>
            <a:chOff x="7835905" y="279400"/>
            <a:chExt cx="724543" cy="997467"/>
          </a:xfrm>
        </p:grpSpPr>
        <p:sp>
          <p:nvSpPr>
            <p:cNvPr id="113"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4"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5"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6"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17" name="Legend1"/>
            <p:cNvSpPr>
              <a:spLocks noChangeArrowheads="1"/>
            </p:cNvSpPr>
            <p:nvPr/>
          </p:nvSpPr>
          <p:spPr bwMode="auto">
            <a:xfrm>
              <a:off x="8089905"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18" name="Legend2"/>
            <p:cNvSpPr>
              <a:spLocks noChangeArrowheads="1"/>
            </p:cNvSpPr>
            <p:nvPr/>
          </p:nvSpPr>
          <p:spPr bwMode="auto">
            <a:xfrm>
              <a:off x="8089905" y="54927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19" name="Legend3"/>
            <p:cNvSpPr>
              <a:spLocks noChangeArrowheads="1"/>
            </p:cNvSpPr>
            <p:nvPr/>
          </p:nvSpPr>
          <p:spPr bwMode="auto">
            <a:xfrm>
              <a:off x="8089905" y="820738"/>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a:ln>
                    <a:noFill/>
                  </a:ln>
                  <a:solidFill>
                    <a:srgbClr val="000000"/>
                  </a:solidFill>
                  <a:effectLst/>
                  <a:uLnTx/>
                  <a:uFillTx/>
                  <a:latin typeface="Arial"/>
                  <a:ea typeface="+mn-ea"/>
                  <a:cs typeface="+mn-cs"/>
                </a:rPr>
                <a:t>Legend</a:t>
              </a:r>
            </a:p>
          </p:txBody>
        </p:sp>
        <p:sp>
          <p:nvSpPr>
            <p:cNvPr id="120" name="Legend4"/>
            <p:cNvSpPr>
              <a:spLocks noChangeArrowheads="1"/>
            </p:cNvSpPr>
            <p:nvPr/>
          </p:nvSpPr>
          <p:spPr bwMode="auto">
            <a:xfrm>
              <a:off x="8089905" y="10922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a:ln>
                    <a:noFill/>
                  </a:ln>
                  <a:solidFill>
                    <a:srgbClr val="000000"/>
                  </a:solidFill>
                  <a:effectLst/>
                  <a:uLnTx/>
                  <a:uFillTx/>
                  <a:latin typeface="Arial"/>
                  <a:ea typeface="+mn-ea"/>
                  <a:cs typeface="+mn-cs"/>
                </a:rPr>
                <a:t>Legend</a:t>
              </a:r>
            </a:p>
          </p:txBody>
        </p:sp>
      </p:grpSp>
      <p:grpSp>
        <p:nvGrpSpPr>
          <p:cNvPr id="121" name="LegendLines" hidden="1"/>
          <p:cNvGrpSpPr/>
          <p:nvPr userDrawn="1"/>
        </p:nvGrpSpPr>
        <p:grpSpPr bwMode="auto">
          <a:xfrm>
            <a:off x="8522565" y="974730"/>
            <a:ext cx="1118561" cy="730767"/>
            <a:chOff x="7540629" y="279400"/>
            <a:chExt cx="1032518" cy="730767"/>
          </a:xfrm>
        </p:grpSpPr>
        <p:sp>
          <p:nvSpPr>
            <p:cNvPr id="122"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23"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24"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25" name="Legend1"/>
            <p:cNvSpPr>
              <a:spLocks noChangeArrowheads="1"/>
            </p:cNvSpPr>
            <p:nvPr/>
          </p:nvSpPr>
          <p:spPr bwMode="auto">
            <a:xfrm>
              <a:off x="8102604"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26" name="Legend2"/>
            <p:cNvSpPr>
              <a:spLocks noChangeArrowheads="1"/>
            </p:cNvSpPr>
            <p:nvPr/>
          </p:nvSpPr>
          <p:spPr bwMode="auto">
            <a:xfrm>
              <a:off x="8102604" y="5461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27" name="Legend3"/>
            <p:cNvSpPr>
              <a:spLocks noChangeArrowheads="1"/>
            </p:cNvSpPr>
            <p:nvPr/>
          </p:nvSpPr>
          <p:spPr bwMode="auto">
            <a:xfrm>
              <a:off x="8102604" y="8255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28" name="LegendMoons" hidden="1"/>
          <p:cNvGrpSpPr/>
          <p:nvPr userDrawn="1"/>
        </p:nvGrpSpPr>
        <p:grpSpPr bwMode="auto">
          <a:xfrm>
            <a:off x="8783790" y="946154"/>
            <a:ext cx="857153" cy="1306516"/>
            <a:chOff x="7769225" y="250825"/>
            <a:chExt cx="791218" cy="1306516"/>
          </a:xfrm>
        </p:grpSpPr>
        <p:grpSp>
          <p:nvGrpSpPr>
            <p:cNvPr id="129" name="MoonLegend1"/>
            <p:cNvGrpSpPr>
              <a:grpSpLocks noChangeAspect="1"/>
            </p:cNvGrpSpPr>
            <p:nvPr>
              <p:custDataLst>
                <p:tags r:id="rId9"/>
              </p:custDataLst>
            </p:nvPr>
          </p:nvGrpSpPr>
          <p:grpSpPr bwMode="auto">
            <a:xfrm>
              <a:off x="7769225" y="250825"/>
              <a:ext cx="209550" cy="209551"/>
              <a:chOff x="4533" y="183"/>
              <a:chExt cx="144" cy="144"/>
            </a:xfrm>
          </p:grpSpPr>
          <p:sp>
            <p:nvSpPr>
              <p:cNvPr id="147"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48"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30" name="MoonLegend2"/>
            <p:cNvGrpSpPr>
              <a:grpSpLocks noChangeAspect="1"/>
            </p:cNvGrpSpPr>
            <p:nvPr>
              <p:custDataLst>
                <p:tags r:id="rId10"/>
              </p:custDataLst>
            </p:nvPr>
          </p:nvGrpSpPr>
          <p:grpSpPr bwMode="auto">
            <a:xfrm>
              <a:off x="7769225" y="525066"/>
              <a:ext cx="209550" cy="209551"/>
              <a:chOff x="1694" y="2044"/>
              <a:chExt cx="160" cy="160"/>
            </a:xfrm>
          </p:grpSpPr>
          <p:sp>
            <p:nvSpPr>
              <p:cNvPr id="145"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46" name="Arc 42"/>
              <p:cNvSpPr>
                <a:spLocks noChangeAspect="1"/>
              </p:cNvSpPr>
              <p:nvPr>
                <p:custDataLst>
                  <p:tags r:id="rId21"/>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31" name="MoonLegend4"/>
            <p:cNvGrpSpPr>
              <a:grpSpLocks noChangeAspect="1"/>
            </p:cNvGrpSpPr>
            <p:nvPr>
              <p:custDataLst>
                <p:tags r:id="rId11"/>
              </p:custDataLst>
            </p:nvPr>
          </p:nvGrpSpPr>
          <p:grpSpPr bwMode="auto">
            <a:xfrm>
              <a:off x="7769225" y="1073548"/>
              <a:ext cx="209550" cy="209551"/>
              <a:chOff x="4495" y="1198"/>
              <a:chExt cx="160" cy="160"/>
            </a:xfrm>
          </p:grpSpPr>
          <p:sp>
            <p:nvSpPr>
              <p:cNvPr id="143"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44"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32" name="MoonLegend5"/>
            <p:cNvGrpSpPr>
              <a:grpSpLocks noChangeAspect="1"/>
            </p:cNvGrpSpPr>
            <p:nvPr>
              <p:custDataLst>
                <p:tags r:id="rId12"/>
              </p:custDataLst>
            </p:nvPr>
          </p:nvGrpSpPr>
          <p:grpSpPr bwMode="auto">
            <a:xfrm>
              <a:off x="7769225" y="1347790"/>
              <a:ext cx="209550" cy="209551"/>
              <a:chOff x="4495" y="1440"/>
              <a:chExt cx="160" cy="160"/>
            </a:xfrm>
          </p:grpSpPr>
          <p:sp>
            <p:nvSpPr>
              <p:cNvPr id="141"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42"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33" name="MoonLegend3"/>
            <p:cNvGrpSpPr>
              <a:grpSpLocks noChangeAspect="1"/>
            </p:cNvGrpSpPr>
            <p:nvPr>
              <p:custDataLst>
                <p:tags r:id="rId13"/>
              </p:custDataLst>
            </p:nvPr>
          </p:nvGrpSpPr>
          <p:grpSpPr bwMode="auto">
            <a:xfrm>
              <a:off x="7769225" y="799307"/>
              <a:ext cx="209550" cy="209551"/>
              <a:chOff x="4495" y="1198"/>
              <a:chExt cx="160" cy="160"/>
            </a:xfrm>
          </p:grpSpPr>
          <p:sp>
            <p:nvSpPr>
              <p:cNvPr id="139"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40"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6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134" name="Legend1"/>
            <p:cNvSpPr>
              <a:spLocks noChangeArrowheads="1"/>
            </p:cNvSpPr>
            <p:nvPr/>
          </p:nvSpPr>
          <p:spPr bwMode="auto">
            <a:xfrm>
              <a:off x="8089900" y="26352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5" name="Legend2"/>
            <p:cNvSpPr>
              <a:spLocks noChangeArrowheads="1"/>
            </p:cNvSpPr>
            <p:nvPr/>
          </p:nvSpPr>
          <p:spPr bwMode="auto">
            <a:xfrm>
              <a:off x="8089900" y="538163"/>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6" name="Legend3"/>
            <p:cNvSpPr>
              <a:spLocks noChangeArrowheads="1"/>
            </p:cNvSpPr>
            <p:nvPr/>
          </p:nvSpPr>
          <p:spPr bwMode="auto">
            <a:xfrm>
              <a:off x="8089900" y="812802"/>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7" name="Legend4"/>
            <p:cNvSpPr>
              <a:spLocks noChangeArrowheads="1"/>
            </p:cNvSpPr>
            <p:nvPr/>
          </p:nvSpPr>
          <p:spPr bwMode="auto">
            <a:xfrm>
              <a:off x="8089900" y="108426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138" name="Legend5"/>
            <p:cNvSpPr>
              <a:spLocks noChangeArrowheads="1"/>
            </p:cNvSpPr>
            <p:nvPr/>
          </p:nvSpPr>
          <p:spPr bwMode="auto">
            <a:xfrm>
              <a:off x="8089900" y="136049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000000"/>
                </a:buClr>
                <a:buSzTx/>
                <a:buFontTx/>
                <a:buNone/>
                <a:tabLst/>
                <a:defRPr/>
              </a:pPr>
              <a:r>
                <a:rPr kumimoji="0" lang="x-none" sz="1200" b="0" i="0" u="none" strike="noStrike" kern="1200" cap="none" spc="0" normalizeH="0" baseline="0" noProof="0" dirty="0" smtClean="0">
                  <a:ln>
                    <a:noFill/>
                  </a:ln>
                  <a:solidFill>
                    <a:srgbClr val="000000"/>
                  </a:solidFill>
                  <a:effectLst/>
                  <a:uLnTx/>
                  <a:uFillTx/>
                  <a:latin typeface="Arial"/>
                  <a:ea typeface="+mn-ea"/>
                  <a:cs typeface="+mn-cs"/>
                </a:rPr>
                <a:t>Legend</a:t>
              </a:r>
              <a:endParaRPr kumimoji="0" lang="x-none" sz="1200" b="0" i="0" u="none" strike="noStrike" kern="1200" cap="none" spc="0" normalizeH="0" baseline="0" noProof="0" dirty="0">
                <a:ln>
                  <a:noFill/>
                </a:ln>
                <a:solidFill>
                  <a:srgbClr val="000000"/>
                </a:solidFill>
                <a:effectLst/>
                <a:uLnTx/>
                <a:uFillTx/>
                <a:latin typeface="Arial"/>
                <a:ea typeface="+mn-ea"/>
                <a:cs typeface="+mn-cs"/>
              </a:endParaRPr>
            </a:p>
          </p:txBody>
        </p:sp>
      </p:grpSp>
    </p:spTree>
    <p:extLst>
      <p:ext uri="{BB962C8B-B14F-4D97-AF65-F5344CB8AC3E}">
        <p14:creationId xmlns:p14="http://schemas.microsoft.com/office/powerpoint/2010/main" val="3884148844"/>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Lst>
  <p:timing>
    <p:tnLst>
      <p:par>
        <p:cTn id="1" dur="indefinite" restart="never" nodeType="tmRoot"/>
      </p:par>
    </p:tnLst>
  </p:timing>
  <p:hf hdr="0" ftr="0" dt="0"/>
  <p:txStyles>
    <p:titleStyle>
      <a:lvl1pPr algn="l" defTabSz="913429" rtl="0" eaLnBrk="1" fontAlgn="base" hangingPunct="1">
        <a:spcBef>
          <a:spcPct val="0"/>
        </a:spcBef>
        <a:spcAft>
          <a:spcPct val="0"/>
        </a:spcAft>
        <a:tabLst>
          <a:tab pos="275324" algn="l"/>
        </a:tabLst>
        <a:defRPr sz="1900" b="1" baseline="0">
          <a:solidFill>
            <a:schemeClr val="tx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63"/>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3"/>
            </p:custDataLst>
            <p:extLst>
              <p:ext uri="{D42A27DB-BD31-4B8C-83A1-F6EECF244321}">
                <p14:modId xmlns:p14="http://schemas.microsoft.com/office/powerpoint/2010/main" val="2238552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0402" name="think-cell Slide" r:id="rId14" imgW="327" imgH="327" progId="TCLayout.ActiveDocument.1">
                  <p:embed/>
                </p:oleObj>
              </mc:Choice>
              <mc:Fallback>
                <p:oleObj name="think-cell Slide" r:id="rId14" imgW="327" imgH="327"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pic>
        <p:nvPicPr>
          <p:cNvPr id="64" name="Google Shape;64;p10"/>
          <p:cNvPicPr preferRelativeResize="0"/>
          <p:nvPr/>
        </p:nvPicPr>
        <p:blipFill rotWithShape="1">
          <a:blip r:embed="rId16">
            <a:alphaModFix/>
          </a:blip>
          <a:srcRect/>
          <a:stretch/>
        </p:blipFill>
        <p:spPr>
          <a:xfrm>
            <a:off x="1589" y="1590"/>
            <a:ext cx="1587" cy="1587"/>
          </a:xfrm>
          <a:prstGeom prst="rect">
            <a:avLst/>
          </a:prstGeom>
          <a:noFill/>
          <a:ln>
            <a:noFill/>
          </a:ln>
        </p:spPr>
      </p:pic>
      <p:sp>
        <p:nvSpPr>
          <p:cNvPr id="65" name="Google Shape;65;p10"/>
          <p:cNvSpPr txBox="1"/>
          <p:nvPr/>
        </p:nvSpPr>
        <p:spPr>
          <a:xfrm>
            <a:off x="7234959" y="6355212"/>
            <a:ext cx="2310775" cy="365592"/>
          </a:xfrm>
          <a:prstGeom prst="rect">
            <a:avLst/>
          </a:prstGeom>
          <a:noFill/>
          <a:ln>
            <a:noFill/>
          </a:ln>
        </p:spPr>
        <p:txBody>
          <a:bodyPr spcFirstLastPara="1" wrap="square" lIns="82050" tIns="41025" rIns="82050" bIns="41025" anchor="ctr" anchorCtr="0">
            <a:noAutofit/>
          </a:bodyPr>
          <a:lstStyle/>
          <a:p>
            <a:pPr marL="0" marR="0" lvl="0" indent="0" algn="r" rtl="0">
              <a:lnSpc>
                <a:spcPct val="100000"/>
              </a:lnSpc>
              <a:spcBef>
                <a:spcPts val="0"/>
              </a:spcBef>
              <a:spcAft>
                <a:spcPts val="0"/>
              </a:spcAft>
              <a:buClr>
                <a:srgbClr val="3F5F1F"/>
              </a:buClr>
              <a:buSzPts val="900"/>
              <a:buFont typeface="Calibri"/>
              <a:buNone/>
            </a:pPr>
            <a:fld id="{00000000-1234-1234-1234-123412341234}" type="slidenum">
              <a:rPr lang="en-US" sz="900" b="0" i="0" u="none" strike="noStrike" cap="none">
                <a:solidFill>
                  <a:srgbClr val="3F5F1F"/>
                </a:solidFill>
                <a:latin typeface="Calibri"/>
                <a:ea typeface="Calibri"/>
                <a:cs typeface="Calibri"/>
                <a:sym typeface="Calibri"/>
              </a:rPr>
              <a:t>‹#›</a:t>
            </a:fld>
            <a:endParaRPr sz="900" b="0" i="0" u="none" strike="noStrike" cap="none" dirty="0">
              <a:solidFill>
                <a:srgbClr val="3F5F1F"/>
              </a:solidFill>
              <a:latin typeface="Calibri"/>
              <a:ea typeface="Calibri"/>
              <a:cs typeface="Calibri"/>
              <a:sym typeface="Calibri"/>
            </a:endParaRPr>
          </a:p>
        </p:txBody>
      </p:sp>
      <p:cxnSp>
        <p:nvCxnSpPr>
          <p:cNvPr id="66" name="Google Shape;66;p10"/>
          <p:cNvCxnSpPr/>
          <p:nvPr/>
        </p:nvCxnSpPr>
        <p:spPr>
          <a:xfrm>
            <a:off x="450741" y="851340"/>
            <a:ext cx="7315200" cy="0"/>
          </a:xfrm>
          <a:prstGeom prst="straightConnector1">
            <a:avLst/>
          </a:prstGeom>
          <a:noFill/>
          <a:ln w="19050" cap="flat" cmpd="sng">
            <a:solidFill>
              <a:srgbClr val="548135"/>
            </a:solidFill>
            <a:prstDash val="dot"/>
            <a:miter lim="800000"/>
            <a:headEnd type="none" w="sm" len="sm"/>
            <a:tailEnd type="none" w="sm" len="sm"/>
          </a:ln>
        </p:spPr>
      </p:cxnSp>
      <p:pic>
        <p:nvPicPr>
          <p:cNvPr id="67" name="Google Shape;67;p10"/>
          <p:cNvPicPr preferRelativeResize="0"/>
          <p:nvPr/>
        </p:nvPicPr>
        <p:blipFill rotWithShape="1">
          <a:blip r:embed="rId17">
            <a:alphaModFix/>
          </a:blip>
          <a:srcRect/>
          <a:stretch/>
        </p:blipFill>
        <p:spPr>
          <a:xfrm>
            <a:off x="0" y="6564694"/>
            <a:ext cx="4343400" cy="293305"/>
          </a:xfrm>
          <a:prstGeom prst="rect">
            <a:avLst/>
          </a:prstGeom>
          <a:noFill/>
          <a:ln>
            <a:noFill/>
          </a:ln>
        </p:spPr>
      </p:pic>
      <p:pic>
        <p:nvPicPr>
          <p:cNvPr id="68" name="Google Shape;68;p10"/>
          <p:cNvPicPr preferRelativeResize="0"/>
          <p:nvPr/>
        </p:nvPicPr>
        <p:blipFill rotWithShape="1">
          <a:blip r:embed="rId18">
            <a:alphaModFix/>
          </a:blip>
          <a:srcRect/>
          <a:stretch/>
        </p:blipFill>
        <p:spPr>
          <a:xfrm>
            <a:off x="7924800" y="323850"/>
            <a:ext cx="1534754" cy="514350"/>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56" r:id="rId1"/>
    <p:sldLayoutId id="2147483657" r:id="rId2"/>
    <p:sldLayoutId id="2147483658" r:id="rId3"/>
    <p:sldLayoutId id="2147483661" r:id="rId4"/>
    <p:sldLayoutId id="2147483663" r:id="rId5"/>
    <p:sldLayoutId id="2147483750" r:id="rId6"/>
    <p:sldLayoutId id="2147483751" r:id="rId7"/>
    <p:sldLayoutId id="2147483800" r:id="rId8"/>
    <p:sldLayoutId id="2147483808" r:id="rId9"/>
    <p:sldLayoutId id="2147483809" r:id="rId10"/>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extLst>
              <p:ext uri="{D42A27DB-BD31-4B8C-83A1-F6EECF244321}">
                <p14:modId xmlns:p14="http://schemas.microsoft.com/office/powerpoint/2010/main" val="3375644268"/>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3796"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9" y="1590"/>
                        <a:ext cx="1587" cy="1587"/>
                      </a:xfrm>
                      <a:prstGeom prst="rect">
                        <a:avLst/>
                      </a:prstGeom>
                    </p:spPr>
                  </p:pic>
                </p:oleObj>
              </mc:Fallback>
            </mc:AlternateContent>
          </a:graphicData>
        </a:graphic>
      </p:graphicFrame>
      <p:sp>
        <p:nvSpPr>
          <p:cNvPr id="9" name="Slide Number Placeholder 5"/>
          <p:cNvSpPr txBox="1">
            <a:spLocks/>
          </p:cNvSpPr>
          <p:nvPr userDrawn="1"/>
        </p:nvSpPr>
        <p:spPr>
          <a:xfrm>
            <a:off x="7234959" y="6355212"/>
            <a:ext cx="2310775" cy="365592"/>
          </a:xfrm>
          <a:prstGeom prst="rect">
            <a:avLst/>
          </a:prstGeom>
        </p:spPr>
        <p:txBody>
          <a:bodyPr vert="horz" lIns="82058" tIns="41029" rIns="82058" bIns="41029" rtlCol="0" anchor="ctr"/>
          <a:lstStyle>
            <a:lvl1pPr algn="r">
              <a:defRPr sz="1200">
                <a:solidFill>
                  <a:schemeClr val="tx1">
                    <a:tint val="75000"/>
                  </a:schemeClr>
                </a:solidFill>
              </a:defRPr>
            </a:lvl1pPr>
          </a:lstStyle>
          <a:p>
            <a:pPr defTabSz="914288">
              <a:buClrTx/>
              <a:buFontTx/>
              <a:buNone/>
              <a:defRPr/>
            </a:pPr>
            <a:fld id="{FA26E27B-9644-4D47-9CB9-4DAD21E549BD}" type="slidenum">
              <a:rPr lang="en-US" sz="900" kern="1200" smtClean="0">
                <a:solidFill>
                  <a:srgbClr val="3F5F1F"/>
                </a:solidFill>
                <a:latin typeface="Calibri" panose="020F0502020204030204"/>
                <a:ea typeface="+mn-ea"/>
                <a:cs typeface="+mn-cs"/>
              </a:rPr>
              <a:pPr defTabSz="914288">
                <a:buClrTx/>
                <a:buFontTx/>
                <a:buNone/>
                <a:defRPr/>
              </a:pPr>
              <a:t>‹#›</a:t>
            </a:fld>
            <a:endParaRPr lang="en-US" sz="900" kern="1200" dirty="0">
              <a:solidFill>
                <a:srgbClr val="3F5F1F"/>
              </a:solidFill>
              <a:latin typeface="Calibri" panose="020F0502020204030204"/>
              <a:ea typeface="+mn-ea"/>
              <a:cs typeface="+mn-cs"/>
            </a:endParaRPr>
          </a:p>
        </p:txBody>
      </p:sp>
      <p:cxnSp>
        <p:nvCxnSpPr>
          <p:cNvPr id="12" name="Straight Connector 11"/>
          <p:cNvCxnSpPr>
            <a:cxnSpLocks/>
          </p:cNvCxnSpPr>
          <p:nvPr userDrawn="1"/>
        </p:nvCxnSpPr>
        <p:spPr>
          <a:xfrm>
            <a:off x="450741" y="851340"/>
            <a:ext cx="7315200" cy="0"/>
          </a:xfrm>
          <a:prstGeom prst="line">
            <a:avLst/>
          </a:prstGeom>
          <a:ln w="19050">
            <a:solidFill>
              <a:schemeClr val="accent6">
                <a:lumMod val="75000"/>
              </a:schemeClr>
            </a:solidFill>
            <a:prstDash val="sysDot"/>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0" y="6564694"/>
            <a:ext cx="4343400" cy="293305"/>
          </a:xfrm>
          <a:prstGeom prst="rect">
            <a:avLst/>
          </a:prstGeom>
        </p:spPr>
      </p:pic>
      <p:pic>
        <p:nvPicPr>
          <p:cNvPr id="7" name="Picture 6"/>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7924800" y="323850"/>
            <a:ext cx="1534754" cy="514350"/>
          </a:xfrm>
          <a:prstGeom prst="rect">
            <a:avLst/>
          </a:prstGeom>
        </p:spPr>
      </p:pic>
    </p:spTree>
    <p:extLst>
      <p:ext uri="{BB962C8B-B14F-4D97-AF65-F5344CB8AC3E}">
        <p14:creationId xmlns:p14="http://schemas.microsoft.com/office/powerpoint/2010/main" val="2869961928"/>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4" r:id="rId8"/>
    <p:sldLayoutId id="2147483685" r:id="rId9"/>
    <p:sldLayoutId id="2147483686" r:id="rId10"/>
    <p:sldLayoutId id="2147483687" r:id="rId11"/>
  </p:sldLayoutIdLst>
  <p:txStyles>
    <p:titleStyle>
      <a:lvl1pPr algn="l" defTabSz="91439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9" indent="-228599" algn="l" defTabSz="91439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96" indent="-228599" algn="l" defTabSz="91439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93" indent="-228599" algn="l" defTabSz="91439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91"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88"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85"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83"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95" rtl="0" eaLnBrk="1" latinLnBrk="0" hangingPunct="1">
        <a:defRPr sz="1800" kern="1200">
          <a:solidFill>
            <a:schemeClr val="tx1"/>
          </a:solidFill>
          <a:latin typeface="+mn-lt"/>
          <a:ea typeface="+mn-ea"/>
          <a:cs typeface="+mn-cs"/>
        </a:defRPr>
      </a:lvl1pPr>
      <a:lvl2pPr marL="457197" algn="l" defTabSz="914395" rtl="0" eaLnBrk="1" latinLnBrk="0" hangingPunct="1">
        <a:defRPr sz="1800" kern="1200">
          <a:solidFill>
            <a:schemeClr val="tx1"/>
          </a:solidFill>
          <a:latin typeface="+mn-lt"/>
          <a:ea typeface="+mn-ea"/>
          <a:cs typeface="+mn-cs"/>
        </a:defRPr>
      </a:lvl2pPr>
      <a:lvl3pPr marL="914395" algn="l" defTabSz="914395" rtl="0" eaLnBrk="1" latinLnBrk="0" hangingPunct="1">
        <a:defRPr sz="1800" kern="1200">
          <a:solidFill>
            <a:schemeClr val="tx1"/>
          </a:solidFill>
          <a:latin typeface="+mn-lt"/>
          <a:ea typeface="+mn-ea"/>
          <a:cs typeface="+mn-cs"/>
        </a:defRPr>
      </a:lvl3pPr>
      <a:lvl4pPr marL="1371592" algn="l" defTabSz="914395" rtl="0" eaLnBrk="1" latinLnBrk="0" hangingPunct="1">
        <a:defRPr sz="1800" kern="1200">
          <a:solidFill>
            <a:schemeClr val="tx1"/>
          </a:solidFill>
          <a:latin typeface="+mn-lt"/>
          <a:ea typeface="+mn-ea"/>
          <a:cs typeface="+mn-cs"/>
        </a:defRPr>
      </a:lvl4pPr>
      <a:lvl5pPr marL="1828789" algn="l" defTabSz="914395" rtl="0" eaLnBrk="1" latinLnBrk="0" hangingPunct="1">
        <a:defRPr sz="1800" kern="1200">
          <a:solidFill>
            <a:schemeClr val="tx1"/>
          </a:solidFill>
          <a:latin typeface="+mn-lt"/>
          <a:ea typeface="+mn-ea"/>
          <a:cs typeface="+mn-cs"/>
        </a:defRPr>
      </a:lvl5pPr>
      <a:lvl6pPr marL="2285987" algn="l" defTabSz="914395" rtl="0" eaLnBrk="1" latinLnBrk="0" hangingPunct="1">
        <a:defRPr sz="1800" kern="1200">
          <a:solidFill>
            <a:schemeClr val="tx1"/>
          </a:solidFill>
          <a:latin typeface="+mn-lt"/>
          <a:ea typeface="+mn-ea"/>
          <a:cs typeface="+mn-cs"/>
        </a:defRPr>
      </a:lvl6pPr>
      <a:lvl7pPr marL="2743184" algn="l" defTabSz="914395" rtl="0" eaLnBrk="1" latinLnBrk="0" hangingPunct="1">
        <a:defRPr sz="1800" kern="1200">
          <a:solidFill>
            <a:schemeClr val="tx1"/>
          </a:solidFill>
          <a:latin typeface="+mn-lt"/>
          <a:ea typeface="+mn-ea"/>
          <a:cs typeface="+mn-cs"/>
        </a:defRPr>
      </a:lvl7pPr>
      <a:lvl8pPr marL="3200381" algn="l" defTabSz="914395" rtl="0" eaLnBrk="1" latinLnBrk="0" hangingPunct="1">
        <a:defRPr sz="1800" kern="1200">
          <a:solidFill>
            <a:schemeClr val="tx1"/>
          </a:solidFill>
          <a:latin typeface="+mn-lt"/>
          <a:ea typeface="+mn-ea"/>
          <a:cs typeface="+mn-cs"/>
        </a:defRPr>
      </a:lvl8pPr>
      <a:lvl9pPr marL="3657579" algn="l" defTabSz="914395"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3"/>
            </p:custDataLst>
            <p:extLst>
              <p:ext uri="{D42A27DB-BD31-4B8C-83A1-F6EECF244321}">
                <p14:modId xmlns:p14="http://schemas.microsoft.com/office/powerpoint/2010/main" val="1408910745"/>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5001"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9" y="1590"/>
                        <a:ext cx="1587" cy="1587"/>
                      </a:xfrm>
                      <a:prstGeom prst="rect">
                        <a:avLst/>
                      </a:prstGeom>
                    </p:spPr>
                  </p:pic>
                </p:oleObj>
              </mc:Fallback>
            </mc:AlternateContent>
          </a:graphicData>
        </a:graphic>
      </p:graphicFrame>
      <p:sp>
        <p:nvSpPr>
          <p:cNvPr id="9" name="Slide Number Placeholder 5"/>
          <p:cNvSpPr txBox="1">
            <a:spLocks/>
          </p:cNvSpPr>
          <p:nvPr userDrawn="1"/>
        </p:nvSpPr>
        <p:spPr>
          <a:xfrm>
            <a:off x="7234959" y="6355212"/>
            <a:ext cx="2310775" cy="365592"/>
          </a:xfrm>
          <a:prstGeom prst="rect">
            <a:avLst/>
          </a:prstGeom>
        </p:spPr>
        <p:txBody>
          <a:bodyPr vert="horz" lIns="82058" tIns="41029" rIns="82058" bIns="41029" rtlCol="0" anchor="ctr"/>
          <a:lstStyle>
            <a:lvl1pPr algn="r">
              <a:defRPr sz="1200">
                <a:solidFill>
                  <a:schemeClr val="tx1">
                    <a:tint val="75000"/>
                  </a:schemeClr>
                </a:solidFill>
              </a:defRPr>
            </a:lvl1pPr>
          </a:lstStyle>
          <a:p>
            <a:pPr defTabSz="914288">
              <a:buClrTx/>
              <a:buFontTx/>
              <a:buNone/>
              <a:defRPr/>
            </a:pPr>
            <a:fld id="{FA26E27B-9644-4D47-9CB9-4DAD21E549BD}" type="slidenum">
              <a:rPr lang="en-US" sz="900" kern="1200" smtClean="0">
                <a:solidFill>
                  <a:srgbClr val="3F5F1F"/>
                </a:solidFill>
                <a:latin typeface="Calibri" panose="020F0502020204030204"/>
                <a:ea typeface="+mn-ea"/>
                <a:cs typeface="+mn-cs"/>
              </a:rPr>
              <a:pPr defTabSz="914288">
                <a:buClrTx/>
                <a:buFontTx/>
                <a:buNone/>
                <a:defRPr/>
              </a:pPr>
              <a:t>‹#›</a:t>
            </a:fld>
            <a:endParaRPr lang="en-US" sz="900" kern="1200" dirty="0">
              <a:solidFill>
                <a:srgbClr val="3F5F1F"/>
              </a:solidFill>
              <a:latin typeface="Calibri" panose="020F0502020204030204"/>
              <a:ea typeface="+mn-ea"/>
              <a:cs typeface="+mn-cs"/>
            </a:endParaRPr>
          </a:p>
        </p:txBody>
      </p:sp>
      <p:cxnSp>
        <p:nvCxnSpPr>
          <p:cNvPr id="12" name="Straight Connector 11"/>
          <p:cNvCxnSpPr>
            <a:cxnSpLocks/>
          </p:cNvCxnSpPr>
          <p:nvPr userDrawn="1"/>
        </p:nvCxnSpPr>
        <p:spPr>
          <a:xfrm>
            <a:off x="450741" y="851340"/>
            <a:ext cx="7315200" cy="0"/>
          </a:xfrm>
          <a:prstGeom prst="line">
            <a:avLst/>
          </a:prstGeom>
          <a:ln w="19050">
            <a:solidFill>
              <a:schemeClr val="accent6">
                <a:lumMod val="75000"/>
              </a:schemeClr>
            </a:solidFill>
            <a:prstDash val="sysDot"/>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0" y="6564694"/>
            <a:ext cx="4343400" cy="293305"/>
          </a:xfrm>
          <a:prstGeom prst="rect">
            <a:avLst/>
          </a:prstGeom>
        </p:spPr>
      </p:pic>
      <p:pic>
        <p:nvPicPr>
          <p:cNvPr id="7" name="Picture 6"/>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7924800" y="323850"/>
            <a:ext cx="1534754" cy="514350"/>
          </a:xfrm>
          <a:prstGeom prst="rect">
            <a:avLst/>
          </a:prstGeom>
        </p:spPr>
      </p:pic>
    </p:spTree>
    <p:extLst>
      <p:ext uri="{BB962C8B-B14F-4D97-AF65-F5344CB8AC3E}">
        <p14:creationId xmlns:p14="http://schemas.microsoft.com/office/powerpoint/2010/main" val="1069431607"/>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8" r:id="rId8"/>
    <p:sldLayoutId id="2147483699" r:id="rId9"/>
    <p:sldLayoutId id="2147483700" r:id="rId10"/>
  </p:sldLayoutIdLst>
  <p:txStyles>
    <p:titleStyle>
      <a:lvl1pPr algn="l" defTabSz="91439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9" indent="-228599" algn="l" defTabSz="91439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96" indent="-228599" algn="l" defTabSz="91439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93" indent="-228599" algn="l" defTabSz="91439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91"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88"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85"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83"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95" rtl="0" eaLnBrk="1" latinLnBrk="0" hangingPunct="1">
        <a:defRPr sz="1800" kern="1200">
          <a:solidFill>
            <a:schemeClr val="tx1"/>
          </a:solidFill>
          <a:latin typeface="+mn-lt"/>
          <a:ea typeface="+mn-ea"/>
          <a:cs typeface="+mn-cs"/>
        </a:defRPr>
      </a:lvl1pPr>
      <a:lvl2pPr marL="457197" algn="l" defTabSz="914395" rtl="0" eaLnBrk="1" latinLnBrk="0" hangingPunct="1">
        <a:defRPr sz="1800" kern="1200">
          <a:solidFill>
            <a:schemeClr val="tx1"/>
          </a:solidFill>
          <a:latin typeface="+mn-lt"/>
          <a:ea typeface="+mn-ea"/>
          <a:cs typeface="+mn-cs"/>
        </a:defRPr>
      </a:lvl2pPr>
      <a:lvl3pPr marL="914395" algn="l" defTabSz="914395" rtl="0" eaLnBrk="1" latinLnBrk="0" hangingPunct="1">
        <a:defRPr sz="1800" kern="1200">
          <a:solidFill>
            <a:schemeClr val="tx1"/>
          </a:solidFill>
          <a:latin typeface="+mn-lt"/>
          <a:ea typeface="+mn-ea"/>
          <a:cs typeface="+mn-cs"/>
        </a:defRPr>
      </a:lvl3pPr>
      <a:lvl4pPr marL="1371592" algn="l" defTabSz="914395" rtl="0" eaLnBrk="1" latinLnBrk="0" hangingPunct="1">
        <a:defRPr sz="1800" kern="1200">
          <a:solidFill>
            <a:schemeClr val="tx1"/>
          </a:solidFill>
          <a:latin typeface="+mn-lt"/>
          <a:ea typeface="+mn-ea"/>
          <a:cs typeface="+mn-cs"/>
        </a:defRPr>
      </a:lvl4pPr>
      <a:lvl5pPr marL="1828789" algn="l" defTabSz="914395" rtl="0" eaLnBrk="1" latinLnBrk="0" hangingPunct="1">
        <a:defRPr sz="1800" kern="1200">
          <a:solidFill>
            <a:schemeClr val="tx1"/>
          </a:solidFill>
          <a:latin typeface="+mn-lt"/>
          <a:ea typeface="+mn-ea"/>
          <a:cs typeface="+mn-cs"/>
        </a:defRPr>
      </a:lvl5pPr>
      <a:lvl6pPr marL="2285987" algn="l" defTabSz="914395" rtl="0" eaLnBrk="1" latinLnBrk="0" hangingPunct="1">
        <a:defRPr sz="1800" kern="1200">
          <a:solidFill>
            <a:schemeClr val="tx1"/>
          </a:solidFill>
          <a:latin typeface="+mn-lt"/>
          <a:ea typeface="+mn-ea"/>
          <a:cs typeface="+mn-cs"/>
        </a:defRPr>
      </a:lvl6pPr>
      <a:lvl7pPr marL="2743184" algn="l" defTabSz="914395" rtl="0" eaLnBrk="1" latinLnBrk="0" hangingPunct="1">
        <a:defRPr sz="1800" kern="1200">
          <a:solidFill>
            <a:schemeClr val="tx1"/>
          </a:solidFill>
          <a:latin typeface="+mn-lt"/>
          <a:ea typeface="+mn-ea"/>
          <a:cs typeface="+mn-cs"/>
        </a:defRPr>
      </a:lvl7pPr>
      <a:lvl8pPr marL="3200381" algn="l" defTabSz="914395" rtl="0" eaLnBrk="1" latinLnBrk="0" hangingPunct="1">
        <a:defRPr sz="1800" kern="1200">
          <a:solidFill>
            <a:schemeClr val="tx1"/>
          </a:solidFill>
          <a:latin typeface="+mn-lt"/>
          <a:ea typeface="+mn-ea"/>
          <a:cs typeface="+mn-cs"/>
        </a:defRPr>
      </a:lvl8pPr>
      <a:lvl9pPr marL="3657579" algn="l" defTabSz="914395"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extLst>
              <p:ext uri="{D42A27DB-BD31-4B8C-83A1-F6EECF244321}">
                <p14:modId xmlns:p14="http://schemas.microsoft.com/office/powerpoint/2010/main" val="3831159270"/>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7288"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9" y="1590"/>
                        <a:ext cx="1587" cy="1587"/>
                      </a:xfrm>
                      <a:prstGeom prst="rect">
                        <a:avLst/>
                      </a:prstGeom>
                    </p:spPr>
                  </p:pic>
                </p:oleObj>
              </mc:Fallback>
            </mc:AlternateContent>
          </a:graphicData>
        </a:graphic>
      </p:graphicFrame>
      <p:sp>
        <p:nvSpPr>
          <p:cNvPr id="9" name="Slide Number Placeholder 5"/>
          <p:cNvSpPr txBox="1">
            <a:spLocks/>
          </p:cNvSpPr>
          <p:nvPr userDrawn="1"/>
        </p:nvSpPr>
        <p:spPr>
          <a:xfrm>
            <a:off x="7234959" y="6355212"/>
            <a:ext cx="2310775" cy="365592"/>
          </a:xfrm>
          <a:prstGeom prst="rect">
            <a:avLst/>
          </a:prstGeom>
        </p:spPr>
        <p:txBody>
          <a:bodyPr vert="horz" lIns="82058" tIns="41029" rIns="82058" bIns="41029" rtlCol="0" anchor="ctr"/>
          <a:lstStyle>
            <a:lvl1pPr algn="r">
              <a:defRPr sz="1200">
                <a:solidFill>
                  <a:schemeClr val="tx1">
                    <a:tint val="75000"/>
                  </a:schemeClr>
                </a:solidFill>
              </a:defRPr>
            </a:lvl1pPr>
          </a:lstStyle>
          <a:p>
            <a:pPr defTabSz="914288">
              <a:buClrTx/>
              <a:buFontTx/>
              <a:buNone/>
              <a:defRPr/>
            </a:pPr>
            <a:fld id="{FA26E27B-9644-4D47-9CB9-4DAD21E549BD}" type="slidenum">
              <a:rPr lang="en-US" sz="900" kern="1200" smtClean="0">
                <a:solidFill>
                  <a:srgbClr val="3F5F1F"/>
                </a:solidFill>
                <a:latin typeface="Calibri" panose="020F0502020204030204"/>
                <a:ea typeface="+mn-ea"/>
                <a:cs typeface="+mn-cs"/>
              </a:rPr>
              <a:pPr defTabSz="914288">
                <a:buClrTx/>
                <a:buFontTx/>
                <a:buNone/>
                <a:defRPr/>
              </a:pPr>
              <a:t>‹#›</a:t>
            </a:fld>
            <a:endParaRPr lang="en-US" sz="900" kern="1200" dirty="0">
              <a:solidFill>
                <a:srgbClr val="3F5F1F"/>
              </a:solidFill>
              <a:latin typeface="Calibri" panose="020F0502020204030204"/>
              <a:ea typeface="+mn-ea"/>
              <a:cs typeface="+mn-cs"/>
            </a:endParaRPr>
          </a:p>
        </p:txBody>
      </p:sp>
      <p:cxnSp>
        <p:nvCxnSpPr>
          <p:cNvPr id="12" name="Straight Connector 11"/>
          <p:cNvCxnSpPr>
            <a:cxnSpLocks/>
          </p:cNvCxnSpPr>
          <p:nvPr userDrawn="1"/>
        </p:nvCxnSpPr>
        <p:spPr>
          <a:xfrm>
            <a:off x="450741" y="851340"/>
            <a:ext cx="7315200" cy="0"/>
          </a:xfrm>
          <a:prstGeom prst="line">
            <a:avLst/>
          </a:prstGeom>
          <a:ln w="19050">
            <a:solidFill>
              <a:schemeClr val="accent6">
                <a:lumMod val="75000"/>
              </a:schemeClr>
            </a:solidFill>
            <a:prstDash val="sysDot"/>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0" y="6564694"/>
            <a:ext cx="4343400" cy="293305"/>
          </a:xfrm>
          <a:prstGeom prst="rect">
            <a:avLst/>
          </a:prstGeom>
        </p:spPr>
      </p:pic>
      <p:pic>
        <p:nvPicPr>
          <p:cNvPr id="7" name="Picture 6"/>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7924800" y="323850"/>
            <a:ext cx="1534754" cy="514350"/>
          </a:xfrm>
          <a:prstGeom prst="rect">
            <a:avLst/>
          </a:prstGeom>
        </p:spPr>
      </p:pic>
    </p:spTree>
    <p:extLst>
      <p:ext uri="{BB962C8B-B14F-4D97-AF65-F5344CB8AC3E}">
        <p14:creationId xmlns:p14="http://schemas.microsoft.com/office/powerpoint/2010/main" val="629039521"/>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10" r:id="rId8"/>
    <p:sldLayoutId id="2147483711" r:id="rId9"/>
    <p:sldLayoutId id="2147483712" r:id="rId10"/>
    <p:sldLayoutId id="2147483713" r:id="rId11"/>
  </p:sldLayoutIdLst>
  <p:txStyles>
    <p:titleStyle>
      <a:lvl1pPr algn="l" defTabSz="91439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9" indent="-228599" algn="l" defTabSz="91439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96" indent="-228599" algn="l" defTabSz="91439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93" indent="-228599" algn="l" defTabSz="91439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91"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88"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85"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83"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95" rtl="0" eaLnBrk="1" latinLnBrk="0" hangingPunct="1">
        <a:defRPr sz="1800" kern="1200">
          <a:solidFill>
            <a:schemeClr val="tx1"/>
          </a:solidFill>
          <a:latin typeface="+mn-lt"/>
          <a:ea typeface="+mn-ea"/>
          <a:cs typeface="+mn-cs"/>
        </a:defRPr>
      </a:lvl1pPr>
      <a:lvl2pPr marL="457197" algn="l" defTabSz="914395" rtl="0" eaLnBrk="1" latinLnBrk="0" hangingPunct="1">
        <a:defRPr sz="1800" kern="1200">
          <a:solidFill>
            <a:schemeClr val="tx1"/>
          </a:solidFill>
          <a:latin typeface="+mn-lt"/>
          <a:ea typeface="+mn-ea"/>
          <a:cs typeface="+mn-cs"/>
        </a:defRPr>
      </a:lvl2pPr>
      <a:lvl3pPr marL="914395" algn="l" defTabSz="914395" rtl="0" eaLnBrk="1" latinLnBrk="0" hangingPunct="1">
        <a:defRPr sz="1800" kern="1200">
          <a:solidFill>
            <a:schemeClr val="tx1"/>
          </a:solidFill>
          <a:latin typeface="+mn-lt"/>
          <a:ea typeface="+mn-ea"/>
          <a:cs typeface="+mn-cs"/>
        </a:defRPr>
      </a:lvl3pPr>
      <a:lvl4pPr marL="1371592" algn="l" defTabSz="914395" rtl="0" eaLnBrk="1" latinLnBrk="0" hangingPunct="1">
        <a:defRPr sz="1800" kern="1200">
          <a:solidFill>
            <a:schemeClr val="tx1"/>
          </a:solidFill>
          <a:latin typeface="+mn-lt"/>
          <a:ea typeface="+mn-ea"/>
          <a:cs typeface="+mn-cs"/>
        </a:defRPr>
      </a:lvl4pPr>
      <a:lvl5pPr marL="1828789" algn="l" defTabSz="914395" rtl="0" eaLnBrk="1" latinLnBrk="0" hangingPunct="1">
        <a:defRPr sz="1800" kern="1200">
          <a:solidFill>
            <a:schemeClr val="tx1"/>
          </a:solidFill>
          <a:latin typeface="+mn-lt"/>
          <a:ea typeface="+mn-ea"/>
          <a:cs typeface="+mn-cs"/>
        </a:defRPr>
      </a:lvl5pPr>
      <a:lvl6pPr marL="2285987" algn="l" defTabSz="914395" rtl="0" eaLnBrk="1" latinLnBrk="0" hangingPunct="1">
        <a:defRPr sz="1800" kern="1200">
          <a:solidFill>
            <a:schemeClr val="tx1"/>
          </a:solidFill>
          <a:latin typeface="+mn-lt"/>
          <a:ea typeface="+mn-ea"/>
          <a:cs typeface="+mn-cs"/>
        </a:defRPr>
      </a:lvl6pPr>
      <a:lvl7pPr marL="2743184" algn="l" defTabSz="914395" rtl="0" eaLnBrk="1" latinLnBrk="0" hangingPunct="1">
        <a:defRPr sz="1800" kern="1200">
          <a:solidFill>
            <a:schemeClr val="tx1"/>
          </a:solidFill>
          <a:latin typeface="+mn-lt"/>
          <a:ea typeface="+mn-ea"/>
          <a:cs typeface="+mn-cs"/>
        </a:defRPr>
      </a:lvl7pPr>
      <a:lvl8pPr marL="3200381" algn="l" defTabSz="914395" rtl="0" eaLnBrk="1" latinLnBrk="0" hangingPunct="1">
        <a:defRPr sz="1800" kern="1200">
          <a:solidFill>
            <a:schemeClr val="tx1"/>
          </a:solidFill>
          <a:latin typeface="+mn-lt"/>
          <a:ea typeface="+mn-ea"/>
          <a:cs typeface="+mn-cs"/>
        </a:defRPr>
      </a:lvl8pPr>
      <a:lvl9pPr marL="3657579" algn="l" defTabSz="914395"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val="1249209297"/>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54674"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9" y="1590"/>
                        <a:ext cx="1587" cy="1587"/>
                      </a:xfrm>
                      <a:prstGeom prst="rect">
                        <a:avLst/>
                      </a:prstGeom>
                    </p:spPr>
                  </p:pic>
                </p:oleObj>
              </mc:Fallback>
            </mc:AlternateContent>
          </a:graphicData>
        </a:graphic>
      </p:graphicFrame>
      <p:sp>
        <p:nvSpPr>
          <p:cNvPr id="9" name="Slide Number Placeholder 5"/>
          <p:cNvSpPr txBox="1">
            <a:spLocks/>
          </p:cNvSpPr>
          <p:nvPr userDrawn="1"/>
        </p:nvSpPr>
        <p:spPr>
          <a:xfrm>
            <a:off x="7234959" y="6355212"/>
            <a:ext cx="2310775" cy="365592"/>
          </a:xfrm>
          <a:prstGeom prst="rect">
            <a:avLst/>
          </a:prstGeom>
        </p:spPr>
        <p:txBody>
          <a:bodyPr vert="horz" lIns="82058" tIns="41029" rIns="82058" bIns="41029" rtlCol="0" anchor="ctr"/>
          <a:lstStyle>
            <a:lvl1pPr algn="r">
              <a:defRPr sz="1200">
                <a:solidFill>
                  <a:schemeClr val="tx1">
                    <a:tint val="75000"/>
                  </a:schemeClr>
                </a:solidFill>
              </a:defRPr>
            </a:lvl1pPr>
          </a:lstStyle>
          <a:p>
            <a:pPr defTabSz="914288">
              <a:buClrTx/>
              <a:buFontTx/>
              <a:buNone/>
              <a:defRPr/>
            </a:pPr>
            <a:fld id="{FA26E27B-9644-4D47-9CB9-4DAD21E549BD}" type="slidenum">
              <a:rPr lang="en-US" sz="900" kern="1200" smtClean="0">
                <a:solidFill>
                  <a:srgbClr val="3F5F1F"/>
                </a:solidFill>
                <a:latin typeface="Calibri" panose="020F0502020204030204"/>
                <a:ea typeface="+mn-ea"/>
                <a:cs typeface="+mn-cs"/>
              </a:rPr>
              <a:pPr defTabSz="914288">
                <a:buClrTx/>
                <a:buFontTx/>
                <a:buNone/>
                <a:defRPr/>
              </a:pPr>
              <a:t>‹#›</a:t>
            </a:fld>
            <a:endParaRPr lang="en-US" sz="900" kern="1200" dirty="0">
              <a:solidFill>
                <a:srgbClr val="3F5F1F"/>
              </a:solidFill>
              <a:latin typeface="Calibri" panose="020F0502020204030204"/>
              <a:ea typeface="+mn-ea"/>
              <a:cs typeface="+mn-cs"/>
            </a:endParaRPr>
          </a:p>
        </p:txBody>
      </p:sp>
      <p:cxnSp>
        <p:nvCxnSpPr>
          <p:cNvPr id="12" name="Straight Connector 11"/>
          <p:cNvCxnSpPr>
            <a:cxnSpLocks/>
          </p:cNvCxnSpPr>
          <p:nvPr userDrawn="1"/>
        </p:nvCxnSpPr>
        <p:spPr>
          <a:xfrm>
            <a:off x="450741" y="851340"/>
            <a:ext cx="7315200" cy="0"/>
          </a:xfrm>
          <a:prstGeom prst="line">
            <a:avLst/>
          </a:prstGeom>
          <a:ln w="19050">
            <a:solidFill>
              <a:schemeClr val="accent6">
                <a:lumMod val="75000"/>
              </a:schemeClr>
            </a:solidFill>
            <a:prstDash val="sysDot"/>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0" y="6564694"/>
            <a:ext cx="4343400" cy="293305"/>
          </a:xfrm>
          <a:prstGeom prst="rect">
            <a:avLst/>
          </a:prstGeom>
        </p:spPr>
      </p:pic>
      <p:pic>
        <p:nvPicPr>
          <p:cNvPr id="7" name="Picture 6"/>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7924800" y="323850"/>
            <a:ext cx="1534754" cy="514350"/>
          </a:xfrm>
          <a:prstGeom prst="rect">
            <a:avLst/>
          </a:prstGeom>
        </p:spPr>
      </p:pic>
    </p:spTree>
    <p:extLst>
      <p:ext uri="{BB962C8B-B14F-4D97-AF65-F5344CB8AC3E}">
        <p14:creationId xmlns:p14="http://schemas.microsoft.com/office/powerpoint/2010/main" val="203037499"/>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Lst>
  <p:txStyles>
    <p:titleStyle>
      <a:lvl1pPr algn="l" defTabSz="91439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9" indent="-228599" algn="l" defTabSz="91439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96" indent="-228599" algn="l" defTabSz="91439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93" indent="-228599" algn="l" defTabSz="91439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91"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88"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85"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83"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95" rtl="0" eaLnBrk="1" latinLnBrk="0" hangingPunct="1">
        <a:defRPr sz="1800" kern="1200">
          <a:solidFill>
            <a:schemeClr val="tx1"/>
          </a:solidFill>
          <a:latin typeface="+mn-lt"/>
          <a:ea typeface="+mn-ea"/>
          <a:cs typeface="+mn-cs"/>
        </a:defRPr>
      </a:lvl1pPr>
      <a:lvl2pPr marL="457197" algn="l" defTabSz="914395" rtl="0" eaLnBrk="1" latinLnBrk="0" hangingPunct="1">
        <a:defRPr sz="1800" kern="1200">
          <a:solidFill>
            <a:schemeClr val="tx1"/>
          </a:solidFill>
          <a:latin typeface="+mn-lt"/>
          <a:ea typeface="+mn-ea"/>
          <a:cs typeface="+mn-cs"/>
        </a:defRPr>
      </a:lvl2pPr>
      <a:lvl3pPr marL="914395" algn="l" defTabSz="914395" rtl="0" eaLnBrk="1" latinLnBrk="0" hangingPunct="1">
        <a:defRPr sz="1800" kern="1200">
          <a:solidFill>
            <a:schemeClr val="tx1"/>
          </a:solidFill>
          <a:latin typeface="+mn-lt"/>
          <a:ea typeface="+mn-ea"/>
          <a:cs typeface="+mn-cs"/>
        </a:defRPr>
      </a:lvl3pPr>
      <a:lvl4pPr marL="1371592" algn="l" defTabSz="914395" rtl="0" eaLnBrk="1" latinLnBrk="0" hangingPunct="1">
        <a:defRPr sz="1800" kern="1200">
          <a:solidFill>
            <a:schemeClr val="tx1"/>
          </a:solidFill>
          <a:latin typeface="+mn-lt"/>
          <a:ea typeface="+mn-ea"/>
          <a:cs typeface="+mn-cs"/>
        </a:defRPr>
      </a:lvl4pPr>
      <a:lvl5pPr marL="1828789" algn="l" defTabSz="914395" rtl="0" eaLnBrk="1" latinLnBrk="0" hangingPunct="1">
        <a:defRPr sz="1800" kern="1200">
          <a:solidFill>
            <a:schemeClr val="tx1"/>
          </a:solidFill>
          <a:latin typeface="+mn-lt"/>
          <a:ea typeface="+mn-ea"/>
          <a:cs typeface="+mn-cs"/>
        </a:defRPr>
      </a:lvl5pPr>
      <a:lvl6pPr marL="2285987" algn="l" defTabSz="914395" rtl="0" eaLnBrk="1" latinLnBrk="0" hangingPunct="1">
        <a:defRPr sz="1800" kern="1200">
          <a:solidFill>
            <a:schemeClr val="tx1"/>
          </a:solidFill>
          <a:latin typeface="+mn-lt"/>
          <a:ea typeface="+mn-ea"/>
          <a:cs typeface="+mn-cs"/>
        </a:defRPr>
      </a:lvl6pPr>
      <a:lvl7pPr marL="2743184" algn="l" defTabSz="914395" rtl="0" eaLnBrk="1" latinLnBrk="0" hangingPunct="1">
        <a:defRPr sz="1800" kern="1200">
          <a:solidFill>
            <a:schemeClr val="tx1"/>
          </a:solidFill>
          <a:latin typeface="+mn-lt"/>
          <a:ea typeface="+mn-ea"/>
          <a:cs typeface="+mn-cs"/>
        </a:defRPr>
      </a:lvl7pPr>
      <a:lvl8pPr marL="3200381" algn="l" defTabSz="914395" rtl="0" eaLnBrk="1" latinLnBrk="0" hangingPunct="1">
        <a:defRPr sz="1800" kern="1200">
          <a:solidFill>
            <a:schemeClr val="tx1"/>
          </a:solidFill>
          <a:latin typeface="+mn-lt"/>
          <a:ea typeface="+mn-ea"/>
          <a:cs typeface="+mn-cs"/>
        </a:defRPr>
      </a:lvl8pPr>
      <a:lvl9pPr marL="3657579" algn="l" defTabSz="914395"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nvPr>
        </p:nvGraphicFramePr>
        <p:xfrm>
          <a:off x="0" y="0"/>
          <a:ext cx="175483" cy="161974"/>
        </p:xfrm>
        <a:graphic>
          <a:graphicData uri="http://schemas.openxmlformats.org/presentationml/2006/ole">
            <mc:AlternateContent xmlns:mc="http://schemas.openxmlformats.org/markup-compatibility/2006">
              <mc:Choice xmlns:v="urn:schemas-microsoft-com:vml" Requires="v">
                <p:oleObj spid="_x0000_s66927"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175483" cy="161974"/>
                      </a:xfrm>
                      <a:prstGeom prst="rect">
                        <a:avLst/>
                      </a:prstGeom>
                    </p:spPr>
                  </p:pic>
                </p:oleObj>
              </mc:Fallback>
            </mc:AlternateContent>
          </a:graphicData>
        </a:graphic>
      </p:graphicFrame>
      <p:pic>
        <p:nvPicPr>
          <p:cNvPr id="59" name="Picture 58"/>
          <p:cNvPicPr>
            <a:picLocks/>
          </p:cNvPicPr>
          <p:nvPr userDrawn="1"/>
        </p:nvPicPr>
        <p:blipFill>
          <a:blip r:embed="rId24" cstate="print"/>
          <a:stretch>
            <a:fillRect/>
          </a:stretch>
        </p:blipFill>
        <p:spPr bwMode="auto">
          <a:xfrm>
            <a:off x="189523" y="681010"/>
            <a:ext cx="8065476" cy="50511"/>
          </a:xfrm>
          <a:prstGeom prst="rect">
            <a:avLst/>
          </a:prstGeom>
        </p:spPr>
      </p:pic>
      <p:pic>
        <p:nvPicPr>
          <p:cNvPr id="60" name="Picture 59" descr="AGRALogo.png"/>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bwMode="ltGray">
          <a:xfrm>
            <a:off x="8329296" y="388621"/>
            <a:ext cx="1354131" cy="530864"/>
          </a:xfrm>
          <a:prstGeom prst="rect">
            <a:avLst/>
          </a:prstGeom>
        </p:spPr>
      </p:pic>
      <p:sp>
        <p:nvSpPr>
          <p:cNvPr id="1033" name="doc id"/>
          <p:cNvSpPr>
            <a:spLocks noChangeArrowheads="1"/>
          </p:cNvSpPr>
          <p:nvPr/>
        </p:nvSpPr>
        <p:spPr bwMode="auto">
          <a:xfrm>
            <a:off x="8933827" y="37255"/>
            <a:ext cx="726499"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429" fontAlgn="base">
              <a:spcBef>
                <a:spcPct val="0"/>
              </a:spcBef>
              <a:spcAft>
                <a:spcPct val="0"/>
              </a:spcAft>
              <a:buClrTx/>
              <a:buFontTx/>
              <a:buNone/>
            </a:pPr>
            <a:endParaRPr lang="en-US" sz="800" kern="1200" dirty="0">
              <a:ea typeface="+mn-ea"/>
              <a:cs typeface="+mn-cs"/>
            </a:endParaRPr>
          </a:p>
        </p:txBody>
      </p:sp>
      <p:sp>
        <p:nvSpPr>
          <p:cNvPr id="1036" name="Rectangle 286"/>
          <p:cNvSpPr>
            <a:spLocks noGrp="1" noChangeArrowheads="1"/>
          </p:cNvSpPr>
          <p:nvPr>
            <p:ph type="body" idx="1"/>
          </p:nvPr>
        </p:nvSpPr>
        <p:spPr bwMode="auto">
          <a:xfrm>
            <a:off x="1878084" y="2508985"/>
            <a:ext cx="4755582"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auto">
          <a:xfrm>
            <a:off x="247650" y="388621"/>
            <a:ext cx="8007350"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1. On-page tracker" hidden="1"/>
          <p:cNvSpPr>
            <a:spLocks noChangeArrowheads="1"/>
          </p:cNvSpPr>
          <p:nvPr/>
        </p:nvSpPr>
        <p:spPr bwMode="auto">
          <a:xfrm>
            <a:off x="247651" y="8087"/>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buClrTx/>
              <a:buFontTx/>
              <a:buNone/>
            </a:pPr>
            <a:r>
              <a:rPr lang="en-US" sz="1000" kern="1200" dirty="0">
                <a:solidFill>
                  <a:srgbClr val="808080"/>
                </a:solidFill>
                <a:ea typeface="+mn-ea"/>
                <a:cs typeface="+mn-cs"/>
              </a:rPr>
              <a:t>TRACKER</a:t>
            </a:r>
          </a:p>
        </p:txBody>
      </p:sp>
      <p:sp>
        <p:nvSpPr>
          <p:cNvPr id="11" name="3. Unit of measure" hidden="1"/>
          <p:cNvSpPr txBox="1">
            <a:spLocks noChangeArrowheads="1"/>
          </p:cNvSpPr>
          <p:nvPr/>
        </p:nvSpPr>
        <p:spPr bwMode="auto">
          <a:xfrm>
            <a:off x="247650" y="749678"/>
            <a:ext cx="800735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buClrTx/>
              <a:buFontTx/>
              <a:buNone/>
              <a:defRPr/>
            </a:pPr>
            <a:r>
              <a:rPr lang="en-US" sz="1600" kern="1200" dirty="0" smtClean="0">
                <a:solidFill>
                  <a:srgbClr val="808080"/>
                </a:solidFill>
                <a:latin typeface="Arial"/>
                <a:ea typeface="+mn-ea"/>
                <a:cs typeface="+mn-cs"/>
              </a:rPr>
              <a:t>Unit of measure</a:t>
            </a:r>
          </a:p>
        </p:txBody>
      </p:sp>
      <p:grpSp>
        <p:nvGrpSpPr>
          <p:cNvPr id="15" name="ACET" hidden="1"/>
          <p:cNvGrpSpPr>
            <a:grpSpLocks/>
          </p:cNvGrpSpPr>
          <p:nvPr/>
        </p:nvGrpSpPr>
        <p:grpSpPr bwMode="auto">
          <a:xfrm>
            <a:off x="1878084" y="1915010"/>
            <a:ext cx="4713466"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buClrTx/>
                <a:buFontTx/>
                <a:buNone/>
              </a:pPr>
              <a:r>
                <a:rPr lang="en-US" sz="1600" b="1" kern="1200" dirty="0">
                  <a:ea typeface="+mn-ea"/>
                  <a:cs typeface="+mn-cs"/>
                </a:rPr>
                <a:t>Title</a:t>
              </a:r>
            </a:p>
            <a:p>
              <a:pPr fontAlgn="base">
                <a:spcBef>
                  <a:spcPct val="0"/>
                </a:spcBef>
                <a:spcAft>
                  <a:spcPct val="0"/>
                </a:spcAft>
                <a:buClrTx/>
                <a:buFontTx/>
                <a:buNone/>
              </a:pPr>
              <a:r>
                <a:rPr lang="en-US" sz="1600" kern="1200" dirty="0">
                  <a:solidFill>
                    <a:srgbClr val="808080"/>
                  </a:solidFill>
                  <a:ea typeface="+mn-ea"/>
                  <a:cs typeface="+mn-cs"/>
                </a:rPr>
                <a:t>Unit of measure</a:t>
              </a:r>
            </a:p>
          </p:txBody>
        </p:sp>
      </p:grpSp>
      <p:sp>
        <p:nvSpPr>
          <p:cNvPr id="104" name="Slide Number"/>
          <p:cNvSpPr txBox="1">
            <a:spLocks/>
          </p:cNvSpPr>
          <p:nvPr userDrawn="1"/>
        </p:nvSpPr>
        <p:spPr bwMode="auto">
          <a:xfrm>
            <a:off x="9558392" y="6643599"/>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buClrTx/>
              <a:buFontTx/>
              <a:buNone/>
            </a:pPr>
            <a:fld id="{42C328C1-A84F-4A39-A664-DBA00541A8C6}" type="slidenum">
              <a:rPr lang="en-US" sz="800" kern="1200" smtClean="0">
                <a:ea typeface="+mn-ea"/>
                <a:cs typeface="+mn-cs"/>
              </a:rPr>
              <a:pPr algn="r" fontAlgn="base">
                <a:spcBef>
                  <a:spcPct val="0"/>
                </a:spcBef>
                <a:spcAft>
                  <a:spcPct val="0"/>
                </a:spcAft>
                <a:buClrTx/>
                <a:buFontTx/>
                <a:buNone/>
              </a:pPr>
              <a:t>‹#›</a:t>
            </a:fld>
            <a:endParaRPr lang="en-US" sz="800" kern="1200" dirty="0">
              <a:ea typeface="+mn-ea"/>
              <a:cs typeface="+mn-cs"/>
            </a:endParaRPr>
          </a:p>
        </p:txBody>
      </p:sp>
      <p:grpSp>
        <p:nvGrpSpPr>
          <p:cNvPr id="105" name="Slide Elements" hidden="1"/>
          <p:cNvGrpSpPr/>
          <p:nvPr userDrawn="1"/>
        </p:nvGrpSpPr>
        <p:grpSpPr bwMode="auto">
          <a:xfrm>
            <a:off x="247651" y="6441985"/>
            <a:ext cx="9336748" cy="324724"/>
            <a:chOff x="119063" y="6306659"/>
            <a:chExt cx="8618537" cy="324724"/>
          </a:xfrm>
        </p:grpSpPr>
        <p:sp>
          <p:nvSpPr>
            <p:cNvPr id="106" name="4. Footnote"/>
            <p:cNvSpPr txBox="1">
              <a:spLocks noChangeArrowheads="1"/>
            </p:cNvSpPr>
            <p:nvPr/>
          </p:nvSpPr>
          <p:spPr bwMode="auto">
            <a:xfrm>
              <a:off x="119063" y="6306659"/>
              <a:ext cx="861853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fontAlgn="base">
                <a:spcBef>
                  <a:spcPct val="0"/>
                </a:spcBef>
                <a:spcAft>
                  <a:spcPct val="0"/>
                </a:spcAft>
                <a:buClrTx/>
                <a:buFontTx/>
                <a:buNone/>
                <a:defRPr lang="x-none"/>
              </a:pPr>
              <a:r>
                <a:rPr sz="800" kern="1200" dirty="0" smtClean="0">
                  <a:solidFill>
                    <a:srgbClr val="000000"/>
                  </a:solidFill>
                  <a:latin typeface="Arial"/>
                  <a:ea typeface="+mn-ea"/>
                  <a:cs typeface="+mn-cs"/>
                </a:rPr>
                <a:t>1 Footnote</a:t>
              </a:r>
            </a:p>
          </p:txBody>
        </p:sp>
        <p:sp>
          <p:nvSpPr>
            <p:cNvPr id="107" name="5. Source"/>
            <p:cNvSpPr>
              <a:spLocks noChangeArrowheads="1"/>
            </p:cNvSpPr>
            <p:nvPr/>
          </p:nvSpPr>
          <p:spPr bwMode="auto">
            <a:xfrm>
              <a:off x="119063" y="6508272"/>
              <a:ext cx="794619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19113" indent="-519113" defTabSz="895350" fontAlgn="base">
                <a:spcBef>
                  <a:spcPct val="0"/>
                </a:spcBef>
                <a:spcAft>
                  <a:spcPct val="0"/>
                </a:spcAft>
                <a:buClrTx/>
                <a:buFontTx/>
                <a:buNone/>
                <a:tabLst>
                  <a:tab pos="612775" algn="l"/>
                </a:tabLst>
              </a:pPr>
              <a:r>
                <a:rPr lang="x-none" sz="800" kern="1200" dirty="0">
                  <a:ea typeface="+mn-ea"/>
                  <a:cs typeface="+mn-cs"/>
                </a:rPr>
                <a:t>SOURCE : </a:t>
              </a:r>
              <a:r>
                <a:rPr lang="x-none" sz="800" kern="1200" dirty="0" smtClean="0">
                  <a:ea typeface="+mn-ea"/>
                  <a:cs typeface="+mn-cs"/>
                </a:rPr>
                <a:t>Source</a:t>
              </a:r>
              <a:endParaRPr lang="en-US" sz="800" kern="1200" dirty="0" smtClean="0">
                <a:ea typeface="+mn-ea"/>
                <a:cs typeface="+mn-cs"/>
              </a:endParaRPr>
            </a:p>
          </p:txBody>
        </p:sp>
      </p:grpSp>
      <p:grpSp>
        <p:nvGrpSpPr>
          <p:cNvPr id="108" name="McKSticker" hidden="1"/>
          <p:cNvGrpSpPr/>
          <p:nvPr userDrawn="1"/>
        </p:nvGrpSpPr>
        <p:grpSpPr bwMode="auto">
          <a:xfrm>
            <a:off x="9210098" y="981080"/>
            <a:ext cx="473335" cy="150811"/>
            <a:chOff x="8303851" y="285750"/>
            <a:chExt cx="436924" cy="150811"/>
          </a:xfrm>
        </p:grpSpPr>
        <p:sp>
          <p:nvSpPr>
            <p:cNvPr id="109" name="StickerRectangle"/>
            <p:cNvSpPr>
              <a:spLocks noChangeArrowheads="1"/>
            </p:cNvSpPr>
            <p:nvPr/>
          </p:nvSpPr>
          <p:spPr bwMode="auto">
            <a:xfrm>
              <a:off x="8303851" y="285750"/>
              <a:ext cx="436924"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02960"/>
                </a:buClr>
                <a:buFontTx/>
                <a:buNone/>
              </a:pPr>
              <a:r>
                <a:rPr lang="x-none" sz="800" kern="1200" dirty="0" smtClean="0">
                  <a:solidFill>
                    <a:srgbClr val="808080"/>
                  </a:solidFill>
                  <a:ea typeface="+mn-ea"/>
                  <a:cs typeface="+mn-cs"/>
                </a:rPr>
                <a:t>STICKER</a:t>
              </a:r>
              <a:endParaRPr lang="x-none" sz="800" kern="1200" dirty="0">
                <a:solidFill>
                  <a:srgbClr val="808080"/>
                </a:solidFill>
                <a:ea typeface="+mn-ea"/>
                <a:cs typeface="+mn-cs"/>
              </a:endParaRPr>
            </a:p>
          </p:txBody>
        </p:sp>
        <p:cxnSp>
          <p:nvCxnSpPr>
            <p:cNvPr id="110" name="AutoShape 31"/>
            <p:cNvCxnSpPr>
              <a:cxnSpLocks noChangeShapeType="1"/>
              <a:stCxn id="109" idx="2"/>
              <a:endCxn id="109" idx="4"/>
            </p:cNvCxnSpPr>
            <p:nvPr/>
          </p:nvCxnSpPr>
          <p:spPr bwMode="auto">
            <a:xfrm>
              <a:off x="8303851"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11" name="AutoShape 32"/>
            <p:cNvCxnSpPr>
              <a:cxnSpLocks noChangeShapeType="1"/>
              <a:stCxn id="109" idx="4"/>
              <a:endCxn id="109" idx="6"/>
            </p:cNvCxnSpPr>
            <p:nvPr/>
          </p:nvCxnSpPr>
          <p:spPr bwMode="auto">
            <a:xfrm>
              <a:off x="8303851" y="436561"/>
              <a:ext cx="436924"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12" name="LegendBoxes" hidden="1"/>
          <p:cNvGrpSpPr/>
          <p:nvPr userDrawn="1"/>
        </p:nvGrpSpPr>
        <p:grpSpPr bwMode="auto">
          <a:xfrm>
            <a:off x="8856021" y="974730"/>
            <a:ext cx="784921" cy="997467"/>
            <a:chOff x="7835905" y="279400"/>
            <a:chExt cx="724543" cy="997467"/>
          </a:xfrm>
        </p:grpSpPr>
        <p:sp>
          <p:nvSpPr>
            <p:cNvPr id="113"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14"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15"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16"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17" name="Legend1"/>
            <p:cNvSpPr>
              <a:spLocks noChangeArrowheads="1"/>
            </p:cNvSpPr>
            <p:nvPr/>
          </p:nvSpPr>
          <p:spPr bwMode="auto">
            <a:xfrm>
              <a:off x="8089905"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cs typeface="+mn-cs"/>
                </a:rPr>
                <a:t>Legend</a:t>
              </a:r>
              <a:endParaRPr lang="x-none" sz="1200" kern="1200" dirty="0">
                <a:ea typeface="+mn-ea"/>
                <a:cs typeface="+mn-cs"/>
              </a:endParaRPr>
            </a:p>
          </p:txBody>
        </p:sp>
        <p:sp>
          <p:nvSpPr>
            <p:cNvPr id="118" name="Legend2"/>
            <p:cNvSpPr>
              <a:spLocks noChangeArrowheads="1"/>
            </p:cNvSpPr>
            <p:nvPr/>
          </p:nvSpPr>
          <p:spPr bwMode="auto">
            <a:xfrm>
              <a:off x="8089905" y="54927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cs typeface="+mn-cs"/>
                </a:rPr>
                <a:t>Legend</a:t>
              </a:r>
              <a:endParaRPr lang="x-none" sz="1200" kern="1200" dirty="0">
                <a:ea typeface="+mn-ea"/>
                <a:cs typeface="+mn-cs"/>
              </a:endParaRPr>
            </a:p>
          </p:txBody>
        </p:sp>
        <p:sp>
          <p:nvSpPr>
            <p:cNvPr id="119" name="Legend3"/>
            <p:cNvSpPr>
              <a:spLocks noChangeArrowheads="1"/>
            </p:cNvSpPr>
            <p:nvPr/>
          </p:nvSpPr>
          <p:spPr bwMode="auto">
            <a:xfrm>
              <a:off x="8089905" y="820738"/>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20" name="Legend4"/>
            <p:cNvSpPr>
              <a:spLocks noChangeArrowheads="1"/>
            </p:cNvSpPr>
            <p:nvPr/>
          </p:nvSpPr>
          <p:spPr bwMode="auto">
            <a:xfrm>
              <a:off x="8089905" y="10922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grpSp>
      <p:grpSp>
        <p:nvGrpSpPr>
          <p:cNvPr id="121" name="LegendLines" hidden="1"/>
          <p:cNvGrpSpPr/>
          <p:nvPr userDrawn="1"/>
        </p:nvGrpSpPr>
        <p:grpSpPr bwMode="auto">
          <a:xfrm>
            <a:off x="8522565" y="974730"/>
            <a:ext cx="1118561" cy="730767"/>
            <a:chOff x="7540629" y="279400"/>
            <a:chExt cx="1032518" cy="730767"/>
          </a:xfrm>
        </p:grpSpPr>
        <p:sp>
          <p:nvSpPr>
            <p:cNvPr id="122"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dirty="0">
                <a:ea typeface="+mn-ea"/>
                <a:cs typeface="+mn-cs"/>
              </a:endParaRPr>
            </a:p>
          </p:txBody>
        </p:sp>
        <p:sp>
          <p:nvSpPr>
            <p:cNvPr id="123"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dirty="0">
                <a:ea typeface="+mn-ea"/>
                <a:cs typeface="+mn-cs"/>
              </a:endParaRPr>
            </a:p>
          </p:txBody>
        </p:sp>
        <p:sp>
          <p:nvSpPr>
            <p:cNvPr id="124"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dirty="0">
                <a:ea typeface="+mn-ea"/>
                <a:cs typeface="+mn-cs"/>
              </a:endParaRPr>
            </a:p>
          </p:txBody>
        </p:sp>
        <p:sp>
          <p:nvSpPr>
            <p:cNvPr id="125" name="Legend1"/>
            <p:cNvSpPr>
              <a:spLocks noChangeArrowheads="1"/>
            </p:cNvSpPr>
            <p:nvPr/>
          </p:nvSpPr>
          <p:spPr bwMode="auto">
            <a:xfrm>
              <a:off x="8102604"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cs typeface="+mn-cs"/>
                </a:rPr>
                <a:t>Legend</a:t>
              </a:r>
              <a:endParaRPr lang="x-none" sz="1200" kern="1200" dirty="0">
                <a:ea typeface="+mn-ea"/>
                <a:cs typeface="+mn-cs"/>
              </a:endParaRPr>
            </a:p>
          </p:txBody>
        </p:sp>
        <p:sp>
          <p:nvSpPr>
            <p:cNvPr id="126" name="Legend2"/>
            <p:cNvSpPr>
              <a:spLocks noChangeArrowheads="1"/>
            </p:cNvSpPr>
            <p:nvPr/>
          </p:nvSpPr>
          <p:spPr bwMode="auto">
            <a:xfrm>
              <a:off x="8102604" y="5461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cs typeface="+mn-cs"/>
                </a:rPr>
                <a:t>Legend</a:t>
              </a:r>
              <a:endParaRPr lang="x-none" sz="1200" kern="1200" dirty="0">
                <a:ea typeface="+mn-ea"/>
                <a:cs typeface="+mn-cs"/>
              </a:endParaRPr>
            </a:p>
          </p:txBody>
        </p:sp>
        <p:sp>
          <p:nvSpPr>
            <p:cNvPr id="127" name="Legend3"/>
            <p:cNvSpPr>
              <a:spLocks noChangeArrowheads="1"/>
            </p:cNvSpPr>
            <p:nvPr/>
          </p:nvSpPr>
          <p:spPr bwMode="auto">
            <a:xfrm>
              <a:off x="8102604" y="8255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cs typeface="+mn-cs"/>
                </a:rPr>
                <a:t>Legend</a:t>
              </a:r>
              <a:endParaRPr lang="x-none" sz="1200" kern="1200" dirty="0">
                <a:ea typeface="+mn-ea"/>
                <a:cs typeface="+mn-cs"/>
              </a:endParaRPr>
            </a:p>
          </p:txBody>
        </p:sp>
      </p:grpSp>
      <p:grpSp>
        <p:nvGrpSpPr>
          <p:cNvPr id="128" name="LegendMoons" hidden="1"/>
          <p:cNvGrpSpPr/>
          <p:nvPr userDrawn="1"/>
        </p:nvGrpSpPr>
        <p:grpSpPr bwMode="auto">
          <a:xfrm>
            <a:off x="8783790" y="946154"/>
            <a:ext cx="857153" cy="1306516"/>
            <a:chOff x="7769225" y="250825"/>
            <a:chExt cx="791218" cy="1306516"/>
          </a:xfrm>
        </p:grpSpPr>
        <p:grpSp>
          <p:nvGrpSpPr>
            <p:cNvPr id="129" name="MoonLegend1"/>
            <p:cNvGrpSpPr>
              <a:grpSpLocks noChangeAspect="1"/>
            </p:cNvGrpSpPr>
            <p:nvPr>
              <p:custDataLst>
                <p:tags r:id="rId7"/>
              </p:custDataLst>
            </p:nvPr>
          </p:nvGrpSpPr>
          <p:grpSpPr bwMode="auto">
            <a:xfrm>
              <a:off x="7769225" y="250825"/>
              <a:ext cx="209550" cy="209551"/>
              <a:chOff x="4533" y="183"/>
              <a:chExt cx="144" cy="144"/>
            </a:xfrm>
          </p:grpSpPr>
          <p:sp>
            <p:nvSpPr>
              <p:cNvPr id="147"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8"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grpSp>
          <p:nvGrpSpPr>
            <p:cNvPr id="130" name="MoonLegend2"/>
            <p:cNvGrpSpPr>
              <a:grpSpLocks noChangeAspect="1"/>
            </p:cNvGrpSpPr>
            <p:nvPr>
              <p:custDataLst>
                <p:tags r:id="rId8"/>
              </p:custDataLst>
            </p:nvPr>
          </p:nvGrpSpPr>
          <p:grpSpPr bwMode="auto">
            <a:xfrm>
              <a:off x="7769225" y="525066"/>
              <a:ext cx="209550" cy="209551"/>
              <a:chOff x="1694" y="2044"/>
              <a:chExt cx="160" cy="160"/>
            </a:xfrm>
          </p:grpSpPr>
          <p:sp>
            <p:nvSpPr>
              <p:cNvPr id="145"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6" name="Arc 42"/>
              <p:cNvSpPr>
                <a:spLocks noChangeAspect="1"/>
              </p:cNvSpPr>
              <p:nvPr>
                <p:custDataLst>
                  <p:tags r:id="rId19"/>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grpSp>
          <p:nvGrpSpPr>
            <p:cNvPr id="131" name="MoonLegend4"/>
            <p:cNvGrpSpPr>
              <a:grpSpLocks noChangeAspect="1"/>
            </p:cNvGrpSpPr>
            <p:nvPr>
              <p:custDataLst>
                <p:tags r:id="rId9"/>
              </p:custDataLst>
            </p:nvPr>
          </p:nvGrpSpPr>
          <p:grpSpPr bwMode="auto">
            <a:xfrm>
              <a:off x="7769225" y="1073548"/>
              <a:ext cx="209550" cy="209551"/>
              <a:chOff x="4495" y="1198"/>
              <a:chExt cx="160" cy="160"/>
            </a:xfrm>
          </p:grpSpPr>
          <p:sp>
            <p:nvSpPr>
              <p:cNvPr id="143"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4"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grpSp>
          <p:nvGrpSpPr>
            <p:cNvPr id="132" name="MoonLegend5"/>
            <p:cNvGrpSpPr>
              <a:grpSpLocks noChangeAspect="1"/>
            </p:cNvGrpSpPr>
            <p:nvPr>
              <p:custDataLst>
                <p:tags r:id="rId10"/>
              </p:custDataLst>
            </p:nvPr>
          </p:nvGrpSpPr>
          <p:grpSpPr bwMode="auto">
            <a:xfrm>
              <a:off x="7769225" y="1347790"/>
              <a:ext cx="209550" cy="209551"/>
              <a:chOff x="4495" y="1440"/>
              <a:chExt cx="160" cy="160"/>
            </a:xfrm>
          </p:grpSpPr>
          <p:sp>
            <p:nvSpPr>
              <p:cNvPr id="141"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2"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grpSp>
          <p:nvGrpSpPr>
            <p:cNvPr id="133" name="MoonLegend3"/>
            <p:cNvGrpSpPr>
              <a:grpSpLocks noChangeAspect="1"/>
            </p:cNvGrpSpPr>
            <p:nvPr>
              <p:custDataLst>
                <p:tags r:id="rId11"/>
              </p:custDataLst>
            </p:nvPr>
          </p:nvGrpSpPr>
          <p:grpSpPr bwMode="auto">
            <a:xfrm>
              <a:off x="7769225" y="799307"/>
              <a:ext cx="209550" cy="209551"/>
              <a:chOff x="4495" y="1198"/>
              <a:chExt cx="160" cy="160"/>
            </a:xfrm>
          </p:grpSpPr>
          <p:sp>
            <p:nvSpPr>
              <p:cNvPr id="139"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0"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sp>
          <p:nvSpPr>
            <p:cNvPr id="134" name="Legend1"/>
            <p:cNvSpPr>
              <a:spLocks noChangeArrowheads="1"/>
            </p:cNvSpPr>
            <p:nvPr/>
          </p:nvSpPr>
          <p:spPr bwMode="auto">
            <a:xfrm>
              <a:off x="8089900" y="26352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cs typeface="+mn-cs"/>
                </a:rPr>
                <a:t>Legend</a:t>
              </a:r>
              <a:endParaRPr lang="x-none" sz="1200" kern="1200" dirty="0">
                <a:ea typeface="+mn-ea"/>
                <a:cs typeface="+mn-cs"/>
              </a:endParaRPr>
            </a:p>
          </p:txBody>
        </p:sp>
        <p:sp>
          <p:nvSpPr>
            <p:cNvPr id="135" name="Legend2"/>
            <p:cNvSpPr>
              <a:spLocks noChangeArrowheads="1"/>
            </p:cNvSpPr>
            <p:nvPr/>
          </p:nvSpPr>
          <p:spPr bwMode="auto">
            <a:xfrm>
              <a:off x="8089900" y="538163"/>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cs typeface="+mn-cs"/>
                </a:rPr>
                <a:t>Legend</a:t>
              </a:r>
              <a:endParaRPr lang="x-none" sz="1200" kern="1200" dirty="0">
                <a:ea typeface="+mn-ea"/>
                <a:cs typeface="+mn-cs"/>
              </a:endParaRPr>
            </a:p>
          </p:txBody>
        </p:sp>
        <p:sp>
          <p:nvSpPr>
            <p:cNvPr id="136" name="Legend3"/>
            <p:cNvSpPr>
              <a:spLocks noChangeArrowheads="1"/>
            </p:cNvSpPr>
            <p:nvPr/>
          </p:nvSpPr>
          <p:spPr bwMode="auto">
            <a:xfrm>
              <a:off x="8089900" y="812802"/>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cs typeface="+mn-cs"/>
                </a:rPr>
                <a:t>Legend</a:t>
              </a:r>
              <a:endParaRPr lang="x-none" sz="1200" kern="1200" dirty="0">
                <a:ea typeface="+mn-ea"/>
                <a:cs typeface="+mn-cs"/>
              </a:endParaRPr>
            </a:p>
          </p:txBody>
        </p:sp>
        <p:sp>
          <p:nvSpPr>
            <p:cNvPr id="137" name="Legend4"/>
            <p:cNvSpPr>
              <a:spLocks noChangeArrowheads="1"/>
            </p:cNvSpPr>
            <p:nvPr/>
          </p:nvSpPr>
          <p:spPr bwMode="auto">
            <a:xfrm>
              <a:off x="8089900" y="108426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cs typeface="+mn-cs"/>
                </a:rPr>
                <a:t>Legend</a:t>
              </a:r>
              <a:endParaRPr lang="x-none" sz="1200" kern="1200" dirty="0">
                <a:ea typeface="+mn-ea"/>
                <a:cs typeface="+mn-cs"/>
              </a:endParaRPr>
            </a:p>
          </p:txBody>
        </p:sp>
        <p:sp>
          <p:nvSpPr>
            <p:cNvPr id="138" name="Legend5"/>
            <p:cNvSpPr>
              <a:spLocks noChangeArrowheads="1"/>
            </p:cNvSpPr>
            <p:nvPr/>
          </p:nvSpPr>
          <p:spPr bwMode="auto">
            <a:xfrm>
              <a:off x="8089900" y="136049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cs typeface="+mn-cs"/>
                </a:rPr>
                <a:t>Legend</a:t>
              </a:r>
              <a:endParaRPr lang="x-none" sz="1200" kern="1200" dirty="0">
                <a:ea typeface="+mn-ea"/>
                <a:cs typeface="+mn-cs"/>
              </a:endParaRPr>
            </a:p>
          </p:txBody>
        </p:sp>
      </p:grpSp>
    </p:spTree>
    <p:extLst>
      <p:ext uri="{BB962C8B-B14F-4D97-AF65-F5344CB8AC3E}">
        <p14:creationId xmlns:p14="http://schemas.microsoft.com/office/powerpoint/2010/main" val="1175683248"/>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Lst>
  <p:timing>
    <p:tnLst>
      <p:par>
        <p:cTn id="1" dur="indefinite" restart="never" nodeType="tmRoot"/>
      </p:par>
    </p:tnLst>
  </p:timing>
  <p:hf hdr="0" ftr="0" dt="0"/>
  <p:txStyles>
    <p:titleStyle>
      <a:lvl1pPr algn="l" defTabSz="913429" rtl="0" eaLnBrk="1" fontAlgn="base" hangingPunct="1">
        <a:spcBef>
          <a:spcPct val="0"/>
        </a:spcBef>
        <a:spcAft>
          <a:spcPct val="0"/>
        </a:spcAft>
        <a:tabLst>
          <a:tab pos="275324" algn="l"/>
        </a:tabLst>
        <a:defRPr sz="1900" b="1" baseline="0">
          <a:solidFill>
            <a:schemeClr val="tx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nvPr>
        </p:nvGraphicFramePr>
        <p:xfrm>
          <a:off x="0" y="0"/>
          <a:ext cx="175483" cy="161974"/>
        </p:xfrm>
        <a:graphic>
          <a:graphicData uri="http://schemas.openxmlformats.org/presentationml/2006/ole">
            <mc:AlternateContent xmlns:mc="http://schemas.openxmlformats.org/markup-compatibility/2006">
              <mc:Choice xmlns:v="urn:schemas-microsoft-com:vml" Requires="v">
                <p:oleObj spid="_x0000_s71019"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0" y="0"/>
                        <a:ext cx="175483" cy="161974"/>
                      </a:xfrm>
                      <a:prstGeom prst="rect">
                        <a:avLst/>
                      </a:prstGeom>
                    </p:spPr>
                  </p:pic>
                </p:oleObj>
              </mc:Fallback>
            </mc:AlternateContent>
          </a:graphicData>
        </a:graphic>
      </p:graphicFrame>
      <p:grpSp>
        <p:nvGrpSpPr>
          <p:cNvPr id="4" name="Group 3"/>
          <p:cNvGrpSpPr/>
          <p:nvPr userDrawn="1"/>
        </p:nvGrpSpPr>
        <p:grpSpPr bwMode="ltGray">
          <a:xfrm>
            <a:off x="-2064" y="5612520"/>
            <a:ext cx="2703856" cy="1243195"/>
            <a:chOff x="-9526" y="5620139"/>
            <a:chExt cx="2495867" cy="1243195"/>
          </a:xfrm>
        </p:grpSpPr>
        <p:pic>
          <p:nvPicPr>
            <p:cNvPr id="58" name="Picture 57" descr="inside.png"/>
            <p:cNvPicPr>
              <a:picLocks/>
            </p:cNvPicPr>
            <p:nvPr userDrawn="1"/>
          </p:nvPicPr>
          <p:blipFill rotWithShape="1">
            <a:blip r:embed="rId23" cstate="print">
              <a:extLst>
                <a:ext uri="{28A0092B-C50C-407E-A947-70E740481C1C}">
                  <a14:useLocalDpi xmlns:a14="http://schemas.microsoft.com/office/drawing/2010/main" val="0"/>
                </a:ext>
              </a:extLst>
            </a:blip>
            <a:srcRect l="-116" t="80821" r="71535" b="-60"/>
            <a:stretch/>
          </p:blipFill>
          <p:spPr bwMode="ltGray">
            <a:xfrm>
              <a:off x="-9526" y="5620139"/>
              <a:ext cx="2495867" cy="1243195"/>
            </a:xfrm>
            <a:prstGeom prst="rect">
              <a:avLst/>
            </a:prstGeom>
          </p:spPr>
        </p:pic>
        <p:sp>
          <p:nvSpPr>
            <p:cNvPr id="3" name="Rectangle 2"/>
            <p:cNvSpPr>
              <a:spLocks/>
            </p:cNvSpPr>
            <p:nvPr userDrawn="1"/>
          </p:nvSpPr>
          <p:spPr bwMode="ltGray">
            <a:xfrm>
              <a:off x="-9526" y="5620139"/>
              <a:ext cx="2495867" cy="1243195"/>
            </a:xfrm>
            <a:prstGeom prst="rect">
              <a:avLst/>
            </a:prstGeom>
            <a:solidFill>
              <a:schemeClr val="bg1">
                <a:alpha val="8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US" sz="1600" kern="1200" dirty="0" smtClean="0">
                <a:solidFill>
                  <a:srgbClr val="000000"/>
                </a:solidFill>
              </a:endParaRPr>
            </a:p>
          </p:txBody>
        </p:sp>
      </p:grpSp>
      <p:pic>
        <p:nvPicPr>
          <p:cNvPr id="59" name="Picture 58"/>
          <p:cNvPicPr>
            <a:picLocks/>
          </p:cNvPicPr>
          <p:nvPr userDrawn="1"/>
        </p:nvPicPr>
        <p:blipFill>
          <a:blip r:embed="rId24" cstate="print"/>
          <a:stretch>
            <a:fillRect/>
          </a:stretch>
        </p:blipFill>
        <p:spPr bwMode="auto">
          <a:xfrm>
            <a:off x="189523" y="681010"/>
            <a:ext cx="8065476" cy="50511"/>
          </a:xfrm>
          <a:prstGeom prst="rect">
            <a:avLst/>
          </a:prstGeom>
        </p:spPr>
      </p:pic>
      <p:pic>
        <p:nvPicPr>
          <p:cNvPr id="60" name="Picture 59" descr="AGRALogo.png"/>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bwMode="ltGray">
          <a:xfrm>
            <a:off x="8329296" y="388621"/>
            <a:ext cx="1354131" cy="530864"/>
          </a:xfrm>
          <a:prstGeom prst="rect">
            <a:avLst/>
          </a:prstGeom>
        </p:spPr>
      </p:pic>
      <p:sp>
        <p:nvSpPr>
          <p:cNvPr id="1033" name="doc id"/>
          <p:cNvSpPr>
            <a:spLocks noChangeArrowheads="1"/>
          </p:cNvSpPr>
          <p:nvPr/>
        </p:nvSpPr>
        <p:spPr bwMode="auto">
          <a:xfrm>
            <a:off x="8933827" y="37255"/>
            <a:ext cx="726499"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429" fontAlgn="base">
              <a:spcBef>
                <a:spcPct val="0"/>
              </a:spcBef>
              <a:spcAft>
                <a:spcPct val="0"/>
              </a:spcAft>
              <a:buClrTx/>
              <a:buFontTx/>
              <a:buNone/>
            </a:pPr>
            <a:endParaRPr lang="en-US" sz="800" kern="1200" dirty="0">
              <a:ea typeface="+mn-ea"/>
              <a:cs typeface="+mn-cs"/>
            </a:endParaRPr>
          </a:p>
        </p:txBody>
      </p:sp>
      <p:sp>
        <p:nvSpPr>
          <p:cNvPr id="1036" name="Rectangle 286"/>
          <p:cNvSpPr>
            <a:spLocks noGrp="1" noChangeArrowheads="1"/>
          </p:cNvSpPr>
          <p:nvPr>
            <p:ph type="body" idx="1"/>
          </p:nvPr>
        </p:nvSpPr>
        <p:spPr bwMode="auto">
          <a:xfrm>
            <a:off x="1878084" y="2508985"/>
            <a:ext cx="4755582"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auto">
          <a:xfrm>
            <a:off x="247650" y="388621"/>
            <a:ext cx="8007350"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1. On-page tracker" hidden="1"/>
          <p:cNvSpPr>
            <a:spLocks noChangeArrowheads="1"/>
          </p:cNvSpPr>
          <p:nvPr/>
        </p:nvSpPr>
        <p:spPr bwMode="auto">
          <a:xfrm>
            <a:off x="247651" y="8087"/>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buClrTx/>
              <a:buFontTx/>
              <a:buNone/>
            </a:pPr>
            <a:r>
              <a:rPr lang="en-US" sz="1000" kern="1200" dirty="0">
                <a:solidFill>
                  <a:srgbClr val="808080"/>
                </a:solidFill>
                <a:ea typeface="+mn-ea"/>
                <a:cs typeface="+mn-cs"/>
              </a:rPr>
              <a:t>TRACKER</a:t>
            </a:r>
          </a:p>
        </p:txBody>
      </p:sp>
      <p:sp>
        <p:nvSpPr>
          <p:cNvPr id="11" name="3. Unit of measure" hidden="1"/>
          <p:cNvSpPr txBox="1">
            <a:spLocks noChangeArrowheads="1"/>
          </p:cNvSpPr>
          <p:nvPr/>
        </p:nvSpPr>
        <p:spPr bwMode="auto">
          <a:xfrm>
            <a:off x="247650" y="749678"/>
            <a:ext cx="800735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buClrTx/>
              <a:buFontTx/>
              <a:buNone/>
              <a:defRPr/>
            </a:pPr>
            <a:r>
              <a:rPr lang="en-US" sz="1600" kern="1200" dirty="0" smtClean="0">
                <a:solidFill>
                  <a:srgbClr val="808080"/>
                </a:solidFill>
                <a:latin typeface="Arial"/>
                <a:ea typeface="+mn-ea"/>
                <a:cs typeface="+mn-cs"/>
              </a:rPr>
              <a:t>Unit of measure</a:t>
            </a:r>
          </a:p>
        </p:txBody>
      </p:sp>
      <p:grpSp>
        <p:nvGrpSpPr>
          <p:cNvPr id="15" name="ACET" hidden="1"/>
          <p:cNvGrpSpPr>
            <a:grpSpLocks/>
          </p:cNvGrpSpPr>
          <p:nvPr/>
        </p:nvGrpSpPr>
        <p:grpSpPr bwMode="auto">
          <a:xfrm>
            <a:off x="1878084" y="1915010"/>
            <a:ext cx="4713466"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buClrTx/>
                <a:buFontTx/>
                <a:buNone/>
              </a:pPr>
              <a:r>
                <a:rPr lang="en-US" sz="1600" b="1" kern="1200" dirty="0" smtClean="0">
                  <a:ea typeface="+mn-ea"/>
                  <a:cs typeface="+mn-cs"/>
                </a:rPr>
                <a:t>Title</a:t>
              </a:r>
              <a:endParaRPr lang="en-US" sz="1600" b="1" kern="1200" dirty="0">
                <a:ea typeface="+mn-ea"/>
                <a:cs typeface="+mn-cs"/>
              </a:endParaRPr>
            </a:p>
            <a:p>
              <a:pPr fontAlgn="base">
                <a:spcBef>
                  <a:spcPct val="0"/>
                </a:spcBef>
                <a:spcAft>
                  <a:spcPct val="0"/>
                </a:spcAft>
                <a:buClrTx/>
                <a:buFontTx/>
                <a:buNone/>
              </a:pPr>
              <a:r>
                <a:rPr lang="en-US" sz="1600" kern="1200" dirty="0" smtClean="0">
                  <a:solidFill>
                    <a:srgbClr val="808080"/>
                  </a:solidFill>
                  <a:ea typeface="+mn-ea"/>
                  <a:cs typeface="+mn-cs"/>
                </a:rPr>
                <a:t>Unit </a:t>
              </a:r>
              <a:r>
                <a:rPr lang="en-US" sz="1600" kern="1200" dirty="0">
                  <a:solidFill>
                    <a:srgbClr val="808080"/>
                  </a:solidFill>
                  <a:ea typeface="+mn-ea"/>
                  <a:cs typeface="+mn-cs"/>
                </a:rPr>
                <a:t>of measure</a:t>
              </a:r>
            </a:p>
          </p:txBody>
        </p:sp>
      </p:grpSp>
      <p:sp>
        <p:nvSpPr>
          <p:cNvPr id="104" name="Slide Number"/>
          <p:cNvSpPr txBox="1">
            <a:spLocks/>
          </p:cNvSpPr>
          <p:nvPr userDrawn="1"/>
        </p:nvSpPr>
        <p:spPr bwMode="auto">
          <a:xfrm>
            <a:off x="9558392" y="6643599"/>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buClrTx/>
              <a:buFontTx/>
              <a:buNone/>
            </a:pPr>
            <a:fld id="{42C328C1-A84F-4A39-A664-DBA00541A8C6}" type="slidenum">
              <a:rPr lang="en-US" sz="800" kern="1200" smtClean="0">
                <a:ea typeface="+mn-ea"/>
                <a:cs typeface="+mn-cs"/>
              </a:rPr>
              <a:pPr algn="r" fontAlgn="base">
                <a:spcBef>
                  <a:spcPct val="0"/>
                </a:spcBef>
                <a:spcAft>
                  <a:spcPct val="0"/>
                </a:spcAft>
                <a:buClrTx/>
                <a:buFontTx/>
                <a:buNone/>
              </a:pPr>
              <a:t>‹#›</a:t>
            </a:fld>
            <a:endParaRPr lang="en-US" sz="800" kern="1200" dirty="0">
              <a:ea typeface="+mn-ea"/>
              <a:cs typeface="+mn-cs"/>
            </a:endParaRPr>
          </a:p>
        </p:txBody>
      </p:sp>
      <p:grpSp>
        <p:nvGrpSpPr>
          <p:cNvPr id="105" name="Slide Elements" hidden="1"/>
          <p:cNvGrpSpPr/>
          <p:nvPr userDrawn="1"/>
        </p:nvGrpSpPr>
        <p:grpSpPr bwMode="auto">
          <a:xfrm>
            <a:off x="247651" y="6441985"/>
            <a:ext cx="9336748" cy="324724"/>
            <a:chOff x="119063" y="6306659"/>
            <a:chExt cx="8618537" cy="324724"/>
          </a:xfrm>
        </p:grpSpPr>
        <p:sp>
          <p:nvSpPr>
            <p:cNvPr id="106" name="4. Footnote"/>
            <p:cNvSpPr txBox="1">
              <a:spLocks noChangeArrowheads="1"/>
            </p:cNvSpPr>
            <p:nvPr/>
          </p:nvSpPr>
          <p:spPr bwMode="auto">
            <a:xfrm>
              <a:off x="119063" y="6306659"/>
              <a:ext cx="861853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fontAlgn="base">
                <a:spcBef>
                  <a:spcPct val="0"/>
                </a:spcBef>
                <a:spcAft>
                  <a:spcPct val="0"/>
                </a:spcAft>
                <a:buClrTx/>
                <a:buFontTx/>
                <a:buNone/>
                <a:defRPr lang="x-none"/>
              </a:pPr>
              <a:r>
                <a:rPr sz="800" kern="1200" dirty="0" smtClean="0">
                  <a:solidFill>
                    <a:srgbClr val="000000"/>
                  </a:solidFill>
                  <a:latin typeface="Arial"/>
                  <a:ea typeface="+mn-ea"/>
                  <a:cs typeface="+mn-cs"/>
                </a:rPr>
                <a:t>1 Footnote</a:t>
              </a:r>
            </a:p>
          </p:txBody>
        </p:sp>
        <p:sp>
          <p:nvSpPr>
            <p:cNvPr id="107" name="5. Source"/>
            <p:cNvSpPr>
              <a:spLocks noChangeArrowheads="1"/>
            </p:cNvSpPr>
            <p:nvPr/>
          </p:nvSpPr>
          <p:spPr bwMode="auto">
            <a:xfrm>
              <a:off x="119063" y="6508272"/>
              <a:ext cx="794619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19113" indent="-519113" defTabSz="895350" fontAlgn="base">
                <a:spcBef>
                  <a:spcPct val="0"/>
                </a:spcBef>
                <a:spcAft>
                  <a:spcPct val="0"/>
                </a:spcAft>
                <a:buClrTx/>
                <a:buFontTx/>
                <a:buNone/>
                <a:tabLst>
                  <a:tab pos="612775" algn="l"/>
                </a:tabLst>
              </a:pPr>
              <a:r>
                <a:rPr lang="x-none" sz="800" kern="1200" dirty="0">
                  <a:ea typeface="+mn-ea"/>
                  <a:cs typeface="+mn-cs"/>
                </a:rPr>
                <a:t>SOURCE : </a:t>
              </a:r>
              <a:r>
                <a:rPr lang="x-none" sz="800" kern="1200" dirty="0" smtClean="0">
                  <a:ea typeface="+mn-ea"/>
                  <a:cs typeface="+mn-cs"/>
                </a:rPr>
                <a:t>Source</a:t>
              </a:r>
              <a:endParaRPr lang="en-US" sz="800" kern="1200" dirty="0" smtClean="0">
                <a:ea typeface="+mn-ea"/>
                <a:cs typeface="+mn-cs"/>
              </a:endParaRPr>
            </a:p>
          </p:txBody>
        </p:sp>
      </p:grpSp>
      <p:grpSp>
        <p:nvGrpSpPr>
          <p:cNvPr id="108" name="McKSticker" hidden="1"/>
          <p:cNvGrpSpPr/>
          <p:nvPr userDrawn="1"/>
        </p:nvGrpSpPr>
        <p:grpSpPr bwMode="auto">
          <a:xfrm>
            <a:off x="9210098" y="981080"/>
            <a:ext cx="473335" cy="150811"/>
            <a:chOff x="8303851" y="285750"/>
            <a:chExt cx="436924" cy="150811"/>
          </a:xfrm>
        </p:grpSpPr>
        <p:sp>
          <p:nvSpPr>
            <p:cNvPr id="109" name="StickerRectangle"/>
            <p:cNvSpPr>
              <a:spLocks noChangeArrowheads="1"/>
            </p:cNvSpPr>
            <p:nvPr/>
          </p:nvSpPr>
          <p:spPr bwMode="auto">
            <a:xfrm>
              <a:off x="8303851" y="285750"/>
              <a:ext cx="436924"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02960"/>
                </a:buClr>
                <a:buFontTx/>
                <a:buNone/>
              </a:pPr>
              <a:r>
                <a:rPr lang="x-none" sz="800" kern="1200" dirty="0" smtClean="0">
                  <a:solidFill>
                    <a:srgbClr val="808080"/>
                  </a:solidFill>
                  <a:ea typeface="+mn-ea"/>
                  <a:cs typeface="+mn-cs"/>
                </a:rPr>
                <a:t>STICKER</a:t>
              </a:r>
              <a:endParaRPr lang="x-none" sz="800" kern="1200" dirty="0">
                <a:solidFill>
                  <a:srgbClr val="808080"/>
                </a:solidFill>
                <a:ea typeface="+mn-ea"/>
                <a:cs typeface="+mn-cs"/>
              </a:endParaRPr>
            </a:p>
          </p:txBody>
        </p:sp>
        <p:cxnSp>
          <p:nvCxnSpPr>
            <p:cNvPr id="110" name="AutoShape 31"/>
            <p:cNvCxnSpPr>
              <a:cxnSpLocks noChangeShapeType="1"/>
              <a:stCxn id="109" idx="2"/>
              <a:endCxn id="109" idx="4"/>
            </p:cNvCxnSpPr>
            <p:nvPr/>
          </p:nvCxnSpPr>
          <p:spPr bwMode="auto">
            <a:xfrm>
              <a:off x="8303851"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11" name="AutoShape 32"/>
            <p:cNvCxnSpPr>
              <a:cxnSpLocks noChangeShapeType="1"/>
              <a:stCxn id="109" idx="4"/>
              <a:endCxn id="109" idx="6"/>
            </p:cNvCxnSpPr>
            <p:nvPr/>
          </p:nvCxnSpPr>
          <p:spPr bwMode="auto">
            <a:xfrm>
              <a:off x="8303851" y="436561"/>
              <a:ext cx="436924"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12" name="LegendBoxes" hidden="1"/>
          <p:cNvGrpSpPr/>
          <p:nvPr userDrawn="1"/>
        </p:nvGrpSpPr>
        <p:grpSpPr bwMode="auto">
          <a:xfrm>
            <a:off x="8856021" y="974730"/>
            <a:ext cx="784921" cy="997467"/>
            <a:chOff x="7835905" y="279400"/>
            <a:chExt cx="724543" cy="997467"/>
          </a:xfrm>
        </p:grpSpPr>
        <p:sp>
          <p:nvSpPr>
            <p:cNvPr id="113"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14"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15"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16"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17" name="Legend1"/>
            <p:cNvSpPr>
              <a:spLocks noChangeArrowheads="1"/>
            </p:cNvSpPr>
            <p:nvPr/>
          </p:nvSpPr>
          <p:spPr bwMode="auto">
            <a:xfrm>
              <a:off x="8089905"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cs typeface="+mn-cs"/>
                </a:rPr>
                <a:t>Legend</a:t>
              </a:r>
              <a:endParaRPr lang="x-none" sz="1200" kern="1200" dirty="0">
                <a:ea typeface="+mn-ea"/>
                <a:cs typeface="+mn-cs"/>
              </a:endParaRPr>
            </a:p>
          </p:txBody>
        </p:sp>
        <p:sp>
          <p:nvSpPr>
            <p:cNvPr id="118" name="Legend2"/>
            <p:cNvSpPr>
              <a:spLocks noChangeArrowheads="1"/>
            </p:cNvSpPr>
            <p:nvPr/>
          </p:nvSpPr>
          <p:spPr bwMode="auto">
            <a:xfrm>
              <a:off x="8089905" y="54927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cs typeface="+mn-cs"/>
                </a:rPr>
                <a:t>Legend</a:t>
              </a:r>
              <a:endParaRPr lang="x-none" sz="1200" kern="1200" dirty="0">
                <a:ea typeface="+mn-ea"/>
                <a:cs typeface="+mn-cs"/>
              </a:endParaRPr>
            </a:p>
          </p:txBody>
        </p:sp>
        <p:sp>
          <p:nvSpPr>
            <p:cNvPr id="119" name="Legend3"/>
            <p:cNvSpPr>
              <a:spLocks noChangeArrowheads="1"/>
            </p:cNvSpPr>
            <p:nvPr/>
          </p:nvSpPr>
          <p:spPr bwMode="auto">
            <a:xfrm>
              <a:off x="8089905" y="820738"/>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20" name="Legend4"/>
            <p:cNvSpPr>
              <a:spLocks noChangeArrowheads="1"/>
            </p:cNvSpPr>
            <p:nvPr/>
          </p:nvSpPr>
          <p:spPr bwMode="auto">
            <a:xfrm>
              <a:off x="8089905" y="10922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grpSp>
      <p:grpSp>
        <p:nvGrpSpPr>
          <p:cNvPr id="121" name="LegendLines" hidden="1"/>
          <p:cNvGrpSpPr/>
          <p:nvPr userDrawn="1"/>
        </p:nvGrpSpPr>
        <p:grpSpPr bwMode="auto">
          <a:xfrm>
            <a:off x="8522565" y="974730"/>
            <a:ext cx="1118561" cy="730767"/>
            <a:chOff x="7540629" y="279400"/>
            <a:chExt cx="1032518" cy="730767"/>
          </a:xfrm>
        </p:grpSpPr>
        <p:sp>
          <p:nvSpPr>
            <p:cNvPr id="122"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dirty="0">
                <a:ea typeface="+mn-ea"/>
                <a:cs typeface="+mn-cs"/>
              </a:endParaRPr>
            </a:p>
          </p:txBody>
        </p:sp>
        <p:sp>
          <p:nvSpPr>
            <p:cNvPr id="123"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dirty="0">
                <a:ea typeface="+mn-ea"/>
                <a:cs typeface="+mn-cs"/>
              </a:endParaRPr>
            </a:p>
          </p:txBody>
        </p:sp>
        <p:sp>
          <p:nvSpPr>
            <p:cNvPr id="124"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dirty="0">
                <a:ea typeface="+mn-ea"/>
                <a:cs typeface="+mn-cs"/>
              </a:endParaRPr>
            </a:p>
          </p:txBody>
        </p:sp>
        <p:sp>
          <p:nvSpPr>
            <p:cNvPr id="125" name="Legend1"/>
            <p:cNvSpPr>
              <a:spLocks noChangeArrowheads="1"/>
            </p:cNvSpPr>
            <p:nvPr/>
          </p:nvSpPr>
          <p:spPr bwMode="auto">
            <a:xfrm>
              <a:off x="8102604"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cs typeface="+mn-cs"/>
                </a:rPr>
                <a:t>Legend</a:t>
              </a:r>
              <a:endParaRPr lang="x-none" sz="1200" kern="1200" dirty="0">
                <a:ea typeface="+mn-ea"/>
                <a:cs typeface="+mn-cs"/>
              </a:endParaRPr>
            </a:p>
          </p:txBody>
        </p:sp>
        <p:sp>
          <p:nvSpPr>
            <p:cNvPr id="126" name="Legend2"/>
            <p:cNvSpPr>
              <a:spLocks noChangeArrowheads="1"/>
            </p:cNvSpPr>
            <p:nvPr/>
          </p:nvSpPr>
          <p:spPr bwMode="auto">
            <a:xfrm>
              <a:off x="8102604" y="5461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cs typeface="+mn-cs"/>
                </a:rPr>
                <a:t>Legend</a:t>
              </a:r>
              <a:endParaRPr lang="x-none" sz="1200" kern="1200" dirty="0">
                <a:ea typeface="+mn-ea"/>
                <a:cs typeface="+mn-cs"/>
              </a:endParaRPr>
            </a:p>
          </p:txBody>
        </p:sp>
        <p:sp>
          <p:nvSpPr>
            <p:cNvPr id="127" name="Legend3"/>
            <p:cNvSpPr>
              <a:spLocks noChangeArrowheads="1"/>
            </p:cNvSpPr>
            <p:nvPr/>
          </p:nvSpPr>
          <p:spPr bwMode="auto">
            <a:xfrm>
              <a:off x="8102604" y="8255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cs typeface="+mn-cs"/>
                </a:rPr>
                <a:t>Legend</a:t>
              </a:r>
              <a:endParaRPr lang="x-none" sz="1200" kern="1200" dirty="0">
                <a:ea typeface="+mn-ea"/>
                <a:cs typeface="+mn-cs"/>
              </a:endParaRPr>
            </a:p>
          </p:txBody>
        </p:sp>
      </p:grpSp>
      <p:grpSp>
        <p:nvGrpSpPr>
          <p:cNvPr id="128" name="LegendMoons" hidden="1"/>
          <p:cNvGrpSpPr/>
          <p:nvPr userDrawn="1"/>
        </p:nvGrpSpPr>
        <p:grpSpPr bwMode="auto">
          <a:xfrm>
            <a:off x="8783790" y="946154"/>
            <a:ext cx="857153" cy="1306516"/>
            <a:chOff x="7769225" y="250825"/>
            <a:chExt cx="791218" cy="1306516"/>
          </a:xfrm>
        </p:grpSpPr>
        <p:grpSp>
          <p:nvGrpSpPr>
            <p:cNvPr id="129" name="MoonLegend1"/>
            <p:cNvGrpSpPr>
              <a:grpSpLocks noChangeAspect="1"/>
            </p:cNvGrpSpPr>
            <p:nvPr>
              <p:custDataLst>
                <p:tags r:id="rId6"/>
              </p:custDataLst>
            </p:nvPr>
          </p:nvGrpSpPr>
          <p:grpSpPr bwMode="auto">
            <a:xfrm>
              <a:off x="7769225" y="250825"/>
              <a:ext cx="209550" cy="209551"/>
              <a:chOff x="4533" y="183"/>
              <a:chExt cx="144" cy="144"/>
            </a:xfrm>
          </p:grpSpPr>
          <p:sp>
            <p:nvSpPr>
              <p:cNvPr id="147" name="Oval 38"/>
              <p:cNvSpPr>
                <a:spLocks noChangeAspect="1" noChangeArrowheads="1"/>
              </p:cNvSpPr>
              <p:nvPr>
                <p:custDataLst>
                  <p:tags r:id="rId19"/>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8" name="Arc 39"/>
              <p:cNvSpPr>
                <a:spLocks noChangeAspect="1"/>
              </p:cNvSpPr>
              <p:nvPr>
                <p:custDataLst>
                  <p:tags r:id="rId20"/>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grpSp>
          <p:nvGrpSpPr>
            <p:cNvPr id="130" name="MoonLegend2"/>
            <p:cNvGrpSpPr>
              <a:grpSpLocks noChangeAspect="1"/>
            </p:cNvGrpSpPr>
            <p:nvPr>
              <p:custDataLst>
                <p:tags r:id="rId7"/>
              </p:custDataLst>
            </p:nvPr>
          </p:nvGrpSpPr>
          <p:grpSpPr bwMode="auto">
            <a:xfrm>
              <a:off x="7769225" y="525066"/>
              <a:ext cx="209550" cy="209551"/>
              <a:chOff x="1694" y="2044"/>
              <a:chExt cx="160" cy="160"/>
            </a:xfrm>
          </p:grpSpPr>
          <p:sp>
            <p:nvSpPr>
              <p:cNvPr id="145"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6" name="Arc 42"/>
              <p:cNvSpPr>
                <a:spLocks noChangeAspect="1"/>
              </p:cNvSpPr>
              <p:nvPr>
                <p:custDataLst>
                  <p:tags r:id="rId18"/>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grpSp>
          <p:nvGrpSpPr>
            <p:cNvPr id="131" name="MoonLegend4"/>
            <p:cNvGrpSpPr>
              <a:grpSpLocks noChangeAspect="1"/>
            </p:cNvGrpSpPr>
            <p:nvPr>
              <p:custDataLst>
                <p:tags r:id="rId8"/>
              </p:custDataLst>
            </p:nvPr>
          </p:nvGrpSpPr>
          <p:grpSpPr bwMode="auto">
            <a:xfrm>
              <a:off x="7769225" y="1073548"/>
              <a:ext cx="209550" cy="209551"/>
              <a:chOff x="4495" y="1198"/>
              <a:chExt cx="160" cy="160"/>
            </a:xfrm>
          </p:grpSpPr>
          <p:sp>
            <p:nvSpPr>
              <p:cNvPr id="143"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4" name="Arc 48"/>
              <p:cNvSpPr>
                <a:spLocks noChangeAspect="1"/>
              </p:cNvSpPr>
              <p:nvPr>
                <p:custDataLst>
                  <p:tags r:id="rId16"/>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grpSp>
          <p:nvGrpSpPr>
            <p:cNvPr id="132" name="MoonLegend5"/>
            <p:cNvGrpSpPr>
              <a:grpSpLocks noChangeAspect="1"/>
            </p:cNvGrpSpPr>
            <p:nvPr>
              <p:custDataLst>
                <p:tags r:id="rId9"/>
              </p:custDataLst>
            </p:nvPr>
          </p:nvGrpSpPr>
          <p:grpSpPr bwMode="auto">
            <a:xfrm>
              <a:off x="7769225" y="1347790"/>
              <a:ext cx="209550" cy="209551"/>
              <a:chOff x="4495" y="1440"/>
              <a:chExt cx="160" cy="160"/>
            </a:xfrm>
          </p:grpSpPr>
          <p:sp>
            <p:nvSpPr>
              <p:cNvPr id="141" name="Oval 50"/>
              <p:cNvSpPr>
                <a:spLocks noChangeAspect="1" noChangeArrowheads="1"/>
              </p:cNvSpPr>
              <p:nvPr>
                <p:custDataLst>
                  <p:tags r:id="rId13"/>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2" name="Oval 51"/>
              <p:cNvSpPr>
                <a:spLocks noChangeAspect="1" noChangeArrowheads="1"/>
              </p:cNvSpPr>
              <p:nvPr>
                <p:custDataLst>
                  <p:tags r:id="rId14"/>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grpSp>
          <p:nvGrpSpPr>
            <p:cNvPr id="133" name="MoonLegend3"/>
            <p:cNvGrpSpPr>
              <a:grpSpLocks noChangeAspect="1"/>
            </p:cNvGrpSpPr>
            <p:nvPr>
              <p:custDataLst>
                <p:tags r:id="rId10"/>
              </p:custDataLst>
            </p:nvPr>
          </p:nvGrpSpPr>
          <p:grpSpPr bwMode="auto">
            <a:xfrm>
              <a:off x="7769225" y="799307"/>
              <a:ext cx="209550" cy="209551"/>
              <a:chOff x="4495" y="1198"/>
              <a:chExt cx="160" cy="160"/>
            </a:xfrm>
          </p:grpSpPr>
          <p:sp>
            <p:nvSpPr>
              <p:cNvPr id="139" name="Oval 47"/>
              <p:cNvSpPr>
                <a:spLocks noChangeAspect="1" noChangeArrowheads="1"/>
              </p:cNvSpPr>
              <p:nvPr>
                <p:custDataLst>
                  <p:tags r:id="rId1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0" name="Arc 48"/>
              <p:cNvSpPr>
                <a:spLocks noChangeAspect="1"/>
              </p:cNvSpPr>
              <p:nvPr>
                <p:custDataLst>
                  <p:tags r:id="rId12"/>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sp>
          <p:nvSpPr>
            <p:cNvPr id="134" name="Legend1"/>
            <p:cNvSpPr>
              <a:spLocks noChangeArrowheads="1"/>
            </p:cNvSpPr>
            <p:nvPr/>
          </p:nvSpPr>
          <p:spPr bwMode="auto">
            <a:xfrm>
              <a:off x="8089900" y="26352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cs typeface="+mn-cs"/>
                </a:rPr>
                <a:t>Legend</a:t>
              </a:r>
              <a:endParaRPr lang="x-none" sz="1200" kern="1200" dirty="0">
                <a:ea typeface="+mn-ea"/>
                <a:cs typeface="+mn-cs"/>
              </a:endParaRPr>
            </a:p>
          </p:txBody>
        </p:sp>
        <p:sp>
          <p:nvSpPr>
            <p:cNvPr id="135" name="Legend2"/>
            <p:cNvSpPr>
              <a:spLocks noChangeArrowheads="1"/>
            </p:cNvSpPr>
            <p:nvPr/>
          </p:nvSpPr>
          <p:spPr bwMode="auto">
            <a:xfrm>
              <a:off x="8089900" y="538163"/>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cs typeface="+mn-cs"/>
                </a:rPr>
                <a:t>Legend</a:t>
              </a:r>
              <a:endParaRPr lang="x-none" sz="1200" kern="1200" dirty="0">
                <a:ea typeface="+mn-ea"/>
                <a:cs typeface="+mn-cs"/>
              </a:endParaRPr>
            </a:p>
          </p:txBody>
        </p:sp>
        <p:sp>
          <p:nvSpPr>
            <p:cNvPr id="136" name="Legend3"/>
            <p:cNvSpPr>
              <a:spLocks noChangeArrowheads="1"/>
            </p:cNvSpPr>
            <p:nvPr/>
          </p:nvSpPr>
          <p:spPr bwMode="auto">
            <a:xfrm>
              <a:off x="8089900" y="812802"/>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cs typeface="+mn-cs"/>
                </a:rPr>
                <a:t>Legend</a:t>
              </a:r>
              <a:endParaRPr lang="x-none" sz="1200" kern="1200" dirty="0">
                <a:ea typeface="+mn-ea"/>
                <a:cs typeface="+mn-cs"/>
              </a:endParaRPr>
            </a:p>
          </p:txBody>
        </p:sp>
        <p:sp>
          <p:nvSpPr>
            <p:cNvPr id="137" name="Legend4"/>
            <p:cNvSpPr>
              <a:spLocks noChangeArrowheads="1"/>
            </p:cNvSpPr>
            <p:nvPr/>
          </p:nvSpPr>
          <p:spPr bwMode="auto">
            <a:xfrm>
              <a:off x="8089900" y="108426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cs typeface="+mn-cs"/>
                </a:rPr>
                <a:t>Legend</a:t>
              </a:r>
              <a:endParaRPr lang="x-none" sz="1200" kern="1200" dirty="0">
                <a:ea typeface="+mn-ea"/>
                <a:cs typeface="+mn-cs"/>
              </a:endParaRPr>
            </a:p>
          </p:txBody>
        </p:sp>
        <p:sp>
          <p:nvSpPr>
            <p:cNvPr id="138" name="Legend5"/>
            <p:cNvSpPr>
              <a:spLocks noChangeArrowheads="1"/>
            </p:cNvSpPr>
            <p:nvPr/>
          </p:nvSpPr>
          <p:spPr bwMode="auto">
            <a:xfrm>
              <a:off x="8089900" y="136049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cs typeface="+mn-cs"/>
                </a:rPr>
                <a:t>Legend</a:t>
              </a:r>
              <a:endParaRPr lang="x-none" sz="1200" kern="1200" dirty="0">
                <a:ea typeface="+mn-ea"/>
                <a:cs typeface="+mn-cs"/>
              </a:endParaRPr>
            </a:p>
          </p:txBody>
        </p:sp>
      </p:grpSp>
    </p:spTree>
    <p:extLst>
      <p:ext uri="{BB962C8B-B14F-4D97-AF65-F5344CB8AC3E}">
        <p14:creationId xmlns:p14="http://schemas.microsoft.com/office/powerpoint/2010/main" val="2184658173"/>
      </p:ext>
    </p:extLst>
  </p:cSld>
  <p:clrMap bg1="lt1" tx1="dk1" bg2="lt2" tx2="dk2" accent1="accent1" accent2="accent2" accent3="accent3" accent4="accent4" accent5="accent5" accent6="accent6" hlink="hlink" folHlink="folHlink"/>
  <p:sldLayoutIdLst>
    <p:sldLayoutId id="2147483748" r:id="rId1"/>
    <p:sldLayoutId id="2147483749" r:id="rId2"/>
  </p:sldLayoutIdLst>
  <p:timing>
    <p:tnLst>
      <p:par>
        <p:cTn id="1" dur="indefinite" restart="never" nodeType="tmRoot"/>
      </p:par>
    </p:tnLst>
  </p:timing>
  <p:hf hdr="0" ftr="0" dt="0"/>
  <p:txStyles>
    <p:titleStyle>
      <a:lvl1pPr algn="l" defTabSz="913429" rtl="0" eaLnBrk="1" fontAlgn="base" hangingPunct="1">
        <a:spcBef>
          <a:spcPct val="0"/>
        </a:spcBef>
        <a:spcAft>
          <a:spcPct val="0"/>
        </a:spcAft>
        <a:tabLst>
          <a:tab pos="275324" algn="l"/>
        </a:tabLst>
        <a:defRPr sz="1900" b="1" baseline="0">
          <a:solidFill>
            <a:schemeClr val="tx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nvPr>
        </p:nvGraphicFramePr>
        <p:xfrm>
          <a:off x="0" y="0"/>
          <a:ext cx="175483" cy="161974"/>
        </p:xfrm>
        <a:graphic>
          <a:graphicData uri="http://schemas.openxmlformats.org/presentationml/2006/ole">
            <mc:AlternateContent xmlns:mc="http://schemas.openxmlformats.org/markup-compatibility/2006">
              <mc:Choice xmlns:v="urn:schemas-microsoft-com:vml" Requires="v">
                <p:oleObj spid="_x0000_s108806"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175483" cy="161974"/>
                      </a:xfrm>
                      <a:prstGeom prst="rect">
                        <a:avLst/>
                      </a:prstGeom>
                    </p:spPr>
                  </p:pic>
                </p:oleObj>
              </mc:Fallback>
            </mc:AlternateContent>
          </a:graphicData>
        </a:graphic>
      </p:graphicFrame>
      <p:pic>
        <p:nvPicPr>
          <p:cNvPr id="59" name="Picture 58"/>
          <p:cNvPicPr>
            <a:picLocks/>
          </p:cNvPicPr>
          <p:nvPr userDrawn="1"/>
        </p:nvPicPr>
        <p:blipFill>
          <a:blip r:embed="rId24" cstate="print"/>
          <a:stretch>
            <a:fillRect/>
          </a:stretch>
        </p:blipFill>
        <p:spPr bwMode="auto">
          <a:xfrm>
            <a:off x="189523" y="681010"/>
            <a:ext cx="8065476" cy="50511"/>
          </a:xfrm>
          <a:prstGeom prst="rect">
            <a:avLst/>
          </a:prstGeom>
        </p:spPr>
      </p:pic>
      <p:pic>
        <p:nvPicPr>
          <p:cNvPr id="60" name="Picture 59" descr="AGRALogo.png"/>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bwMode="ltGray">
          <a:xfrm>
            <a:off x="8329296" y="388621"/>
            <a:ext cx="1354131" cy="530864"/>
          </a:xfrm>
          <a:prstGeom prst="rect">
            <a:avLst/>
          </a:prstGeom>
        </p:spPr>
      </p:pic>
      <p:sp>
        <p:nvSpPr>
          <p:cNvPr id="1033" name="doc id"/>
          <p:cNvSpPr>
            <a:spLocks noChangeArrowheads="1"/>
          </p:cNvSpPr>
          <p:nvPr/>
        </p:nvSpPr>
        <p:spPr bwMode="auto">
          <a:xfrm>
            <a:off x="8933827" y="37255"/>
            <a:ext cx="726499"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429" fontAlgn="base">
              <a:spcBef>
                <a:spcPct val="0"/>
              </a:spcBef>
              <a:spcAft>
                <a:spcPct val="0"/>
              </a:spcAft>
              <a:buClrTx/>
              <a:buFontTx/>
              <a:buNone/>
            </a:pPr>
            <a:endParaRPr lang="en-US" sz="800" kern="1200" dirty="0">
              <a:ea typeface="+mn-ea"/>
              <a:cs typeface="+mn-cs"/>
            </a:endParaRPr>
          </a:p>
        </p:txBody>
      </p:sp>
      <p:sp>
        <p:nvSpPr>
          <p:cNvPr id="1036" name="Rectangle 286"/>
          <p:cNvSpPr>
            <a:spLocks noGrp="1" noChangeArrowheads="1"/>
          </p:cNvSpPr>
          <p:nvPr>
            <p:ph type="body" idx="1"/>
          </p:nvPr>
        </p:nvSpPr>
        <p:spPr bwMode="auto">
          <a:xfrm>
            <a:off x="1878084" y="2508985"/>
            <a:ext cx="4755582"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auto">
          <a:xfrm>
            <a:off x="247650" y="388621"/>
            <a:ext cx="8007350"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1. On-page tracker" hidden="1"/>
          <p:cNvSpPr>
            <a:spLocks noChangeArrowheads="1"/>
          </p:cNvSpPr>
          <p:nvPr/>
        </p:nvSpPr>
        <p:spPr bwMode="auto">
          <a:xfrm>
            <a:off x="247651" y="8087"/>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buClrTx/>
              <a:buFontTx/>
              <a:buNone/>
            </a:pPr>
            <a:r>
              <a:rPr lang="en-US" sz="1000" kern="1200" dirty="0">
                <a:solidFill>
                  <a:srgbClr val="808080"/>
                </a:solidFill>
                <a:ea typeface="+mn-ea"/>
                <a:cs typeface="+mn-cs"/>
              </a:rPr>
              <a:t>TRACKER</a:t>
            </a:r>
          </a:p>
        </p:txBody>
      </p:sp>
      <p:sp>
        <p:nvSpPr>
          <p:cNvPr id="11" name="3. Unit of measure" hidden="1"/>
          <p:cNvSpPr txBox="1">
            <a:spLocks noChangeArrowheads="1"/>
          </p:cNvSpPr>
          <p:nvPr/>
        </p:nvSpPr>
        <p:spPr bwMode="auto">
          <a:xfrm>
            <a:off x="247650" y="749678"/>
            <a:ext cx="800735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buClrTx/>
              <a:buFontTx/>
              <a:buNone/>
              <a:defRPr/>
            </a:pPr>
            <a:r>
              <a:rPr lang="en-US" sz="1600" kern="1200" dirty="0" smtClean="0">
                <a:solidFill>
                  <a:srgbClr val="808080"/>
                </a:solidFill>
                <a:latin typeface="Arial"/>
                <a:ea typeface="+mn-ea"/>
                <a:cs typeface="+mn-cs"/>
              </a:rPr>
              <a:t>Unit of measure</a:t>
            </a:r>
          </a:p>
        </p:txBody>
      </p:sp>
      <p:grpSp>
        <p:nvGrpSpPr>
          <p:cNvPr id="15" name="ACET" hidden="1"/>
          <p:cNvGrpSpPr>
            <a:grpSpLocks/>
          </p:cNvGrpSpPr>
          <p:nvPr/>
        </p:nvGrpSpPr>
        <p:grpSpPr bwMode="auto">
          <a:xfrm>
            <a:off x="1878084" y="1915010"/>
            <a:ext cx="4713466"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buClrTx/>
                <a:buFontTx/>
                <a:buNone/>
              </a:pPr>
              <a:r>
                <a:rPr lang="en-US" sz="1600" b="1" kern="1200" dirty="0">
                  <a:ea typeface="+mn-ea"/>
                  <a:cs typeface="+mn-cs"/>
                </a:rPr>
                <a:t>Title</a:t>
              </a:r>
            </a:p>
            <a:p>
              <a:pPr fontAlgn="base">
                <a:spcBef>
                  <a:spcPct val="0"/>
                </a:spcBef>
                <a:spcAft>
                  <a:spcPct val="0"/>
                </a:spcAft>
                <a:buClrTx/>
                <a:buFontTx/>
                <a:buNone/>
              </a:pPr>
              <a:r>
                <a:rPr lang="en-US" sz="1600" kern="1200" dirty="0">
                  <a:solidFill>
                    <a:srgbClr val="808080"/>
                  </a:solidFill>
                  <a:ea typeface="+mn-ea"/>
                  <a:cs typeface="+mn-cs"/>
                </a:rPr>
                <a:t>Unit of measure</a:t>
              </a:r>
            </a:p>
          </p:txBody>
        </p:sp>
      </p:grpSp>
      <p:sp>
        <p:nvSpPr>
          <p:cNvPr id="104" name="Slide Number"/>
          <p:cNvSpPr txBox="1">
            <a:spLocks/>
          </p:cNvSpPr>
          <p:nvPr userDrawn="1"/>
        </p:nvSpPr>
        <p:spPr bwMode="auto">
          <a:xfrm>
            <a:off x="9558392" y="6643599"/>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buClrTx/>
              <a:buFontTx/>
              <a:buNone/>
            </a:pPr>
            <a:fld id="{42C328C1-A84F-4A39-A664-DBA00541A8C6}" type="slidenum">
              <a:rPr lang="en-US" sz="800" kern="1200" smtClean="0">
                <a:ea typeface="+mn-ea"/>
                <a:cs typeface="+mn-cs"/>
              </a:rPr>
              <a:pPr algn="r" fontAlgn="base">
                <a:spcBef>
                  <a:spcPct val="0"/>
                </a:spcBef>
                <a:spcAft>
                  <a:spcPct val="0"/>
                </a:spcAft>
                <a:buClrTx/>
                <a:buFontTx/>
                <a:buNone/>
              </a:pPr>
              <a:t>‹#›</a:t>
            </a:fld>
            <a:endParaRPr lang="en-US" sz="800" kern="1200" dirty="0">
              <a:ea typeface="+mn-ea"/>
              <a:cs typeface="+mn-cs"/>
            </a:endParaRPr>
          </a:p>
        </p:txBody>
      </p:sp>
      <p:grpSp>
        <p:nvGrpSpPr>
          <p:cNvPr id="105" name="Slide Elements" hidden="1"/>
          <p:cNvGrpSpPr/>
          <p:nvPr userDrawn="1"/>
        </p:nvGrpSpPr>
        <p:grpSpPr bwMode="auto">
          <a:xfrm>
            <a:off x="247651" y="6441985"/>
            <a:ext cx="9336748" cy="324724"/>
            <a:chOff x="119063" y="6306659"/>
            <a:chExt cx="8618537" cy="324724"/>
          </a:xfrm>
        </p:grpSpPr>
        <p:sp>
          <p:nvSpPr>
            <p:cNvPr id="106" name="4. Footnote"/>
            <p:cNvSpPr txBox="1">
              <a:spLocks noChangeArrowheads="1"/>
            </p:cNvSpPr>
            <p:nvPr/>
          </p:nvSpPr>
          <p:spPr bwMode="auto">
            <a:xfrm>
              <a:off x="119063" y="6306659"/>
              <a:ext cx="861853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fontAlgn="base">
                <a:spcBef>
                  <a:spcPct val="0"/>
                </a:spcBef>
                <a:spcAft>
                  <a:spcPct val="0"/>
                </a:spcAft>
                <a:buClrTx/>
                <a:buFontTx/>
                <a:buNone/>
                <a:defRPr lang="x-none"/>
              </a:pPr>
              <a:r>
                <a:rPr sz="800" kern="1200" dirty="0" smtClean="0">
                  <a:solidFill>
                    <a:srgbClr val="000000"/>
                  </a:solidFill>
                  <a:latin typeface="Arial"/>
                  <a:ea typeface="+mn-ea"/>
                  <a:cs typeface="+mn-cs"/>
                </a:rPr>
                <a:t>1 Footnote</a:t>
              </a:r>
            </a:p>
          </p:txBody>
        </p:sp>
        <p:sp>
          <p:nvSpPr>
            <p:cNvPr id="107" name="5. Source"/>
            <p:cNvSpPr>
              <a:spLocks noChangeArrowheads="1"/>
            </p:cNvSpPr>
            <p:nvPr/>
          </p:nvSpPr>
          <p:spPr bwMode="auto">
            <a:xfrm>
              <a:off x="119063" y="6508272"/>
              <a:ext cx="794619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19113" indent="-519113" defTabSz="895350" fontAlgn="base">
                <a:spcBef>
                  <a:spcPct val="0"/>
                </a:spcBef>
                <a:spcAft>
                  <a:spcPct val="0"/>
                </a:spcAft>
                <a:buClrTx/>
                <a:buFontTx/>
                <a:buNone/>
                <a:tabLst>
                  <a:tab pos="612775" algn="l"/>
                </a:tabLst>
              </a:pPr>
              <a:r>
                <a:rPr lang="x-none" sz="800" kern="1200" dirty="0">
                  <a:ea typeface="+mn-ea"/>
                  <a:cs typeface="+mn-cs"/>
                </a:rPr>
                <a:t>SOURCE : </a:t>
              </a:r>
              <a:r>
                <a:rPr lang="x-none" sz="800" kern="1200" dirty="0" smtClean="0">
                  <a:ea typeface="+mn-ea"/>
                  <a:cs typeface="+mn-cs"/>
                </a:rPr>
                <a:t>Source</a:t>
              </a:r>
              <a:endParaRPr lang="en-US" sz="800" kern="1200" dirty="0" smtClean="0">
                <a:ea typeface="+mn-ea"/>
                <a:cs typeface="+mn-cs"/>
              </a:endParaRPr>
            </a:p>
          </p:txBody>
        </p:sp>
      </p:grpSp>
      <p:grpSp>
        <p:nvGrpSpPr>
          <p:cNvPr id="108" name="McKSticker" hidden="1"/>
          <p:cNvGrpSpPr/>
          <p:nvPr userDrawn="1"/>
        </p:nvGrpSpPr>
        <p:grpSpPr bwMode="auto">
          <a:xfrm>
            <a:off x="9210098" y="981080"/>
            <a:ext cx="473335" cy="150811"/>
            <a:chOff x="8303851" y="285750"/>
            <a:chExt cx="436924" cy="150811"/>
          </a:xfrm>
        </p:grpSpPr>
        <p:sp>
          <p:nvSpPr>
            <p:cNvPr id="109" name="StickerRectangle"/>
            <p:cNvSpPr>
              <a:spLocks noChangeArrowheads="1"/>
            </p:cNvSpPr>
            <p:nvPr/>
          </p:nvSpPr>
          <p:spPr bwMode="auto">
            <a:xfrm>
              <a:off x="8303851" y="285750"/>
              <a:ext cx="436924"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02960"/>
                </a:buClr>
                <a:buFontTx/>
                <a:buNone/>
              </a:pPr>
              <a:r>
                <a:rPr lang="x-none" sz="800" kern="1200" dirty="0" smtClean="0">
                  <a:solidFill>
                    <a:srgbClr val="808080"/>
                  </a:solidFill>
                  <a:ea typeface="+mn-ea"/>
                  <a:cs typeface="+mn-cs"/>
                </a:rPr>
                <a:t>STICKER</a:t>
              </a:r>
              <a:endParaRPr lang="x-none" sz="800" kern="1200" dirty="0">
                <a:solidFill>
                  <a:srgbClr val="808080"/>
                </a:solidFill>
                <a:ea typeface="+mn-ea"/>
                <a:cs typeface="+mn-cs"/>
              </a:endParaRPr>
            </a:p>
          </p:txBody>
        </p:sp>
        <p:cxnSp>
          <p:nvCxnSpPr>
            <p:cNvPr id="110" name="AutoShape 31"/>
            <p:cNvCxnSpPr>
              <a:cxnSpLocks noChangeShapeType="1"/>
              <a:stCxn id="109" idx="2"/>
              <a:endCxn id="109" idx="4"/>
            </p:cNvCxnSpPr>
            <p:nvPr/>
          </p:nvCxnSpPr>
          <p:spPr bwMode="auto">
            <a:xfrm>
              <a:off x="8303851"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11" name="AutoShape 32"/>
            <p:cNvCxnSpPr>
              <a:cxnSpLocks noChangeShapeType="1"/>
              <a:stCxn id="109" idx="4"/>
              <a:endCxn id="109" idx="6"/>
            </p:cNvCxnSpPr>
            <p:nvPr/>
          </p:nvCxnSpPr>
          <p:spPr bwMode="auto">
            <a:xfrm>
              <a:off x="8303851" y="436561"/>
              <a:ext cx="436924"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12" name="LegendBoxes" hidden="1"/>
          <p:cNvGrpSpPr/>
          <p:nvPr userDrawn="1"/>
        </p:nvGrpSpPr>
        <p:grpSpPr bwMode="auto">
          <a:xfrm>
            <a:off x="8856021" y="974730"/>
            <a:ext cx="784921" cy="997467"/>
            <a:chOff x="7835905" y="279400"/>
            <a:chExt cx="724543" cy="997467"/>
          </a:xfrm>
        </p:grpSpPr>
        <p:sp>
          <p:nvSpPr>
            <p:cNvPr id="113"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14"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15"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16"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17" name="Legend1"/>
            <p:cNvSpPr>
              <a:spLocks noChangeArrowheads="1"/>
            </p:cNvSpPr>
            <p:nvPr/>
          </p:nvSpPr>
          <p:spPr bwMode="auto">
            <a:xfrm>
              <a:off x="8089905"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cs typeface="+mn-cs"/>
                </a:rPr>
                <a:t>Legend</a:t>
              </a:r>
              <a:endParaRPr lang="x-none" sz="1200" kern="1200" dirty="0">
                <a:ea typeface="+mn-ea"/>
                <a:cs typeface="+mn-cs"/>
              </a:endParaRPr>
            </a:p>
          </p:txBody>
        </p:sp>
        <p:sp>
          <p:nvSpPr>
            <p:cNvPr id="118" name="Legend2"/>
            <p:cNvSpPr>
              <a:spLocks noChangeArrowheads="1"/>
            </p:cNvSpPr>
            <p:nvPr/>
          </p:nvSpPr>
          <p:spPr bwMode="auto">
            <a:xfrm>
              <a:off x="8089905" y="54927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cs typeface="+mn-cs"/>
                </a:rPr>
                <a:t>Legend</a:t>
              </a:r>
              <a:endParaRPr lang="x-none" sz="1200" kern="1200" dirty="0">
                <a:ea typeface="+mn-ea"/>
                <a:cs typeface="+mn-cs"/>
              </a:endParaRPr>
            </a:p>
          </p:txBody>
        </p:sp>
        <p:sp>
          <p:nvSpPr>
            <p:cNvPr id="119" name="Legend3"/>
            <p:cNvSpPr>
              <a:spLocks noChangeArrowheads="1"/>
            </p:cNvSpPr>
            <p:nvPr/>
          </p:nvSpPr>
          <p:spPr bwMode="auto">
            <a:xfrm>
              <a:off x="8089905" y="820738"/>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sp>
          <p:nvSpPr>
            <p:cNvPr id="120" name="Legend4"/>
            <p:cNvSpPr>
              <a:spLocks noChangeArrowheads="1"/>
            </p:cNvSpPr>
            <p:nvPr/>
          </p:nvSpPr>
          <p:spPr bwMode="auto">
            <a:xfrm>
              <a:off x="8089905" y="10922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a:ea typeface="+mn-ea"/>
                  <a:cs typeface="+mn-cs"/>
                </a:rPr>
                <a:t>Legend</a:t>
              </a:r>
            </a:p>
          </p:txBody>
        </p:sp>
      </p:grpSp>
      <p:grpSp>
        <p:nvGrpSpPr>
          <p:cNvPr id="121" name="LegendLines" hidden="1"/>
          <p:cNvGrpSpPr/>
          <p:nvPr userDrawn="1"/>
        </p:nvGrpSpPr>
        <p:grpSpPr bwMode="auto">
          <a:xfrm>
            <a:off x="8522565" y="974730"/>
            <a:ext cx="1118561" cy="730767"/>
            <a:chOff x="7540629" y="279400"/>
            <a:chExt cx="1032518" cy="730767"/>
          </a:xfrm>
        </p:grpSpPr>
        <p:sp>
          <p:nvSpPr>
            <p:cNvPr id="122"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dirty="0">
                <a:ea typeface="+mn-ea"/>
                <a:cs typeface="+mn-cs"/>
              </a:endParaRPr>
            </a:p>
          </p:txBody>
        </p:sp>
        <p:sp>
          <p:nvSpPr>
            <p:cNvPr id="123"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dirty="0">
                <a:ea typeface="+mn-ea"/>
                <a:cs typeface="+mn-cs"/>
              </a:endParaRPr>
            </a:p>
          </p:txBody>
        </p:sp>
        <p:sp>
          <p:nvSpPr>
            <p:cNvPr id="124"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dirty="0">
                <a:ea typeface="+mn-ea"/>
                <a:cs typeface="+mn-cs"/>
              </a:endParaRPr>
            </a:p>
          </p:txBody>
        </p:sp>
        <p:sp>
          <p:nvSpPr>
            <p:cNvPr id="125" name="Legend1"/>
            <p:cNvSpPr>
              <a:spLocks noChangeArrowheads="1"/>
            </p:cNvSpPr>
            <p:nvPr/>
          </p:nvSpPr>
          <p:spPr bwMode="auto">
            <a:xfrm>
              <a:off x="8102604"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cs typeface="+mn-cs"/>
                </a:rPr>
                <a:t>Legend</a:t>
              </a:r>
              <a:endParaRPr lang="x-none" sz="1200" kern="1200" dirty="0">
                <a:ea typeface="+mn-ea"/>
                <a:cs typeface="+mn-cs"/>
              </a:endParaRPr>
            </a:p>
          </p:txBody>
        </p:sp>
        <p:sp>
          <p:nvSpPr>
            <p:cNvPr id="126" name="Legend2"/>
            <p:cNvSpPr>
              <a:spLocks noChangeArrowheads="1"/>
            </p:cNvSpPr>
            <p:nvPr/>
          </p:nvSpPr>
          <p:spPr bwMode="auto">
            <a:xfrm>
              <a:off x="8102604" y="5461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cs typeface="+mn-cs"/>
                </a:rPr>
                <a:t>Legend</a:t>
              </a:r>
              <a:endParaRPr lang="x-none" sz="1200" kern="1200" dirty="0">
                <a:ea typeface="+mn-ea"/>
                <a:cs typeface="+mn-cs"/>
              </a:endParaRPr>
            </a:p>
          </p:txBody>
        </p:sp>
        <p:sp>
          <p:nvSpPr>
            <p:cNvPr id="127" name="Legend3"/>
            <p:cNvSpPr>
              <a:spLocks noChangeArrowheads="1"/>
            </p:cNvSpPr>
            <p:nvPr/>
          </p:nvSpPr>
          <p:spPr bwMode="auto">
            <a:xfrm>
              <a:off x="8102604" y="8255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cs typeface="+mn-cs"/>
                </a:rPr>
                <a:t>Legend</a:t>
              </a:r>
              <a:endParaRPr lang="x-none" sz="1200" kern="1200" dirty="0">
                <a:ea typeface="+mn-ea"/>
                <a:cs typeface="+mn-cs"/>
              </a:endParaRPr>
            </a:p>
          </p:txBody>
        </p:sp>
      </p:grpSp>
      <p:grpSp>
        <p:nvGrpSpPr>
          <p:cNvPr id="128" name="LegendMoons" hidden="1"/>
          <p:cNvGrpSpPr/>
          <p:nvPr userDrawn="1"/>
        </p:nvGrpSpPr>
        <p:grpSpPr bwMode="auto">
          <a:xfrm>
            <a:off x="8783790" y="946154"/>
            <a:ext cx="857153" cy="1306516"/>
            <a:chOff x="7769225" y="250825"/>
            <a:chExt cx="791218" cy="1306516"/>
          </a:xfrm>
        </p:grpSpPr>
        <p:grpSp>
          <p:nvGrpSpPr>
            <p:cNvPr id="129" name="MoonLegend1"/>
            <p:cNvGrpSpPr>
              <a:grpSpLocks noChangeAspect="1"/>
            </p:cNvGrpSpPr>
            <p:nvPr>
              <p:custDataLst>
                <p:tags r:id="rId7"/>
              </p:custDataLst>
            </p:nvPr>
          </p:nvGrpSpPr>
          <p:grpSpPr bwMode="auto">
            <a:xfrm>
              <a:off x="7769225" y="250825"/>
              <a:ext cx="209550" cy="209551"/>
              <a:chOff x="4533" y="183"/>
              <a:chExt cx="144" cy="144"/>
            </a:xfrm>
          </p:grpSpPr>
          <p:sp>
            <p:nvSpPr>
              <p:cNvPr id="147"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8"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grpSp>
          <p:nvGrpSpPr>
            <p:cNvPr id="130" name="MoonLegend2"/>
            <p:cNvGrpSpPr>
              <a:grpSpLocks noChangeAspect="1"/>
            </p:cNvGrpSpPr>
            <p:nvPr>
              <p:custDataLst>
                <p:tags r:id="rId8"/>
              </p:custDataLst>
            </p:nvPr>
          </p:nvGrpSpPr>
          <p:grpSpPr bwMode="auto">
            <a:xfrm>
              <a:off x="7769225" y="525066"/>
              <a:ext cx="209550" cy="209551"/>
              <a:chOff x="1694" y="2044"/>
              <a:chExt cx="160" cy="160"/>
            </a:xfrm>
          </p:grpSpPr>
          <p:sp>
            <p:nvSpPr>
              <p:cNvPr id="145"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6" name="Arc 42"/>
              <p:cNvSpPr>
                <a:spLocks noChangeAspect="1"/>
              </p:cNvSpPr>
              <p:nvPr>
                <p:custDataLst>
                  <p:tags r:id="rId19"/>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grpSp>
          <p:nvGrpSpPr>
            <p:cNvPr id="131" name="MoonLegend4"/>
            <p:cNvGrpSpPr>
              <a:grpSpLocks noChangeAspect="1"/>
            </p:cNvGrpSpPr>
            <p:nvPr>
              <p:custDataLst>
                <p:tags r:id="rId9"/>
              </p:custDataLst>
            </p:nvPr>
          </p:nvGrpSpPr>
          <p:grpSpPr bwMode="auto">
            <a:xfrm>
              <a:off x="7769225" y="1073548"/>
              <a:ext cx="209550" cy="209551"/>
              <a:chOff x="4495" y="1198"/>
              <a:chExt cx="160" cy="160"/>
            </a:xfrm>
          </p:grpSpPr>
          <p:sp>
            <p:nvSpPr>
              <p:cNvPr id="143"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4"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grpSp>
          <p:nvGrpSpPr>
            <p:cNvPr id="132" name="MoonLegend5"/>
            <p:cNvGrpSpPr>
              <a:grpSpLocks noChangeAspect="1"/>
            </p:cNvGrpSpPr>
            <p:nvPr>
              <p:custDataLst>
                <p:tags r:id="rId10"/>
              </p:custDataLst>
            </p:nvPr>
          </p:nvGrpSpPr>
          <p:grpSpPr bwMode="auto">
            <a:xfrm>
              <a:off x="7769225" y="1347790"/>
              <a:ext cx="209550" cy="209551"/>
              <a:chOff x="4495" y="1440"/>
              <a:chExt cx="160" cy="160"/>
            </a:xfrm>
          </p:grpSpPr>
          <p:sp>
            <p:nvSpPr>
              <p:cNvPr id="141"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2"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grpSp>
          <p:nvGrpSpPr>
            <p:cNvPr id="133" name="MoonLegend3"/>
            <p:cNvGrpSpPr>
              <a:grpSpLocks noChangeAspect="1"/>
            </p:cNvGrpSpPr>
            <p:nvPr>
              <p:custDataLst>
                <p:tags r:id="rId11"/>
              </p:custDataLst>
            </p:nvPr>
          </p:nvGrpSpPr>
          <p:grpSpPr bwMode="auto">
            <a:xfrm>
              <a:off x="7769225" y="799307"/>
              <a:ext cx="209550" cy="209551"/>
              <a:chOff x="4495" y="1198"/>
              <a:chExt cx="160" cy="160"/>
            </a:xfrm>
          </p:grpSpPr>
          <p:sp>
            <p:nvSpPr>
              <p:cNvPr id="139"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sp>
            <p:nvSpPr>
              <p:cNvPr id="140"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dirty="0">
                  <a:ea typeface="+mn-ea"/>
                  <a:cs typeface="+mn-cs"/>
                </a:endParaRPr>
              </a:p>
            </p:txBody>
          </p:sp>
        </p:grpSp>
        <p:sp>
          <p:nvSpPr>
            <p:cNvPr id="134" name="Legend1"/>
            <p:cNvSpPr>
              <a:spLocks noChangeArrowheads="1"/>
            </p:cNvSpPr>
            <p:nvPr/>
          </p:nvSpPr>
          <p:spPr bwMode="auto">
            <a:xfrm>
              <a:off x="8089900" y="26352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cs typeface="+mn-cs"/>
                </a:rPr>
                <a:t>Legend</a:t>
              </a:r>
              <a:endParaRPr lang="x-none" sz="1200" kern="1200" dirty="0">
                <a:ea typeface="+mn-ea"/>
                <a:cs typeface="+mn-cs"/>
              </a:endParaRPr>
            </a:p>
          </p:txBody>
        </p:sp>
        <p:sp>
          <p:nvSpPr>
            <p:cNvPr id="135" name="Legend2"/>
            <p:cNvSpPr>
              <a:spLocks noChangeArrowheads="1"/>
            </p:cNvSpPr>
            <p:nvPr/>
          </p:nvSpPr>
          <p:spPr bwMode="auto">
            <a:xfrm>
              <a:off x="8089900" y="538163"/>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cs typeface="+mn-cs"/>
                </a:rPr>
                <a:t>Legend</a:t>
              </a:r>
              <a:endParaRPr lang="x-none" sz="1200" kern="1200" dirty="0">
                <a:ea typeface="+mn-ea"/>
                <a:cs typeface="+mn-cs"/>
              </a:endParaRPr>
            </a:p>
          </p:txBody>
        </p:sp>
        <p:sp>
          <p:nvSpPr>
            <p:cNvPr id="136" name="Legend3"/>
            <p:cNvSpPr>
              <a:spLocks noChangeArrowheads="1"/>
            </p:cNvSpPr>
            <p:nvPr/>
          </p:nvSpPr>
          <p:spPr bwMode="auto">
            <a:xfrm>
              <a:off x="8089900" y="812802"/>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cs typeface="+mn-cs"/>
                </a:rPr>
                <a:t>Legend</a:t>
              </a:r>
              <a:endParaRPr lang="x-none" sz="1200" kern="1200" dirty="0">
                <a:ea typeface="+mn-ea"/>
                <a:cs typeface="+mn-cs"/>
              </a:endParaRPr>
            </a:p>
          </p:txBody>
        </p:sp>
        <p:sp>
          <p:nvSpPr>
            <p:cNvPr id="137" name="Legend4"/>
            <p:cNvSpPr>
              <a:spLocks noChangeArrowheads="1"/>
            </p:cNvSpPr>
            <p:nvPr/>
          </p:nvSpPr>
          <p:spPr bwMode="auto">
            <a:xfrm>
              <a:off x="8089900" y="108426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cs typeface="+mn-cs"/>
                </a:rPr>
                <a:t>Legend</a:t>
              </a:r>
              <a:endParaRPr lang="x-none" sz="1200" kern="1200" dirty="0">
                <a:ea typeface="+mn-ea"/>
                <a:cs typeface="+mn-cs"/>
              </a:endParaRPr>
            </a:p>
          </p:txBody>
        </p:sp>
        <p:sp>
          <p:nvSpPr>
            <p:cNvPr id="138" name="Legend5"/>
            <p:cNvSpPr>
              <a:spLocks noChangeArrowheads="1"/>
            </p:cNvSpPr>
            <p:nvPr/>
          </p:nvSpPr>
          <p:spPr bwMode="auto">
            <a:xfrm>
              <a:off x="8089900" y="136049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dirty="0" smtClean="0">
                  <a:ea typeface="+mn-ea"/>
                  <a:cs typeface="+mn-cs"/>
                </a:rPr>
                <a:t>Legend</a:t>
              </a:r>
              <a:endParaRPr lang="x-none" sz="1200" kern="1200" dirty="0">
                <a:ea typeface="+mn-ea"/>
                <a:cs typeface="+mn-cs"/>
              </a:endParaRPr>
            </a:p>
          </p:txBody>
        </p:sp>
      </p:grpSp>
    </p:spTree>
    <p:extLst>
      <p:ext uri="{BB962C8B-B14F-4D97-AF65-F5344CB8AC3E}">
        <p14:creationId xmlns:p14="http://schemas.microsoft.com/office/powerpoint/2010/main" val="1090894706"/>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Lst>
  <p:timing>
    <p:tnLst>
      <p:par>
        <p:cTn id="1" dur="indefinite" restart="never" nodeType="tmRoot"/>
      </p:par>
    </p:tnLst>
  </p:timing>
  <p:hf hdr="0" ftr="0" dt="0"/>
  <p:txStyles>
    <p:titleStyle>
      <a:lvl1pPr algn="l" defTabSz="913429" rtl="0" eaLnBrk="1" fontAlgn="base" hangingPunct="1">
        <a:spcBef>
          <a:spcPct val="0"/>
        </a:spcBef>
        <a:spcAft>
          <a:spcPct val="0"/>
        </a:spcAft>
        <a:tabLst>
          <a:tab pos="275324" algn="l"/>
        </a:tabLst>
        <a:defRPr sz="1900" b="1" baseline="0">
          <a:solidFill>
            <a:schemeClr val="tx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png"/><Relationship Id="rId2" Type="http://schemas.openxmlformats.org/officeDocument/2006/relationships/tags" Target="../tags/tag321.xml"/><Relationship Id="rId1" Type="http://schemas.openxmlformats.org/officeDocument/2006/relationships/vmlDrawing" Target="../drawings/vmlDrawing92.vml"/><Relationship Id="rId6" Type="http://schemas.openxmlformats.org/officeDocument/2006/relationships/image" Target="../media/image25.emf"/><Relationship Id="rId5" Type="http://schemas.openxmlformats.org/officeDocument/2006/relationships/oleObject" Target="../embeddings/oleObject9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tags" Target="../tags/tag334.xml"/><Relationship Id="rId2" Type="http://schemas.openxmlformats.org/officeDocument/2006/relationships/tags" Target="../tags/tag333.xml"/><Relationship Id="rId1" Type="http://schemas.openxmlformats.org/officeDocument/2006/relationships/vmlDrawing" Target="../drawings/vmlDrawing99.vml"/><Relationship Id="rId6" Type="http://schemas.openxmlformats.org/officeDocument/2006/relationships/image" Target="../media/image18.emf"/><Relationship Id="rId5" Type="http://schemas.openxmlformats.org/officeDocument/2006/relationships/oleObject" Target="../embeddings/oleObject99.bin"/><Relationship Id="rId4"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tags" Target="../tags/tag336.xml"/><Relationship Id="rId2" Type="http://schemas.openxmlformats.org/officeDocument/2006/relationships/tags" Target="../tags/tag335.xml"/><Relationship Id="rId1" Type="http://schemas.openxmlformats.org/officeDocument/2006/relationships/vmlDrawing" Target="../drawings/vmlDrawing100.vml"/><Relationship Id="rId6" Type="http://schemas.openxmlformats.org/officeDocument/2006/relationships/image" Target="../media/image1.emf"/><Relationship Id="rId5" Type="http://schemas.openxmlformats.org/officeDocument/2006/relationships/oleObject" Target="../embeddings/oleObject100.bin"/><Relationship Id="rId4"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8" Type="http://schemas.openxmlformats.org/officeDocument/2006/relationships/hyperlink" Target="http://www.fao.org/ethiopia/fao-in-ethiopia/ethiopia-at-a-glance/en/" TargetMode="External"/><Relationship Id="rId3" Type="http://schemas.openxmlformats.org/officeDocument/2006/relationships/slideLayout" Target="../slideLayouts/slideLayout9.xml"/><Relationship Id="rId7" Type="http://schemas.openxmlformats.org/officeDocument/2006/relationships/image" Target="../media/image2.png"/><Relationship Id="rId2" Type="http://schemas.openxmlformats.org/officeDocument/2006/relationships/tags" Target="../tags/tag337.xml"/><Relationship Id="rId1" Type="http://schemas.openxmlformats.org/officeDocument/2006/relationships/vmlDrawing" Target="../drawings/vmlDrawing101.vml"/><Relationship Id="rId6" Type="http://schemas.openxmlformats.org/officeDocument/2006/relationships/image" Target="../media/image25.emf"/><Relationship Id="rId11" Type="http://schemas.openxmlformats.org/officeDocument/2006/relationships/image" Target="../media/image33.png"/><Relationship Id="rId5" Type="http://schemas.openxmlformats.org/officeDocument/2006/relationships/oleObject" Target="../embeddings/oleObject101.bin"/><Relationship Id="rId10" Type="http://schemas.openxmlformats.org/officeDocument/2006/relationships/image" Target="../media/image32.png"/><Relationship Id="rId4" Type="http://schemas.openxmlformats.org/officeDocument/2006/relationships/notesSlide" Target="../notesSlides/notesSlide4.xml"/><Relationship Id="rId9" Type="http://schemas.openxmlformats.org/officeDocument/2006/relationships/hyperlink" Target="https://www.worldometers.info/world-population/ethiopia-population/" TargetMode="External"/></Relationships>
</file>

<file path=ppt/slides/_rels/slide16.xml.rels><?xml version="1.0" encoding="UTF-8" standalone="yes"?>
<Relationships xmlns="http://schemas.openxmlformats.org/package/2006/relationships"><Relationship Id="rId8" Type="http://schemas.openxmlformats.org/officeDocument/2006/relationships/hyperlink" Target="https://www.theglobaleconomy.com/rankings/fertilizer_use/Africa/" TargetMode="External"/><Relationship Id="rId3" Type="http://schemas.openxmlformats.org/officeDocument/2006/relationships/tags" Target="../tags/tag339.xml"/><Relationship Id="rId7" Type="http://schemas.openxmlformats.org/officeDocument/2006/relationships/hyperlink" Target="http://www.fao.org/ethiopia/fao-in-ethiopia/ethiopia-at-a-glance/en/" TargetMode="External"/><Relationship Id="rId2" Type="http://schemas.openxmlformats.org/officeDocument/2006/relationships/tags" Target="../tags/tag338.xml"/><Relationship Id="rId1" Type="http://schemas.openxmlformats.org/officeDocument/2006/relationships/vmlDrawing" Target="../drawings/vmlDrawing102.vml"/><Relationship Id="rId6" Type="http://schemas.openxmlformats.org/officeDocument/2006/relationships/image" Target="../media/image1.emf"/><Relationship Id="rId5" Type="http://schemas.openxmlformats.org/officeDocument/2006/relationships/oleObject" Target="../embeddings/oleObject102.bin"/><Relationship Id="rId10" Type="http://schemas.openxmlformats.org/officeDocument/2006/relationships/image" Target="../media/image34.png"/><Relationship Id="rId4" Type="http://schemas.openxmlformats.org/officeDocument/2006/relationships/slideLayout" Target="../slideLayouts/slideLayout9.xml"/><Relationship Id="rId9" Type="http://schemas.openxmlformats.org/officeDocument/2006/relationships/hyperlink" Target="https://www.resakss.org/" TargetMode="External"/></Relationships>
</file>

<file path=ppt/slides/_rels/slide1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41.xml"/><Relationship Id="rId7" Type="http://schemas.openxmlformats.org/officeDocument/2006/relationships/image" Target="../media/image25.emf"/><Relationship Id="rId2" Type="http://schemas.openxmlformats.org/officeDocument/2006/relationships/tags" Target="../tags/tag340.xml"/><Relationship Id="rId1" Type="http://schemas.openxmlformats.org/officeDocument/2006/relationships/vmlDrawing" Target="../drawings/vmlDrawing103.vml"/><Relationship Id="rId6" Type="http://schemas.openxmlformats.org/officeDocument/2006/relationships/oleObject" Target="../embeddings/oleObject103.bin"/><Relationship Id="rId5" Type="http://schemas.openxmlformats.org/officeDocument/2006/relationships/notesSlide" Target="../notesSlides/notesSlide5.xml"/><Relationship Id="rId4" Type="http://schemas.openxmlformats.org/officeDocument/2006/relationships/slideLayout" Target="../slideLayouts/slideLayout13.xml"/><Relationship Id="rId9" Type="http://schemas.openxmlformats.org/officeDocument/2006/relationships/chart" Target="../charts/chart3.xml"/></Relationships>
</file>

<file path=ppt/slides/_rels/slide18.xml.rels><?xml version="1.0" encoding="UTF-8" standalone="yes"?>
<Relationships xmlns="http://schemas.openxmlformats.org/package/2006/relationships"><Relationship Id="rId8" Type="http://schemas.openxmlformats.org/officeDocument/2006/relationships/tags" Target="../tags/tag348.xml"/><Relationship Id="rId13" Type="http://schemas.openxmlformats.org/officeDocument/2006/relationships/slideLayout" Target="../slideLayouts/slideLayout9.xml"/><Relationship Id="rId18" Type="http://schemas.openxmlformats.org/officeDocument/2006/relationships/hyperlink" Target="https://www.ifc.org/wps/wcm/connect/a45b39ca-1b48-4f18-829a-7282a2e0991b/201905-Ethiopia-CPSD.pdf?MOD=AJPERES" TargetMode="External"/><Relationship Id="rId3" Type="http://schemas.openxmlformats.org/officeDocument/2006/relationships/tags" Target="../tags/tag343.xml"/><Relationship Id="rId7" Type="http://schemas.openxmlformats.org/officeDocument/2006/relationships/tags" Target="../tags/tag347.xml"/><Relationship Id="rId12" Type="http://schemas.openxmlformats.org/officeDocument/2006/relationships/tags" Target="../tags/tag352.xml"/><Relationship Id="rId17" Type="http://schemas.openxmlformats.org/officeDocument/2006/relationships/image" Target="../media/image2.png"/><Relationship Id="rId2" Type="http://schemas.openxmlformats.org/officeDocument/2006/relationships/tags" Target="../tags/tag342.xml"/><Relationship Id="rId16" Type="http://schemas.openxmlformats.org/officeDocument/2006/relationships/image" Target="../media/image25.emf"/><Relationship Id="rId1" Type="http://schemas.openxmlformats.org/officeDocument/2006/relationships/vmlDrawing" Target="../drawings/vmlDrawing104.vml"/><Relationship Id="rId6" Type="http://schemas.openxmlformats.org/officeDocument/2006/relationships/tags" Target="../tags/tag346.xml"/><Relationship Id="rId11" Type="http://schemas.openxmlformats.org/officeDocument/2006/relationships/tags" Target="../tags/tag351.xml"/><Relationship Id="rId5" Type="http://schemas.openxmlformats.org/officeDocument/2006/relationships/tags" Target="../tags/tag345.xml"/><Relationship Id="rId15" Type="http://schemas.openxmlformats.org/officeDocument/2006/relationships/oleObject" Target="../embeddings/oleObject104.bin"/><Relationship Id="rId10" Type="http://schemas.openxmlformats.org/officeDocument/2006/relationships/tags" Target="../tags/tag350.xml"/><Relationship Id="rId4" Type="http://schemas.openxmlformats.org/officeDocument/2006/relationships/tags" Target="../tags/tag344.xml"/><Relationship Id="rId9" Type="http://schemas.openxmlformats.org/officeDocument/2006/relationships/tags" Target="../tags/tag349.xml"/><Relationship Id="rId14" Type="http://schemas.openxmlformats.org/officeDocument/2006/relationships/notesSlide" Target="../notesSlides/notesSlide6.xml"/></Relationships>
</file>

<file path=ppt/slides/_rels/slide19.xml.rels><?xml version="1.0" encoding="UTF-8" standalone="yes"?>
<Relationships xmlns="http://schemas.openxmlformats.org/package/2006/relationships"><Relationship Id="rId8" Type="http://schemas.openxmlformats.org/officeDocument/2006/relationships/hyperlink" Target="https://reliefweb.int/sites/reliefweb.int/files/resources/essprn11.pdf" TargetMode="External"/><Relationship Id="rId13" Type="http://schemas.openxmlformats.org/officeDocument/2006/relationships/chart" Target="../charts/chart5.xml"/><Relationship Id="rId3" Type="http://schemas.openxmlformats.org/officeDocument/2006/relationships/slideLayout" Target="../slideLayouts/slideLayout9.xml"/><Relationship Id="rId7" Type="http://schemas.openxmlformats.org/officeDocument/2006/relationships/image" Target="../media/image2.png"/><Relationship Id="rId12" Type="http://schemas.openxmlformats.org/officeDocument/2006/relationships/chart" Target="../charts/chart4.xml"/><Relationship Id="rId2" Type="http://schemas.openxmlformats.org/officeDocument/2006/relationships/tags" Target="../tags/tag353.xml"/><Relationship Id="rId1" Type="http://schemas.openxmlformats.org/officeDocument/2006/relationships/vmlDrawing" Target="../drawings/vmlDrawing105.vml"/><Relationship Id="rId6" Type="http://schemas.openxmlformats.org/officeDocument/2006/relationships/image" Target="../media/image25.emf"/><Relationship Id="rId11" Type="http://schemas.openxmlformats.org/officeDocument/2006/relationships/hyperlink" Target="http://www.fao.org/family-farming/data-sources/dataportrait/farm-size/en/" TargetMode="External"/><Relationship Id="rId5" Type="http://schemas.openxmlformats.org/officeDocument/2006/relationships/oleObject" Target="../embeddings/oleObject105.bin"/><Relationship Id="rId10" Type="http://schemas.openxmlformats.org/officeDocument/2006/relationships/hyperlink" Target="https://data.worldbank.org/indicator/AG.CON.FERT.ZS" TargetMode="External"/><Relationship Id="rId4" Type="http://schemas.openxmlformats.org/officeDocument/2006/relationships/notesSlide" Target="../notesSlides/notesSlide7.xml"/><Relationship Id="rId9" Type="http://schemas.openxmlformats.org/officeDocument/2006/relationships/hyperlink" Target="http://www.fao.org/3/a-i5251e.pdf"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13" Type="http://schemas.openxmlformats.org/officeDocument/2006/relationships/tags" Target="../tags/tag366.xml"/><Relationship Id="rId18" Type="http://schemas.openxmlformats.org/officeDocument/2006/relationships/tags" Target="../tags/tag371.xml"/><Relationship Id="rId26" Type="http://schemas.openxmlformats.org/officeDocument/2006/relationships/tags" Target="../tags/tag379.xml"/><Relationship Id="rId39" Type="http://schemas.openxmlformats.org/officeDocument/2006/relationships/image" Target="../media/image44.png"/><Relationship Id="rId21" Type="http://schemas.openxmlformats.org/officeDocument/2006/relationships/tags" Target="../tags/tag374.xml"/><Relationship Id="rId34" Type="http://schemas.openxmlformats.org/officeDocument/2006/relationships/image" Target="../media/image39.png"/><Relationship Id="rId42" Type="http://schemas.openxmlformats.org/officeDocument/2006/relationships/image" Target="../media/image47.png"/><Relationship Id="rId7" Type="http://schemas.openxmlformats.org/officeDocument/2006/relationships/tags" Target="../tags/tag360.xml"/><Relationship Id="rId2" Type="http://schemas.openxmlformats.org/officeDocument/2006/relationships/tags" Target="../tags/tag355.xml"/><Relationship Id="rId16" Type="http://schemas.openxmlformats.org/officeDocument/2006/relationships/tags" Target="../tags/tag369.xml"/><Relationship Id="rId20" Type="http://schemas.openxmlformats.org/officeDocument/2006/relationships/tags" Target="../tags/tag373.xml"/><Relationship Id="rId29" Type="http://schemas.openxmlformats.org/officeDocument/2006/relationships/notesSlide" Target="../notesSlides/notesSlide8.xml"/><Relationship Id="rId41" Type="http://schemas.openxmlformats.org/officeDocument/2006/relationships/image" Target="../media/image46.jpeg"/><Relationship Id="rId1" Type="http://schemas.openxmlformats.org/officeDocument/2006/relationships/tags" Target="../tags/tag354.xml"/><Relationship Id="rId6" Type="http://schemas.openxmlformats.org/officeDocument/2006/relationships/tags" Target="../tags/tag359.xml"/><Relationship Id="rId11" Type="http://schemas.openxmlformats.org/officeDocument/2006/relationships/tags" Target="../tags/tag364.xml"/><Relationship Id="rId24" Type="http://schemas.openxmlformats.org/officeDocument/2006/relationships/tags" Target="../tags/tag377.xml"/><Relationship Id="rId32" Type="http://schemas.openxmlformats.org/officeDocument/2006/relationships/image" Target="../media/image37.jpeg"/><Relationship Id="rId37" Type="http://schemas.openxmlformats.org/officeDocument/2006/relationships/image" Target="../media/image42.jpeg"/><Relationship Id="rId40" Type="http://schemas.openxmlformats.org/officeDocument/2006/relationships/image" Target="../media/image45.png"/><Relationship Id="rId5" Type="http://schemas.openxmlformats.org/officeDocument/2006/relationships/tags" Target="../tags/tag358.xml"/><Relationship Id="rId15" Type="http://schemas.openxmlformats.org/officeDocument/2006/relationships/tags" Target="../tags/tag368.xml"/><Relationship Id="rId23" Type="http://schemas.openxmlformats.org/officeDocument/2006/relationships/tags" Target="../tags/tag376.xml"/><Relationship Id="rId28" Type="http://schemas.openxmlformats.org/officeDocument/2006/relationships/slideLayout" Target="../slideLayouts/slideLayout16.xml"/><Relationship Id="rId36" Type="http://schemas.openxmlformats.org/officeDocument/2006/relationships/image" Target="../media/image41.png"/><Relationship Id="rId10" Type="http://schemas.openxmlformats.org/officeDocument/2006/relationships/tags" Target="../tags/tag363.xml"/><Relationship Id="rId19" Type="http://schemas.openxmlformats.org/officeDocument/2006/relationships/tags" Target="../tags/tag372.xml"/><Relationship Id="rId31" Type="http://schemas.openxmlformats.org/officeDocument/2006/relationships/image" Target="../media/image36.png"/><Relationship Id="rId4" Type="http://schemas.openxmlformats.org/officeDocument/2006/relationships/tags" Target="../tags/tag357.xml"/><Relationship Id="rId9" Type="http://schemas.openxmlformats.org/officeDocument/2006/relationships/tags" Target="../tags/tag362.xml"/><Relationship Id="rId14" Type="http://schemas.openxmlformats.org/officeDocument/2006/relationships/tags" Target="../tags/tag367.xml"/><Relationship Id="rId22" Type="http://schemas.openxmlformats.org/officeDocument/2006/relationships/tags" Target="../tags/tag375.xml"/><Relationship Id="rId27" Type="http://schemas.openxmlformats.org/officeDocument/2006/relationships/tags" Target="../tags/tag380.xml"/><Relationship Id="rId30" Type="http://schemas.openxmlformats.org/officeDocument/2006/relationships/image" Target="../media/image35.png"/><Relationship Id="rId35" Type="http://schemas.openxmlformats.org/officeDocument/2006/relationships/image" Target="../media/image40.png"/><Relationship Id="rId8" Type="http://schemas.openxmlformats.org/officeDocument/2006/relationships/tags" Target="../tags/tag361.xml"/><Relationship Id="rId3" Type="http://schemas.openxmlformats.org/officeDocument/2006/relationships/tags" Target="../tags/tag356.xml"/><Relationship Id="rId12" Type="http://schemas.openxmlformats.org/officeDocument/2006/relationships/tags" Target="../tags/tag365.xml"/><Relationship Id="rId17" Type="http://schemas.openxmlformats.org/officeDocument/2006/relationships/tags" Target="../tags/tag370.xml"/><Relationship Id="rId25" Type="http://schemas.openxmlformats.org/officeDocument/2006/relationships/tags" Target="../tags/tag378.xml"/><Relationship Id="rId33" Type="http://schemas.openxmlformats.org/officeDocument/2006/relationships/image" Target="../media/image38.png"/><Relationship Id="rId38" Type="http://schemas.openxmlformats.org/officeDocument/2006/relationships/image" Target="../media/image43.png"/></Relationships>
</file>

<file path=ppt/slides/_rels/slide21.xml.rels><?xml version="1.0" encoding="UTF-8" standalone="yes"?>
<Relationships xmlns="http://schemas.openxmlformats.org/package/2006/relationships"><Relationship Id="rId3" Type="http://schemas.openxmlformats.org/officeDocument/2006/relationships/tags" Target="../tags/tag382.xml"/><Relationship Id="rId2" Type="http://schemas.openxmlformats.org/officeDocument/2006/relationships/tags" Target="../tags/tag381.xml"/><Relationship Id="rId1" Type="http://schemas.openxmlformats.org/officeDocument/2006/relationships/vmlDrawing" Target="../drawings/vmlDrawing106.vml"/><Relationship Id="rId6" Type="http://schemas.openxmlformats.org/officeDocument/2006/relationships/image" Target="../media/image1.emf"/><Relationship Id="rId5" Type="http://schemas.openxmlformats.org/officeDocument/2006/relationships/oleObject" Target="../embeddings/oleObject106.bin"/><Relationship Id="rId4"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3" Type="http://schemas.openxmlformats.org/officeDocument/2006/relationships/tags" Target="../tags/tag384.xml"/><Relationship Id="rId2" Type="http://schemas.openxmlformats.org/officeDocument/2006/relationships/tags" Target="../tags/tag383.xml"/><Relationship Id="rId1" Type="http://schemas.openxmlformats.org/officeDocument/2006/relationships/vmlDrawing" Target="../drawings/vmlDrawing107.vml"/><Relationship Id="rId6" Type="http://schemas.openxmlformats.org/officeDocument/2006/relationships/image" Target="../media/image1.emf"/><Relationship Id="rId5" Type="http://schemas.openxmlformats.org/officeDocument/2006/relationships/oleObject" Target="../embeddings/oleObject107.bin"/><Relationship Id="rId4"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3" Type="http://schemas.openxmlformats.org/officeDocument/2006/relationships/tags" Target="../tags/tag386.xml"/><Relationship Id="rId2" Type="http://schemas.openxmlformats.org/officeDocument/2006/relationships/tags" Target="../tags/tag385.xml"/><Relationship Id="rId1" Type="http://schemas.openxmlformats.org/officeDocument/2006/relationships/vmlDrawing" Target="../drawings/vmlDrawing108.vml"/><Relationship Id="rId6" Type="http://schemas.openxmlformats.org/officeDocument/2006/relationships/image" Target="../media/image1.emf"/><Relationship Id="rId5" Type="http://schemas.openxmlformats.org/officeDocument/2006/relationships/oleObject" Target="../embeddings/oleObject108.bin"/><Relationship Id="rId4"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3" Type="http://schemas.openxmlformats.org/officeDocument/2006/relationships/tags" Target="../tags/tag388.xml"/><Relationship Id="rId2" Type="http://schemas.openxmlformats.org/officeDocument/2006/relationships/tags" Target="../tags/tag387.xml"/><Relationship Id="rId1" Type="http://schemas.openxmlformats.org/officeDocument/2006/relationships/vmlDrawing" Target="../drawings/vmlDrawing109.vml"/><Relationship Id="rId6" Type="http://schemas.openxmlformats.org/officeDocument/2006/relationships/image" Target="../media/image1.emf"/><Relationship Id="rId5" Type="http://schemas.openxmlformats.org/officeDocument/2006/relationships/oleObject" Target="../embeddings/oleObject109.bin"/><Relationship Id="rId4"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3" Type="http://schemas.openxmlformats.org/officeDocument/2006/relationships/tags" Target="../tags/tag390.xml"/><Relationship Id="rId7" Type="http://schemas.openxmlformats.org/officeDocument/2006/relationships/image" Target="../media/image48.emf"/><Relationship Id="rId2" Type="http://schemas.openxmlformats.org/officeDocument/2006/relationships/tags" Target="../tags/tag389.xml"/><Relationship Id="rId1" Type="http://schemas.openxmlformats.org/officeDocument/2006/relationships/vmlDrawing" Target="../drawings/vmlDrawing110.vml"/><Relationship Id="rId6" Type="http://schemas.openxmlformats.org/officeDocument/2006/relationships/image" Target="../media/image1.emf"/><Relationship Id="rId5" Type="http://schemas.openxmlformats.org/officeDocument/2006/relationships/oleObject" Target="../embeddings/oleObject110.bin"/><Relationship Id="rId4"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tags" Target="../tags/tag392.xml"/><Relationship Id="rId2" Type="http://schemas.openxmlformats.org/officeDocument/2006/relationships/tags" Target="../tags/tag391.xml"/><Relationship Id="rId1" Type="http://schemas.openxmlformats.org/officeDocument/2006/relationships/vmlDrawing" Target="../drawings/vmlDrawing111.vml"/><Relationship Id="rId6" Type="http://schemas.openxmlformats.org/officeDocument/2006/relationships/image" Target="../media/image1.emf"/><Relationship Id="rId5" Type="http://schemas.openxmlformats.org/officeDocument/2006/relationships/oleObject" Target="../embeddings/oleObject111.bin"/><Relationship Id="rId4"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3" Type="http://schemas.openxmlformats.org/officeDocument/2006/relationships/tags" Target="../tags/tag394.xml"/><Relationship Id="rId2" Type="http://schemas.openxmlformats.org/officeDocument/2006/relationships/tags" Target="../tags/tag393.xml"/><Relationship Id="rId1" Type="http://schemas.openxmlformats.org/officeDocument/2006/relationships/vmlDrawing" Target="../drawings/vmlDrawing112.vml"/><Relationship Id="rId6" Type="http://schemas.openxmlformats.org/officeDocument/2006/relationships/image" Target="../media/image1.emf"/><Relationship Id="rId5" Type="http://schemas.openxmlformats.org/officeDocument/2006/relationships/oleObject" Target="../embeddings/oleObject112.bin"/><Relationship Id="rId4"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tags" Target="../tags/tag396.xml"/><Relationship Id="rId7" Type="http://schemas.openxmlformats.org/officeDocument/2006/relationships/image" Target="../media/image49.png"/><Relationship Id="rId2" Type="http://schemas.openxmlformats.org/officeDocument/2006/relationships/tags" Target="../tags/tag395.xml"/><Relationship Id="rId1" Type="http://schemas.openxmlformats.org/officeDocument/2006/relationships/vmlDrawing" Target="../drawings/vmlDrawing113.vml"/><Relationship Id="rId6" Type="http://schemas.openxmlformats.org/officeDocument/2006/relationships/image" Target="../media/image1.emf"/><Relationship Id="rId5" Type="http://schemas.openxmlformats.org/officeDocument/2006/relationships/oleObject" Target="../embeddings/oleObject113.bin"/><Relationship Id="rId4" Type="http://schemas.openxmlformats.org/officeDocument/2006/relationships/slideLayout" Target="../slideLayouts/slideLayout9.xml"/><Relationship Id="rId9" Type="http://schemas.openxmlformats.org/officeDocument/2006/relationships/image" Target="../media/image51.png"/></Relationships>
</file>

<file path=ppt/slides/_rels/slide29.xml.rels><?xml version="1.0" encoding="UTF-8" standalone="yes"?>
<Relationships xmlns="http://schemas.openxmlformats.org/package/2006/relationships"><Relationship Id="rId13" Type="http://schemas.openxmlformats.org/officeDocument/2006/relationships/tags" Target="../tags/tag409.xml"/><Relationship Id="rId18" Type="http://schemas.openxmlformats.org/officeDocument/2006/relationships/tags" Target="../tags/tag414.xml"/><Relationship Id="rId26" Type="http://schemas.openxmlformats.org/officeDocument/2006/relationships/tags" Target="../tags/tag422.xml"/><Relationship Id="rId3" Type="http://schemas.openxmlformats.org/officeDocument/2006/relationships/tags" Target="../tags/tag399.xml"/><Relationship Id="rId21" Type="http://schemas.openxmlformats.org/officeDocument/2006/relationships/tags" Target="../tags/tag417.xml"/><Relationship Id="rId34" Type="http://schemas.openxmlformats.org/officeDocument/2006/relationships/slideLayout" Target="../slideLayouts/slideLayout85.xml"/><Relationship Id="rId7" Type="http://schemas.openxmlformats.org/officeDocument/2006/relationships/tags" Target="../tags/tag403.xml"/><Relationship Id="rId12" Type="http://schemas.openxmlformats.org/officeDocument/2006/relationships/tags" Target="../tags/tag408.xml"/><Relationship Id="rId17" Type="http://schemas.openxmlformats.org/officeDocument/2006/relationships/tags" Target="../tags/tag413.xml"/><Relationship Id="rId25" Type="http://schemas.openxmlformats.org/officeDocument/2006/relationships/tags" Target="../tags/tag421.xml"/><Relationship Id="rId33" Type="http://schemas.openxmlformats.org/officeDocument/2006/relationships/tags" Target="../tags/tag429.xml"/><Relationship Id="rId2" Type="http://schemas.openxmlformats.org/officeDocument/2006/relationships/tags" Target="../tags/tag398.xml"/><Relationship Id="rId16" Type="http://schemas.openxmlformats.org/officeDocument/2006/relationships/tags" Target="../tags/tag412.xml"/><Relationship Id="rId20" Type="http://schemas.openxmlformats.org/officeDocument/2006/relationships/tags" Target="../tags/tag416.xml"/><Relationship Id="rId29" Type="http://schemas.openxmlformats.org/officeDocument/2006/relationships/tags" Target="../tags/tag425.xml"/><Relationship Id="rId1" Type="http://schemas.openxmlformats.org/officeDocument/2006/relationships/tags" Target="../tags/tag397.xml"/><Relationship Id="rId6" Type="http://schemas.openxmlformats.org/officeDocument/2006/relationships/tags" Target="../tags/tag402.xml"/><Relationship Id="rId11" Type="http://schemas.openxmlformats.org/officeDocument/2006/relationships/tags" Target="../tags/tag407.xml"/><Relationship Id="rId24" Type="http://schemas.openxmlformats.org/officeDocument/2006/relationships/tags" Target="../tags/tag420.xml"/><Relationship Id="rId32" Type="http://schemas.openxmlformats.org/officeDocument/2006/relationships/tags" Target="../tags/tag428.xml"/><Relationship Id="rId5" Type="http://schemas.openxmlformats.org/officeDocument/2006/relationships/tags" Target="../tags/tag401.xml"/><Relationship Id="rId15" Type="http://schemas.openxmlformats.org/officeDocument/2006/relationships/tags" Target="../tags/tag411.xml"/><Relationship Id="rId23" Type="http://schemas.openxmlformats.org/officeDocument/2006/relationships/tags" Target="../tags/tag419.xml"/><Relationship Id="rId28" Type="http://schemas.openxmlformats.org/officeDocument/2006/relationships/tags" Target="../tags/tag424.xml"/><Relationship Id="rId10" Type="http://schemas.openxmlformats.org/officeDocument/2006/relationships/tags" Target="../tags/tag406.xml"/><Relationship Id="rId19" Type="http://schemas.openxmlformats.org/officeDocument/2006/relationships/tags" Target="../tags/tag415.xml"/><Relationship Id="rId31" Type="http://schemas.openxmlformats.org/officeDocument/2006/relationships/tags" Target="../tags/tag427.xml"/><Relationship Id="rId4" Type="http://schemas.openxmlformats.org/officeDocument/2006/relationships/tags" Target="../tags/tag400.xml"/><Relationship Id="rId9" Type="http://schemas.openxmlformats.org/officeDocument/2006/relationships/tags" Target="../tags/tag405.xml"/><Relationship Id="rId14" Type="http://schemas.openxmlformats.org/officeDocument/2006/relationships/tags" Target="../tags/tag410.xml"/><Relationship Id="rId22" Type="http://schemas.openxmlformats.org/officeDocument/2006/relationships/tags" Target="../tags/tag418.xml"/><Relationship Id="rId27" Type="http://schemas.openxmlformats.org/officeDocument/2006/relationships/tags" Target="../tags/tag423.xml"/><Relationship Id="rId30" Type="http://schemas.openxmlformats.org/officeDocument/2006/relationships/tags" Target="../tags/tag426.xml"/><Relationship Id="rId8" Type="http://schemas.openxmlformats.org/officeDocument/2006/relationships/tags" Target="../tags/tag404.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2.png"/><Relationship Id="rId2" Type="http://schemas.openxmlformats.org/officeDocument/2006/relationships/tags" Target="../tags/tag322.xml"/><Relationship Id="rId1" Type="http://schemas.openxmlformats.org/officeDocument/2006/relationships/vmlDrawing" Target="../drawings/vmlDrawing93.vml"/><Relationship Id="rId6" Type="http://schemas.openxmlformats.org/officeDocument/2006/relationships/image" Target="../media/image1.emf"/><Relationship Id="rId5" Type="http://schemas.openxmlformats.org/officeDocument/2006/relationships/oleObject" Target="../embeddings/oleObject93.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tags" Target="../tags/tag431.xml"/><Relationship Id="rId2" Type="http://schemas.openxmlformats.org/officeDocument/2006/relationships/tags" Target="../tags/tag430.xml"/><Relationship Id="rId1" Type="http://schemas.openxmlformats.org/officeDocument/2006/relationships/vmlDrawing" Target="../drawings/vmlDrawing114.vml"/><Relationship Id="rId6" Type="http://schemas.openxmlformats.org/officeDocument/2006/relationships/image" Target="../media/image1.emf"/><Relationship Id="rId5" Type="http://schemas.openxmlformats.org/officeDocument/2006/relationships/oleObject" Target="../embeddings/oleObject114.bin"/><Relationship Id="rId4" Type="http://schemas.openxmlformats.org/officeDocument/2006/relationships/slideLayout" Target="../slideLayouts/slideLayout89.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2.png"/><Relationship Id="rId2" Type="http://schemas.openxmlformats.org/officeDocument/2006/relationships/tags" Target="../tags/tag432.xml"/><Relationship Id="rId1" Type="http://schemas.openxmlformats.org/officeDocument/2006/relationships/vmlDrawing" Target="../drawings/vmlDrawing115.vml"/><Relationship Id="rId6" Type="http://schemas.openxmlformats.org/officeDocument/2006/relationships/image" Target="../media/image52.emf"/><Relationship Id="rId5" Type="http://schemas.openxmlformats.org/officeDocument/2006/relationships/oleObject" Target="../embeddings/oleObject115.bin"/><Relationship Id="rId4" Type="http://schemas.openxmlformats.org/officeDocument/2006/relationships/notesSlide" Target="../notesSlides/notesSlide9.xml"/></Relationships>
</file>

<file path=ppt/slides/_rels/slide32.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image" Target="../media/image59.png"/><Relationship Id="rId18" Type="http://schemas.openxmlformats.org/officeDocument/2006/relationships/image" Target="../media/image61.png"/><Relationship Id="rId3" Type="http://schemas.openxmlformats.org/officeDocument/2006/relationships/tags" Target="../tags/tag434.xml"/><Relationship Id="rId21" Type="http://schemas.openxmlformats.org/officeDocument/2006/relationships/image" Target="../media/image64.png"/><Relationship Id="rId7" Type="http://schemas.openxmlformats.org/officeDocument/2006/relationships/image" Target="../media/image53.png"/><Relationship Id="rId12" Type="http://schemas.openxmlformats.org/officeDocument/2006/relationships/image" Target="../media/image58.png"/><Relationship Id="rId17" Type="http://schemas.openxmlformats.org/officeDocument/2006/relationships/image" Target="../media/image26.png"/><Relationship Id="rId2" Type="http://schemas.openxmlformats.org/officeDocument/2006/relationships/tags" Target="../tags/tag433.xml"/><Relationship Id="rId16" Type="http://schemas.openxmlformats.org/officeDocument/2006/relationships/image" Target="../media/image27.png"/><Relationship Id="rId20" Type="http://schemas.openxmlformats.org/officeDocument/2006/relationships/image" Target="../media/image63.JPG"/><Relationship Id="rId1" Type="http://schemas.openxmlformats.org/officeDocument/2006/relationships/vmlDrawing" Target="../drawings/vmlDrawing116.vml"/><Relationship Id="rId6" Type="http://schemas.openxmlformats.org/officeDocument/2006/relationships/image" Target="../media/image1.emf"/><Relationship Id="rId11" Type="http://schemas.openxmlformats.org/officeDocument/2006/relationships/image" Target="../media/image57.png"/><Relationship Id="rId5" Type="http://schemas.openxmlformats.org/officeDocument/2006/relationships/oleObject" Target="../embeddings/oleObject116.bin"/><Relationship Id="rId15" Type="http://schemas.openxmlformats.org/officeDocument/2006/relationships/image" Target="../media/image29.png"/><Relationship Id="rId10" Type="http://schemas.openxmlformats.org/officeDocument/2006/relationships/image" Target="../media/image56.png"/><Relationship Id="rId19" Type="http://schemas.openxmlformats.org/officeDocument/2006/relationships/image" Target="../media/image62.png"/><Relationship Id="rId4" Type="http://schemas.openxmlformats.org/officeDocument/2006/relationships/slideLayout" Target="../slideLayouts/slideLayout13.xml"/><Relationship Id="rId9" Type="http://schemas.openxmlformats.org/officeDocument/2006/relationships/image" Target="../media/image55.png"/><Relationship Id="rId14" Type="http://schemas.openxmlformats.org/officeDocument/2006/relationships/image" Target="../media/image60.png"/></Relationships>
</file>

<file path=ppt/slides/_rels/slide33.xml.rels><?xml version="1.0" encoding="UTF-8" standalone="yes"?>
<Relationships xmlns="http://schemas.openxmlformats.org/package/2006/relationships"><Relationship Id="rId3" Type="http://schemas.openxmlformats.org/officeDocument/2006/relationships/tags" Target="../tags/tag436.xml"/><Relationship Id="rId2" Type="http://schemas.openxmlformats.org/officeDocument/2006/relationships/tags" Target="../tags/tag435.xml"/><Relationship Id="rId1" Type="http://schemas.openxmlformats.org/officeDocument/2006/relationships/vmlDrawing" Target="../drawings/vmlDrawing117.vml"/><Relationship Id="rId6" Type="http://schemas.openxmlformats.org/officeDocument/2006/relationships/image" Target="../media/image18.emf"/><Relationship Id="rId5" Type="http://schemas.openxmlformats.org/officeDocument/2006/relationships/oleObject" Target="../embeddings/oleObject117.bin"/><Relationship Id="rId4"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3" Type="http://schemas.openxmlformats.org/officeDocument/2006/relationships/tags" Target="../tags/tag438.xml"/><Relationship Id="rId2" Type="http://schemas.openxmlformats.org/officeDocument/2006/relationships/tags" Target="../tags/tag437.xml"/><Relationship Id="rId1" Type="http://schemas.openxmlformats.org/officeDocument/2006/relationships/vmlDrawing" Target="../drawings/vmlDrawing118.vml"/><Relationship Id="rId6" Type="http://schemas.openxmlformats.org/officeDocument/2006/relationships/image" Target="../media/image1.emf"/><Relationship Id="rId5" Type="http://schemas.openxmlformats.org/officeDocument/2006/relationships/oleObject" Target="../embeddings/oleObject118.bin"/><Relationship Id="rId4"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3" Type="http://schemas.openxmlformats.org/officeDocument/2006/relationships/tags" Target="../tags/tag440.xml"/><Relationship Id="rId7" Type="http://schemas.openxmlformats.org/officeDocument/2006/relationships/image" Target="../media/image65.emf"/><Relationship Id="rId2" Type="http://schemas.openxmlformats.org/officeDocument/2006/relationships/tags" Target="../tags/tag439.xml"/><Relationship Id="rId1" Type="http://schemas.openxmlformats.org/officeDocument/2006/relationships/vmlDrawing" Target="../drawings/vmlDrawing119.vml"/><Relationship Id="rId6" Type="http://schemas.openxmlformats.org/officeDocument/2006/relationships/oleObject" Target="../embeddings/oleObject119.bin"/><Relationship Id="rId5" Type="http://schemas.openxmlformats.org/officeDocument/2006/relationships/notesSlide" Target="../notesSlides/notesSlide10.xml"/><Relationship Id="rId4" Type="http://schemas.openxmlformats.org/officeDocument/2006/relationships/slideLayout" Target="../slideLayouts/slideLayout16.xml"/></Relationships>
</file>

<file path=ppt/slides/_rels/slide36.xml.rels><?xml version="1.0" encoding="UTF-8" standalone="yes"?>
<Relationships xmlns="http://schemas.openxmlformats.org/package/2006/relationships"><Relationship Id="rId3" Type="http://schemas.openxmlformats.org/officeDocument/2006/relationships/tags" Target="../tags/tag442.xml"/><Relationship Id="rId2" Type="http://schemas.openxmlformats.org/officeDocument/2006/relationships/tags" Target="../tags/tag441.xml"/><Relationship Id="rId1" Type="http://schemas.openxmlformats.org/officeDocument/2006/relationships/vmlDrawing" Target="../drawings/vmlDrawing120.vml"/><Relationship Id="rId6" Type="http://schemas.openxmlformats.org/officeDocument/2006/relationships/image" Target="../media/image23.emf"/><Relationship Id="rId5" Type="http://schemas.openxmlformats.org/officeDocument/2006/relationships/oleObject" Target="../embeddings/oleObject120.bin"/><Relationship Id="rId4" Type="http://schemas.openxmlformats.org/officeDocument/2006/relationships/slideLayout" Target="../slideLayouts/slideLayout1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3" Type="http://schemas.openxmlformats.org/officeDocument/2006/relationships/tags" Target="../tags/tag444.xml"/><Relationship Id="rId2" Type="http://schemas.openxmlformats.org/officeDocument/2006/relationships/tags" Target="../tags/tag443.xml"/><Relationship Id="rId1" Type="http://schemas.openxmlformats.org/officeDocument/2006/relationships/vmlDrawing" Target="../drawings/vmlDrawing121.vml"/><Relationship Id="rId6" Type="http://schemas.openxmlformats.org/officeDocument/2006/relationships/image" Target="../media/image1.emf"/><Relationship Id="rId5" Type="http://schemas.openxmlformats.org/officeDocument/2006/relationships/oleObject" Target="../embeddings/oleObject121.bin"/><Relationship Id="rId4"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3" Type="http://schemas.openxmlformats.org/officeDocument/2006/relationships/tags" Target="../tags/tag446.xml"/><Relationship Id="rId2" Type="http://schemas.openxmlformats.org/officeDocument/2006/relationships/tags" Target="../tags/tag445.xml"/><Relationship Id="rId1" Type="http://schemas.openxmlformats.org/officeDocument/2006/relationships/vmlDrawing" Target="../drawings/vmlDrawing122.vml"/><Relationship Id="rId6" Type="http://schemas.openxmlformats.org/officeDocument/2006/relationships/image" Target="../media/image18.emf"/><Relationship Id="rId5" Type="http://schemas.openxmlformats.org/officeDocument/2006/relationships/oleObject" Target="../embeddings/oleObject122.bin"/><Relationship Id="rId4" Type="http://schemas.openxmlformats.org/officeDocument/2006/relationships/slideLayout" Target="../slideLayouts/slideLayout1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5.xml.rels><?xml version="1.0" encoding="UTF-8" standalone="yes"?>
<Relationships xmlns="http://schemas.openxmlformats.org/package/2006/relationships"><Relationship Id="rId3" Type="http://schemas.openxmlformats.org/officeDocument/2006/relationships/tags" Target="../tags/tag448.xml"/><Relationship Id="rId2" Type="http://schemas.openxmlformats.org/officeDocument/2006/relationships/tags" Target="../tags/tag447.xml"/><Relationship Id="rId1" Type="http://schemas.openxmlformats.org/officeDocument/2006/relationships/vmlDrawing" Target="../drawings/vmlDrawing123.vml"/><Relationship Id="rId6" Type="http://schemas.openxmlformats.org/officeDocument/2006/relationships/image" Target="../media/image13.emf"/><Relationship Id="rId5" Type="http://schemas.openxmlformats.org/officeDocument/2006/relationships/oleObject" Target="../embeddings/oleObject123.bin"/><Relationship Id="rId4"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7.xml.rels><?xml version="1.0" encoding="UTF-8" standalone="yes"?>
<Relationships xmlns="http://schemas.openxmlformats.org/package/2006/relationships"><Relationship Id="rId8" Type="http://schemas.openxmlformats.org/officeDocument/2006/relationships/tags" Target="../tags/tag455.xml"/><Relationship Id="rId13" Type="http://schemas.openxmlformats.org/officeDocument/2006/relationships/tags" Target="../tags/tag460.xml"/><Relationship Id="rId18" Type="http://schemas.openxmlformats.org/officeDocument/2006/relationships/tags" Target="../tags/tag465.xml"/><Relationship Id="rId26" Type="http://schemas.openxmlformats.org/officeDocument/2006/relationships/tags" Target="../tags/tag473.xml"/><Relationship Id="rId3" Type="http://schemas.openxmlformats.org/officeDocument/2006/relationships/tags" Target="../tags/tag450.xml"/><Relationship Id="rId21" Type="http://schemas.openxmlformats.org/officeDocument/2006/relationships/tags" Target="../tags/tag468.xml"/><Relationship Id="rId7" Type="http://schemas.openxmlformats.org/officeDocument/2006/relationships/tags" Target="../tags/tag454.xml"/><Relationship Id="rId12" Type="http://schemas.openxmlformats.org/officeDocument/2006/relationships/tags" Target="../tags/tag459.xml"/><Relationship Id="rId17" Type="http://schemas.openxmlformats.org/officeDocument/2006/relationships/tags" Target="../tags/tag464.xml"/><Relationship Id="rId25" Type="http://schemas.openxmlformats.org/officeDocument/2006/relationships/tags" Target="../tags/tag472.xml"/><Relationship Id="rId2" Type="http://schemas.openxmlformats.org/officeDocument/2006/relationships/tags" Target="../tags/tag449.xml"/><Relationship Id="rId16" Type="http://schemas.openxmlformats.org/officeDocument/2006/relationships/tags" Target="../tags/tag463.xml"/><Relationship Id="rId20" Type="http://schemas.openxmlformats.org/officeDocument/2006/relationships/tags" Target="../tags/tag467.xml"/><Relationship Id="rId29" Type="http://schemas.openxmlformats.org/officeDocument/2006/relationships/tags" Target="../tags/tag476.xml"/><Relationship Id="rId1" Type="http://schemas.openxmlformats.org/officeDocument/2006/relationships/vmlDrawing" Target="../drawings/vmlDrawing124.vml"/><Relationship Id="rId6" Type="http://schemas.openxmlformats.org/officeDocument/2006/relationships/tags" Target="../tags/tag453.xml"/><Relationship Id="rId11" Type="http://schemas.openxmlformats.org/officeDocument/2006/relationships/tags" Target="../tags/tag458.xml"/><Relationship Id="rId24" Type="http://schemas.openxmlformats.org/officeDocument/2006/relationships/tags" Target="../tags/tag471.xml"/><Relationship Id="rId32" Type="http://schemas.openxmlformats.org/officeDocument/2006/relationships/image" Target="../media/image18.emf"/><Relationship Id="rId5" Type="http://schemas.openxmlformats.org/officeDocument/2006/relationships/tags" Target="../tags/tag452.xml"/><Relationship Id="rId15" Type="http://schemas.openxmlformats.org/officeDocument/2006/relationships/tags" Target="../tags/tag462.xml"/><Relationship Id="rId23" Type="http://schemas.openxmlformats.org/officeDocument/2006/relationships/tags" Target="../tags/tag470.xml"/><Relationship Id="rId28" Type="http://schemas.openxmlformats.org/officeDocument/2006/relationships/tags" Target="../tags/tag475.xml"/><Relationship Id="rId10" Type="http://schemas.openxmlformats.org/officeDocument/2006/relationships/tags" Target="../tags/tag457.xml"/><Relationship Id="rId19" Type="http://schemas.openxmlformats.org/officeDocument/2006/relationships/tags" Target="../tags/tag466.xml"/><Relationship Id="rId31" Type="http://schemas.openxmlformats.org/officeDocument/2006/relationships/oleObject" Target="../embeddings/oleObject124.bin"/><Relationship Id="rId4" Type="http://schemas.openxmlformats.org/officeDocument/2006/relationships/tags" Target="../tags/tag451.xml"/><Relationship Id="rId9" Type="http://schemas.openxmlformats.org/officeDocument/2006/relationships/tags" Target="../tags/tag456.xml"/><Relationship Id="rId14" Type="http://schemas.openxmlformats.org/officeDocument/2006/relationships/tags" Target="../tags/tag461.xml"/><Relationship Id="rId22" Type="http://schemas.openxmlformats.org/officeDocument/2006/relationships/tags" Target="../tags/tag469.xml"/><Relationship Id="rId27" Type="http://schemas.openxmlformats.org/officeDocument/2006/relationships/tags" Target="../tags/tag474.xml"/><Relationship Id="rId30" Type="http://schemas.openxmlformats.org/officeDocument/2006/relationships/slideLayout" Target="../slideLayouts/slideLayout13.xml"/></Relationships>
</file>

<file path=ppt/slides/_rels/slide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tags" Target="../tags/tag324.xml"/><Relationship Id="rId7" Type="http://schemas.openxmlformats.org/officeDocument/2006/relationships/hyperlink" Target="http://www.fao.org/ethiopia/fao-in-ethiopia/ethiopia-at-a-glance/en/" TargetMode="External"/><Relationship Id="rId2" Type="http://schemas.openxmlformats.org/officeDocument/2006/relationships/tags" Target="../tags/tag323.xml"/><Relationship Id="rId1" Type="http://schemas.openxmlformats.org/officeDocument/2006/relationships/vmlDrawing" Target="../drawings/vmlDrawing94.vml"/><Relationship Id="rId6" Type="http://schemas.openxmlformats.org/officeDocument/2006/relationships/image" Target="../media/image1.emf"/><Relationship Id="rId5" Type="http://schemas.openxmlformats.org/officeDocument/2006/relationships/oleObject" Target="../embeddings/oleObject94.bin"/><Relationship Id="rId4" Type="http://schemas.openxmlformats.org/officeDocument/2006/relationships/slideLayout" Target="../slideLayouts/slideLayout11.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2.png"/><Relationship Id="rId2" Type="http://schemas.openxmlformats.org/officeDocument/2006/relationships/tags" Target="../tags/tag477.xml"/><Relationship Id="rId1" Type="http://schemas.openxmlformats.org/officeDocument/2006/relationships/vmlDrawing" Target="../drawings/vmlDrawing125.vml"/><Relationship Id="rId6" Type="http://schemas.openxmlformats.org/officeDocument/2006/relationships/image" Target="../media/image18.emf"/><Relationship Id="rId5" Type="http://schemas.openxmlformats.org/officeDocument/2006/relationships/oleObject" Target="../embeddings/oleObject125.bin"/><Relationship Id="rId4" Type="http://schemas.openxmlformats.org/officeDocument/2006/relationships/notesSlide" Target="../notesSlides/notesSlide12.xml"/></Relationships>
</file>

<file path=ppt/slides/_rels/slide51.xml.rels><?xml version="1.0" encoding="UTF-8" standalone="yes"?>
<Relationships xmlns="http://schemas.openxmlformats.org/package/2006/relationships"><Relationship Id="rId3" Type="http://schemas.openxmlformats.org/officeDocument/2006/relationships/tags" Target="../tags/tag479.xml"/><Relationship Id="rId2" Type="http://schemas.openxmlformats.org/officeDocument/2006/relationships/tags" Target="../tags/tag478.xml"/><Relationship Id="rId1" Type="http://schemas.openxmlformats.org/officeDocument/2006/relationships/vmlDrawing" Target="../drawings/vmlDrawing126.vml"/><Relationship Id="rId6" Type="http://schemas.openxmlformats.org/officeDocument/2006/relationships/image" Target="../media/image18.emf"/><Relationship Id="rId5" Type="http://schemas.openxmlformats.org/officeDocument/2006/relationships/oleObject" Target="../embeddings/oleObject126.bin"/><Relationship Id="rId4" Type="http://schemas.openxmlformats.org/officeDocument/2006/relationships/slideLayout" Target="../slideLayouts/slideLayout17.xml"/></Relationships>
</file>

<file path=ppt/slides/_rels/slide52.xml.rels><?xml version="1.0" encoding="UTF-8" standalone="yes"?>
<Relationships xmlns="http://schemas.openxmlformats.org/package/2006/relationships"><Relationship Id="rId3" Type="http://schemas.openxmlformats.org/officeDocument/2006/relationships/tags" Target="../tags/tag481.xml"/><Relationship Id="rId2" Type="http://schemas.openxmlformats.org/officeDocument/2006/relationships/tags" Target="../tags/tag480.xml"/><Relationship Id="rId1" Type="http://schemas.openxmlformats.org/officeDocument/2006/relationships/vmlDrawing" Target="../drawings/vmlDrawing127.vml"/><Relationship Id="rId6" Type="http://schemas.openxmlformats.org/officeDocument/2006/relationships/image" Target="../media/image23.emf"/><Relationship Id="rId5" Type="http://schemas.openxmlformats.org/officeDocument/2006/relationships/oleObject" Target="../embeddings/oleObject127.bin"/><Relationship Id="rId4" Type="http://schemas.openxmlformats.org/officeDocument/2006/relationships/slideLayout" Target="../slideLayouts/slideLayout13.xml"/></Relationships>
</file>

<file path=ppt/slides/_rels/slide53.xml.rels><?xml version="1.0" encoding="UTF-8" standalone="yes"?>
<Relationships xmlns="http://schemas.openxmlformats.org/package/2006/relationships"><Relationship Id="rId3" Type="http://schemas.openxmlformats.org/officeDocument/2006/relationships/tags" Target="../tags/tag483.xml"/><Relationship Id="rId2" Type="http://schemas.openxmlformats.org/officeDocument/2006/relationships/tags" Target="../tags/tag482.xml"/><Relationship Id="rId1" Type="http://schemas.openxmlformats.org/officeDocument/2006/relationships/vmlDrawing" Target="../drawings/vmlDrawing128.vml"/><Relationship Id="rId6" Type="http://schemas.openxmlformats.org/officeDocument/2006/relationships/image" Target="../media/image23.emf"/><Relationship Id="rId5" Type="http://schemas.openxmlformats.org/officeDocument/2006/relationships/oleObject" Target="../embeddings/oleObject128.bin"/><Relationship Id="rId4" Type="http://schemas.openxmlformats.org/officeDocument/2006/relationships/slideLayout" Target="../slideLayouts/slideLayout13.xml"/></Relationships>
</file>

<file path=ppt/slides/_rels/slide54.xml.rels><?xml version="1.0" encoding="UTF-8" standalone="yes"?>
<Relationships xmlns="http://schemas.openxmlformats.org/package/2006/relationships"><Relationship Id="rId3" Type="http://schemas.openxmlformats.org/officeDocument/2006/relationships/tags" Target="../tags/tag485.xml"/><Relationship Id="rId2" Type="http://schemas.openxmlformats.org/officeDocument/2006/relationships/tags" Target="../tags/tag484.xml"/><Relationship Id="rId1" Type="http://schemas.openxmlformats.org/officeDocument/2006/relationships/vmlDrawing" Target="../drawings/vmlDrawing129.vml"/><Relationship Id="rId6" Type="http://schemas.openxmlformats.org/officeDocument/2006/relationships/image" Target="../media/image23.emf"/><Relationship Id="rId5" Type="http://schemas.openxmlformats.org/officeDocument/2006/relationships/oleObject" Target="../embeddings/oleObject129.bin"/><Relationship Id="rId4" Type="http://schemas.openxmlformats.org/officeDocument/2006/relationships/slideLayout" Target="../slideLayouts/slideLayout13.xml"/></Relationships>
</file>

<file path=ppt/slides/_rels/slide55.xml.rels><?xml version="1.0" encoding="UTF-8" standalone="yes"?>
<Relationships xmlns="http://schemas.openxmlformats.org/package/2006/relationships"><Relationship Id="rId8" Type="http://schemas.openxmlformats.org/officeDocument/2006/relationships/hyperlink" Target="https://www.afdb.org/fileadmin/uploads/afdb/Documents/Project-and-Operations/The_State_of_Kenya_s_Private_Sector_-_Recommendations_for_Government-Development_Partners_and_the_Private_Sector.pdf" TargetMode="External"/><Relationship Id="rId13" Type="http://schemas.openxmlformats.org/officeDocument/2006/relationships/hyperlink" Target="http://www.fao.org/kenya/fao-in-kenya/kenya-at-a-glance/en/" TargetMode="External"/><Relationship Id="rId3" Type="http://schemas.openxmlformats.org/officeDocument/2006/relationships/slideLayout" Target="../slideLayouts/slideLayout9.xml"/><Relationship Id="rId7" Type="http://schemas.openxmlformats.org/officeDocument/2006/relationships/image" Target="../media/image2.png"/><Relationship Id="rId12" Type="http://schemas.openxmlformats.org/officeDocument/2006/relationships/hyperlink" Target="http://www.resakss.org/" TargetMode="External"/><Relationship Id="rId2" Type="http://schemas.openxmlformats.org/officeDocument/2006/relationships/tags" Target="../tags/tag486.xml"/><Relationship Id="rId16" Type="http://schemas.openxmlformats.org/officeDocument/2006/relationships/hyperlink" Target="https://fsdkenya.org/" TargetMode="External"/><Relationship Id="rId1" Type="http://schemas.openxmlformats.org/officeDocument/2006/relationships/vmlDrawing" Target="../drawings/vmlDrawing130.vml"/><Relationship Id="rId6" Type="http://schemas.openxmlformats.org/officeDocument/2006/relationships/image" Target="../media/image1.emf"/><Relationship Id="rId11" Type="http://schemas.openxmlformats.org/officeDocument/2006/relationships/hyperlink" Target="http://www.fao.org/faostat" TargetMode="External"/><Relationship Id="rId5" Type="http://schemas.openxmlformats.org/officeDocument/2006/relationships/oleObject" Target="../embeddings/oleObject130.bin"/><Relationship Id="rId15" Type="http://schemas.openxmlformats.org/officeDocument/2006/relationships/hyperlink" Target="http://www.farmbizafrica.com/" TargetMode="External"/><Relationship Id="rId10" Type="http://schemas.openxmlformats.org/officeDocument/2006/relationships/hyperlink" Target="https://datacatalog.worldbank.org/" TargetMode="External"/><Relationship Id="rId4" Type="http://schemas.openxmlformats.org/officeDocument/2006/relationships/notesSlide" Target="../notesSlides/notesSlide13.xml"/><Relationship Id="rId9" Type="http://schemas.openxmlformats.org/officeDocument/2006/relationships/hyperlink" Target="http://www.fao.org/3/a-i5251e.pdf" TargetMode="External"/><Relationship Id="rId14" Type="http://schemas.openxmlformats.org/officeDocument/2006/relationships/hyperlink" Target="http://www.fao.org/in-action/mafap/data/en/" TargetMode="External"/></Relationships>
</file>

<file path=ppt/slides/_rels/slide6.xml.rels><?xml version="1.0" encoding="UTF-8" standalone="yes"?>
<Relationships xmlns="http://schemas.openxmlformats.org/package/2006/relationships"><Relationship Id="rId3" Type="http://schemas.openxmlformats.org/officeDocument/2006/relationships/tags" Target="../tags/tag326.xml"/><Relationship Id="rId7" Type="http://schemas.openxmlformats.org/officeDocument/2006/relationships/hyperlink" Target="http://www.fao.org/ethiopia/fao-in-ethiopia/ethiopia-at-a-glance/en/" TargetMode="External"/><Relationship Id="rId2" Type="http://schemas.openxmlformats.org/officeDocument/2006/relationships/tags" Target="../tags/tag325.xml"/><Relationship Id="rId1" Type="http://schemas.openxmlformats.org/officeDocument/2006/relationships/vmlDrawing" Target="../drawings/vmlDrawing95.vml"/><Relationship Id="rId6" Type="http://schemas.openxmlformats.org/officeDocument/2006/relationships/image" Target="../media/image1.emf"/><Relationship Id="rId5" Type="http://schemas.openxmlformats.org/officeDocument/2006/relationships/oleObject" Target="../embeddings/oleObject95.bin"/><Relationship Id="rId4"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328.xml"/><Relationship Id="rId7" Type="http://schemas.openxmlformats.org/officeDocument/2006/relationships/image" Target="../media/image26.png"/><Relationship Id="rId2" Type="http://schemas.openxmlformats.org/officeDocument/2006/relationships/tags" Target="../tags/tag327.xml"/><Relationship Id="rId1" Type="http://schemas.openxmlformats.org/officeDocument/2006/relationships/vmlDrawing" Target="../drawings/vmlDrawing96.vml"/><Relationship Id="rId6" Type="http://schemas.openxmlformats.org/officeDocument/2006/relationships/image" Target="../media/image18.emf"/><Relationship Id="rId11" Type="http://schemas.openxmlformats.org/officeDocument/2006/relationships/image" Target="../media/image30.png"/><Relationship Id="rId5" Type="http://schemas.openxmlformats.org/officeDocument/2006/relationships/oleObject" Target="../embeddings/oleObject96.bin"/><Relationship Id="rId10" Type="http://schemas.openxmlformats.org/officeDocument/2006/relationships/image" Target="../media/image29.png"/><Relationship Id="rId4" Type="http://schemas.openxmlformats.org/officeDocument/2006/relationships/slideLayout" Target="../slideLayouts/slideLayout13.xml"/><Relationship Id="rId9" Type="http://schemas.openxmlformats.org/officeDocument/2006/relationships/image" Target="../media/image28.jpg"/></Relationships>
</file>

<file path=ppt/slides/_rels/slide8.xml.rels><?xml version="1.0" encoding="UTF-8" standalone="yes"?>
<Relationships xmlns="http://schemas.openxmlformats.org/package/2006/relationships"><Relationship Id="rId3" Type="http://schemas.openxmlformats.org/officeDocument/2006/relationships/tags" Target="../tags/tag330.xml"/><Relationship Id="rId2" Type="http://schemas.openxmlformats.org/officeDocument/2006/relationships/tags" Target="../tags/tag329.xml"/><Relationship Id="rId1" Type="http://schemas.openxmlformats.org/officeDocument/2006/relationships/vmlDrawing" Target="../drawings/vmlDrawing97.vml"/><Relationship Id="rId6" Type="http://schemas.openxmlformats.org/officeDocument/2006/relationships/image" Target="../media/image13.emf"/><Relationship Id="rId5" Type="http://schemas.openxmlformats.org/officeDocument/2006/relationships/oleObject" Target="../embeddings/oleObject97.bin"/><Relationship Id="rId4"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332.xml"/><Relationship Id="rId7" Type="http://schemas.openxmlformats.org/officeDocument/2006/relationships/image" Target="../media/image31.png"/><Relationship Id="rId2" Type="http://schemas.openxmlformats.org/officeDocument/2006/relationships/tags" Target="../tags/tag331.xml"/><Relationship Id="rId1" Type="http://schemas.openxmlformats.org/officeDocument/2006/relationships/vmlDrawing" Target="../drawings/vmlDrawing98.vml"/><Relationship Id="rId6" Type="http://schemas.openxmlformats.org/officeDocument/2006/relationships/image" Target="../media/image18.emf"/><Relationship Id="rId5" Type="http://schemas.openxmlformats.org/officeDocument/2006/relationships/oleObject" Target="../embeddings/oleObject98.bin"/><Relationship Id="rId10" Type="http://schemas.openxmlformats.org/officeDocument/2006/relationships/chart" Target="../charts/chart2.xml"/><Relationship Id="rId4" Type="http://schemas.openxmlformats.org/officeDocument/2006/relationships/slideLayout" Target="../slideLayouts/slideLayout13.xml"/><Relationship Id="rId9" Type="http://schemas.openxmlformats.org/officeDocument/2006/relationships/chart" Target="../charts/char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57"/>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692500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58" name="Google Shape;158;p25"/>
          <p:cNvPicPr preferRelativeResize="0"/>
          <p:nvPr/>
        </p:nvPicPr>
        <p:blipFill rotWithShape="1">
          <a:blip r:embed="rId7">
            <a:alphaModFix/>
          </a:blip>
          <a:srcRect/>
          <a:stretch/>
        </p:blipFill>
        <p:spPr>
          <a:xfrm>
            <a:off x="1588" y="1588"/>
            <a:ext cx="1588" cy="1588"/>
          </a:xfrm>
          <a:prstGeom prst="rect">
            <a:avLst/>
          </a:prstGeom>
          <a:noFill/>
          <a:ln>
            <a:noFill/>
          </a:ln>
        </p:spPr>
      </p:pic>
      <p:sp>
        <p:nvSpPr>
          <p:cNvPr id="159" name="Google Shape;159;p25"/>
          <p:cNvSpPr txBox="1">
            <a:spLocks noGrp="1"/>
          </p:cNvSpPr>
          <p:nvPr>
            <p:ph type="title"/>
          </p:nvPr>
        </p:nvSpPr>
        <p:spPr>
          <a:xfrm>
            <a:off x="495300" y="4824250"/>
            <a:ext cx="8915400" cy="1143000"/>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chemeClr val="lt1"/>
              </a:buClr>
              <a:buSzPts val="4000"/>
              <a:buFont typeface="Arial"/>
              <a:buNone/>
            </a:pPr>
            <a:r>
              <a:rPr lang="en-US" sz="4000" b="0" i="0" u="none" strike="noStrike" cap="none" dirty="0">
                <a:solidFill>
                  <a:schemeClr val="lt1"/>
                </a:solidFill>
                <a:latin typeface="Arial"/>
                <a:ea typeface="Arial"/>
                <a:cs typeface="Arial"/>
                <a:sym typeface="Arial"/>
              </a:rPr>
              <a:t>AGRA </a:t>
            </a:r>
            <a:r>
              <a:rPr lang="en-US" sz="4000" dirty="0" smtClean="0"/>
              <a:t>Ethiopia Operational</a:t>
            </a:r>
            <a:r>
              <a:rPr lang="en-US" sz="4000" b="0" i="0" u="none" strike="noStrike" cap="none" dirty="0" smtClean="0">
                <a:solidFill>
                  <a:schemeClr val="lt1"/>
                </a:solidFill>
                <a:latin typeface="Arial"/>
                <a:ea typeface="Arial"/>
                <a:cs typeface="Arial"/>
                <a:sym typeface="Arial"/>
              </a:rPr>
              <a:t> Plan (Working DRAFT)</a:t>
            </a:r>
            <a:endParaRPr dirty="0"/>
          </a:p>
        </p:txBody>
      </p:sp>
      <p:sp>
        <p:nvSpPr>
          <p:cNvPr id="160" name="Google Shape;160;p25"/>
          <p:cNvSpPr txBox="1">
            <a:spLocks noGrp="1"/>
          </p:cNvSpPr>
          <p:nvPr>
            <p:ph type="subTitle" idx="1"/>
          </p:nvPr>
        </p:nvSpPr>
        <p:spPr>
          <a:xfrm>
            <a:off x="495300" y="6031975"/>
            <a:ext cx="8397935" cy="384595"/>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lt1"/>
              </a:buClr>
              <a:buSzPts val="1600"/>
              <a:buFont typeface="Arial"/>
              <a:buNone/>
            </a:pPr>
            <a:r>
              <a:rPr lang="en-US" sz="1600" b="0" i="1" u="none" strike="noStrike" cap="none" dirty="0">
                <a:solidFill>
                  <a:schemeClr val="lt1"/>
                </a:solidFill>
                <a:latin typeface="Arial"/>
                <a:ea typeface="Arial"/>
                <a:cs typeface="Arial"/>
                <a:sym typeface="Arial"/>
              </a:rPr>
              <a:t>Revised, </a:t>
            </a:r>
            <a:r>
              <a:rPr lang="en-US" sz="1600" b="0" i="1" u="none" strike="noStrike" cap="none" dirty="0" smtClean="0">
                <a:solidFill>
                  <a:schemeClr val="lt1"/>
                </a:solidFill>
                <a:latin typeface="Arial"/>
                <a:ea typeface="Arial"/>
                <a:cs typeface="Arial"/>
                <a:sym typeface="Arial"/>
              </a:rPr>
              <a:t>June 2019</a:t>
            </a:r>
            <a:endParaRPr sz="1600" b="0" i="1" u="none" strike="noStrike" cap="none" dirty="0">
              <a:solidFill>
                <a:schemeClr val="lt1"/>
              </a:solidFill>
              <a:latin typeface="Arial"/>
              <a:ea typeface="Arial"/>
              <a:cs typeface="Arial"/>
              <a:sym typeface="Arial"/>
            </a:endParaRPr>
          </a:p>
        </p:txBody>
      </p:sp>
      <p:sp>
        <p:nvSpPr>
          <p:cNvPr id="161" name="Google Shape;161;p25"/>
          <p:cNvSpPr txBox="1">
            <a:spLocks noGrp="1"/>
          </p:cNvSpPr>
          <p:nvPr>
            <p:ph type="body" idx="2"/>
          </p:nvPr>
        </p:nvSpPr>
        <p:spPr>
          <a:xfrm>
            <a:off x="495300" y="6478666"/>
            <a:ext cx="8397831" cy="311885"/>
          </a:xfrm>
          <a:prstGeom prst="rect">
            <a:avLst/>
          </a:prstGeom>
          <a:noFill/>
          <a:ln>
            <a:noFill/>
          </a:ln>
        </p:spPr>
        <p:txBody>
          <a:bodyPr spcFirstLastPara="1" wrap="square" lIns="0" tIns="0" rIns="0" bIns="0" anchor="t" anchorCtr="0">
            <a:noAutofit/>
          </a:bodyPr>
          <a:lstStyle/>
          <a:p>
            <a:pPr marL="228600" marR="0" lvl="0" indent="-228600" algn="l" rtl="0">
              <a:lnSpc>
                <a:spcPct val="90000"/>
              </a:lnSpc>
              <a:spcBef>
                <a:spcPts val="0"/>
              </a:spcBef>
              <a:spcAft>
                <a:spcPts val="0"/>
              </a:spcAft>
              <a:buClr>
                <a:schemeClr val="lt1"/>
              </a:buClr>
              <a:buSzPts val="1600"/>
              <a:buFont typeface="Arial"/>
              <a:buNone/>
            </a:pPr>
            <a:endParaRPr sz="1600" b="0" i="0" u="none" strike="noStrike" cap="none" dirty="0">
              <a:solidFill>
                <a:schemeClr val="lt1"/>
              </a:solidFill>
              <a:latin typeface="Arial"/>
              <a:ea typeface="Arial"/>
              <a:cs typeface="Arial"/>
              <a:sym typeface="Aria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RA Strategy Overview</a:t>
            </a:r>
            <a:endParaRPr lang="en-US" dirty="0"/>
          </a:p>
        </p:txBody>
      </p:sp>
    </p:spTree>
    <p:extLst>
      <p:ext uri="{BB962C8B-B14F-4D97-AF65-F5344CB8AC3E}">
        <p14:creationId xmlns:p14="http://schemas.microsoft.com/office/powerpoint/2010/main" val="402795351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lIns="0" tIns="0" rIns="0" bIns="0" anchor="b"/>
          <a:lstStyle/>
          <a:p>
            <a:r>
              <a:rPr lang="en-US" dirty="0" err="1"/>
              <a:t>AGRA’s</a:t>
            </a:r>
            <a:r>
              <a:rPr lang="en-US" dirty="0"/>
              <a:t> Vision and Headline Goals 2017 - 2021</a:t>
            </a:r>
          </a:p>
        </p:txBody>
      </p:sp>
      <p:grpSp>
        <p:nvGrpSpPr>
          <p:cNvPr id="8" name="Group 7"/>
          <p:cNvGrpSpPr/>
          <p:nvPr/>
        </p:nvGrpSpPr>
        <p:grpSpPr>
          <a:xfrm>
            <a:off x="678092" y="1031285"/>
            <a:ext cx="7729385" cy="3668298"/>
            <a:chOff x="416068" y="1187481"/>
            <a:chExt cx="7729385" cy="3668298"/>
          </a:xfrm>
        </p:grpSpPr>
        <p:sp>
          <p:nvSpPr>
            <p:cNvPr id="9" name="Rectangle 8"/>
            <p:cNvSpPr>
              <a:spLocks noChangeArrowheads="1"/>
            </p:cNvSpPr>
            <p:nvPr/>
          </p:nvSpPr>
          <p:spPr bwMode="auto">
            <a:xfrm>
              <a:off x="717711" y="2710223"/>
              <a:ext cx="7427742" cy="2145556"/>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square">
              <a:noAutofit/>
            </a:bodyPr>
            <a:lstStyle>
              <a:lvl1pPr>
                <a:defRPr sz="4200">
                  <a:solidFill>
                    <a:srgbClr val="000000"/>
                  </a:solidFill>
                  <a:latin typeface="Gill Sans"/>
                  <a:ea typeface="ヒラギノ角ゴ ProN W3"/>
                  <a:cs typeface="ヒラギノ角ゴ ProN W3"/>
                  <a:sym typeface="Gill Sans"/>
                </a:defRPr>
              </a:lvl1pPr>
              <a:lvl2pPr marL="742950" indent="-285750">
                <a:defRPr sz="4200">
                  <a:solidFill>
                    <a:srgbClr val="000000"/>
                  </a:solidFill>
                  <a:latin typeface="Gill Sans"/>
                  <a:ea typeface="ヒラギノ角ゴ ProN W3"/>
                  <a:cs typeface="ヒラギノ角ゴ ProN W3"/>
                  <a:sym typeface="Gill Sans"/>
                </a:defRPr>
              </a:lvl2pPr>
              <a:lvl3pPr marL="1143000" indent="-228600">
                <a:defRPr sz="4200">
                  <a:solidFill>
                    <a:srgbClr val="000000"/>
                  </a:solidFill>
                  <a:latin typeface="Gill Sans"/>
                  <a:ea typeface="ヒラギノ角ゴ ProN W3"/>
                  <a:cs typeface="ヒラギノ角ゴ ProN W3"/>
                  <a:sym typeface="Gill Sans"/>
                </a:defRPr>
              </a:lvl3pPr>
              <a:lvl4pPr marL="1600200" indent="-228600">
                <a:defRPr sz="4200">
                  <a:solidFill>
                    <a:srgbClr val="000000"/>
                  </a:solidFill>
                  <a:latin typeface="Gill Sans"/>
                  <a:ea typeface="ヒラギノ角ゴ ProN W3"/>
                  <a:cs typeface="ヒラギノ角ゴ ProN W3"/>
                  <a:sym typeface="Gill Sans"/>
                </a:defRPr>
              </a:lvl4pPr>
              <a:lvl5pPr marL="2057400" indent="-228600">
                <a:defRPr sz="4200">
                  <a:solidFill>
                    <a:srgbClr val="000000"/>
                  </a:solidFill>
                  <a:latin typeface="Gill Sans"/>
                  <a:ea typeface="ヒラギノ角ゴ ProN W3"/>
                  <a:cs typeface="ヒラギノ角ゴ ProN W3"/>
                  <a:sym typeface="Gill Sans"/>
                </a:defRPr>
              </a:lvl5pPr>
              <a:lvl6pPr marL="2514600" indent="-228600" eaLnBrk="0" fontAlgn="base" hangingPunct="0">
                <a:spcBef>
                  <a:spcPct val="0"/>
                </a:spcBef>
                <a:spcAft>
                  <a:spcPct val="0"/>
                </a:spcAft>
                <a:defRPr sz="4200">
                  <a:solidFill>
                    <a:srgbClr val="000000"/>
                  </a:solidFill>
                  <a:latin typeface="Gill Sans"/>
                  <a:ea typeface="ヒラギノ角ゴ ProN W3"/>
                  <a:cs typeface="ヒラギノ角ゴ ProN W3"/>
                  <a:sym typeface="Gill Sans"/>
                </a:defRPr>
              </a:lvl6pPr>
              <a:lvl7pPr marL="2971800" indent="-228600" eaLnBrk="0" fontAlgn="base" hangingPunct="0">
                <a:spcBef>
                  <a:spcPct val="0"/>
                </a:spcBef>
                <a:spcAft>
                  <a:spcPct val="0"/>
                </a:spcAft>
                <a:defRPr sz="4200">
                  <a:solidFill>
                    <a:srgbClr val="000000"/>
                  </a:solidFill>
                  <a:latin typeface="Gill Sans"/>
                  <a:ea typeface="ヒラギノ角ゴ ProN W3"/>
                  <a:cs typeface="ヒラギノ角ゴ ProN W3"/>
                  <a:sym typeface="Gill Sans"/>
                </a:defRPr>
              </a:lvl7pPr>
              <a:lvl8pPr marL="3429000" indent="-228600" eaLnBrk="0" fontAlgn="base" hangingPunct="0">
                <a:spcBef>
                  <a:spcPct val="0"/>
                </a:spcBef>
                <a:spcAft>
                  <a:spcPct val="0"/>
                </a:spcAft>
                <a:defRPr sz="4200">
                  <a:solidFill>
                    <a:srgbClr val="000000"/>
                  </a:solidFill>
                  <a:latin typeface="Gill Sans"/>
                  <a:ea typeface="ヒラギノ角ゴ ProN W3"/>
                  <a:cs typeface="ヒラギノ角ゴ ProN W3"/>
                  <a:sym typeface="Gill Sans"/>
                </a:defRPr>
              </a:lvl8pPr>
              <a:lvl9pPr marL="3886200" indent="-228600" eaLnBrk="0" fontAlgn="base" hangingPunct="0">
                <a:spcBef>
                  <a:spcPct val="0"/>
                </a:spcBef>
                <a:spcAft>
                  <a:spcPct val="0"/>
                </a:spcAft>
                <a:defRPr sz="4200">
                  <a:solidFill>
                    <a:srgbClr val="000000"/>
                  </a:solidFill>
                  <a:latin typeface="Gill Sans"/>
                  <a:ea typeface="ヒラギノ角ゴ ProN W3"/>
                  <a:cs typeface="ヒラギノ角ゴ ProN W3"/>
                  <a:sym typeface="Gill Sans"/>
                </a:defRPr>
              </a:lvl9pPr>
            </a:lstStyle>
            <a:p>
              <a:pPr defTabSz="779082">
                <a:defRPr/>
              </a:pPr>
              <a:endParaRPr lang="en-US" sz="1200" dirty="0">
                <a:latin typeface="Arial" panose="020B0604020202020204" pitchFamily="34" charset="0"/>
                <a:cs typeface="Arial" panose="020B0604020202020204" pitchFamily="34" charset="0"/>
              </a:endParaRPr>
            </a:p>
            <a:p>
              <a:pPr marL="389586" indent="-389586" defTabSz="779082">
                <a:spcAft>
                  <a:spcPts val="852"/>
                </a:spcAft>
                <a:buFont typeface="+mj-lt"/>
                <a:buAutoNum type="arabicPeriod"/>
                <a:defRPr/>
              </a:pPr>
              <a:r>
                <a:rPr lang="en-US" sz="1200" dirty="0">
                  <a:latin typeface="Arial" panose="020B0604020202020204" pitchFamily="34" charset="0"/>
                  <a:cs typeface="Arial" panose="020B0604020202020204" pitchFamily="34" charset="0"/>
                </a:rPr>
                <a:t>Increase the incomes and improve food security for 9 million farm households through the direct result of activities of AGRA, grantees, and partners to increase productivity and access to markets and finance</a:t>
              </a:r>
            </a:p>
            <a:p>
              <a:pPr marL="389586" indent="-389586" defTabSz="779082">
                <a:spcAft>
                  <a:spcPts val="852"/>
                </a:spcAft>
                <a:buFont typeface="+mj-lt"/>
                <a:buAutoNum type="arabicPeriod"/>
                <a:defRPr/>
              </a:pPr>
              <a:r>
                <a:rPr lang="en-US" sz="1200" dirty="0">
                  <a:latin typeface="Arial" panose="020B0604020202020204" pitchFamily="34" charset="0"/>
                  <a:cs typeface="Arial" panose="020B0604020202020204" pitchFamily="34" charset="0"/>
                </a:rPr>
                <a:t>Contribute to increasing the incomes and improving food security of another 21 million farm households through support to strengthening capacities of governments and private sector and through the contributions of AGRA, grantees, and partners to policies, programs, and partnerships that increase productivity and access to markets and finance</a:t>
              </a:r>
            </a:p>
            <a:p>
              <a:pPr marL="389586" indent="-389586" defTabSz="779082">
                <a:spcAft>
                  <a:spcPts val="852"/>
                </a:spcAft>
                <a:buFont typeface="+mj-lt"/>
                <a:buAutoNum type="arabicPeriod"/>
                <a:defRPr/>
              </a:pPr>
              <a:r>
                <a:rPr lang="en-US" sz="1200" dirty="0">
                  <a:latin typeface="Arial" panose="020B0604020202020204" pitchFamily="34" charset="0"/>
                  <a:cs typeface="Arial" panose="020B0604020202020204" pitchFamily="34" charset="0"/>
                </a:rPr>
                <a:t>Support 11 focus countries on a pathway to attain and sustain an agricultural transformation</a:t>
              </a:r>
            </a:p>
          </p:txBody>
        </p:sp>
        <p:sp>
          <p:nvSpPr>
            <p:cNvPr id="10" name="Rectangle 2"/>
            <p:cNvSpPr>
              <a:spLocks noChangeArrowheads="1"/>
            </p:cNvSpPr>
            <p:nvPr/>
          </p:nvSpPr>
          <p:spPr bwMode="auto">
            <a:xfrm>
              <a:off x="717711" y="1330009"/>
              <a:ext cx="7427742" cy="105305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square">
              <a:noAutofit/>
            </a:bodyPr>
            <a:lstStyle>
              <a:lvl1pPr>
                <a:defRPr sz="4200">
                  <a:solidFill>
                    <a:srgbClr val="000000"/>
                  </a:solidFill>
                  <a:latin typeface="Gill Sans"/>
                  <a:ea typeface="ヒラギノ角ゴ ProN W3"/>
                  <a:cs typeface="ヒラギノ角ゴ ProN W3"/>
                  <a:sym typeface="Gill Sans"/>
                </a:defRPr>
              </a:lvl1pPr>
              <a:lvl2pPr marL="742950" indent="-285750">
                <a:defRPr sz="4200">
                  <a:solidFill>
                    <a:srgbClr val="000000"/>
                  </a:solidFill>
                  <a:latin typeface="Gill Sans"/>
                  <a:ea typeface="ヒラギノ角ゴ ProN W3"/>
                  <a:cs typeface="ヒラギノ角ゴ ProN W3"/>
                  <a:sym typeface="Gill Sans"/>
                </a:defRPr>
              </a:lvl2pPr>
              <a:lvl3pPr marL="1143000" indent="-228600">
                <a:defRPr sz="4200">
                  <a:solidFill>
                    <a:srgbClr val="000000"/>
                  </a:solidFill>
                  <a:latin typeface="Gill Sans"/>
                  <a:ea typeface="ヒラギノ角ゴ ProN W3"/>
                  <a:cs typeface="ヒラギノ角ゴ ProN W3"/>
                  <a:sym typeface="Gill Sans"/>
                </a:defRPr>
              </a:lvl3pPr>
              <a:lvl4pPr marL="1600200" indent="-228600">
                <a:defRPr sz="4200">
                  <a:solidFill>
                    <a:srgbClr val="000000"/>
                  </a:solidFill>
                  <a:latin typeface="Gill Sans"/>
                  <a:ea typeface="ヒラギノ角ゴ ProN W3"/>
                  <a:cs typeface="ヒラギノ角ゴ ProN W3"/>
                  <a:sym typeface="Gill Sans"/>
                </a:defRPr>
              </a:lvl4pPr>
              <a:lvl5pPr marL="2057400" indent="-228600">
                <a:defRPr sz="4200">
                  <a:solidFill>
                    <a:srgbClr val="000000"/>
                  </a:solidFill>
                  <a:latin typeface="Gill Sans"/>
                  <a:ea typeface="ヒラギノ角ゴ ProN W3"/>
                  <a:cs typeface="ヒラギノ角ゴ ProN W3"/>
                  <a:sym typeface="Gill Sans"/>
                </a:defRPr>
              </a:lvl5pPr>
              <a:lvl6pPr marL="2514600" indent="-228600" eaLnBrk="0" fontAlgn="base" hangingPunct="0">
                <a:spcBef>
                  <a:spcPct val="0"/>
                </a:spcBef>
                <a:spcAft>
                  <a:spcPct val="0"/>
                </a:spcAft>
                <a:defRPr sz="4200">
                  <a:solidFill>
                    <a:srgbClr val="000000"/>
                  </a:solidFill>
                  <a:latin typeface="Gill Sans"/>
                  <a:ea typeface="ヒラギノ角ゴ ProN W3"/>
                  <a:cs typeface="ヒラギノ角ゴ ProN W3"/>
                  <a:sym typeface="Gill Sans"/>
                </a:defRPr>
              </a:lvl6pPr>
              <a:lvl7pPr marL="2971800" indent="-228600" eaLnBrk="0" fontAlgn="base" hangingPunct="0">
                <a:spcBef>
                  <a:spcPct val="0"/>
                </a:spcBef>
                <a:spcAft>
                  <a:spcPct val="0"/>
                </a:spcAft>
                <a:defRPr sz="4200">
                  <a:solidFill>
                    <a:srgbClr val="000000"/>
                  </a:solidFill>
                  <a:latin typeface="Gill Sans"/>
                  <a:ea typeface="ヒラギノ角ゴ ProN W3"/>
                  <a:cs typeface="ヒラギノ角ゴ ProN W3"/>
                  <a:sym typeface="Gill Sans"/>
                </a:defRPr>
              </a:lvl7pPr>
              <a:lvl8pPr marL="3429000" indent="-228600" eaLnBrk="0" fontAlgn="base" hangingPunct="0">
                <a:spcBef>
                  <a:spcPct val="0"/>
                </a:spcBef>
                <a:spcAft>
                  <a:spcPct val="0"/>
                </a:spcAft>
                <a:defRPr sz="4200">
                  <a:solidFill>
                    <a:srgbClr val="000000"/>
                  </a:solidFill>
                  <a:latin typeface="Gill Sans"/>
                  <a:ea typeface="ヒラギノ角ゴ ProN W3"/>
                  <a:cs typeface="ヒラギノ角ゴ ProN W3"/>
                  <a:sym typeface="Gill Sans"/>
                </a:defRPr>
              </a:lvl8pPr>
              <a:lvl9pPr marL="3886200" indent="-228600" eaLnBrk="0" fontAlgn="base" hangingPunct="0">
                <a:spcBef>
                  <a:spcPct val="0"/>
                </a:spcBef>
                <a:spcAft>
                  <a:spcPct val="0"/>
                </a:spcAft>
                <a:defRPr sz="4200">
                  <a:solidFill>
                    <a:srgbClr val="000000"/>
                  </a:solidFill>
                  <a:latin typeface="Gill Sans"/>
                  <a:ea typeface="ヒラギノ角ゴ ProN W3"/>
                  <a:cs typeface="ヒラギノ角ゴ ProN W3"/>
                  <a:sym typeface="Gill Sans"/>
                </a:defRPr>
              </a:lvl9pPr>
            </a:lstStyle>
            <a:p>
              <a:pPr defTabSz="779082">
                <a:lnSpc>
                  <a:spcPct val="107000"/>
                </a:lnSpc>
                <a:defRPr/>
              </a:pPr>
              <a:endParaRPr lang="en-US" altLang="en-US" sz="1200" dirty="0">
                <a:latin typeface="Arial" panose="020B0604020202020204" pitchFamily="34" charset="0"/>
                <a:ea typeface="Calibri" panose="020F0502020204030204" pitchFamily="34" charset="0"/>
                <a:cs typeface="Arial" panose="020B0604020202020204" pitchFamily="34" charset="0"/>
              </a:endParaRPr>
            </a:p>
            <a:p>
              <a:pPr defTabSz="779082"/>
              <a:r>
                <a:rPr lang="en-US" sz="1200" dirty="0">
                  <a:latin typeface="Arial" panose="020B0604020202020204" pitchFamily="34" charset="0"/>
                  <a:cs typeface="Arial" panose="020B0604020202020204" pitchFamily="34" charset="0"/>
                </a:rPr>
                <a:t>To catalyze and sustain inclusive agriculture transformation in Africa by increasing incomes and improving food security for 30 million smallholder households in Africa and to support countries on a pathway to attain and sustain an agriculture transformation.</a:t>
              </a:r>
            </a:p>
          </p:txBody>
        </p:sp>
        <p:sp>
          <p:nvSpPr>
            <p:cNvPr id="11" name="Rectangle 10"/>
            <p:cNvSpPr/>
            <p:nvPr/>
          </p:nvSpPr>
          <p:spPr>
            <a:xfrm>
              <a:off x="416070" y="1187481"/>
              <a:ext cx="3681948" cy="367925"/>
            </a:xfrm>
            <a:prstGeom prst="rect">
              <a:avLst/>
            </a:prstGeom>
            <a:solidFill>
              <a:srgbClr val="3F5F1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8957" rIns="38957" anchor="ctr"/>
            <a:lstStyle/>
            <a:p>
              <a:pPr defTabSz="779082">
                <a:lnSpc>
                  <a:spcPct val="107000"/>
                </a:lnSpc>
                <a:defRPr/>
              </a:pPr>
              <a:r>
                <a:rPr lang="en-US" altLang="en-US" sz="1200" b="1" dirty="0">
                  <a:solidFill>
                    <a:srgbClr val="FFFFFF"/>
                  </a:solidFill>
                  <a:latin typeface="Arial" panose="020B0604020202020204" pitchFamily="34" charset="0"/>
                  <a:ea typeface="Calibri" panose="020F0502020204030204" pitchFamily="34" charset="0"/>
                  <a:cs typeface="Arial" panose="020B0604020202020204" pitchFamily="34" charset="0"/>
                </a:rPr>
                <a:t> AGRA’s vision </a:t>
              </a:r>
              <a:endParaRPr lang="en-US" altLang="en-US" sz="1200" dirty="0">
                <a:solidFill>
                  <a:srgbClr val="FFFFFF"/>
                </a:solidFill>
                <a:latin typeface="Arial" panose="020B0604020202020204" pitchFamily="34" charset="0"/>
                <a:ea typeface="Calibri" panose="020F0502020204030204" pitchFamily="34" charset="0"/>
                <a:cs typeface="Arial" panose="020B0604020202020204" pitchFamily="34" charset="0"/>
              </a:endParaRPr>
            </a:p>
          </p:txBody>
        </p:sp>
        <p:sp>
          <p:nvSpPr>
            <p:cNvPr id="12" name="Rectangle 11"/>
            <p:cNvSpPr/>
            <p:nvPr/>
          </p:nvSpPr>
          <p:spPr>
            <a:xfrm>
              <a:off x="416068" y="2525589"/>
              <a:ext cx="3681948" cy="369277"/>
            </a:xfrm>
            <a:prstGeom prst="rect">
              <a:avLst/>
            </a:prstGeom>
            <a:solidFill>
              <a:srgbClr val="3F5F1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8957" rIns="38957" anchor="ctr"/>
            <a:lstStyle/>
            <a:p>
              <a:pPr defTabSz="779082">
                <a:lnSpc>
                  <a:spcPct val="107000"/>
                </a:lnSpc>
                <a:defRPr/>
              </a:pPr>
              <a:r>
                <a:rPr lang="en-US" altLang="en-US" sz="1200" b="1" dirty="0">
                  <a:solidFill>
                    <a:srgbClr val="FFFFFF"/>
                  </a:solidFill>
                  <a:latin typeface="Arial" panose="020B0604020202020204" pitchFamily="34" charset="0"/>
                  <a:ea typeface="Calibri" panose="020F0502020204030204" pitchFamily="34" charset="0"/>
                  <a:cs typeface="Arial" panose="020B0604020202020204" pitchFamily="34" charset="0"/>
                </a:rPr>
                <a:t> AGRA’s headline goals</a:t>
              </a:r>
              <a:endParaRPr lang="en-US" altLang="en-US" sz="1200" dirty="0">
                <a:solidFill>
                  <a:srgbClr val="FFFFFF"/>
                </a:solidFill>
                <a:latin typeface="Arial" panose="020B0604020202020204" pitchFamily="34" charset="0"/>
                <a:ea typeface="Calibri" panose="020F0502020204030204" pitchFamily="34" charset="0"/>
                <a:cs typeface="Arial" panose="020B0604020202020204" pitchFamily="34" charset="0"/>
              </a:endParaRPr>
            </a:p>
          </p:txBody>
        </p:sp>
      </p:grpSp>
    </p:spTree>
    <p:extLst>
      <p:ext uri="{BB962C8B-B14F-4D97-AF65-F5344CB8AC3E}">
        <p14:creationId xmlns:p14="http://schemas.microsoft.com/office/powerpoint/2010/main" val="409344202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7751" name="think-cell Slide" r:id="rId5" imgW="360" imgH="360" progId="TCLayout.ActiveDocument.1">
                  <p:embed/>
                </p:oleObj>
              </mc:Choice>
              <mc:Fallback>
                <p:oleObj name="think-cell Slide" r:id="rId5" imgW="360" imgH="360"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200" b="1" dirty="0" smtClean="0">
              <a:solidFill>
                <a:schemeClr val="accent6">
                  <a:lumMod val="50000"/>
                </a:schemeClr>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itle 4"/>
          <p:cNvSpPr>
            <a:spLocks noGrp="1"/>
          </p:cNvSpPr>
          <p:nvPr>
            <p:ph type="title"/>
          </p:nvPr>
        </p:nvSpPr>
        <p:spPr/>
        <p:txBody>
          <a:bodyPr lIns="0" tIns="0" rIns="0" bIns="0" anchor="b"/>
          <a:lstStyle/>
          <a:p>
            <a:r>
              <a:rPr lang="en-US" dirty="0" err="1"/>
              <a:t>AGRA’s</a:t>
            </a:r>
            <a:r>
              <a:rPr lang="en-US" dirty="0"/>
              <a:t> 2017 – 2021 Strategy </a:t>
            </a:r>
          </a:p>
        </p:txBody>
      </p:sp>
      <p:sp>
        <p:nvSpPr>
          <p:cNvPr id="4" name="TextBox 3"/>
          <p:cNvSpPr txBox="1"/>
          <p:nvPr/>
        </p:nvSpPr>
        <p:spPr>
          <a:xfrm rot="16200000">
            <a:off x="-595681" y="5222241"/>
            <a:ext cx="1761489" cy="307777"/>
          </a:xfrm>
          <a:prstGeom prst="rect">
            <a:avLst/>
          </a:prstGeom>
          <a:noFill/>
        </p:spPr>
        <p:txBody>
          <a:bodyPr wrap="square" rtlCol="0">
            <a:spAutoFit/>
          </a:bodyPr>
          <a:lstStyle/>
          <a:p>
            <a:r>
              <a:rPr lang="en-US" sz="1400" b="1" dirty="0" smtClean="0">
                <a:solidFill>
                  <a:srgbClr val="0070C0"/>
                </a:solidFill>
                <a:latin typeface="Arial" panose="020B0604020202020204" pitchFamily="34" charset="0"/>
                <a:cs typeface="Arial" panose="020B0604020202020204" pitchFamily="34" charset="0"/>
              </a:rPr>
              <a:t>Theory of Change</a:t>
            </a:r>
          </a:p>
        </p:txBody>
      </p:sp>
      <p:sp>
        <p:nvSpPr>
          <p:cNvPr id="7" name="TextBox 6"/>
          <p:cNvSpPr txBox="1"/>
          <p:nvPr/>
        </p:nvSpPr>
        <p:spPr>
          <a:xfrm rot="5400000" flipH="1">
            <a:off x="8407464" y="2651413"/>
            <a:ext cx="2298573" cy="307777"/>
          </a:xfrm>
          <a:prstGeom prst="rect">
            <a:avLst/>
          </a:prstGeom>
          <a:noFill/>
        </p:spPr>
        <p:txBody>
          <a:bodyPr wrap="square" rtlCol="0">
            <a:spAutoFit/>
          </a:bodyPr>
          <a:lstStyle/>
          <a:p>
            <a:r>
              <a:rPr lang="en-US" sz="1400" b="1" dirty="0" smtClean="0">
                <a:solidFill>
                  <a:srgbClr val="00B050"/>
                </a:solidFill>
                <a:latin typeface="Arial" panose="020B0604020202020204" pitchFamily="34" charset="0"/>
                <a:cs typeface="Arial" panose="020B0604020202020204" pitchFamily="34" charset="0"/>
              </a:rPr>
              <a:t>Theory of Action</a:t>
            </a:r>
          </a:p>
        </p:txBody>
      </p:sp>
      <p:sp>
        <p:nvSpPr>
          <p:cNvPr id="11" name="Rectangle 10"/>
          <p:cNvSpPr/>
          <p:nvPr/>
        </p:nvSpPr>
        <p:spPr>
          <a:xfrm>
            <a:off x="431694" y="1313308"/>
            <a:ext cx="5069445" cy="1828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200" b="1" dirty="0" smtClean="0">
              <a:solidFill>
                <a:schemeClr val="accent6">
                  <a:lumMod val="50000"/>
                </a:schemeClr>
              </a:solidFill>
              <a:latin typeface="Arial" panose="020B0604020202020204" pitchFamily="34" charset="0"/>
              <a:cs typeface="Arial" panose="020B0604020202020204" pitchFamily="34" charset="0"/>
            </a:endParaRPr>
          </a:p>
        </p:txBody>
      </p:sp>
      <p:grpSp>
        <p:nvGrpSpPr>
          <p:cNvPr id="30" name="Group 29"/>
          <p:cNvGrpSpPr/>
          <p:nvPr/>
        </p:nvGrpSpPr>
        <p:grpSpPr>
          <a:xfrm>
            <a:off x="536105" y="3744866"/>
            <a:ext cx="5258483" cy="2513953"/>
            <a:chOff x="314813" y="2825094"/>
            <a:chExt cx="5212757" cy="1889394"/>
          </a:xfrm>
        </p:grpSpPr>
        <p:sp>
          <p:nvSpPr>
            <p:cNvPr id="32" name="Rectangle 31"/>
            <p:cNvSpPr/>
            <p:nvPr/>
          </p:nvSpPr>
          <p:spPr>
            <a:xfrm>
              <a:off x="314813" y="2825094"/>
              <a:ext cx="5212757" cy="1889394"/>
            </a:xfrm>
            <a:prstGeom prst="rect">
              <a:avLst/>
            </a:prstGeom>
            <a:solidFill>
              <a:schemeClr val="accent6">
                <a:lumMod val="40000"/>
                <a:lumOff val="6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100" b="1" dirty="0" smtClean="0">
                  <a:solidFill>
                    <a:schemeClr val="tx1"/>
                  </a:solidFill>
                  <a:latin typeface="Arial" panose="020B0604020202020204" pitchFamily="34" charset="0"/>
                  <a:cs typeface="Arial" panose="020B0604020202020204" pitchFamily="34" charset="0"/>
                </a:rPr>
                <a:t>Outcomes </a:t>
              </a:r>
            </a:p>
          </p:txBody>
        </p:sp>
        <p:sp>
          <p:nvSpPr>
            <p:cNvPr id="17" name="Rectangle 16"/>
            <p:cNvSpPr/>
            <p:nvPr/>
          </p:nvSpPr>
          <p:spPr>
            <a:xfrm>
              <a:off x="409025" y="3034311"/>
              <a:ext cx="1234416" cy="433015"/>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dirty="0" smtClean="0">
                  <a:solidFill>
                    <a:schemeClr val="tx1"/>
                  </a:solidFill>
                  <a:latin typeface="Arial" panose="020B0604020202020204" pitchFamily="34" charset="0"/>
                  <a:cs typeface="Arial" panose="020B0604020202020204" pitchFamily="34" charset="0"/>
                </a:rPr>
                <a:t>Improved Input Markets</a:t>
              </a:r>
            </a:p>
          </p:txBody>
        </p:sp>
        <p:sp>
          <p:nvSpPr>
            <p:cNvPr id="18" name="Rectangle 17"/>
            <p:cNvSpPr/>
            <p:nvPr/>
          </p:nvSpPr>
          <p:spPr>
            <a:xfrm>
              <a:off x="1673953" y="3034311"/>
              <a:ext cx="1234416" cy="433015"/>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dirty="0" smtClean="0">
                  <a:solidFill>
                    <a:schemeClr val="tx1"/>
                  </a:solidFill>
                  <a:latin typeface="Arial" panose="020B0604020202020204" pitchFamily="34" charset="0"/>
                  <a:cs typeface="Arial" panose="020B0604020202020204" pitchFamily="34" charset="0"/>
                </a:rPr>
                <a:t>Increased tech  adoption</a:t>
              </a:r>
            </a:p>
          </p:txBody>
        </p:sp>
        <p:sp>
          <p:nvSpPr>
            <p:cNvPr id="19" name="Rectangle 18"/>
            <p:cNvSpPr/>
            <p:nvPr/>
          </p:nvSpPr>
          <p:spPr>
            <a:xfrm>
              <a:off x="2938881" y="3034311"/>
              <a:ext cx="1234416" cy="433015"/>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dirty="0" smtClean="0">
                  <a:solidFill>
                    <a:schemeClr val="tx1"/>
                  </a:solidFill>
                  <a:latin typeface="Arial" panose="020B0604020202020204" pitchFamily="34" charset="0"/>
                  <a:cs typeface="Arial" panose="020B0604020202020204" pitchFamily="34" charset="0"/>
                </a:rPr>
                <a:t>Reduced Post Harvest losses</a:t>
              </a:r>
            </a:p>
          </p:txBody>
        </p:sp>
        <p:sp>
          <p:nvSpPr>
            <p:cNvPr id="20" name="Rectangle 19"/>
            <p:cNvSpPr/>
            <p:nvPr/>
          </p:nvSpPr>
          <p:spPr>
            <a:xfrm>
              <a:off x="4203809" y="3034311"/>
              <a:ext cx="1234416" cy="433015"/>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dirty="0" smtClean="0">
                  <a:solidFill>
                    <a:schemeClr val="tx1"/>
                  </a:solidFill>
                  <a:latin typeface="Arial" panose="020B0604020202020204" pitchFamily="34" charset="0"/>
                  <a:cs typeface="Arial" panose="020B0604020202020204" pitchFamily="34" charset="0"/>
                </a:rPr>
                <a:t>Increased Employment</a:t>
              </a:r>
            </a:p>
          </p:txBody>
        </p:sp>
        <p:sp>
          <p:nvSpPr>
            <p:cNvPr id="21" name="Rectangle 20"/>
            <p:cNvSpPr/>
            <p:nvPr/>
          </p:nvSpPr>
          <p:spPr>
            <a:xfrm>
              <a:off x="409025" y="3507251"/>
              <a:ext cx="1234416" cy="433015"/>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dirty="0" smtClean="0">
                  <a:solidFill>
                    <a:schemeClr val="tx1"/>
                  </a:solidFill>
                  <a:latin typeface="Arial" panose="020B0604020202020204" pitchFamily="34" charset="0"/>
                  <a:cs typeface="Arial" panose="020B0604020202020204" pitchFamily="34" charset="0"/>
                </a:rPr>
                <a:t>Increase Market access</a:t>
              </a:r>
            </a:p>
          </p:txBody>
        </p:sp>
        <p:sp>
          <p:nvSpPr>
            <p:cNvPr id="22" name="Rectangle 21"/>
            <p:cNvSpPr/>
            <p:nvPr/>
          </p:nvSpPr>
          <p:spPr>
            <a:xfrm>
              <a:off x="1673953" y="3507251"/>
              <a:ext cx="1234416" cy="433015"/>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dirty="0" smtClean="0">
                  <a:solidFill>
                    <a:schemeClr val="tx1"/>
                  </a:solidFill>
                  <a:latin typeface="Arial" panose="020B0604020202020204" pitchFamily="34" charset="0"/>
                  <a:cs typeface="Arial" panose="020B0604020202020204" pitchFamily="34" charset="0"/>
                </a:rPr>
                <a:t>Increase access to Finance + BDS</a:t>
              </a:r>
            </a:p>
          </p:txBody>
        </p:sp>
        <p:sp>
          <p:nvSpPr>
            <p:cNvPr id="23" name="Rectangle 22"/>
            <p:cNvSpPr/>
            <p:nvPr/>
          </p:nvSpPr>
          <p:spPr>
            <a:xfrm>
              <a:off x="2938881" y="3507251"/>
              <a:ext cx="1234416" cy="433015"/>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dirty="0" smtClean="0">
                  <a:solidFill>
                    <a:schemeClr val="tx1"/>
                  </a:solidFill>
                  <a:latin typeface="Arial" panose="020B0604020202020204" pitchFamily="34" charset="0"/>
                  <a:cs typeface="Arial" panose="020B0604020202020204" pitchFamily="34" charset="0"/>
                </a:rPr>
                <a:t>Reduced Volatility</a:t>
              </a:r>
            </a:p>
          </p:txBody>
        </p:sp>
        <p:sp>
          <p:nvSpPr>
            <p:cNvPr id="25" name="Rectangle 24"/>
            <p:cNvSpPr/>
            <p:nvPr/>
          </p:nvSpPr>
          <p:spPr>
            <a:xfrm>
              <a:off x="4203809" y="3507251"/>
              <a:ext cx="1234416" cy="433015"/>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dirty="0" smtClean="0">
                  <a:solidFill>
                    <a:schemeClr val="tx1"/>
                  </a:solidFill>
                  <a:latin typeface="Arial" panose="020B0604020202020204" pitchFamily="34" charset="0"/>
                  <a:cs typeface="Arial" panose="020B0604020202020204" pitchFamily="34" charset="0"/>
                </a:rPr>
                <a:t>Improve Institutional  capacity</a:t>
              </a:r>
            </a:p>
          </p:txBody>
        </p:sp>
        <p:sp>
          <p:nvSpPr>
            <p:cNvPr id="26" name="Rectangle 25"/>
            <p:cNvSpPr/>
            <p:nvPr/>
          </p:nvSpPr>
          <p:spPr>
            <a:xfrm>
              <a:off x="404159" y="3985373"/>
              <a:ext cx="5034066" cy="662827"/>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b="1" dirty="0" smtClean="0">
                  <a:solidFill>
                    <a:schemeClr val="tx1"/>
                  </a:solidFill>
                  <a:latin typeface="Arial" panose="020B0604020202020204" pitchFamily="34" charset="0"/>
                  <a:cs typeface="Arial" panose="020B0604020202020204" pitchFamily="34" charset="0"/>
                </a:rPr>
                <a:t>Cross Cutting Outcomes</a:t>
              </a:r>
            </a:p>
            <a:p>
              <a:r>
                <a:rPr lang="en-US" sz="1100" dirty="0" smtClean="0">
                  <a:solidFill>
                    <a:schemeClr val="tx1"/>
                  </a:solidFill>
                  <a:latin typeface="Arial" panose="020B0604020202020204" pitchFamily="34" charset="0"/>
                  <a:cs typeface="Arial" panose="020B0604020202020204" pitchFamily="34" charset="0"/>
                </a:rPr>
                <a:t>Enabling </a:t>
              </a:r>
              <a:r>
                <a:rPr lang="en-US" sz="1100" dirty="0">
                  <a:solidFill>
                    <a:schemeClr val="tx1"/>
                  </a:solidFill>
                  <a:latin typeface="Arial" panose="020B0604020202020204" pitchFamily="34" charset="0"/>
                  <a:cs typeface="Arial" panose="020B0604020202020204" pitchFamily="34" charset="0"/>
                </a:rPr>
                <a:t>environment, Gender and Youth empowerment</a:t>
              </a:r>
            </a:p>
            <a:p>
              <a:r>
                <a:rPr lang="en-US" sz="1100" dirty="0">
                  <a:solidFill>
                    <a:schemeClr val="tx1"/>
                  </a:solidFill>
                  <a:latin typeface="Arial" panose="020B0604020202020204" pitchFamily="34" charset="0"/>
                  <a:cs typeface="Arial" panose="020B0604020202020204" pitchFamily="34" charset="0"/>
                </a:rPr>
                <a:t>Capacity development (SME’s ,</a:t>
              </a:r>
              <a:r>
                <a:rPr lang="en-US" sz="1100" dirty="0" err="1">
                  <a:solidFill>
                    <a:schemeClr val="tx1"/>
                  </a:solidFill>
                  <a:latin typeface="Arial" panose="020B0604020202020204" pitchFamily="34" charset="0"/>
                  <a:cs typeface="Arial" panose="020B0604020202020204" pitchFamily="34" charset="0"/>
                </a:rPr>
                <a:t>SHF’s</a:t>
              </a:r>
              <a:r>
                <a:rPr lang="en-US" sz="1100" dirty="0">
                  <a:solidFill>
                    <a:schemeClr val="tx1"/>
                  </a:solidFill>
                  <a:latin typeface="Arial" panose="020B0604020202020204" pitchFamily="34" charset="0"/>
                  <a:cs typeface="Arial" panose="020B0604020202020204" pitchFamily="34" charset="0"/>
                </a:rPr>
                <a:t>, </a:t>
              </a:r>
              <a:r>
                <a:rPr lang="en-US" sz="1100" dirty="0" err="1" smtClean="0">
                  <a:solidFill>
                    <a:schemeClr val="tx1"/>
                  </a:solidFill>
                  <a:latin typeface="Arial" panose="020B0604020202020204" pitchFamily="34" charset="0"/>
                  <a:cs typeface="Arial" panose="020B0604020202020204" pitchFamily="34" charset="0"/>
                </a:rPr>
                <a:t>Govt’s</a:t>
              </a:r>
              <a:r>
                <a:rPr lang="en-US" sz="1100" dirty="0" smtClean="0">
                  <a:solidFill>
                    <a:schemeClr val="tx1"/>
                  </a:solidFill>
                  <a:latin typeface="Arial" panose="020B0604020202020204" pitchFamily="34" charset="0"/>
                  <a:cs typeface="Arial" panose="020B0604020202020204" pitchFamily="34" charset="0"/>
                </a:rPr>
                <a:t>, </a:t>
              </a:r>
              <a:r>
                <a:rPr lang="en-US" sz="1100" dirty="0">
                  <a:solidFill>
                    <a:schemeClr val="tx1"/>
                  </a:solidFill>
                  <a:latin typeface="Arial" panose="020B0604020202020204" pitchFamily="34" charset="0"/>
                  <a:cs typeface="Arial" panose="020B0604020202020204" pitchFamily="34" charset="0"/>
                </a:rPr>
                <a:t>Improved access to and update of financial </a:t>
              </a:r>
              <a:r>
                <a:rPr lang="en-US" sz="1100" dirty="0" smtClean="0">
                  <a:solidFill>
                    <a:schemeClr val="tx1"/>
                  </a:solidFill>
                  <a:latin typeface="Arial" panose="020B0604020202020204" pitchFamily="34" charset="0"/>
                  <a:cs typeface="Arial" panose="020B0604020202020204" pitchFamily="34" charset="0"/>
                </a:rPr>
                <a:t>services, </a:t>
              </a:r>
              <a:r>
                <a:rPr lang="en-US" sz="1100" dirty="0">
                  <a:solidFill>
                    <a:schemeClr val="tx1"/>
                  </a:solidFill>
                  <a:latin typeface="Arial" panose="020B0604020202020204" pitchFamily="34" charset="0"/>
                  <a:cs typeface="Arial" panose="020B0604020202020204" pitchFamily="34" charset="0"/>
                </a:rPr>
                <a:t>Improved private sector investment in </a:t>
              </a:r>
              <a:r>
                <a:rPr lang="en-US" sz="1100" dirty="0" smtClean="0">
                  <a:solidFill>
                    <a:schemeClr val="tx1"/>
                  </a:solidFill>
                  <a:latin typeface="Arial" panose="020B0604020202020204" pitchFamily="34" charset="0"/>
                  <a:cs typeface="Arial" panose="020B0604020202020204" pitchFamily="34" charset="0"/>
                </a:rPr>
                <a:t>Agriculture</a:t>
              </a:r>
              <a:endParaRPr lang="en-US" sz="1100" dirty="0">
                <a:solidFill>
                  <a:schemeClr val="tx1"/>
                </a:solidFill>
                <a:latin typeface="Arial" panose="020B0604020202020204" pitchFamily="34" charset="0"/>
                <a:cs typeface="Arial" panose="020B0604020202020204" pitchFamily="34" charset="0"/>
              </a:endParaRPr>
            </a:p>
          </p:txBody>
        </p:sp>
      </p:grpSp>
      <p:grpSp>
        <p:nvGrpSpPr>
          <p:cNvPr id="3" name="Group 2"/>
          <p:cNvGrpSpPr/>
          <p:nvPr/>
        </p:nvGrpSpPr>
        <p:grpSpPr>
          <a:xfrm>
            <a:off x="521775" y="1735055"/>
            <a:ext cx="5261271" cy="1931363"/>
            <a:chOff x="312186" y="1290625"/>
            <a:chExt cx="5113471" cy="1240344"/>
          </a:xfrm>
        </p:grpSpPr>
        <p:grpSp>
          <p:nvGrpSpPr>
            <p:cNvPr id="31" name="Group 30"/>
            <p:cNvGrpSpPr/>
            <p:nvPr/>
          </p:nvGrpSpPr>
          <p:grpSpPr>
            <a:xfrm>
              <a:off x="312186" y="1290625"/>
              <a:ext cx="5113471" cy="1240344"/>
              <a:chOff x="314813" y="1316707"/>
              <a:chExt cx="5113471" cy="1240344"/>
            </a:xfrm>
          </p:grpSpPr>
          <p:sp>
            <p:nvSpPr>
              <p:cNvPr id="34" name="Rectangle 33"/>
              <p:cNvSpPr/>
              <p:nvPr/>
            </p:nvSpPr>
            <p:spPr>
              <a:xfrm>
                <a:off x="314813" y="1316707"/>
                <a:ext cx="5113471" cy="1240344"/>
              </a:xfrm>
              <a:prstGeom prst="rect">
                <a:avLst/>
              </a:prstGeom>
              <a:solidFill>
                <a:schemeClr val="accent1">
                  <a:lumMod val="20000"/>
                  <a:lumOff val="8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Aft>
                    <a:spcPts val="600"/>
                  </a:spcAft>
                </a:pPr>
                <a:r>
                  <a:rPr lang="en-US" sz="1200" b="1" dirty="0">
                    <a:solidFill>
                      <a:schemeClr val="tx1"/>
                    </a:solidFill>
                    <a:latin typeface="Arial" panose="020B0604020202020204" pitchFamily="34" charset="0"/>
                    <a:cs typeface="Arial" panose="020B0604020202020204" pitchFamily="34" charset="0"/>
                  </a:rPr>
                  <a:t>Headlines goals and </a:t>
                </a:r>
                <a:r>
                  <a:rPr lang="en-US" sz="1200" b="1" dirty="0" smtClean="0">
                    <a:solidFill>
                      <a:schemeClr val="tx1"/>
                    </a:solidFill>
                    <a:latin typeface="Arial" panose="020B0604020202020204" pitchFamily="34" charset="0"/>
                    <a:cs typeface="Arial" panose="020B0604020202020204" pitchFamily="34" charset="0"/>
                  </a:rPr>
                  <a:t>objectives</a:t>
                </a:r>
              </a:p>
              <a:p>
                <a:pPr algn="ctr">
                  <a:spcAft>
                    <a:spcPts val="600"/>
                  </a:spcAft>
                </a:pPr>
                <a:r>
                  <a:rPr lang="en-US" sz="1200" dirty="0">
                    <a:solidFill>
                      <a:schemeClr val="tx1"/>
                    </a:solidFill>
                    <a:latin typeface="Arial" panose="020B0604020202020204" pitchFamily="34" charset="0"/>
                    <a:cs typeface="Arial" panose="020B0604020202020204" pitchFamily="34" charset="0"/>
                  </a:rPr>
                  <a:t>the incomes and food security for </a:t>
                </a:r>
                <a:r>
                  <a:rPr lang="en-US" sz="1200" dirty="0" err="1">
                    <a:solidFill>
                      <a:schemeClr val="tx1"/>
                    </a:solidFill>
                    <a:latin typeface="Arial" panose="020B0604020202020204" pitchFamily="34" charset="0"/>
                    <a:cs typeface="Arial" panose="020B0604020202020204" pitchFamily="34" charset="0"/>
                  </a:rPr>
                  <a:t>9M</a:t>
                </a:r>
                <a:r>
                  <a:rPr lang="en-US" sz="1200" dirty="0">
                    <a:solidFill>
                      <a:schemeClr val="tx1"/>
                    </a:solidFill>
                    <a:latin typeface="Arial" panose="020B0604020202020204" pitchFamily="34" charset="0"/>
                    <a:cs typeface="Arial" panose="020B0604020202020204" pitchFamily="34" charset="0"/>
                  </a:rPr>
                  <a:t> households reached directly and for </a:t>
                </a:r>
                <a:r>
                  <a:rPr lang="en-US" sz="1200" dirty="0" err="1">
                    <a:solidFill>
                      <a:schemeClr val="tx1"/>
                    </a:solidFill>
                    <a:latin typeface="Arial" panose="020B0604020202020204" pitchFamily="34" charset="0"/>
                    <a:cs typeface="Arial" panose="020B0604020202020204" pitchFamily="34" charset="0"/>
                  </a:rPr>
                  <a:t>21M</a:t>
                </a:r>
                <a:r>
                  <a:rPr lang="en-US" sz="1200" dirty="0">
                    <a:solidFill>
                      <a:schemeClr val="tx1"/>
                    </a:solidFill>
                    <a:latin typeface="Arial" panose="020B0604020202020204" pitchFamily="34" charset="0"/>
                    <a:cs typeface="Arial" panose="020B0604020202020204" pitchFamily="34" charset="0"/>
                  </a:rPr>
                  <a:t>  reached indirectly through AGRA activities; support 11 countries on a path to sustained agriculture transformation</a:t>
                </a:r>
              </a:p>
              <a:p>
                <a:pPr algn="ctr">
                  <a:spcAft>
                    <a:spcPts val="600"/>
                  </a:spcAft>
                </a:pPr>
                <a:endParaRPr lang="en-US" sz="1200" b="1" dirty="0">
                  <a:solidFill>
                    <a:schemeClr val="tx1"/>
                  </a:solidFill>
                  <a:latin typeface="Arial" panose="020B0604020202020204" pitchFamily="34" charset="0"/>
                  <a:cs typeface="Arial" panose="020B0604020202020204" pitchFamily="34" charset="0"/>
                </a:endParaRPr>
              </a:p>
              <a:p>
                <a:pPr algn="ctr">
                  <a:spcAft>
                    <a:spcPts val="600"/>
                  </a:spcAft>
                </a:pPr>
                <a:endParaRPr lang="en-US" sz="1200" b="1" dirty="0" smtClean="0">
                  <a:solidFill>
                    <a:schemeClr val="tx1"/>
                  </a:solidFill>
                  <a:latin typeface="Arial" panose="020B0604020202020204" pitchFamily="34" charset="0"/>
                  <a:cs typeface="Arial" panose="020B0604020202020204" pitchFamily="34" charset="0"/>
                </a:endParaRPr>
              </a:p>
              <a:p>
                <a:pPr algn="ctr">
                  <a:spcAft>
                    <a:spcPts val="600"/>
                  </a:spcAft>
                </a:pPr>
                <a:endParaRPr lang="en-US" sz="1200" b="1" dirty="0" smtClean="0">
                  <a:solidFill>
                    <a:schemeClr val="tx1"/>
                  </a:solidFill>
                  <a:latin typeface="Arial" panose="020B0604020202020204" pitchFamily="34" charset="0"/>
                  <a:cs typeface="Arial" panose="020B0604020202020204" pitchFamily="34" charset="0"/>
                </a:endParaRPr>
              </a:p>
            </p:txBody>
          </p:sp>
          <p:sp>
            <p:nvSpPr>
              <p:cNvPr id="13" name="Rectangle 12"/>
              <p:cNvSpPr/>
              <p:nvPr/>
            </p:nvSpPr>
            <p:spPr>
              <a:xfrm>
                <a:off x="463346" y="1870763"/>
                <a:ext cx="1115240" cy="385246"/>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smtClean="0">
                    <a:solidFill>
                      <a:schemeClr val="tx1"/>
                    </a:solidFill>
                    <a:latin typeface="Arial" panose="020B0604020202020204" pitchFamily="34" charset="0"/>
                    <a:cs typeface="Arial" panose="020B0604020202020204" pitchFamily="34" charset="0"/>
                  </a:rPr>
                  <a:t>Improved staple crop productivity</a:t>
                </a:r>
              </a:p>
            </p:txBody>
          </p:sp>
          <p:sp>
            <p:nvSpPr>
              <p:cNvPr id="14" name="Rectangle 13"/>
              <p:cNvSpPr/>
              <p:nvPr/>
            </p:nvSpPr>
            <p:spPr>
              <a:xfrm>
                <a:off x="1673185" y="1870763"/>
                <a:ext cx="1060885" cy="385246"/>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smtClean="0">
                    <a:solidFill>
                      <a:schemeClr val="tx1"/>
                    </a:solidFill>
                    <a:latin typeface="Arial" panose="020B0604020202020204" pitchFamily="34" charset="0"/>
                    <a:cs typeface="Arial" panose="020B0604020202020204" pitchFamily="34" charset="0"/>
                  </a:rPr>
                  <a:t>Expanded  access to markets</a:t>
                </a:r>
              </a:p>
            </p:txBody>
          </p:sp>
          <p:sp>
            <p:nvSpPr>
              <p:cNvPr id="15" name="Rectangle 14"/>
              <p:cNvSpPr/>
              <p:nvPr/>
            </p:nvSpPr>
            <p:spPr>
              <a:xfrm>
                <a:off x="2828671" y="1870763"/>
                <a:ext cx="848459" cy="385246"/>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smtClean="0">
                    <a:solidFill>
                      <a:schemeClr val="tx1"/>
                    </a:solidFill>
                    <a:latin typeface="Arial" panose="020B0604020202020204" pitchFamily="34" charset="0"/>
                    <a:cs typeface="Arial" panose="020B0604020202020204" pitchFamily="34" charset="0"/>
                  </a:rPr>
                  <a:t>Better resilience</a:t>
                </a:r>
              </a:p>
            </p:txBody>
          </p:sp>
          <p:sp>
            <p:nvSpPr>
              <p:cNvPr id="16" name="Rectangle 15"/>
              <p:cNvSpPr/>
              <p:nvPr/>
            </p:nvSpPr>
            <p:spPr>
              <a:xfrm>
                <a:off x="3744548" y="1870763"/>
                <a:ext cx="1596139" cy="385246"/>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100" dirty="0" smtClean="0">
                    <a:solidFill>
                      <a:schemeClr val="tx1"/>
                    </a:solidFill>
                    <a:latin typeface="Arial" panose="020B0604020202020204" pitchFamily="34" charset="0"/>
                    <a:cs typeface="Arial" panose="020B0604020202020204" pitchFamily="34" charset="0"/>
                  </a:rPr>
                  <a:t>Improved </a:t>
                </a:r>
                <a:r>
                  <a:rPr lang="en-US" sz="1100" dirty="0" err="1" smtClean="0">
                    <a:solidFill>
                      <a:schemeClr val="tx1"/>
                    </a:solidFill>
                    <a:latin typeface="Arial" panose="020B0604020202020204" pitchFamily="34" charset="0"/>
                    <a:cs typeface="Arial" panose="020B0604020202020204" pitchFamily="34" charset="0"/>
                  </a:rPr>
                  <a:t>govt</a:t>
                </a:r>
                <a:r>
                  <a:rPr lang="en-US" sz="1100" dirty="0" smtClean="0">
                    <a:solidFill>
                      <a:schemeClr val="tx1"/>
                    </a:solidFill>
                    <a:latin typeface="Arial" panose="020B0604020202020204" pitchFamily="34" charset="0"/>
                    <a:cs typeface="Arial" panose="020B0604020202020204" pitchFamily="34" charset="0"/>
                  </a:rPr>
                  <a:t> coordination and accountability capability</a:t>
                </a:r>
              </a:p>
            </p:txBody>
          </p:sp>
        </p:grpSp>
        <p:sp>
          <p:nvSpPr>
            <p:cNvPr id="2" name="Isosceles Triangle 1"/>
            <p:cNvSpPr/>
            <p:nvPr/>
          </p:nvSpPr>
          <p:spPr>
            <a:xfrm flipV="1">
              <a:off x="721979" y="2310398"/>
              <a:ext cx="4114800" cy="168627"/>
            </a:xfrm>
            <a:prstGeom prst="triangle">
              <a:avLst/>
            </a:prstGeom>
            <a:solidFill>
              <a:srgbClr val="00B050"/>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chemeClr val="accent6">
                    <a:lumMod val="50000"/>
                  </a:schemeClr>
                </a:solidFill>
                <a:latin typeface="Arial" panose="020B0604020202020204" pitchFamily="34" charset="0"/>
                <a:cs typeface="Arial" panose="020B0604020202020204" pitchFamily="34" charset="0"/>
              </a:endParaRPr>
            </a:p>
          </p:txBody>
        </p:sp>
      </p:grpSp>
      <p:sp>
        <p:nvSpPr>
          <p:cNvPr id="28" name="Up Arrow 27"/>
          <p:cNvSpPr/>
          <p:nvPr/>
        </p:nvSpPr>
        <p:spPr>
          <a:xfrm>
            <a:off x="112929" y="1445154"/>
            <a:ext cx="344271" cy="3106683"/>
          </a:xfrm>
          <a:prstGeom prst="upArrow">
            <a:avLst/>
          </a:prstGeom>
          <a:solidFill>
            <a:srgbClr val="00B050"/>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solidFill>
                <a:schemeClr val="accent6">
                  <a:lumMod val="50000"/>
                </a:schemeClr>
              </a:solidFill>
              <a:latin typeface="Arial" panose="020B0604020202020204" pitchFamily="34" charset="0"/>
              <a:cs typeface="Arial" panose="020B0604020202020204" pitchFamily="34" charset="0"/>
            </a:endParaRPr>
          </a:p>
        </p:txBody>
      </p:sp>
      <p:sp>
        <p:nvSpPr>
          <p:cNvPr id="45" name="Up Arrow 44"/>
          <p:cNvSpPr/>
          <p:nvPr/>
        </p:nvSpPr>
        <p:spPr>
          <a:xfrm>
            <a:off x="9389938" y="3800886"/>
            <a:ext cx="344271" cy="2514600"/>
          </a:xfrm>
          <a:prstGeom prst="upArrow">
            <a:avLst/>
          </a:prstGeom>
          <a:solidFill>
            <a:srgbClr val="00B050"/>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solidFill>
                <a:schemeClr val="accent6">
                  <a:lumMod val="50000"/>
                </a:schemeClr>
              </a:solidFill>
              <a:latin typeface="Arial" panose="020B0604020202020204" pitchFamily="34" charset="0"/>
              <a:cs typeface="Arial" panose="020B0604020202020204" pitchFamily="34" charset="0"/>
            </a:endParaRPr>
          </a:p>
        </p:txBody>
      </p:sp>
      <p:sp>
        <p:nvSpPr>
          <p:cNvPr id="35" name="TextBox 34"/>
          <p:cNvSpPr txBox="1"/>
          <p:nvPr/>
        </p:nvSpPr>
        <p:spPr>
          <a:xfrm>
            <a:off x="4648200" y="6627168"/>
            <a:ext cx="4562904" cy="230832"/>
          </a:xfrm>
          <a:prstGeom prst="rect">
            <a:avLst/>
          </a:prstGeom>
          <a:noFill/>
        </p:spPr>
        <p:txBody>
          <a:bodyPr wrap="square" rtlCol="0">
            <a:spAutoFit/>
          </a:bodyPr>
          <a:lstStyle/>
          <a:p>
            <a:r>
              <a:rPr lang="en-US" sz="900" dirty="0" smtClean="0">
                <a:latin typeface="Arial" panose="020B0604020202020204" pitchFamily="34" charset="0"/>
                <a:cs typeface="Arial" panose="020B0604020202020204" pitchFamily="34" charset="0"/>
              </a:rPr>
              <a:t>*Source: AGRA Strategy and Business Plan  2017- 2021 </a:t>
            </a:r>
          </a:p>
        </p:txBody>
      </p:sp>
      <p:graphicFrame>
        <p:nvGraphicFramePr>
          <p:cNvPr id="51" name="Table 50"/>
          <p:cNvGraphicFramePr>
            <a:graphicFrameLocks noGrp="1"/>
          </p:cNvGraphicFramePr>
          <p:nvPr>
            <p:extLst/>
          </p:nvPr>
        </p:nvGraphicFramePr>
        <p:xfrm>
          <a:off x="6630774" y="1445154"/>
          <a:ext cx="2326064" cy="4870332"/>
        </p:xfrm>
        <a:graphic>
          <a:graphicData uri="http://schemas.openxmlformats.org/drawingml/2006/table">
            <a:tbl>
              <a:tblPr firstRow="1" bandRow="1">
                <a:tableStyleId>{2D5ABB26-0587-4C30-8999-92F81FD0307C}</a:tableStyleId>
              </a:tblPr>
              <a:tblGrid>
                <a:gridCol w="2326064">
                  <a:extLst>
                    <a:ext uri="{9D8B030D-6E8A-4147-A177-3AD203B41FA5}">
                      <a16:colId xmlns:a16="http://schemas.microsoft.com/office/drawing/2014/main" val="20000"/>
                    </a:ext>
                  </a:extLst>
                </a:gridCol>
              </a:tblGrid>
              <a:tr h="1814437">
                <a:tc>
                  <a:txBody>
                    <a:bodyPr/>
                    <a:lstStyle/>
                    <a:p>
                      <a:pPr algn="ctr"/>
                      <a:r>
                        <a:rPr lang="en-US" sz="1100" dirty="0" smtClean="0"/>
                        <a:t>Policy</a:t>
                      </a:r>
                      <a:r>
                        <a:rPr lang="en-US" sz="1100" baseline="0" dirty="0" smtClean="0"/>
                        <a:t> and State Capability</a:t>
                      </a:r>
                      <a:endParaRPr lang="en-US" sz="1100" b="1" dirty="0">
                        <a:latin typeface="Arial" panose="020B0604020202020204" pitchFamily="34" charset="0"/>
                        <a:cs typeface="Arial" panose="020B0604020202020204" pitchFamily="34" charset="0"/>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10000"/>
                  </a:ext>
                </a:extLst>
              </a:tr>
              <a:tr h="1623444">
                <a:tc>
                  <a:txBody>
                    <a:bodyPr/>
                    <a:lstStyle/>
                    <a:p>
                      <a:pPr algn="ctr"/>
                      <a:r>
                        <a:rPr lang="en-US" sz="1100" dirty="0" smtClean="0"/>
                        <a:t>Systems Development</a:t>
                      </a:r>
                      <a:endParaRPr lang="en-US" sz="1100" b="1" dirty="0">
                        <a:latin typeface="Arial" panose="020B0604020202020204" pitchFamily="34" charset="0"/>
                        <a:cs typeface="Arial" panose="020B0604020202020204" pitchFamily="34" charset="0"/>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10001"/>
                  </a:ext>
                </a:extLst>
              </a:tr>
              <a:tr h="1432451">
                <a:tc>
                  <a:txBody>
                    <a:bodyPr/>
                    <a:lstStyle/>
                    <a:p>
                      <a:pPr algn="ctr"/>
                      <a:r>
                        <a:rPr lang="en-US" sz="1100" dirty="0" smtClean="0"/>
                        <a:t>Partnerships</a:t>
                      </a:r>
                      <a:endParaRPr lang="en-US" sz="1100" b="1" dirty="0">
                        <a:latin typeface="Arial" panose="020B0604020202020204" pitchFamily="34" charset="0"/>
                        <a:cs typeface="Arial" panose="020B0604020202020204" pitchFamily="34" charset="0"/>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10002"/>
                  </a:ext>
                </a:extLst>
              </a:tr>
            </a:tbl>
          </a:graphicData>
        </a:graphic>
      </p:graphicFrame>
      <p:sp>
        <p:nvSpPr>
          <p:cNvPr id="52" name="Isosceles Triangle 32">
            <a:extLst>
              <a:ext uri="{FF2B5EF4-FFF2-40B4-BE49-F238E27FC236}">
                <a16:creationId xmlns:a16="http://schemas.microsoft.com/office/drawing/2014/main" id="{3515A01F-68F0-EB46-92DF-90FAD1177975}"/>
              </a:ext>
            </a:extLst>
          </p:cNvPr>
          <p:cNvSpPr/>
          <p:nvPr/>
        </p:nvSpPr>
        <p:spPr>
          <a:xfrm rot="16200000">
            <a:off x="3960946" y="3766412"/>
            <a:ext cx="4430019" cy="554792"/>
          </a:xfrm>
          <a:prstGeom prst="triangle">
            <a:avLst/>
          </a:prstGeom>
          <a:solidFill>
            <a:schemeClr val="bg2">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200" dirty="0">
              <a:solidFill>
                <a:schemeClr val="accent6">
                  <a:lumMod val="50000"/>
                </a:schemeClr>
              </a:solidFill>
              <a:latin typeface="Arial" panose="020B0604020202020204" pitchFamily="34" charset="0"/>
              <a:cs typeface="Arial" panose="020B0604020202020204" pitchFamily="34" charset="0"/>
            </a:endParaRPr>
          </a:p>
        </p:txBody>
      </p:sp>
      <p:sp>
        <p:nvSpPr>
          <p:cNvPr id="53" name="Rectangle 52"/>
          <p:cNvSpPr/>
          <p:nvPr/>
        </p:nvSpPr>
        <p:spPr>
          <a:xfrm>
            <a:off x="429509" y="962539"/>
            <a:ext cx="9050822" cy="685188"/>
          </a:xfrm>
          <a:prstGeom prst="rect">
            <a:avLst/>
          </a:prstGeom>
        </p:spPr>
        <p:txBody>
          <a:bodyPr wrap="square">
            <a:spAutoFit/>
          </a:bodyPr>
          <a:lstStyle/>
          <a:p>
            <a:pPr>
              <a:lnSpc>
                <a:spcPct val="107000"/>
              </a:lnSpc>
              <a:spcAft>
                <a:spcPts val="800"/>
              </a:spcAft>
            </a:pPr>
            <a:r>
              <a:rPr lang="en-US" sz="1200" dirty="0" err="1">
                <a:latin typeface="+mn-lt"/>
                <a:ea typeface="Calibri" panose="020F0502020204030204" pitchFamily="34" charset="0"/>
                <a:cs typeface="Times New Roman" panose="02020603050405020304" pitchFamily="18" charset="0"/>
              </a:rPr>
              <a:t>AGRA’s</a:t>
            </a:r>
            <a:r>
              <a:rPr lang="en-US" sz="1200" dirty="0">
                <a:latin typeface="+mn-lt"/>
                <a:ea typeface="Calibri" panose="020F0502020204030204" pitchFamily="34" charset="0"/>
                <a:cs typeface="Times New Roman" panose="02020603050405020304" pitchFamily="18" charset="0"/>
              </a:rPr>
              <a:t> strategy is to increase the incomes and improve food security for 9 million farm households directly and </a:t>
            </a:r>
            <a:r>
              <a:rPr lang="en-US" sz="1200" dirty="0" err="1">
                <a:latin typeface="+mn-lt"/>
                <a:ea typeface="Calibri" panose="020F0502020204030204" pitchFamily="34" charset="0"/>
                <a:cs typeface="Times New Roman" panose="02020603050405020304" pitchFamily="18" charset="0"/>
              </a:rPr>
              <a:t>21M</a:t>
            </a:r>
            <a:r>
              <a:rPr lang="en-US" sz="1200" dirty="0">
                <a:latin typeface="+mn-lt"/>
                <a:ea typeface="Calibri" panose="020F0502020204030204" pitchFamily="34" charset="0"/>
                <a:cs typeface="Times New Roman" panose="02020603050405020304" pitchFamily="18" charset="0"/>
              </a:rPr>
              <a:t> indirectly; and support 11 focus countries on a pathway to attain and sustain an agricultural transformation through its three areas of work:</a:t>
            </a:r>
            <a:r>
              <a:rPr lang="en-US" sz="1200" dirty="0">
                <a:latin typeface="+mn-lt"/>
                <a:ea typeface="Times New Roman" panose="02020603050405020304" pitchFamily="18" charset="0"/>
                <a:cs typeface="Times New Roman" panose="02020603050405020304" pitchFamily="18" charset="0"/>
              </a:rPr>
              <a:t> </a:t>
            </a:r>
            <a:r>
              <a:rPr lang="en-US" sz="1200" dirty="0">
                <a:latin typeface="+mn-lt"/>
                <a:ea typeface="Calibri" panose="020F0502020204030204" pitchFamily="34" charset="0"/>
                <a:cs typeface="Times New Roman" panose="02020603050405020304" pitchFamily="18" charset="0"/>
              </a:rPr>
              <a:t>Policy and State Capability, Systems Development and Partnerships</a:t>
            </a:r>
          </a:p>
        </p:txBody>
      </p:sp>
    </p:spTree>
    <p:extLst>
      <p:ext uri="{BB962C8B-B14F-4D97-AF65-F5344CB8AC3E}">
        <p14:creationId xmlns:p14="http://schemas.microsoft.com/office/powerpoint/2010/main" val="129842624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lIns="0" tIns="0" rIns="0" bIns="0" anchor="b"/>
          <a:lstStyle/>
          <a:p>
            <a:pPr defTabSz="914395">
              <a:spcBef>
                <a:spcPct val="0"/>
              </a:spcBef>
              <a:buClrTx/>
              <a:buSzTx/>
              <a:buFontTx/>
            </a:pPr>
            <a:r>
              <a:rPr lang="en-US" dirty="0">
                <a:solidFill>
                  <a:schemeClr val="tx1"/>
                </a:solidFill>
                <a:latin typeface="Arial" panose="020B0604020202020204" pitchFamily="34" charset="0"/>
                <a:cs typeface="Arial" panose="020B0604020202020204" pitchFamily="34" charset="0"/>
              </a:rPr>
              <a:t>Summary of AGRA’s Strategic Approach</a:t>
            </a:r>
          </a:p>
        </p:txBody>
      </p:sp>
      <p:grpSp>
        <p:nvGrpSpPr>
          <p:cNvPr id="17" name="Group 16"/>
          <p:cNvGrpSpPr/>
          <p:nvPr/>
        </p:nvGrpSpPr>
        <p:grpSpPr>
          <a:xfrm>
            <a:off x="450275" y="1066800"/>
            <a:ext cx="9124085" cy="409896"/>
            <a:chOff x="450275" y="1694994"/>
            <a:chExt cx="9124085" cy="409896"/>
          </a:xfrm>
          <a:noFill/>
        </p:grpSpPr>
        <p:sp>
          <p:nvSpPr>
            <p:cNvPr id="18" name="Rectangle 17"/>
            <p:cNvSpPr/>
            <p:nvPr/>
          </p:nvSpPr>
          <p:spPr>
            <a:xfrm>
              <a:off x="450275" y="1694994"/>
              <a:ext cx="3017520" cy="409896"/>
            </a:xfrm>
            <a:prstGeom prst="rect">
              <a:avLst/>
            </a:prstGeom>
            <a:solidFill>
              <a:srgbClr val="92D050"/>
            </a:solidFill>
            <a:ln w="3175">
              <a:solidFill>
                <a:schemeClr val="accent5"/>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200" b="1" dirty="0" smtClean="0">
                  <a:solidFill>
                    <a:schemeClr val="bg1"/>
                  </a:solidFill>
                </a:rPr>
                <a:t>State Capability</a:t>
              </a:r>
              <a:endParaRPr lang="en-US" sz="1200" b="1" dirty="0">
                <a:solidFill>
                  <a:schemeClr val="bg1"/>
                </a:solidFill>
              </a:endParaRPr>
            </a:p>
          </p:txBody>
        </p:sp>
        <p:sp>
          <p:nvSpPr>
            <p:cNvPr id="19" name="Rectangle 18"/>
            <p:cNvSpPr/>
            <p:nvPr/>
          </p:nvSpPr>
          <p:spPr>
            <a:xfrm>
              <a:off x="3503558" y="1694994"/>
              <a:ext cx="3017520" cy="409896"/>
            </a:xfrm>
            <a:prstGeom prst="rect">
              <a:avLst/>
            </a:prstGeom>
            <a:solidFill>
              <a:schemeClr val="accent1">
                <a:lumMod val="75000"/>
              </a:schemeClr>
            </a:solidFill>
            <a:ln w="3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bg1"/>
                  </a:solidFill>
                </a:rPr>
                <a:t>Systems Development</a:t>
              </a:r>
              <a:endParaRPr lang="en-US" sz="1200" b="1" dirty="0">
                <a:solidFill>
                  <a:schemeClr val="bg1"/>
                </a:solidFill>
              </a:endParaRPr>
            </a:p>
          </p:txBody>
        </p:sp>
        <p:sp>
          <p:nvSpPr>
            <p:cNvPr id="20" name="Rectangle 19"/>
            <p:cNvSpPr/>
            <p:nvPr/>
          </p:nvSpPr>
          <p:spPr>
            <a:xfrm>
              <a:off x="6556840" y="1694994"/>
              <a:ext cx="3017520" cy="409896"/>
            </a:xfrm>
            <a:prstGeom prst="rect">
              <a:avLst/>
            </a:prstGeom>
            <a:solidFill>
              <a:srgbClr val="00B0F0"/>
            </a:solidFill>
            <a:ln w="3175">
              <a:solidFill>
                <a:schemeClr val="accent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200" b="1" dirty="0" smtClean="0">
                  <a:solidFill>
                    <a:schemeClr val="bg1"/>
                  </a:solidFill>
                </a:rPr>
                <a:t>Partnerships</a:t>
              </a:r>
              <a:endParaRPr lang="en-US" sz="1200" b="1" dirty="0">
                <a:solidFill>
                  <a:schemeClr val="bg1"/>
                </a:solidFill>
              </a:endParaRPr>
            </a:p>
          </p:txBody>
        </p:sp>
      </p:grpSp>
      <p:sp>
        <p:nvSpPr>
          <p:cNvPr id="13" name="Rectangle 12"/>
          <p:cNvSpPr/>
          <p:nvPr/>
        </p:nvSpPr>
        <p:spPr>
          <a:xfrm>
            <a:off x="3503558" y="1507110"/>
            <a:ext cx="3017520" cy="3506324"/>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200"/>
              </a:lnSpc>
              <a:spcAft>
                <a:spcPts val="300"/>
              </a:spcAft>
            </a:pPr>
            <a:r>
              <a:rPr lang="en-US" sz="1200" b="1" dirty="0">
                <a:solidFill>
                  <a:schemeClr val="tx1"/>
                </a:solidFill>
              </a:rPr>
              <a:t>Objective</a:t>
            </a:r>
          </a:p>
          <a:p>
            <a:pPr>
              <a:lnSpc>
                <a:spcPts val="1200"/>
              </a:lnSpc>
              <a:spcAft>
                <a:spcPts val="300"/>
              </a:spcAft>
            </a:pPr>
            <a:r>
              <a:rPr lang="en-US" sz="1200" kern="1200" dirty="0">
                <a:solidFill>
                  <a:schemeClr val="tx1"/>
                </a:solidFill>
              </a:rPr>
              <a:t>Building downstream delivery systems closer to smallholder farmers while providing support to local private sector to scale technologies and services which deliver better productivity and incomes</a:t>
            </a:r>
            <a:endParaRPr lang="en-US" sz="1200" dirty="0">
              <a:solidFill>
                <a:schemeClr val="tx1"/>
              </a:solidFill>
            </a:endParaRPr>
          </a:p>
          <a:p>
            <a:pPr>
              <a:lnSpc>
                <a:spcPts val="1200"/>
              </a:lnSpc>
              <a:spcAft>
                <a:spcPts val="300"/>
              </a:spcAft>
            </a:pPr>
            <a:r>
              <a:rPr lang="en-US" sz="1200" b="1" dirty="0">
                <a:solidFill>
                  <a:schemeClr val="tx1"/>
                </a:solidFill>
              </a:rPr>
              <a:t>Activity focus areas</a:t>
            </a:r>
          </a:p>
          <a:p>
            <a:pPr marL="285750" indent="-285750">
              <a:lnSpc>
                <a:spcPts val="1200"/>
              </a:lnSpc>
              <a:spcAft>
                <a:spcPts val="300"/>
              </a:spcAft>
              <a:buFont typeface="Arial" panose="020B0604020202020204" pitchFamily="34" charset="0"/>
              <a:buChar char="•"/>
            </a:pPr>
            <a:r>
              <a:rPr lang="en-US" sz="1200" dirty="0">
                <a:solidFill>
                  <a:schemeClr val="tx1"/>
                </a:solidFill>
              </a:rPr>
              <a:t>Seed systems</a:t>
            </a:r>
          </a:p>
          <a:p>
            <a:pPr marL="285750" indent="-285750">
              <a:lnSpc>
                <a:spcPts val="1200"/>
              </a:lnSpc>
              <a:spcAft>
                <a:spcPts val="300"/>
              </a:spcAft>
              <a:buFont typeface="Arial" panose="020B0604020202020204" pitchFamily="34" charset="0"/>
              <a:buChar char="•"/>
            </a:pPr>
            <a:r>
              <a:rPr lang="en-US" sz="1200" dirty="0">
                <a:solidFill>
                  <a:schemeClr val="tx1"/>
                </a:solidFill>
              </a:rPr>
              <a:t>Soil health and Fertilizer systems</a:t>
            </a:r>
          </a:p>
          <a:p>
            <a:pPr marL="285750" indent="-285750">
              <a:lnSpc>
                <a:spcPts val="1200"/>
              </a:lnSpc>
              <a:spcAft>
                <a:spcPts val="300"/>
              </a:spcAft>
              <a:buFont typeface="Arial" panose="020B0604020202020204" pitchFamily="34" charset="0"/>
              <a:buChar char="•"/>
            </a:pPr>
            <a:r>
              <a:rPr lang="en-US" sz="1200" dirty="0">
                <a:solidFill>
                  <a:schemeClr val="tx1"/>
                </a:solidFill>
              </a:rPr>
              <a:t>Input distribution systems</a:t>
            </a:r>
          </a:p>
          <a:p>
            <a:pPr marL="285750" indent="-285750">
              <a:lnSpc>
                <a:spcPts val="1200"/>
              </a:lnSpc>
              <a:spcAft>
                <a:spcPts val="300"/>
              </a:spcAft>
              <a:buFont typeface="Arial" panose="020B0604020202020204" pitchFamily="34" charset="0"/>
              <a:buChar char="•"/>
            </a:pPr>
            <a:r>
              <a:rPr lang="en-US" sz="1200" dirty="0">
                <a:solidFill>
                  <a:schemeClr val="tx1"/>
                </a:solidFill>
              </a:rPr>
              <a:t>Extension systems</a:t>
            </a:r>
          </a:p>
          <a:p>
            <a:pPr marL="285750" indent="-285750">
              <a:lnSpc>
                <a:spcPts val="1200"/>
              </a:lnSpc>
              <a:spcAft>
                <a:spcPts val="300"/>
              </a:spcAft>
              <a:buFont typeface="Arial" panose="020B0604020202020204" pitchFamily="34" charset="0"/>
              <a:buChar char="•"/>
            </a:pPr>
            <a:r>
              <a:rPr lang="en-US" sz="1200" dirty="0">
                <a:solidFill>
                  <a:schemeClr val="tx1"/>
                </a:solidFill>
              </a:rPr>
              <a:t>Market systems</a:t>
            </a:r>
          </a:p>
          <a:p>
            <a:pPr marL="285750" indent="-285750">
              <a:lnSpc>
                <a:spcPts val="1200"/>
              </a:lnSpc>
              <a:spcAft>
                <a:spcPts val="300"/>
              </a:spcAft>
              <a:buFont typeface="Arial" panose="020B0604020202020204" pitchFamily="34" charset="0"/>
              <a:buChar char="•"/>
            </a:pPr>
            <a:r>
              <a:rPr lang="en-US" sz="1200" dirty="0">
                <a:solidFill>
                  <a:schemeClr val="tx1"/>
                </a:solidFill>
              </a:rPr>
              <a:t>Financial services</a:t>
            </a:r>
          </a:p>
          <a:p>
            <a:pPr marL="285750" indent="-285750">
              <a:lnSpc>
                <a:spcPts val="1200"/>
              </a:lnSpc>
              <a:spcAft>
                <a:spcPts val="300"/>
              </a:spcAft>
              <a:buFont typeface="Arial" panose="020B0604020202020204" pitchFamily="34" charset="0"/>
              <a:buChar char="•"/>
            </a:pPr>
            <a:r>
              <a:rPr lang="en-US" sz="1200" dirty="0">
                <a:solidFill>
                  <a:schemeClr val="tx1"/>
                </a:solidFill>
              </a:rPr>
              <a:t>Cross cutting: </a:t>
            </a:r>
            <a:r>
              <a:rPr lang="en-US" sz="1200" dirty="0" smtClean="0">
                <a:solidFill>
                  <a:schemeClr val="tx1"/>
                </a:solidFill>
              </a:rPr>
              <a:t>Gender, resilience  </a:t>
            </a:r>
            <a:r>
              <a:rPr lang="en-US" sz="1200" dirty="0">
                <a:solidFill>
                  <a:schemeClr val="tx1"/>
                </a:solidFill>
              </a:rPr>
              <a:t>and ICT4Ag</a:t>
            </a:r>
          </a:p>
          <a:p>
            <a:pPr>
              <a:lnSpc>
                <a:spcPts val="1200"/>
              </a:lnSpc>
              <a:spcAft>
                <a:spcPts val="300"/>
              </a:spcAft>
            </a:pPr>
            <a:r>
              <a:rPr lang="en-US" sz="1200" b="1" dirty="0">
                <a:solidFill>
                  <a:schemeClr val="tx1"/>
                </a:solidFill>
              </a:rPr>
              <a:t>Investment vehicles</a:t>
            </a:r>
          </a:p>
          <a:p>
            <a:pPr marL="285750" indent="-285750">
              <a:lnSpc>
                <a:spcPts val="1200"/>
              </a:lnSpc>
              <a:spcAft>
                <a:spcPts val="300"/>
              </a:spcAft>
              <a:buFont typeface="Arial" panose="020B0604020202020204" pitchFamily="34" charset="0"/>
              <a:buChar char="•"/>
            </a:pPr>
            <a:r>
              <a:rPr lang="en-US" sz="1200" dirty="0">
                <a:solidFill>
                  <a:schemeClr val="tx1"/>
                </a:solidFill>
              </a:rPr>
              <a:t>Consortia grants, Staff time, Grants (standalone), TA, </a:t>
            </a:r>
            <a:r>
              <a:rPr lang="en-US" sz="1200" dirty="0" smtClean="0">
                <a:solidFill>
                  <a:schemeClr val="tx1"/>
                </a:solidFill>
              </a:rPr>
              <a:t>Consultancies, Convening's </a:t>
            </a:r>
            <a:r>
              <a:rPr lang="en-US" sz="1200" dirty="0">
                <a:solidFill>
                  <a:schemeClr val="tx1"/>
                </a:solidFill>
              </a:rPr>
              <a:t>/ Meetings</a:t>
            </a:r>
          </a:p>
        </p:txBody>
      </p:sp>
      <p:sp>
        <p:nvSpPr>
          <p:cNvPr id="14" name="Rectangle 13"/>
          <p:cNvSpPr/>
          <p:nvPr/>
        </p:nvSpPr>
        <p:spPr>
          <a:xfrm>
            <a:off x="6556840" y="1507110"/>
            <a:ext cx="3017520" cy="3506324"/>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200"/>
              </a:lnSpc>
              <a:spcAft>
                <a:spcPts val="300"/>
              </a:spcAft>
            </a:pPr>
            <a:r>
              <a:rPr lang="en-US" sz="1200" b="1" dirty="0">
                <a:solidFill>
                  <a:schemeClr val="tx1"/>
                </a:solidFill>
              </a:rPr>
              <a:t>Objective</a:t>
            </a:r>
          </a:p>
          <a:p>
            <a:pPr>
              <a:lnSpc>
                <a:spcPts val="1200"/>
              </a:lnSpc>
              <a:spcAft>
                <a:spcPts val="300"/>
              </a:spcAft>
            </a:pPr>
            <a:r>
              <a:rPr lang="en-US" sz="1200" kern="1200" dirty="0">
                <a:solidFill>
                  <a:schemeClr val="tx1"/>
                </a:solidFill>
              </a:rPr>
              <a:t>Facilitating the alignment between government priorities and private sector interests; improving integration and coordination which lead to investments beneficial to smallholder farmers</a:t>
            </a:r>
            <a:endParaRPr lang="en-US" sz="1200" dirty="0">
              <a:solidFill>
                <a:schemeClr val="tx1"/>
              </a:solidFill>
            </a:endParaRPr>
          </a:p>
          <a:p>
            <a:pPr>
              <a:lnSpc>
                <a:spcPts val="1200"/>
              </a:lnSpc>
              <a:spcAft>
                <a:spcPts val="300"/>
              </a:spcAft>
            </a:pPr>
            <a:r>
              <a:rPr lang="en-US" sz="1200" b="1" dirty="0" smtClean="0">
                <a:solidFill>
                  <a:schemeClr val="tx1"/>
                </a:solidFill>
              </a:rPr>
              <a:t>Activity </a:t>
            </a:r>
            <a:r>
              <a:rPr lang="en-US" sz="1200" b="1" dirty="0">
                <a:solidFill>
                  <a:schemeClr val="tx1"/>
                </a:solidFill>
              </a:rPr>
              <a:t>focus areas</a:t>
            </a:r>
          </a:p>
          <a:p>
            <a:pPr marL="285750" indent="-285750">
              <a:lnSpc>
                <a:spcPts val="1200"/>
              </a:lnSpc>
              <a:spcAft>
                <a:spcPts val="300"/>
              </a:spcAft>
              <a:buFont typeface="Arial" panose="020B0604020202020204" pitchFamily="34" charset="0"/>
              <a:buChar char="•"/>
            </a:pPr>
            <a:r>
              <a:rPr lang="en-US" sz="1200" dirty="0">
                <a:solidFill>
                  <a:schemeClr val="tx1"/>
                </a:solidFill>
              </a:rPr>
              <a:t>Mobilizing inclusive investments in Agriculture</a:t>
            </a:r>
          </a:p>
          <a:p>
            <a:pPr marL="285750" indent="-285750">
              <a:lnSpc>
                <a:spcPts val="1200"/>
              </a:lnSpc>
              <a:spcAft>
                <a:spcPts val="300"/>
              </a:spcAft>
              <a:buFont typeface="Arial" panose="020B0604020202020204" pitchFamily="34" charset="0"/>
              <a:buChar char="•"/>
            </a:pPr>
            <a:r>
              <a:rPr lang="en-US" sz="1200" dirty="0">
                <a:solidFill>
                  <a:schemeClr val="tx1"/>
                </a:solidFill>
              </a:rPr>
              <a:t>Creating a private-sector led leadership agenda</a:t>
            </a:r>
          </a:p>
          <a:p>
            <a:pPr marL="285750" indent="-285750">
              <a:lnSpc>
                <a:spcPts val="1200"/>
              </a:lnSpc>
              <a:spcAft>
                <a:spcPts val="300"/>
              </a:spcAft>
              <a:buFont typeface="Arial" panose="020B0604020202020204" pitchFamily="34" charset="0"/>
              <a:buChar char="•"/>
            </a:pPr>
            <a:r>
              <a:rPr lang="en-US" sz="1200" dirty="0">
                <a:solidFill>
                  <a:schemeClr val="tx1"/>
                </a:solidFill>
              </a:rPr>
              <a:t>Build partnerships with leading private sector champions to leverage entire ecosystem and build partnerships around knowledge and intelligence sharing</a:t>
            </a:r>
          </a:p>
          <a:p>
            <a:pPr>
              <a:lnSpc>
                <a:spcPts val="1200"/>
              </a:lnSpc>
              <a:spcAft>
                <a:spcPts val="300"/>
              </a:spcAft>
            </a:pPr>
            <a:r>
              <a:rPr lang="en-US" sz="1200" b="1" dirty="0" smtClean="0">
                <a:solidFill>
                  <a:schemeClr val="tx1"/>
                </a:solidFill>
              </a:rPr>
              <a:t>Investment </a:t>
            </a:r>
            <a:r>
              <a:rPr lang="en-US" sz="1200" b="1" dirty="0">
                <a:solidFill>
                  <a:schemeClr val="tx1"/>
                </a:solidFill>
              </a:rPr>
              <a:t>vehicles</a:t>
            </a:r>
          </a:p>
          <a:p>
            <a:pPr marL="285750" indent="-285750">
              <a:lnSpc>
                <a:spcPts val="1200"/>
              </a:lnSpc>
              <a:spcAft>
                <a:spcPts val="300"/>
              </a:spcAft>
              <a:buFont typeface="Arial" panose="020B0604020202020204" pitchFamily="34" charset="0"/>
              <a:buChar char="•"/>
            </a:pPr>
            <a:r>
              <a:rPr lang="en-US" sz="1200" dirty="0">
                <a:solidFill>
                  <a:schemeClr val="tx1"/>
                </a:solidFill>
              </a:rPr>
              <a:t>Staff time, Grants, TA, </a:t>
            </a:r>
            <a:r>
              <a:rPr lang="en-US" sz="1200" dirty="0" smtClean="0">
                <a:solidFill>
                  <a:schemeClr val="tx1"/>
                </a:solidFill>
              </a:rPr>
              <a:t>Consultancies, Convening's </a:t>
            </a:r>
            <a:r>
              <a:rPr lang="en-US" sz="1200" dirty="0">
                <a:solidFill>
                  <a:schemeClr val="tx1"/>
                </a:solidFill>
              </a:rPr>
              <a:t>/ Meetings, AGRF</a:t>
            </a:r>
          </a:p>
        </p:txBody>
      </p:sp>
      <p:sp>
        <p:nvSpPr>
          <p:cNvPr id="23" name="Rectangle 22"/>
          <p:cNvSpPr/>
          <p:nvPr/>
        </p:nvSpPr>
        <p:spPr>
          <a:xfrm>
            <a:off x="450275" y="1514635"/>
            <a:ext cx="3017520" cy="3498799"/>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200"/>
              </a:lnSpc>
              <a:spcAft>
                <a:spcPts val="300"/>
              </a:spcAft>
            </a:pPr>
            <a:r>
              <a:rPr lang="en-US" sz="1200" b="1" dirty="0">
                <a:solidFill>
                  <a:schemeClr val="tx1"/>
                </a:solidFill>
              </a:rPr>
              <a:t>Objective</a:t>
            </a:r>
          </a:p>
          <a:p>
            <a:pPr>
              <a:lnSpc>
                <a:spcPts val="1200"/>
              </a:lnSpc>
              <a:spcAft>
                <a:spcPts val="300"/>
              </a:spcAft>
            </a:pPr>
            <a:r>
              <a:rPr lang="en-US" sz="1200" kern="1200" dirty="0">
                <a:solidFill>
                  <a:schemeClr val="tx1"/>
                </a:solidFill>
              </a:rPr>
              <a:t>Working with government to strengthen execution capacity while enhancing the transparency, accountability systems and policy environment for increased public and private sector investment in agriculture</a:t>
            </a:r>
            <a:endParaRPr lang="en-US" sz="1200" dirty="0">
              <a:solidFill>
                <a:schemeClr val="tx1"/>
              </a:solidFill>
            </a:endParaRPr>
          </a:p>
          <a:p>
            <a:pPr>
              <a:lnSpc>
                <a:spcPts val="1200"/>
              </a:lnSpc>
              <a:spcAft>
                <a:spcPts val="300"/>
              </a:spcAft>
            </a:pPr>
            <a:r>
              <a:rPr lang="en-US" sz="1200" b="1" dirty="0" smtClean="0">
                <a:solidFill>
                  <a:schemeClr val="tx1"/>
                </a:solidFill>
              </a:rPr>
              <a:t>Activity </a:t>
            </a:r>
            <a:r>
              <a:rPr lang="en-US" sz="1200" b="1" dirty="0">
                <a:solidFill>
                  <a:schemeClr val="tx1"/>
                </a:solidFill>
              </a:rPr>
              <a:t>focus areas</a:t>
            </a:r>
          </a:p>
          <a:p>
            <a:pPr marL="285750" lvl="0" indent="-285750">
              <a:lnSpc>
                <a:spcPts val="1200"/>
              </a:lnSpc>
              <a:spcAft>
                <a:spcPts val="300"/>
              </a:spcAft>
              <a:buFont typeface="Arial" panose="020B0604020202020204" pitchFamily="34" charset="0"/>
              <a:buChar char="•"/>
            </a:pPr>
            <a:r>
              <a:rPr lang="en-US" sz="1200" kern="1200" dirty="0">
                <a:solidFill>
                  <a:schemeClr val="dk1"/>
                </a:solidFill>
              </a:rPr>
              <a:t>Develop and operationalize national agriculture investments plans</a:t>
            </a:r>
          </a:p>
          <a:p>
            <a:pPr marL="285750" lvl="0" indent="-285750">
              <a:lnSpc>
                <a:spcPts val="1200"/>
              </a:lnSpc>
              <a:spcAft>
                <a:spcPts val="300"/>
              </a:spcAft>
              <a:buFont typeface="Arial" panose="020B0604020202020204" pitchFamily="34" charset="0"/>
              <a:buChar char="•"/>
            </a:pPr>
            <a:r>
              <a:rPr lang="en-US" sz="1200" kern="1200" dirty="0">
                <a:solidFill>
                  <a:schemeClr val="dk1"/>
                </a:solidFill>
              </a:rPr>
              <a:t>Micro and macro policy and regulatory reform</a:t>
            </a:r>
          </a:p>
          <a:p>
            <a:pPr marL="285750" lvl="0" indent="-285750">
              <a:lnSpc>
                <a:spcPts val="1200"/>
              </a:lnSpc>
              <a:spcAft>
                <a:spcPts val="300"/>
              </a:spcAft>
              <a:buFont typeface="Arial" panose="020B0604020202020204" pitchFamily="34" charset="0"/>
              <a:buChar char="•"/>
            </a:pPr>
            <a:r>
              <a:rPr lang="en-US" sz="1200" kern="1200" dirty="0">
                <a:solidFill>
                  <a:schemeClr val="dk1"/>
                </a:solidFill>
              </a:rPr>
              <a:t>Implementation of national sector strategies and investment plans</a:t>
            </a:r>
          </a:p>
          <a:p>
            <a:pPr marL="285750" lvl="0" indent="-285750">
              <a:lnSpc>
                <a:spcPts val="1200"/>
              </a:lnSpc>
              <a:spcAft>
                <a:spcPts val="300"/>
              </a:spcAft>
              <a:buFont typeface="Arial" panose="020B0604020202020204" pitchFamily="34" charset="0"/>
              <a:buChar char="•"/>
            </a:pPr>
            <a:r>
              <a:rPr lang="en-US" sz="1200" kern="1200" dirty="0">
                <a:solidFill>
                  <a:schemeClr val="dk1"/>
                </a:solidFill>
              </a:rPr>
              <a:t>Intra and inter-ministerial coordination </a:t>
            </a:r>
          </a:p>
          <a:p>
            <a:pPr marL="285750" lvl="0" indent="-285750">
              <a:lnSpc>
                <a:spcPts val="1200"/>
              </a:lnSpc>
              <a:spcAft>
                <a:spcPts val="300"/>
              </a:spcAft>
              <a:buFont typeface="Arial" panose="020B0604020202020204" pitchFamily="34" charset="0"/>
              <a:buChar char="•"/>
            </a:pPr>
            <a:r>
              <a:rPr lang="en-US" sz="1200" kern="1200" dirty="0">
                <a:solidFill>
                  <a:schemeClr val="dk1"/>
                </a:solidFill>
              </a:rPr>
              <a:t>Mutual accountability mechanisms</a:t>
            </a:r>
          </a:p>
          <a:p>
            <a:pPr>
              <a:lnSpc>
                <a:spcPts val="1200"/>
              </a:lnSpc>
              <a:spcAft>
                <a:spcPts val="300"/>
              </a:spcAft>
            </a:pPr>
            <a:r>
              <a:rPr lang="en-US" sz="1200" b="1" dirty="0" smtClean="0">
                <a:solidFill>
                  <a:schemeClr val="tx1"/>
                </a:solidFill>
              </a:rPr>
              <a:t>Investment </a:t>
            </a:r>
            <a:r>
              <a:rPr lang="en-US" sz="1200" b="1" dirty="0">
                <a:solidFill>
                  <a:schemeClr val="tx1"/>
                </a:solidFill>
              </a:rPr>
              <a:t>vehicles</a:t>
            </a:r>
          </a:p>
          <a:p>
            <a:pPr marL="285750" indent="-285750">
              <a:lnSpc>
                <a:spcPts val="1200"/>
              </a:lnSpc>
              <a:spcAft>
                <a:spcPts val="300"/>
              </a:spcAft>
              <a:buFont typeface="Arial" panose="020B0604020202020204" pitchFamily="34" charset="0"/>
              <a:buChar char="•"/>
            </a:pPr>
            <a:r>
              <a:rPr lang="en-US" sz="1200" dirty="0">
                <a:solidFill>
                  <a:schemeClr val="tx1"/>
                </a:solidFill>
              </a:rPr>
              <a:t>Staff time, Grants, TA, Consultancies, Convening's / Meetings, AGRF</a:t>
            </a:r>
          </a:p>
        </p:txBody>
      </p:sp>
      <p:grpSp>
        <p:nvGrpSpPr>
          <p:cNvPr id="24" name="Group 23"/>
          <p:cNvGrpSpPr/>
          <p:nvPr/>
        </p:nvGrpSpPr>
        <p:grpSpPr>
          <a:xfrm>
            <a:off x="450275" y="5404166"/>
            <a:ext cx="9124085" cy="903891"/>
            <a:chOff x="272792" y="2962177"/>
            <a:chExt cx="9023043" cy="903891"/>
          </a:xfrm>
        </p:grpSpPr>
        <p:sp>
          <p:nvSpPr>
            <p:cNvPr id="25" name="Rectangle 24"/>
            <p:cNvSpPr/>
            <p:nvPr/>
          </p:nvSpPr>
          <p:spPr>
            <a:xfrm>
              <a:off x="272792" y="2962177"/>
              <a:ext cx="9023043" cy="26449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200" dirty="0" smtClean="0">
                  <a:solidFill>
                    <a:schemeClr val="tx1"/>
                  </a:solidFill>
                </a:rPr>
                <a:t>Approach to scale and sustainability</a:t>
              </a:r>
            </a:p>
          </p:txBody>
        </p:sp>
        <p:sp>
          <p:nvSpPr>
            <p:cNvPr id="26" name="Rectangle 25"/>
            <p:cNvSpPr/>
            <p:nvPr/>
          </p:nvSpPr>
          <p:spPr>
            <a:xfrm>
              <a:off x="272792" y="3281873"/>
              <a:ext cx="9023043" cy="26449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200" dirty="0">
                  <a:solidFill>
                    <a:schemeClr val="tx1"/>
                  </a:solidFill>
                </a:rPr>
                <a:t>Partnerships and private sector engagement</a:t>
              </a:r>
            </a:p>
          </p:txBody>
        </p:sp>
        <p:sp>
          <p:nvSpPr>
            <p:cNvPr id="27" name="Rectangle 26"/>
            <p:cNvSpPr/>
            <p:nvPr/>
          </p:nvSpPr>
          <p:spPr>
            <a:xfrm>
              <a:off x="272792" y="3601569"/>
              <a:ext cx="9023043" cy="264499"/>
            </a:xfrm>
            <a:prstGeom prst="rect">
              <a:avLst/>
            </a:prstGeom>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200" dirty="0">
                  <a:solidFill>
                    <a:schemeClr val="tx1"/>
                  </a:solidFill>
                </a:rPr>
                <a:t>Active big plays and technologies, models etc. identification </a:t>
              </a:r>
              <a:r>
                <a:rPr lang="en-US" sz="1200" dirty="0" smtClean="0">
                  <a:solidFill>
                    <a:schemeClr val="tx1"/>
                  </a:solidFill>
                </a:rPr>
                <a:t>for development and scale</a:t>
              </a:r>
              <a:endParaRPr lang="en-US" sz="1200" dirty="0">
                <a:solidFill>
                  <a:schemeClr val="tx1"/>
                </a:solidFill>
              </a:endParaRPr>
            </a:p>
          </p:txBody>
        </p:sp>
      </p:grpSp>
      <p:sp>
        <p:nvSpPr>
          <p:cNvPr id="3" name="Rectangle 2"/>
          <p:cNvSpPr/>
          <p:nvPr/>
        </p:nvSpPr>
        <p:spPr>
          <a:xfrm>
            <a:off x="3628182" y="5033338"/>
            <a:ext cx="2145139" cy="307777"/>
          </a:xfrm>
          <a:prstGeom prst="rect">
            <a:avLst/>
          </a:prstGeom>
        </p:spPr>
        <p:txBody>
          <a:bodyPr wrap="none">
            <a:spAutoFit/>
          </a:bodyPr>
          <a:lstStyle/>
          <a:p>
            <a:pPr algn="ctr"/>
            <a:r>
              <a:rPr lang="en-US" b="1" dirty="0"/>
              <a:t>Overarching Principles</a:t>
            </a:r>
          </a:p>
        </p:txBody>
      </p:sp>
    </p:spTree>
    <p:extLst>
      <p:ext uri="{BB962C8B-B14F-4D97-AF65-F5344CB8AC3E}">
        <p14:creationId xmlns:p14="http://schemas.microsoft.com/office/powerpoint/2010/main" val="375254632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2756319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268" name="think-cell Slide" r:id="rId5" imgW="327" imgH="327" progId="TCLayout.ActiveDocument.1">
                  <p:embed/>
                </p:oleObj>
              </mc:Choice>
              <mc:Fallback>
                <p:oleObj name="think-cell Slide" r:id="rId5" imgW="327" imgH="32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4400" dirty="0">
              <a:latin typeface="Arial" panose="020B0604020202020204" pitchFamily="34" charset="0"/>
              <a:cs typeface="Arial" panose="020B0604020202020204" pitchFamily="34" charset="0"/>
              <a:sym typeface="Arial" panose="020B0604020202020204" pitchFamily="34" charset="0"/>
            </a:endParaRPr>
          </a:p>
        </p:txBody>
      </p:sp>
      <p:sp>
        <p:nvSpPr>
          <p:cNvPr id="4" name="Title 3"/>
          <p:cNvSpPr>
            <a:spLocks noGrp="1"/>
          </p:cNvSpPr>
          <p:nvPr>
            <p:ph type="title"/>
          </p:nvPr>
        </p:nvSpPr>
        <p:spPr/>
        <p:txBody>
          <a:bodyPr/>
          <a:lstStyle/>
          <a:p>
            <a:r>
              <a:rPr lang="en-US" dirty="0" smtClean="0"/>
              <a:t>Ethiopia Agricultural Context</a:t>
            </a:r>
            <a:endParaRPr lang="en-US" dirty="0"/>
          </a:p>
        </p:txBody>
      </p:sp>
    </p:spTree>
    <p:extLst>
      <p:ext uri="{BB962C8B-B14F-4D97-AF65-F5344CB8AC3E}">
        <p14:creationId xmlns:p14="http://schemas.microsoft.com/office/powerpoint/2010/main" val="86042162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250"/>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138592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904" name="think-cell Slide" r:id="rId5" imgW="395" imgH="396" progId="TCLayout.ActiveDocument.1">
                  <p:embed/>
                </p:oleObj>
              </mc:Choice>
              <mc:Fallback>
                <p:oleObj name="think-cell Slide" r:id="rId5" imgW="395" imgH="396"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51" name="Google Shape;251;p38"/>
          <p:cNvPicPr preferRelativeResize="0"/>
          <p:nvPr/>
        </p:nvPicPr>
        <p:blipFill rotWithShape="1">
          <a:blip r:embed="rId7">
            <a:alphaModFix/>
          </a:blip>
          <a:srcRect/>
          <a:stretch/>
        </p:blipFill>
        <p:spPr>
          <a:xfrm>
            <a:off x="1588" y="1588"/>
            <a:ext cx="1588" cy="1588"/>
          </a:xfrm>
          <a:prstGeom prst="rect">
            <a:avLst/>
          </a:prstGeom>
          <a:noFill/>
          <a:ln>
            <a:noFill/>
          </a:ln>
        </p:spPr>
      </p:pic>
      <p:sp>
        <p:nvSpPr>
          <p:cNvPr id="252" name="Google Shape;252;p38"/>
          <p:cNvSpPr txBox="1">
            <a:spLocks noGrp="1"/>
          </p:cNvSpPr>
          <p:nvPr>
            <p:ph type="title"/>
          </p:nvPr>
        </p:nvSpPr>
        <p:spPr>
          <a:xfrm>
            <a:off x="450741" y="134054"/>
            <a:ext cx="7245459" cy="582389"/>
          </a:xfrm>
          <a:prstGeom prst="rect">
            <a:avLst/>
          </a:prstGeom>
        </p:spPr>
        <p:txBody>
          <a:bodyPr lIns="0" tIns="0" rIns="0" bIns="0" anchor="b"/>
          <a:lstStyle/>
          <a:p>
            <a:pPr defTabSz="914395">
              <a:spcBef>
                <a:spcPct val="0"/>
              </a:spcBef>
              <a:buClrTx/>
              <a:buSzTx/>
              <a:buFontTx/>
            </a:pPr>
            <a:r>
              <a:rPr lang="en-US" dirty="0" smtClean="0">
                <a:solidFill>
                  <a:schemeClr val="tx1"/>
                </a:solidFill>
                <a:latin typeface="Arial" panose="020B0604020202020204" pitchFamily="34" charset="0"/>
                <a:cs typeface="Arial" panose="020B0604020202020204" pitchFamily="34" charset="0"/>
              </a:rPr>
              <a:t>Ethiopia’s </a:t>
            </a:r>
            <a:r>
              <a:rPr lang="en-US" dirty="0">
                <a:solidFill>
                  <a:schemeClr val="tx1"/>
                </a:solidFill>
                <a:latin typeface="Arial" panose="020B0604020202020204" pitchFamily="34" charset="0"/>
                <a:cs typeface="Arial" panose="020B0604020202020204" pitchFamily="34" charset="0"/>
              </a:rPr>
              <a:t>Agricultural Agenda is Shaped by a Few Macroeconomic Trends and Contextual Factors (1/4)</a:t>
            </a:r>
            <a:endParaRPr dirty="0">
              <a:solidFill>
                <a:schemeClr val="tx1"/>
              </a:solidFill>
              <a:latin typeface="Arial" panose="020B0604020202020204" pitchFamily="34" charset="0"/>
              <a:cs typeface="Arial" panose="020B0604020202020204" pitchFamily="34" charset="0"/>
            </a:endParaRPr>
          </a:p>
        </p:txBody>
      </p:sp>
      <p:grpSp>
        <p:nvGrpSpPr>
          <p:cNvPr id="16" name="Group 15"/>
          <p:cNvGrpSpPr/>
          <p:nvPr/>
        </p:nvGrpSpPr>
        <p:grpSpPr>
          <a:xfrm>
            <a:off x="450740" y="992479"/>
            <a:ext cx="4615287" cy="5358361"/>
            <a:chOff x="756004" y="1113274"/>
            <a:chExt cx="3003263" cy="1297010"/>
          </a:xfrm>
        </p:grpSpPr>
        <p:sp>
          <p:nvSpPr>
            <p:cNvPr id="17" name="Google Shape;253;p38"/>
            <p:cNvSpPr/>
            <p:nvPr/>
          </p:nvSpPr>
          <p:spPr>
            <a:xfrm>
              <a:off x="756004" y="1113274"/>
              <a:ext cx="3003263" cy="57423"/>
            </a:xfrm>
            <a:prstGeom prst="rect">
              <a:avLst/>
            </a:prstGeom>
            <a:solidFill>
              <a:srgbClr val="00B050"/>
            </a:solidFill>
            <a:ln w="12700" cap="flat" cmpd="sng">
              <a:solidFill>
                <a:srgbClr val="7F7F7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r>
                <a:rPr lang="en-US" sz="1100" b="1" dirty="0">
                  <a:solidFill>
                    <a:schemeClr val="bg1"/>
                  </a:solidFill>
                  <a:sym typeface="Arial"/>
                </a:rPr>
                <a:t>1. Agriculture and the Economy</a:t>
              </a:r>
              <a:endParaRPr sz="1100" dirty="0">
                <a:solidFill>
                  <a:schemeClr val="bg1"/>
                </a:solidFill>
              </a:endParaRPr>
            </a:p>
          </p:txBody>
        </p:sp>
        <p:sp>
          <p:nvSpPr>
            <p:cNvPr id="18" name="Google Shape;255;p38"/>
            <p:cNvSpPr/>
            <p:nvPr/>
          </p:nvSpPr>
          <p:spPr>
            <a:xfrm>
              <a:off x="756004" y="1170697"/>
              <a:ext cx="3003263" cy="1239587"/>
            </a:xfrm>
            <a:prstGeom prst="rect">
              <a:avLst/>
            </a:prstGeom>
            <a:noFill/>
            <a:ln w="12700" cap="flat" cmpd="sng">
              <a:solidFill>
                <a:srgbClr val="7F7F7F"/>
              </a:solidFill>
              <a:prstDash val="solid"/>
              <a:miter lim="800000"/>
              <a:headEnd type="none" w="sm" len="sm"/>
              <a:tailEnd type="none" w="sm" len="sm"/>
            </a:ln>
          </p:spPr>
          <p:txBody>
            <a:bodyPr spcFirstLastPara="1" wrap="square" lIns="91425" tIns="45700" rIns="91425" bIns="45700" anchor="t" anchorCtr="0">
              <a:noAutofit/>
            </a:bodyPr>
            <a:lstStyle/>
            <a:p>
              <a:pPr marL="171450" lvl="0" indent="-171450">
                <a:buFont typeface="Arial" panose="020B0604020202020204" pitchFamily="34" charset="0"/>
                <a:buChar char="•"/>
              </a:pPr>
              <a:r>
                <a:rPr lang="en-US" sz="1100" dirty="0">
                  <a:solidFill>
                    <a:schemeClr val="tx1"/>
                  </a:solidFill>
                  <a:latin typeface="Arial" panose="020B0604020202020204" pitchFamily="34" charset="0"/>
                  <a:cs typeface="Arial" panose="020B0604020202020204" pitchFamily="34" charset="0"/>
                </a:rPr>
                <a:t>The economy is largely driven by Agriculture and agricultural exports. Coffee is Ethiopia highest forex earner. Other agricultural exported produce include oil seeds, dried pulses, hide and skin. Projections by the Ethiopian Government and the World Bank indicate continued and impressive growth rates over the period of FAO </a:t>
              </a:r>
              <a:r>
                <a:rPr lang="en-US" sz="1100" dirty="0" err="1">
                  <a:solidFill>
                    <a:schemeClr val="tx1"/>
                  </a:solidFill>
                  <a:latin typeface="Arial" panose="020B0604020202020204" pitchFamily="34" charset="0"/>
                  <a:cs typeface="Arial" panose="020B0604020202020204" pitchFamily="34" charset="0"/>
                </a:rPr>
                <a:t>CPF</a:t>
              </a:r>
              <a:r>
                <a:rPr lang="en-US" sz="1100" dirty="0">
                  <a:solidFill>
                    <a:schemeClr val="tx1"/>
                  </a:solidFill>
                  <a:latin typeface="Arial" panose="020B0604020202020204" pitchFamily="34" charset="0"/>
                  <a:cs typeface="Arial" panose="020B0604020202020204" pitchFamily="34" charset="0"/>
                </a:rPr>
                <a:t> (2016 – 2020)</a:t>
              </a:r>
              <a:r>
                <a:rPr lang="en-US" sz="1100" baseline="30000" dirty="0">
                  <a:solidFill>
                    <a:schemeClr val="tx1"/>
                  </a:solidFill>
                  <a:latin typeface="Arial" panose="020B0604020202020204" pitchFamily="34" charset="0"/>
                  <a:cs typeface="Arial" panose="020B0604020202020204" pitchFamily="34" charset="0"/>
                </a:rPr>
                <a:t>1. </a:t>
              </a:r>
              <a:r>
                <a:rPr lang="en-US" sz="1100" dirty="0">
                  <a:solidFill>
                    <a:schemeClr val="tx1"/>
                  </a:solidFill>
                  <a:latin typeface="Arial" panose="020B0604020202020204" pitchFamily="34" charset="0"/>
                  <a:cs typeface="Arial" panose="020B0604020202020204" pitchFamily="34" charset="0"/>
                </a:rPr>
                <a:t>The agriculture sector is a big part of the lives of majority of Ethiopians. About 12 million smallholder farmers produce about 95% of all agricultural production. </a:t>
              </a:r>
              <a:r>
                <a:rPr lang="en-ZA" sz="1100" dirty="0">
                  <a:solidFill>
                    <a:schemeClr val="tx1"/>
                  </a:solidFill>
                  <a:latin typeface="Arial" panose="020B0604020202020204" pitchFamily="34" charset="0"/>
                  <a:cs typeface="Arial" panose="020B0604020202020204" pitchFamily="34" charset="0"/>
                </a:rPr>
                <a:t>Agriculture is the second largest sector in the economy with a GDP contribution of 34% after services whose contribution is 37%. 68% of the employed population are in agriculture, of which 59% are women. With a population of 104 million, </a:t>
              </a:r>
              <a:r>
                <a:rPr lang="en-US" sz="1100" dirty="0">
                  <a:solidFill>
                    <a:schemeClr val="tx1"/>
                  </a:solidFill>
                  <a:latin typeface="Arial" panose="020B0604020202020204" pitchFamily="34" charset="0"/>
                  <a:cs typeface="Arial" panose="020B0604020202020204" pitchFamily="34" charset="0"/>
                </a:rPr>
                <a:t>Ethiopia is a major success in agricultural growth with many years of exceeding the CAADP target of a 6</a:t>
              </a:r>
              <a:r>
                <a:rPr lang="en-US" sz="1100" dirty="0" smtClean="0">
                  <a:solidFill>
                    <a:schemeClr val="tx1"/>
                  </a:solidFill>
                  <a:latin typeface="Arial" panose="020B0604020202020204" pitchFamily="34" charset="0"/>
                  <a:cs typeface="Arial" panose="020B0604020202020204" pitchFamily="34" charset="0"/>
                </a:rPr>
                <a:t>%; </a:t>
              </a:r>
              <a:r>
                <a:rPr lang="en-US" sz="1100" dirty="0">
                  <a:solidFill>
                    <a:schemeClr val="tx1"/>
                  </a:solidFill>
                  <a:latin typeface="Arial" panose="020B0604020202020204" pitchFamily="34" charset="0"/>
                  <a:cs typeface="Arial" panose="020B0604020202020204" pitchFamily="34" charset="0"/>
                </a:rPr>
                <a:t>consequently, </a:t>
              </a:r>
              <a:r>
                <a:rPr lang="en-ZA" sz="1100" dirty="0">
                  <a:solidFill>
                    <a:schemeClr val="tx1"/>
                  </a:solidFill>
                  <a:latin typeface="Arial" panose="020B0604020202020204" pitchFamily="34" charset="0"/>
                  <a:cs typeface="Arial" panose="020B0604020202020204" pitchFamily="34" charset="0"/>
                </a:rPr>
                <a:t>the poverty levels in </a:t>
              </a:r>
              <a:r>
                <a:rPr lang="en-ZA" sz="1100" dirty="0" smtClean="0">
                  <a:solidFill>
                    <a:schemeClr val="tx1"/>
                  </a:solidFill>
                  <a:latin typeface="Arial" panose="020B0604020202020204" pitchFamily="34" charset="0"/>
                  <a:cs typeface="Arial" panose="020B0604020202020204" pitchFamily="34" charset="0"/>
                </a:rPr>
                <a:t>Ethiopia </a:t>
              </a:r>
              <a:r>
                <a:rPr lang="en-ZA" sz="1100" dirty="0">
                  <a:solidFill>
                    <a:schemeClr val="tx1"/>
                  </a:solidFill>
                  <a:latin typeface="Arial" panose="020B0604020202020204" pitchFamily="34" charset="0"/>
                  <a:cs typeface="Arial" panose="020B0604020202020204" pitchFamily="34" charset="0"/>
                </a:rPr>
                <a:t>have been declining from 33.6% in 2010 to 26.7% as of </a:t>
              </a:r>
              <a:r>
                <a:rPr lang="en-ZA" sz="1100" dirty="0" smtClean="0">
                  <a:solidFill>
                    <a:schemeClr val="tx1"/>
                  </a:solidFill>
                  <a:latin typeface="Arial" panose="020B0604020202020204" pitchFamily="34" charset="0"/>
                  <a:cs typeface="Arial" panose="020B0604020202020204" pitchFamily="34" charset="0"/>
                </a:rPr>
                <a:t>2015</a:t>
              </a:r>
              <a:r>
                <a:rPr lang="en-ZA" sz="1100" baseline="30000" dirty="0" smtClean="0">
                  <a:solidFill>
                    <a:schemeClr val="tx1"/>
                  </a:solidFill>
                  <a:latin typeface="Arial" panose="020B0604020202020204" pitchFamily="34" charset="0"/>
                  <a:cs typeface="Arial" panose="020B0604020202020204" pitchFamily="34" charset="0"/>
                </a:rPr>
                <a:t> 1.       </a:t>
              </a:r>
              <a:endParaRPr lang="en-US" sz="1100" baseline="30000" dirty="0">
                <a:solidFill>
                  <a:schemeClr val="tx1"/>
                </a:solidFill>
                <a:latin typeface="Arial" panose="020B0604020202020204" pitchFamily="34" charset="0"/>
                <a:cs typeface="Arial" panose="020B0604020202020204" pitchFamily="34" charset="0"/>
              </a:endParaRPr>
            </a:p>
            <a:p>
              <a:pPr marL="171450" lvl="0" indent="-171450">
                <a:buFont typeface="Arial" panose="020B0604020202020204" pitchFamily="34" charset="0"/>
                <a:buChar char="•"/>
              </a:pPr>
              <a:r>
                <a:rPr lang="en-ZA" sz="1100" dirty="0">
                  <a:solidFill>
                    <a:schemeClr val="tx1"/>
                  </a:solidFill>
                  <a:latin typeface="Arial" panose="020B0604020202020204" pitchFamily="34" charset="0"/>
                  <a:cs typeface="Arial" panose="020B0604020202020204" pitchFamily="34" charset="0"/>
                </a:rPr>
                <a:t>The Ethiopian GDP has grown on average 10% per </a:t>
              </a:r>
              <a:r>
                <a:rPr lang="en-ZA" sz="1100" dirty="0" err="1" smtClean="0">
                  <a:solidFill>
                    <a:schemeClr val="tx1"/>
                  </a:solidFill>
                  <a:latin typeface="Arial" panose="020B0604020202020204" pitchFamily="34" charset="0"/>
                  <a:cs typeface="Arial" panose="020B0604020202020204" pitchFamily="34" charset="0"/>
                </a:rPr>
                <a:t>annun</a:t>
              </a:r>
              <a:r>
                <a:rPr lang="en-ZA" sz="1100" dirty="0" smtClean="0">
                  <a:solidFill>
                    <a:schemeClr val="tx1"/>
                  </a:solidFill>
                  <a:latin typeface="Arial" panose="020B0604020202020204" pitchFamily="34" charset="0"/>
                  <a:cs typeface="Arial" panose="020B0604020202020204" pitchFamily="34" charset="0"/>
                </a:rPr>
                <a:t> over </a:t>
              </a:r>
              <a:r>
                <a:rPr lang="en-ZA" sz="1100" dirty="0">
                  <a:solidFill>
                    <a:schemeClr val="tx1"/>
                  </a:solidFill>
                  <a:latin typeface="Arial" panose="020B0604020202020204" pitchFamily="34" charset="0"/>
                  <a:cs typeface="Arial" panose="020B0604020202020204" pitchFamily="34" charset="0"/>
                </a:rPr>
                <a:t>the last 8 years showing a positive trend for agriculture given its contribution of a third of the </a:t>
              </a:r>
              <a:r>
                <a:rPr lang="en-ZA" sz="1100" dirty="0" err="1" smtClean="0">
                  <a:solidFill>
                    <a:schemeClr val="tx1"/>
                  </a:solidFill>
                  <a:latin typeface="Arial" panose="020B0604020202020204" pitchFamily="34" charset="0"/>
                  <a:cs typeface="Arial" panose="020B0604020202020204" pitchFamily="34" charset="0"/>
                </a:rPr>
                <a:t>GDP</a:t>
              </a:r>
              <a:r>
                <a:rPr lang="en-ZA" sz="1100" baseline="30000" dirty="0" err="1" smtClean="0">
                  <a:solidFill>
                    <a:schemeClr val="tx1"/>
                  </a:solidFill>
                  <a:latin typeface="Arial" panose="020B0604020202020204" pitchFamily="34" charset="0"/>
                  <a:cs typeface="Arial" panose="020B0604020202020204" pitchFamily="34" charset="0"/>
                </a:rPr>
                <a:t>3</a:t>
              </a:r>
              <a:r>
                <a:rPr lang="en-ZA" sz="1100" dirty="0" smtClean="0">
                  <a:solidFill>
                    <a:schemeClr val="tx1"/>
                  </a:solidFill>
                  <a:latin typeface="Arial" panose="020B0604020202020204" pitchFamily="34" charset="0"/>
                  <a:cs typeface="Arial" panose="020B0604020202020204" pitchFamily="34" charset="0"/>
                </a:rPr>
                <a:t>.</a:t>
              </a:r>
              <a:endParaRPr lang="en-US" sz="1100" dirty="0">
                <a:solidFill>
                  <a:schemeClr val="tx1"/>
                </a:solidFill>
                <a:latin typeface="Arial" panose="020B0604020202020204" pitchFamily="34" charset="0"/>
                <a:cs typeface="Arial" panose="020B0604020202020204" pitchFamily="34" charset="0"/>
              </a:endParaRPr>
            </a:p>
            <a:p>
              <a:pPr marL="171450" lvl="0" indent="-171450">
                <a:buFont typeface="Arial" panose="020B0604020202020204" pitchFamily="34" charset="0"/>
                <a:buChar char="•"/>
              </a:pPr>
              <a:r>
                <a:rPr lang="en-ZA" sz="1100" dirty="0">
                  <a:solidFill>
                    <a:schemeClr val="tx1"/>
                  </a:solidFill>
                  <a:latin typeface="Arial" panose="020B0604020202020204" pitchFamily="34" charset="0"/>
                  <a:cs typeface="Arial" panose="020B0604020202020204" pitchFamily="34" charset="0"/>
                </a:rPr>
                <a:t>Crop yield has </a:t>
              </a:r>
              <a:r>
                <a:rPr lang="en-ZA" sz="1100" dirty="0" smtClean="0">
                  <a:solidFill>
                    <a:schemeClr val="tx1"/>
                  </a:solidFill>
                  <a:latin typeface="Arial" panose="020B0604020202020204" pitchFamily="34" charset="0"/>
                  <a:cs typeface="Arial" panose="020B0604020202020204" pitchFamily="34" charset="0"/>
                </a:rPr>
                <a:t>notably </a:t>
              </a:r>
              <a:r>
                <a:rPr lang="en-ZA" sz="1100" dirty="0">
                  <a:solidFill>
                    <a:schemeClr val="tx1"/>
                  </a:solidFill>
                  <a:latin typeface="Arial" panose="020B0604020202020204" pitchFamily="34" charset="0"/>
                  <a:cs typeface="Arial" panose="020B0604020202020204" pitchFamily="34" charset="0"/>
                </a:rPr>
                <a:t>grown in the past 5 years, especially for cereals </a:t>
              </a:r>
              <a:r>
                <a:rPr lang="en-ZA" sz="1100" dirty="0" smtClean="0">
                  <a:solidFill>
                    <a:schemeClr val="tx1"/>
                  </a:solidFill>
                  <a:latin typeface="Arial" panose="020B0604020202020204" pitchFamily="34" charset="0"/>
                  <a:cs typeface="Arial" panose="020B0604020202020204" pitchFamily="34" charset="0"/>
                </a:rPr>
                <a:t>from 1.1 MT /ha </a:t>
              </a:r>
              <a:r>
                <a:rPr lang="en-ZA" sz="1100" dirty="0">
                  <a:solidFill>
                    <a:schemeClr val="tx1"/>
                  </a:solidFill>
                  <a:latin typeface="Arial" panose="020B0604020202020204" pitchFamily="34" charset="0"/>
                  <a:cs typeface="Arial" panose="020B0604020202020204" pitchFamily="34" charset="0"/>
                </a:rPr>
                <a:t>in 2008 to </a:t>
              </a:r>
              <a:r>
                <a:rPr lang="en-ZA" sz="1100" dirty="0" smtClean="0">
                  <a:solidFill>
                    <a:schemeClr val="tx1"/>
                  </a:solidFill>
                  <a:latin typeface="Arial" panose="020B0604020202020204" pitchFamily="34" charset="0"/>
                  <a:cs typeface="Arial" panose="020B0604020202020204" pitchFamily="34" charset="0"/>
                </a:rPr>
                <a:t>2.1 MT/ha </a:t>
              </a:r>
              <a:r>
                <a:rPr lang="en-ZA" sz="1100" dirty="0">
                  <a:solidFill>
                    <a:schemeClr val="tx1"/>
                  </a:solidFill>
                  <a:latin typeface="Arial" panose="020B0604020202020204" pitchFamily="34" charset="0"/>
                  <a:cs typeface="Arial" panose="020B0604020202020204" pitchFamily="34" charset="0"/>
                </a:rPr>
                <a:t>in </a:t>
              </a:r>
              <a:r>
                <a:rPr lang="en-ZA" sz="1100" dirty="0" smtClean="0">
                  <a:solidFill>
                    <a:schemeClr val="tx1"/>
                  </a:solidFill>
                  <a:latin typeface="Arial" panose="020B0604020202020204" pitchFamily="34" charset="0"/>
                  <a:cs typeface="Arial" panose="020B0604020202020204" pitchFamily="34" charset="0"/>
                </a:rPr>
                <a:t>2016</a:t>
              </a:r>
              <a:r>
                <a:rPr lang="en-ZA" sz="1100" baseline="30000" dirty="0" smtClean="0">
                  <a:solidFill>
                    <a:schemeClr val="tx1"/>
                  </a:solidFill>
                  <a:latin typeface="Arial" panose="020B0604020202020204" pitchFamily="34" charset="0"/>
                  <a:cs typeface="Arial" panose="020B0604020202020204" pitchFamily="34" charset="0"/>
                </a:rPr>
                <a:t>2. </a:t>
              </a:r>
              <a:endParaRPr lang="en-US" sz="1100" baseline="30000" dirty="0">
                <a:solidFill>
                  <a:schemeClr val="tx1"/>
                </a:solidFill>
                <a:latin typeface="Arial" panose="020B0604020202020204" pitchFamily="34" charset="0"/>
                <a:cs typeface="Arial" panose="020B0604020202020204" pitchFamily="34" charset="0"/>
              </a:endParaRPr>
            </a:p>
            <a:p>
              <a:pPr marL="171450" lvl="0" indent="-171450">
                <a:buFont typeface="Arial" panose="020B0604020202020204" pitchFamily="34" charset="0"/>
                <a:buChar char="•"/>
              </a:pPr>
              <a:r>
                <a:rPr lang="en-ZA" sz="1100" dirty="0">
                  <a:solidFill>
                    <a:schemeClr val="tx1"/>
                  </a:solidFill>
                  <a:latin typeface="Arial" panose="020B0604020202020204" pitchFamily="34" charset="0"/>
                  <a:cs typeface="Arial" panose="020B0604020202020204" pitchFamily="34" charset="0"/>
                </a:rPr>
                <a:t>The country population has been on an upward trend and is projected to keep </a:t>
              </a:r>
              <a:r>
                <a:rPr lang="en-ZA" sz="1100" dirty="0" smtClean="0">
                  <a:solidFill>
                    <a:schemeClr val="tx1"/>
                  </a:solidFill>
                  <a:latin typeface="Arial" panose="020B0604020202020204" pitchFamily="34" charset="0"/>
                  <a:cs typeface="Arial" panose="020B0604020202020204" pitchFamily="34" charset="0"/>
                </a:rPr>
                <a:t>growing</a:t>
              </a:r>
              <a:r>
                <a:rPr lang="en-ZA" sz="1100" baseline="30000" dirty="0" smtClean="0">
                  <a:solidFill>
                    <a:schemeClr val="tx1"/>
                  </a:solidFill>
                  <a:latin typeface="Arial" panose="020B0604020202020204" pitchFamily="34" charset="0"/>
                  <a:cs typeface="Arial" panose="020B0604020202020204" pitchFamily="34" charset="0"/>
                </a:rPr>
                <a:t>3</a:t>
              </a:r>
              <a:r>
                <a:rPr lang="en-ZA" sz="1100" dirty="0" smtClean="0">
                  <a:solidFill>
                    <a:schemeClr val="tx1"/>
                  </a:solidFill>
                  <a:latin typeface="Arial" panose="020B0604020202020204" pitchFamily="34" charset="0"/>
                  <a:cs typeface="Arial" panose="020B0604020202020204" pitchFamily="34" charset="0"/>
                </a:rPr>
                <a:t>; </a:t>
              </a:r>
              <a:r>
                <a:rPr lang="en-ZA" sz="1100" dirty="0">
                  <a:solidFill>
                    <a:schemeClr val="tx1"/>
                  </a:solidFill>
                  <a:latin typeface="Arial" panose="020B0604020202020204" pitchFamily="34" charset="0"/>
                  <a:cs typeface="Arial" panose="020B0604020202020204" pitchFamily="34" charset="0"/>
                </a:rPr>
                <a:t>as this happens there will be more pressure on agricultural land and demand for agricultural produce for food</a:t>
              </a:r>
              <a:r>
                <a:rPr lang="en-ZA" sz="1100" dirty="0" smtClean="0">
                  <a:solidFill>
                    <a:schemeClr val="tx1"/>
                  </a:solidFill>
                  <a:latin typeface="Arial" panose="020B0604020202020204" pitchFamily="34" charset="0"/>
                  <a:cs typeface="Arial" panose="020B0604020202020204" pitchFamily="34" charset="0"/>
                </a:rPr>
                <a:t>.</a:t>
              </a:r>
            </a:p>
            <a:p>
              <a:pPr marL="171450" lvl="0" indent="-171450">
                <a:buFont typeface="Arial" panose="020B0604020202020204" pitchFamily="34" charset="0"/>
                <a:buChar char="•"/>
              </a:pPr>
              <a:r>
                <a:rPr lang="en-ZA" sz="1100" dirty="0" smtClean="0">
                  <a:solidFill>
                    <a:schemeClr val="tx1"/>
                  </a:solidFill>
                  <a:latin typeface="Arial" panose="020B0604020202020204" pitchFamily="34" charset="0"/>
                  <a:cs typeface="Arial" panose="020B0604020202020204" pitchFamily="34" charset="0"/>
                </a:rPr>
                <a:t>Ethiopia is facing a huge Balance of Payment problem and foreign current crunch as its exports have stagnated against increasing imports</a:t>
              </a:r>
            </a:p>
            <a:p>
              <a:pPr marL="171450" lvl="0" indent="-171450">
                <a:buFont typeface="Arial" panose="020B0604020202020204" pitchFamily="34" charset="0"/>
                <a:buChar char="•"/>
              </a:pPr>
              <a:r>
                <a:rPr lang="en-ZA" sz="1100" dirty="0" smtClean="0">
                  <a:solidFill>
                    <a:schemeClr val="tx1"/>
                  </a:solidFill>
                  <a:latin typeface="Arial" panose="020B0604020202020204" pitchFamily="34" charset="0"/>
                  <a:cs typeface="Arial" panose="020B0604020202020204" pitchFamily="34" charset="0"/>
                </a:rPr>
                <a:t>In </a:t>
              </a:r>
              <a:r>
                <a:rPr lang="en-ZA" sz="1100" dirty="0">
                  <a:solidFill>
                    <a:schemeClr val="tx1"/>
                  </a:solidFill>
                  <a:latin typeface="Arial" panose="020B0604020202020204" pitchFamily="34" charset="0"/>
                  <a:cs typeface="Arial" panose="020B0604020202020204" pitchFamily="34" charset="0"/>
                </a:rPr>
                <a:t>line with prioritizing agriculture in GTPII, the Ethiopian government has committed to allocating 15-17% of the budget to the sector, exceeding the 10% CAADP commitment  </a:t>
              </a:r>
            </a:p>
            <a:p>
              <a:pPr marL="171450" indent="-171450">
                <a:lnSpc>
                  <a:spcPts val="1400"/>
                </a:lnSpc>
                <a:spcBef>
                  <a:spcPts val="600"/>
                </a:spcBef>
                <a:buClr>
                  <a:schemeClr val="dk1"/>
                </a:buClr>
                <a:buSzPts val="1050"/>
                <a:buFont typeface="Arial" panose="020B0604020202020204" pitchFamily="34" charset="0"/>
                <a:buChar char="•"/>
              </a:pPr>
              <a:endParaRPr lang="en-ZA" sz="1100" dirty="0">
                <a:solidFill>
                  <a:schemeClr val="tx1"/>
                </a:solidFill>
              </a:endParaRPr>
            </a:p>
            <a:p>
              <a:pPr marL="171450" indent="-171450">
                <a:lnSpc>
                  <a:spcPts val="1400"/>
                </a:lnSpc>
                <a:spcBef>
                  <a:spcPts val="600"/>
                </a:spcBef>
                <a:buClr>
                  <a:schemeClr val="dk1"/>
                </a:buClr>
                <a:buSzPts val="1050"/>
                <a:buFont typeface="Arial" panose="020B0604020202020204" pitchFamily="34" charset="0"/>
                <a:buChar char="•"/>
              </a:pPr>
              <a:endParaRPr lang="en-ZA" sz="1100" dirty="0">
                <a:solidFill>
                  <a:schemeClr val="tx1"/>
                </a:solidFill>
              </a:endParaRPr>
            </a:p>
            <a:p>
              <a:pPr>
                <a:lnSpc>
                  <a:spcPts val="1400"/>
                </a:lnSpc>
                <a:spcBef>
                  <a:spcPts val="600"/>
                </a:spcBef>
                <a:buClr>
                  <a:schemeClr val="dk1"/>
                </a:buClr>
                <a:buSzPts val="1050"/>
              </a:pPr>
              <a:endParaRPr lang="en-ZA" sz="1100" dirty="0">
                <a:solidFill>
                  <a:schemeClr val="tx1"/>
                </a:solidFill>
              </a:endParaRPr>
            </a:p>
            <a:p>
              <a:pPr>
                <a:lnSpc>
                  <a:spcPts val="1400"/>
                </a:lnSpc>
                <a:spcBef>
                  <a:spcPts val="600"/>
                </a:spcBef>
                <a:buClr>
                  <a:schemeClr val="dk1"/>
                </a:buClr>
                <a:buSzPts val="1050"/>
              </a:pPr>
              <a:endParaRPr lang="en-US" sz="1100" dirty="0"/>
            </a:p>
          </p:txBody>
        </p:sp>
      </p:grpSp>
      <p:cxnSp>
        <p:nvCxnSpPr>
          <p:cNvPr id="11" name="Straight Arrow Connector 10">
            <a:extLst>
              <a:ext uri="{FF2B5EF4-FFF2-40B4-BE49-F238E27FC236}">
                <a16:creationId xmlns:a16="http://schemas.microsoft.com/office/drawing/2014/main" id="{790DFFBF-3578-4A41-BF70-E8F389AC1749}"/>
              </a:ext>
            </a:extLst>
          </p:cNvPr>
          <p:cNvCxnSpPr/>
          <p:nvPr/>
        </p:nvCxnSpPr>
        <p:spPr>
          <a:xfrm flipV="1">
            <a:off x="6111495" y="3828046"/>
            <a:ext cx="2190631" cy="261489"/>
          </a:xfrm>
          <a:prstGeom prst="straightConnector1">
            <a:avLst/>
          </a:prstGeom>
          <a:ln w="15875">
            <a:solidFill>
              <a:srgbClr val="FF0000"/>
            </a:solidFill>
            <a:prstDash val="sysDash"/>
            <a:tailEnd type="arrow"/>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D6D290AE-FB33-4C75-8B01-B7BF4E7CFECF}"/>
              </a:ext>
            </a:extLst>
          </p:cNvPr>
          <p:cNvSpPr/>
          <p:nvPr/>
        </p:nvSpPr>
        <p:spPr>
          <a:xfrm>
            <a:off x="4546106" y="6308555"/>
            <a:ext cx="4953000" cy="461665"/>
          </a:xfrm>
          <a:prstGeom prst="rect">
            <a:avLst/>
          </a:prstGeom>
        </p:spPr>
        <p:txBody>
          <a:bodyPr>
            <a:spAutoFit/>
          </a:bodyPr>
          <a:lstStyle/>
          <a:p>
            <a:r>
              <a:rPr lang="en-US" sz="800" dirty="0">
                <a:solidFill>
                  <a:schemeClr val="tx1"/>
                </a:solidFill>
              </a:rPr>
              <a:t>Sources: 1</a:t>
            </a:r>
            <a:r>
              <a:rPr lang="en-US" sz="800" dirty="0" smtClean="0">
                <a:solidFill>
                  <a:schemeClr val="tx1"/>
                </a:solidFill>
              </a:rPr>
              <a:t>.</a:t>
            </a:r>
            <a:r>
              <a:rPr lang="en-US" sz="800" dirty="0"/>
              <a:t> FAO: Ethiopia at a glance: </a:t>
            </a:r>
            <a:r>
              <a:rPr lang="en-US" sz="800" b="1" u="sng" dirty="0">
                <a:hlinkClick r:id="rId8"/>
              </a:rPr>
              <a:t>http://</a:t>
            </a:r>
            <a:r>
              <a:rPr lang="en-US" sz="800" b="1" u="sng" dirty="0" smtClean="0">
                <a:hlinkClick r:id="rId8"/>
              </a:rPr>
              <a:t>www.fao.org/ethiopia/fao-in-ethiopia/ethiopia-at-a-glance/en/</a:t>
            </a:r>
            <a:r>
              <a:rPr lang="en-US" sz="800" b="1" u="sng" dirty="0"/>
              <a:t> </a:t>
            </a:r>
            <a:r>
              <a:rPr lang="en-US" sz="800" b="1" u="sng" dirty="0" smtClean="0"/>
              <a:t> I 2.</a:t>
            </a:r>
            <a:r>
              <a:rPr lang="en-US" sz="800" dirty="0" smtClean="0">
                <a:solidFill>
                  <a:schemeClr val="tx1"/>
                </a:solidFill>
              </a:rPr>
              <a:t> </a:t>
            </a:r>
            <a:r>
              <a:rPr lang="en-US" sz="800" dirty="0">
                <a:solidFill>
                  <a:schemeClr val="tx1"/>
                </a:solidFill>
              </a:rPr>
              <a:t>Previous Agra business plan 2016 and 2018</a:t>
            </a:r>
            <a:r>
              <a:rPr lang="en-US" sz="800" dirty="0" smtClean="0">
                <a:solidFill>
                  <a:schemeClr val="tx1"/>
                </a:solidFill>
              </a:rPr>
              <a:t>|  3. </a:t>
            </a:r>
            <a:r>
              <a:rPr lang="en-US" sz="800" dirty="0">
                <a:hlinkClick r:id="rId9"/>
              </a:rPr>
              <a:t>https://</a:t>
            </a:r>
            <a:r>
              <a:rPr lang="en-US" sz="800" dirty="0" smtClean="0">
                <a:hlinkClick r:id="rId9"/>
              </a:rPr>
              <a:t>www.worldometers.info/world-population/ethiopia-population</a:t>
            </a:r>
            <a:endParaRPr lang="en-US" sz="800" dirty="0">
              <a:solidFill>
                <a:schemeClr val="tx1"/>
              </a:solidFill>
            </a:endParaRPr>
          </a:p>
        </p:txBody>
      </p:sp>
      <p:pic>
        <p:nvPicPr>
          <p:cNvPr id="4" name="Picture 3"/>
          <p:cNvPicPr>
            <a:picLocks noChangeAspect="1"/>
          </p:cNvPicPr>
          <p:nvPr/>
        </p:nvPicPr>
        <p:blipFill>
          <a:blip r:embed="rId10"/>
          <a:stretch>
            <a:fillRect/>
          </a:stretch>
        </p:blipFill>
        <p:spPr>
          <a:xfrm>
            <a:off x="5234145" y="1020318"/>
            <a:ext cx="3917929" cy="2350758"/>
          </a:xfrm>
          <a:prstGeom prst="rect">
            <a:avLst/>
          </a:prstGeom>
        </p:spPr>
      </p:pic>
      <p:pic>
        <p:nvPicPr>
          <p:cNvPr id="6" name="Picture 5"/>
          <p:cNvPicPr>
            <a:picLocks noChangeAspect="1"/>
          </p:cNvPicPr>
          <p:nvPr/>
        </p:nvPicPr>
        <p:blipFill>
          <a:blip r:embed="rId11"/>
          <a:stretch>
            <a:fillRect/>
          </a:stretch>
        </p:blipFill>
        <p:spPr>
          <a:xfrm>
            <a:off x="5234145" y="3519228"/>
            <a:ext cx="4246130" cy="2545410"/>
          </a:xfrm>
          <a:prstGeom prst="rect">
            <a:avLst/>
          </a:prstGeom>
        </p:spPr>
      </p:pic>
      <p:sp>
        <p:nvSpPr>
          <p:cNvPr id="7" name="TextBox 6"/>
          <p:cNvSpPr txBox="1"/>
          <p:nvPr/>
        </p:nvSpPr>
        <p:spPr>
          <a:xfrm>
            <a:off x="5454861" y="5941527"/>
            <a:ext cx="3857297" cy="215444"/>
          </a:xfrm>
          <a:prstGeom prst="rect">
            <a:avLst/>
          </a:prstGeom>
          <a:noFill/>
        </p:spPr>
        <p:txBody>
          <a:bodyPr wrap="square" rtlCol="0">
            <a:spAutoFit/>
          </a:bodyPr>
          <a:lstStyle/>
          <a:p>
            <a:r>
              <a:rPr lang="en-US" sz="800" dirty="0" smtClean="0">
                <a:hlinkClick r:id="rId9"/>
              </a:rPr>
              <a:t>Source: https</a:t>
            </a:r>
            <a:r>
              <a:rPr lang="en-US" sz="800" dirty="0">
                <a:hlinkClick r:id="rId9"/>
              </a:rPr>
              <a:t>://www.worldometers.info/world-population/ethiopia-population/</a:t>
            </a:r>
            <a:endParaRPr lang="en-US" sz="800" dirty="0"/>
          </a:p>
        </p:txBody>
      </p:sp>
      <p:sp>
        <p:nvSpPr>
          <p:cNvPr id="20" name="TextBox 19"/>
          <p:cNvSpPr txBox="1"/>
          <p:nvPr/>
        </p:nvSpPr>
        <p:spPr>
          <a:xfrm>
            <a:off x="5446320" y="3254352"/>
            <a:ext cx="4214649" cy="215444"/>
          </a:xfrm>
          <a:prstGeom prst="rect">
            <a:avLst/>
          </a:prstGeom>
          <a:noFill/>
        </p:spPr>
        <p:txBody>
          <a:bodyPr wrap="square" rtlCol="0">
            <a:spAutoFit/>
          </a:bodyPr>
          <a:lstStyle/>
          <a:p>
            <a:r>
              <a:rPr lang="en-US" sz="800" dirty="0" smtClean="0">
                <a:hlinkClick r:id="rId9"/>
              </a:rPr>
              <a:t>Source: https</a:t>
            </a:r>
            <a:r>
              <a:rPr lang="en-US" sz="800" dirty="0">
                <a:hlinkClick r:id="rId9"/>
              </a:rPr>
              <a:t>://www.worldometers.info/world-population/ethiopia-population/</a:t>
            </a:r>
            <a:endParaRPr lang="en-US" sz="800" dirty="0"/>
          </a:p>
        </p:txBody>
      </p:sp>
    </p:spTree>
    <p:extLst>
      <p:ext uri="{BB962C8B-B14F-4D97-AF65-F5344CB8AC3E}">
        <p14:creationId xmlns:p14="http://schemas.microsoft.com/office/powerpoint/2010/main" val="262007696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745115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8322" name="think-cell Slide" r:id="rId5" imgW="327" imgH="327" progId="TCLayout.ActiveDocument.1">
                  <p:embed/>
                </p:oleObj>
              </mc:Choice>
              <mc:Fallback>
                <p:oleObj name="think-cell Slide" r:id="rId5" imgW="327" imgH="32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200" b="1" dirty="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lIns="0" tIns="0" rIns="0" bIns="0" anchor="b"/>
          <a:lstStyle/>
          <a:p>
            <a:pPr defTabSz="914395">
              <a:spcBef>
                <a:spcPct val="0"/>
              </a:spcBef>
              <a:buClrTx/>
              <a:buSzTx/>
              <a:buFontTx/>
            </a:pPr>
            <a:r>
              <a:rPr lang="en-US" dirty="0" smtClean="0">
                <a:solidFill>
                  <a:schemeClr val="tx1"/>
                </a:solidFill>
                <a:latin typeface="Arial" panose="020B0604020202020204" pitchFamily="34" charset="0"/>
                <a:cs typeface="Arial" panose="020B0604020202020204" pitchFamily="34" charset="0"/>
              </a:rPr>
              <a:t>Ethiopia’s </a:t>
            </a:r>
            <a:r>
              <a:rPr lang="en-US" dirty="0">
                <a:solidFill>
                  <a:schemeClr val="tx1"/>
                </a:solidFill>
                <a:latin typeface="Arial" panose="020B0604020202020204" pitchFamily="34" charset="0"/>
                <a:cs typeface="Arial" panose="020B0604020202020204" pitchFamily="34" charset="0"/>
              </a:rPr>
              <a:t>Agricultural Agenda is Shaped by a Few Macroeconomic Trends and Contextual Factors (2/4)</a:t>
            </a:r>
          </a:p>
        </p:txBody>
      </p:sp>
      <p:sp>
        <p:nvSpPr>
          <p:cNvPr id="9" name="TextBox 8"/>
          <p:cNvSpPr txBox="1"/>
          <p:nvPr/>
        </p:nvSpPr>
        <p:spPr>
          <a:xfrm>
            <a:off x="1828800" y="6281199"/>
            <a:ext cx="7430810" cy="338554"/>
          </a:xfrm>
          <a:prstGeom prst="rect">
            <a:avLst/>
          </a:prstGeom>
          <a:noFill/>
        </p:spPr>
        <p:txBody>
          <a:bodyPr wrap="square" rtlCol="0">
            <a:spAutoFit/>
          </a:bodyPr>
          <a:lstStyle/>
          <a:p>
            <a:r>
              <a:rPr lang="en-US" sz="800" dirty="0" smtClean="0">
                <a:solidFill>
                  <a:schemeClr val="tx1"/>
                </a:solidFill>
              </a:rPr>
              <a:t>Sources: 1. </a:t>
            </a:r>
            <a:r>
              <a:rPr lang="en-US" sz="800" dirty="0" smtClean="0"/>
              <a:t>FAO</a:t>
            </a:r>
            <a:r>
              <a:rPr lang="en-US" sz="800" dirty="0"/>
              <a:t>: Ethiopia at a glance: </a:t>
            </a:r>
            <a:r>
              <a:rPr lang="en-US" sz="800" b="1" u="sng" dirty="0">
                <a:hlinkClick r:id="rId7"/>
              </a:rPr>
              <a:t>http://www.fao.org/ethiopia/fao-in-ethiopia/ethiopia-at-a-glance/en/</a:t>
            </a:r>
            <a:r>
              <a:rPr lang="en-US" sz="800" dirty="0">
                <a:solidFill>
                  <a:schemeClr val="tx1"/>
                </a:solidFill>
              </a:rPr>
              <a:t> 2</a:t>
            </a:r>
            <a:r>
              <a:rPr lang="en-US" sz="800" dirty="0" smtClean="0">
                <a:solidFill>
                  <a:schemeClr val="tx1"/>
                </a:solidFill>
              </a:rPr>
              <a:t>. GA Draft COP 2018| </a:t>
            </a:r>
            <a:r>
              <a:rPr lang="en-US" sz="800" dirty="0">
                <a:solidFill>
                  <a:schemeClr val="tx1"/>
                </a:solidFill>
              </a:rPr>
              <a:t>3. </a:t>
            </a:r>
            <a:r>
              <a:rPr lang="en-US" sz="800" dirty="0"/>
              <a:t>Previous Agra business plan 2016 and </a:t>
            </a:r>
            <a:r>
              <a:rPr lang="en-US" sz="800" dirty="0" smtClean="0"/>
              <a:t>2018</a:t>
            </a:r>
            <a:r>
              <a:rPr lang="en-US" sz="800" dirty="0" smtClean="0">
                <a:solidFill>
                  <a:schemeClr val="tx1"/>
                </a:solidFill>
              </a:rPr>
              <a:t>| 4. </a:t>
            </a:r>
            <a:r>
              <a:rPr lang="en-US" sz="800" dirty="0">
                <a:hlinkClick r:id="rId8"/>
              </a:rPr>
              <a:t>https://www.theglobaleconomy.com/rankings/fertilizer_use/Africa</a:t>
            </a:r>
            <a:r>
              <a:rPr lang="en-US" sz="800" dirty="0" smtClean="0">
                <a:hlinkClick r:id="rId8"/>
              </a:rPr>
              <a:t>/</a:t>
            </a:r>
            <a:r>
              <a:rPr lang="en-US" sz="800" dirty="0" smtClean="0"/>
              <a:t> I 5. </a:t>
            </a:r>
            <a:r>
              <a:rPr lang="en-US" sz="800" dirty="0">
                <a:hlinkClick r:id="rId9"/>
              </a:rPr>
              <a:t>https://www.resakss.org/</a:t>
            </a:r>
            <a:endParaRPr lang="en-US" sz="800" dirty="0"/>
          </a:p>
        </p:txBody>
      </p:sp>
      <p:grpSp>
        <p:nvGrpSpPr>
          <p:cNvPr id="16" name="Group 15"/>
          <p:cNvGrpSpPr/>
          <p:nvPr/>
        </p:nvGrpSpPr>
        <p:grpSpPr>
          <a:xfrm>
            <a:off x="450740" y="992479"/>
            <a:ext cx="5645259" cy="5282196"/>
            <a:chOff x="756004" y="1113274"/>
            <a:chExt cx="3003263" cy="1278574"/>
          </a:xfrm>
        </p:grpSpPr>
        <p:sp>
          <p:nvSpPr>
            <p:cNvPr id="17" name="Google Shape;253;p38"/>
            <p:cNvSpPr/>
            <p:nvPr/>
          </p:nvSpPr>
          <p:spPr>
            <a:xfrm>
              <a:off x="756004" y="1113274"/>
              <a:ext cx="3003263" cy="57423"/>
            </a:xfrm>
            <a:prstGeom prst="rect">
              <a:avLst/>
            </a:prstGeom>
            <a:solidFill>
              <a:srgbClr val="00B050"/>
            </a:solidFill>
            <a:ln w="12700" cap="flat" cmpd="sng">
              <a:solidFill>
                <a:srgbClr val="7F7F7F"/>
              </a:solidFill>
              <a:prstDash val="solid"/>
              <a:miter lim="800000"/>
              <a:headEnd type="none" w="sm" len="sm"/>
              <a:tailEnd type="none" w="sm" len="sm"/>
            </a:ln>
          </p:spPr>
          <p:txBody>
            <a:bodyPr spcFirstLastPara="1" wrap="square" lIns="91425" tIns="45700" rIns="91425" bIns="45700" anchor="ctr" anchorCtr="0">
              <a:noAutofit/>
            </a:bodyPr>
            <a:lstStyle/>
            <a:p>
              <a:pPr lvl="0"/>
              <a:r>
                <a:rPr lang="en-US" sz="1100" b="1" dirty="0" smtClean="0">
                  <a:solidFill>
                    <a:schemeClr val="bg1"/>
                  </a:solidFill>
                </a:rPr>
                <a:t>2</a:t>
              </a:r>
              <a:r>
                <a:rPr lang="en-US" sz="1100" dirty="0">
                  <a:solidFill>
                    <a:schemeClr val="bg1"/>
                  </a:solidFill>
                </a:rPr>
                <a:t>. </a:t>
              </a:r>
              <a:r>
                <a:rPr lang="en-US" sz="1100" b="1" dirty="0">
                  <a:solidFill>
                    <a:schemeClr val="bg1"/>
                  </a:solidFill>
                </a:rPr>
                <a:t>Government Priorities and Key Challenges in the Sector</a:t>
              </a:r>
              <a:endParaRPr lang="en-US" sz="1100" dirty="0">
                <a:solidFill>
                  <a:schemeClr val="bg1"/>
                </a:solidFill>
              </a:endParaRPr>
            </a:p>
          </p:txBody>
        </p:sp>
        <p:sp>
          <p:nvSpPr>
            <p:cNvPr id="18" name="Google Shape;255;p38"/>
            <p:cNvSpPr/>
            <p:nvPr/>
          </p:nvSpPr>
          <p:spPr>
            <a:xfrm>
              <a:off x="756004" y="1170697"/>
              <a:ext cx="3003263" cy="1221151"/>
            </a:xfrm>
            <a:prstGeom prst="rect">
              <a:avLst/>
            </a:prstGeom>
            <a:noFill/>
            <a:ln w="12700" cap="flat" cmpd="sng">
              <a:solidFill>
                <a:srgbClr val="7F7F7F"/>
              </a:solidFill>
              <a:prstDash val="solid"/>
              <a:miter lim="800000"/>
              <a:headEnd type="none" w="sm" len="sm"/>
              <a:tailEnd type="none" w="sm" len="sm"/>
            </a:ln>
          </p:spPr>
          <p:txBody>
            <a:bodyPr spcFirstLastPara="1" wrap="square" lIns="91425" tIns="45700" rIns="91425" bIns="45700" anchor="t" anchorCtr="0">
              <a:noAutofit/>
            </a:bodyPr>
            <a:lstStyle/>
            <a:p>
              <a:pPr marL="171450" indent="-171450">
                <a:lnSpc>
                  <a:spcPts val="1400"/>
                </a:lnSpc>
                <a:spcBef>
                  <a:spcPts val="600"/>
                </a:spcBef>
                <a:buFont typeface="Arial" panose="020B0604020202020204" pitchFamily="34" charset="0"/>
                <a:buChar char="•"/>
              </a:pPr>
              <a:r>
                <a:rPr lang="en-US" sz="1100" dirty="0">
                  <a:solidFill>
                    <a:schemeClr val="tx1"/>
                  </a:solidFill>
                </a:rPr>
                <a:t>Ethiopia faces many challenges in the Agricultural sector. Yields are still relatively low due to limited use of improved seed varieties and poor agronomic practices; Wheat, sorghum, maize, </a:t>
              </a:r>
              <a:r>
                <a:rPr lang="en-US" sz="1100" dirty="0" err="1">
                  <a:solidFill>
                    <a:schemeClr val="tx1"/>
                  </a:solidFill>
                </a:rPr>
                <a:t>tef</a:t>
              </a:r>
              <a:r>
                <a:rPr lang="en-US" sz="1100" dirty="0">
                  <a:solidFill>
                    <a:schemeClr val="tx1"/>
                  </a:solidFill>
                </a:rPr>
                <a:t> and bean farmers suffer low yields (between 10 and 50% of potential)</a:t>
              </a:r>
              <a:r>
                <a:rPr lang="en-US" sz="1100" baseline="30000" dirty="0">
                  <a:solidFill>
                    <a:schemeClr val="tx1"/>
                  </a:solidFill>
                </a:rPr>
                <a:t>3. </a:t>
              </a:r>
              <a:r>
                <a:rPr lang="en-ZA" sz="1100" dirty="0">
                  <a:solidFill>
                    <a:schemeClr val="tx1"/>
                  </a:solidFill>
                </a:rPr>
                <a:t>This could be attributed to a range of factors  such as overreliance on rain-fed agriculture, low fertilizer usage at </a:t>
              </a:r>
              <a:r>
                <a:rPr lang="en-ZA" sz="1100" dirty="0" err="1">
                  <a:solidFill>
                    <a:schemeClr val="tx1"/>
                  </a:solidFill>
                </a:rPr>
                <a:t>23.5kg</a:t>
              </a:r>
              <a:r>
                <a:rPr lang="en-ZA" sz="1100" dirty="0">
                  <a:solidFill>
                    <a:schemeClr val="tx1"/>
                  </a:solidFill>
                </a:rPr>
                <a:t>/</a:t>
              </a:r>
              <a:r>
                <a:rPr lang="en-ZA" sz="1100" dirty="0" err="1">
                  <a:solidFill>
                    <a:schemeClr val="tx1"/>
                  </a:solidFill>
                </a:rPr>
                <a:t>ha</a:t>
              </a:r>
              <a:r>
                <a:rPr lang="en-ZA" sz="1100" baseline="30000" dirty="0" err="1">
                  <a:solidFill>
                    <a:schemeClr val="tx1"/>
                  </a:solidFill>
                </a:rPr>
                <a:t>5</a:t>
              </a:r>
              <a:r>
                <a:rPr lang="en-ZA" sz="1100" dirty="0">
                  <a:solidFill>
                    <a:schemeClr val="tx1"/>
                  </a:solidFill>
                </a:rPr>
                <a:t> average between 2012 and 2015 against an Africa average of </a:t>
              </a:r>
              <a:r>
                <a:rPr lang="en-ZA" sz="1100" dirty="0" err="1">
                  <a:solidFill>
                    <a:schemeClr val="tx1"/>
                  </a:solidFill>
                </a:rPr>
                <a:t>60kg</a:t>
              </a:r>
              <a:r>
                <a:rPr lang="en-ZA" sz="1100" dirty="0">
                  <a:solidFill>
                    <a:schemeClr val="tx1"/>
                  </a:solidFill>
                </a:rPr>
                <a:t>/ha)</a:t>
              </a:r>
              <a:r>
                <a:rPr lang="en-ZA" sz="1100" baseline="30000" dirty="0">
                  <a:solidFill>
                    <a:schemeClr val="tx1"/>
                  </a:solidFill>
                  <a:latin typeface="Arial" panose="020B0604020202020204" pitchFamily="34" charset="0"/>
                  <a:cs typeface="Arial" panose="020B0604020202020204" pitchFamily="34" charset="0"/>
                </a:rPr>
                <a:t>4</a:t>
              </a:r>
              <a:r>
                <a:rPr lang="en-ZA" sz="1100" dirty="0">
                  <a:solidFill>
                    <a:schemeClr val="tx1"/>
                  </a:solidFill>
                  <a:latin typeface="Arial" panose="020B0604020202020204" pitchFamily="34" charset="0"/>
                  <a:cs typeface="Arial" panose="020B0604020202020204" pitchFamily="34" charset="0"/>
                </a:rPr>
                <a:t> </a:t>
              </a:r>
              <a:r>
                <a:rPr lang="en-ZA" sz="1100" dirty="0">
                  <a:solidFill>
                    <a:schemeClr val="tx1"/>
                  </a:solidFill>
                </a:rPr>
                <a:t>and post-harvest losses as high as 20-30%</a:t>
              </a:r>
              <a:r>
                <a:rPr lang="en-ZA" sz="1100" baseline="30000" dirty="0">
                  <a:solidFill>
                    <a:schemeClr val="tx1"/>
                  </a:solidFill>
                  <a:latin typeface="Arial" panose="020B0604020202020204" pitchFamily="34" charset="0"/>
                  <a:cs typeface="Arial" panose="020B0604020202020204" pitchFamily="34" charset="0"/>
                </a:rPr>
                <a:t>4 </a:t>
              </a:r>
            </a:p>
            <a:p>
              <a:pPr marL="171450" indent="-171450">
                <a:lnSpc>
                  <a:spcPts val="1400"/>
                </a:lnSpc>
                <a:spcBef>
                  <a:spcPts val="600"/>
                </a:spcBef>
                <a:buFont typeface="Arial" panose="020B0604020202020204" pitchFamily="34" charset="0"/>
                <a:buChar char="•"/>
              </a:pPr>
              <a:r>
                <a:rPr lang="en-US" sz="1100" dirty="0" smtClean="0">
                  <a:solidFill>
                    <a:schemeClr val="tx1"/>
                  </a:solidFill>
                </a:rPr>
                <a:t>Farmers linkages to structured markets is weak. Despite strong farmer cooperatives with over 8 million members, cooperatives have not been involved in output marketing due to lack of access to working capital and storage warehouses for aggregation.</a:t>
              </a:r>
              <a:r>
                <a:rPr lang="en-US" sz="1100" baseline="30000" dirty="0" smtClean="0">
                  <a:solidFill>
                    <a:schemeClr val="tx1"/>
                  </a:solidFill>
                </a:rPr>
                <a:t>.</a:t>
              </a:r>
              <a:endParaRPr lang="en-US" sz="1100" baseline="30000" dirty="0">
                <a:solidFill>
                  <a:schemeClr val="tx1"/>
                </a:solidFill>
              </a:endParaRPr>
            </a:p>
            <a:p>
              <a:pPr marL="171450" indent="-171450">
                <a:lnSpc>
                  <a:spcPts val="1400"/>
                </a:lnSpc>
                <a:spcBef>
                  <a:spcPts val="600"/>
                </a:spcBef>
                <a:buFont typeface="Arial" panose="020B0604020202020204" pitchFamily="34" charset="0"/>
                <a:buChar char="•"/>
              </a:pPr>
              <a:r>
                <a:rPr lang="en-US" sz="1100" dirty="0" smtClean="0">
                  <a:solidFill>
                    <a:schemeClr val="tx1"/>
                  </a:solidFill>
                </a:rPr>
                <a:t>F</a:t>
              </a:r>
              <a:r>
                <a:rPr lang="en-ZA" sz="1100" dirty="0" smtClean="0">
                  <a:solidFill>
                    <a:schemeClr val="tx1"/>
                  </a:solidFill>
                </a:rPr>
                <a:t>arming </a:t>
              </a:r>
              <a:r>
                <a:rPr lang="en-ZA" sz="1100" dirty="0">
                  <a:solidFill>
                    <a:schemeClr val="tx1"/>
                  </a:solidFill>
                </a:rPr>
                <a:t>is still </a:t>
              </a:r>
              <a:r>
                <a:rPr lang="en-ZA" sz="1100" dirty="0" smtClean="0">
                  <a:solidFill>
                    <a:schemeClr val="tx1"/>
                  </a:solidFill>
                </a:rPr>
                <a:t>predominantly subsistence oriented, </a:t>
              </a:r>
              <a:r>
                <a:rPr lang="en-ZA" sz="1100" dirty="0">
                  <a:solidFill>
                    <a:schemeClr val="tx1"/>
                  </a:solidFill>
                </a:rPr>
                <a:t>leaving little marketable surplus and therefore little </a:t>
              </a:r>
              <a:r>
                <a:rPr lang="en-ZA" sz="1100" dirty="0" smtClean="0">
                  <a:solidFill>
                    <a:schemeClr val="tx1"/>
                  </a:solidFill>
                </a:rPr>
                <a:t>incomes </a:t>
              </a:r>
              <a:r>
                <a:rPr lang="en-ZA" sz="1100" dirty="0">
                  <a:solidFill>
                    <a:schemeClr val="tx1"/>
                  </a:solidFill>
                </a:rPr>
                <a:t>for the small holders </a:t>
              </a:r>
              <a:r>
                <a:rPr lang="en-ZA" sz="1100" dirty="0" smtClean="0">
                  <a:solidFill>
                    <a:schemeClr val="tx1"/>
                  </a:solidFill>
                </a:rPr>
                <a:t>farmers. The </a:t>
              </a:r>
              <a:r>
                <a:rPr lang="en-ZA" sz="1100" dirty="0">
                  <a:solidFill>
                    <a:schemeClr val="tx1"/>
                  </a:solidFill>
                </a:rPr>
                <a:t>increasing livestock population </a:t>
              </a:r>
              <a:r>
                <a:rPr lang="en-ZA" sz="1100" dirty="0" smtClean="0">
                  <a:solidFill>
                    <a:schemeClr val="tx1"/>
                  </a:solidFill>
                </a:rPr>
                <a:t>puts more pressure on grazing land, </a:t>
              </a:r>
              <a:r>
                <a:rPr lang="en-ZA" sz="1100" dirty="0">
                  <a:solidFill>
                    <a:schemeClr val="tx1"/>
                  </a:solidFill>
                </a:rPr>
                <a:t>posing the risk of degraded vegetation and natural resources. </a:t>
              </a:r>
              <a:endParaRPr lang="en-US" sz="1100" baseline="30000" dirty="0">
                <a:solidFill>
                  <a:schemeClr val="tx1"/>
                </a:solidFill>
              </a:endParaRPr>
            </a:p>
            <a:p>
              <a:pPr marL="171450" indent="-171450">
                <a:lnSpc>
                  <a:spcPts val="1400"/>
                </a:lnSpc>
                <a:spcBef>
                  <a:spcPts val="600"/>
                </a:spcBef>
                <a:buFont typeface="Arial" panose="020B0604020202020204" pitchFamily="34" charset="0"/>
                <a:buChar char="•"/>
              </a:pPr>
              <a:r>
                <a:rPr lang="en-ZA" sz="1100" dirty="0"/>
                <a:t>The Ethiopian government </a:t>
              </a:r>
              <a:r>
                <a:rPr lang="en-ZA" sz="1100" dirty="0" smtClean="0"/>
                <a:t>priorities in </a:t>
              </a:r>
              <a:r>
                <a:rPr lang="en-ZA" sz="1100" dirty="0"/>
                <a:t>its Growth and Transformation Plan (GTPII</a:t>
              </a:r>
              <a:r>
                <a:rPr lang="en-ZA" sz="1100" dirty="0" smtClean="0"/>
                <a:t>) include: 1</a:t>
              </a:r>
              <a:r>
                <a:rPr lang="en-ZA" sz="1100" dirty="0"/>
                <a:t>.) </a:t>
              </a:r>
              <a:r>
                <a:rPr lang="en-ZA" sz="1100" dirty="0" smtClean="0"/>
                <a:t>Improving</a:t>
              </a:r>
              <a:r>
                <a:rPr lang="en-US" sz="1100" dirty="0" smtClean="0"/>
                <a:t> </a:t>
              </a:r>
              <a:r>
                <a:rPr lang="en-US" sz="1100" dirty="0"/>
                <a:t>agricultural production and productivity and commercialization; 2.) Reducing degradation of natural resources and 3.) Improving productivity, reducing vulnerability to disasters and building disaster mitigation capacity by ensuring food security. It has </a:t>
              </a:r>
              <a:r>
                <a:rPr lang="en-ZA" sz="1100" dirty="0"/>
                <a:t>an</a:t>
              </a:r>
              <a:r>
                <a:rPr lang="en-US" sz="1100" dirty="0"/>
                <a:t> overarching objective to realize Ethiopia’s vision of becoming a middle income country by </a:t>
              </a:r>
              <a:r>
                <a:rPr lang="en-US" sz="1100" dirty="0" smtClean="0"/>
                <a:t>2025</a:t>
              </a:r>
              <a:r>
                <a:rPr lang="en-US" sz="1100" baseline="30000" dirty="0" smtClean="0"/>
                <a:t>1</a:t>
              </a:r>
              <a:r>
                <a:rPr lang="en-US" sz="1100" dirty="0" smtClean="0"/>
                <a:t>.</a:t>
              </a:r>
              <a:r>
                <a:rPr lang="en-ZA" sz="1100" dirty="0" smtClean="0"/>
                <a:t> </a:t>
              </a:r>
              <a:r>
                <a:rPr lang="en-ZA" sz="1100" dirty="0"/>
                <a:t>Initiatives and plans that have been designed to support overall agricultural development agenda under GTPII include: Agricultural Growth Program </a:t>
              </a:r>
              <a:r>
                <a:rPr lang="en-US" sz="1100" dirty="0"/>
                <a:t>(</a:t>
              </a:r>
              <a:r>
                <a:rPr lang="en-ZA" sz="1100" dirty="0"/>
                <a:t>AGP II) and Sustainable Land Management Project (SLMP). Each of these </a:t>
              </a:r>
              <a:r>
                <a:rPr lang="en-ZA" sz="1100" dirty="0" smtClean="0"/>
                <a:t>plans provide </a:t>
              </a:r>
              <a:r>
                <a:rPr lang="en-ZA" sz="1100" dirty="0"/>
                <a:t>detailed programmes targeting various value </a:t>
              </a:r>
              <a:r>
                <a:rPr lang="en-ZA" sz="1100" dirty="0" smtClean="0"/>
                <a:t>chains</a:t>
              </a:r>
              <a:r>
                <a:rPr lang="en-ZA" sz="1100" baseline="30000" dirty="0" smtClean="0"/>
                <a:t>2</a:t>
              </a:r>
              <a:r>
                <a:rPr lang="en-ZA" sz="1100" dirty="0" smtClean="0"/>
                <a:t> </a:t>
              </a:r>
              <a:endParaRPr lang="en-US" sz="1100" dirty="0">
                <a:solidFill>
                  <a:schemeClr val="tx1"/>
                </a:solidFill>
              </a:endParaRPr>
            </a:p>
          </p:txBody>
        </p:sp>
      </p:grpSp>
      <p:sp>
        <p:nvSpPr>
          <p:cNvPr id="6" name="TextBox 5"/>
          <p:cNvSpPr txBox="1"/>
          <p:nvPr/>
        </p:nvSpPr>
        <p:spPr>
          <a:xfrm>
            <a:off x="6390291" y="4178121"/>
            <a:ext cx="3383297" cy="246221"/>
          </a:xfrm>
          <a:prstGeom prst="rect">
            <a:avLst/>
          </a:prstGeom>
          <a:noFill/>
        </p:spPr>
        <p:txBody>
          <a:bodyPr wrap="square" rtlCol="0">
            <a:spAutoFit/>
          </a:bodyPr>
          <a:lstStyle/>
          <a:p>
            <a:r>
              <a:rPr lang="en-US" sz="1000" dirty="0" err="1" smtClean="0"/>
              <a:t>Source:</a:t>
            </a:r>
            <a:r>
              <a:rPr lang="en-US" sz="1000" dirty="0" err="1">
                <a:hlinkClick r:id="rId9"/>
              </a:rPr>
              <a:t>https</a:t>
            </a:r>
            <a:r>
              <a:rPr lang="en-US" sz="1000" dirty="0">
                <a:hlinkClick r:id="rId9"/>
              </a:rPr>
              <a:t>://www.resakss.org</a:t>
            </a:r>
            <a:r>
              <a:rPr lang="en-US" sz="1000" dirty="0" smtClean="0">
                <a:hlinkClick r:id="rId9"/>
              </a:rPr>
              <a:t>/</a:t>
            </a:r>
            <a:endParaRPr lang="en-US" sz="1000" dirty="0"/>
          </a:p>
        </p:txBody>
      </p:sp>
      <p:pic>
        <p:nvPicPr>
          <p:cNvPr id="12" name="Chart 15"/>
          <p:cNvPicPr>
            <a:picLocks noChangeArrowheads="1"/>
          </p:cNvPicPr>
          <p:nvPr/>
        </p:nvPicPr>
        <p:blipFill rotWithShape="1">
          <a:blip r:embed="rId10" cstate="print">
            <a:extLst>
              <a:ext uri="{28A0092B-C50C-407E-A947-70E740481C1C}">
                <a14:useLocalDpi xmlns:a14="http://schemas.microsoft.com/office/drawing/2010/main" val="0"/>
              </a:ext>
            </a:extLst>
          </a:blip>
          <a:srcRect l="2940" t="-564" r="-3984" b="10666"/>
          <a:stretch/>
        </p:blipFill>
        <p:spPr bwMode="auto">
          <a:xfrm>
            <a:off x="6213763" y="2438400"/>
            <a:ext cx="3559825" cy="23933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Placeholder 3"/>
          <p:cNvSpPr>
            <a:spLocks noGrp="1"/>
          </p:cNvSpPr>
          <p:nvPr>
            <p:ph type="body" sz="quarter" idx="4294967295"/>
          </p:nvPr>
        </p:nvSpPr>
        <p:spPr>
          <a:xfrm>
            <a:off x="6213763" y="1757331"/>
            <a:ext cx="3633250" cy="547275"/>
          </a:xfrm>
          <a:prstGeom prst="rect">
            <a:avLst/>
          </a:prstGeom>
        </p:spPr>
        <p:txBody>
          <a:bodyPr/>
          <a:lstStyle/>
          <a:p>
            <a:r>
              <a:rPr lang="en-US" b="1" dirty="0">
                <a:solidFill>
                  <a:schemeClr val="accent6">
                    <a:lumMod val="75000"/>
                  </a:schemeClr>
                </a:solidFill>
              </a:rPr>
              <a:t>Similarly, fertilizer use </a:t>
            </a:r>
            <a:r>
              <a:rPr lang="en-US" b="1" dirty="0" smtClean="0">
                <a:solidFill>
                  <a:schemeClr val="accent6">
                    <a:lumMod val="75000"/>
                  </a:schemeClr>
                </a:solidFill>
              </a:rPr>
              <a:t>trends </a:t>
            </a:r>
            <a:r>
              <a:rPr lang="en-US" b="1" dirty="0">
                <a:solidFill>
                  <a:schemeClr val="accent6">
                    <a:lumMod val="75000"/>
                  </a:schemeClr>
                </a:solidFill>
              </a:rPr>
              <a:t>in </a:t>
            </a:r>
            <a:r>
              <a:rPr lang="en-US" b="1" dirty="0" smtClean="0">
                <a:solidFill>
                  <a:schemeClr val="accent6">
                    <a:lumMod val="75000"/>
                  </a:schemeClr>
                </a:solidFill>
              </a:rPr>
              <a:t>Ethiopia</a:t>
            </a:r>
          </a:p>
          <a:p>
            <a:r>
              <a:rPr lang="en-US" b="1" dirty="0" smtClean="0">
                <a:solidFill>
                  <a:schemeClr val="accent6">
                    <a:lumMod val="75000"/>
                  </a:schemeClr>
                </a:solidFill>
              </a:rPr>
              <a:t>(in Quintals=100kg bags)</a:t>
            </a:r>
            <a:endParaRPr lang="en-US" b="1" dirty="0">
              <a:solidFill>
                <a:schemeClr val="accent6">
                  <a:lumMod val="75000"/>
                </a:schemeClr>
              </a:solidFill>
            </a:endParaRPr>
          </a:p>
        </p:txBody>
      </p:sp>
      <p:sp>
        <p:nvSpPr>
          <p:cNvPr id="7" name="TextBox 6"/>
          <p:cNvSpPr txBox="1"/>
          <p:nvPr/>
        </p:nvSpPr>
        <p:spPr>
          <a:xfrm>
            <a:off x="6286499" y="4804656"/>
            <a:ext cx="1600201" cy="230832"/>
          </a:xfrm>
          <a:prstGeom prst="rect">
            <a:avLst/>
          </a:prstGeom>
          <a:noFill/>
        </p:spPr>
        <p:txBody>
          <a:bodyPr wrap="square" rtlCol="0">
            <a:spAutoFit/>
          </a:bodyPr>
          <a:lstStyle/>
          <a:p>
            <a:r>
              <a:rPr lang="en-US" sz="900" dirty="0" smtClean="0"/>
              <a:t>Source: </a:t>
            </a:r>
            <a:r>
              <a:rPr lang="en-US" sz="900" dirty="0" err="1" smtClean="0"/>
              <a:t>MoA</a:t>
            </a:r>
            <a:endParaRPr lang="en-US" sz="900" dirty="0"/>
          </a:p>
        </p:txBody>
      </p:sp>
    </p:spTree>
    <p:extLst>
      <p:ext uri="{BB962C8B-B14F-4D97-AF65-F5344CB8AC3E}">
        <p14:creationId xmlns:p14="http://schemas.microsoft.com/office/powerpoint/2010/main" val="25817874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250"/>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8777" name="think-cell Slide" r:id="rId6" imgW="395" imgH="396" progId="TCLayout.ActiveDocument.1">
                  <p:embed/>
                </p:oleObj>
              </mc:Choice>
              <mc:Fallback>
                <p:oleObj name="think-cell Slide" r:id="rId6" imgW="395" imgH="396"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1000" dirty="0">
              <a:sym typeface="+mn-lt"/>
            </a:endParaRPr>
          </a:p>
        </p:txBody>
      </p:sp>
      <p:pic>
        <p:nvPicPr>
          <p:cNvPr id="251" name="Google Shape;251;p38"/>
          <p:cNvPicPr preferRelativeResize="0"/>
          <p:nvPr/>
        </p:nvPicPr>
        <p:blipFill rotWithShape="1">
          <a:blip r:embed="rId8">
            <a:alphaModFix/>
          </a:blip>
          <a:srcRect/>
          <a:stretch/>
        </p:blipFill>
        <p:spPr>
          <a:xfrm>
            <a:off x="1588" y="1588"/>
            <a:ext cx="1588" cy="1588"/>
          </a:xfrm>
          <a:prstGeom prst="rect">
            <a:avLst/>
          </a:prstGeom>
          <a:noFill/>
          <a:ln>
            <a:noFill/>
          </a:ln>
        </p:spPr>
      </p:pic>
      <p:sp>
        <p:nvSpPr>
          <p:cNvPr id="252" name="Google Shape;252;p38"/>
          <p:cNvSpPr txBox="1">
            <a:spLocks noGrp="1"/>
          </p:cNvSpPr>
          <p:nvPr>
            <p:ph type="title"/>
          </p:nvPr>
        </p:nvSpPr>
        <p:spPr/>
        <p:txBody>
          <a:bodyPr/>
          <a:lstStyle/>
          <a:p>
            <a:pPr lvl="0"/>
            <a:r>
              <a:rPr lang="en-US" dirty="0"/>
              <a:t>CAADP biennial review shows that the country is on-track and should emphasize ending hunger and boosting trade</a:t>
            </a:r>
            <a:endParaRPr lang="en-US" dirty="0">
              <a:sym typeface="Arial"/>
            </a:endParaRPr>
          </a:p>
        </p:txBody>
      </p:sp>
      <p:grpSp>
        <p:nvGrpSpPr>
          <p:cNvPr id="27" name="Group 26"/>
          <p:cNvGrpSpPr/>
          <p:nvPr/>
        </p:nvGrpSpPr>
        <p:grpSpPr>
          <a:xfrm>
            <a:off x="450741" y="1051474"/>
            <a:ext cx="5345375" cy="2199436"/>
            <a:chOff x="756004" y="1113274"/>
            <a:chExt cx="3003263" cy="1114771"/>
          </a:xfrm>
        </p:grpSpPr>
        <p:sp>
          <p:nvSpPr>
            <p:cNvPr id="28" name="Google Shape;253;p38"/>
            <p:cNvSpPr/>
            <p:nvPr/>
          </p:nvSpPr>
          <p:spPr>
            <a:xfrm>
              <a:off x="756004" y="1113274"/>
              <a:ext cx="3003263" cy="193310"/>
            </a:xfrm>
            <a:prstGeom prst="rect">
              <a:avLst/>
            </a:prstGeom>
            <a:solidFill>
              <a:srgbClr val="E1EFD8"/>
            </a:solidFill>
            <a:ln w="12700" cap="flat" cmpd="sng">
              <a:solidFill>
                <a:srgbClr val="7F7F7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r>
                <a:rPr lang="en-US" sz="1100" b="1" dirty="0" smtClean="0">
                  <a:solidFill>
                    <a:schemeClr val="dk1"/>
                  </a:solidFill>
                  <a:sym typeface="Arial"/>
                </a:rPr>
                <a:t>Government Priorities from BRR Review</a:t>
              </a:r>
              <a:endParaRPr sz="1100" dirty="0"/>
            </a:p>
          </p:txBody>
        </p:sp>
        <p:sp>
          <p:nvSpPr>
            <p:cNvPr id="29" name="Google Shape;255;p38"/>
            <p:cNvSpPr/>
            <p:nvPr/>
          </p:nvSpPr>
          <p:spPr>
            <a:xfrm>
              <a:off x="756004" y="1306584"/>
              <a:ext cx="3003263" cy="921461"/>
            </a:xfrm>
            <a:prstGeom prst="rect">
              <a:avLst/>
            </a:prstGeom>
            <a:noFill/>
            <a:ln w="12700" cap="flat" cmpd="sng">
              <a:solidFill>
                <a:srgbClr val="7F7F7F"/>
              </a:solidFill>
              <a:prstDash val="solid"/>
              <a:miter lim="800000"/>
              <a:headEnd type="none" w="sm" len="sm"/>
              <a:tailEnd type="none" w="sm" len="sm"/>
            </a:ln>
          </p:spPr>
          <p:txBody>
            <a:bodyPr spcFirstLastPara="1" wrap="square" lIns="91425" tIns="45700" rIns="91425" bIns="45700" anchor="t" anchorCtr="0">
              <a:noAutofit/>
            </a:bodyPr>
            <a:lstStyle/>
            <a:p>
              <a:pPr marL="171450" indent="-171450" algn="just">
                <a:buClr>
                  <a:srgbClr val="385623"/>
                </a:buClr>
                <a:buSzPts val="1050"/>
                <a:buFont typeface="Arial" panose="020B0604020202020204" pitchFamily="34" charset="0"/>
                <a:buChar char="•"/>
              </a:pPr>
              <a:r>
                <a:rPr lang="en-US" sz="1200" dirty="0"/>
                <a:t>The AU through the CAADP process using the Biennial Review Rating (BRR) is tracking each countries’ progress towards the 7 (seven) commitments. The first review conducted in 2017 and launched in 2018 rated Ethiopia at </a:t>
              </a:r>
              <a:r>
                <a:rPr lang="en-US" sz="1200" b="1" u="sng" dirty="0">
                  <a:solidFill>
                    <a:schemeClr val="tx1"/>
                  </a:solidFill>
                </a:rPr>
                <a:t>5.4</a:t>
              </a:r>
              <a:r>
                <a:rPr lang="en-US" sz="1200" dirty="0"/>
                <a:t> against a benchmark of </a:t>
              </a:r>
              <a:r>
                <a:rPr lang="en-US" sz="1200" b="1" u="sng" dirty="0">
                  <a:solidFill>
                    <a:schemeClr val="tx1"/>
                  </a:solidFill>
                </a:rPr>
                <a:t>10</a:t>
              </a:r>
              <a:r>
                <a:rPr lang="en-US" sz="1200" dirty="0"/>
                <a:t> in 2017 - the average rating a country should score to show positive progress towards achievement of its 2025 targets.  This rating means that </a:t>
              </a:r>
              <a:r>
                <a:rPr lang="en-US" sz="1200" dirty="0" smtClean="0"/>
                <a:t>Ethiopia's </a:t>
              </a:r>
              <a:r>
                <a:rPr lang="en-US" sz="1200" dirty="0"/>
                <a:t>performance is </a:t>
              </a:r>
              <a:r>
                <a:rPr lang="en-US" sz="1200" b="1" u="sng" dirty="0">
                  <a:solidFill>
                    <a:schemeClr val="tx1"/>
                  </a:solidFill>
                </a:rPr>
                <a:t>on track </a:t>
              </a:r>
              <a:r>
                <a:rPr lang="en-US" sz="1200" dirty="0"/>
                <a:t>and it is hoped this performance will be sustained or surpassed during the next review scheduled for 2020</a:t>
              </a:r>
              <a:r>
                <a:rPr lang="en-US" sz="1200" baseline="30000" dirty="0"/>
                <a:t>9</a:t>
              </a:r>
              <a:r>
                <a:rPr lang="en-US" sz="1200" dirty="0"/>
                <a:t>. </a:t>
              </a:r>
              <a:endParaRPr lang="en-US" sz="1200" dirty="0" smtClean="0">
                <a:solidFill>
                  <a:srgbClr val="FF0000"/>
                </a:solidFill>
                <a:ea typeface="MS Mincho" panose="02020609040205080304" pitchFamily="49" charset="-128"/>
                <a:cs typeface="Arial" panose="020B0604020202020204" pitchFamily="34" charset="0"/>
              </a:endParaRPr>
            </a:p>
          </p:txBody>
        </p:sp>
      </p:grpSp>
      <p:sp>
        <p:nvSpPr>
          <p:cNvPr id="3" name="TextBox 2"/>
          <p:cNvSpPr txBox="1"/>
          <p:nvPr/>
        </p:nvSpPr>
        <p:spPr>
          <a:xfrm>
            <a:off x="450741" y="3436884"/>
            <a:ext cx="9183453" cy="2822514"/>
          </a:xfrm>
          <a:prstGeom prst="rect">
            <a:avLst/>
          </a:prstGeom>
          <a:solidFill>
            <a:schemeClr val="bg1">
              <a:lumMod val="85000"/>
            </a:schemeClr>
          </a:solidFill>
        </p:spPr>
        <p:txBody>
          <a:bodyPr wrap="square" rtlCol="0">
            <a:noAutofit/>
          </a:bodyPr>
          <a:lstStyle/>
          <a:p>
            <a:pPr>
              <a:spcAft>
                <a:spcPts val="600"/>
              </a:spcAft>
            </a:pPr>
            <a:r>
              <a:rPr lang="en-US" dirty="0"/>
              <a:t>Coming out of the Biennial review process in 2018, the following actions were recommended for Ethiopia for the next 2 years:</a:t>
            </a:r>
          </a:p>
          <a:p>
            <a:pPr marL="285750" indent="-285750">
              <a:spcAft>
                <a:spcPts val="600"/>
              </a:spcAft>
              <a:buFont typeface="Arial" panose="020B0604020202020204" pitchFamily="34" charset="0"/>
              <a:buChar char="•"/>
            </a:pPr>
            <a:r>
              <a:rPr lang="en-US" dirty="0">
                <a:solidFill>
                  <a:schemeClr val="tx1"/>
                </a:solidFill>
              </a:rPr>
              <a:t>Ethiopia should invest in nutrition interventions to reduce malnutrition among children under 5 years old.</a:t>
            </a:r>
          </a:p>
          <a:p>
            <a:pPr marL="285750" indent="-285750">
              <a:spcAft>
                <a:spcPts val="600"/>
              </a:spcAft>
              <a:buFont typeface="Arial" panose="020B0604020202020204" pitchFamily="34" charset="0"/>
              <a:buChar char="•"/>
            </a:pPr>
            <a:r>
              <a:rPr lang="en-US" dirty="0">
                <a:solidFill>
                  <a:schemeClr val="tx1"/>
                </a:solidFill>
              </a:rPr>
              <a:t>The country should implement measures aimed at doubling agricultural productivity to meet the related Malabo target.</a:t>
            </a:r>
          </a:p>
          <a:p>
            <a:pPr marL="285750" indent="-285750">
              <a:spcAft>
                <a:spcPts val="600"/>
              </a:spcAft>
              <a:buFont typeface="Arial" panose="020B0604020202020204" pitchFamily="34" charset="0"/>
              <a:buChar char="•"/>
            </a:pPr>
            <a:r>
              <a:rPr lang="en-US" dirty="0">
                <a:solidFill>
                  <a:schemeClr val="tx1"/>
                </a:solidFill>
              </a:rPr>
              <a:t>The country should facilitate access of men and women engaged in agriculture, to financial and agricultural advisory services as one of the key interventions to enhance investment in the </a:t>
            </a:r>
            <a:r>
              <a:rPr lang="en-US" dirty="0" smtClean="0">
                <a:solidFill>
                  <a:schemeClr val="tx1"/>
                </a:solidFill>
              </a:rPr>
              <a:t>sector</a:t>
            </a:r>
            <a:endParaRPr lang="en-US" sz="1050" i="1" dirty="0">
              <a:solidFill>
                <a:schemeClr val="tx1"/>
              </a:solidFill>
            </a:endParaRPr>
          </a:p>
        </p:txBody>
      </p:sp>
      <p:graphicFrame>
        <p:nvGraphicFramePr>
          <p:cNvPr id="13" name="Chart 12">
            <a:extLst>
              <a:ext uri="{FF2B5EF4-FFF2-40B4-BE49-F238E27FC236}">
                <a16:creationId xmlns:a16="http://schemas.microsoft.com/office/drawing/2014/main" id="{027C92CC-0B9A-4746-B91A-742476DF85CB}"/>
              </a:ext>
            </a:extLst>
          </p:cNvPr>
          <p:cNvGraphicFramePr>
            <a:graphicFrameLocks/>
          </p:cNvGraphicFramePr>
          <p:nvPr>
            <p:extLst>
              <p:ext uri="{D42A27DB-BD31-4B8C-83A1-F6EECF244321}">
                <p14:modId xmlns:p14="http://schemas.microsoft.com/office/powerpoint/2010/main" val="1321347017"/>
              </p:ext>
            </p:extLst>
          </p:nvPr>
        </p:nvGraphicFramePr>
        <p:xfrm>
          <a:off x="5999316" y="1051474"/>
          <a:ext cx="3402261" cy="2199436"/>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51218195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250"/>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393204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9333" name="think-cell Slide" r:id="rId15" imgW="395" imgH="396" progId="TCLayout.ActiveDocument.1">
                  <p:embed/>
                </p:oleObj>
              </mc:Choice>
              <mc:Fallback>
                <p:oleObj name="think-cell Slide" r:id="rId15" imgW="395" imgH="396" progId="TCLayout.ActiveDocument.1">
                  <p:embed/>
                  <p:pic>
                    <p:nvPicPr>
                      <p:cNvPr id="2" name="Object 1" hidden="1"/>
                      <p:cNvPicPr/>
                      <p:nvPr/>
                    </p:nvPicPr>
                    <p:blipFill>
                      <a:blip r:embed="rId16"/>
                      <a:stretch>
                        <a:fillRect/>
                      </a:stretch>
                    </p:blipFill>
                    <p:spPr>
                      <a:xfrm>
                        <a:off x="1588" y="1588"/>
                        <a:ext cx="1588" cy="1588"/>
                      </a:xfrm>
                      <a:prstGeom prst="rect">
                        <a:avLst/>
                      </a:prstGeom>
                    </p:spPr>
                  </p:pic>
                </p:oleObj>
              </mc:Fallback>
            </mc:AlternateContent>
          </a:graphicData>
        </a:graphic>
      </p:graphicFrame>
      <p:pic>
        <p:nvPicPr>
          <p:cNvPr id="251" name="Google Shape;251;p38"/>
          <p:cNvPicPr preferRelativeResize="0"/>
          <p:nvPr/>
        </p:nvPicPr>
        <p:blipFill rotWithShape="1">
          <a:blip r:embed="rId17">
            <a:alphaModFix/>
          </a:blip>
          <a:srcRect/>
          <a:stretch/>
        </p:blipFill>
        <p:spPr>
          <a:xfrm>
            <a:off x="1588" y="1588"/>
            <a:ext cx="1588" cy="1588"/>
          </a:xfrm>
          <a:prstGeom prst="rect">
            <a:avLst/>
          </a:prstGeom>
          <a:noFill/>
          <a:ln>
            <a:noFill/>
          </a:ln>
        </p:spPr>
      </p:pic>
      <p:sp>
        <p:nvSpPr>
          <p:cNvPr id="252" name="Google Shape;252;p38"/>
          <p:cNvSpPr txBox="1">
            <a:spLocks noGrp="1"/>
          </p:cNvSpPr>
          <p:nvPr>
            <p:ph type="title"/>
          </p:nvPr>
        </p:nvSpPr>
        <p:spPr>
          <a:xfrm>
            <a:off x="450741" y="134054"/>
            <a:ext cx="7245459" cy="582389"/>
          </a:xfrm>
          <a:prstGeom prst="rect">
            <a:avLst/>
          </a:prstGeom>
        </p:spPr>
        <p:txBody>
          <a:bodyPr lIns="0" tIns="0" rIns="0" bIns="0" anchor="b"/>
          <a:lstStyle/>
          <a:p>
            <a:pPr defTabSz="914395">
              <a:spcBef>
                <a:spcPct val="0"/>
              </a:spcBef>
              <a:buClrTx/>
              <a:buSzTx/>
              <a:buFontTx/>
            </a:pPr>
            <a:r>
              <a:rPr lang="en-US" dirty="0" smtClean="0">
                <a:solidFill>
                  <a:schemeClr val="tx1"/>
                </a:solidFill>
                <a:latin typeface="Arial" panose="020B0604020202020204" pitchFamily="34" charset="0"/>
                <a:cs typeface="Arial" panose="020B0604020202020204" pitchFamily="34" charset="0"/>
              </a:rPr>
              <a:t>Ethiopia’s </a:t>
            </a:r>
            <a:r>
              <a:rPr lang="en-US" dirty="0">
                <a:solidFill>
                  <a:schemeClr val="tx1"/>
                </a:solidFill>
                <a:latin typeface="Arial" panose="020B0604020202020204" pitchFamily="34" charset="0"/>
                <a:cs typeface="Arial" panose="020B0604020202020204" pitchFamily="34" charset="0"/>
              </a:rPr>
              <a:t>Agricultural Agenda is Shaped by a Few Macroeconomic Trends and Contextual Factors (3/4) </a:t>
            </a:r>
            <a:endParaRPr dirty="0">
              <a:solidFill>
                <a:schemeClr val="tx1"/>
              </a:solidFill>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82467878-6164-4F57-BD64-D7BAF47CE956}"/>
              </a:ext>
            </a:extLst>
          </p:cNvPr>
          <p:cNvSpPr txBox="1"/>
          <p:nvPr/>
        </p:nvSpPr>
        <p:spPr>
          <a:xfrm>
            <a:off x="4210664" y="6458739"/>
            <a:ext cx="5900287" cy="338554"/>
          </a:xfrm>
          <a:prstGeom prst="rect">
            <a:avLst/>
          </a:prstGeom>
          <a:noFill/>
        </p:spPr>
        <p:txBody>
          <a:bodyPr wrap="square" rtlCol="0">
            <a:spAutoFit/>
          </a:bodyPr>
          <a:lstStyle/>
          <a:p>
            <a:r>
              <a:rPr lang="en-US" sz="800" dirty="0">
                <a:solidFill>
                  <a:schemeClr val="tx1"/>
                </a:solidFill>
              </a:rPr>
              <a:t> Sources:</a:t>
            </a:r>
            <a:r>
              <a:rPr lang="en-ZA" sz="800" dirty="0">
                <a:solidFill>
                  <a:schemeClr val="tx1"/>
                </a:solidFill>
              </a:rPr>
              <a:t> 1. </a:t>
            </a:r>
            <a:r>
              <a:rPr lang="en-US" sz="800" dirty="0"/>
              <a:t>Country Private Sector Diagnostic; Creating Markets In Ethiopia : </a:t>
            </a:r>
            <a:r>
              <a:rPr lang="en-US" sz="800" u="sng" dirty="0">
                <a:hlinkClick r:id="rId18"/>
              </a:rPr>
              <a:t>https://www.ifc.org/wps/wcm/connect/a45b39ca-1b48-4f18-829a-7282a2e0991b/201905-Ethiopia-CPSD.pdf?MOD=AJPERES</a:t>
            </a:r>
            <a:endParaRPr lang="en-US" sz="800" dirty="0">
              <a:solidFill>
                <a:schemeClr val="tx1"/>
              </a:solidFill>
            </a:endParaRPr>
          </a:p>
        </p:txBody>
      </p:sp>
      <p:grpSp>
        <p:nvGrpSpPr>
          <p:cNvPr id="13" name="Group 12"/>
          <p:cNvGrpSpPr/>
          <p:nvPr/>
        </p:nvGrpSpPr>
        <p:grpSpPr>
          <a:xfrm>
            <a:off x="450741" y="992479"/>
            <a:ext cx="5664142" cy="5358361"/>
            <a:chOff x="756004" y="1113274"/>
            <a:chExt cx="3003263" cy="1297010"/>
          </a:xfrm>
        </p:grpSpPr>
        <p:sp>
          <p:nvSpPr>
            <p:cNvPr id="14" name="Google Shape;253;p38"/>
            <p:cNvSpPr/>
            <p:nvPr/>
          </p:nvSpPr>
          <p:spPr>
            <a:xfrm>
              <a:off x="756004" y="1113274"/>
              <a:ext cx="3003263" cy="57423"/>
            </a:xfrm>
            <a:prstGeom prst="rect">
              <a:avLst/>
            </a:prstGeom>
            <a:solidFill>
              <a:srgbClr val="00B050"/>
            </a:solidFill>
            <a:ln w="12700" cap="flat" cmpd="sng">
              <a:solidFill>
                <a:srgbClr val="7F7F7F"/>
              </a:solidFill>
              <a:prstDash val="solid"/>
              <a:miter lim="800000"/>
              <a:headEnd type="none" w="sm" len="sm"/>
              <a:tailEnd type="none" w="sm" len="sm"/>
            </a:ln>
          </p:spPr>
          <p:txBody>
            <a:bodyPr spcFirstLastPara="1" wrap="square" lIns="91425" tIns="45700" rIns="91425" bIns="45700" anchor="ctr" anchorCtr="0">
              <a:noAutofit/>
            </a:bodyPr>
            <a:lstStyle/>
            <a:p>
              <a:pPr lvl="0"/>
              <a:r>
                <a:rPr lang="en-US" sz="1100" b="1" dirty="0">
                  <a:solidFill>
                    <a:schemeClr val="bg1"/>
                  </a:solidFill>
                </a:rPr>
                <a:t>3. The Private Sector Landscape</a:t>
              </a:r>
              <a:endParaRPr lang="en-US" sz="1100" dirty="0">
                <a:solidFill>
                  <a:schemeClr val="bg1"/>
                </a:solidFill>
              </a:endParaRPr>
            </a:p>
          </p:txBody>
        </p:sp>
        <p:sp>
          <p:nvSpPr>
            <p:cNvPr id="15" name="Google Shape;255;p38"/>
            <p:cNvSpPr/>
            <p:nvPr/>
          </p:nvSpPr>
          <p:spPr>
            <a:xfrm>
              <a:off x="756004" y="1170697"/>
              <a:ext cx="3003263" cy="1239587"/>
            </a:xfrm>
            <a:prstGeom prst="rect">
              <a:avLst/>
            </a:prstGeom>
            <a:noFill/>
            <a:ln w="12700" cap="flat" cmpd="sng">
              <a:solidFill>
                <a:srgbClr val="7F7F7F"/>
              </a:solidFill>
              <a:prstDash val="solid"/>
              <a:miter lim="800000"/>
              <a:headEnd type="none" w="sm" len="sm"/>
              <a:tailEnd type="none" w="sm" len="sm"/>
            </a:ln>
          </p:spPr>
          <p:txBody>
            <a:bodyPr spcFirstLastPara="1" wrap="square" lIns="91425" tIns="45700" rIns="91425" bIns="45700" anchor="t" anchorCtr="0">
              <a:noAutofit/>
            </a:bodyPr>
            <a:lstStyle/>
            <a:p>
              <a:pPr marL="171450" indent="-171450">
                <a:buFont typeface="Arial" panose="020B0604020202020204" pitchFamily="34" charset="0"/>
                <a:buChar char="•"/>
              </a:pPr>
              <a:r>
                <a:rPr lang="en-ZA" sz="1100" dirty="0">
                  <a:solidFill>
                    <a:schemeClr val="tx1"/>
                  </a:solidFill>
                </a:rPr>
                <a:t>The Ethiopian GDP has grown on average 10% per over the last 8 years showing a positive trend for agriculture given its contribution of a third of the GDP. Job creation is now the critical development challenge, raising the importance of the private sector agenda. The private sector in Ethiopia, however, remains nascent. The state continues to play a heavy role through state-owned enterprises (</a:t>
              </a:r>
              <a:r>
                <a:rPr lang="en-ZA" sz="1100" dirty="0" err="1">
                  <a:solidFill>
                    <a:schemeClr val="tx1"/>
                  </a:solidFill>
                </a:rPr>
                <a:t>SOEs</a:t>
              </a:r>
              <a:r>
                <a:rPr lang="en-ZA" sz="1100" dirty="0">
                  <a:solidFill>
                    <a:schemeClr val="tx1"/>
                  </a:solidFill>
                </a:rPr>
                <a:t>) in key areas of the </a:t>
              </a:r>
              <a:r>
                <a:rPr lang="en-ZA" sz="1100" dirty="0" smtClean="0">
                  <a:solidFill>
                    <a:schemeClr val="tx1"/>
                  </a:solidFill>
                </a:rPr>
                <a:t>economy. Recently </a:t>
              </a:r>
              <a:r>
                <a:rPr lang="en-ZA" sz="1100" dirty="0">
                  <a:solidFill>
                    <a:schemeClr val="tx1"/>
                  </a:solidFill>
                </a:rPr>
                <a:t>announced reforms, including the opening of key enabling sectors in telecoms, energy, aviation, and logistics for private foreign participation, signal a new phase for private sector </a:t>
              </a:r>
              <a:r>
                <a:rPr lang="en-ZA" sz="1100" dirty="0" err="1" smtClean="0">
                  <a:solidFill>
                    <a:schemeClr val="tx1"/>
                  </a:solidFill>
                </a:rPr>
                <a:t>development</a:t>
              </a:r>
              <a:r>
                <a:rPr lang="en-ZA" sz="1100" baseline="30000" dirty="0" err="1" smtClean="0">
                  <a:solidFill>
                    <a:schemeClr val="tx1"/>
                  </a:solidFill>
                </a:rPr>
                <a:t>1</a:t>
              </a:r>
              <a:r>
                <a:rPr lang="en-ZA" sz="1100" baseline="30000" dirty="0" smtClean="0">
                  <a:solidFill>
                    <a:schemeClr val="tx1"/>
                  </a:solidFill>
                </a:rPr>
                <a:t>.</a:t>
              </a:r>
              <a:endParaRPr lang="en-US" sz="1100" baseline="30000" dirty="0">
                <a:solidFill>
                  <a:schemeClr val="tx1"/>
                </a:solidFill>
              </a:endParaRPr>
            </a:p>
            <a:p>
              <a:pPr marL="171450" indent="-171450">
                <a:buFont typeface="Arial" panose="020B0604020202020204" pitchFamily="34" charset="0"/>
                <a:buChar char="•"/>
              </a:pPr>
              <a:r>
                <a:rPr lang="en-ZA" sz="1100" dirty="0">
                  <a:solidFill>
                    <a:schemeClr val="tx1"/>
                  </a:solidFill>
                </a:rPr>
                <a:t>There remain significant opportunities for growth in the private sector to leverage the country’s key sources of comparative advantage: low </a:t>
              </a:r>
              <a:r>
                <a:rPr lang="en-ZA" sz="1100" dirty="0" err="1">
                  <a:solidFill>
                    <a:schemeClr val="tx1"/>
                  </a:solidFill>
                </a:rPr>
                <a:t>labor</a:t>
              </a:r>
              <a:r>
                <a:rPr lang="en-ZA" sz="1100" dirty="0">
                  <a:solidFill>
                    <a:schemeClr val="tx1"/>
                  </a:solidFill>
                </a:rPr>
                <a:t> costs, relatively cheap power, preferential access to regional and global markets, and an ideal climate. The development of industrial parks and the provision of quality infrastructure have been the main focus of the government for attracting private sector investment. Industrial parks are aimed at attracting foreign investment in specific export-orientated manufacturing sectors, such as textiles and apparel, </a:t>
              </a:r>
              <a:r>
                <a:rPr lang="en-ZA" sz="1100" dirty="0" smtClean="0">
                  <a:solidFill>
                    <a:schemeClr val="tx1"/>
                  </a:solidFill>
                </a:rPr>
                <a:t>leather and agro-</a:t>
              </a:r>
              <a:r>
                <a:rPr lang="en-ZA" sz="1100" dirty="0" err="1" smtClean="0">
                  <a:solidFill>
                    <a:schemeClr val="tx1"/>
                  </a:solidFill>
                </a:rPr>
                <a:t>processing</a:t>
              </a:r>
              <a:r>
                <a:rPr lang="en-ZA" sz="1100" baseline="30000" dirty="0" err="1">
                  <a:solidFill>
                    <a:schemeClr val="tx1"/>
                  </a:solidFill>
                </a:rPr>
                <a:t>1</a:t>
              </a:r>
              <a:r>
                <a:rPr lang="en-ZA" sz="1100" dirty="0" smtClean="0">
                  <a:solidFill>
                    <a:schemeClr val="tx1"/>
                  </a:solidFill>
                </a:rPr>
                <a:t>.</a:t>
              </a:r>
              <a:endParaRPr lang="en-US" sz="1100" dirty="0">
                <a:solidFill>
                  <a:schemeClr val="tx1"/>
                </a:solidFill>
              </a:endParaRPr>
            </a:p>
            <a:p>
              <a:pPr marL="171450" indent="-171450">
                <a:buFont typeface="Arial" panose="020B0604020202020204" pitchFamily="34" charset="0"/>
                <a:buChar char="•"/>
              </a:pPr>
              <a:r>
                <a:rPr lang="en-ZA" sz="1100" dirty="0">
                  <a:solidFill>
                    <a:schemeClr val="tx1"/>
                  </a:solidFill>
                </a:rPr>
                <a:t>Other challenges facing private sector investment that could be addressed by government include: 1.) Improving access to credit for the private sector – Only 16% of the private sector get financing from banks compared to 41% in Kenya. Private sector credit amounts to only 9% of GDP, in contrast to the 20% median for Sub-Saharan Africa. 2.) Modernizing the logistics sector to reduce high trade costs and increase the range of services to serve an expanding industrial base 3.) Reducing costs and increasing the penetration of ICT and Telecommunications Services – Ethiopia </a:t>
              </a:r>
              <a:r>
                <a:rPr lang="en-ZA" sz="1100" dirty="0" smtClean="0">
                  <a:solidFill>
                    <a:schemeClr val="tx1"/>
                  </a:solidFill>
                </a:rPr>
                <a:t>has a </a:t>
              </a:r>
              <a:r>
                <a:rPr lang="en-ZA" sz="1100" dirty="0">
                  <a:solidFill>
                    <a:schemeClr val="tx1"/>
                  </a:solidFill>
                </a:rPr>
                <a:t>very low ICT development ranking in the world, and the participation of the private sector in both primary and downstream ICT services is very low 4.) Reducing regulatory impediments that constrain access to foreign exchange. 5.) Reducing barriers to entry </a:t>
              </a:r>
              <a:r>
                <a:rPr lang="en-ZA" sz="1100" dirty="0" smtClean="0">
                  <a:solidFill>
                    <a:schemeClr val="tx1"/>
                  </a:solidFill>
                </a:rPr>
                <a:t>that constrain </a:t>
              </a:r>
              <a:r>
                <a:rPr lang="en-ZA" sz="1100" dirty="0">
                  <a:solidFill>
                    <a:schemeClr val="tx1"/>
                  </a:solidFill>
                </a:rPr>
                <a:t>women entrepreneurs. Nearly half of female-managed firms identify access to finance as a major constraint compared with 19 percent of male-managed firms. 6.) Reducing restrictive trade policies that create a bias against exporting – Imports tariffs are high relative to comparator </a:t>
              </a:r>
              <a:r>
                <a:rPr lang="en-ZA" sz="1100" dirty="0" err="1">
                  <a:solidFill>
                    <a:schemeClr val="tx1"/>
                  </a:solidFill>
                </a:rPr>
                <a:t>countries</a:t>
              </a:r>
              <a:r>
                <a:rPr lang="en-ZA" sz="1100" baseline="30000" dirty="0" err="1">
                  <a:solidFill>
                    <a:schemeClr val="tx1"/>
                  </a:solidFill>
                </a:rPr>
                <a:t>1</a:t>
              </a:r>
              <a:r>
                <a:rPr lang="en-ZA" sz="1100" baseline="30000" dirty="0" smtClean="0">
                  <a:solidFill>
                    <a:schemeClr val="tx1"/>
                  </a:solidFill>
                </a:rPr>
                <a:t>.</a:t>
              </a:r>
              <a:endParaRPr lang="en-US" sz="1100" baseline="30000" dirty="0">
                <a:solidFill>
                  <a:schemeClr val="tx1"/>
                </a:solidFill>
              </a:endParaRPr>
            </a:p>
          </p:txBody>
        </p:sp>
      </p:grpSp>
      <p:grpSp>
        <p:nvGrpSpPr>
          <p:cNvPr id="19" name="Group 18"/>
          <p:cNvGrpSpPr/>
          <p:nvPr/>
        </p:nvGrpSpPr>
        <p:grpSpPr>
          <a:xfrm>
            <a:off x="6337640" y="1237013"/>
            <a:ext cx="3568359" cy="3660037"/>
            <a:chOff x="1837935" y="682240"/>
            <a:chExt cx="6759321" cy="6015866"/>
          </a:xfrm>
        </p:grpSpPr>
        <p:sp>
          <p:nvSpPr>
            <p:cNvPr id="20" name="Text Placeholder 12"/>
            <p:cNvSpPr>
              <a:spLocks/>
            </p:cNvSpPr>
            <p:nvPr>
              <p:custDataLst>
                <p:tags r:id="rId3"/>
              </p:custDataLst>
            </p:nvPr>
          </p:nvSpPr>
          <p:spPr bwMode="auto">
            <a:xfrm>
              <a:off x="2836395" y="682240"/>
              <a:ext cx="4128728" cy="278234"/>
            </a:xfrm>
            <a:prstGeom prst="rect">
              <a:avLst/>
            </a:prstGeom>
            <a:noFill/>
            <a:ln w="9525">
              <a:noFill/>
              <a:miter lim="800000"/>
              <a:headEnd/>
              <a:tailEnd/>
            </a:ln>
          </p:spPr>
          <p:txBody>
            <a:bodyPr wrap="square" lIns="0" tIns="0" rIns="0" bIns="0">
              <a:spAutoFit/>
            </a:bodyPr>
            <a:lstStyle/>
            <a:p>
              <a:pPr lvl="1" algn="ctr" defTabSz="1019175"/>
              <a:r>
                <a:rPr lang="en-US" sz="1100" b="1" dirty="0" smtClean="0">
                  <a:solidFill>
                    <a:schemeClr val="tx1"/>
                  </a:solidFill>
                  <a:latin typeface="+mn-lt"/>
                </a:rPr>
                <a:t>Private sector barriers</a:t>
              </a:r>
              <a:endParaRPr lang="en-US" sz="1100" b="1" dirty="0">
                <a:solidFill>
                  <a:schemeClr val="tx1"/>
                </a:solidFill>
                <a:latin typeface="+mn-lt"/>
              </a:endParaRPr>
            </a:p>
          </p:txBody>
        </p:sp>
        <p:sp>
          <p:nvSpPr>
            <p:cNvPr id="21" name="Text Placeholder 12"/>
            <p:cNvSpPr>
              <a:spLocks/>
            </p:cNvSpPr>
            <p:nvPr>
              <p:custDataLst>
                <p:tags r:id="rId4"/>
              </p:custDataLst>
            </p:nvPr>
          </p:nvSpPr>
          <p:spPr bwMode="auto">
            <a:xfrm>
              <a:off x="3661982" y="3725152"/>
              <a:ext cx="1982451" cy="372439"/>
            </a:xfrm>
            <a:prstGeom prst="rect">
              <a:avLst/>
            </a:prstGeom>
            <a:noFill/>
            <a:ln w="9525">
              <a:noFill/>
              <a:miter lim="800000"/>
              <a:headEnd/>
              <a:tailEnd/>
            </a:ln>
          </p:spPr>
          <p:txBody>
            <a:bodyPr wrap="square" lIns="36000" tIns="36000" rIns="36000" bIns="36000">
              <a:spAutoFit/>
            </a:bodyPr>
            <a:lstStyle/>
            <a:p>
              <a:pPr defTabSz="1019175">
                <a:spcAft>
                  <a:spcPts val="300"/>
                </a:spcAft>
              </a:pPr>
              <a:r>
                <a:rPr lang="en-US" sz="1000" b="1" dirty="0" smtClean="0">
                  <a:solidFill>
                    <a:schemeClr val="tx1"/>
                  </a:solidFill>
                  <a:latin typeface="+mn-lt"/>
                </a:rPr>
                <a:t>Private Sector</a:t>
              </a:r>
              <a:endParaRPr lang="en-US" sz="1000" b="1" dirty="0">
                <a:solidFill>
                  <a:schemeClr val="tx1"/>
                </a:solidFill>
                <a:latin typeface="+mn-lt"/>
              </a:endParaRPr>
            </a:p>
          </p:txBody>
        </p:sp>
        <p:sp>
          <p:nvSpPr>
            <p:cNvPr id="22" name="Freeform 3"/>
            <p:cNvSpPr>
              <a:spLocks/>
            </p:cNvSpPr>
            <p:nvPr>
              <p:custDataLst>
                <p:tags r:id="rId5"/>
              </p:custDataLst>
            </p:nvPr>
          </p:nvSpPr>
          <p:spPr bwMode="blackWhite">
            <a:xfrm>
              <a:off x="4900760" y="2174617"/>
              <a:ext cx="1446212" cy="1373187"/>
            </a:xfrm>
            <a:custGeom>
              <a:avLst/>
              <a:gdLst>
                <a:gd name="T0" fmla="*/ 2147483647 w 671"/>
                <a:gd name="T1" fmla="*/ 2147483647 h 658"/>
                <a:gd name="T2" fmla="*/ 2147483647 w 671"/>
                <a:gd name="T3" fmla="*/ 2147483647 h 658"/>
                <a:gd name="T4" fmla="*/ 0 w 671"/>
                <a:gd name="T5" fmla="*/ 2147483647 h 658"/>
                <a:gd name="T6" fmla="*/ 0 w 671"/>
                <a:gd name="T7" fmla="*/ 2147483647 h 658"/>
                <a:gd name="T8" fmla="*/ 2147483647 w 671"/>
                <a:gd name="T9" fmla="*/ 2147483647 h 658"/>
                <a:gd name="T10" fmla="*/ 2147483647 w 671"/>
                <a:gd name="T11" fmla="*/ 2147483647 h 658"/>
                <a:gd name="T12" fmla="*/ 2147483647 w 671"/>
                <a:gd name="T13" fmla="*/ 0 h 658"/>
                <a:gd name="T14" fmla="*/ 2147483647 w 671"/>
                <a:gd name="T15" fmla="*/ 2147483647 h 658"/>
                <a:gd name="T16" fmla="*/ 2147483647 w 671"/>
                <a:gd name="T17" fmla="*/ 2147483647 h 658"/>
                <a:gd name="T18" fmla="*/ 2147483647 w 671"/>
                <a:gd name="T19" fmla="*/ 2147483647 h 658"/>
                <a:gd name="T20" fmla="*/ 2147483647 w 671"/>
                <a:gd name="T21" fmla="*/ 2147483647 h 658"/>
                <a:gd name="T22" fmla="*/ 2147483647 w 671"/>
                <a:gd name="T23" fmla="*/ 2147483647 h 65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71"/>
                <a:gd name="T37" fmla="*/ 0 h 658"/>
                <a:gd name="T38" fmla="*/ 671 w 671"/>
                <a:gd name="T39" fmla="*/ 658 h 65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71" h="658">
                  <a:moveTo>
                    <a:pt x="491" y="578"/>
                  </a:moveTo>
                  <a:lnTo>
                    <a:pt x="491" y="657"/>
                  </a:lnTo>
                  <a:lnTo>
                    <a:pt x="0" y="657"/>
                  </a:lnTo>
                  <a:lnTo>
                    <a:pt x="0" y="166"/>
                  </a:lnTo>
                  <a:lnTo>
                    <a:pt x="95" y="166"/>
                  </a:lnTo>
                  <a:lnTo>
                    <a:pt x="95" y="506"/>
                  </a:lnTo>
                  <a:lnTo>
                    <a:pt x="602" y="0"/>
                  </a:lnTo>
                  <a:lnTo>
                    <a:pt x="670" y="63"/>
                  </a:lnTo>
                  <a:lnTo>
                    <a:pt x="166" y="570"/>
                  </a:lnTo>
                  <a:lnTo>
                    <a:pt x="491" y="570"/>
                  </a:lnTo>
                  <a:lnTo>
                    <a:pt x="491" y="657"/>
                  </a:lnTo>
                  <a:lnTo>
                    <a:pt x="491" y="578"/>
                  </a:lnTo>
                </a:path>
              </a:pathLst>
            </a:custGeom>
            <a:ln>
              <a:headEnd/>
              <a:tailEnd/>
            </a:ln>
          </p:spPr>
          <p:style>
            <a:lnRef idx="1">
              <a:schemeClr val="accent6"/>
            </a:lnRef>
            <a:fillRef idx="0">
              <a:schemeClr val="accent6"/>
            </a:fillRef>
            <a:effectRef idx="0">
              <a:schemeClr val="accent6"/>
            </a:effectRef>
            <a:fontRef idx="minor">
              <a:schemeClr val="tx1"/>
            </a:fontRef>
          </p:style>
          <p:txBody>
            <a:bodyPr lIns="36000" tIns="36000" rIns="36000" bIns="36000"/>
            <a:lstStyle/>
            <a:p>
              <a:endParaRPr lang="en-US">
                <a:solidFill>
                  <a:schemeClr val="tx1"/>
                </a:solidFill>
                <a:latin typeface="+mn-lt"/>
              </a:endParaRPr>
            </a:p>
          </p:txBody>
        </p:sp>
        <p:sp>
          <p:nvSpPr>
            <p:cNvPr id="23" name="Freeform 4"/>
            <p:cNvSpPr>
              <a:spLocks/>
            </p:cNvSpPr>
            <p:nvPr>
              <p:custDataLst>
                <p:tags r:id="rId6"/>
              </p:custDataLst>
            </p:nvPr>
          </p:nvSpPr>
          <p:spPr bwMode="blackWhite">
            <a:xfrm>
              <a:off x="4900760" y="4190742"/>
              <a:ext cx="1454150" cy="1389062"/>
            </a:xfrm>
            <a:custGeom>
              <a:avLst/>
              <a:gdLst>
                <a:gd name="T0" fmla="*/ 2147483647 w 674"/>
                <a:gd name="T1" fmla="*/ 2147483647 h 666"/>
                <a:gd name="T2" fmla="*/ 2147483647 w 674"/>
                <a:gd name="T3" fmla="*/ 0 h 666"/>
                <a:gd name="T4" fmla="*/ 0 w 674"/>
                <a:gd name="T5" fmla="*/ 0 h 666"/>
                <a:gd name="T6" fmla="*/ 0 w 674"/>
                <a:gd name="T7" fmla="*/ 2147483647 h 666"/>
                <a:gd name="T8" fmla="*/ 2147483647 w 674"/>
                <a:gd name="T9" fmla="*/ 2147483647 h 666"/>
                <a:gd name="T10" fmla="*/ 2147483647 w 674"/>
                <a:gd name="T11" fmla="*/ 2147483647 h 666"/>
                <a:gd name="T12" fmla="*/ 2147483647 w 674"/>
                <a:gd name="T13" fmla="*/ 2147483647 h 666"/>
                <a:gd name="T14" fmla="*/ 2147483647 w 674"/>
                <a:gd name="T15" fmla="*/ 2147483647 h 666"/>
                <a:gd name="T16" fmla="*/ 2147483647 w 674"/>
                <a:gd name="T17" fmla="*/ 2147483647 h 666"/>
                <a:gd name="T18" fmla="*/ 2147483647 w 674"/>
                <a:gd name="T19" fmla="*/ 2147483647 h 666"/>
                <a:gd name="T20" fmla="*/ 2147483647 w 674"/>
                <a:gd name="T21" fmla="*/ 0 h 666"/>
                <a:gd name="T22" fmla="*/ 2147483647 w 674"/>
                <a:gd name="T23" fmla="*/ 2147483647 h 66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74"/>
                <a:gd name="T37" fmla="*/ 0 h 666"/>
                <a:gd name="T38" fmla="*/ 674 w 674"/>
                <a:gd name="T39" fmla="*/ 666 h 66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74" h="666">
                  <a:moveTo>
                    <a:pt x="491" y="79"/>
                  </a:moveTo>
                  <a:lnTo>
                    <a:pt x="491" y="0"/>
                  </a:lnTo>
                  <a:lnTo>
                    <a:pt x="0" y="0"/>
                  </a:lnTo>
                  <a:lnTo>
                    <a:pt x="0" y="491"/>
                  </a:lnTo>
                  <a:lnTo>
                    <a:pt x="95" y="491"/>
                  </a:lnTo>
                  <a:lnTo>
                    <a:pt x="95" y="159"/>
                  </a:lnTo>
                  <a:lnTo>
                    <a:pt x="602" y="665"/>
                  </a:lnTo>
                  <a:lnTo>
                    <a:pt x="673" y="594"/>
                  </a:lnTo>
                  <a:lnTo>
                    <a:pt x="174" y="95"/>
                  </a:lnTo>
                  <a:lnTo>
                    <a:pt x="491" y="95"/>
                  </a:lnTo>
                  <a:lnTo>
                    <a:pt x="491" y="0"/>
                  </a:lnTo>
                  <a:lnTo>
                    <a:pt x="491" y="79"/>
                  </a:lnTo>
                </a:path>
              </a:pathLst>
            </a:custGeom>
            <a:ln>
              <a:headEnd/>
              <a:tailEnd/>
            </a:ln>
          </p:spPr>
          <p:style>
            <a:lnRef idx="1">
              <a:schemeClr val="accent6"/>
            </a:lnRef>
            <a:fillRef idx="0">
              <a:schemeClr val="accent6"/>
            </a:fillRef>
            <a:effectRef idx="0">
              <a:schemeClr val="accent6"/>
            </a:effectRef>
            <a:fontRef idx="minor">
              <a:schemeClr val="tx1"/>
            </a:fontRef>
          </p:style>
          <p:txBody>
            <a:bodyPr lIns="36000" tIns="36000" rIns="36000" bIns="36000"/>
            <a:lstStyle/>
            <a:p>
              <a:endParaRPr lang="en-US">
                <a:solidFill>
                  <a:schemeClr val="tx1"/>
                </a:solidFill>
                <a:latin typeface="+mn-lt"/>
              </a:endParaRPr>
            </a:p>
          </p:txBody>
        </p:sp>
        <p:sp>
          <p:nvSpPr>
            <p:cNvPr id="24" name="Freeform 5"/>
            <p:cNvSpPr>
              <a:spLocks/>
            </p:cNvSpPr>
            <p:nvPr>
              <p:custDataLst>
                <p:tags r:id="rId7"/>
              </p:custDataLst>
            </p:nvPr>
          </p:nvSpPr>
          <p:spPr bwMode="blackWhite">
            <a:xfrm>
              <a:off x="2783035" y="4190742"/>
              <a:ext cx="1465262" cy="1403350"/>
            </a:xfrm>
            <a:custGeom>
              <a:avLst/>
              <a:gdLst>
                <a:gd name="T0" fmla="*/ 2147483647 w 680"/>
                <a:gd name="T1" fmla="*/ 2147483647 h 672"/>
                <a:gd name="T2" fmla="*/ 2147483647 w 680"/>
                <a:gd name="T3" fmla="*/ 0 h 672"/>
                <a:gd name="T4" fmla="*/ 2147483647 w 680"/>
                <a:gd name="T5" fmla="*/ 0 h 672"/>
                <a:gd name="T6" fmla="*/ 2147483647 w 680"/>
                <a:gd name="T7" fmla="*/ 2147483647 h 672"/>
                <a:gd name="T8" fmla="*/ 2147483647 w 680"/>
                <a:gd name="T9" fmla="*/ 2147483647 h 672"/>
                <a:gd name="T10" fmla="*/ 2147483647 w 680"/>
                <a:gd name="T11" fmla="*/ 2147483647 h 672"/>
                <a:gd name="T12" fmla="*/ 2147483647 w 680"/>
                <a:gd name="T13" fmla="*/ 2147483647 h 672"/>
                <a:gd name="T14" fmla="*/ 0 w 680"/>
                <a:gd name="T15" fmla="*/ 2147483647 h 672"/>
                <a:gd name="T16" fmla="*/ 2147483647 w 680"/>
                <a:gd name="T17" fmla="*/ 2147483647 h 672"/>
                <a:gd name="T18" fmla="*/ 2147483647 w 680"/>
                <a:gd name="T19" fmla="*/ 2147483647 h 672"/>
                <a:gd name="T20" fmla="*/ 2147483647 w 680"/>
                <a:gd name="T21" fmla="*/ 0 h 67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80"/>
                <a:gd name="T34" fmla="*/ 0 h 672"/>
                <a:gd name="T35" fmla="*/ 680 w 680"/>
                <a:gd name="T36" fmla="*/ 672 h 67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80" h="672">
                  <a:moveTo>
                    <a:pt x="184" y="80"/>
                  </a:moveTo>
                  <a:lnTo>
                    <a:pt x="184" y="0"/>
                  </a:lnTo>
                  <a:lnTo>
                    <a:pt x="679" y="0"/>
                  </a:lnTo>
                  <a:lnTo>
                    <a:pt x="679" y="495"/>
                  </a:lnTo>
                  <a:lnTo>
                    <a:pt x="583" y="495"/>
                  </a:lnTo>
                  <a:lnTo>
                    <a:pt x="583" y="160"/>
                  </a:lnTo>
                  <a:lnTo>
                    <a:pt x="72" y="671"/>
                  </a:lnTo>
                  <a:lnTo>
                    <a:pt x="0" y="599"/>
                  </a:lnTo>
                  <a:lnTo>
                    <a:pt x="503" y="96"/>
                  </a:lnTo>
                  <a:lnTo>
                    <a:pt x="184" y="96"/>
                  </a:lnTo>
                  <a:lnTo>
                    <a:pt x="184" y="0"/>
                  </a:lnTo>
                </a:path>
              </a:pathLst>
            </a:custGeom>
            <a:ln>
              <a:headEnd type="none" w="sm" len="sm"/>
              <a:tailEnd type="none" w="sm" len="sm"/>
            </a:ln>
          </p:spPr>
          <p:style>
            <a:lnRef idx="1">
              <a:schemeClr val="accent6"/>
            </a:lnRef>
            <a:fillRef idx="0">
              <a:schemeClr val="accent6"/>
            </a:fillRef>
            <a:effectRef idx="0">
              <a:schemeClr val="accent6"/>
            </a:effectRef>
            <a:fontRef idx="minor">
              <a:schemeClr val="tx1"/>
            </a:fontRef>
          </p:style>
          <p:txBody>
            <a:bodyPr lIns="36000" tIns="36000" rIns="36000" bIns="36000"/>
            <a:lstStyle/>
            <a:p>
              <a:endParaRPr lang="en-US">
                <a:solidFill>
                  <a:schemeClr val="tx1"/>
                </a:solidFill>
                <a:latin typeface="+mn-lt"/>
              </a:endParaRPr>
            </a:p>
          </p:txBody>
        </p:sp>
        <p:sp>
          <p:nvSpPr>
            <p:cNvPr id="25" name="Freeform 6"/>
            <p:cNvSpPr>
              <a:spLocks/>
            </p:cNvSpPr>
            <p:nvPr>
              <p:custDataLst>
                <p:tags r:id="rId8"/>
              </p:custDataLst>
            </p:nvPr>
          </p:nvSpPr>
          <p:spPr bwMode="blackWhite">
            <a:xfrm>
              <a:off x="2783035" y="2161917"/>
              <a:ext cx="1465262" cy="1385887"/>
            </a:xfrm>
            <a:custGeom>
              <a:avLst/>
              <a:gdLst>
                <a:gd name="T0" fmla="*/ 2147483647 w 680"/>
                <a:gd name="T1" fmla="*/ 2147483647 h 664"/>
                <a:gd name="T2" fmla="*/ 2147483647 w 680"/>
                <a:gd name="T3" fmla="*/ 2147483647 h 664"/>
                <a:gd name="T4" fmla="*/ 2147483647 w 680"/>
                <a:gd name="T5" fmla="*/ 2147483647 h 664"/>
                <a:gd name="T6" fmla="*/ 2147483647 w 680"/>
                <a:gd name="T7" fmla="*/ 2147483647 h 664"/>
                <a:gd name="T8" fmla="*/ 2147483647 w 680"/>
                <a:gd name="T9" fmla="*/ 2147483647 h 664"/>
                <a:gd name="T10" fmla="*/ 2147483647 w 680"/>
                <a:gd name="T11" fmla="*/ 2147483647 h 664"/>
                <a:gd name="T12" fmla="*/ 2147483647 w 680"/>
                <a:gd name="T13" fmla="*/ 0 h 664"/>
                <a:gd name="T14" fmla="*/ 0 w 680"/>
                <a:gd name="T15" fmla="*/ 2147483647 h 664"/>
                <a:gd name="T16" fmla="*/ 2147483647 w 680"/>
                <a:gd name="T17" fmla="*/ 2147483647 h 664"/>
                <a:gd name="T18" fmla="*/ 2147483647 w 680"/>
                <a:gd name="T19" fmla="*/ 2147483647 h 664"/>
                <a:gd name="T20" fmla="*/ 2147483647 w 680"/>
                <a:gd name="T21" fmla="*/ 2147483647 h 6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80"/>
                <a:gd name="T34" fmla="*/ 0 h 664"/>
                <a:gd name="T35" fmla="*/ 680 w 680"/>
                <a:gd name="T36" fmla="*/ 664 h 6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80" h="664">
                  <a:moveTo>
                    <a:pt x="184" y="583"/>
                  </a:moveTo>
                  <a:lnTo>
                    <a:pt x="184" y="663"/>
                  </a:lnTo>
                  <a:lnTo>
                    <a:pt x="679" y="663"/>
                  </a:lnTo>
                  <a:lnTo>
                    <a:pt x="679" y="168"/>
                  </a:lnTo>
                  <a:lnTo>
                    <a:pt x="583" y="168"/>
                  </a:lnTo>
                  <a:lnTo>
                    <a:pt x="583" y="511"/>
                  </a:lnTo>
                  <a:lnTo>
                    <a:pt x="72" y="0"/>
                  </a:lnTo>
                  <a:lnTo>
                    <a:pt x="0" y="72"/>
                  </a:lnTo>
                  <a:lnTo>
                    <a:pt x="511" y="575"/>
                  </a:lnTo>
                  <a:lnTo>
                    <a:pt x="184" y="575"/>
                  </a:lnTo>
                  <a:lnTo>
                    <a:pt x="184" y="663"/>
                  </a:lnTo>
                </a:path>
              </a:pathLst>
            </a:custGeom>
            <a:ln>
              <a:headEnd type="none" w="sm" len="sm"/>
              <a:tailEnd type="none" w="sm" len="sm"/>
            </a:ln>
          </p:spPr>
          <p:style>
            <a:lnRef idx="1">
              <a:schemeClr val="accent6"/>
            </a:lnRef>
            <a:fillRef idx="0">
              <a:schemeClr val="accent6"/>
            </a:fillRef>
            <a:effectRef idx="0">
              <a:schemeClr val="accent6"/>
            </a:effectRef>
            <a:fontRef idx="minor">
              <a:schemeClr val="tx1"/>
            </a:fontRef>
          </p:style>
          <p:txBody>
            <a:bodyPr lIns="36000" tIns="36000" rIns="36000" bIns="36000"/>
            <a:lstStyle/>
            <a:p>
              <a:endParaRPr lang="en-US">
                <a:solidFill>
                  <a:schemeClr val="tx1"/>
                </a:solidFill>
                <a:latin typeface="+mn-lt"/>
              </a:endParaRPr>
            </a:p>
          </p:txBody>
        </p:sp>
        <p:sp>
          <p:nvSpPr>
            <p:cNvPr id="26" name="Text Placeholder 5"/>
            <p:cNvSpPr txBox="1">
              <a:spLocks/>
            </p:cNvSpPr>
            <p:nvPr>
              <p:custDataLst>
                <p:tags r:id="rId9"/>
              </p:custDataLst>
            </p:nvPr>
          </p:nvSpPr>
          <p:spPr>
            <a:xfrm>
              <a:off x="1837935" y="1460309"/>
              <a:ext cx="2410361" cy="675968"/>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lvl="1"/>
              <a:r>
                <a:rPr lang="en-US" sz="1100" dirty="0" smtClean="0">
                  <a:solidFill>
                    <a:schemeClr val="tx1"/>
                  </a:solidFill>
                </a:rPr>
                <a:t>Restrictive policies</a:t>
              </a:r>
            </a:p>
          </p:txBody>
        </p:sp>
        <p:sp>
          <p:nvSpPr>
            <p:cNvPr id="27" name="Text Placeholder 5"/>
            <p:cNvSpPr txBox="1">
              <a:spLocks/>
            </p:cNvSpPr>
            <p:nvPr>
              <p:custDataLst>
                <p:tags r:id="rId10"/>
              </p:custDataLst>
            </p:nvPr>
          </p:nvSpPr>
          <p:spPr>
            <a:xfrm>
              <a:off x="2068443" y="5659589"/>
              <a:ext cx="2386518" cy="1038517"/>
            </a:xfrm>
            <a:prstGeom prst="rect">
              <a:avLst/>
            </a:prstGeom>
          </p:spPr>
          <p:txBody>
            <a:bodyPr wrap="square" lIns="36000" tIns="36000" rIns="36000" bIns="36000">
              <a:spAutoFit/>
            </a:bodyPr>
            <a:lstStyle>
              <a:defPPr marR="0" lvl="0" algn="l" rtl="0">
                <a:lnSpc>
                  <a:spcPct val="100000"/>
                </a:lnSpc>
                <a:spcBef>
                  <a:spcPts val="0"/>
                </a:spcBef>
                <a:spcAft>
                  <a:spcPts val="0"/>
                </a:spcAft>
              </a:defPPr>
              <a:lvl1pPr marL="0" indent="0" defTabSz="957263" eaLnBrk="1" fontAlgn="base" hangingPunct="1">
                <a:spcBef>
                  <a:spcPts val="400"/>
                </a:spcBef>
                <a:buFont typeface="Arial" charset="0"/>
                <a:defRPr kern="1200">
                  <a:solidFill>
                    <a:schemeClr val="tx2"/>
                  </a:solidFill>
                  <a:latin typeface="+mn-lt"/>
                  <a:ea typeface="+mn-ea"/>
                  <a:cs typeface="+mn-cs"/>
                </a:defRPr>
              </a:lvl1pPr>
              <a:lvl2pPr marL="180000" indent="-180000" defTabSz="957263" eaLnBrk="1" fontAlgn="base" hangingPunct="1">
                <a:spcBef>
                  <a:spcPts val="400"/>
                </a:spcBef>
                <a:buFont typeface="Arial" charset="0"/>
                <a:buChar char="•"/>
                <a:defRPr sz="1100" kern="1200">
                  <a:solidFill>
                    <a:schemeClr val="tx1"/>
                  </a:solidFill>
                  <a:latin typeface="+mn-lt"/>
                  <a:ea typeface="+mj-ea"/>
                  <a:cs typeface="+mj-cs"/>
                </a:defRPr>
              </a:lvl2pPr>
              <a:lvl3pPr marL="360000" indent="-180000" defTabSz="957263" eaLnBrk="1" fontAlgn="base" hangingPunct="1">
                <a:spcBef>
                  <a:spcPts val="400"/>
                </a:spcBef>
                <a:buFont typeface="Arial" charset="0"/>
                <a:buChar char="‒"/>
                <a:defRPr sz="1200" kern="1200">
                  <a:solidFill>
                    <a:schemeClr val="tx2"/>
                  </a:solidFill>
                  <a:latin typeface="+mn-lt"/>
                  <a:ea typeface="+mj-ea"/>
                  <a:cs typeface="+mj-cs"/>
                </a:defRPr>
              </a:lvl3pPr>
              <a:lvl4pPr marL="540000" indent="-180000" defTabSz="957263" eaLnBrk="1" fontAlgn="base" hangingPunct="1">
                <a:spcBef>
                  <a:spcPts val="400"/>
                </a:spcBef>
                <a:buFont typeface="Arial" charset="0"/>
                <a:buChar char="•"/>
                <a:defRPr sz="1200" kern="1200">
                  <a:solidFill>
                    <a:schemeClr val="tx2"/>
                  </a:solidFill>
                  <a:latin typeface="+mn-lt"/>
                  <a:ea typeface="+mj-ea"/>
                  <a:cs typeface="+mj-cs"/>
                </a:defRPr>
              </a:lvl4pPr>
              <a:lvl5pPr marL="720000" indent="-179388" defTabSz="957263" eaLnBrk="1" fontAlgn="base" hangingPunct="1">
                <a:spcBef>
                  <a:spcPts val="400"/>
                </a:spcBef>
                <a:buFont typeface="Arial" charset="0"/>
                <a:buChar char="‒"/>
                <a:defRPr sz="1200" kern="1200">
                  <a:solidFill>
                    <a:schemeClr val="tx2"/>
                  </a:solidFill>
                  <a:latin typeface="+mn-lt"/>
                  <a:ea typeface="+mj-ea"/>
                  <a:cs typeface="+mj-cs"/>
                </a:defRPr>
              </a:lvl5pPr>
              <a:lvl6pPr marL="900000" indent="-180000" defTabSz="859512" eaLnBrk="1" latinLnBrk="0" hangingPunct="1">
                <a:spcBef>
                  <a:spcPts val="400"/>
                </a:spcBef>
                <a:buFont typeface="Arial" pitchFamily="34" charset="0"/>
                <a:buChar char="•"/>
                <a:defRPr sz="1200" kern="1200" baseline="0">
                  <a:solidFill>
                    <a:schemeClr val="accent1"/>
                  </a:solidFill>
                  <a:latin typeface="+mn-lt"/>
                  <a:ea typeface="+mn-ea"/>
                  <a:cs typeface="+mn-cs"/>
                </a:defRPr>
              </a:lvl6pPr>
              <a:lvl7pPr marL="1080000" indent="-180000" defTabSz="859512" eaLnBrk="1" latinLnBrk="0" hangingPunct="1">
                <a:spcBef>
                  <a:spcPts val="400"/>
                </a:spcBef>
                <a:buFont typeface="Arial" pitchFamily="34" charset="0"/>
                <a:buChar char="‒"/>
                <a:defRPr sz="1200" kern="1200">
                  <a:solidFill>
                    <a:schemeClr val="accent1"/>
                  </a:solidFill>
                  <a:latin typeface="+mn-lt"/>
                  <a:ea typeface="+mn-ea"/>
                  <a:cs typeface="+mn-cs"/>
                </a:defRPr>
              </a:lvl7pPr>
              <a:lvl8pPr marL="1260000" indent="-180000" defTabSz="859512" eaLnBrk="1" latinLnBrk="0" hangingPunct="1">
                <a:spcBef>
                  <a:spcPts val="400"/>
                </a:spcBef>
                <a:buFont typeface="Arial" pitchFamily="34" charset="0"/>
                <a:buChar char="•"/>
                <a:defRPr sz="1200" kern="1200">
                  <a:solidFill>
                    <a:schemeClr val="accent1"/>
                  </a:solidFill>
                  <a:latin typeface="+mn-lt"/>
                  <a:ea typeface="+mn-ea"/>
                  <a:cs typeface="+mn-cs"/>
                </a:defRPr>
              </a:lvl8pPr>
              <a:lvl9pPr marL="1440000" indent="-180000" defTabSz="859512" eaLnBrk="1" latinLnBrk="0" hangingPunct="1">
                <a:spcBef>
                  <a:spcPts val="400"/>
                </a:spcBef>
                <a:buFont typeface="Arial" pitchFamily="34" charset="0"/>
                <a:buChar char="‒"/>
                <a:defRPr sz="1200" kern="1200">
                  <a:solidFill>
                    <a:schemeClr val="accent1"/>
                  </a:solidFill>
                  <a:latin typeface="+mn-lt"/>
                  <a:ea typeface="+mn-ea"/>
                  <a:cs typeface="+mn-cs"/>
                </a:defRPr>
              </a:lvl9pPr>
            </a:lstStyle>
            <a:p>
              <a:pPr lvl="1"/>
              <a:r>
                <a:rPr lang="en-US" dirty="0" smtClean="0"/>
                <a:t>High trade costs</a:t>
              </a:r>
            </a:p>
            <a:p>
              <a:pPr lvl="1"/>
              <a:endParaRPr lang="en-US" dirty="0"/>
            </a:p>
          </p:txBody>
        </p:sp>
        <p:sp>
          <p:nvSpPr>
            <p:cNvPr id="28" name="Text Placeholder 5"/>
            <p:cNvSpPr txBox="1">
              <a:spLocks/>
            </p:cNvSpPr>
            <p:nvPr>
              <p:custDataLst>
                <p:tags r:id="rId11"/>
              </p:custDataLst>
            </p:nvPr>
          </p:nvSpPr>
          <p:spPr>
            <a:xfrm>
              <a:off x="6442888" y="1794580"/>
              <a:ext cx="2154368" cy="1232438"/>
            </a:xfrm>
            <a:prstGeom prst="rect">
              <a:avLst/>
            </a:prstGeom>
          </p:spPr>
          <p:txBody>
            <a:bodyPr wrap="square" lIns="36000" tIns="36000" rIns="36000" bIns="36000">
              <a:spAutoFit/>
            </a:bodyPr>
            <a:lstStyle>
              <a:defPPr marR="0" lvl="0" algn="l" rtl="0">
                <a:lnSpc>
                  <a:spcPct val="100000"/>
                </a:lnSpc>
                <a:spcBef>
                  <a:spcPts val="0"/>
                </a:spcBef>
                <a:spcAft>
                  <a:spcPts val="0"/>
                </a:spcAft>
              </a:defPPr>
              <a:lvl1pPr marL="0" indent="0" defTabSz="957263" eaLnBrk="1" fontAlgn="base" hangingPunct="1">
                <a:spcBef>
                  <a:spcPts val="400"/>
                </a:spcBef>
                <a:buFont typeface="Arial" charset="0"/>
                <a:defRPr kern="1200">
                  <a:solidFill>
                    <a:schemeClr val="tx2"/>
                  </a:solidFill>
                  <a:latin typeface="+mn-lt"/>
                  <a:ea typeface="+mn-ea"/>
                  <a:cs typeface="+mn-cs"/>
                </a:defRPr>
              </a:lvl1pPr>
              <a:lvl2pPr marL="180000" indent="-180000" defTabSz="957263" eaLnBrk="1" fontAlgn="base" hangingPunct="1">
                <a:spcBef>
                  <a:spcPts val="400"/>
                </a:spcBef>
                <a:buFont typeface="Arial" charset="0"/>
                <a:buChar char="•"/>
                <a:defRPr sz="1100" kern="1200">
                  <a:solidFill>
                    <a:schemeClr val="tx1"/>
                  </a:solidFill>
                  <a:latin typeface="+mn-lt"/>
                  <a:ea typeface="+mj-ea"/>
                  <a:cs typeface="+mj-cs"/>
                </a:defRPr>
              </a:lvl2pPr>
              <a:lvl3pPr marL="360000" indent="-180000" defTabSz="957263" eaLnBrk="1" fontAlgn="base" hangingPunct="1">
                <a:spcBef>
                  <a:spcPts val="400"/>
                </a:spcBef>
                <a:buFont typeface="Arial" charset="0"/>
                <a:buChar char="‒"/>
                <a:defRPr sz="1200" kern="1200">
                  <a:solidFill>
                    <a:schemeClr val="tx2"/>
                  </a:solidFill>
                  <a:latin typeface="+mn-lt"/>
                  <a:ea typeface="+mj-ea"/>
                  <a:cs typeface="+mj-cs"/>
                </a:defRPr>
              </a:lvl3pPr>
              <a:lvl4pPr marL="540000" indent="-180000" defTabSz="957263" eaLnBrk="1" fontAlgn="base" hangingPunct="1">
                <a:spcBef>
                  <a:spcPts val="400"/>
                </a:spcBef>
                <a:buFont typeface="Arial" charset="0"/>
                <a:buChar char="•"/>
                <a:defRPr sz="1200" kern="1200">
                  <a:solidFill>
                    <a:schemeClr val="tx2"/>
                  </a:solidFill>
                  <a:latin typeface="+mn-lt"/>
                  <a:ea typeface="+mj-ea"/>
                  <a:cs typeface="+mj-cs"/>
                </a:defRPr>
              </a:lvl4pPr>
              <a:lvl5pPr marL="720000" indent="-179388" defTabSz="957263" eaLnBrk="1" fontAlgn="base" hangingPunct="1">
                <a:spcBef>
                  <a:spcPts val="400"/>
                </a:spcBef>
                <a:buFont typeface="Arial" charset="0"/>
                <a:buChar char="‒"/>
                <a:defRPr sz="1200" kern="1200">
                  <a:solidFill>
                    <a:schemeClr val="tx2"/>
                  </a:solidFill>
                  <a:latin typeface="+mn-lt"/>
                  <a:ea typeface="+mj-ea"/>
                  <a:cs typeface="+mj-cs"/>
                </a:defRPr>
              </a:lvl5pPr>
              <a:lvl6pPr marL="900000" indent="-180000" defTabSz="859512" eaLnBrk="1" latinLnBrk="0" hangingPunct="1">
                <a:spcBef>
                  <a:spcPts val="400"/>
                </a:spcBef>
                <a:buFont typeface="Arial" pitchFamily="34" charset="0"/>
                <a:buChar char="•"/>
                <a:defRPr sz="1200" kern="1200" baseline="0">
                  <a:solidFill>
                    <a:schemeClr val="accent1"/>
                  </a:solidFill>
                  <a:latin typeface="+mn-lt"/>
                  <a:ea typeface="+mn-ea"/>
                  <a:cs typeface="+mn-cs"/>
                </a:defRPr>
              </a:lvl6pPr>
              <a:lvl7pPr marL="1080000" indent="-180000" defTabSz="859512" eaLnBrk="1" latinLnBrk="0" hangingPunct="1">
                <a:spcBef>
                  <a:spcPts val="400"/>
                </a:spcBef>
                <a:buFont typeface="Arial" pitchFamily="34" charset="0"/>
                <a:buChar char="‒"/>
                <a:defRPr sz="1200" kern="1200">
                  <a:solidFill>
                    <a:schemeClr val="accent1"/>
                  </a:solidFill>
                  <a:latin typeface="+mn-lt"/>
                  <a:ea typeface="+mn-ea"/>
                  <a:cs typeface="+mn-cs"/>
                </a:defRPr>
              </a:lvl7pPr>
              <a:lvl8pPr marL="1260000" indent="-180000" defTabSz="859512" eaLnBrk="1" latinLnBrk="0" hangingPunct="1">
                <a:spcBef>
                  <a:spcPts val="400"/>
                </a:spcBef>
                <a:buFont typeface="Arial" pitchFamily="34" charset="0"/>
                <a:buChar char="•"/>
                <a:defRPr sz="1200" kern="1200">
                  <a:solidFill>
                    <a:schemeClr val="accent1"/>
                  </a:solidFill>
                  <a:latin typeface="+mn-lt"/>
                  <a:ea typeface="+mn-ea"/>
                  <a:cs typeface="+mn-cs"/>
                </a:defRPr>
              </a:lvl8pPr>
              <a:lvl9pPr marL="1440000" indent="-180000" defTabSz="859512" eaLnBrk="1" latinLnBrk="0" hangingPunct="1">
                <a:spcBef>
                  <a:spcPts val="400"/>
                </a:spcBef>
                <a:buFont typeface="Arial" pitchFamily="34" charset="0"/>
                <a:buChar char="‒"/>
                <a:defRPr sz="1200" kern="1200">
                  <a:solidFill>
                    <a:schemeClr val="accent1"/>
                  </a:solidFill>
                  <a:latin typeface="+mn-lt"/>
                  <a:ea typeface="+mn-ea"/>
                  <a:cs typeface="+mn-cs"/>
                </a:defRPr>
              </a:lvl9pPr>
            </a:lstStyle>
            <a:p>
              <a:pPr lvl="1"/>
              <a:r>
                <a:rPr lang="en-US" dirty="0" smtClean="0"/>
                <a:t>Inadequate access </a:t>
              </a:r>
              <a:r>
                <a:rPr lang="en-US" dirty="0"/>
                <a:t>to </a:t>
              </a:r>
              <a:r>
                <a:rPr lang="en-US" dirty="0" smtClean="0"/>
                <a:t>financial </a:t>
              </a:r>
              <a:r>
                <a:rPr lang="en-US" dirty="0"/>
                <a:t>services</a:t>
              </a:r>
            </a:p>
          </p:txBody>
        </p:sp>
        <p:sp>
          <p:nvSpPr>
            <p:cNvPr id="29" name="Text Placeholder 5"/>
            <p:cNvSpPr txBox="1">
              <a:spLocks/>
            </p:cNvSpPr>
            <p:nvPr>
              <p:custDataLst>
                <p:tags r:id="rId12"/>
              </p:custDataLst>
            </p:nvPr>
          </p:nvSpPr>
          <p:spPr>
            <a:xfrm>
              <a:off x="6346972" y="5313958"/>
              <a:ext cx="1981511" cy="1316751"/>
            </a:xfrm>
            <a:prstGeom prst="rect">
              <a:avLst/>
            </a:prstGeom>
          </p:spPr>
          <p:txBody>
            <a:bodyPr wrap="square" lIns="36000" tIns="36000" rIns="36000" bIns="36000">
              <a:spAutoFit/>
            </a:bodyPr>
            <a:lstStyle>
              <a:defPPr marR="0" lvl="0" algn="l" rtl="0">
                <a:lnSpc>
                  <a:spcPct val="100000"/>
                </a:lnSpc>
                <a:spcBef>
                  <a:spcPts val="0"/>
                </a:spcBef>
                <a:spcAft>
                  <a:spcPts val="0"/>
                </a:spcAft>
              </a:defPPr>
              <a:lvl1pPr marL="0" indent="0" defTabSz="957263" eaLnBrk="1" fontAlgn="base" hangingPunct="1">
                <a:spcBef>
                  <a:spcPts val="400"/>
                </a:spcBef>
                <a:buFont typeface="Arial" charset="0"/>
                <a:defRPr kern="1200">
                  <a:solidFill>
                    <a:schemeClr val="tx2"/>
                  </a:solidFill>
                  <a:latin typeface="+mn-lt"/>
                  <a:ea typeface="+mn-ea"/>
                  <a:cs typeface="+mn-cs"/>
                </a:defRPr>
              </a:lvl1pPr>
              <a:lvl2pPr marL="180000" indent="-180000" defTabSz="957263" eaLnBrk="1" fontAlgn="base" hangingPunct="1">
                <a:spcBef>
                  <a:spcPts val="400"/>
                </a:spcBef>
                <a:buFont typeface="Arial" charset="0"/>
                <a:buChar char="•"/>
                <a:defRPr sz="1100" kern="1200">
                  <a:solidFill>
                    <a:schemeClr val="tx1"/>
                  </a:solidFill>
                  <a:latin typeface="+mn-lt"/>
                  <a:ea typeface="+mj-ea"/>
                  <a:cs typeface="+mj-cs"/>
                </a:defRPr>
              </a:lvl2pPr>
              <a:lvl3pPr marL="360000" indent="-180000" defTabSz="957263" eaLnBrk="1" fontAlgn="base" hangingPunct="1">
                <a:spcBef>
                  <a:spcPts val="400"/>
                </a:spcBef>
                <a:buFont typeface="Arial" charset="0"/>
                <a:buChar char="‒"/>
                <a:defRPr sz="1200" kern="1200">
                  <a:solidFill>
                    <a:schemeClr val="tx2"/>
                  </a:solidFill>
                  <a:latin typeface="+mn-lt"/>
                  <a:ea typeface="+mj-ea"/>
                  <a:cs typeface="+mj-cs"/>
                </a:defRPr>
              </a:lvl3pPr>
              <a:lvl4pPr marL="540000" indent="-180000" defTabSz="957263" eaLnBrk="1" fontAlgn="base" hangingPunct="1">
                <a:spcBef>
                  <a:spcPts val="400"/>
                </a:spcBef>
                <a:buFont typeface="Arial" charset="0"/>
                <a:buChar char="•"/>
                <a:defRPr sz="1200" kern="1200">
                  <a:solidFill>
                    <a:schemeClr val="tx2"/>
                  </a:solidFill>
                  <a:latin typeface="+mn-lt"/>
                  <a:ea typeface="+mj-ea"/>
                  <a:cs typeface="+mj-cs"/>
                </a:defRPr>
              </a:lvl4pPr>
              <a:lvl5pPr marL="720000" indent="-179388" defTabSz="957263" eaLnBrk="1" fontAlgn="base" hangingPunct="1">
                <a:spcBef>
                  <a:spcPts val="400"/>
                </a:spcBef>
                <a:buFont typeface="Arial" charset="0"/>
                <a:buChar char="‒"/>
                <a:defRPr sz="1200" kern="1200">
                  <a:solidFill>
                    <a:schemeClr val="tx2"/>
                  </a:solidFill>
                  <a:latin typeface="+mn-lt"/>
                  <a:ea typeface="+mj-ea"/>
                  <a:cs typeface="+mj-cs"/>
                </a:defRPr>
              </a:lvl5pPr>
              <a:lvl6pPr marL="900000" indent="-180000" defTabSz="859512" eaLnBrk="1" latinLnBrk="0" hangingPunct="1">
                <a:spcBef>
                  <a:spcPts val="400"/>
                </a:spcBef>
                <a:buFont typeface="Arial" pitchFamily="34" charset="0"/>
                <a:buChar char="•"/>
                <a:defRPr sz="1200" kern="1200" baseline="0">
                  <a:solidFill>
                    <a:schemeClr val="accent1"/>
                  </a:solidFill>
                  <a:latin typeface="+mn-lt"/>
                  <a:ea typeface="+mn-ea"/>
                  <a:cs typeface="+mn-cs"/>
                </a:defRPr>
              </a:lvl6pPr>
              <a:lvl7pPr marL="1080000" indent="-180000" defTabSz="859512" eaLnBrk="1" latinLnBrk="0" hangingPunct="1">
                <a:spcBef>
                  <a:spcPts val="400"/>
                </a:spcBef>
                <a:buFont typeface="Arial" pitchFamily="34" charset="0"/>
                <a:buChar char="‒"/>
                <a:defRPr sz="1200" kern="1200">
                  <a:solidFill>
                    <a:schemeClr val="accent1"/>
                  </a:solidFill>
                  <a:latin typeface="+mn-lt"/>
                  <a:ea typeface="+mn-ea"/>
                  <a:cs typeface="+mn-cs"/>
                </a:defRPr>
              </a:lvl7pPr>
              <a:lvl8pPr marL="1260000" indent="-180000" defTabSz="859512" eaLnBrk="1" latinLnBrk="0" hangingPunct="1">
                <a:spcBef>
                  <a:spcPts val="400"/>
                </a:spcBef>
                <a:buFont typeface="Arial" pitchFamily="34" charset="0"/>
                <a:buChar char="•"/>
                <a:defRPr sz="1200" kern="1200">
                  <a:solidFill>
                    <a:schemeClr val="accent1"/>
                  </a:solidFill>
                  <a:latin typeface="+mn-lt"/>
                  <a:ea typeface="+mn-ea"/>
                  <a:cs typeface="+mn-cs"/>
                </a:defRPr>
              </a:lvl8pPr>
              <a:lvl9pPr marL="1440000" indent="-180000" defTabSz="859512" eaLnBrk="1" latinLnBrk="0" hangingPunct="1">
                <a:spcBef>
                  <a:spcPts val="400"/>
                </a:spcBef>
                <a:buFont typeface="Arial" pitchFamily="34" charset="0"/>
                <a:buChar char="‒"/>
                <a:defRPr sz="1200" kern="1200">
                  <a:solidFill>
                    <a:schemeClr val="accent1"/>
                  </a:solidFill>
                  <a:latin typeface="+mn-lt"/>
                  <a:ea typeface="+mn-ea"/>
                  <a:cs typeface="+mn-cs"/>
                </a:defRPr>
              </a:lvl9pPr>
            </a:lstStyle>
            <a:p>
              <a:pPr lvl="1"/>
              <a:r>
                <a:rPr lang="en-US" dirty="0"/>
                <a:t>High taxes</a:t>
              </a:r>
            </a:p>
            <a:p>
              <a:pPr lvl="1"/>
              <a:r>
                <a:rPr lang="en-US" dirty="0" smtClean="0"/>
                <a:t>Unfriendly </a:t>
              </a:r>
              <a:r>
                <a:rPr lang="en-US" dirty="0"/>
                <a:t>business </a:t>
              </a:r>
              <a:r>
                <a:rPr lang="en-US" dirty="0" smtClean="0"/>
                <a:t>environment</a:t>
              </a:r>
              <a:endParaRPr lang="en-US" dirty="0"/>
            </a:p>
          </p:txBody>
        </p:sp>
      </p:grpSp>
    </p:spTree>
    <p:extLst>
      <p:ext uri="{BB962C8B-B14F-4D97-AF65-F5344CB8AC3E}">
        <p14:creationId xmlns:p14="http://schemas.microsoft.com/office/powerpoint/2010/main" val="82851819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250"/>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207501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8357" name="think-cell Slide" r:id="rId5" imgW="395" imgH="396" progId="TCLayout.ActiveDocument.1">
                  <p:embed/>
                </p:oleObj>
              </mc:Choice>
              <mc:Fallback>
                <p:oleObj name="think-cell Slide" r:id="rId5" imgW="395" imgH="396"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51" name="Google Shape;251;p38"/>
          <p:cNvPicPr preferRelativeResize="0"/>
          <p:nvPr/>
        </p:nvPicPr>
        <p:blipFill rotWithShape="1">
          <a:blip r:embed="rId7">
            <a:alphaModFix/>
          </a:blip>
          <a:srcRect/>
          <a:stretch/>
        </p:blipFill>
        <p:spPr>
          <a:xfrm>
            <a:off x="1588" y="1588"/>
            <a:ext cx="1588" cy="1588"/>
          </a:xfrm>
          <a:prstGeom prst="rect">
            <a:avLst/>
          </a:prstGeom>
          <a:noFill/>
          <a:ln>
            <a:noFill/>
          </a:ln>
        </p:spPr>
      </p:pic>
      <p:sp>
        <p:nvSpPr>
          <p:cNvPr id="252" name="Google Shape;252;p38"/>
          <p:cNvSpPr txBox="1">
            <a:spLocks noGrp="1"/>
          </p:cNvSpPr>
          <p:nvPr>
            <p:ph type="title"/>
          </p:nvPr>
        </p:nvSpPr>
        <p:spPr>
          <a:xfrm>
            <a:off x="450741" y="134054"/>
            <a:ext cx="7245459" cy="582389"/>
          </a:xfrm>
          <a:prstGeom prst="rect">
            <a:avLst/>
          </a:prstGeom>
        </p:spPr>
        <p:txBody>
          <a:bodyPr lIns="0" tIns="0" rIns="0" bIns="0" anchor="b"/>
          <a:lstStyle/>
          <a:p>
            <a:pPr defTabSz="914395">
              <a:spcBef>
                <a:spcPct val="0"/>
              </a:spcBef>
              <a:buClrTx/>
              <a:buSzTx/>
              <a:buFontTx/>
            </a:pPr>
            <a:r>
              <a:rPr lang="en-US" dirty="0" smtClean="0">
                <a:solidFill>
                  <a:schemeClr val="tx1"/>
                </a:solidFill>
                <a:latin typeface="Arial" panose="020B0604020202020204" pitchFamily="34" charset="0"/>
                <a:cs typeface="Arial" panose="020B0604020202020204" pitchFamily="34" charset="0"/>
              </a:rPr>
              <a:t>Ethiopia’s </a:t>
            </a:r>
            <a:r>
              <a:rPr lang="en-US" dirty="0">
                <a:solidFill>
                  <a:schemeClr val="tx1"/>
                </a:solidFill>
                <a:latin typeface="Arial" panose="020B0604020202020204" pitchFamily="34" charset="0"/>
                <a:cs typeface="Arial" panose="020B0604020202020204" pitchFamily="34" charset="0"/>
              </a:rPr>
              <a:t>Agricultural Agenda is Shaped by a Few Macroeconomic Trends and Contextual Factors (4/4) </a:t>
            </a:r>
            <a:endParaRPr dirty="0">
              <a:solidFill>
                <a:schemeClr val="tx1"/>
              </a:solidFill>
              <a:latin typeface="Arial" panose="020B0604020202020204" pitchFamily="34" charset="0"/>
              <a:cs typeface="Arial" panose="020B0604020202020204" pitchFamily="34" charset="0"/>
            </a:endParaRPr>
          </a:p>
        </p:txBody>
      </p:sp>
      <p:grpSp>
        <p:nvGrpSpPr>
          <p:cNvPr id="13" name="Group 12"/>
          <p:cNvGrpSpPr/>
          <p:nvPr/>
        </p:nvGrpSpPr>
        <p:grpSpPr>
          <a:xfrm>
            <a:off x="450741" y="992479"/>
            <a:ext cx="4983107" cy="4945865"/>
            <a:chOff x="756004" y="1113274"/>
            <a:chExt cx="3003263" cy="1197164"/>
          </a:xfrm>
        </p:grpSpPr>
        <p:sp>
          <p:nvSpPr>
            <p:cNvPr id="14" name="Google Shape;253;p38"/>
            <p:cNvSpPr/>
            <p:nvPr/>
          </p:nvSpPr>
          <p:spPr>
            <a:xfrm>
              <a:off x="756004" y="1113274"/>
              <a:ext cx="3003263" cy="57423"/>
            </a:xfrm>
            <a:prstGeom prst="rect">
              <a:avLst/>
            </a:prstGeom>
            <a:solidFill>
              <a:srgbClr val="00B050"/>
            </a:solidFill>
            <a:ln w="12700" cap="flat" cmpd="sng">
              <a:solidFill>
                <a:srgbClr val="7F7F7F"/>
              </a:solidFill>
              <a:prstDash val="solid"/>
              <a:miter lim="800000"/>
              <a:headEnd type="none" w="sm" len="sm"/>
              <a:tailEnd type="none" w="sm" len="sm"/>
            </a:ln>
          </p:spPr>
          <p:txBody>
            <a:bodyPr spcFirstLastPara="1" wrap="square" lIns="91425" tIns="45700" rIns="91425" bIns="45700" anchor="ctr" anchorCtr="0">
              <a:noAutofit/>
            </a:bodyPr>
            <a:lstStyle/>
            <a:p>
              <a:pPr lvl="0"/>
              <a:r>
                <a:rPr lang="en-US" sz="1100" b="1" dirty="0" smtClean="0">
                  <a:solidFill>
                    <a:schemeClr val="bg1"/>
                  </a:solidFill>
                </a:rPr>
                <a:t>4</a:t>
              </a:r>
              <a:r>
                <a:rPr lang="en-US" sz="1100" dirty="0" smtClean="0">
                  <a:solidFill>
                    <a:schemeClr val="bg1"/>
                  </a:solidFill>
                </a:rPr>
                <a:t>. </a:t>
              </a:r>
              <a:r>
                <a:rPr lang="en-US" sz="1100" b="1" dirty="0" smtClean="0">
                  <a:solidFill>
                    <a:schemeClr val="bg1"/>
                  </a:solidFill>
                </a:rPr>
                <a:t>The Small Holder Land Scape</a:t>
              </a:r>
              <a:endParaRPr lang="en-US" sz="1100" dirty="0">
                <a:solidFill>
                  <a:schemeClr val="bg1"/>
                </a:solidFill>
              </a:endParaRPr>
            </a:p>
          </p:txBody>
        </p:sp>
        <p:sp>
          <p:nvSpPr>
            <p:cNvPr id="21" name="Google Shape;255;p38"/>
            <p:cNvSpPr/>
            <p:nvPr/>
          </p:nvSpPr>
          <p:spPr>
            <a:xfrm>
              <a:off x="756004" y="1170697"/>
              <a:ext cx="3003263" cy="1139741"/>
            </a:xfrm>
            <a:prstGeom prst="rect">
              <a:avLst/>
            </a:prstGeom>
            <a:noFill/>
            <a:ln w="12700" cap="flat" cmpd="sng">
              <a:solidFill>
                <a:srgbClr val="7F7F7F"/>
              </a:solidFill>
              <a:prstDash val="solid"/>
              <a:miter lim="800000"/>
              <a:headEnd type="none" w="sm" len="sm"/>
              <a:tailEnd type="none" w="sm" len="sm"/>
            </a:ln>
          </p:spPr>
          <p:txBody>
            <a:bodyPr spcFirstLastPara="1" wrap="square" lIns="91425" tIns="45700" rIns="91425" bIns="45700" anchor="t" anchorCtr="0">
              <a:noAutofit/>
            </a:bodyPr>
            <a:lstStyle/>
            <a:p>
              <a:pPr marL="171450" indent="-171450">
                <a:buFont typeface="Arial" panose="020B0604020202020204" pitchFamily="34" charset="0"/>
                <a:buChar char="•"/>
              </a:pPr>
              <a:r>
                <a:rPr lang="en-US" sz="1100" dirty="0"/>
                <a:t>Smallholders account for 96 percent of total area cultivated, in Ethiopia and generate the key share of total production for the main </a:t>
              </a:r>
              <a:r>
                <a:rPr lang="en-US" sz="1100" dirty="0" err="1"/>
                <a:t>crops</a:t>
              </a:r>
              <a:r>
                <a:rPr lang="en-US" sz="1100" baseline="30000" dirty="0" err="1"/>
                <a:t>1</a:t>
              </a:r>
              <a:r>
                <a:rPr lang="en-US" sz="1100" dirty="0"/>
                <a:t>; they live in farms </a:t>
              </a:r>
              <a:r>
                <a:rPr lang="en-US" sz="1100" dirty="0" smtClean="0"/>
                <a:t>significantly </a:t>
              </a:r>
              <a:r>
                <a:rPr lang="en-US" sz="1100" dirty="0"/>
                <a:t>smaller than 2 hectares. I</a:t>
              </a:r>
              <a:r>
                <a:rPr lang="en-US" sz="1100" dirty="0" smtClean="0"/>
                <a:t>n Ethiopia, </a:t>
              </a:r>
              <a:r>
                <a:rPr lang="en-US" sz="1100" dirty="0"/>
                <a:t>the average small farm size is 0.9 hectares. Women provide substantial labor in smallholder farms. </a:t>
              </a:r>
            </a:p>
            <a:p>
              <a:pPr marL="288925" lvl="0" indent="-288925">
                <a:buClr>
                  <a:srgbClr val="385623"/>
                </a:buClr>
                <a:buSzPts val="1050"/>
                <a:buFont typeface="Arial" panose="020B0604020202020204" pitchFamily="34" charset="0"/>
                <a:buChar char="•"/>
              </a:pPr>
              <a:r>
                <a:rPr lang="en-US" sz="1100" dirty="0">
                  <a:solidFill>
                    <a:schemeClr val="tx1"/>
                  </a:solidFill>
                </a:rPr>
                <a:t>Smallholder farmers in </a:t>
              </a:r>
              <a:r>
                <a:rPr lang="en-US" sz="1100" dirty="0" smtClean="0">
                  <a:solidFill>
                    <a:schemeClr val="tx1"/>
                  </a:solidFill>
                </a:rPr>
                <a:t>Ethiopia quick facts: </a:t>
              </a:r>
            </a:p>
            <a:p>
              <a:pPr marL="457200" lvl="4" indent="-171450">
                <a:buClr>
                  <a:srgbClr val="385623"/>
                </a:buClr>
                <a:buSzPts val="1050"/>
                <a:buFont typeface="Arial" panose="020B0604020202020204" pitchFamily="34" charset="0"/>
                <a:buChar char="•"/>
              </a:pPr>
              <a:r>
                <a:rPr lang="en-US" sz="1100" dirty="0" smtClean="0"/>
                <a:t>Only </a:t>
              </a:r>
              <a:r>
                <a:rPr lang="en-US" sz="1100" dirty="0">
                  <a:solidFill>
                    <a:schemeClr val="tx1"/>
                  </a:solidFill>
                </a:rPr>
                <a:t>21 % </a:t>
              </a:r>
              <a:r>
                <a:rPr lang="en-US" sz="1100" dirty="0"/>
                <a:t>of smallholder farmers in Ethiopia have adopted improved seed, 2% of arable land is irrigated and only 3.7% have access to agricultural machinery that would drive productivity</a:t>
              </a:r>
              <a:endParaRPr lang="en-US" sz="1100" dirty="0">
                <a:solidFill>
                  <a:schemeClr val="tx1"/>
                </a:solidFill>
              </a:endParaRPr>
            </a:p>
            <a:p>
              <a:pPr marL="457200" lvl="4" indent="-171450">
                <a:buClr>
                  <a:srgbClr val="385623"/>
                </a:buClr>
                <a:buSzPts val="1050"/>
                <a:buFont typeface="Arial" panose="020B0604020202020204" pitchFamily="34" charset="0"/>
                <a:buChar char="•"/>
              </a:pPr>
              <a:r>
                <a:rPr lang="en-US" sz="1100" dirty="0">
                  <a:solidFill>
                    <a:schemeClr val="tx1"/>
                  </a:solidFill>
                </a:rPr>
                <a:t>An average distance of 44 km to the closest road isolates many farmers from input and output markets. </a:t>
              </a:r>
              <a:endParaRPr lang="en-US" sz="1100" baseline="30000" dirty="0">
                <a:solidFill>
                  <a:schemeClr val="tx1"/>
                </a:solidFill>
              </a:endParaRPr>
            </a:p>
            <a:p>
              <a:pPr marL="457200" lvl="4" indent="-171450">
                <a:buClr>
                  <a:srgbClr val="385623"/>
                </a:buClr>
                <a:buSzPts val="1050"/>
                <a:buFont typeface="Arial" panose="020B0604020202020204" pitchFamily="34" charset="0"/>
                <a:buChar char="•"/>
              </a:pPr>
              <a:r>
                <a:rPr lang="en-US" sz="1100" dirty="0">
                  <a:solidFill>
                    <a:schemeClr val="tx1"/>
                  </a:solidFill>
                </a:rPr>
                <a:t>The extension agent to farmer ratio is 1:400</a:t>
              </a:r>
              <a:endParaRPr lang="en-US" sz="1100" baseline="30000" dirty="0">
                <a:solidFill>
                  <a:schemeClr val="tx1"/>
                </a:solidFill>
              </a:endParaRPr>
            </a:p>
            <a:p>
              <a:pPr marL="457200" lvl="4" indent="-171450">
                <a:buClr>
                  <a:srgbClr val="385623"/>
                </a:buClr>
                <a:buSzPts val="1050"/>
                <a:buFont typeface="Arial" panose="020B0604020202020204" pitchFamily="34" charset="0"/>
                <a:buChar char="•"/>
              </a:pPr>
              <a:r>
                <a:rPr lang="en-US" sz="1100" dirty="0">
                  <a:solidFill>
                    <a:schemeClr val="tx1"/>
                  </a:solidFill>
                </a:rPr>
                <a:t>Fertilizer use stands at 14.4 kg/ha which is way below the </a:t>
              </a:r>
              <a:r>
                <a:rPr lang="en-US" sz="1100" dirty="0" err="1">
                  <a:solidFill>
                    <a:schemeClr val="tx1"/>
                  </a:solidFill>
                </a:rPr>
                <a:t>50kg</a:t>
              </a:r>
              <a:r>
                <a:rPr lang="en-US" sz="1100" dirty="0">
                  <a:solidFill>
                    <a:schemeClr val="tx1"/>
                  </a:solidFill>
                </a:rPr>
                <a:t>/ha recommendation</a:t>
              </a:r>
              <a:r>
                <a:rPr lang="en-US" sz="1100" baseline="30000" dirty="0">
                  <a:solidFill>
                    <a:schemeClr val="tx1"/>
                  </a:solidFill>
                </a:rPr>
                <a:t>  (</a:t>
              </a:r>
              <a:r>
                <a:rPr lang="en-US" sz="1100" dirty="0">
                  <a:solidFill>
                    <a:schemeClr val="tx1"/>
                  </a:solidFill>
                </a:rPr>
                <a:t>World Bank 2019)</a:t>
              </a:r>
            </a:p>
            <a:p>
              <a:pPr marL="285750" indent="-285750">
                <a:buFont typeface="Arial" panose="020B0604020202020204" pitchFamily="34" charset="0"/>
                <a:buChar char="•"/>
              </a:pPr>
              <a:r>
                <a:rPr lang="en-US" sz="1100" dirty="0" smtClean="0">
                  <a:solidFill>
                    <a:schemeClr val="tx1"/>
                  </a:solidFill>
                </a:rPr>
                <a:t>Average </a:t>
              </a:r>
              <a:r>
                <a:rPr lang="en-US" sz="1100" dirty="0">
                  <a:solidFill>
                    <a:schemeClr val="tx1"/>
                  </a:solidFill>
                </a:rPr>
                <a:t>farm size of small farms is 0.8 ha. Smallholders constitute 74% of total farmers, 21% of which are female headed households. Only 2.7% of small farms use motorized equipment. Fertilizer use is 28 kg per ha. Only 2% of small farms use irrigation (</a:t>
              </a:r>
              <a:r>
                <a:rPr lang="en-US" sz="1100" dirty="0" err="1">
                  <a:solidFill>
                    <a:schemeClr val="tx1"/>
                  </a:solidFill>
                </a:rPr>
                <a:t>FAO,2018</a:t>
              </a:r>
              <a:r>
                <a:rPr lang="en-US" sz="1100" dirty="0">
                  <a:solidFill>
                    <a:schemeClr val="tx1"/>
                  </a:solidFill>
                </a:rPr>
                <a:t>)</a:t>
              </a:r>
            </a:p>
            <a:p>
              <a:pPr marL="285750" indent="-285750">
                <a:buFont typeface="Arial" panose="020B0604020202020204" pitchFamily="34" charset="0"/>
                <a:buChar char="•"/>
              </a:pPr>
              <a:r>
                <a:rPr lang="en-US" sz="1100" dirty="0">
                  <a:solidFill>
                    <a:schemeClr val="tx1"/>
                  </a:solidFill>
                </a:rPr>
                <a:t>Major staple food crops, including maize, rice, sorghum, millet and root crops such as cassava, yam and sweet potato are often produced in smallholder farms, with lean technical and operational efficiencies</a:t>
              </a:r>
            </a:p>
            <a:p>
              <a:pPr marL="285750" indent="-285750">
                <a:buFont typeface="Arial" panose="020B0604020202020204" pitchFamily="34" charset="0"/>
                <a:buChar char="•"/>
              </a:pPr>
              <a:r>
                <a:rPr lang="en-US" sz="1100" dirty="0">
                  <a:solidFill>
                    <a:schemeClr val="tx1"/>
                  </a:solidFill>
                </a:rPr>
                <a:t>The national average yields of the major cereal food crops increased considerably in the past year due to use of yield enhancing inputs such as fertilizer and high yielding varieties coupled with improved access to agricultural extension services.  National average yield reached 3.7 MT/ha , 2.8 MT/ha, , 2.6 MT/ha and 2.1 MT/ha  for maize, wheat, sorghum and barley respectively in 2017. </a:t>
              </a:r>
            </a:p>
            <a:p>
              <a:pPr marL="285750" indent="-285750">
                <a:buFont typeface="Arial" panose="020B0604020202020204" pitchFamily="34" charset="0"/>
                <a:buChar char="•"/>
              </a:pPr>
              <a:r>
                <a:rPr lang="en-US" sz="1100" dirty="0">
                  <a:solidFill>
                    <a:schemeClr val="tx1"/>
                  </a:solidFill>
                </a:rPr>
                <a:t>National average </a:t>
              </a:r>
              <a:r>
                <a:rPr lang="en-US" sz="1100" dirty="0" err="1">
                  <a:solidFill>
                    <a:schemeClr val="tx1"/>
                  </a:solidFill>
                </a:rPr>
                <a:t>teff</a:t>
              </a:r>
              <a:r>
                <a:rPr lang="en-US" sz="1100" dirty="0">
                  <a:solidFill>
                    <a:schemeClr val="tx1"/>
                  </a:solidFill>
                </a:rPr>
                <a:t> yield remains low, 1.6 MT/ha in 2015/16. </a:t>
              </a:r>
            </a:p>
          </p:txBody>
        </p:sp>
      </p:grpSp>
      <p:sp>
        <p:nvSpPr>
          <p:cNvPr id="22" name="TextBox 21">
            <a:extLst>
              <a:ext uri="{FF2B5EF4-FFF2-40B4-BE49-F238E27FC236}">
                <a16:creationId xmlns:a16="http://schemas.microsoft.com/office/drawing/2014/main" id="{82467878-6164-4F57-BD64-D7BAF47CE956}"/>
              </a:ext>
            </a:extLst>
          </p:cNvPr>
          <p:cNvSpPr txBox="1"/>
          <p:nvPr/>
        </p:nvSpPr>
        <p:spPr>
          <a:xfrm>
            <a:off x="450741" y="6094322"/>
            <a:ext cx="9212794" cy="338554"/>
          </a:xfrm>
          <a:prstGeom prst="rect">
            <a:avLst/>
          </a:prstGeom>
          <a:noFill/>
        </p:spPr>
        <p:txBody>
          <a:bodyPr wrap="square" rtlCol="0">
            <a:spAutoFit/>
          </a:bodyPr>
          <a:lstStyle/>
          <a:p>
            <a:r>
              <a:rPr lang="en-US" sz="800" dirty="0">
                <a:solidFill>
                  <a:schemeClr val="tx1"/>
                </a:solidFill>
              </a:rPr>
              <a:t> Sources:</a:t>
            </a:r>
            <a:r>
              <a:rPr lang="en-ZA" sz="800" dirty="0">
                <a:solidFill>
                  <a:schemeClr val="tx1"/>
                </a:solidFill>
              </a:rPr>
              <a:t> 1. </a:t>
            </a:r>
            <a:r>
              <a:rPr lang="en-US" sz="800" dirty="0">
                <a:solidFill>
                  <a:schemeClr val="tx1"/>
                </a:solidFill>
              </a:rPr>
              <a:t>Ethiopia Strategy Support Program (</a:t>
            </a:r>
            <a:r>
              <a:rPr lang="en-US" sz="800" dirty="0" err="1">
                <a:solidFill>
                  <a:schemeClr val="tx1"/>
                </a:solidFill>
              </a:rPr>
              <a:t>ESSP</a:t>
            </a:r>
            <a:r>
              <a:rPr lang="en-US" sz="800" dirty="0">
                <a:solidFill>
                  <a:schemeClr val="tx1"/>
                </a:solidFill>
              </a:rPr>
              <a:t> II): </a:t>
            </a:r>
            <a:r>
              <a:rPr lang="en-US" sz="800" dirty="0">
                <a:solidFill>
                  <a:schemeClr val="tx1"/>
                </a:solidFill>
                <a:hlinkClick r:id="rId8"/>
              </a:rPr>
              <a:t>https://reliefweb.int/sites/reliefweb.int/files/resources/essprn11.pdf</a:t>
            </a:r>
            <a:r>
              <a:rPr lang="en-US" sz="800" dirty="0">
                <a:solidFill>
                  <a:schemeClr val="tx1"/>
                </a:solidFill>
              </a:rPr>
              <a:t> | </a:t>
            </a:r>
            <a:r>
              <a:rPr lang="en-US" sz="800" dirty="0" smtClean="0">
                <a:solidFill>
                  <a:schemeClr val="tx1"/>
                </a:solidFill>
              </a:rPr>
              <a:t>      2</a:t>
            </a:r>
            <a:r>
              <a:rPr lang="en-US" sz="800" dirty="0">
                <a:solidFill>
                  <a:schemeClr val="tx1"/>
                </a:solidFill>
              </a:rPr>
              <a:t>. The economic lives of smallholder farmers: </a:t>
            </a:r>
            <a:r>
              <a:rPr lang="en-US" sz="800" dirty="0">
                <a:solidFill>
                  <a:schemeClr val="tx1"/>
                </a:solidFill>
                <a:hlinkClick r:id="rId9"/>
              </a:rPr>
              <a:t>http://www.fao.org/3/a-i5251e.pdf</a:t>
            </a:r>
            <a:r>
              <a:rPr lang="en-US" sz="800" dirty="0">
                <a:solidFill>
                  <a:schemeClr val="tx1"/>
                </a:solidFill>
              </a:rPr>
              <a:t> </a:t>
            </a:r>
            <a:r>
              <a:rPr lang="en-ZA" sz="800" dirty="0"/>
              <a:t>World Bank 2019; </a:t>
            </a:r>
            <a:r>
              <a:rPr lang="en-ZA" sz="800" dirty="0">
                <a:hlinkClick r:id="rId10"/>
              </a:rPr>
              <a:t>https://</a:t>
            </a:r>
            <a:r>
              <a:rPr lang="en-ZA" sz="800" dirty="0" smtClean="0">
                <a:hlinkClick r:id="rId10"/>
              </a:rPr>
              <a:t>data.worldbank.org/indicator/AG.CON.FERT.ZS</a:t>
            </a:r>
            <a:r>
              <a:rPr lang="en-ZA" sz="800" dirty="0" smtClean="0"/>
              <a:t>; FAO </a:t>
            </a:r>
            <a:r>
              <a:rPr lang="en-ZA" sz="800" dirty="0"/>
              <a:t>2018. </a:t>
            </a:r>
            <a:r>
              <a:rPr lang="en-ZA" sz="800" dirty="0">
                <a:hlinkClick r:id="rId11"/>
              </a:rPr>
              <a:t>http://www.fao.org/family-farming/data-sources/dataportrait/farm-size/en</a:t>
            </a:r>
            <a:endParaRPr lang="en-US" sz="800" dirty="0">
              <a:solidFill>
                <a:schemeClr val="tx1"/>
              </a:solidFill>
            </a:endParaRPr>
          </a:p>
        </p:txBody>
      </p:sp>
      <p:graphicFrame>
        <p:nvGraphicFramePr>
          <p:cNvPr id="11" name="Chart 10">
            <a:extLst>
              <a:ext uri="{FF2B5EF4-FFF2-40B4-BE49-F238E27FC236}">
                <a16:creationId xmlns:a16="http://schemas.microsoft.com/office/drawing/2014/main" id="{266FFC13-3464-44B4-B099-509CBC1255DB}"/>
              </a:ext>
            </a:extLst>
          </p:cNvPr>
          <p:cNvGraphicFramePr>
            <a:graphicFrameLocks/>
          </p:cNvGraphicFramePr>
          <p:nvPr>
            <p:extLst>
              <p:ext uri="{D42A27DB-BD31-4B8C-83A1-F6EECF244321}">
                <p14:modId xmlns:p14="http://schemas.microsoft.com/office/powerpoint/2010/main" val="2896612247"/>
              </p:ext>
            </p:extLst>
          </p:nvPr>
        </p:nvGraphicFramePr>
        <p:xfrm>
          <a:off x="5699791" y="1134061"/>
          <a:ext cx="3710495" cy="27432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12" name="Chart 11">
            <a:extLst>
              <a:ext uri="{FF2B5EF4-FFF2-40B4-BE49-F238E27FC236}">
                <a16:creationId xmlns:a16="http://schemas.microsoft.com/office/drawing/2014/main" id="{52EF856D-8800-4E4F-8E12-C974752B6A26}"/>
              </a:ext>
            </a:extLst>
          </p:cNvPr>
          <p:cNvGraphicFramePr>
            <a:graphicFrameLocks/>
          </p:cNvGraphicFramePr>
          <p:nvPr>
            <p:extLst>
              <p:ext uri="{D42A27DB-BD31-4B8C-83A1-F6EECF244321}">
                <p14:modId xmlns:p14="http://schemas.microsoft.com/office/powerpoint/2010/main" val="3436837656"/>
              </p:ext>
            </p:extLst>
          </p:nvPr>
        </p:nvGraphicFramePr>
        <p:xfrm>
          <a:off x="5699791" y="3988998"/>
          <a:ext cx="3639127" cy="2105324"/>
        </p:xfrm>
        <a:graphic>
          <a:graphicData uri="http://schemas.openxmlformats.org/drawingml/2006/chart">
            <c:chart xmlns:c="http://schemas.openxmlformats.org/drawingml/2006/chart" xmlns:r="http://schemas.openxmlformats.org/officeDocument/2006/relationships" r:id="rId13"/>
          </a:graphicData>
        </a:graphic>
      </p:graphicFrame>
    </p:spTree>
    <p:extLst>
      <p:ext uri="{BB962C8B-B14F-4D97-AF65-F5344CB8AC3E}">
        <p14:creationId xmlns:p14="http://schemas.microsoft.com/office/powerpoint/2010/main" val="354018070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65"/>
        <p:cNvGrpSpPr/>
        <p:nvPr/>
      </p:nvGrpSpPr>
      <p:grpSpPr>
        <a:xfrm>
          <a:off x="0" y="0"/>
          <a:ext cx="0" cy="0"/>
          <a:chOff x="0" y="0"/>
          <a:chExt cx="0" cy="0"/>
        </a:xfrm>
      </p:grpSpPr>
      <p:pic>
        <p:nvPicPr>
          <p:cNvPr id="166" name="Google Shape;166;p26"/>
          <p:cNvPicPr preferRelativeResize="0"/>
          <p:nvPr/>
        </p:nvPicPr>
        <p:blipFill rotWithShape="1">
          <a:blip r:embed="rId3">
            <a:alphaModFix/>
          </a:blip>
          <a:srcRect/>
          <a:stretch/>
        </p:blipFill>
        <p:spPr>
          <a:xfrm>
            <a:off x="1588" y="1588"/>
            <a:ext cx="1588" cy="1588"/>
          </a:xfrm>
          <a:prstGeom prst="rect">
            <a:avLst/>
          </a:prstGeom>
          <a:noFill/>
          <a:ln>
            <a:noFill/>
          </a:ln>
        </p:spPr>
      </p:pic>
      <p:sp>
        <p:nvSpPr>
          <p:cNvPr id="167" name="Google Shape;167;p26"/>
          <p:cNvSpPr txBox="1">
            <a:spLocks noGrp="1"/>
          </p:cNvSpPr>
          <p:nvPr>
            <p:ph type="title"/>
          </p:nvPr>
        </p:nvSpPr>
        <p:spPr>
          <a:xfrm>
            <a:off x="450741" y="134054"/>
            <a:ext cx="6788259" cy="582389"/>
          </a:xfrm>
          <a:prstGeom prst="rect">
            <a:avLst/>
          </a:prstGeom>
          <a:noFill/>
          <a:ln>
            <a:noFill/>
          </a:ln>
        </p:spPr>
        <p:txBody>
          <a:bodyPr spcFirstLastPara="1" wrap="square" lIns="0" tIns="0" rIns="0" bIns="0" anchor="b" anchorCtr="0">
            <a:noAutofit/>
          </a:bodyPr>
          <a:lstStyle/>
          <a:p>
            <a:pPr marL="0" marR="0" lvl="0" indent="0" algn="l" rtl="0">
              <a:lnSpc>
                <a:spcPct val="90000"/>
              </a:lnSpc>
              <a:spcBef>
                <a:spcPts val="0"/>
              </a:spcBef>
              <a:spcAft>
                <a:spcPts val="0"/>
              </a:spcAft>
              <a:buClr>
                <a:schemeClr val="dk1"/>
              </a:buClr>
              <a:buSzPts val="2200"/>
              <a:buFont typeface="Arial"/>
              <a:buNone/>
            </a:pPr>
            <a:r>
              <a:rPr lang="en-US" sz="2200" b="1" i="0" u="none" strike="noStrike" cap="none" dirty="0">
                <a:solidFill>
                  <a:schemeClr val="dk1"/>
                </a:solidFill>
                <a:latin typeface="Arial"/>
                <a:ea typeface="Arial"/>
                <a:cs typeface="Arial"/>
                <a:sym typeface="Arial"/>
              </a:rPr>
              <a:t>Table of contents</a:t>
            </a:r>
            <a:endParaRPr sz="2200" b="1" i="0" u="none" strike="noStrike" cap="none" dirty="0">
              <a:solidFill>
                <a:schemeClr val="dk1"/>
              </a:solidFill>
              <a:latin typeface="Arial"/>
              <a:ea typeface="Arial"/>
              <a:cs typeface="Arial"/>
              <a:sym typeface="Arial"/>
            </a:endParaRPr>
          </a:p>
        </p:txBody>
      </p:sp>
      <p:graphicFrame>
        <p:nvGraphicFramePr>
          <p:cNvPr id="5" name="Google Shape;168;p26"/>
          <p:cNvGraphicFramePr/>
          <p:nvPr>
            <p:extLst>
              <p:ext uri="{D42A27DB-BD31-4B8C-83A1-F6EECF244321}">
                <p14:modId xmlns:p14="http://schemas.microsoft.com/office/powerpoint/2010/main" val="3456065768"/>
              </p:ext>
            </p:extLst>
          </p:nvPr>
        </p:nvGraphicFramePr>
        <p:xfrm>
          <a:off x="402932" y="1066800"/>
          <a:ext cx="8940765" cy="3032230"/>
        </p:xfrm>
        <a:graphic>
          <a:graphicData uri="http://schemas.openxmlformats.org/drawingml/2006/table">
            <a:tbl>
              <a:tblPr firstRow="1" bandRow="1">
                <a:noFill/>
                <a:tableStyleId>{318E6629-4EBB-4D30-9DD3-6ACEAB857B28}</a:tableStyleId>
              </a:tblPr>
              <a:tblGrid>
                <a:gridCol w="580108">
                  <a:extLst>
                    <a:ext uri="{9D8B030D-6E8A-4147-A177-3AD203B41FA5}">
                      <a16:colId xmlns:a16="http://schemas.microsoft.com/office/drawing/2014/main" val="20000"/>
                    </a:ext>
                  </a:extLst>
                </a:gridCol>
                <a:gridCol w="6404966">
                  <a:extLst>
                    <a:ext uri="{9D8B030D-6E8A-4147-A177-3AD203B41FA5}">
                      <a16:colId xmlns:a16="http://schemas.microsoft.com/office/drawing/2014/main" val="20001"/>
                    </a:ext>
                  </a:extLst>
                </a:gridCol>
                <a:gridCol w="1955691">
                  <a:extLst>
                    <a:ext uri="{9D8B030D-6E8A-4147-A177-3AD203B41FA5}">
                      <a16:colId xmlns:a16="http://schemas.microsoft.com/office/drawing/2014/main" val="20002"/>
                    </a:ext>
                  </a:extLst>
                </a:gridCol>
              </a:tblGrid>
              <a:tr h="303223">
                <a:tc>
                  <a:txBody>
                    <a:bodyPr/>
                    <a:lstStyle/>
                    <a:p>
                      <a:pPr marL="0" marR="0" lvl="0" indent="0" algn="l" rtl="0">
                        <a:spcBef>
                          <a:spcPts val="0"/>
                        </a:spcBef>
                        <a:spcAft>
                          <a:spcPts val="0"/>
                        </a:spcAft>
                        <a:buNone/>
                      </a:pPr>
                      <a:endParaRPr sz="1200" dirty="0">
                        <a:latin typeface="+mn-lt"/>
                      </a:endParaRPr>
                    </a:p>
                  </a:txBody>
                  <a:tcPr marL="91450" marR="91450" marT="45725" marB="45725"/>
                </a:tc>
                <a:tc>
                  <a:txBody>
                    <a:bodyPr/>
                    <a:lstStyle/>
                    <a:p>
                      <a:pPr marL="0" marR="0" lvl="0" indent="0" algn="l" rtl="0">
                        <a:spcBef>
                          <a:spcPts val="0"/>
                        </a:spcBef>
                        <a:spcAft>
                          <a:spcPts val="0"/>
                        </a:spcAft>
                        <a:buNone/>
                      </a:pPr>
                      <a:r>
                        <a:rPr lang="en-US" sz="1200" dirty="0">
                          <a:latin typeface="+mn-lt"/>
                        </a:rPr>
                        <a:t>Section</a:t>
                      </a:r>
                      <a:endParaRPr sz="1200" dirty="0">
                        <a:latin typeface="+mn-lt"/>
                      </a:endParaRPr>
                    </a:p>
                  </a:txBody>
                  <a:tcPr marL="91450" marR="91450" marT="45725" marB="45725"/>
                </a:tc>
                <a:tc>
                  <a:txBody>
                    <a:bodyPr/>
                    <a:lstStyle/>
                    <a:p>
                      <a:pPr marL="0" marR="0" lvl="0" indent="0" algn="l" rtl="0">
                        <a:spcBef>
                          <a:spcPts val="0"/>
                        </a:spcBef>
                        <a:spcAft>
                          <a:spcPts val="0"/>
                        </a:spcAft>
                        <a:buNone/>
                      </a:pPr>
                      <a:r>
                        <a:rPr lang="en-US" sz="1200" dirty="0">
                          <a:latin typeface="+mn-lt"/>
                        </a:rPr>
                        <a:t>Page Number</a:t>
                      </a:r>
                      <a:endParaRPr sz="1200" dirty="0">
                        <a:latin typeface="+mn-lt"/>
                      </a:endParaRPr>
                    </a:p>
                  </a:txBody>
                  <a:tcPr marL="91450" marR="91450" marT="45725" marB="45725"/>
                </a:tc>
                <a:extLst>
                  <a:ext uri="{0D108BD9-81ED-4DB2-BD59-A6C34878D82A}">
                    <a16:rowId xmlns:a16="http://schemas.microsoft.com/office/drawing/2014/main" val="10000"/>
                  </a:ext>
                </a:extLst>
              </a:tr>
              <a:tr h="303223">
                <a:tc>
                  <a:txBody>
                    <a:bodyPr/>
                    <a:lstStyle/>
                    <a:p>
                      <a:pPr marL="0" marR="0" lvl="0" indent="0" algn="l" rtl="0">
                        <a:spcBef>
                          <a:spcPts val="0"/>
                        </a:spcBef>
                        <a:spcAft>
                          <a:spcPts val="0"/>
                        </a:spcAft>
                        <a:buNone/>
                      </a:pPr>
                      <a:r>
                        <a:rPr lang="en-US" sz="1200" dirty="0">
                          <a:latin typeface="+mn-lt"/>
                        </a:rPr>
                        <a:t>1</a:t>
                      </a:r>
                      <a:endParaRPr sz="1200" dirty="0">
                        <a:latin typeface="+mn-lt"/>
                      </a:endParaRPr>
                    </a:p>
                  </a:txBody>
                  <a:tcPr marL="91450" marR="91450" marT="45725" marB="45725"/>
                </a:tc>
                <a:tc>
                  <a:txBody>
                    <a:bodyPr/>
                    <a:lstStyle/>
                    <a:p>
                      <a:pPr marL="0" marR="0" lvl="0" indent="0" algn="l" rtl="0">
                        <a:spcBef>
                          <a:spcPts val="0"/>
                        </a:spcBef>
                        <a:spcAft>
                          <a:spcPts val="0"/>
                        </a:spcAft>
                        <a:buNone/>
                      </a:pPr>
                      <a:r>
                        <a:rPr lang="en-ZA" sz="1200" dirty="0">
                          <a:latin typeface="+mn-lt"/>
                        </a:rPr>
                        <a:t>Acronyms</a:t>
                      </a:r>
                      <a:endParaRPr sz="1200" dirty="0">
                        <a:latin typeface="+mn-lt"/>
                      </a:endParaRPr>
                    </a:p>
                  </a:txBody>
                  <a:tcPr marL="91450" marR="91450" marT="45725" marB="45725"/>
                </a:tc>
                <a:tc>
                  <a:txBody>
                    <a:bodyPr/>
                    <a:lstStyle/>
                    <a:p>
                      <a:pPr marL="0" marR="0" lvl="0" indent="0" algn="l" rtl="0">
                        <a:spcBef>
                          <a:spcPts val="0"/>
                        </a:spcBef>
                        <a:spcAft>
                          <a:spcPts val="0"/>
                        </a:spcAft>
                        <a:buNone/>
                      </a:pPr>
                      <a:r>
                        <a:rPr lang="en-ZA" sz="1200" dirty="0">
                          <a:latin typeface="+mn-lt"/>
                        </a:rPr>
                        <a:t>3</a:t>
                      </a:r>
                      <a:endParaRPr sz="1200" dirty="0">
                        <a:latin typeface="+mn-lt"/>
                      </a:endParaRPr>
                    </a:p>
                  </a:txBody>
                  <a:tcPr marL="91450" marR="91450" marT="45725" marB="45725"/>
                </a:tc>
                <a:extLst>
                  <a:ext uri="{0D108BD9-81ED-4DB2-BD59-A6C34878D82A}">
                    <a16:rowId xmlns:a16="http://schemas.microsoft.com/office/drawing/2014/main" val="10001"/>
                  </a:ext>
                </a:extLst>
              </a:tr>
              <a:tr h="303223">
                <a:tc>
                  <a:txBody>
                    <a:bodyPr/>
                    <a:lstStyle/>
                    <a:p>
                      <a:pPr marL="0" marR="0" lvl="0" indent="0" algn="l" rtl="0">
                        <a:spcBef>
                          <a:spcPts val="0"/>
                        </a:spcBef>
                        <a:spcAft>
                          <a:spcPts val="0"/>
                        </a:spcAft>
                        <a:buNone/>
                      </a:pPr>
                      <a:r>
                        <a:rPr lang="en-US" sz="1200" dirty="0">
                          <a:latin typeface="+mn-lt"/>
                        </a:rPr>
                        <a:t>2</a:t>
                      </a:r>
                      <a:endParaRPr sz="1200" dirty="0">
                        <a:latin typeface="+mn-lt"/>
                      </a:endParaRPr>
                    </a:p>
                  </a:txBody>
                  <a:tcPr marL="91450" marR="91450" marT="45725" marB="45725"/>
                </a:tc>
                <a:tc>
                  <a:txBody>
                    <a:bodyPr/>
                    <a:lstStyle/>
                    <a:p>
                      <a:pPr marL="0" marR="0" lvl="0" indent="0" algn="l" rtl="0">
                        <a:spcBef>
                          <a:spcPts val="0"/>
                        </a:spcBef>
                        <a:spcAft>
                          <a:spcPts val="0"/>
                        </a:spcAft>
                        <a:buNone/>
                      </a:pPr>
                      <a:r>
                        <a:rPr lang="en-ZA" sz="1200" dirty="0">
                          <a:latin typeface="+mn-lt"/>
                        </a:rPr>
                        <a:t>Executive </a:t>
                      </a:r>
                      <a:r>
                        <a:rPr lang="en-ZA" sz="1200" dirty="0" smtClean="0">
                          <a:latin typeface="+mn-lt"/>
                        </a:rPr>
                        <a:t>Summary</a:t>
                      </a:r>
                      <a:endParaRPr sz="1200" dirty="0">
                        <a:latin typeface="+mn-lt"/>
                      </a:endParaRPr>
                    </a:p>
                  </a:txBody>
                  <a:tcPr marL="91450" marR="91450" marT="45725" marB="45725"/>
                </a:tc>
                <a:tc>
                  <a:txBody>
                    <a:bodyPr/>
                    <a:lstStyle/>
                    <a:p>
                      <a:pPr marL="0" marR="0" lvl="0" indent="0" algn="l" rtl="0">
                        <a:spcBef>
                          <a:spcPts val="0"/>
                        </a:spcBef>
                        <a:spcAft>
                          <a:spcPts val="0"/>
                        </a:spcAft>
                        <a:buNone/>
                      </a:pPr>
                      <a:r>
                        <a:rPr lang="en-ZA" sz="1200" dirty="0">
                          <a:latin typeface="+mn-lt"/>
                        </a:rPr>
                        <a:t>4</a:t>
                      </a:r>
                      <a:endParaRPr sz="1200" dirty="0">
                        <a:latin typeface="+mn-lt"/>
                      </a:endParaRPr>
                    </a:p>
                  </a:txBody>
                  <a:tcPr marL="91450" marR="91450" marT="45725" marB="45725"/>
                </a:tc>
                <a:extLst>
                  <a:ext uri="{0D108BD9-81ED-4DB2-BD59-A6C34878D82A}">
                    <a16:rowId xmlns:a16="http://schemas.microsoft.com/office/drawing/2014/main" val="10002"/>
                  </a:ext>
                </a:extLst>
              </a:tr>
              <a:tr h="303223">
                <a:tc>
                  <a:txBody>
                    <a:bodyPr/>
                    <a:lstStyle/>
                    <a:p>
                      <a:pPr marL="0" marR="0" lvl="0" indent="0" algn="l" rtl="0">
                        <a:spcBef>
                          <a:spcPts val="0"/>
                        </a:spcBef>
                        <a:spcAft>
                          <a:spcPts val="0"/>
                        </a:spcAft>
                        <a:buNone/>
                      </a:pPr>
                      <a:r>
                        <a:rPr lang="en-US" sz="1200" dirty="0">
                          <a:latin typeface="+mn-lt"/>
                        </a:rPr>
                        <a:t>3</a:t>
                      </a:r>
                      <a:endParaRPr sz="1200" dirty="0">
                        <a:latin typeface="+mn-lt"/>
                      </a:endParaRPr>
                    </a:p>
                  </a:txBody>
                  <a:tcPr marL="91450" marR="91450" marT="45725" marB="45725"/>
                </a:tc>
                <a:tc>
                  <a:txBody>
                    <a:bodyPr/>
                    <a:lstStyle/>
                    <a:p>
                      <a:pPr marL="0" marR="0" lvl="0" indent="0" algn="l" rtl="0">
                        <a:lnSpc>
                          <a:spcPct val="100000"/>
                        </a:lnSpc>
                        <a:spcBef>
                          <a:spcPts val="0"/>
                        </a:spcBef>
                        <a:spcAft>
                          <a:spcPts val="0"/>
                        </a:spcAft>
                        <a:buClr>
                          <a:schemeClr val="dk1"/>
                        </a:buClr>
                        <a:buSzPts val="1800"/>
                        <a:buFont typeface="Calibri"/>
                        <a:buNone/>
                      </a:pPr>
                      <a:r>
                        <a:rPr lang="en-US" sz="1200" dirty="0" smtClean="0">
                          <a:latin typeface="+mn-lt"/>
                        </a:rPr>
                        <a:t>AGRA Strategy Overview</a:t>
                      </a:r>
                      <a:endParaRPr sz="1200" dirty="0">
                        <a:latin typeface="+mn-lt"/>
                      </a:endParaRPr>
                    </a:p>
                  </a:txBody>
                  <a:tcPr marL="91450" marR="91450" marT="45725" marB="45725"/>
                </a:tc>
                <a:tc>
                  <a:txBody>
                    <a:bodyPr/>
                    <a:lstStyle/>
                    <a:p>
                      <a:pPr marL="0" marR="0" lvl="0" indent="0" algn="l" rtl="0">
                        <a:spcBef>
                          <a:spcPts val="0"/>
                        </a:spcBef>
                        <a:spcAft>
                          <a:spcPts val="0"/>
                        </a:spcAft>
                        <a:buNone/>
                      </a:pPr>
                      <a:r>
                        <a:rPr lang="en-ZA" sz="1200" dirty="0">
                          <a:latin typeface="+mn-lt"/>
                        </a:rPr>
                        <a:t>7</a:t>
                      </a:r>
                      <a:endParaRPr sz="1200" dirty="0">
                        <a:latin typeface="+mn-lt"/>
                      </a:endParaRPr>
                    </a:p>
                  </a:txBody>
                  <a:tcPr marL="91450" marR="91450" marT="45725" marB="45725"/>
                </a:tc>
                <a:extLst>
                  <a:ext uri="{0D108BD9-81ED-4DB2-BD59-A6C34878D82A}">
                    <a16:rowId xmlns:a16="http://schemas.microsoft.com/office/drawing/2014/main" val="10003"/>
                  </a:ext>
                </a:extLst>
              </a:tr>
              <a:tr h="303223">
                <a:tc>
                  <a:txBody>
                    <a:bodyPr/>
                    <a:lstStyle/>
                    <a:p>
                      <a:pPr marL="0" marR="0" lvl="0" indent="0" algn="l" rtl="0">
                        <a:spcBef>
                          <a:spcPts val="0"/>
                        </a:spcBef>
                        <a:spcAft>
                          <a:spcPts val="0"/>
                        </a:spcAft>
                        <a:buNone/>
                      </a:pPr>
                      <a:r>
                        <a:rPr lang="en-US" sz="1200" dirty="0">
                          <a:latin typeface="+mn-lt"/>
                        </a:rPr>
                        <a:t>4</a:t>
                      </a:r>
                      <a:endParaRPr sz="1200" dirty="0">
                        <a:latin typeface="+mn-lt"/>
                      </a:endParaRPr>
                    </a:p>
                  </a:txBody>
                  <a:tcPr marL="91450" marR="91450" marT="45725" marB="45725"/>
                </a:tc>
                <a:tc>
                  <a:txBody>
                    <a:bodyPr/>
                    <a:lstStyle/>
                    <a:p>
                      <a:pPr marL="0" marR="0" lvl="0" indent="0" algn="l" rtl="0">
                        <a:spcBef>
                          <a:spcPts val="0"/>
                        </a:spcBef>
                        <a:spcAft>
                          <a:spcPts val="0"/>
                        </a:spcAft>
                        <a:buNone/>
                      </a:pPr>
                      <a:r>
                        <a:rPr lang="en-US" sz="1200" dirty="0" smtClean="0">
                          <a:latin typeface="+mn-lt"/>
                        </a:rPr>
                        <a:t>Ethiopia Agricultural Context</a:t>
                      </a:r>
                      <a:endParaRPr sz="1200" dirty="0">
                        <a:latin typeface="+mn-lt"/>
                      </a:endParaRPr>
                    </a:p>
                  </a:txBody>
                  <a:tcPr marL="91450" marR="91450" marT="45725" marB="45725"/>
                </a:tc>
                <a:tc>
                  <a:txBody>
                    <a:bodyPr/>
                    <a:lstStyle/>
                    <a:p>
                      <a:pPr marL="0" marR="0" lvl="0" indent="0" algn="l" rtl="0">
                        <a:spcBef>
                          <a:spcPts val="0"/>
                        </a:spcBef>
                        <a:spcAft>
                          <a:spcPts val="0"/>
                        </a:spcAft>
                        <a:buNone/>
                      </a:pPr>
                      <a:r>
                        <a:rPr lang="en-ZA" sz="1200" dirty="0" smtClean="0">
                          <a:latin typeface="+mn-lt"/>
                        </a:rPr>
                        <a:t>11</a:t>
                      </a:r>
                      <a:endParaRPr sz="1200" dirty="0">
                        <a:latin typeface="+mn-lt"/>
                      </a:endParaRPr>
                    </a:p>
                  </a:txBody>
                  <a:tcPr marL="91450" marR="91450" marT="45725" marB="45725"/>
                </a:tc>
                <a:extLst>
                  <a:ext uri="{0D108BD9-81ED-4DB2-BD59-A6C34878D82A}">
                    <a16:rowId xmlns:a16="http://schemas.microsoft.com/office/drawing/2014/main" val="10004"/>
                  </a:ext>
                </a:extLst>
              </a:tr>
              <a:tr h="303223">
                <a:tc>
                  <a:txBody>
                    <a:bodyPr/>
                    <a:lstStyle/>
                    <a:p>
                      <a:pPr marL="0" marR="0" lvl="0" indent="0" algn="l" rtl="0">
                        <a:spcBef>
                          <a:spcPts val="0"/>
                        </a:spcBef>
                        <a:spcAft>
                          <a:spcPts val="0"/>
                        </a:spcAft>
                        <a:buNone/>
                      </a:pPr>
                      <a:r>
                        <a:rPr lang="en-US" sz="1200" dirty="0">
                          <a:latin typeface="+mn-lt"/>
                        </a:rPr>
                        <a:t>5</a:t>
                      </a:r>
                      <a:endParaRPr sz="1200" dirty="0">
                        <a:latin typeface="+mn-lt"/>
                      </a:endParaRPr>
                    </a:p>
                  </a:txBody>
                  <a:tcPr marL="91450" marR="91450" marT="45725" marB="45725"/>
                </a:tc>
                <a:tc>
                  <a:txBody>
                    <a:bodyPr/>
                    <a:lstStyle/>
                    <a:p>
                      <a:pPr marL="0" marR="0" lvl="0" indent="0" algn="l" rtl="0">
                        <a:spcBef>
                          <a:spcPts val="0"/>
                        </a:spcBef>
                        <a:spcAft>
                          <a:spcPts val="0"/>
                        </a:spcAft>
                        <a:buNone/>
                      </a:pPr>
                      <a:r>
                        <a:rPr lang="en-US" sz="1200" dirty="0" smtClean="0">
                          <a:latin typeface="+mn-lt"/>
                        </a:rPr>
                        <a:t>AGRA Ethiopia Strategy</a:t>
                      </a:r>
                      <a:endParaRPr sz="1200" dirty="0">
                        <a:latin typeface="+mn-lt"/>
                      </a:endParaRPr>
                    </a:p>
                  </a:txBody>
                  <a:tcPr marL="91450" marR="91450" marT="45725" marB="45725"/>
                </a:tc>
                <a:tc>
                  <a:txBody>
                    <a:bodyPr/>
                    <a:lstStyle/>
                    <a:p>
                      <a:pPr marL="0" marR="0" lvl="0" indent="0" algn="l" rtl="0">
                        <a:spcBef>
                          <a:spcPts val="0"/>
                        </a:spcBef>
                        <a:spcAft>
                          <a:spcPts val="0"/>
                        </a:spcAft>
                        <a:buNone/>
                      </a:pPr>
                      <a:r>
                        <a:rPr lang="en-US" sz="1200" dirty="0" smtClean="0">
                          <a:latin typeface="+mn-lt"/>
                        </a:rPr>
                        <a:t>17</a:t>
                      </a:r>
                      <a:endParaRPr sz="1200" dirty="0">
                        <a:latin typeface="+mn-lt"/>
                      </a:endParaRPr>
                    </a:p>
                  </a:txBody>
                  <a:tcPr marL="91450" marR="91450" marT="45725" marB="45725"/>
                </a:tc>
                <a:extLst>
                  <a:ext uri="{0D108BD9-81ED-4DB2-BD59-A6C34878D82A}">
                    <a16:rowId xmlns:a16="http://schemas.microsoft.com/office/drawing/2014/main" val="10005"/>
                  </a:ext>
                </a:extLst>
              </a:tr>
              <a:tr h="303223">
                <a:tc>
                  <a:txBody>
                    <a:bodyPr/>
                    <a:lstStyle/>
                    <a:p>
                      <a:pPr marL="0" marR="0" lvl="0" indent="0" algn="l" rtl="0">
                        <a:spcBef>
                          <a:spcPts val="0"/>
                        </a:spcBef>
                        <a:spcAft>
                          <a:spcPts val="0"/>
                        </a:spcAft>
                        <a:buNone/>
                      </a:pPr>
                      <a:r>
                        <a:rPr lang="en-ZA" sz="1200" dirty="0">
                          <a:latin typeface="+mn-lt"/>
                        </a:rPr>
                        <a:t>6</a:t>
                      </a:r>
                      <a:endParaRPr sz="1200" dirty="0">
                        <a:latin typeface="+mn-lt"/>
                      </a:endParaRPr>
                    </a:p>
                  </a:txBody>
                  <a:tcPr marL="91450" marR="91450" marT="45725" marB="45725"/>
                </a:tc>
                <a:tc>
                  <a:txBody>
                    <a:bodyPr/>
                    <a:lstStyle/>
                    <a:p>
                      <a:pPr marL="0" marR="0" lvl="0" indent="0" algn="l" rtl="0">
                        <a:spcBef>
                          <a:spcPts val="0"/>
                        </a:spcBef>
                        <a:spcAft>
                          <a:spcPts val="0"/>
                        </a:spcAft>
                        <a:buNone/>
                      </a:pPr>
                      <a:r>
                        <a:rPr lang="en-US" sz="1200" dirty="0" smtClean="0">
                          <a:latin typeface="+mn-lt"/>
                        </a:rPr>
                        <a:t>Our delivery – Portfolio to date, emerging context, lessons learned, emerging priorities</a:t>
                      </a:r>
                      <a:endParaRPr sz="1200" dirty="0">
                        <a:latin typeface="+mn-lt"/>
                      </a:endParaRPr>
                    </a:p>
                  </a:txBody>
                  <a:tcPr marL="91450" marR="91450" marT="45725" marB="45725"/>
                </a:tc>
                <a:tc>
                  <a:txBody>
                    <a:bodyPr/>
                    <a:lstStyle/>
                    <a:p>
                      <a:pPr marL="0" marR="0" lvl="0" indent="0" algn="l" rtl="0">
                        <a:spcBef>
                          <a:spcPts val="0"/>
                        </a:spcBef>
                        <a:spcAft>
                          <a:spcPts val="0"/>
                        </a:spcAft>
                        <a:buNone/>
                      </a:pPr>
                      <a:r>
                        <a:rPr lang="en-US" sz="1200" dirty="0" smtClean="0">
                          <a:latin typeface="+mn-lt"/>
                        </a:rPr>
                        <a:t>27</a:t>
                      </a:r>
                      <a:endParaRPr sz="1200" dirty="0">
                        <a:latin typeface="+mn-lt"/>
                      </a:endParaRPr>
                    </a:p>
                  </a:txBody>
                  <a:tcPr marL="91450" marR="91450" marT="45725" marB="45725"/>
                </a:tc>
                <a:extLst>
                  <a:ext uri="{0D108BD9-81ED-4DB2-BD59-A6C34878D82A}">
                    <a16:rowId xmlns:a16="http://schemas.microsoft.com/office/drawing/2014/main" val="10006"/>
                  </a:ext>
                </a:extLst>
              </a:tr>
              <a:tr h="303223">
                <a:tc>
                  <a:txBody>
                    <a:bodyPr/>
                    <a:lstStyle/>
                    <a:p>
                      <a:pPr marL="0" marR="0" lvl="0" indent="0" algn="l" rtl="0">
                        <a:spcBef>
                          <a:spcPts val="0"/>
                        </a:spcBef>
                        <a:spcAft>
                          <a:spcPts val="0"/>
                        </a:spcAft>
                        <a:buNone/>
                      </a:pPr>
                      <a:r>
                        <a:rPr lang="en-ZA" sz="1200" dirty="0">
                          <a:latin typeface="+mn-lt"/>
                        </a:rPr>
                        <a:t>7</a:t>
                      </a:r>
                      <a:endParaRPr sz="1200" dirty="0">
                        <a:latin typeface="+mn-lt"/>
                      </a:endParaRPr>
                    </a:p>
                  </a:txBody>
                  <a:tcPr marL="91450" marR="91450" marT="45725" marB="45725"/>
                </a:tc>
                <a:tc>
                  <a:txBody>
                    <a:bodyPr/>
                    <a:lstStyle/>
                    <a:p>
                      <a:pPr marL="0" marR="0" lvl="0" indent="0" algn="l" rtl="0">
                        <a:spcBef>
                          <a:spcPts val="0"/>
                        </a:spcBef>
                        <a:spcAft>
                          <a:spcPts val="0"/>
                        </a:spcAft>
                        <a:buNone/>
                      </a:pPr>
                      <a:r>
                        <a:rPr lang="en-US" sz="1200" dirty="0" smtClean="0">
                          <a:latin typeface="+mn-lt"/>
                        </a:rPr>
                        <a:t>The</a:t>
                      </a:r>
                      <a:r>
                        <a:rPr lang="en-US" sz="1200" baseline="0" dirty="0" smtClean="0">
                          <a:latin typeface="+mn-lt"/>
                        </a:rPr>
                        <a:t> Team</a:t>
                      </a:r>
                      <a:endParaRPr sz="1200" dirty="0">
                        <a:latin typeface="+mn-lt"/>
                      </a:endParaRPr>
                    </a:p>
                  </a:txBody>
                  <a:tcPr marL="91450" marR="91450" marT="45725" marB="45725"/>
                </a:tc>
                <a:tc>
                  <a:txBody>
                    <a:bodyPr/>
                    <a:lstStyle/>
                    <a:p>
                      <a:pPr marL="0" marR="0" lvl="0" indent="0" algn="l" rtl="0">
                        <a:spcBef>
                          <a:spcPts val="0"/>
                        </a:spcBef>
                        <a:spcAft>
                          <a:spcPts val="0"/>
                        </a:spcAft>
                        <a:buNone/>
                      </a:pPr>
                      <a:r>
                        <a:rPr lang="en-US" sz="1200" dirty="0" smtClean="0">
                          <a:latin typeface="+mn-lt"/>
                        </a:rPr>
                        <a:t>35</a:t>
                      </a:r>
                      <a:endParaRPr sz="1200" dirty="0">
                        <a:latin typeface="+mn-lt"/>
                      </a:endParaRPr>
                    </a:p>
                  </a:txBody>
                  <a:tcPr marL="91450" marR="91450" marT="45725" marB="45725"/>
                </a:tc>
                <a:extLst>
                  <a:ext uri="{0D108BD9-81ED-4DB2-BD59-A6C34878D82A}">
                    <a16:rowId xmlns:a16="http://schemas.microsoft.com/office/drawing/2014/main" val="10007"/>
                  </a:ext>
                </a:extLst>
              </a:tr>
              <a:tr h="303223">
                <a:tc>
                  <a:txBody>
                    <a:bodyPr/>
                    <a:lstStyle/>
                    <a:p>
                      <a:pPr marL="0" marR="0" lvl="0" indent="0" algn="l" rtl="0">
                        <a:spcBef>
                          <a:spcPts val="0"/>
                        </a:spcBef>
                        <a:spcAft>
                          <a:spcPts val="0"/>
                        </a:spcAft>
                        <a:buNone/>
                      </a:pPr>
                      <a:r>
                        <a:rPr lang="en-ZA" sz="1200" dirty="0">
                          <a:latin typeface="+mn-lt"/>
                        </a:rPr>
                        <a:t>8 </a:t>
                      </a:r>
                      <a:endParaRPr sz="1200" dirty="0">
                        <a:latin typeface="+mn-lt"/>
                      </a:endParaRPr>
                    </a:p>
                  </a:txBody>
                  <a:tcPr marL="91450" marR="91450" marT="45725" marB="45725"/>
                </a:tc>
                <a:tc>
                  <a:txBody>
                    <a:bodyPr/>
                    <a:lstStyle/>
                    <a:p>
                      <a:pPr marL="0" marR="0" lvl="0" indent="0" algn="l" rtl="0">
                        <a:spcBef>
                          <a:spcPts val="0"/>
                        </a:spcBef>
                        <a:spcAft>
                          <a:spcPts val="0"/>
                        </a:spcAft>
                        <a:buNone/>
                      </a:pPr>
                      <a:r>
                        <a:rPr lang="en-US" sz="1200" dirty="0" smtClean="0">
                          <a:latin typeface="+mn-lt"/>
                        </a:rPr>
                        <a:t>Annexes</a:t>
                      </a:r>
                      <a:endParaRPr sz="1200" dirty="0">
                        <a:latin typeface="+mn-lt"/>
                      </a:endParaRPr>
                    </a:p>
                  </a:txBody>
                  <a:tcPr marL="91450" marR="91450" marT="45725" marB="45725"/>
                </a:tc>
                <a:tc>
                  <a:txBody>
                    <a:bodyPr/>
                    <a:lstStyle/>
                    <a:p>
                      <a:pPr marL="0" marR="0" lvl="0" indent="0" algn="l" rtl="0">
                        <a:spcBef>
                          <a:spcPts val="0"/>
                        </a:spcBef>
                        <a:spcAft>
                          <a:spcPts val="0"/>
                        </a:spcAft>
                        <a:buNone/>
                      </a:pPr>
                      <a:r>
                        <a:rPr lang="en-US" sz="1200" dirty="0" smtClean="0">
                          <a:latin typeface="+mn-lt"/>
                        </a:rPr>
                        <a:t>37</a:t>
                      </a:r>
                      <a:endParaRPr sz="1200" dirty="0">
                        <a:latin typeface="+mn-lt"/>
                      </a:endParaRPr>
                    </a:p>
                  </a:txBody>
                  <a:tcPr marL="91450" marR="91450" marT="45725" marB="45725"/>
                </a:tc>
                <a:extLst>
                  <a:ext uri="{0D108BD9-81ED-4DB2-BD59-A6C34878D82A}">
                    <a16:rowId xmlns:a16="http://schemas.microsoft.com/office/drawing/2014/main" val="10008"/>
                  </a:ext>
                </a:extLst>
              </a:tr>
              <a:tr h="303223">
                <a:tc>
                  <a:txBody>
                    <a:bodyPr/>
                    <a:lstStyle/>
                    <a:p>
                      <a:pPr marL="0" marR="0" lvl="0" indent="0" algn="l" rtl="0">
                        <a:spcBef>
                          <a:spcPts val="0"/>
                        </a:spcBef>
                        <a:spcAft>
                          <a:spcPts val="0"/>
                        </a:spcAft>
                        <a:buNone/>
                      </a:pPr>
                      <a:endParaRPr sz="1200" dirty="0">
                        <a:latin typeface="+mn-lt"/>
                      </a:endParaRPr>
                    </a:p>
                  </a:txBody>
                  <a:tcPr marL="91450" marR="91450" marT="45725" marB="45725"/>
                </a:tc>
                <a:tc>
                  <a:txBody>
                    <a:bodyPr/>
                    <a:lstStyle/>
                    <a:p>
                      <a:pPr marL="0" marR="0" lvl="0" indent="0" algn="l" rtl="0">
                        <a:spcBef>
                          <a:spcPts val="0"/>
                        </a:spcBef>
                        <a:spcAft>
                          <a:spcPts val="0"/>
                        </a:spcAft>
                        <a:buNone/>
                      </a:pPr>
                      <a:endParaRPr sz="1200" dirty="0">
                        <a:latin typeface="+mn-lt"/>
                      </a:endParaRPr>
                    </a:p>
                  </a:txBody>
                  <a:tcPr marL="91450" marR="91450" marT="45725" marB="45725"/>
                </a:tc>
                <a:tc>
                  <a:txBody>
                    <a:bodyPr/>
                    <a:lstStyle/>
                    <a:p>
                      <a:pPr marL="0" marR="0" lvl="0" indent="0" algn="l" rtl="0">
                        <a:spcBef>
                          <a:spcPts val="0"/>
                        </a:spcBef>
                        <a:spcAft>
                          <a:spcPts val="0"/>
                        </a:spcAft>
                        <a:buNone/>
                      </a:pPr>
                      <a:endParaRPr sz="1200" dirty="0">
                        <a:latin typeface="+mn-lt"/>
                      </a:endParaRPr>
                    </a:p>
                  </a:txBody>
                  <a:tcPr marL="91450" marR="91450" marT="45725" marB="45725"/>
                </a:tc>
                <a:extLst>
                  <a:ext uri="{0D108BD9-81ED-4DB2-BD59-A6C34878D82A}">
                    <a16:rowId xmlns:a16="http://schemas.microsoft.com/office/drawing/2014/main" val="10009"/>
                  </a:ext>
                </a:extLst>
              </a:tr>
            </a:tbl>
          </a:graphicData>
        </a:graphic>
      </p:graphicFrame>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96235"/>
            <a:ext cx="7391400" cy="584775"/>
          </a:xfrm>
        </p:spPr>
        <p:txBody>
          <a:bodyPr/>
          <a:lstStyle/>
          <a:p>
            <a:r>
              <a:rPr lang="en-US" dirty="0"/>
              <a:t>A number of major donors and private sector companies focused on the 4 regions</a:t>
            </a:r>
          </a:p>
        </p:txBody>
      </p:sp>
      <p:grpSp>
        <p:nvGrpSpPr>
          <p:cNvPr id="5" name="Group 4"/>
          <p:cNvGrpSpPr/>
          <p:nvPr/>
        </p:nvGrpSpPr>
        <p:grpSpPr>
          <a:xfrm>
            <a:off x="517573" y="845185"/>
            <a:ext cx="8870854" cy="5654479"/>
            <a:chOff x="136573" y="990926"/>
            <a:chExt cx="8870854" cy="5729234"/>
          </a:xfrm>
        </p:grpSpPr>
        <p:grpSp>
          <p:nvGrpSpPr>
            <p:cNvPr id="67" name="Group 66"/>
            <p:cNvGrpSpPr/>
            <p:nvPr>
              <p:custDataLst>
                <p:tags r:id="rId7"/>
              </p:custDataLst>
            </p:nvPr>
          </p:nvGrpSpPr>
          <p:grpSpPr>
            <a:xfrm>
              <a:off x="932823" y="990926"/>
              <a:ext cx="935828" cy="573511"/>
              <a:chOff x="850054" y="1350816"/>
              <a:chExt cx="935828" cy="573511"/>
            </a:xfrm>
          </p:grpSpPr>
          <p:sp>
            <p:nvSpPr>
              <p:cNvPr id="171" name="Freeform 170"/>
              <p:cNvSpPr/>
              <p:nvPr>
                <p:custDataLst>
                  <p:tags r:id="rId26"/>
                </p:custDataLst>
              </p:nvPr>
            </p:nvSpPr>
            <p:spPr>
              <a:xfrm>
                <a:off x="850054" y="1350816"/>
                <a:ext cx="935828" cy="57351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68395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683958 w 1828800"/>
                  <a:gd name="connsiteY1" fmla="*/ 0 h 914400"/>
                  <a:gd name="connsiteX2" fmla="*/ 1828800 w 1828800"/>
                  <a:gd name="connsiteY2" fmla="*/ 457200 h 914400"/>
                  <a:gd name="connsiteX3" fmla="*/ 168395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683958 w 1828800"/>
                  <a:gd name="connsiteY1" fmla="*/ 0 h 914400"/>
                  <a:gd name="connsiteX2" fmla="*/ 1828800 w 1828800"/>
                  <a:gd name="connsiteY2" fmla="*/ 457200 h 914400"/>
                  <a:gd name="connsiteX3" fmla="*/ 168395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8395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683959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683959 w 1828800"/>
                  <a:gd name="connsiteY1" fmla="*/ 0 h 914400"/>
                  <a:gd name="connsiteX2" fmla="*/ 1828800 w 1828800"/>
                  <a:gd name="connsiteY2" fmla="*/ 457200 h 914400"/>
                  <a:gd name="connsiteX3" fmla="*/ 1683959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683959 w 1828800"/>
                  <a:gd name="connsiteY1" fmla="*/ 0 h 914400"/>
                  <a:gd name="connsiteX2" fmla="*/ 1828800 w 1828800"/>
                  <a:gd name="connsiteY2" fmla="*/ 457200 h 914400"/>
                  <a:gd name="connsiteX3" fmla="*/ 1683959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647748 w 1828800"/>
                  <a:gd name="connsiteY1" fmla="*/ 0 h 914400"/>
                  <a:gd name="connsiteX2" fmla="*/ 1828800 w 1828800"/>
                  <a:gd name="connsiteY2" fmla="*/ 457200 h 914400"/>
                  <a:gd name="connsiteX3" fmla="*/ 1683959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0 w 1828800"/>
                  <a:gd name="connsiteY5" fmla="*/ 457202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7207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7207 w 1828800"/>
                  <a:gd name="connsiteY1" fmla="*/ 0 h 914400"/>
                  <a:gd name="connsiteX2" fmla="*/ 1828800 w 1828800"/>
                  <a:gd name="connsiteY2" fmla="*/ 457200 h 914400"/>
                  <a:gd name="connsiteX3" fmla="*/ 170720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7207 w 1828800"/>
                  <a:gd name="connsiteY1" fmla="*/ 0 h 914400"/>
                  <a:gd name="connsiteX2" fmla="*/ 1828800 w 1828800"/>
                  <a:gd name="connsiteY2" fmla="*/ 457200 h 914400"/>
                  <a:gd name="connsiteX3" fmla="*/ 170720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6809 w 1828800"/>
                  <a:gd name="connsiteY1" fmla="*/ 0 h 914400"/>
                  <a:gd name="connsiteX2" fmla="*/ 1828800 w 1828800"/>
                  <a:gd name="connsiteY2" fmla="*/ 457200 h 914400"/>
                  <a:gd name="connsiteX3" fmla="*/ 170720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6809 w 1828800"/>
                  <a:gd name="connsiteY1" fmla="*/ 0 h 914400"/>
                  <a:gd name="connsiteX2" fmla="*/ 1828800 w 1828800"/>
                  <a:gd name="connsiteY2" fmla="*/ 457200 h 914400"/>
                  <a:gd name="connsiteX3" fmla="*/ 1676809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6809 w 1828800"/>
                  <a:gd name="connsiteY1" fmla="*/ 0 h 914400"/>
                  <a:gd name="connsiteX2" fmla="*/ 1828800 w 1828800"/>
                  <a:gd name="connsiteY2" fmla="*/ 457200 h 914400"/>
                  <a:gd name="connsiteX3" fmla="*/ 1676809 w 1828800"/>
                  <a:gd name="connsiteY3" fmla="*/ 914400 h 914400"/>
                  <a:gd name="connsiteX4" fmla="*/ 0 w 1828800"/>
                  <a:gd name="connsiteY4" fmla="*/ 914400 h 914400"/>
                  <a:gd name="connsiteX5" fmla="*/ 162739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76809 w 1828800"/>
                  <a:gd name="connsiteY3" fmla="*/ 914400 h 914400"/>
                  <a:gd name="connsiteX4" fmla="*/ 0 w 1828800"/>
                  <a:gd name="connsiteY4" fmla="*/ 914400 h 914400"/>
                  <a:gd name="connsiteX5" fmla="*/ 162739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162739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162739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162739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162739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162739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162739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162739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6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6 w 1828800"/>
                  <a:gd name="connsiteY1" fmla="*/ 0 h 914400"/>
                  <a:gd name="connsiteX2" fmla="*/ 1828800 w 1828800"/>
                  <a:gd name="connsiteY2" fmla="*/ 457200 h 914400"/>
                  <a:gd name="connsiteX3" fmla="*/ 1625376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6 w 1828800"/>
                  <a:gd name="connsiteY1" fmla="*/ 0 h 914400"/>
                  <a:gd name="connsiteX2" fmla="*/ 1828800 w 1828800"/>
                  <a:gd name="connsiteY2" fmla="*/ 457200 h 914400"/>
                  <a:gd name="connsiteX3" fmla="*/ 1625376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49787 w 1828800"/>
                  <a:gd name="connsiteY1" fmla="*/ 0 h 914400"/>
                  <a:gd name="connsiteX2" fmla="*/ 1828800 w 1828800"/>
                  <a:gd name="connsiteY2" fmla="*/ 457200 h 914400"/>
                  <a:gd name="connsiteX3" fmla="*/ 1625376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49787 w 1828800"/>
                  <a:gd name="connsiteY1" fmla="*/ 0 h 914400"/>
                  <a:gd name="connsiteX2" fmla="*/ 1828800 w 1828800"/>
                  <a:gd name="connsiteY2" fmla="*/ 457200 h 914400"/>
                  <a:gd name="connsiteX3" fmla="*/ 164978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49787 w 1828800"/>
                  <a:gd name="connsiteY1" fmla="*/ 0 h 914400"/>
                  <a:gd name="connsiteX2" fmla="*/ 1828800 w 1828800"/>
                  <a:gd name="connsiteY2" fmla="*/ 457200 h 914400"/>
                  <a:gd name="connsiteX3" fmla="*/ 164978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05034 w 1828800"/>
                  <a:gd name="connsiteY1" fmla="*/ 0 h 914400"/>
                  <a:gd name="connsiteX2" fmla="*/ 1828800 w 1828800"/>
                  <a:gd name="connsiteY2" fmla="*/ 457200 h 914400"/>
                  <a:gd name="connsiteX3" fmla="*/ 164978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05034 w 1828800"/>
                  <a:gd name="connsiteY1" fmla="*/ 0 h 914400"/>
                  <a:gd name="connsiteX2" fmla="*/ 1828800 w 1828800"/>
                  <a:gd name="connsiteY2" fmla="*/ 457200 h 914400"/>
                  <a:gd name="connsiteX3" fmla="*/ 160503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05034 w 1828800"/>
                  <a:gd name="connsiteY1" fmla="*/ 0 h 914400"/>
                  <a:gd name="connsiteX2" fmla="*/ 1828800 w 1828800"/>
                  <a:gd name="connsiteY2" fmla="*/ 457200 h 914400"/>
                  <a:gd name="connsiteX3" fmla="*/ 160503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3654 w 1828800"/>
                  <a:gd name="connsiteY1" fmla="*/ 0 h 914400"/>
                  <a:gd name="connsiteX2" fmla="*/ 1828800 w 1828800"/>
                  <a:gd name="connsiteY2" fmla="*/ 457200 h 914400"/>
                  <a:gd name="connsiteX3" fmla="*/ 160503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3654 w 1828800"/>
                  <a:gd name="connsiteY1" fmla="*/ 0 h 914400"/>
                  <a:gd name="connsiteX2" fmla="*/ 1828800 w 1828800"/>
                  <a:gd name="connsiteY2" fmla="*/ 457200 h 914400"/>
                  <a:gd name="connsiteX3" fmla="*/ 168365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3654 w 1828800"/>
                  <a:gd name="connsiteY1" fmla="*/ 0 h 914400"/>
                  <a:gd name="connsiteX2" fmla="*/ 1828800 w 1828800"/>
                  <a:gd name="connsiteY2" fmla="*/ 457200 h 914400"/>
                  <a:gd name="connsiteX3" fmla="*/ 168365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47368 w 1828800"/>
                  <a:gd name="connsiteY1" fmla="*/ 0 h 914400"/>
                  <a:gd name="connsiteX2" fmla="*/ 1828800 w 1828800"/>
                  <a:gd name="connsiteY2" fmla="*/ 457200 h 914400"/>
                  <a:gd name="connsiteX3" fmla="*/ 168365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47368 w 1828800"/>
                  <a:gd name="connsiteY1" fmla="*/ 0 h 914400"/>
                  <a:gd name="connsiteX2" fmla="*/ 1828800 w 1828800"/>
                  <a:gd name="connsiteY2" fmla="*/ 457200 h 914400"/>
                  <a:gd name="connsiteX3" fmla="*/ 1647368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47368 w 1828800"/>
                  <a:gd name="connsiteY1" fmla="*/ 0 h 914400"/>
                  <a:gd name="connsiteX2" fmla="*/ 1828800 w 1828800"/>
                  <a:gd name="connsiteY2" fmla="*/ 457200 h 914400"/>
                  <a:gd name="connsiteX3" fmla="*/ 1647368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31667 w 1828800"/>
                  <a:gd name="connsiteY1" fmla="*/ 0 h 914400"/>
                  <a:gd name="connsiteX2" fmla="*/ 1828800 w 1828800"/>
                  <a:gd name="connsiteY2" fmla="*/ 457200 h 914400"/>
                  <a:gd name="connsiteX3" fmla="*/ 1647368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31667 w 1828800"/>
                  <a:gd name="connsiteY1" fmla="*/ 0 h 914400"/>
                  <a:gd name="connsiteX2" fmla="*/ 1828800 w 1828800"/>
                  <a:gd name="connsiteY2" fmla="*/ 457200 h 914400"/>
                  <a:gd name="connsiteX3" fmla="*/ 173166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31667 w 1828800"/>
                  <a:gd name="connsiteY1" fmla="*/ 0 h 914400"/>
                  <a:gd name="connsiteX2" fmla="*/ 1828800 w 1828800"/>
                  <a:gd name="connsiteY2" fmla="*/ 457200 h 914400"/>
                  <a:gd name="connsiteX3" fmla="*/ 173166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7384 w 1828800"/>
                  <a:gd name="connsiteY1" fmla="*/ 0 h 914400"/>
                  <a:gd name="connsiteX2" fmla="*/ 1828800 w 1828800"/>
                  <a:gd name="connsiteY2" fmla="*/ 457200 h 914400"/>
                  <a:gd name="connsiteX3" fmla="*/ 173166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7384 w 1828800"/>
                  <a:gd name="connsiteY1" fmla="*/ 0 h 914400"/>
                  <a:gd name="connsiteX2" fmla="*/ 1828800 w 1828800"/>
                  <a:gd name="connsiteY2" fmla="*/ 457200 h 914400"/>
                  <a:gd name="connsiteX3" fmla="*/ 170738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7384 w 1828800"/>
                  <a:gd name="connsiteY1" fmla="*/ 0 h 914400"/>
                  <a:gd name="connsiteX2" fmla="*/ 1828800 w 1828800"/>
                  <a:gd name="connsiteY2" fmla="*/ 457200 h 914400"/>
                  <a:gd name="connsiteX3" fmla="*/ 1707384 w 1828800"/>
                  <a:gd name="connsiteY3" fmla="*/ 914400 h 914400"/>
                  <a:gd name="connsiteX4" fmla="*/ 0 w 1828800"/>
                  <a:gd name="connsiteY4" fmla="*/ 914400 h 914400"/>
                  <a:gd name="connsiteX5" fmla="*/ 123296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7384 w 1828800"/>
                  <a:gd name="connsiteY3" fmla="*/ 914400 h 914400"/>
                  <a:gd name="connsiteX4" fmla="*/ 0 w 1828800"/>
                  <a:gd name="connsiteY4" fmla="*/ 914400 h 914400"/>
                  <a:gd name="connsiteX5" fmla="*/ 123296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123296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123296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123296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123296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123296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123296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123296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47178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47178 w 1828800"/>
                  <a:gd name="connsiteY1" fmla="*/ 0 h 914400"/>
                  <a:gd name="connsiteX2" fmla="*/ 1828800 w 1828800"/>
                  <a:gd name="connsiteY2" fmla="*/ 457200 h 914400"/>
                  <a:gd name="connsiteX3" fmla="*/ 1747178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47178 w 1828800"/>
                  <a:gd name="connsiteY1" fmla="*/ 0 h 914400"/>
                  <a:gd name="connsiteX2" fmla="*/ 1828800 w 1828800"/>
                  <a:gd name="connsiteY2" fmla="*/ 457200 h 914400"/>
                  <a:gd name="connsiteX3" fmla="*/ 1747178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26773 w 1828800"/>
                  <a:gd name="connsiteY1" fmla="*/ 0 h 914400"/>
                  <a:gd name="connsiteX2" fmla="*/ 1828800 w 1828800"/>
                  <a:gd name="connsiteY2" fmla="*/ 457200 h 914400"/>
                  <a:gd name="connsiteX3" fmla="*/ 1747178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26773 w 1828800"/>
                  <a:gd name="connsiteY1" fmla="*/ 0 h 914400"/>
                  <a:gd name="connsiteX2" fmla="*/ 1828800 w 1828800"/>
                  <a:gd name="connsiteY2" fmla="*/ 457200 h 914400"/>
                  <a:gd name="connsiteX3" fmla="*/ 1726773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26773 w 1828800"/>
                  <a:gd name="connsiteY1" fmla="*/ 0 h 914400"/>
                  <a:gd name="connsiteX2" fmla="*/ 1828800 w 1828800"/>
                  <a:gd name="connsiteY2" fmla="*/ 457200 h 914400"/>
                  <a:gd name="connsiteX3" fmla="*/ 1726773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42918 w 1828800"/>
                  <a:gd name="connsiteY1" fmla="*/ 0 h 914400"/>
                  <a:gd name="connsiteX2" fmla="*/ 1828800 w 1828800"/>
                  <a:gd name="connsiteY2" fmla="*/ 457200 h 914400"/>
                  <a:gd name="connsiteX3" fmla="*/ 1726773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42918 w 1828800"/>
                  <a:gd name="connsiteY1" fmla="*/ 0 h 914400"/>
                  <a:gd name="connsiteX2" fmla="*/ 1828800 w 1828800"/>
                  <a:gd name="connsiteY2" fmla="*/ 457200 h 914400"/>
                  <a:gd name="connsiteX3" fmla="*/ 1742918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42918 w 1828800"/>
                  <a:gd name="connsiteY1" fmla="*/ 0 h 914400"/>
                  <a:gd name="connsiteX2" fmla="*/ 1828800 w 1828800"/>
                  <a:gd name="connsiteY2" fmla="*/ 457200 h 914400"/>
                  <a:gd name="connsiteX3" fmla="*/ 1742918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21448 w 1828800"/>
                  <a:gd name="connsiteY1" fmla="*/ 0 h 914400"/>
                  <a:gd name="connsiteX2" fmla="*/ 1828800 w 1828800"/>
                  <a:gd name="connsiteY2" fmla="*/ 457200 h 914400"/>
                  <a:gd name="connsiteX3" fmla="*/ 1742918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21448 w 1828800"/>
                  <a:gd name="connsiteY1" fmla="*/ 0 h 914400"/>
                  <a:gd name="connsiteX2" fmla="*/ 1828800 w 1828800"/>
                  <a:gd name="connsiteY2" fmla="*/ 457200 h 914400"/>
                  <a:gd name="connsiteX3" fmla="*/ 1721448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21448 w 1828800"/>
                  <a:gd name="connsiteY1" fmla="*/ 0 h 914400"/>
                  <a:gd name="connsiteX2" fmla="*/ 1828800 w 1828800"/>
                  <a:gd name="connsiteY2" fmla="*/ 457200 h 914400"/>
                  <a:gd name="connsiteX3" fmla="*/ 1721448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42174 w 1828800"/>
                  <a:gd name="connsiteY1" fmla="*/ 0 h 914400"/>
                  <a:gd name="connsiteX2" fmla="*/ 1828800 w 1828800"/>
                  <a:gd name="connsiteY2" fmla="*/ 457200 h 914400"/>
                  <a:gd name="connsiteX3" fmla="*/ 1721448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42174 w 1828800"/>
                  <a:gd name="connsiteY1" fmla="*/ 0 h 914400"/>
                  <a:gd name="connsiteX2" fmla="*/ 1828800 w 1828800"/>
                  <a:gd name="connsiteY2" fmla="*/ 457200 h 914400"/>
                  <a:gd name="connsiteX3" fmla="*/ 174217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42174 w 1828800"/>
                  <a:gd name="connsiteY1" fmla="*/ 0 h 914400"/>
                  <a:gd name="connsiteX2" fmla="*/ 1828800 w 1828800"/>
                  <a:gd name="connsiteY2" fmla="*/ 457200 h 914400"/>
                  <a:gd name="connsiteX3" fmla="*/ 174217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20517 w 1828800"/>
                  <a:gd name="connsiteY1" fmla="*/ 0 h 914400"/>
                  <a:gd name="connsiteX2" fmla="*/ 1828800 w 1828800"/>
                  <a:gd name="connsiteY2" fmla="*/ 457200 h 914400"/>
                  <a:gd name="connsiteX3" fmla="*/ 174217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20517 w 1828800"/>
                  <a:gd name="connsiteY1" fmla="*/ 0 h 914400"/>
                  <a:gd name="connsiteX2" fmla="*/ 1828800 w 1828800"/>
                  <a:gd name="connsiteY2" fmla="*/ 457200 h 914400"/>
                  <a:gd name="connsiteX3" fmla="*/ 172051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20517 w 1828800"/>
                  <a:gd name="connsiteY1" fmla="*/ 0 h 914400"/>
                  <a:gd name="connsiteX2" fmla="*/ 1828800 w 1828800"/>
                  <a:gd name="connsiteY2" fmla="*/ 457200 h 914400"/>
                  <a:gd name="connsiteX3" fmla="*/ 172051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63677 w 1828800"/>
                  <a:gd name="connsiteY1" fmla="*/ 0 h 914400"/>
                  <a:gd name="connsiteX2" fmla="*/ 1828800 w 1828800"/>
                  <a:gd name="connsiteY2" fmla="*/ 457200 h 914400"/>
                  <a:gd name="connsiteX3" fmla="*/ 172051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63677 w 1828800"/>
                  <a:gd name="connsiteY1" fmla="*/ 0 h 914400"/>
                  <a:gd name="connsiteX2" fmla="*/ 1828800 w 1828800"/>
                  <a:gd name="connsiteY2" fmla="*/ 457200 h 914400"/>
                  <a:gd name="connsiteX3" fmla="*/ 176367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63677 w 1828800"/>
                  <a:gd name="connsiteY1" fmla="*/ 0 h 914400"/>
                  <a:gd name="connsiteX2" fmla="*/ 1828800 w 1828800"/>
                  <a:gd name="connsiteY2" fmla="*/ 457200 h 914400"/>
                  <a:gd name="connsiteX3" fmla="*/ 176367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47397 w 1828800"/>
                  <a:gd name="connsiteY1" fmla="*/ 0 h 914400"/>
                  <a:gd name="connsiteX2" fmla="*/ 1828800 w 1828800"/>
                  <a:gd name="connsiteY2" fmla="*/ 457200 h 914400"/>
                  <a:gd name="connsiteX3" fmla="*/ 176367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47397 w 1828800"/>
                  <a:gd name="connsiteY1" fmla="*/ 0 h 914400"/>
                  <a:gd name="connsiteX2" fmla="*/ 1828800 w 1828800"/>
                  <a:gd name="connsiteY2" fmla="*/ 457200 h 914400"/>
                  <a:gd name="connsiteX3" fmla="*/ 174739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47397 w 1828800"/>
                  <a:gd name="connsiteY1" fmla="*/ 0 h 914400"/>
                  <a:gd name="connsiteX2" fmla="*/ 1828800 w 1828800"/>
                  <a:gd name="connsiteY2" fmla="*/ 457200 h 914400"/>
                  <a:gd name="connsiteX3" fmla="*/ 174739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63677 w 1828800"/>
                  <a:gd name="connsiteY1" fmla="*/ 0 h 914400"/>
                  <a:gd name="connsiteX2" fmla="*/ 1828800 w 1828800"/>
                  <a:gd name="connsiteY2" fmla="*/ 457200 h 914400"/>
                  <a:gd name="connsiteX3" fmla="*/ 174739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63677 w 1828800"/>
                  <a:gd name="connsiteY1" fmla="*/ 0 h 914400"/>
                  <a:gd name="connsiteX2" fmla="*/ 1828800 w 1828800"/>
                  <a:gd name="connsiteY2" fmla="*/ 457200 h 914400"/>
                  <a:gd name="connsiteX3" fmla="*/ 176367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63677 w 1828800"/>
                  <a:gd name="connsiteY1" fmla="*/ 0 h 914400"/>
                  <a:gd name="connsiteX2" fmla="*/ 1828800 w 1828800"/>
                  <a:gd name="connsiteY2" fmla="*/ 457200 h 914400"/>
                  <a:gd name="connsiteX3" fmla="*/ 176367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47397 w 1828800"/>
                  <a:gd name="connsiteY1" fmla="*/ 0 h 914400"/>
                  <a:gd name="connsiteX2" fmla="*/ 1828800 w 1828800"/>
                  <a:gd name="connsiteY2" fmla="*/ 457200 h 914400"/>
                  <a:gd name="connsiteX3" fmla="*/ 176367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47397 w 1828800"/>
                  <a:gd name="connsiteY1" fmla="*/ 0 h 914400"/>
                  <a:gd name="connsiteX2" fmla="*/ 1828800 w 1828800"/>
                  <a:gd name="connsiteY2" fmla="*/ 457200 h 914400"/>
                  <a:gd name="connsiteX3" fmla="*/ 174739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47397 w 1828800"/>
                  <a:gd name="connsiteY1" fmla="*/ 0 h 914400"/>
                  <a:gd name="connsiteX2" fmla="*/ 1828800 w 1828800"/>
                  <a:gd name="connsiteY2" fmla="*/ 457200 h 914400"/>
                  <a:gd name="connsiteX3" fmla="*/ 1747397 w 1828800"/>
                  <a:gd name="connsiteY3" fmla="*/ 914400 h 914400"/>
                  <a:gd name="connsiteX4" fmla="*/ 0 w 1828800"/>
                  <a:gd name="connsiteY4" fmla="*/ 914400 h 914400"/>
                  <a:gd name="connsiteX5" fmla="*/ 81404 w 1828800"/>
                  <a:gd name="connsiteY5" fmla="*/ 457203 h 914400"/>
                  <a:gd name="connsiteX0" fmla="*/ 0 w 1828800"/>
                  <a:gd name="connsiteY0" fmla="*/ 0 h 914400"/>
                  <a:gd name="connsiteX1" fmla="*/ 1747397 w 1828800"/>
                  <a:gd name="connsiteY1" fmla="*/ 0 h 914400"/>
                  <a:gd name="connsiteX2" fmla="*/ 1828800 w 1828800"/>
                  <a:gd name="connsiteY2" fmla="*/ 457200 h 914400"/>
                  <a:gd name="connsiteX3" fmla="*/ 1747397 w 1828800"/>
                  <a:gd name="connsiteY3" fmla="*/ 914400 h 914400"/>
                  <a:gd name="connsiteX4" fmla="*/ 0 w 1828800"/>
                  <a:gd name="connsiteY4" fmla="*/ 914400 h 914400"/>
                  <a:gd name="connsiteX5" fmla="*/ 81404 w 1828800"/>
                  <a:gd name="connsiteY5" fmla="*/ 457203 h 914400"/>
                  <a:gd name="connsiteX0" fmla="*/ 0 w 1828800"/>
                  <a:gd name="connsiteY0" fmla="*/ 0 h 914400"/>
                  <a:gd name="connsiteX1" fmla="*/ 1747397 w 1828800"/>
                  <a:gd name="connsiteY1" fmla="*/ 0 h 914400"/>
                  <a:gd name="connsiteX2" fmla="*/ 1828800 w 1828800"/>
                  <a:gd name="connsiteY2" fmla="*/ 457200 h 914400"/>
                  <a:gd name="connsiteX3" fmla="*/ 1747397 w 1828800"/>
                  <a:gd name="connsiteY3" fmla="*/ 914400 h 914400"/>
                  <a:gd name="connsiteX4" fmla="*/ 0 w 1828800"/>
                  <a:gd name="connsiteY4" fmla="*/ 914400 h 914400"/>
                  <a:gd name="connsiteX5" fmla="*/ 81404 w 1828800"/>
                  <a:gd name="connsiteY5" fmla="*/ 457203 h 914400"/>
                  <a:gd name="connsiteX0" fmla="*/ 0 w 1828800"/>
                  <a:gd name="connsiteY0" fmla="*/ 0 h 914400"/>
                  <a:gd name="connsiteX1" fmla="*/ 1747397 w 1828800"/>
                  <a:gd name="connsiteY1" fmla="*/ 0 h 914400"/>
                  <a:gd name="connsiteX2" fmla="*/ 1828800 w 1828800"/>
                  <a:gd name="connsiteY2" fmla="*/ 457200 h 914400"/>
                  <a:gd name="connsiteX3" fmla="*/ 174739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47397 w 1828800"/>
                  <a:gd name="connsiteY1" fmla="*/ 0 h 914400"/>
                  <a:gd name="connsiteX2" fmla="*/ 1828800 w 1828800"/>
                  <a:gd name="connsiteY2" fmla="*/ 457200 h 914400"/>
                  <a:gd name="connsiteX3" fmla="*/ 174739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47397 w 1828800"/>
                  <a:gd name="connsiteY1" fmla="*/ 0 h 914400"/>
                  <a:gd name="connsiteX2" fmla="*/ 1828800 w 1828800"/>
                  <a:gd name="connsiteY2" fmla="*/ 457200 h 914400"/>
                  <a:gd name="connsiteX3" fmla="*/ 174739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47397 w 1828800"/>
                  <a:gd name="connsiteY1" fmla="*/ 0 h 914400"/>
                  <a:gd name="connsiteX2" fmla="*/ 1828800 w 1828800"/>
                  <a:gd name="connsiteY2" fmla="*/ 457200 h 914400"/>
                  <a:gd name="connsiteX3" fmla="*/ 174739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23919 w 1828800"/>
                  <a:gd name="connsiteY1" fmla="*/ 0 h 914400"/>
                  <a:gd name="connsiteX2" fmla="*/ 1828800 w 1828800"/>
                  <a:gd name="connsiteY2" fmla="*/ 457200 h 914400"/>
                  <a:gd name="connsiteX3" fmla="*/ 174739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23919 w 1828800"/>
                  <a:gd name="connsiteY1" fmla="*/ 0 h 914400"/>
                  <a:gd name="connsiteX2" fmla="*/ 1828800 w 1828800"/>
                  <a:gd name="connsiteY2" fmla="*/ 457200 h 914400"/>
                  <a:gd name="connsiteX3" fmla="*/ 1723919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23919 w 1828800"/>
                  <a:gd name="connsiteY1" fmla="*/ 0 h 914400"/>
                  <a:gd name="connsiteX2" fmla="*/ 1828800 w 1828800"/>
                  <a:gd name="connsiteY2" fmla="*/ 457200 h 914400"/>
                  <a:gd name="connsiteX3" fmla="*/ 1723919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97698 w 1828800"/>
                  <a:gd name="connsiteY1" fmla="*/ 0 h 914400"/>
                  <a:gd name="connsiteX2" fmla="*/ 1828800 w 1828800"/>
                  <a:gd name="connsiteY2" fmla="*/ 457200 h 914400"/>
                  <a:gd name="connsiteX3" fmla="*/ 1723919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97698 w 1828800"/>
                  <a:gd name="connsiteY1" fmla="*/ 0 h 914400"/>
                  <a:gd name="connsiteX2" fmla="*/ 1828800 w 1828800"/>
                  <a:gd name="connsiteY2" fmla="*/ 457200 h 914400"/>
                  <a:gd name="connsiteX3" fmla="*/ 1697698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97698 w 1828800"/>
                  <a:gd name="connsiteY1" fmla="*/ 0 h 914400"/>
                  <a:gd name="connsiteX2" fmla="*/ 1828800 w 1828800"/>
                  <a:gd name="connsiteY2" fmla="*/ 457200 h 914400"/>
                  <a:gd name="connsiteX3" fmla="*/ 1697698 w 1828800"/>
                  <a:gd name="connsiteY3" fmla="*/ 914400 h 914400"/>
                  <a:gd name="connsiteX4" fmla="*/ 0 w 1828800"/>
                  <a:gd name="connsiteY4" fmla="*/ 914400 h 914400"/>
                  <a:gd name="connsiteX5" fmla="*/ 139596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97698 w 1828800"/>
                  <a:gd name="connsiteY3" fmla="*/ 914400 h 914400"/>
                  <a:gd name="connsiteX4" fmla="*/ 0 w 1828800"/>
                  <a:gd name="connsiteY4" fmla="*/ 914400 h 914400"/>
                  <a:gd name="connsiteX5" fmla="*/ 139596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139596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174495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174495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174495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139596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139596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139596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174495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174495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174495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7063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7063 w 1828800"/>
                  <a:gd name="connsiteY1" fmla="*/ 0 h 914400"/>
                  <a:gd name="connsiteX2" fmla="*/ 1828800 w 1828800"/>
                  <a:gd name="connsiteY2" fmla="*/ 457200 h 914400"/>
                  <a:gd name="connsiteX3" fmla="*/ 1627063 w 1828800"/>
                  <a:gd name="connsiteY3" fmla="*/ 914400 h 914400"/>
                  <a:gd name="connsiteX4" fmla="*/ 0 w 1828800"/>
                  <a:gd name="connsiteY4" fmla="*/ 914400 h 914400"/>
                  <a:gd name="connsiteX5" fmla="*/ 0 w 1828800"/>
                  <a:gd name="connsiteY5" fmla="*/ 457204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27063" y="0"/>
                    </a:lnTo>
                    <a:lnTo>
                      <a:pt x="1828800" y="457200"/>
                    </a:lnTo>
                    <a:lnTo>
                      <a:pt x="1627063" y="914400"/>
                    </a:lnTo>
                    <a:lnTo>
                      <a:pt x="0" y="914400"/>
                    </a:lnTo>
                    <a:lnTo>
                      <a:pt x="0" y="457204"/>
                    </a:lnTo>
                    <a:close/>
                  </a:path>
                </a:pathLst>
              </a:cu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400" fontAlgn="base">
                  <a:spcBef>
                    <a:spcPct val="0"/>
                  </a:spcBef>
                  <a:spcAft>
                    <a:spcPct val="0"/>
                  </a:spcAft>
                </a:pPr>
                <a:endParaRPr lang="en-US" sz="800" dirty="0">
                  <a:solidFill>
                    <a:srgbClr val="000000"/>
                  </a:solidFill>
                </a:endParaRPr>
              </a:p>
            </p:txBody>
          </p:sp>
          <p:sp>
            <p:nvSpPr>
              <p:cNvPr id="172" name="TextBox 171"/>
              <p:cNvSpPr txBox="1"/>
              <p:nvPr>
                <p:custDataLst>
                  <p:tags r:id="rId27"/>
                </p:custDataLst>
              </p:nvPr>
            </p:nvSpPr>
            <p:spPr>
              <a:xfrm>
                <a:off x="913554" y="1390642"/>
                <a:ext cx="769096" cy="49385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800" b="1" dirty="0">
                    <a:solidFill>
                      <a:srgbClr val="01632F"/>
                    </a:solidFill>
                  </a:rPr>
                  <a:t>Seed supply &amp; research</a:t>
                </a:r>
              </a:p>
            </p:txBody>
          </p:sp>
        </p:grpSp>
        <p:grpSp>
          <p:nvGrpSpPr>
            <p:cNvPr id="68" name="Group 67"/>
            <p:cNvGrpSpPr/>
            <p:nvPr>
              <p:custDataLst>
                <p:tags r:id="rId8"/>
              </p:custDataLst>
            </p:nvPr>
          </p:nvGrpSpPr>
          <p:grpSpPr>
            <a:xfrm>
              <a:off x="1825171" y="990926"/>
              <a:ext cx="935828" cy="573511"/>
              <a:chOff x="1760302" y="1350816"/>
              <a:chExt cx="935828" cy="573511"/>
            </a:xfrm>
          </p:grpSpPr>
          <p:sp>
            <p:nvSpPr>
              <p:cNvPr id="174" name="Freeform 173"/>
              <p:cNvSpPr/>
              <p:nvPr>
                <p:custDataLst>
                  <p:tags r:id="rId24"/>
                </p:custDataLst>
              </p:nvPr>
            </p:nvSpPr>
            <p:spPr>
              <a:xfrm>
                <a:off x="1760302" y="1350816"/>
                <a:ext cx="935828" cy="57351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44842 w 1828800"/>
                  <a:gd name="connsiteY5" fmla="*/ 457201 h 914400"/>
                  <a:gd name="connsiteX0" fmla="*/ 0 w 1828800"/>
                  <a:gd name="connsiteY0" fmla="*/ 0 h 914400"/>
                  <a:gd name="connsiteX1" fmla="*/ 168395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44842 w 1828800"/>
                  <a:gd name="connsiteY5" fmla="*/ 457201 h 914400"/>
                  <a:gd name="connsiteX0" fmla="*/ 0 w 1828800"/>
                  <a:gd name="connsiteY0" fmla="*/ 0 h 914400"/>
                  <a:gd name="connsiteX1" fmla="*/ 1683958 w 1828800"/>
                  <a:gd name="connsiteY1" fmla="*/ 0 h 914400"/>
                  <a:gd name="connsiteX2" fmla="*/ 1828800 w 1828800"/>
                  <a:gd name="connsiteY2" fmla="*/ 457200 h 914400"/>
                  <a:gd name="connsiteX3" fmla="*/ 1683958 w 1828800"/>
                  <a:gd name="connsiteY3" fmla="*/ 914400 h 914400"/>
                  <a:gd name="connsiteX4" fmla="*/ 0 w 1828800"/>
                  <a:gd name="connsiteY4" fmla="*/ 914400 h 914400"/>
                  <a:gd name="connsiteX5" fmla="*/ 144842 w 1828800"/>
                  <a:gd name="connsiteY5" fmla="*/ 457201 h 914400"/>
                  <a:gd name="connsiteX0" fmla="*/ 0 w 1828800"/>
                  <a:gd name="connsiteY0" fmla="*/ 0 h 914400"/>
                  <a:gd name="connsiteX1" fmla="*/ 1683958 w 1828800"/>
                  <a:gd name="connsiteY1" fmla="*/ 0 h 914400"/>
                  <a:gd name="connsiteX2" fmla="*/ 1828800 w 1828800"/>
                  <a:gd name="connsiteY2" fmla="*/ 457200 h 914400"/>
                  <a:gd name="connsiteX3" fmla="*/ 168395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8395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44841 w 1828800"/>
                  <a:gd name="connsiteY5" fmla="*/ 457202 h 914400"/>
                  <a:gd name="connsiteX0" fmla="*/ 0 w 1828800"/>
                  <a:gd name="connsiteY0" fmla="*/ 0 h 914400"/>
                  <a:gd name="connsiteX1" fmla="*/ 1683959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44841 w 1828800"/>
                  <a:gd name="connsiteY5" fmla="*/ 457202 h 914400"/>
                  <a:gd name="connsiteX0" fmla="*/ 0 w 1828800"/>
                  <a:gd name="connsiteY0" fmla="*/ 0 h 914400"/>
                  <a:gd name="connsiteX1" fmla="*/ 1683959 w 1828800"/>
                  <a:gd name="connsiteY1" fmla="*/ 0 h 914400"/>
                  <a:gd name="connsiteX2" fmla="*/ 1828800 w 1828800"/>
                  <a:gd name="connsiteY2" fmla="*/ 457200 h 914400"/>
                  <a:gd name="connsiteX3" fmla="*/ 1683959 w 1828800"/>
                  <a:gd name="connsiteY3" fmla="*/ 914400 h 914400"/>
                  <a:gd name="connsiteX4" fmla="*/ 0 w 1828800"/>
                  <a:gd name="connsiteY4" fmla="*/ 914400 h 914400"/>
                  <a:gd name="connsiteX5" fmla="*/ 144841 w 1828800"/>
                  <a:gd name="connsiteY5" fmla="*/ 457202 h 914400"/>
                  <a:gd name="connsiteX0" fmla="*/ 0 w 1828800"/>
                  <a:gd name="connsiteY0" fmla="*/ 0 h 914400"/>
                  <a:gd name="connsiteX1" fmla="*/ 1683959 w 1828800"/>
                  <a:gd name="connsiteY1" fmla="*/ 0 h 914400"/>
                  <a:gd name="connsiteX2" fmla="*/ 1828800 w 1828800"/>
                  <a:gd name="connsiteY2" fmla="*/ 457200 h 914400"/>
                  <a:gd name="connsiteX3" fmla="*/ 1683959 w 1828800"/>
                  <a:gd name="connsiteY3" fmla="*/ 914400 h 914400"/>
                  <a:gd name="connsiteX4" fmla="*/ 0 w 1828800"/>
                  <a:gd name="connsiteY4" fmla="*/ 914400 h 914400"/>
                  <a:gd name="connsiteX5" fmla="*/ 181052 w 1828800"/>
                  <a:gd name="connsiteY5" fmla="*/ 457202 h 914400"/>
                  <a:gd name="connsiteX0" fmla="*/ 0 w 1828800"/>
                  <a:gd name="connsiteY0" fmla="*/ 0 h 914400"/>
                  <a:gd name="connsiteX1" fmla="*/ 1647748 w 1828800"/>
                  <a:gd name="connsiteY1" fmla="*/ 0 h 914400"/>
                  <a:gd name="connsiteX2" fmla="*/ 1828800 w 1828800"/>
                  <a:gd name="connsiteY2" fmla="*/ 457200 h 914400"/>
                  <a:gd name="connsiteX3" fmla="*/ 1683959 w 1828800"/>
                  <a:gd name="connsiteY3" fmla="*/ 914400 h 914400"/>
                  <a:gd name="connsiteX4" fmla="*/ 0 w 1828800"/>
                  <a:gd name="connsiteY4" fmla="*/ 914400 h 914400"/>
                  <a:gd name="connsiteX5" fmla="*/ 181052 w 1828800"/>
                  <a:gd name="connsiteY5" fmla="*/ 457202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81052 w 1828800"/>
                  <a:gd name="connsiteY5" fmla="*/ 457202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21595 w 1828800"/>
                  <a:gd name="connsiteY5" fmla="*/ 457203 h 914400"/>
                  <a:gd name="connsiteX0" fmla="*/ 0 w 1828800"/>
                  <a:gd name="connsiteY0" fmla="*/ 0 h 914400"/>
                  <a:gd name="connsiteX1" fmla="*/ 1707207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21595 w 1828800"/>
                  <a:gd name="connsiteY5" fmla="*/ 457203 h 914400"/>
                  <a:gd name="connsiteX0" fmla="*/ 0 w 1828800"/>
                  <a:gd name="connsiteY0" fmla="*/ 0 h 914400"/>
                  <a:gd name="connsiteX1" fmla="*/ 1707207 w 1828800"/>
                  <a:gd name="connsiteY1" fmla="*/ 0 h 914400"/>
                  <a:gd name="connsiteX2" fmla="*/ 1828800 w 1828800"/>
                  <a:gd name="connsiteY2" fmla="*/ 457200 h 914400"/>
                  <a:gd name="connsiteX3" fmla="*/ 1707207 w 1828800"/>
                  <a:gd name="connsiteY3" fmla="*/ 914400 h 914400"/>
                  <a:gd name="connsiteX4" fmla="*/ 0 w 1828800"/>
                  <a:gd name="connsiteY4" fmla="*/ 914400 h 914400"/>
                  <a:gd name="connsiteX5" fmla="*/ 121595 w 1828800"/>
                  <a:gd name="connsiteY5" fmla="*/ 457203 h 914400"/>
                  <a:gd name="connsiteX0" fmla="*/ 0 w 1828800"/>
                  <a:gd name="connsiteY0" fmla="*/ 0 h 914400"/>
                  <a:gd name="connsiteX1" fmla="*/ 1707207 w 1828800"/>
                  <a:gd name="connsiteY1" fmla="*/ 0 h 914400"/>
                  <a:gd name="connsiteX2" fmla="*/ 1828800 w 1828800"/>
                  <a:gd name="connsiteY2" fmla="*/ 457200 h 914400"/>
                  <a:gd name="connsiteX3" fmla="*/ 1707207 w 1828800"/>
                  <a:gd name="connsiteY3" fmla="*/ 914400 h 914400"/>
                  <a:gd name="connsiteX4" fmla="*/ 0 w 1828800"/>
                  <a:gd name="connsiteY4" fmla="*/ 914400 h 914400"/>
                  <a:gd name="connsiteX5" fmla="*/ 151993 w 1828800"/>
                  <a:gd name="connsiteY5" fmla="*/ 457203 h 914400"/>
                  <a:gd name="connsiteX0" fmla="*/ 0 w 1828800"/>
                  <a:gd name="connsiteY0" fmla="*/ 0 h 914400"/>
                  <a:gd name="connsiteX1" fmla="*/ 1676809 w 1828800"/>
                  <a:gd name="connsiteY1" fmla="*/ 0 h 914400"/>
                  <a:gd name="connsiteX2" fmla="*/ 1828800 w 1828800"/>
                  <a:gd name="connsiteY2" fmla="*/ 457200 h 914400"/>
                  <a:gd name="connsiteX3" fmla="*/ 1707207 w 1828800"/>
                  <a:gd name="connsiteY3" fmla="*/ 914400 h 914400"/>
                  <a:gd name="connsiteX4" fmla="*/ 0 w 1828800"/>
                  <a:gd name="connsiteY4" fmla="*/ 914400 h 914400"/>
                  <a:gd name="connsiteX5" fmla="*/ 151993 w 1828800"/>
                  <a:gd name="connsiteY5" fmla="*/ 457203 h 914400"/>
                  <a:gd name="connsiteX0" fmla="*/ 0 w 1828800"/>
                  <a:gd name="connsiteY0" fmla="*/ 0 h 914400"/>
                  <a:gd name="connsiteX1" fmla="*/ 1676809 w 1828800"/>
                  <a:gd name="connsiteY1" fmla="*/ 0 h 914400"/>
                  <a:gd name="connsiteX2" fmla="*/ 1828800 w 1828800"/>
                  <a:gd name="connsiteY2" fmla="*/ 457200 h 914400"/>
                  <a:gd name="connsiteX3" fmla="*/ 1676809 w 1828800"/>
                  <a:gd name="connsiteY3" fmla="*/ 914400 h 914400"/>
                  <a:gd name="connsiteX4" fmla="*/ 0 w 1828800"/>
                  <a:gd name="connsiteY4" fmla="*/ 914400 h 914400"/>
                  <a:gd name="connsiteX5" fmla="*/ 151993 w 1828800"/>
                  <a:gd name="connsiteY5" fmla="*/ 457203 h 914400"/>
                  <a:gd name="connsiteX0" fmla="*/ 0 w 1828800"/>
                  <a:gd name="connsiteY0" fmla="*/ 0 h 914400"/>
                  <a:gd name="connsiteX1" fmla="*/ 1676809 w 1828800"/>
                  <a:gd name="connsiteY1" fmla="*/ 0 h 914400"/>
                  <a:gd name="connsiteX2" fmla="*/ 1828800 w 1828800"/>
                  <a:gd name="connsiteY2" fmla="*/ 457200 h 914400"/>
                  <a:gd name="connsiteX3" fmla="*/ 1676809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76809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162739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162739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162739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179013 w 1828800"/>
                  <a:gd name="connsiteY5" fmla="*/ 457204 h 914400"/>
                  <a:gd name="connsiteX0" fmla="*/ 0 w 1828800"/>
                  <a:gd name="connsiteY0" fmla="*/ 0 h 914400"/>
                  <a:gd name="connsiteX1" fmla="*/ 1649789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179013 w 1828800"/>
                  <a:gd name="connsiteY5" fmla="*/ 457204 h 914400"/>
                  <a:gd name="connsiteX0" fmla="*/ 0 w 1828800"/>
                  <a:gd name="connsiteY0" fmla="*/ 0 h 914400"/>
                  <a:gd name="connsiteX1" fmla="*/ 1649789 w 1828800"/>
                  <a:gd name="connsiteY1" fmla="*/ 0 h 914400"/>
                  <a:gd name="connsiteX2" fmla="*/ 1828800 w 1828800"/>
                  <a:gd name="connsiteY2" fmla="*/ 457200 h 914400"/>
                  <a:gd name="connsiteX3" fmla="*/ 1649789 w 1828800"/>
                  <a:gd name="connsiteY3" fmla="*/ 914400 h 914400"/>
                  <a:gd name="connsiteX4" fmla="*/ 0 w 1828800"/>
                  <a:gd name="connsiteY4" fmla="*/ 914400 h 914400"/>
                  <a:gd name="connsiteX5" fmla="*/ 179013 w 1828800"/>
                  <a:gd name="connsiteY5" fmla="*/ 457204 h 914400"/>
                  <a:gd name="connsiteX0" fmla="*/ 0 w 1828800"/>
                  <a:gd name="connsiteY0" fmla="*/ 0 h 914400"/>
                  <a:gd name="connsiteX1" fmla="*/ 1649789 w 1828800"/>
                  <a:gd name="connsiteY1" fmla="*/ 0 h 914400"/>
                  <a:gd name="connsiteX2" fmla="*/ 1828800 w 1828800"/>
                  <a:gd name="connsiteY2" fmla="*/ 457200 h 914400"/>
                  <a:gd name="connsiteX3" fmla="*/ 1649789 w 1828800"/>
                  <a:gd name="connsiteY3" fmla="*/ 914400 h 914400"/>
                  <a:gd name="connsiteX4" fmla="*/ 0 w 1828800"/>
                  <a:gd name="connsiteY4" fmla="*/ 914400 h 914400"/>
                  <a:gd name="connsiteX5" fmla="*/ 223766 w 1828800"/>
                  <a:gd name="connsiteY5" fmla="*/ 457204 h 914400"/>
                  <a:gd name="connsiteX0" fmla="*/ 0 w 1828800"/>
                  <a:gd name="connsiteY0" fmla="*/ 0 h 914400"/>
                  <a:gd name="connsiteX1" fmla="*/ 1605036 w 1828800"/>
                  <a:gd name="connsiteY1" fmla="*/ 0 h 914400"/>
                  <a:gd name="connsiteX2" fmla="*/ 1828800 w 1828800"/>
                  <a:gd name="connsiteY2" fmla="*/ 457200 h 914400"/>
                  <a:gd name="connsiteX3" fmla="*/ 1649789 w 1828800"/>
                  <a:gd name="connsiteY3" fmla="*/ 914400 h 914400"/>
                  <a:gd name="connsiteX4" fmla="*/ 0 w 1828800"/>
                  <a:gd name="connsiteY4" fmla="*/ 914400 h 914400"/>
                  <a:gd name="connsiteX5" fmla="*/ 223766 w 1828800"/>
                  <a:gd name="connsiteY5" fmla="*/ 457204 h 914400"/>
                  <a:gd name="connsiteX0" fmla="*/ 0 w 1828800"/>
                  <a:gd name="connsiteY0" fmla="*/ 0 h 914400"/>
                  <a:gd name="connsiteX1" fmla="*/ 1605036 w 1828800"/>
                  <a:gd name="connsiteY1" fmla="*/ 0 h 914400"/>
                  <a:gd name="connsiteX2" fmla="*/ 1828800 w 1828800"/>
                  <a:gd name="connsiteY2" fmla="*/ 457200 h 914400"/>
                  <a:gd name="connsiteX3" fmla="*/ 1605036 w 1828800"/>
                  <a:gd name="connsiteY3" fmla="*/ 914400 h 914400"/>
                  <a:gd name="connsiteX4" fmla="*/ 0 w 1828800"/>
                  <a:gd name="connsiteY4" fmla="*/ 914400 h 914400"/>
                  <a:gd name="connsiteX5" fmla="*/ 223766 w 1828800"/>
                  <a:gd name="connsiteY5" fmla="*/ 457204 h 914400"/>
                  <a:gd name="connsiteX0" fmla="*/ 0 w 1828800"/>
                  <a:gd name="connsiteY0" fmla="*/ 0 h 914400"/>
                  <a:gd name="connsiteX1" fmla="*/ 1605036 w 1828800"/>
                  <a:gd name="connsiteY1" fmla="*/ 0 h 914400"/>
                  <a:gd name="connsiteX2" fmla="*/ 1828800 w 1828800"/>
                  <a:gd name="connsiteY2" fmla="*/ 457200 h 914400"/>
                  <a:gd name="connsiteX3" fmla="*/ 1605036 w 1828800"/>
                  <a:gd name="connsiteY3" fmla="*/ 914400 h 914400"/>
                  <a:gd name="connsiteX4" fmla="*/ 0 w 1828800"/>
                  <a:gd name="connsiteY4" fmla="*/ 914400 h 914400"/>
                  <a:gd name="connsiteX5" fmla="*/ 145146 w 1828800"/>
                  <a:gd name="connsiteY5" fmla="*/ 457204 h 914400"/>
                  <a:gd name="connsiteX0" fmla="*/ 0 w 1828800"/>
                  <a:gd name="connsiteY0" fmla="*/ 0 h 914400"/>
                  <a:gd name="connsiteX1" fmla="*/ 1683654 w 1828800"/>
                  <a:gd name="connsiteY1" fmla="*/ 0 h 914400"/>
                  <a:gd name="connsiteX2" fmla="*/ 1828800 w 1828800"/>
                  <a:gd name="connsiteY2" fmla="*/ 457200 h 914400"/>
                  <a:gd name="connsiteX3" fmla="*/ 1605036 w 1828800"/>
                  <a:gd name="connsiteY3" fmla="*/ 914400 h 914400"/>
                  <a:gd name="connsiteX4" fmla="*/ 0 w 1828800"/>
                  <a:gd name="connsiteY4" fmla="*/ 914400 h 914400"/>
                  <a:gd name="connsiteX5" fmla="*/ 145146 w 1828800"/>
                  <a:gd name="connsiteY5" fmla="*/ 457204 h 914400"/>
                  <a:gd name="connsiteX0" fmla="*/ 0 w 1828800"/>
                  <a:gd name="connsiteY0" fmla="*/ 0 h 914400"/>
                  <a:gd name="connsiteX1" fmla="*/ 1683654 w 1828800"/>
                  <a:gd name="connsiteY1" fmla="*/ 0 h 914400"/>
                  <a:gd name="connsiteX2" fmla="*/ 1828800 w 1828800"/>
                  <a:gd name="connsiteY2" fmla="*/ 457200 h 914400"/>
                  <a:gd name="connsiteX3" fmla="*/ 1683654 w 1828800"/>
                  <a:gd name="connsiteY3" fmla="*/ 914400 h 914400"/>
                  <a:gd name="connsiteX4" fmla="*/ 0 w 1828800"/>
                  <a:gd name="connsiteY4" fmla="*/ 914400 h 914400"/>
                  <a:gd name="connsiteX5" fmla="*/ 145146 w 1828800"/>
                  <a:gd name="connsiteY5" fmla="*/ 457204 h 914400"/>
                  <a:gd name="connsiteX0" fmla="*/ 0 w 1828800"/>
                  <a:gd name="connsiteY0" fmla="*/ 0 h 914400"/>
                  <a:gd name="connsiteX1" fmla="*/ 1683654 w 1828800"/>
                  <a:gd name="connsiteY1" fmla="*/ 0 h 914400"/>
                  <a:gd name="connsiteX2" fmla="*/ 1828800 w 1828800"/>
                  <a:gd name="connsiteY2" fmla="*/ 457200 h 914400"/>
                  <a:gd name="connsiteX3" fmla="*/ 1683654 w 1828800"/>
                  <a:gd name="connsiteY3" fmla="*/ 914400 h 914400"/>
                  <a:gd name="connsiteX4" fmla="*/ 0 w 1828800"/>
                  <a:gd name="connsiteY4" fmla="*/ 914400 h 914400"/>
                  <a:gd name="connsiteX5" fmla="*/ 181432 w 1828800"/>
                  <a:gd name="connsiteY5" fmla="*/ 457204 h 914400"/>
                  <a:gd name="connsiteX0" fmla="*/ 0 w 1828800"/>
                  <a:gd name="connsiteY0" fmla="*/ 0 h 914400"/>
                  <a:gd name="connsiteX1" fmla="*/ 1647368 w 1828800"/>
                  <a:gd name="connsiteY1" fmla="*/ 0 h 914400"/>
                  <a:gd name="connsiteX2" fmla="*/ 1828800 w 1828800"/>
                  <a:gd name="connsiteY2" fmla="*/ 457200 h 914400"/>
                  <a:gd name="connsiteX3" fmla="*/ 1683654 w 1828800"/>
                  <a:gd name="connsiteY3" fmla="*/ 914400 h 914400"/>
                  <a:gd name="connsiteX4" fmla="*/ 0 w 1828800"/>
                  <a:gd name="connsiteY4" fmla="*/ 914400 h 914400"/>
                  <a:gd name="connsiteX5" fmla="*/ 181432 w 1828800"/>
                  <a:gd name="connsiteY5" fmla="*/ 457204 h 914400"/>
                  <a:gd name="connsiteX0" fmla="*/ 0 w 1828800"/>
                  <a:gd name="connsiteY0" fmla="*/ 0 h 914400"/>
                  <a:gd name="connsiteX1" fmla="*/ 1647368 w 1828800"/>
                  <a:gd name="connsiteY1" fmla="*/ 0 h 914400"/>
                  <a:gd name="connsiteX2" fmla="*/ 1828800 w 1828800"/>
                  <a:gd name="connsiteY2" fmla="*/ 457200 h 914400"/>
                  <a:gd name="connsiteX3" fmla="*/ 1647368 w 1828800"/>
                  <a:gd name="connsiteY3" fmla="*/ 914400 h 914400"/>
                  <a:gd name="connsiteX4" fmla="*/ 0 w 1828800"/>
                  <a:gd name="connsiteY4" fmla="*/ 914400 h 914400"/>
                  <a:gd name="connsiteX5" fmla="*/ 181432 w 1828800"/>
                  <a:gd name="connsiteY5" fmla="*/ 457204 h 914400"/>
                  <a:gd name="connsiteX0" fmla="*/ 0 w 1828800"/>
                  <a:gd name="connsiteY0" fmla="*/ 0 h 914400"/>
                  <a:gd name="connsiteX1" fmla="*/ 1647368 w 1828800"/>
                  <a:gd name="connsiteY1" fmla="*/ 0 h 914400"/>
                  <a:gd name="connsiteX2" fmla="*/ 1828800 w 1828800"/>
                  <a:gd name="connsiteY2" fmla="*/ 457200 h 914400"/>
                  <a:gd name="connsiteX3" fmla="*/ 1647368 w 1828800"/>
                  <a:gd name="connsiteY3" fmla="*/ 914400 h 914400"/>
                  <a:gd name="connsiteX4" fmla="*/ 0 w 1828800"/>
                  <a:gd name="connsiteY4" fmla="*/ 914400 h 914400"/>
                  <a:gd name="connsiteX5" fmla="*/ 97133 w 1828800"/>
                  <a:gd name="connsiteY5" fmla="*/ 457203 h 914400"/>
                  <a:gd name="connsiteX0" fmla="*/ 0 w 1828800"/>
                  <a:gd name="connsiteY0" fmla="*/ 0 h 914400"/>
                  <a:gd name="connsiteX1" fmla="*/ 1731667 w 1828800"/>
                  <a:gd name="connsiteY1" fmla="*/ 0 h 914400"/>
                  <a:gd name="connsiteX2" fmla="*/ 1828800 w 1828800"/>
                  <a:gd name="connsiteY2" fmla="*/ 457200 h 914400"/>
                  <a:gd name="connsiteX3" fmla="*/ 1647368 w 1828800"/>
                  <a:gd name="connsiteY3" fmla="*/ 914400 h 914400"/>
                  <a:gd name="connsiteX4" fmla="*/ 0 w 1828800"/>
                  <a:gd name="connsiteY4" fmla="*/ 914400 h 914400"/>
                  <a:gd name="connsiteX5" fmla="*/ 97133 w 1828800"/>
                  <a:gd name="connsiteY5" fmla="*/ 457203 h 914400"/>
                  <a:gd name="connsiteX0" fmla="*/ 0 w 1828800"/>
                  <a:gd name="connsiteY0" fmla="*/ 0 h 914400"/>
                  <a:gd name="connsiteX1" fmla="*/ 1731667 w 1828800"/>
                  <a:gd name="connsiteY1" fmla="*/ 0 h 914400"/>
                  <a:gd name="connsiteX2" fmla="*/ 1828800 w 1828800"/>
                  <a:gd name="connsiteY2" fmla="*/ 457200 h 914400"/>
                  <a:gd name="connsiteX3" fmla="*/ 1731667 w 1828800"/>
                  <a:gd name="connsiteY3" fmla="*/ 914400 h 914400"/>
                  <a:gd name="connsiteX4" fmla="*/ 0 w 1828800"/>
                  <a:gd name="connsiteY4" fmla="*/ 914400 h 914400"/>
                  <a:gd name="connsiteX5" fmla="*/ 97133 w 1828800"/>
                  <a:gd name="connsiteY5" fmla="*/ 457203 h 914400"/>
                  <a:gd name="connsiteX0" fmla="*/ 0 w 1828800"/>
                  <a:gd name="connsiteY0" fmla="*/ 0 h 914400"/>
                  <a:gd name="connsiteX1" fmla="*/ 1731667 w 1828800"/>
                  <a:gd name="connsiteY1" fmla="*/ 0 h 914400"/>
                  <a:gd name="connsiteX2" fmla="*/ 1828800 w 1828800"/>
                  <a:gd name="connsiteY2" fmla="*/ 457200 h 914400"/>
                  <a:gd name="connsiteX3" fmla="*/ 1731667 w 1828800"/>
                  <a:gd name="connsiteY3" fmla="*/ 914400 h 914400"/>
                  <a:gd name="connsiteX4" fmla="*/ 0 w 1828800"/>
                  <a:gd name="connsiteY4" fmla="*/ 914400 h 914400"/>
                  <a:gd name="connsiteX5" fmla="*/ 121416 w 1828800"/>
                  <a:gd name="connsiteY5" fmla="*/ 457203 h 914400"/>
                  <a:gd name="connsiteX0" fmla="*/ 0 w 1828800"/>
                  <a:gd name="connsiteY0" fmla="*/ 0 h 914400"/>
                  <a:gd name="connsiteX1" fmla="*/ 1707384 w 1828800"/>
                  <a:gd name="connsiteY1" fmla="*/ 0 h 914400"/>
                  <a:gd name="connsiteX2" fmla="*/ 1828800 w 1828800"/>
                  <a:gd name="connsiteY2" fmla="*/ 457200 h 914400"/>
                  <a:gd name="connsiteX3" fmla="*/ 1731667 w 1828800"/>
                  <a:gd name="connsiteY3" fmla="*/ 914400 h 914400"/>
                  <a:gd name="connsiteX4" fmla="*/ 0 w 1828800"/>
                  <a:gd name="connsiteY4" fmla="*/ 914400 h 914400"/>
                  <a:gd name="connsiteX5" fmla="*/ 121416 w 1828800"/>
                  <a:gd name="connsiteY5" fmla="*/ 457203 h 914400"/>
                  <a:gd name="connsiteX0" fmla="*/ 0 w 1828800"/>
                  <a:gd name="connsiteY0" fmla="*/ 0 h 914400"/>
                  <a:gd name="connsiteX1" fmla="*/ 1707384 w 1828800"/>
                  <a:gd name="connsiteY1" fmla="*/ 0 h 914400"/>
                  <a:gd name="connsiteX2" fmla="*/ 1828800 w 1828800"/>
                  <a:gd name="connsiteY2" fmla="*/ 457200 h 914400"/>
                  <a:gd name="connsiteX3" fmla="*/ 1707384 w 1828800"/>
                  <a:gd name="connsiteY3" fmla="*/ 914400 h 914400"/>
                  <a:gd name="connsiteX4" fmla="*/ 0 w 1828800"/>
                  <a:gd name="connsiteY4" fmla="*/ 914400 h 914400"/>
                  <a:gd name="connsiteX5" fmla="*/ 121416 w 1828800"/>
                  <a:gd name="connsiteY5" fmla="*/ 457203 h 914400"/>
                  <a:gd name="connsiteX0" fmla="*/ 0 w 1828800"/>
                  <a:gd name="connsiteY0" fmla="*/ 0 h 914400"/>
                  <a:gd name="connsiteX1" fmla="*/ 1707384 w 1828800"/>
                  <a:gd name="connsiteY1" fmla="*/ 0 h 914400"/>
                  <a:gd name="connsiteX2" fmla="*/ 1828800 w 1828800"/>
                  <a:gd name="connsiteY2" fmla="*/ 457200 h 914400"/>
                  <a:gd name="connsiteX3" fmla="*/ 170738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738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81622 w 1828800"/>
                  <a:gd name="connsiteY5" fmla="*/ 457203 h 914400"/>
                  <a:gd name="connsiteX0" fmla="*/ 0 w 1828800"/>
                  <a:gd name="connsiteY0" fmla="*/ 0 h 914400"/>
                  <a:gd name="connsiteX1" fmla="*/ 1747178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81622 w 1828800"/>
                  <a:gd name="connsiteY5" fmla="*/ 457203 h 914400"/>
                  <a:gd name="connsiteX0" fmla="*/ 0 w 1828800"/>
                  <a:gd name="connsiteY0" fmla="*/ 0 h 914400"/>
                  <a:gd name="connsiteX1" fmla="*/ 1747178 w 1828800"/>
                  <a:gd name="connsiteY1" fmla="*/ 0 h 914400"/>
                  <a:gd name="connsiteX2" fmla="*/ 1828800 w 1828800"/>
                  <a:gd name="connsiteY2" fmla="*/ 457200 h 914400"/>
                  <a:gd name="connsiteX3" fmla="*/ 1747178 w 1828800"/>
                  <a:gd name="connsiteY3" fmla="*/ 914400 h 914400"/>
                  <a:gd name="connsiteX4" fmla="*/ 0 w 1828800"/>
                  <a:gd name="connsiteY4" fmla="*/ 914400 h 914400"/>
                  <a:gd name="connsiteX5" fmla="*/ 81622 w 1828800"/>
                  <a:gd name="connsiteY5" fmla="*/ 457203 h 914400"/>
                  <a:gd name="connsiteX0" fmla="*/ 0 w 1828800"/>
                  <a:gd name="connsiteY0" fmla="*/ 0 h 914400"/>
                  <a:gd name="connsiteX1" fmla="*/ 1747178 w 1828800"/>
                  <a:gd name="connsiteY1" fmla="*/ 0 h 914400"/>
                  <a:gd name="connsiteX2" fmla="*/ 1828800 w 1828800"/>
                  <a:gd name="connsiteY2" fmla="*/ 457200 h 914400"/>
                  <a:gd name="connsiteX3" fmla="*/ 1747178 w 1828800"/>
                  <a:gd name="connsiteY3" fmla="*/ 914400 h 914400"/>
                  <a:gd name="connsiteX4" fmla="*/ 0 w 1828800"/>
                  <a:gd name="connsiteY4" fmla="*/ 914400 h 914400"/>
                  <a:gd name="connsiteX5" fmla="*/ 102027 w 1828800"/>
                  <a:gd name="connsiteY5" fmla="*/ 457203 h 914400"/>
                  <a:gd name="connsiteX0" fmla="*/ 0 w 1828800"/>
                  <a:gd name="connsiteY0" fmla="*/ 0 h 914400"/>
                  <a:gd name="connsiteX1" fmla="*/ 1726773 w 1828800"/>
                  <a:gd name="connsiteY1" fmla="*/ 0 h 914400"/>
                  <a:gd name="connsiteX2" fmla="*/ 1828800 w 1828800"/>
                  <a:gd name="connsiteY2" fmla="*/ 457200 h 914400"/>
                  <a:gd name="connsiteX3" fmla="*/ 1747178 w 1828800"/>
                  <a:gd name="connsiteY3" fmla="*/ 914400 h 914400"/>
                  <a:gd name="connsiteX4" fmla="*/ 0 w 1828800"/>
                  <a:gd name="connsiteY4" fmla="*/ 914400 h 914400"/>
                  <a:gd name="connsiteX5" fmla="*/ 102027 w 1828800"/>
                  <a:gd name="connsiteY5" fmla="*/ 457203 h 914400"/>
                  <a:gd name="connsiteX0" fmla="*/ 0 w 1828800"/>
                  <a:gd name="connsiteY0" fmla="*/ 0 h 914400"/>
                  <a:gd name="connsiteX1" fmla="*/ 1726773 w 1828800"/>
                  <a:gd name="connsiteY1" fmla="*/ 0 h 914400"/>
                  <a:gd name="connsiteX2" fmla="*/ 1828800 w 1828800"/>
                  <a:gd name="connsiteY2" fmla="*/ 457200 h 914400"/>
                  <a:gd name="connsiteX3" fmla="*/ 1726773 w 1828800"/>
                  <a:gd name="connsiteY3" fmla="*/ 914400 h 914400"/>
                  <a:gd name="connsiteX4" fmla="*/ 0 w 1828800"/>
                  <a:gd name="connsiteY4" fmla="*/ 914400 h 914400"/>
                  <a:gd name="connsiteX5" fmla="*/ 102027 w 1828800"/>
                  <a:gd name="connsiteY5" fmla="*/ 457203 h 914400"/>
                  <a:gd name="connsiteX0" fmla="*/ 0 w 1828800"/>
                  <a:gd name="connsiteY0" fmla="*/ 0 h 914400"/>
                  <a:gd name="connsiteX1" fmla="*/ 1726773 w 1828800"/>
                  <a:gd name="connsiteY1" fmla="*/ 0 h 914400"/>
                  <a:gd name="connsiteX2" fmla="*/ 1828800 w 1828800"/>
                  <a:gd name="connsiteY2" fmla="*/ 457200 h 914400"/>
                  <a:gd name="connsiteX3" fmla="*/ 1726773 w 1828800"/>
                  <a:gd name="connsiteY3" fmla="*/ 914400 h 914400"/>
                  <a:gd name="connsiteX4" fmla="*/ 0 w 1828800"/>
                  <a:gd name="connsiteY4" fmla="*/ 914400 h 914400"/>
                  <a:gd name="connsiteX5" fmla="*/ 85882 w 1828800"/>
                  <a:gd name="connsiteY5" fmla="*/ 457203 h 914400"/>
                  <a:gd name="connsiteX0" fmla="*/ 0 w 1828800"/>
                  <a:gd name="connsiteY0" fmla="*/ 0 h 914400"/>
                  <a:gd name="connsiteX1" fmla="*/ 1742918 w 1828800"/>
                  <a:gd name="connsiteY1" fmla="*/ 0 h 914400"/>
                  <a:gd name="connsiteX2" fmla="*/ 1828800 w 1828800"/>
                  <a:gd name="connsiteY2" fmla="*/ 457200 h 914400"/>
                  <a:gd name="connsiteX3" fmla="*/ 1726773 w 1828800"/>
                  <a:gd name="connsiteY3" fmla="*/ 914400 h 914400"/>
                  <a:gd name="connsiteX4" fmla="*/ 0 w 1828800"/>
                  <a:gd name="connsiteY4" fmla="*/ 914400 h 914400"/>
                  <a:gd name="connsiteX5" fmla="*/ 85882 w 1828800"/>
                  <a:gd name="connsiteY5" fmla="*/ 457203 h 914400"/>
                  <a:gd name="connsiteX0" fmla="*/ 0 w 1828800"/>
                  <a:gd name="connsiteY0" fmla="*/ 0 h 914400"/>
                  <a:gd name="connsiteX1" fmla="*/ 1742918 w 1828800"/>
                  <a:gd name="connsiteY1" fmla="*/ 0 h 914400"/>
                  <a:gd name="connsiteX2" fmla="*/ 1828800 w 1828800"/>
                  <a:gd name="connsiteY2" fmla="*/ 457200 h 914400"/>
                  <a:gd name="connsiteX3" fmla="*/ 1742918 w 1828800"/>
                  <a:gd name="connsiteY3" fmla="*/ 914400 h 914400"/>
                  <a:gd name="connsiteX4" fmla="*/ 0 w 1828800"/>
                  <a:gd name="connsiteY4" fmla="*/ 914400 h 914400"/>
                  <a:gd name="connsiteX5" fmla="*/ 85882 w 1828800"/>
                  <a:gd name="connsiteY5" fmla="*/ 457203 h 914400"/>
                  <a:gd name="connsiteX0" fmla="*/ 0 w 1828800"/>
                  <a:gd name="connsiteY0" fmla="*/ 0 h 914400"/>
                  <a:gd name="connsiteX1" fmla="*/ 1742918 w 1828800"/>
                  <a:gd name="connsiteY1" fmla="*/ 0 h 914400"/>
                  <a:gd name="connsiteX2" fmla="*/ 1828800 w 1828800"/>
                  <a:gd name="connsiteY2" fmla="*/ 457200 h 914400"/>
                  <a:gd name="connsiteX3" fmla="*/ 1742918 w 1828800"/>
                  <a:gd name="connsiteY3" fmla="*/ 914400 h 914400"/>
                  <a:gd name="connsiteX4" fmla="*/ 0 w 1828800"/>
                  <a:gd name="connsiteY4" fmla="*/ 914400 h 914400"/>
                  <a:gd name="connsiteX5" fmla="*/ 107352 w 1828800"/>
                  <a:gd name="connsiteY5" fmla="*/ 457203 h 914400"/>
                  <a:gd name="connsiteX0" fmla="*/ 0 w 1828800"/>
                  <a:gd name="connsiteY0" fmla="*/ 0 h 914400"/>
                  <a:gd name="connsiteX1" fmla="*/ 1721448 w 1828800"/>
                  <a:gd name="connsiteY1" fmla="*/ 0 h 914400"/>
                  <a:gd name="connsiteX2" fmla="*/ 1828800 w 1828800"/>
                  <a:gd name="connsiteY2" fmla="*/ 457200 h 914400"/>
                  <a:gd name="connsiteX3" fmla="*/ 1742918 w 1828800"/>
                  <a:gd name="connsiteY3" fmla="*/ 914400 h 914400"/>
                  <a:gd name="connsiteX4" fmla="*/ 0 w 1828800"/>
                  <a:gd name="connsiteY4" fmla="*/ 914400 h 914400"/>
                  <a:gd name="connsiteX5" fmla="*/ 107352 w 1828800"/>
                  <a:gd name="connsiteY5" fmla="*/ 457203 h 914400"/>
                  <a:gd name="connsiteX0" fmla="*/ 0 w 1828800"/>
                  <a:gd name="connsiteY0" fmla="*/ 0 h 914400"/>
                  <a:gd name="connsiteX1" fmla="*/ 1721448 w 1828800"/>
                  <a:gd name="connsiteY1" fmla="*/ 0 h 914400"/>
                  <a:gd name="connsiteX2" fmla="*/ 1828800 w 1828800"/>
                  <a:gd name="connsiteY2" fmla="*/ 457200 h 914400"/>
                  <a:gd name="connsiteX3" fmla="*/ 1721448 w 1828800"/>
                  <a:gd name="connsiteY3" fmla="*/ 914400 h 914400"/>
                  <a:gd name="connsiteX4" fmla="*/ 0 w 1828800"/>
                  <a:gd name="connsiteY4" fmla="*/ 914400 h 914400"/>
                  <a:gd name="connsiteX5" fmla="*/ 107352 w 1828800"/>
                  <a:gd name="connsiteY5" fmla="*/ 457203 h 914400"/>
                  <a:gd name="connsiteX0" fmla="*/ 0 w 1828800"/>
                  <a:gd name="connsiteY0" fmla="*/ 0 h 914400"/>
                  <a:gd name="connsiteX1" fmla="*/ 1721448 w 1828800"/>
                  <a:gd name="connsiteY1" fmla="*/ 0 h 914400"/>
                  <a:gd name="connsiteX2" fmla="*/ 1828800 w 1828800"/>
                  <a:gd name="connsiteY2" fmla="*/ 457200 h 914400"/>
                  <a:gd name="connsiteX3" fmla="*/ 1721448 w 1828800"/>
                  <a:gd name="connsiteY3" fmla="*/ 914400 h 914400"/>
                  <a:gd name="connsiteX4" fmla="*/ 0 w 1828800"/>
                  <a:gd name="connsiteY4" fmla="*/ 914400 h 914400"/>
                  <a:gd name="connsiteX5" fmla="*/ 86626 w 1828800"/>
                  <a:gd name="connsiteY5" fmla="*/ 457203 h 914400"/>
                  <a:gd name="connsiteX0" fmla="*/ 0 w 1828800"/>
                  <a:gd name="connsiteY0" fmla="*/ 0 h 914400"/>
                  <a:gd name="connsiteX1" fmla="*/ 1742174 w 1828800"/>
                  <a:gd name="connsiteY1" fmla="*/ 0 h 914400"/>
                  <a:gd name="connsiteX2" fmla="*/ 1828800 w 1828800"/>
                  <a:gd name="connsiteY2" fmla="*/ 457200 h 914400"/>
                  <a:gd name="connsiteX3" fmla="*/ 1721448 w 1828800"/>
                  <a:gd name="connsiteY3" fmla="*/ 914400 h 914400"/>
                  <a:gd name="connsiteX4" fmla="*/ 0 w 1828800"/>
                  <a:gd name="connsiteY4" fmla="*/ 914400 h 914400"/>
                  <a:gd name="connsiteX5" fmla="*/ 86626 w 1828800"/>
                  <a:gd name="connsiteY5" fmla="*/ 457203 h 914400"/>
                  <a:gd name="connsiteX0" fmla="*/ 0 w 1828800"/>
                  <a:gd name="connsiteY0" fmla="*/ 0 h 914400"/>
                  <a:gd name="connsiteX1" fmla="*/ 1742174 w 1828800"/>
                  <a:gd name="connsiteY1" fmla="*/ 0 h 914400"/>
                  <a:gd name="connsiteX2" fmla="*/ 1828800 w 1828800"/>
                  <a:gd name="connsiteY2" fmla="*/ 457200 h 914400"/>
                  <a:gd name="connsiteX3" fmla="*/ 1742174 w 1828800"/>
                  <a:gd name="connsiteY3" fmla="*/ 914400 h 914400"/>
                  <a:gd name="connsiteX4" fmla="*/ 0 w 1828800"/>
                  <a:gd name="connsiteY4" fmla="*/ 914400 h 914400"/>
                  <a:gd name="connsiteX5" fmla="*/ 86626 w 1828800"/>
                  <a:gd name="connsiteY5" fmla="*/ 457203 h 914400"/>
                  <a:gd name="connsiteX0" fmla="*/ 0 w 1828800"/>
                  <a:gd name="connsiteY0" fmla="*/ 0 h 914400"/>
                  <a:gd name="connsiteX1" fmla="*/ 1742174 w 1828800"/>
                  <a:gd name="connsiteY1" fmla="*/ 0 h 914400"/>
                  <a:gd name="connsiteX2" fmla="*/ 1828800 w 1828800"/>
                  <a:gd name="connsiteY2" fmla="*/ 457200 h 914400"/>
                  <a:gd name="connsiteX3" fmla="*/ 1742174 w 1828800"/>
                  <a:gd name="connsiteY3" fmla="*/ 914400 h 914400"/>
                  <a:gd name="connsiteX4" fmla="*/ 0 w 1828800"/>
                  <a:gd name="connsiteY4" fmla="*/ 914400 h 914400"/>
                  <a:gd name="connsiteX5" fmla="*/ 108283 w 1828800"/>
                  <a:gd name="connsiteY5" fmla="*/ 457203 h 914400"/>
                  <a:gd name="connsiteX0" fmla="*/ 0 w 1828800"/>
                  <a:gd name="connsiteY0" fmla="*/ 0 h 914400"/>
                  <a:gd name="connsiteX1" fmla="*/ 1720517 w 1828800"/>
                  <a:gd name="connsiteY1" fmla="*/ 0 h 914400"/>
                  <a:gd name="connsiteX2" fmla="*/ 1828800 w 1828800"/>
                  <a:gd name="connsiteY2" fmla="*/ 457200 h 914400"/>
                  <a:gd name="connsiteX3" fmla="*/ 1742174 w 1828800"/>
                  <a:gd name="connsiteY3" fmla="*/ 914400 h 914400"/>
                  <a:gd name="connsiteX4" fmla="*/ 0 w 1828800"/>
                  <a:gd name="connsiteY4" fmla="*/ 914400 h 914400"/>
                  <a:gd name="connsiteX5" fmla="*/ 108283 w 1828800"/>
                  <a:gd name="connsiteY5" fmla="*/ 457203 h 914400"/>
                  <a:gd name="connsiteX0" fmla="*/ 0 w 1828800"/>
                  <a:gd name="connsiteY0" fmla="*/ 0 h 914400"/>
                  <a:gd name="connsiteX1" fmla="*/ 1720517 w 1828800"/>
                  <a:gd name="connsiteY1" fmla="*/ 0 h 914400"/>
                  <a:gd name="connsiteX2" fmla="*/ 1828800 w 1828800"/>
                  <a:gd name="connsiteY2" fmla="*/ 457200 h 914400"/>
                  <a:gd name="connsiteX3" fmla="*/ 1720517 w 1828800"/>
                  <a:gd name="connsiteY3" fmla="*/ 914400 h 914400"/>
                  <a:gd name="connsiteX4" fmla="*/ 0 w 1828800"/>
                  <a:gd name="connsiteY4" fmla="*/ 914400 h 914400"/>
                  <a:gd name="connsiteX5" fmla="*/ 108283 w 1828800"/>
                  <a:gd name="connsiteY5" fmla="*/ 457203 h 914400"/>
                  <a:gd name="connsiteX0" fmla="*/ 0 w 1828800"/>
                  <a:gd name="connsiteY0" fmla="*/ 0 h 914400"/>
                  <a:gd name="connsiteX1" fmla="*/ 1720517 w 1828800"/>
                  <a:gd name="connsiteY1" fmla="*/ 0 h 914400"/>
                  <a:gd name="connsiteX2" fmla="*/ 1828800 w 1828800"/>
                  <a:gd name="connsiteY2" fmla="*/ 457200 h 914400"/>
                  <a:gd name="connsiteX3" fmla="*/ 172051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31548 w 1828800"/>
                  <a:gd name="connsiteY1" fmla="*/ 0 h 914400"/>
                  <a:gd name="connsiteX2" fmla="*/ 1828800 w 1828800"/>
                  <a:gd name="connsiteY2" fmla="*/ 457200 h 914400"/>
                  <a:gd name="connsiteX3" fmla="*/ 172051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31548 w 1828800"/>
                  <a:gd name="connsiteY1" fmla="*/ 0 h 914400"/>
                  <a:gd name="connsiteX2" fmla="*/ 1828800 w 1828800"/>
                  <a:gd name="connsiteY2" fmla="*/ 457200 h 914400"/>
                  <a:gd name="connsiteX3" fmla="*/ 1731548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31548 w 1828800"/>
                  <a:gd name="connsiteY1" fmla="*/ 0 h 914400"/>
                  <a:gd name="connsiteX2" fmla="*/ 1828800 w 1828800"/>
                  <a:gd name="connsiteY2" fmla="*/ 457200 h 914400"/>
                  <a:gd name="connsiteX3" fmla="*/ 1731548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7235 w 1828800"/>
                  <a:gd name="connsiteY1" fmla="*/ 0 h 914400"/>
                  <a:gd name="connsiteX2" fmla="*/ 1828800 w 1828800"/>
                  <a:gd name="connsiteY2" fmla="*/ 457200 h 914400"/>
                  <a:gd name="connsiteX3" fmla="*/ 1731548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7235 w 1828800"/>
                  <a:gd name="connsiteY1" fmla="*/ 0 h 914400"/>
                  <a:gd name="connsiteX2" fmla="*/ 1828800 w 1828800"/>
                  <a:gd name="connsiteY2" fmla="*/ 457200 h 914400"/>
                  <a:gd name="connsiteX3" fmla="*/ 1707235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7235 w 1828800"/>
                  <a:gd name="connsiteY1" fmla="*/ 0 h 914400"/>
                  <a:gd name="connsiteX2" fmla="*/ 1828800 w 1828800"/>
                  <a:gd name="connsiteY2" fmla="*/ 457200 h 914400"/>
                  <a:gd name="connsiteX3" fmla="*/ 1707235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31548 w 1828800"/>
                  <a:gd name="connsiteY1" fmla="*/ 0 h 914400"/>
                  <a:gd name="connsiteX2" fmla="*/ 1828800 w 1828800"/>
                  <a:gd name="connsiteY2" fmla="*/ 457200 h 914400"/>
                  <a:gd name="connsiteX3" fmla="*/ 1707235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31548 w 1828800"/>
                  <a:gd name="connsiteY1" fmla="*/ 0 h 914400"/>
                  <a:gd name="connsiteX2" fmla="*/ 1828800 w 1828800"/>
                  <a:gd name="connsiteY2" fmla="*/ 457200 h 914400"/>
                  <a:gd name="connsiteX3" fmla="*/ 1731548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31548 w 1828800"/>
                  <a:gd name="connsiteY1" fmla="*/ 0 h 914400"/>
                  <a:gd name="connsiteX2" fmla="*/ 1828800 w 1828800"/>
                  <a:gd name="connsiteY2" fmla="*/ 457200 h 914400"/>
                  <a:gd name="connsiteX3" fmla="*/ 1731548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7235 w 1828800"/>
                  <a:gd name="connsiteY1" fmla="*/ 0 h 914400"/>
                  <a:gd name="connsiteX2" fmla="*/ 1828800 w 1828800"/>
                  <a:gd name="connsiteY2" fmla="*/ 457200 h 914400"/>
                  <a:gd name="connsiteX3" fmla="*/ 1731548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7235 w 1828800"/>
                  <a:gd name="connsiteY1" fmla="*/ 0 h 914400"/>
                  <a:gd name="connsiteX2" fmla="*/ 1828800 w 1828800"/>
                  <a:gd name="connsiteY2" fmla="*/ 457200 h 914400"/>
                  <a:gd name="connsiteX3" fmla="*/ 1707235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7235 w 1828800"/>
                  <a:gd name="connsiteY1" fmla="*/ 0 h 914400"/>
                  <a:gd name="connsiteX2" fmla="*/ 1828800 w 1828800"/>
                  <a:gd name="connsiteY2" fmla="*/ 457200 h 914400"/>
                  <a:gd name="connsiteX3" fmla="*/ 1707235 w 1828800"/>
                  <a:gd name="connsiteY3" fmla="*/ 914400 h 914400"/>
                  <a:gd name="connsiteX4" fmla="*/ 0 w 1828800"/>
                  <a:gd name="connsiteY4" fmla="*/ 914400 h 914400"/>
                  <a:gd name="connsiteX5" fmla="*/ 121565 w 1828800"/>
                  <a:gd name="connsiteY5" fmla="*/ 457203 h 914400"/>
                  <a:gd name="connsiteX0" fmla="*/ 0 w 1828800"/>
                  <a:gd name="connsiteY0" fmla="*/ 0 h 914400"/>
                  <a:gd name="connsiteX1" fmla="*/ 1707235 w 1828800"/>
                  <a:gd name="connsiteY1" fmla="*/ 0 h 914400"/>
                  <a:gd name="connsiteX2" fmla="*/ 1828800 w 1828800"/>
                  <a:gd name="connsiteY2" fmla="*/ 457200 h 914400"/>
                  <a:gd name="connsiteX3" fmla="*/ 1707235 w 1828800"/>
                  <a:gd name="connsiteY3" fmla="*/ 914400 h 914400"/>
                  <a:gd name="connsiteX4" fmla="*/ 0 w 1828800"/>
                  <a:gd name="connsiteY4" fmla="*/ 914400 h 914400"/>
                  <a:gd name="connsiteX5" fmla="*/ 121565 w 1828800"/>
                  <a:gd name="connsiteY5" fmla="*/ 457203 h 914400"/>
                  <a:gd name="connsiteX0" fmla="*/ 0 w 1828800"/>
                  <a:gd name="connsiteY0" fmla="*/ 0 h 914400"/>
                  <a:gd name="connsiteX1" fmla="*/ 1707235 w 1828800"/>
                  <a:gd name="connsiteY1" fmla="*/ 0 h 914400"/>
                  <a:gd name="connsiteX2" fmla="*/ 1828800 w 1828800"/>
                  <a:gd name="connsiteY2" fmla="*/ 457200 h 914400"/>
                  <a:gd name="connsiteX3" fmla="*/ 1707235 w 1828800"/>
                  <a:gd name="connsiteY3" fmla="*/ 914400 h 914400"/>
                  <a:gd name="connsiteX4" fmla="*/ 0 w 1828800"/>
                  <a:gd name="connsiteY4" fmla="*/ 914400 h 914400"/>
                  <a:gd name="connsiteX5" fmla="*/ 121565 w 1828800"/>
                  <a:gd name="connsiteY5" fmla="*/ 457203 h 914400"/>
                  <a:gd name="connsiteX0" fmla="*/ 0 w 1828800"/>
                  <a:gd name="connsiteY0" fmla="*/ 0 h 914400"/>
                  <a:gd name="connsiteX1" fmla="*/ 1707235 w 1828800"/>
                  <a:gd name="connsiteY1" fmla="*/ 0 h 914400"/>
                  <a:gd name="connsiteX2" fmla="*/ 1828800 w 1828800"/>
                  <a:gd name="connsiteY2" fmla="*/ 457200 h 914400"/>
                  <a:gd name="connsiteX3" fmla="*/ 1707235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23919 w 1828800"/>
                  <a:gd name="connsiteY1" fmla="*/ 0 h 914400"/>
                  <a:gd name="connsiteX2" fmla="*/ 1828800 w 1828800"/>
                  <a:gd name="connsiteY2" fmla="*/ 457200 h 914400"/>
                  <a:gd name="connsiteX3" fmla="*/ 1707235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23919 w 1828800"/>
                  <a:gd name="connsiteY1" fmla="*/ 0 h 914400"/>
                  <a:gd name="connsiteX2" fmla="*/ 1828800 w 1828800"/>
                  <a:gd name="connsiteY2" fmla="*/ 457200 h 914400"/>
                  <a:gd name="connsiteX3" fmla="*/ 1723919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23919 w 1828800"/>
                  <a:gd name="connsiteY1" fmla="*/ 0 h 914400"/>
                  <a:gd name="connsiteX2" fmla="*/ 1828800 w 1828800"/>
                  <a:gd name="connsiteY2" fmla="*/ 457200 h 914400"/>
                  <a:gd name="connsiteX3" fmla="*/ 1723919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97698 w 1828800"/>
                  <a:gd name="connsiteY1" fmla="*/ 0 h 914400"/>
                  <a:gd name="connsiteX2" fmla="*/ 1828800 w 1828800"/>
                  <a:gd name="connsiteY2" fmla="*/ 457200 h 914400"/>
                  <a:gd name="connsiteX3" fmla="*/ 1723919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97698 w 1828800"/>
                  <a:gd name="connsiteY1" fmla="*/ 0 h 914400"/>
                  <a:gd name="connsiteX2" fmla="*/ 1828800 w 1828800"/>
                  <a:gd name="connsiteY2" fmla="*/ 457200 h 914400"/>
                  <a:gd name="connsiteX3" fmla="*/ 1697698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97698 w 1828800"/>
                  <a:gd name="connsiteY1" fmla="*/ 0 h 914400"/>
                  <a:gd name="connsiteX2" fmla="*/ 1828800 w 1828800"/>
                  <a:gd name="connsiteY2" fmla="*/ 457200 h 914400"/>
                  <a:gd name="connsiteX3" fmla="*/ 1697698 w 1828800"/>
                  <a:gd name="connsiteY3" fmla="*/ 914400 h 914400"/>
                  <a:gd name="connsiteX4" fmla="*/ 0 w 1828800"/>
                  <a:gd name="connsiteY4" fmla="*/ 914400 h 914400"/>
                  <a:gd name="connsiteX5" fmla="*/ 144212 w 1828800"/>
                  <a:gd name="connsiteY5" fmla="*/ 457203 h 914400"/>
                  <a:gd name="connsiteX0" fmla="*/ 0 w 1828800"/>
                  <a:gd name="connsiteY0" fmla="*/ 0 h 914400"/>
                  <a:gd name="connsiteX1" fmla="*/ 1684588 w 1828800"/>
                  <a:gd name="connsiteY1" fmla="*/ 0 h 914400"/>
                  <a:gd name="connsiteX2" fmla="*/ 1828800 w 1828800"/>
                  <a:gd name="connsiteY2" fmla="*/ 457200 h 914400"/>
                  <a:gd name="connsiteX3" fmla="*/ 1697698 w 1828800"/>
                  <a:gd name="connsiteY3" fmla="*/ 914400 h 914400"/>
                  <a:gd name="connsiteX4" fmla="*/ 0 w 1828800"/>
                  <a:gd name="connsiteY4" fmla="*/ 914400 h 914400"/>
                  <a:gd name="connsiteX5" fmla="*/ 144212 w 1828800"/>
                  <a:gd name="connsiteY5" fmla="*/ 457203 h 914400"/>
                  <a:gd name="connsiteX0" fmla="*/ 0 w 1828800"/>
                  <a:gd name="connsiteY0" fmla="*/ 0 h 914400"/>
                  <a:gd name="connsiteX1" fmla="*/ 1684588 w 1828800"/>
                  <a:gd name="connsiteY1" fmla="*/ 0 h 914400"/>
                  <a:gd name="connsiteX2" fmla="*/ 1828800 w 1828800"/>
                  <a:gd name="connsiteY2" fmla="*/ 457200 h 914400"/>
                  <a:gd name="connsiteX3" fmla="*/ 1684588 w 1828800"/>
                  <a:gd name="connsiteY3" fmla="*/ 914400 h 914400"/>
                  <a:gd name="connsiteX4" fmla="*/ 0 w 1828800"/>
                  <a:gd name="connsiteY4" fmla="*/ 914400 h 914400"/>
                  <a:gd name="connsiteX5" fmla="*/ 144212 w 1828800"/>
                  <a:gd name="connsiteY5" fmla="*/ 457203 h 914400"/>
                  <a:gd name="connsiteX0" fmla="*/ 0 w 1828800"/>
                  <a:gd name="connsiteY0" fmla="*/ 0 h 914400"/>
                  <a:gd name="connsiteX1" fmla="*/ 1684588 w 1828800"/>
                  <a:gd name="connsiteY1" fmla="*/ 0 h 914400"/>
                  <a:gd name="connsiteX2" fmla="*/ 1828800 w 1828800"/>
                  <a:gd name="connsiteY2" fmla="*/ 457200 h 914400"/>
                  <a:gd name="connsiteX3" fmla="*/ 1684588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2 w 1828800"/>
                  <a:gd name="connsiteY1" fmla="*/ 0 h 914400"/>
                  <a:gd name="connsiteX2" fmla="*/ 1828800 w 1828800"/>
                  <a:gd name="connsiteY2" fmla="*/ 457200 h 914400"/>
                  <a:gd name="connsiteX3" fmla="*/ 1684588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2 w 1828800"/>
                  <a:gd name="connsiteY1" fmla="*/ 0 h 914400"/>
                  <a:gd name="connsiteX2" fmla="*/ 1828800 w 1828800"/>
                  <a:gd name="connsiteY2" fmla="*/ 457200 h 914400"/>
                  <a:gd name="connsiteX3" fmla="*/ 168920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2 w 1828800"/>
                  <a:gd name="connsiteY1" fmla="*/ 0 h 914400"/>
                  <a:gd name="connsiteX2" fmla="*/ 1828800 w 1828800"/>
                  <a:gd name="connsiteY2" fmla="*/ 457200 h 914400"/>
                  <a:gd name="connsiteX3" fmla="*/ 168920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8920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2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2 w 1828800"/>
                  <a:gd name="connsiteY1" fmla="*/ 0 h 914400"/>
                  <a:gd name="connsiteX2" fmla="*/ 1828800 w 1828800"/>
                  <a:gd name="connsiteY2" fmla="*/ 457200 h 914400"/>
                  <a:gd name="connsiteX3" fmla="*/ 168920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2 w 1828800"/>
                  <a:gd name="connsiteY1" fmla="*/ 0 h 914400"/>
                  <a:gd name="connsiteX2" fmla="*/ 1828800 w 1828800"/>
                  <a:gd name="connsiteY2" fmla="*/ 457200 h 914400"/>
                  <a:gd name="connsiteX3" fmla="*/ 168920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8920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174495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174495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174495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201737 w 1828800"/>
                  <a:gd name="connsiteY5" fmla="*/ 457204 h 914400"/>
                  <a:gd name="connsiteX0" fmla="*/ 0 w 1828800"/>
                  <a:gd name="connsiteY0" fmla="*/ 0 h 914400"/>
                  <a:gd name="connsiteX1" fmla="*/ 1627063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201737 w 1828800"/>
                  <a:gd name="connsiteY5" fmla="*/ 457204 h 914400"/>
                  <a:gd name="connsiteX0" fmla="*/ 0 w 1828800"/>
                  <a:gd name="connsiteY0" fmla="*/ 0 h 914400"/>
                  <a:gd name="connsiteX1" fmla="*/ 1627063 w 1828800"/>
                  <a:gd name="connsiteY1" fmla="*/ 0 h 914400"/>
                  <a:gd name="connsiteX2" fmla="*/ 1828800 w 1828800"/>
                  <a:gd name="connsiteY2" fmla="*/ 457200 h 914400"/>
                  <a:gd name="connsiteX3" fmla="*/ 1627063 w 1828800"/>
                  <a:gd name="connsiteY3" fmla="*/ 914400 h 914400"/>
                  <a:gd name="connsiteX4" fmla="*/ 0 w 1828800"/>
                  <a:gd name="connsiteY4" fmla="*/ 914400 h 914400"/>
                  <a:gd name="connsiteX5" fmla="*/ 201737 w 1828800"/>
                  <a:gd name="connsiteY5" fmla="*/ 457204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27063" y="0"/>
                    </a:lnTo>
                    <a:lnTo>
                      <a:pt x="1828800" y="457200"/>
                    </a:lnTo>
                    <a:lnTo>
                      <a:pt x="1627063" y="914400"/>
                    </a:lnTo>
                    <a:lnTo>
                      <a:pt x="0" y="914400"/>
                    </a:lnTo>
                    <a:lnTo>
                      <a:pt x="201737" y="457204"/>
                    </a:lnTo>
                    <a:close/>
                  </a:path>
                </a:pathLst>
              </a:cu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400" fontAlgn="base">
                  <a:spcBef>
                    <a:spcPct val="0"/>
                  </a:spcBef>
                  <a:spcAft>
                    <a:spcPct val="0"/>
                  </a:spcAft>
                </a:pPr>
                <a:endParaRPr lang="en-US" sz="800" dirty="0">
                  <a:solidFill>
                    <a:srgbClr val="000000"/>
                  </a:solidFill>
                </a:endParaRPr>
              </a:p>
            </p:txBody>
          </p:sp>
          <p:sp>
            <p:nvSpPr>
              <p:cNvPr id="175" name="TextBox 174"/>
              <p:cNvSpPr txBox="1"/>
              <p:nvPr>
                <p:custDataLst>
                  <p:tags r:id="rId25"/>
                </p:custDataLst>
              </p:nvPr>
            </p:nvSpPr>
            <p:spPr>
              <a:xfrm>
                <a:off x="1914334" y="1390642"/>
                <a:ext cx="678564" cy="49385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800" b="1" dirty="0">
                    <a:solidFill>
                      <a:srgbClr val="01632F"/>
                    </a:solidFill>
                  </a:rPr>
                  <a:t>Fertilizer supply &amp; research</a:t>
                </a:r>
              </a:p>
            </p:txBody>
          </p:sp>
        </p:grpSp>
        <p:grpSp>
          <p:nvGrpSpPr>
            <p:cNvPr id="65" name="Group 64"/>
            <p:cNvGrpSpPr/>
            <p:nvPr>
              <p:custDataLst>
                <p:tags r:id="rId9"/>
              </p:custDataLst>
            </p:nvPr>
          </p:nvGrpSpPr>
          <p:grpSpPr>
            <a:xfrm>
              <a:off x="3609867" y="990926"/>
              <a:ext cx="935827" cy="573511"/>
              <a:chOff x="3533062" y="1350816"/>
              <a:chExt cx="935827" cy="573511"/>
            </a:xfrm>
          </p:grpSpPr>
          <p:sp>
            <p:nvSpPr>
              <p:cNvPr id="104" name="Freeform 103"/>
              <p:cNvSpPr/>
              <p:nvPr>
                <p:custDataLst>
                  <p:tags r:id="rId22"/>
                </p:custDataLst>
              </p:nvPr>
            </p:nvSpPr>
            <p:spPr>
              <a:xfrm>
                <a:off x="3533062" y="1350816"/>
                <a:ext cx="935827" cy="57351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44842 w 1828800"/>
                  <a:gd name="connsiteY5" fmla="*/ 457201 h 914400"/>
                  <a:gd name="connsiteX0" fmla="*/ 0 w 1828800"/>
                  <a:gd name="connsiteY0" fmla="*/ 0 h 914400"/>
                  <a:gd name="connsiteX1" fmla="*/ 168395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44842 w 1828800"/>
                  <a:gd name="connsiteY5" fmla="*/ 457201 h 914400"/>
                  <a:gd name="connsiteX0" fmla="*/ 0 w 1828800"/>
                  <a:gd name="connsiteY0" fmla="*/ 0 h 914400"/>
                  <a:gd name="connsiteX1" fmla="*/ 1683958 w 1828800"/>
                  <a:gd name="connsiteY1" fmla="*/ 0 h 914400"/>
                  <a:gd name="connsiteX2" fmla="*/ 1828800 w 1828800"/>
                  <a:gd name="connsiteY2" fmla="*/ 457200 h 914400"/>
                  <a:gd name="connsiteX3" fmla="*/ 1683958 w 1828800"/>
                  <a:gd name="connsiteY3" fmla="*/ 914400 h 914400"/>
                  <a:gd name="connsiteX4" fmla="*/ 0 w 1828800"/>
                  <a:gd name="connsiteY4" fmla="*/ 914400 h 914400"/>
                  <a:gd name="connsiteX5" fmla="*/ 144842 w 1828800"/>
                  <a:gd name="connsiteY5" fmla="*/ 457201 h 914400"/>
                  <a:gd name="connsiteX0" fmla="*/ 0 w 1828800"/>
                  <a:gd name="connsiteY0" fmla="*/ 0 h 914400"/>
                  <a:gd name="connsiteX1" fmla="*/ 1683958 w 1828800"/>
                  <a:gd name="connsiteY1" fmla="*/ 0 h 914400"/>
                  <a:gd name="connsiteX2" fmla="*/ 1828800 w 1828800"/>
                  <a:gd name="connsiteY2" fmla="*/ 457200 h 914400"/>
                  <a:gd name="connsiteX3" fmla="*/ 168395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8395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44841 w 1828800"/>
                  <a:gd name="connsiteY5" fmla="*/ 457202 h 914400"/>
                  <a:gd name="connsiteX0" fmla="*/ 0 w 1828800"/>
                  <a:gd name="connsiteY0" fmla="*/ 0 h 914400"/>
                  <a:gd name="connsiteX1" fmla="*/ 1683959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44841 w 1828800"/>
                  <a:gd name="connsiteY5" fmla="*/ 457202 h 914400"/>
                  <a:gd name="connsiteX0" fmla="*/ 0 w 1828800"/>
                  <a:gd name="connsiteY0" fmla="*/ 0 h 914400"/>
                  <a:gd name="connsiteX1" fmla="*/ 1683959 w 1828800"/>
                  <a:gd name="connsiteY1" fmla="*/ 0 h 914400"/>
                  <a:gd name="connsiteX2" fmla="*/ 1828800 w 1828800"/>
                  <a:gd name="connsiteY2" fmla="*/ 457200 h 914400"/>
                  <a:gd name="connsiteX3" fmla="*/ 1683959 w 1828800"/>
                  <a:gd name="connsiteY3" fmla="*/ 914400 h 914400"/>
                  <a:gd name="connsiteX4" fmla="*/ 0 w 1828800"/>
                  <a:gd name="connsiteY4" fmla="*/ 914400 h 914400"/>
                  <a:gd name="connsiteX5" fmla="*/ 144841 w 1828800"/>
                  <a:gd name="connsiteY5" fmla="*/ 457202 h 914400"/>
                  <a:gd name="connsiteX0" fmla="*/ 0 w 1828800"/>
                  <a:gd name="connsiteY0" fmla="*/ 0 h 914400"/>
                  <a:gd name="connsiteX1" fmla="*/ 1683959 w 1828800"/>
                  <a:gd name="connsiteY1" fmla="*/ 0 h 914400"/>
                  <a:gd name="connsiteX2" fmla="*/ 1828800 w 1828800"/>
                  <a:gd name="connsiteY2" fmla="*/ 457200 h 914400"/>
                  <a:gd name="connsiteX3" fmla="*/ 1683959 w 1828800"/>
                  <a:gd name="connsiteY3" fmla="*/ 914400 h 914400"/>
                  <a:gd name="connsiteX4" fmla="*/ 0 w 1828800"/>
                  <a:gd name="connsiteY4" fmla="*/ 914400 h 914400"/>
                  <a:gd name="connsiteX5" fmla="*/ 181052 w 1828800"/>
                  <a:gd name="connsiteY5" fmla="*/ 457202 h 914400"/>
                  <a:gd name="connsiteX0" fmla="*/ 0 w 1828800"/>
                  <a:gd name="connsiteY0" fmla="*/ 0 h 914400"/>
                  <a:gd name="connsiteX1" fmla="*/ 1647748 w 1828800"/>
                  <a:gd name="connsiteY1" fmla="*/ 0 h 914400"/>
                  <a:gd name="connsiteX2" fmla="*/ 1828800 w 1828800"/>
                  <a:gd name="connsiteY2" fmla="*/ 457200 h 914400"/>
                  <a:gd name="connsiteX3" fmla="*/ 1683959 w 1828800"/>
                  <a:gd name="connsiteY3" fmla="*/ 914400 h 914400"/>
                  <a:gd name="connsiteX4" fmla="*/ 0 w 1828800"/>
                  <a:gd name="connsiteY4" fmla="*/ 914400 h 914400"/>
                  <a:gd name="connsiteX5" fmla="*/ 181052 w 1828800"/>
                  <a:gd name="connsiteY5" fmla="*/ 457202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81052 w 1828800"/>
                  <a:gd name="connsiteY5" fmla="*/ 457202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21595 w 1828800"/>
                  <a:gd name="connsiteY5" fmla="*/ 457203 h 914400"/>
                  <a:gd name="connsiteX0" fmla="*/ 0 w 1828800"/>
                  <a:gd name="connsiteY0" fmla="*/ 0 h 914400"/>
                  <a:gd name="connsiteX1" fmla="*/ 1707207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21595 w 1828800"/>
                  <a:gd name="connsiteY5" fmla="*/ 457203 h 914400"/>
                  <a:gd name="connsiteX0" fmla="*/ 0 w 1828800"/>
                  <a:gd name="connsiteY0" fmla="*/ 0 h 914400"/>
                  <a:gd name="connsiteX1" fmla="*/ 1707207 w 1828800"/>
                  <a:gd name="connsiteY1" fmla="*/ 0 h 914400"/>
                  <a:gd name="connsiteX2" fmla="*/ 1828800 w 1828800"/>
                  <a:gd name="connsiteY2" fmla="*/ 457200 h 914400"/>
                  <a:gd name="connsiteX3" fmla="*/ 1707207 w 1828800"/>
                  <a:gd name="connsiteY3" fmla="*/ 914400 h 914400"/>
                  <a:gd name="connsiteX4" fmla="*/ 0 w 1828800"/>
                  <a:gd name="connsiteY4" fmla="*/ 914400 h 914400"/>
                  <a:gd name="connsiteX5" fmla="*/ 121595 w 1828800"/>
                  <a:gd name="connsiteY5" fmla="*/ 457203 h 914400"/>
                  <a:gd name="connsiteX0" fmla="*/ 0 w 1828800"/>
                  <a:gd name="connsiteY0" fmla="*/ 0 h 914400"/>
                  <a:gd name="connsiteX1" fmla="*/ 1707207 w 1828800"/>
                  <a:gd name="connsiteY1" fmla="*/ 0 h 914400"/>
                  <a:gd name="connsiteX2" fmla="*/ 1828800 w 1828800"/>
                  <a:gd name="connsiteY2" fmla="*/ 457200 h 914400"/>
                  <a:gd name="connsiteX3" fmla="*/ 1707207 w 1828800"/>
                  <a:gd name="connsiteY3" fmla="*/ 914400 h 914400"/>
                  <a:gd name="connsiteX4" fmla="*/ 0 w 1828800"/>
                  <a:gd name="connsiteY4" fmla="*/ 914400 h 914400"/>
                  <a:gd name="connsiteX5" fmla="*/ 151993 w 1828800"/>
                  <a:gd name="connsiteY5" fmla="*/ 457203 h 914400"/>
                  <a:gd name="connsiteX0" fmla="*/ 0 w 1828800"/>
                  <a:gd name="connsiteY0" fmla="*/ 0 h 914400"/>
                  <a:gd name="connsiteX1" fmla="*/ 1676809 w 1828800"/>
                  <a:gd name="connsiteY1" fmla="*/ 0 h 914400"/>
                  <a:gd name="connsiteX2" fmla="*/ 1828800 w 1828800"/>
                  <a:gd name="connsiteY2" fmla="*/ 457200 h 914400"/>
                  <a:gd name="connsiteX3" fmla="*/ 1707207 w 1828800"/>
                  <a:gd name="connsiteY3" fmla="*/ 914400 h 914400"/>
                  <a:gd name="connsiteX4" fmla="*/ 0 w 1828800"/>
                  <a:gd name="connsiteY4" fmla="*/ 914400 h 914400"/>
                  <a:gd name="connsiteX5" fmla="*/ 151993 w 1828800"/>
                  <a:gd name="connsiteY5" fmla="*/ 457203 h 914400"/>
                  <a:gd name="connsiteX0" fmla="*/ 0 w 1828800"/>
                  <a:gd name="connsiteY0" fmla="*/ 0 h 914400"/>
                  <a:gd name="connsiteX1" fmla="*/ 1676809 w 1828800"/>
                  <a:gd name="connsiteY1" fmla="*/ 0 h 914400"/>
                  <a:gd name="connsiteX2" fmla="*/ 1828800 w 1828800"/>
                  <a:gd name="connsiteY2" fmla="*/ 457200 h 914400"/>
                  <a:gd name="connsiteX3" fmla="*/ 1676809 w 1828800"/>
                  <a:gd name="connsiteY3" fmla="*/ 914400 h 914400"/>
                  <a:gd name="connsiteX4" fmla="*/ 0 w 1828800"/>
                  <a:gd name="connsiteY4" fmla="*/ 914400 h 914400"/>
                  <a:gd name="connsiteX5" fmla="*/ 151993 w 1828800"/>
                  <a:gd name="connsiteY5" fmla="*/ 457203 h 914400"/>
                  <a:gd name="connsiteX0" fmla="*/ 0 w 1828800"/>
                  <a:gd name="connsiteY0" fmla="*/ 0 h 914400"/>
                  <a:gd name="connsiteX1" fmla="*/ 1676809 w 1828800"/>
                  <a:gd name="connsiteY1" fmla="*/ 0 h 914400"/>
                  <a:gd name="connsiteX2" fmla="*/ 1828800 w 1828800"/>
                  <a:gd name="connsiteY2" fmla="*/ 457200 h 914400"/>
                  <a:gd name="connsiteX3" fmla="*/ 1676809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76809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162739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162739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162739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179013 w 1828800"/>
                  <a:gd name="connsiteY5" fmla="*/ 457204 h 914400"/>
                  <a:gd name="connsiteX0" fmla="*/ 0 w 1828800"/>
                  <a:gd name="connsiteY0" fmla="*/ 0 h 914400"/>
                  <a:gd name="connsiteX1" fmla="*/ 1649789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179013 w 1828800"/>
                  <a:gd name="connsiteY5" fmla="*/ 457204 h 914400"/>
                  <a:gd name="connsiteX0" fmla="*/ 0 w 1828800"/>
                  <a:gd name="connsiteY0" fmla="*/ 0 h 914400"/>
                  <a:gd name="connsiteX1" fmla="*/ 1649789 w 1828800"/>
                  <a:gd name="connsiteY1" fmla="*/ 0 h 914400"/>
                  <a:gd name="connsiteX2" fmla="*/ 1828800 w 1828800"/>
                  <a:gd name="connsiteY2" fmla="*/ 457200 h 914400"/>
                  <a:gd name="connsiteX3" fmla="*/ 1649789 w 1828800"/>
                  <a:gd name="connsiteY3" fmla="*/ 914400 h 914400"/>
                  <a:gd name="connsiteX4" fmla="*/ 0 w 1828800"/>
                  <a:gd name="connsiteY4" fmla="*/ 914400 h 914400"/>
                  <a:gd name="connsiteX5" fmla="*/ 179013 w 1828800"/>
                  <a:gd name="connsiteY5" fmla="*/ 457204 h 914400"/>
                  <a:gd name="connsiteX0" fmla="*/ 0 w 1828800"/>
                  <a:gd name="connsiteY0" fmla="*/ 0 h 914400"/>
                  <a:gd name="connsiteX1" fmla="*/ 1649789 w 1828800"/>
                  <a:gd name="connsiteY1" fmla="*/ 0 h 914400"/>
                  <a:gd name="connsiteX2" fmla="*/ 1828800 w 1828800"/>
                  <a:gd name="connsiteY2" fmla="*/ 457200 h 914400"/>
                  <a:gd name="connsiteX3" fmla="*/ 1649789 w 1828800"/>
                  <a:gd name="connsiteY3" fmla="*/ 914400 h 914400"/>
                  <a:gd name="connsiteX4" fmla="*/ 0 w 1828800"/>
                  <a:gd name="connsiteY4" fmla="*/ 914400 h 914400"/>
                  <a:gd name="connsiteX5" fmla="*/ 223766 w 1828800"/>
                  <a:gd name="connsiteY5" fmla="*/ 457204 h 914400"/>
                  <a:gd name="connsiteX0" fmla="*/ 0 w 1828800"/>
                  <a:gd name="connsiteY0" fmla="*/ 0 h 914400"/>
                  <a:gd name="connsiteX1" fmla="*/ 1605036 w 1828800"/>
                  <a:gd name="connsiteY1" fmla="*/ 0 h 914400"/>
                  <a:gd name="connsiteX2" fmla="*/ 1828800 w 1828800"/>
                  <a:gd name="connsiteY2" fmla="*/ 457200 h 914400"/>
                  <a:gd name="connsiteX3" fmla="*/ 1649789 w 1828800"/>
                  <a:gd name="connsiteY3" fmla="*/ 914400 h 914400"/>
                  <a:gd name="connsiteX4" fmla="*/ 0 w 1828800"/>
                  <a:gd name="connsiteY4" fmla="*/ 914400 h 914400"/>
                  <a:gd name="connsiteX5" fmla="*/ 223766 w 1828800"/>
                  <a:gd name="connsiteY5" fmla="*/ 457204 h 914400"/>
                  <a:gd name="connsiteX0" fmla="*/ 0 w 1828800"/>
                  <a:gd name="connsiteY0" fmla="*/ 0 h 914400"/>
                  <a:gd name="connsiteX1" fmla="*/ 1605036 w 1828800"/>
                  <a:gd name="connsiteY1" fmla="*/ 0 h 914400"/>
                  <a:gd name="connsiteX2" fmla="*/ 1828800 w 1828800"/>
                  <a:gd name="connsiteY2" fmla="*/ 457200 h 914400"/>
                  <a:gd name="connsiteX3" fmla="*/ 1605036 w 1828800"/>
                  <a:gd name="connsiteY3" fmla="*/ 914400 h 914400"/>
                  <a:gd name="connsiteX4" fmla="*/ 0 w 1828800"/>
                  <a:gd name="connsiteY4" fmla="*/ 914400 h 914400"/>
                  <a:gd name="connsiteX5" fmla="*/ 223766 w 1828800"/>
                  <a:gd name="connsiteY5" fmla="*/ 457204 h 914400"/>
                  <a:gd name="connsiteX0" fmla="*/ 0 w 1828800"/>
                  <a:gd name="connsiteY0" fmla="*/ 0 h 914400"/>
                  <a:gd name="connsiteX1" fmla="*/ 1605036 w 1828800"/>
                  <a:gd name="connsiteY1" fmla="*/ 0 h 914400"/>
                  <a:gd name="connsiteX2" fmla="*/ 1828800 w 1828800"/>
                  <a:gd name="connsiteY2" fmla="*/ 457200 h 914400"/>
                  <a:gd name="connsiteX3" fmla="*/ 1605036 w 1828800"/>
                  <a:gd name="connsiteY3" fmla="*/ 914400 h 914400"/>
                  <a:gd name="connsiteX4" fmla="*/ 0 w 1828800"/>
                  <a:gd name="connsiteY4" fmla="*/ 914400 h 914400"/>
                  <a:gd name="connsiteX5" fmla="*/ 145146 w 1828800"/>
                  <a:gd name="connsiteY5" fmla="*/ 457204 h 914400"/>
                  <a:gd name="connsiteX0" fmla="*/ 0 w 1828800"/>
                  <a:gd name="connsiteY0" fmla="*/ 0 h 914400"/>
                  <a:gd name="connsiteX1" fmla="*/ 1683654 w 1828800"/>
                  <a:gd name="connsiteY1" fmla="*/ 0 h 914400"/>
                  <a:gd name="connsiteX2" fmla="*/ 1828800 w 1828800"/>
                  <a:gd name="connsiteY2" fmla="*/ 457200 h 914400"/>
                  <a:gd name="connsiteX3" fmla="*/ 1605036 w 1828800"/>
                  <a:gd name="connsiteY3" fmla="*/ 914400 h 914400"/>
                  <a:gd name="connsiteX4" fmla="*/ 0 w 1828800"/>
                  <a:gd name="connsiteY4" fmla="*/ 914400 h 914400"/>
                  <a:gd name="connsiteX5" fmla="*/ 145146 w 1828800"/>
                  <a:gd name="connsiteY5" fmla="*/ 457204 h 914400"/>
                  <a:gd name="connsiteX0" fmla="*/ 0 w 1828800"/>
                  <a:gd name="connsiteY0" fmla="*/ 0 h 914400"/>
                  <a:gd name="connsiteX1" fmla="*/ 1683654 w 1828800"/>
                  <a:gd name="connsiteY1" fmla="*/ 0 h 914400"/>
                  <a:gd name="connsiteX2" fmla="*/ 1828800 w 1828800"/>
                  <a:gd name="connsiteY2" fmla="*/ 457200 h 914400"/>
                  <a:gd name="connsiteX3" fmla="*/ 1683654 w 1828800"/>
                  <a:gd name="connsiteY3" fmla="*/ 914400 h 914400"/>
                  <a:gd name="connsiteX4" fmla="*/ 0 w 1828800"/>
                  <a:gd name="connsiteY4" fmla="*/ 914400 h 914400"/>
                  <a:gd name="connsiteX5" fmla="*/ 145146 w 1828800"/>
                  <a:gd name="connsiteY5" fmla="*/ 457204 h 914400"/>
                  <a:gd name="connsiteX0" fmla="*/ 0 w 1828800"/>
                  <a:gd name="connsiteY0" fmla="*/ 0 h 914400"/>
                  <a:gd name="connsiteX1" fmla="*/ 1683654 w 1828800"/>
                  <a:gd name="connsiteY1" fmla="*/ 0 h 914400"/>
                  <a:gd name="connsiteX2" fmla="*/ 1828800 w 1828800"/>
                  <a:gd name="connsiteY2" fmla="*/ 457200 h 914400"/>
                  <a:gd name="connsiteX3" fmla="*/ 1683654 w 1828800"/>
                  <a:gd name="connsiteY3" fmla="*/ 914400 h 914400"/>
                  <a:gd name="connsiteX4" fmla="*/ 0 w 1828800"/>
                  <a:gd name="connsiteY4" fmla="*/ 914400 h 914400"/>
                  <a:gd name="connsiteX5" fmla="*/ 181432 w 1828800"/>
                  <a:gd name="connsiteY5" fmla="*/ 457204 h 914400"/>
                  <a:gd name="connsiteX0" fmla="*/ 0 w 1828800"/>
                  <a:gd name="connsiteY0" fmla="*/ 0 h 914400"/>
                  <a:gd name="connsiteX1" fmla="*/ 1647368 w 1828800"/>
                  <a:gd name="connsiteY1" fmla="*/ 0 h 914400"/>
                  <a:gd name="connsiteX2" fmla="*/ 1828800 w 1828800"/>
                  <a:gd name="connsiteY2" fmla="*/ 457200 h 914400"/>
                  <a:gd name="connsiteX3" fmla="*/ 1683654 w 1828800"/>
                  <a:gd name="connsiteY3" fmla="*/ 914400 h 914400"/>
                  <a:gd name="connsiteX4" fmla="*/ 0 w 1828800"/>
                  <a:gd name="connsiteY4" fmla="*/ 914400 h 914400"/>
                  <a:gd name="connsiteX5" fmla="*/ 181432 w 1828800"/>
                  <a:gd name="connsiteY5" fmla="*/ 457204 h 914400"/>
                  <a:gd name="connsiteX0" fmla="*/ 0 w 1828800"/>
                  <a:gd name="connsiteY0" fmla="*/ 0 h 914400"/>
                  <a:gd name="connsiteX1" fmla="*/ 1647368 w 1828800"/>
                  <a:gd name="connsiteY1" fmla="*/ 0 h 914400"/>
                  <a:gd name="connsiteX2" fmla="*/ 1828800 w 1828800"/>
                  <a:gd name="connsiteY2" fmla="*/ 457200 h 914400"/>
                  <a:gd name="connsiteX3" fmla="*/ 1647368 w 1828800"/>
                  <a:gd name="connsiteY3" fmla="*/ 914400 h 914400"/>
                  <a:gd name="connsiteX4" fmla="*/ 0 w 1828800"/>
                  <a:gd name="connsiteY4" fmla="*/ 914400 h 914400"/>
                  <a:gd name="connsiteX5" fmla="*/ 181432 w 1828800"/>
                  <a:gd name="connsiteY5" fmla="*/ 457204 h 914400"/>
                  <a:gd name="connsiteX0" fmla="*/ 0 w 1828800"/>
                  <a:gd name="connsiteY0" fmla="*/ 0 h 914400"/>
                  <a:gd name="connsiteX1" fmla="*/ 1647368 w 1828800"/>
                  <a:gd name="connsiteY1" fmla="*/ 0 h 914400"/>
                  <a:gd name="connsiteX2" fmla="*/ 1828800 w 1828800"/>
                  <a:gd name="connsiteY2" fmla="*/ 457200 h 914400"/>
                  <a:gd name="connsiteX3" fmla="*/ 1647368 w 1828800"/>
                  <a:gd name="connsiteY3" fmla="*/ 914400 h 914400"/>
                  <a:gd name="connsiteX4" fmla="*/ 0 w 1828800"/>
                  <a:gd name="connsiteY4" fmla="*/ 914400 h 914400"/>
                  <a:gd name="connsiteX5" fmla="*/ 97133 w 1828800"/>
                  <a:gd name="connsiteY5" fmla="*/ 457203 h 914400"/>
                  <a:gd name="connsiteX0" fmla="*/ 0 w 1828800"/>
                  <a:gd name="connsiteY0" fmla="*/ 0 h 914400"/>
                  <a:gd name="connsiteX1" fmla="*/ 1731667 w 1828800"/>
                  <a:gd name="connsiteY1" fmla="*/ 0 h 914400"/>
                  <a:gd name="connsiteX2" fmla="*/ 1828800 w 1828800"/>
                  <a:gd name="connsiteY2" fmla="*/ 457200 h 914400"/>
                  <a:gd name="connsiteX3" fmla="*/ 1647368 w 1828800"/>
                  <a:gd name="connsiteY3" fmla="*/ 914400 h 914400"/>
                  <a:gd name="connsiteX4" fmla="*/ 0 w 1828800"/>
                  <a:gd name="connsiteY4" fmla="*/ 914400 h 914400"/>
                  <a:gd name="connsiteX5" fmla="*/ 97133 w 1828800"/>
                  <a:gd name="connsiteY5" fmla="*/ 457203 h 914400"/>
                  <a:gd name="connsiteX0" fmla="*/ 0 w 1828800"/>
                  <a:gd name="connsiteY0" fmla="*/ 0 h 914400"/>
                  <a:gd name="connsiteX1" fmla="*/ 1731667 w 1828800"/>
                  <a:gd name="connsiteY1" fmla="*/ 0 h 914400"/>
                  <a:gd name="connsiteX2" fmla="*/ 1828800 w 1828800"/>
                  <a:gd name="connsiteY2" fmla="*/ 457200 h 914400"/>
                  <a:gd name="connsiteX3" fmla="*/ 1731667 w 1828800"/>
                  <a:gd name="connsiteY3" fmla="*/ 914400 h 914400"/>
                  <a:gd name="connsiteX4" fmla="*/ 0 w 1828800"/>
                  <a:gd name="connsiteY4" fmla="*/ 914400 h 914400"/>
                  <a:gd name="connsiteX5" fmla="*/ 97133 w 1828800"/>
                  <a:gd name="connsiteY5" fmla="*/ 457203 h 914400"/>
                  <a:gd name="connsiteX0" fmla="*/ 0 w 1828800"/>
                  <a:gd name="connsiteY0" fmla="*/ 0 h 914400"/>
                  <a:gd name="connsiteX1" fmla="*/ 1731667 w 1828800"/>
                  <a:gd name="connsiteY1" fmla="*/ 0 h 914400"/>
                  <a:gd name="connsiteX2" fmla="*/ 1828800 w 1828800"/>
                  <a:gd name="connsiteY2" fmla="*/ 457200 h 914400"/>
                  <a:gd name="connsiteX3" fmla="*/ 1731667 w 1828800"/>
                  <a:gd name="connsiteY3" fmla="*/ 914400 h 914400"/>
                  <a:gd name="connsiteX4" fmla="*/ 0 w 1828800"/>
                  <a:gd name="connsiteY4" fmla="*/ 914400 h 914400"/>
                  <a:gd name="connsiteX5" fmla="*/ 121416 w 1828800"/>
                  <a:gd name="connsiteY5" fmla="*/ 457203 h 914400"/>
                  <a:gd name="connsiteX0" fmla="*/ 0 w 1828800"/>
                  <a:gd name="connsiteY0" fmla="*/ 0 h 914400"/>
                  <a:gd name="connsiteX1" fmla="*/ 1707384 w 1828800"/>
                  <a:gd name="connsiteY1" fmla="*/ 0 h 914400"/>
                  <a:gd name="connsiteX2" fmla="*/ 1828800 w 1828800"/>
                  <a:gd name="connsiteY2" fmla="*/ 457200 h 914400"/>
                  <a:gd name="connsiteX3" fmla="*/ 1731667 w 1828800"/>
                  <a:gd name="connsiteY3" fmla="*/ 914400 h 914400"/>
                  <a:gd name="connsiteX4" fmla="*/ 0 w 1828800"/>
                  <a:gd name="connsiteY4" fmla="*/ 914400 h 914400"/>
                  <a:gd name="connsiteX5" fmla="*/ 121416 w 1828800"/>
                  <a:gd name="connsiteY5" fmla="*/ 457203 h 914400"/>
                  <a:gd name="connsiteX0" fmla="*/ 0 w 1828800"/>
                  <a:gd name="connsiteY0" fmla="*/ 0 h 914400"/>
                  <a:gd name="connsiteX1" fmla="*/ 1707384 w 1828800"/>
                  <a:gd name="connsiteY1" fmla="*/ 0 h 914400"/>
                  <a:gd name="connsiteX2" fmla="*/ 1828800 w 1828800"/>
                  <a:gd name="connsiteY2" fmla="*/ 457200 h 914400"/>
                  <a:gd name="connsiteX3" fmla="*/ 1707384 w 1828800"/>
                  <a:gd name="connsiteY3" fmla="*/ 914400 h 914400"/>
                  <a:gd name="connsiteX4" fmla="*/ 0 w 1828800"/>
                  <a:gd name="connsiteY4" fmla="*/ 914400 h 914400"/>
                  <a:gd name="connsiteX5" fmla="*/ 121416 w 1828800"/>
                  <a:gd name="connsiteY5" fmla="*/ 457203 h 914400"/>
                  <a:gd name="connsiteX0" fmla="*/ 0 w 1828800"/>
                  <a:gd name="connsiteY0" fmla="*/ 0 h 914400"/>
                  <a:gd name="connsiteX1" fmla="*/ 1707384 w 1828800"/>
                  <a:gd name="connsiteY1" fmla="*/ 0 h 914400"/>
                  <a:gd name="connsiteX2" fmla="*/ 1828800 w 1828800"/>
                  <a:gd name="connsiteY2" fmla="*/ 457200 h 914400"/>
                  <a:gd name="connsiteX3" fmla="*/ 170738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738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81622 w 1828800"/>
                  <a:gd name="connsiteY5" fmla="*/ 457203 h 914400"/>
                  <a:gd name="connsiteX0" fmla="*/ 0 w 1828800"/>
                  <a:gd name="connsiteY0" fmla="*/ 0 h 914400"/>
                  <a:gd name="connsiteX1" fmla="*/ 1747178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81622 w 1828800"/>
                  <a:gd name="connsiteY5" fmla="*/ 457203 h 914400"/>
                  <a:gd name="connsiteX0" fmla="*/ 0 w 1828800"/>
                  <a:gd name="connsiteY0" fmla="*/ 0 h 914400"/>
                  <a:gd name="connsiteX1" fmla="*/ 1747178 w 1828800"/>
                  <a:gd name="connsiteY1" fmla="*/ 0 h 914400"/>
                  <a:gd name="connsiteX2" fmla="*/ 1828800 w 1828800"/>
                  <a:gd name="connsiteY2" fmla="*/ 457200 h 914400"/>
                  <a:gd name="connsiteX3" fmla="*/ 1747178 w 1828800"/>
                  <a:gd name="connsiteY3" fmla="*/ 914400 h 914400"/>
                  <a:gd name="connsiteX4" fmla="*/ 0 w 1828800"/>
                  <a:gd name="connsiteY4" fmla="*/ 914400 h 914400"/>
                  <a:gd name="connsiteX5" fmla="*/ 81622 w 1828800"/>
                  <a:gd name="connsiteY5" fmla="*/ 457203 h 914400"/>
                  <a:gd name="connsiteX0" fmla="*/ 0 w 1828800"/>
                  <a:gd name="connsiteY0" fmla="*/ 0 h 914400"/>
                  <a:gd name="connsiteX1" fmla="*/ 1747178 w 1828800"/>
                  <a:gd name="connsiteY1" fmla="*/ 0 h 914400"/>
                  <a:gd name="connsiteX2" fmla="*/ 1828800 w 1828800"/>
                  <a:gd name="connsiteY2" fmla="*/ 457200 h 914400"/>
                  <a:gd name="connsiteX3" fmla="*/ 1747178 w 1828800"/>
                  <a:gd name="connsiteY3" fmla="*/ 914400 h 914400"/>
                  <a:gd name="connsiteX4" fmla="*/ 0 w 1828800"/>
                  <a:gd name="connsiteY4" fmla="*/ 914400 h 914400"/>
                  <a:gd name="connsiteX5" fmla="*/ 102027 w 1828800"/>
                  <a:gd name="connsiteY5" fmla="*/ 457203 h 914400"/>
                  <a:gd name="connsiteX0" fmla="*/ 0 w 1828800"/>
                  <a:gd name="connsiteY0" fmla="*/ 0 h 914400"/>
                  <a:gd name="connsiteX1" fmla="*/ 1726773 w 1828800"/>
                  <a:gd name="connsiteY1" fmla="*/ 0 h 914400"/>
                  <a:gd name="connsiteX2" fmla="*/ 1828800 w 1828800"/>
                  <a:gd name="connsiteY2" fmla="*/ 457200 h 914400"/>
                  <a:gd name="connsiteX3" fmla="*/ 1747178 w 1828800"/>
                  <a:gd name="connsiteY3" fmla="*/ 914400 h 914400"/>
                  <a:gd name="connsiteX4" fmla="*/ 0 w 1828800"/>
                  <a:gd name="connsiteY4" fmla="*/ 914400 h 914400"/>
                  <a:gd name="connsiteX5" fmla="*/ 102027 w 1828800"/>
                  <a:gd name="connsiteY5" fmla="*/ 457203 h 914400"/>
                  <a:gd name="connsiteX0" fmla="*/ 0 w 1828800"/>
                  <a:gd name="connsiteY0" fmla="*/ 0 h 914400"/>
                  <a:gd name="connsiteX1" fmla="*/ 1726773 w 1828800"/>
                  <a:gd name="connsiteY1" fmla="*/ 0 h 914400"/>
                  <a:gd name="connsiteX2" fmla="*/ 1828800 w 1828800"/>
                  <a:gd name="connsiteY2" fmla="*/ 457200 h 914400"/>
                  <a:gd name="connsiteX3" fmla="*/ 1726773 w 1828800"/>
                  <a:gd name="connsiteY3" fmla="*/ 914400 h 914400"/>
                  <a:gd name="connsiteX4" fmla="*/ 0 w 1828800"/>
                  <a:gd name="connsiteY4" fmla="*/ 914400 h 914400"/>
                  <a:gd name="connsiteX5" fmla="*/ 102027 w 1828800"/>
                  <a:gd name="connsiteY5" fmla="*/ 457203 h 914400"/>
                  <a:gd name="connsiteX0" fmla="*/ 0 w 1828800"/>
                  <a:gd name="connsiteY0" fmla="*/ 0 h 914400"/>
                  <a:gd name="connsiteX1" fmla="*/ 1726773 w 1828800"/>
                  <a:gd name="connsiteY1" fmla="*/ 0 h 914400"/>
                  <a:gd name="connsiteX2" fmla="*/ 1828800 w 1828800"/>
                  <a:gd name="connsiteY2" fmla="*/ 457200 h 914400"/>
                  <a:gd name="connsiteX3" fmla="*/ 1726773 w 1828800"/>
                  <a:gd name="connsiteY3" fmla="*/ 914400 h 914400"/>
                  <a:gd name="connsiteX4" fmla="*/ 0 w 1828800"/>
                  <a:gd name="connsiteY4" fmla="*/ 914400 h 914400"/>
                  <a:gd name="connsiteX5" fmla="*/ 168686 w 1828800"/>
                  <a:gd name="connsiteY5" fmla="*/ 457203 h 914400"/>
                  <a:gd name="connsiteX0" fmla="*/ 0 w 1828800"/>
                  <a:gd name="connsiteY0" fmla="*/ 0 h 914400"/>
                  <a:gd name="connsiteX1" fmla="*/ 1660114 w 1828800"/>
                  <a:gd name="connsiteY1" fmla="*/ 0 h 914400"/>
                  <a:gd name="connsiteX2" fmla="*/ 1828800 w 1828800"/>
                  <a:gd name="connsiteY2" fmla="*/ 457200 h 914400"/>
                  <a:gd name="connsiteX3" fmla="*/ 1726773 w 1828800"/>
                  <a:gd name="connsiteY3" fmla="*/ 914400 h 914400"/>
                  <a:gd name="connsiteX4" fmla="*/ 0 w 1828800"/>
                  <a:gd name="connsiteY4" fmla="*/ 914400 h 914400"/>
                  <a:gd name="connsiteX5" fmla="*/ 168686 w 1828800"/>
                  <a:gd name="connsiteY5" fmla="*/ 457203 h 914400"/>
                  <a:gd name="connsiteX0" fmla="*/ 0 w 1828800"/>
                  <a:gd name="connsiteY0" fmla="*/ 0 h 914400"/>
                  <a:gd name="connsiteX1" fmla="*/ 1660114 w 1828800"/>
                  <a:gd name="connsiteY1" fmla="*/ 0 h 914400"/>
                  <a:gd name="connsiteX2" fmla="*/ 1828800 w 1828800"/>
                  <a:gd name="connsiteY2" fmla="*/ 457200 h 914400"/>
                  <a:gd name="connsiteX3" fmla="*/ 1660114 w 1828800"/>
                  <a:gd name="connsiteY3" fmla="*/ 914400 h 914400"/>
                  <a:gd name="connsiteX4" fmla="*/ 0 w 1828800"/>
                  <a:gd name="connsiteY4" fmla="*/ 914400 h 914400"/>
                  <a:gd name="connsiteX5" fmla="*/ 168686 w 1828800"/>
                  <a:gd name="connsiteY5" fmla="*/ 457203 h 914400"/>
                  <a:gd name="connsiteX0" fmla="*/ 0 w 1828800"/>
                  <a:gd name="connsiteY0" fmla="*/ 0 h 914400"/>
                  <a:gd name="connsiteX1" fmla="*/ 1660114 w 1828800"/>
                  <a:gd name="connsiteY1" fmla="*/ 0 h 914400"/>
                  <a:gd name="connsiteX2" fmla="*/ 1828800 w 1828800"/>
                  <a:gd name="connsiteY2" fmla="*/ 457200 h 914400"/>
                  <a:gd name="connsiteX3" fmla="*/ 1660114 w 1828800"/>
                  <a:gd name="connsiteY3" fmla="*/ 914400 h 914400"/>
                  <a:gd name="connsiteX4" fmla="*/ 0 w 1828800"/>
                  <a:gd name="connsiteY4" fmla="*/ 914400 h 914400"/>
                  <a:gd name="connsiteX5" fmla="*/ 210858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60114 w 1828800"/>
                  <a:gd name="connsiteY3" fmla="*/ 914400 h 914400"/>
                  <a:gd name="connsiteX4" fmla="*/ 0 w 1828800"/>
                  <a:gd name="connsiteY4" fmla="*/ 914400 h 914400"/>
                  <a:gd name="connsiteX5" fmla="*/ 210858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210858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153351 w 1828800"/>
                  <a:gd name="connsiteY5" fmla="*/ 457203 h 914400"/>
                  <a:gd name="connsiteX0" fmla="*/ 0 w 1828800"/>
                  <a:gd name="connsiteY0" fmla="*/ 0 h 914400"/>
                  <a:gd name="connsiteX1" fmla="*/ 1675449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153351 w 1828800"/>
                  <a:gd name="connsiteY5" fmla="*/ 457203 h 914400"/>
                  <a:gd name="connsiteX0" fmla="*/ 0 w 1828800"/>
                  <a:gd name="connsiteY0" fmla="*/ 0 h 914400"/>
                  <a:gd name="connsiteX1" fmla="*/ 1675449 w 1828800"/>
                  <a:gd name="connsiteY1" fmla="*/ 0 h 914400"/>
                  <a:gd name="connsiteX2" fmla="*/ 1828800 w 1828800"/>
                  <a:gd name="connsiteY2" fmla="*/ 457200 h 914400"/>
                  <a:gd name="connsiteX3" fmla="*/ 1675449 w 1828800"/>
                  <a:gd name="connsiteY3" fmla="*/ 914400 h 914400"/>
                  <a:gd name="connsiteX4" fmla="*/ 0 w 1828800"/>
                  <a:gd name="connsiteY4" fmla="*/ 914400 h 914400"/>
                  <a:gd name="connsiteX5" fmla="*/ 153351 w 1828800"/>
                  <a:gd name="connsiteY5" fmla="*/ 457203 h 914400"/>
                  <a:gd name="connsiteX0" fmla="*/ 0 w 1828800"/>
                  <a:gd name="connsiteY0" fmla="*/ 0 h 914400"/>
                  <a:gd name="connsiteX1" fmla="*/ 1675449 w 1828800"/>
                  <a:gd name="connsiteY1" fmla="*/ 0 h 914400"/>
                  <a:gd name="connsiteX2" fmla="*/ 1828800 w 1828800"/>
                  <a:gd name="connsiteY2" fmla="*/ 457200 h 914400"/>
                  <a:gd name="connsiteX3" fmla="*/ 1675449 w 1828800"/>
                  <a:gd name="connsiteY3" fmla="*/ 914400 h 914400"/>
                  <a:gd name="connsiteX4" fmla="*/ 0 w 1828800"/>
                  <a:gd name="connsiteY4" fmla="*/ 914400 h 914400"/>
                  <a:gd name="connsiteX5" fmla="*/ 191689 w 1828800"/>
                  <a:gd name="connsiteY5" fmla="*/ 457203 h 914400"/>
                  <a:gd name="connsiteX0" fmla="*/ 0 w 1828800"/>
                  <a:gd name="connsiteY0" fmla="*/ 0 h 914400"/>
                  <a:gd name="connsiteX1" fmla="*/ 1637111 w 1828800"/>
                  <a:gd name="connsiteY1" fmla="*/ 0 h 914400"/>
                  <a:gd name="connsiteX2" fmla="*/ 1828800 w 1828800"/>
                  <a:gd name="connsiteY2" fmla="*/ 457200 h 914400"/>
                  <a:gd name="connsiteX3" fmla="*/ 1675449 w 1828800"/>
                  <a:gd name="connsiteY3" fmla="*/ 914400 h 914400"/>
                  <a:gd name="connsiteX4" fmla="*/ 0 w 1828800"/>
                  <a:gd name="connsiteY4" fmla="*/ 914400 h 914400"/>
                  <a:gd name="connsiteX5" fmla="*/ 191689 w 1828800"/>
                  <a:gd name="connsiteY5" fmla="*/ 457203 h 914400"/>
                  <a:gd name="connsiteX0" fmla="*/ 0 w 1828800"/>
                  <a:gd name="connsiteY0" fmla="*/ 0 h 914400"/>
                  <a:gd name="connsiteX1" fmla="*/ 1637111 w 1828800"/>
                  <a:gd name="connsiteY1" fmla="*/ 0 h 914400"/>
                  <a:gd name="connsiteX2" fmla="*/ 1828800 w 1828800"/>
                  <a:gd name="connsiteY2" fmla="*/ 457200 h 914400"/>
                  <a:gd name="connsiteX3" fmla="*/ 1637111 w 1828800"/>
                  <a:gd name="connsiteY3" fmla="*/ 914400 h 914400"/>
                  <a:gd name="connsiteX4" fmla="*/ 0 w 1828800"/>
                  <a:gd name="connsiteY4" fmla="*/ 914400 h 914400"/>
                  <a:gd name="connsiteX5" fmla="*/ 191689 w 1828800"/>
                  <a:gd name="connsiteY5" fmla="*/ 457203 h 914400"/>
                  <a:gd name="connsiteX0" fmla="*/ 0 w 1828800"/>
                  <a:gd name="connsiteY0" fmla="*/ 0 h 914400"/>
                  <a:gd name="connsiteX1" fmla="*/ 1637111 w 1828800"/>
                  <a:gd name="connsiteY1" fmla="*/ 0 h 914400"/>
                  <a:gd name="connsiteX2" fmla="*/ 1828800 w 1828800"/>
                  <a:gd name="connsiteY2" fmla="*/ 457200 h 914400"/>
                  <a:gd name="connsiteX3" fmla="*/ 1637111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60114 w 1828800"/>
                  <a:gd name="connsiteY1" fmla="*/ 0 h 914400"/>
                  <a:gd name="connsiteX2" fmla="*/ 1828800 w 1828800"/>
                  <a:gd name="connsiteY2" fmla="*/ 457200 h 914400"/>
                  <a:gd name="connsiteX3" fmla="*/ 1637111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60114 w 1828800"/>
                  <a:gd name="connsiteY1" fmla="*/ 0 h 914400"/>
                  <a:gd name="connsiteX2" fmla="*/ 1828800 w 1828800"/>
                  <a:gd name="connsiteY2" fmla="*/ 457200 h 914400"/>
                  <a:gd name="connsiteX3" fmla="*/ 166011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60114 w 1828800"/>
                  <a:gd name="connsiteY1" fmla="*/ 0 h 914400"/>
                  <a:gd name="connsiteX2" fmla="*/ 1828800 w 1828800"/>
                  <a:gd name="connsiteY2" fmla="*/ 457200 h 914400"/>
                  <a:gd name="connsiteX3" fmla="*/ 166011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6011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210858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210858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210858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24690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24690 w 1828800"/>
                  <a:gd name="connsiteY1" fmla="*/ 0 h 914400"/>
                  <a:gd name="connsiteX2" fmla="*/ 1828800 w 1828800"/>
                  <a:gd name="connsiteY2" fmla="*/ 457200 h 914400"/>
                  <a:gd name="connsiteX3" fmla="*/ 162469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24690 w 1828800"/>
                  <a:gd name="connsiteY1" fmla="*/ 0 h 914400"/>
                  <a:gd name="connsiteX2" fmla="*/ 1828800 w 1828800"/>
                  <a:gd name="connsiteY2" fmla="*/ 457200 h 914400"/>
                  <a:gd name="connsiteX3" fmla="*/ 162469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573662 w 1828800"/>
                  <a:gd name="connsiteY1" fmla="*/ 0 h 914400"/>
                  <a:gd name="connsiteX2" fmla="*/ 1828800 w 1828800"/>
                  <a:gd name="connsiteY2" fmla="*/ 457200 h 914400"/>
                  <a:gd name="connsiteX3" fmla="*/ 162469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573662 w 1828800"/>
                  <a:gd name="connsiteY1" fmla="*/ 0 h 914400"/>
                  <a:gd name="connsiteX2" fmla="*/ 1828800 w 1828800"/>
                  <a:gd name="connsiteY2" fmla="*/ 457200 h 914400"/>
                  <a:gd name="connsiteX3" fmla="*/ 1573662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573662 w 1828800"/>
                  <a:gd name="connsiteY1" fmla="*/ 0 h 914400"/>
                  <a:gd name="connsiteX2" fmla="*/ 1828800 w 1828800"/>
                  <a:gd name="connsiteY2" fmla="*/ 457200 h 914400"/>
                  <a:gd name="connsiteX3" fmla="*/ 1573662 w 1828800"/>
                  <a:gd name="connsiteY3" fmla="*/ 914400 h 914400"/>
                  <a:gd name="connsiteX4" fmla="*/ 0 w 1828800"/>
                  <a:gd name="connsiteY4" fmla="*/ 914400 h 914400"/>
                  <a:gd name="connsiteX5" fmla="*/ 255138 w 1828800"/>
                  <a:gd name="connsiteY5" fmla="*/ 457203 h 914400"/>
                  <a:gd name="connsiteX0" fmla="*/ 0 w 1828800"/>
                  <a:gd name="connsiteY0" fmla="*/ 0 h 914400"/>
                  <a:gd name="connsiteX1" fmla="*/ 1573662 w 1828800"/>
                  <a:gd name="connsiteY1" fmla="*/ 0 h 914400"/>
                  <a:gd name="connsiteX2" fmla="*/ 1828800 w 1828800"/>
                  <a:gd name="connsiteY2" fmla="*/ 457200 h 914400"/>
                  <a:gd name="connsiteX3" fmla="*/ 1573662 w 1828800"/>
                  <a:gd name="connsiteY3" fmla="*/ 914400 h 914400"/>
                  <a:gd name="connsiteX4" fmla="*/ 0 w 1828800"/>
                  <a:gd name="connsiteY4" fmla="*/ 914400 h 914400"/>
                  <a:gd name="connsiteX5" fmla="*/ 255138 w 1828800"/>
                  <a:gd name="connsiteY5" fmla="*/ 457203 h 914400"/>
                  <a:gd name="connsiteX0" fmla="*/ 0 w 1828800"/>
                  <a:gd name="connsiteY0" fmla="*/ 0 h 914400"/>
                  <a:gd name="connsiteX1" fmla="*/ 1573662 w 1828800"/>
                  <a:gd name="connsiteY1" fmla="*/ 0 h 914400"/>
                  <a:gd name="connsiteX2" fmla="*/ 1828800 w 1828800"/>
                  <a:gd name="connsiteY2" fmla="*/ 457200 h 914400"/>
                  <a:gd name="connsiteX3" fmla="*/ 1573662 w 1828800"/>
                  <a:gd name="connsiteY3" fmla="*/ 914400 h 914400"/>
                  <a:gd name="connsiteX4" fmla="*/ 0 w 1828800"/>
                  <a:gd name="connsiteY4" fmla="*/ 914400 h 914400"/>
                  <a:gd name="connsiteX5" fmla="*/ 255138 w 1828800"/>
                  <a:gd name="connsiteY5" fmla="*/ 457203 h 914400"/>
                  <a:gd name="connsiteX0" fmla="*/ 0 w 1828800"/>
                  <a:gd name="connsiteY0" fmla="*/ 0 h 914400"/>
                  <a:gd name="connsiteX1" fmla="*/ 1573662 w 1828800"/>
                  <a:gd name="connsiteY1" fmla="*/ 0 h 914400"/>
                  <a:gd name="connsiteX2" fmla="*/ 1828800 w 1828800"/>
                  <a:gd name="connsiteY2" fmla="*/ 457200 h 914400"/>
                  <a:gd name="connsiteX3" fmla="*/ 1573662 w 1828800"/>
                  <a:gd name="connsiteY3" fmla="*/ 914400 h 914400"/>
                  <a:gd name="connsiteX4" fmla="*/ 0 w 1828800"/>
                  <a:gd name="connsiteY4" fmla="*/ 914400 h 914400"/>
                  <a:gd name="connsiteX5" fmla="*/ 185555 w 1828800"/>
                  <a:gd name="connsiteY5" fmla="*/ 457203 h 914400"/>
                  <a:gd name="connsiteX0" fmla="*/ 0 w 1828800"/>
                  <a:gd name="connsiteY0" fmla="*/ 0 h 914400"/>
                  <a:gd name="connsiteX1" fmla="*/ 1643245 w 1828800"/>
                  <a:gd name="connsiteY1" fmla="*/ 0 h 914400"/>
                  <a:gd name="connsiteX2" fmla="*/ 1828800 w 1828800"/>
                  <a:gd name="connsiteY2" fmla="*/ 457200 h 914400"/>
                  <a:gd name="connsiteX3" fmla="*/ 1573662 w 1828800"/>
                  <a:gd name="connsiteY3" fmla="*/ 914400 h 914400"/>
                  <a:gd name="connsiteX4" fmla="*/ 0 w 1828800"/>
                  <a:gd name="connsiteY4" fmla="*/ 914400 h 914400"/>
                  <a:gd name="connsiteX5" fmla="*/ 185555 w 1828800"/>
                  <a:gd name="connsiteY5" fmla="*/ 457203 h 914400"/>
                  <a:gd name="connsiteX0" fmla="*/ 0 w 1828800"/>
                  <a:gd name="connsiteY0" fmla="*/ 0 h 914400"/>
                  <a:gd name="connsiteX1" fmla="*/ 1643245 w 1828800"/>
                  <a:gd name="connsiteY1" fmla="*/ 0 h 914400"/>
                  <a:gd name="connsiteX2" fmla="*/ 1828800 w 1828800"/>
                  <a:gd name="connsiteY2" fmla="*/ 457200 h 914400"/>
                  <a:gd name="connsiteX3" fmla="*/ 1643245 w 1828800"/>
                  <a:gd name="connsiteY3" fmla="*/ 914400 h 914400"/>
                  <a:gd name="connsiteX4" fmla="*/ 0 w 1828800"/>
                  <a:gd name="connsiteY4" fmla="*/ 914400 h 914400"/>
                  <a:gd name="connsiteX5" fmla="*/ 185555 w 1828800"/>
                  <a:gd name="connsiteY5" fmla="*/ 457203 h 914400"/>
                  <a:gd name="connsiteX0" fmla="*/ 0 w 1828800"/>
                  <a:gd name="connsiteY0" fmla="*/ 0 h 914400"/>
                  <a:gd name="connsiteX1" fmla="*/ 1643245 w 1828800"/>
                  <a:gd name="connsiteY1" fmla="*/ 0 h 914400"/>
                  <a:gd name="connsiteX2" fmla="*/ 1828800 w 1828800"/>
                  <a:gd name="connsiteY2" fmla="*/ 457200 h 914400"/>
                  <a:gd name="connsiteX3" fmla="*/ 1643245 w 1828800"/>
                  <a:gd name="connsiteY3" fmla="*/ 914400 h 914400"/>
                  <a:gd name="connsiteX4" fmla="*/ 0 w 1828800"/>
                  <a:gd name="connsiteY4" fmla="*/ 914400 h 914400"/>
                  <a:gd name="connsiteX5" fmla="*/ 231943 w 1828800"/>
                  <a:gd name="connsiteY5" fmla="*/ 457203 h 914400"/>
                  <a:gd name="connsiteX0" fmla="*/ 0 w 1828800"/>
                  <a:gd name="connsiteY0" fmla="*/ 0 h 914400"/>
                  <a:gd name="connsiteX1" fmla="*/ 1596857 w 1828800"/>
                  <a:gd name="connsiteY1" fmla="*/ 0 h 914400"/>
                  <a:gd name="connsiteX2" fmla="*/ 1828800 w 1828800"/>
                  <a:gd name="connsiteY2" fmla="*/ 457200 h 914400"/>
                  <a:gd name="connsiteX3" fmla="*/ 1643245 w 1828800"/>
                  <a:gd name="connsiteY3" fmla="*/ 914400 h 914400"/>
                  <a:gd name="connsiteX4" fmla="*/ 0 w 1828800"/>
                  <a:gd name="connsiteY4" fmla="*/ 914400 h 914400"/>
                  <a:gd name="connsiteX5" fmla="*/ 231943 w 1828800"/>
                  <a:gd name="connsiteY5" fmla="*/ 457203 h 914400"/>
                  <a:gd name="connsiteX0" fmla="*/ 0 w 1828800"/>
                  <a:gd name="connsiteY0" fmla="*/ 0 h 914400"/>
                  <a:gd name="connsiteX1" fmla="*/ 1596857 w 1828800"/>
                  <a:gd name="connsiteY1" fmla="*/ 0 h 914400"/>
                  <a:gd name="connsiteX2" fmla="*/ 1828800 w 1828800"/>
                  <a:gd name="connsiteY2" fmla="*/ 457200 h 914400"/>
                  <a:gd name="connsiteX3" fmla="*/ 1596857 w 1828800"/>
                  <a:gd name="connsiteY3" fmla="*/ 914400 h 914400"/>
                  <a:gd name="connsiteX4" fmla="*/ 0 w 1828800"/>
                  <a:gd name="connsiteY4" fmla="*/ 914400 h 914400"/>
                  <a:gd name="connsiteX5" fmla="*/ 231943 w 1828800"/>
                  <a:gd name="connsiteY5" fmla="*/ 457203 h 914400"/>
                  <a:gd name="connsiteX0" fmla="*/ 0 w 1828800"/>
                  <a:gd name="connsiteY0" fmla="*/ 0 h 914400"/>
                  <a:gd name="connsiteX1" fmla="*/ 1596857 w 1828800"/>
                  <a:gd name="connsiteY1" fmla="*/ 0 h 914400"/>
                  <a:gd name="connsiteX2" fmla="*/ 1828800 w 1828800"/>
                  <a:gd name="connsiteY2" fmla="*/ 457200 h 914400"/>
                  <a:gd name="connsiteX3" fmla="*/ 1596857 w 1828800"/>
                  <a:gd name="connsiteY3" fmla="*/ 914400 h 914400"/>
                  <a:gd name="connsiteX4" fmla="*/ 0 w 1828800"/>
                  <a:gd name="connsiteY4" fmla="*/ 914400 h 914400"/>
                  <a:gd name="connsiteX5" fmla="*/ 185555 w 1828800"/>
                  <a:gd name="connsiteY5" fmla="*/ 457203 h 914400"/>
                  <a:gd name="connsiteX0" fmla="*/ 0 w 1828800"/>
                  <a:gd name="connsiteY0" fmla="*/ 0 h 914400"/>
                  <a:gd name="connsiteX1" fmla="*/ 1643245 w 1828800"/>
                  <a:gd name="connsiteY1" fmla="*/ 0 h 914400"/>
                  <a:gd name="connsiteX2" fmla="*/ 1828800 w 1828800"/>
                  <a:gd name="connsiteY2" fmla="*/ 457200 h 914400"/>
                  <a:gd name="connsiteX3" fmla="*/ 1596857 w 1828800"/>
                  <a:gd name="connsiteY3" fmla="*/ 914400 h 914400"/>
                  <a:gd name="connsiteX4" fmla="*/ 0 w 1828800"/>
                  <a:gd name="connsiteY4" fmla="*/ 914400 h 914400"/>
                  <a:gd name="connsiteX5" fmla="*/ 185555 w 1828800"/>
                  <a:gd name="connsiteY5" fmla="*/ 457203 h 914400"/>
                  <a:gd name="connsiteX0" fmla="*/ 0 w 1828800"/>
                  <a:gd name="connsiteY0" fmla="*/ 0 h 914400"/>
                  <a:gd name="connsiteX1" fmla="*/ 1643245 w 1828800"/>
                  <a:gd name="connsiteY1" fmla="*/ 0 h 914400"/>
                  <a:gd name="connsiteX2" fmla="*/ 1828800 w 1828800"/>
                  <a:gd name="connsiteY2" fmla="*/ 457200 h 914400"/>
                  <a:gd name="connsiteX3" fmla="*/ 1643245 w 1828800"/>
                  <a:gd name="connsiteY3" fmla="*/ 914400 h 914400"/>
                  <a:gd name="connsiteX4" fmla="*/ 0 w 1828800"/>
                  <a:gd name="connsiteY4" fmla="*/ 914400 h 914400"/>
                  <a:gd name="connsiteX5" fmla="*/ 185555 w 1828800"/>
                  <a:gd name="connsiteY5" fmla="*/ 457203 h 914400"/>
                  <a:gd name="connsiteX0" fmla="*/ 0 w 1828800"/>
                  <a:gd name="connsiteY0" fmla="*/ 0 h 914400"/>
                  <a:gd name="connsiteX1" fmla="*/ 1643245 w 1828800"/>
                  <a:gd name="connsiteY1" fmla="*/ 0 h 914400"/>
                  <a:gd name="connsiteX2" fmla="*/ 1828800 w 1828800"/>
                  <a:gd name="connsiteY2" fmla="*/ 457200 h 914400"/>
                  <a:gd name="connsiteX3" fmla="*/ 1643245 w 1828800"/>
                  <a:gd name="connsiteY3" fmla="*/ 914400 h 914400"/>
                  <a:gd name="connsiteX4" fmla="*/ 0 w 1828800"/>
                  <a:gd name="connsiteY4" fmla="*/ 914400 h 914400"/>
                  <a:gd name="connsiteX5" fmla="*/ 231943 w 1828800"/>
                  <a:gd name="connsiteY5" fmla="*/ 457203 h 914400"/>
                  <a:gd name="connsiteX0" fmla="*/ 0 w 1828800"/>
                  <a:gd name="connsiteY0" fmla="*/ 0 h 914400"/>
                  <a:gd name="connsiteX1" fmla="*/ 1596857 w 1828800"/>
                  <a:gd name="connsiteY1" fmla="*/ 0 h 914400"/>
                  <a:gd name="connsiteX2" fmla="*/ 1828800 w 1828800"/>
                  <a:gd name="connsiteY2" fmla="*/ 457200 h 914400"/>
                  <a:gd name="connsiteX3" fmla="*/ 1643245 w 1828800"/>
                  <a:gd name="connsiteY3" fmla="*/ 914400 h 914400"/>
                  <a:gd name="connsiteX4" fmla="*/ 0 w 1828800"/>
                  <a:gd name="connsiteY4" fmla="*/ 914400 h 914400"/>
                  <a:gd name="connsiteX5" fmla="*/ 231943 w 1828800"/>
                  <a:gd name="connsiteY5" fmla="*/ 457203 h 914400"/>
                  <a:gd name="connsiteX0" fmla="*/ 0 w 1828800"/>
                  <a:gd name="connsiteY0" fmla="*/ 0 h 914400"/>
                  <a:gd name="connsiteX1" fmla="*/ 1596857 w 1828800"/>
                  <a:gd name="connsiteY1" fmla="*/ 0 h 914400"/>
                  <a:gd name="connsiteX2" fmla="*/ 1828800 w 1828800"/>
                  <a:gd name="connsiteY2" fmla="*/ 457200 h 914400"/>
                  <a:gd name="connsiteX3" fmla="*/ 1596857 w 1828800"/>
                  <a:gd name="connsiteY3" fmla="*/ 914400 h 914400"/>
                  <a:gd name="connsiteX4" fmla="*/ 0 w 1828800"/>
                  <a:gd name="connsiteY4" fmla="*/ 914400 h 914400"/>
                  <a:gd name="connsiteX5" fmla="*/ 231943 w 1828800"/>
                  <a:gd name="connsiteY5" fmla="*/ 457203 h 914400"/>
                  <a:gd name="connsiteX0" fmla="*/ 0 w 1828800"/>
                  <a:gd name="connsiteY0" fmla="*/ 0 h 914400"/>
                  <a:gd name="connsiteX1" fmla="*/ 1596857 w 1828800"/>
                  <a:gd name="connsiteY1" fmla="*/ 0 h 914400"/>
                  <a:gd name="connsiteX2" fmla="*/ 1828800 w 1828800"/>
                  <a:gd name="connsiteY2" fmla="*/ 457200 h 914400"/>
                  <a:gd name="connsiteX3" fmla="*/ 1596857 w 1828800"/>
                  <a:gd name="connsiteY3" fmla="*/ 914400 h 914400"/>
                  <a:gd name="connsiteX4" fmla="*/ 0 w 1828800"/>
                  <a:gd name="connsiteY4" fmla="*/ 914400 h 914400"/>
                  <a:gd name="connsiteX5" fmla="*/ 104882 w 1828800"/>
                  <a:gd name="connsiteY5" fmla="*/ 457203 h 914400"/>
                  <a:gd name="connsiteX0" fmla="*/ 0 w 1828800"/>
                  <a:gd name="connsiteY0" fmla="*/ 0 h 914400"/>
                  <a:gd name="connsiteX1" fmla="*/ 1723920 w 1828800"/>
                  <a:gd name="connsiteY1" fmla="*/ 0 h 914400"/>
                  <a:gd name="connsiteX2" fmla="*/ 1828800 w 1828800"/>
                  <a:gd name="connsiteY2" fmla="*/ 457200 h 914400"/>
                  <a:gd name="connsiteX3" fmla="*/ 1596857 w 1828800"/>
                  <a:gd name="connsiteY3" fmla="*/ 914400 h 914400"/>
                  <a:gd name="connsiteX4" fmla="*/ 0 w 1828800"/>
                  <a:gd name="connsiteY4" fmla="*/ 914400 h 914400"/>
                  <a:gd name="connsiteX5" fmla="*/ 104882 w 1828800"/>
                  <a:gd name="connsiteY5" fmla="*/ 457203 h 914400"/>
                  <a:gd name="connsiteX0" fmla="*/ 0 w 1828800"/>
                  <a:gd name="connsiteY0" fmla="*/ 0 h 914400"/>
                  <a:gd name="connsiteX1" fmla="*/ 1723920 w 1828800"/>
                  <a:gd name="connsiteY1" fmla="*/ 0 h 914400"/>
                  <a:gd name="connsiteX2" fmla="*/ 1828800 w 1828800"/>
                  <a:gd name="connsiteY2" fmla="*/ 457200 h 914400"/>
                  <a:gd name="connsiteX3" fmla="*/ 1723920 w 1828800"/>
                  <a:gd name="connsiteY3" fmla="*/ 914400 h 914400"/>
                  <a:gd name="connsiteX4" fmla="*/ 0 w 1828800"/>
                  <a:gd name="connsiteY4" fmla="*/ 914400 h 914400"/>
                  <a:gd name="connsiteX5" fmla="*/ 104882 w 1828800"/>
                  <a:gd name="connsiteY5" fmla="*/ 457203 h 914400"/>
                  <a:gd name="connsiteX0" fmla="*/ 0 w 1828800"/>
                  <a:gd name="connsiteY0" fmla="*/ 0 h 914400"/>
                  <a:gd name="connsiteX1" fmla="*/ 1723920 w 1828800"/>
                  <a:gd name="connsiteY1" fmla="*/ 0 h 914400"/>
                  <a:gd name="connsiteX2" fmla="*/ 1828800 w 1828800"/>
                  <a:gd name="connsiteY2" fmla="*/ 457200 h 914400"/>
                  <a:gd name="connsiteX3" fmla="*/ 1723920 w 1828800"/>
                  <a:gd name="connsiteY3" fmla="*/ 914400 h 914400"/>
                  <a:gd name="connsiteX4" fmla="*/ 0 w 1828800"/>
                  <a:gd name="connsiteY4" fmla="*/ 914400 h 914400"/>
                  <a:gd name="connsiteX5" fmla="*/ 131102 w 1828800"/>
                  <a:gd name="connsiteY5" fmla="*/ 457203 h 914400"/>
                  <a:gd name="connsiteX0" fmla="*/ 0 w 1828800"/>
                  <a:gd name="connsiteY0" fmla="*/ 0 h 914400"/>
                  <a:gd name="connsiteX1" fmla="*/ 1697698 w 1828800"/>
                  <a:gd name="connsiteY1" fmla="*/ 0 h 914400"/>
                  <a:gd name="connsiteX2" fmla="*/ 1828800 w 1828800"/>
                  <a:gd name="connsiteY2" fmla="*/ 457200 h 914400"/>
                  <a:gd name="connsiteX3" fmla="*/ 1723920 w 1828800"/>
                  <a:gd name="connsiteY3" fmla="*/ 914400 h 914400"/>
                  <a:gd name="connsiteX4" fmla="*/ 0 w 1828800"/>
                  <a:gd name="connsiteY4" fmla="*/ 914400 h 914400"/>
                  <a:gd name="connsiteX5" fmla="*/ 131102 w 1828800"/>
                  <a:gd name="connsiteY5" fmla="*/ 457203 h 914400"/>
                  <a:gd name="connsiteX0" fmla="*/ 0 w 1828800"/>
                  <a:gd name="connsiteY0" fmla="*/ 0 h 914400"/>
                  <a:gd name="connsiteX1" fmla="*/ 1697698 w 1828800"/>
                  <a:gd name="connsiteY1" fmla="*/ 0 h 914400"/>
                  <a:gd name="connsiteX2" fmla="*/ 1828800 w 1828800"/>
                  <a:gd name="connsiteY2" fmla="*/ 457200 h 914400"/>
                  <a:gd name="connsiteX3" fmla="*/ 1697698 w 1828800"/>
                  <a:gd name="connsiteY3" fmla="*/ 914400 h 914400"/>
                  <a:gd name="connsiteX4" fmla="*/ 0 w 1828800"/>
                  <a:gd name="connsiteY4" fmla="*/ 914400 h 914400"/>
                  <a:gd name="connsiteX5" fmla="*/ 131102 w 1828800"/>
                  <a:gd name="connsiteY5" fmla="*/ 457203 h 914400"/>
                  <a:gd name="connsiteX0" fmla="*/ 0 w 1828800"/>
                  <a:gd name="connsiteY0" fmla="*/ 0 h 914400"/>
                  <a:gd name="connsiteX1" fmla="*/ 1697698 w 1828800"/>
                  <a:gd name="connsiteY1" fmla="*/ 0 h 914400"/>
                  <a:gd name="connsiteX2" fmla="*/ 1828800 w 1828800"/>
                  <a:gd name="connsiteY2" fmla="*/ 457200 h 914400"/>
                  <a:gd name="connsiteX3" fmla="*/ 1697698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97698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3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3 w 1828800"/>
                  <a:gd name="connsiteY1" fmla="*/ 0 h 914400"/>
                  <a:gd name="connsiteX2" fmla="*/ 1828800 w 1828800"/>
                  <a:gd name="connsiteY2" fmla="*/ 457200 h 914400"/>
                  <a:gd name="connsiteX3" fmla="*/ 1654303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3 w 1828800"/>
                  <a:gd name="connsiteY1" fmla="*/ 0 h 914400"/>
                  <a:gd name="connsiteX2" fmla="*/ 1828800 w 1828800"/>
                  <a:gd name="connsiteY2" fmla="*/ 457200 h 914400"/>
                  <a:gd name="connsiteX3" fmla="*/ 1654303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54303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3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3 w 1828800"/>
                  <a:gd name="connsiteY1" fmla="*/ 0 h 914400"/>
                  <a:gd name="connsiteX2" fmla="*/ 1828800 w 1828800"/>
                  <a:gd name="connsiteY2" fmla="*/ 457200 h 914400"/>
                  <a:gd name="connsiteX3" fmla="*/ 1654303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3 w 1828800"/>
                  <a:gd name="connsiteY1" fmla="*/ 0 h 914400"/>
                  <a:gd name="connsiteX2" fmla="*/ 1828800 w 1828800"/>
                  <a:gd name="connsiteY2" fmla="*/ 457200 h 914400"/>
                  <a:gd name="connsiteX3" fmla="*/ 1654303 w 1828800"/>
                  <a:gd name="connsiteY3" fmla="*/ 914400 h 914400"/>
                  <a:gd name="connsiteX4" fmla="*/ 0 w 1828800"/>
                  <a:gd name="connsiteY4" fmla="*/ 914400 h 914400"/>
                  <a:gd name="connsiteX5" fmla="*/ 174496 w 1828800"/>
                  <a:gd name="connsiteY5" fmla="*/ 457204 h 914400"/>
                  <a:gd name="connsiteX0" fmla="*/ 0 w 1828800"/>
                  <a:gd name="connsiteY0" fmla="*/ 0 h 914400"/>
                  <a:gd name="connsiteX1" fmla="*/ 1654303 w 1828800"/>
                  <a:gd name="connsiteY1" fmla="*/ 0 h 914400"/>
                  <a:gd name="connsiteX2" fmla="*/ 1828800 w 1828800"/>
                  <a:gd name="connsiteY2" fmla="*/ 457200 h 914400"/>
                  <a:gd name="connsiteX3" fmla="*/ 1654303 w 1828800"/>
                  <a:gd name="connsiteY3" fmla="*/ 914400 h 914400"/>
                  <a:gd name="connsiteX4" fmla="*/ 0 w 1828800"/>
                  <a:gd name="connsiteY4" fmla="*/ 914400 h 914400"/>
                  <a:gd name="connsiteX5" fmla="*/ 174496 w 1828800"/>
                  <a:gd name="connsiteY5" fmla="*/ 457204 h 914400"/>
                  <a:gd name="connsiteX0" fmla="*/ 0 w 1828800"/>
                  <a:gd name="connsiteY0" fmla="*/ 0 h 914400"/>
                  <a:gd name="connsiteX1" fmla="*/ 1654303 w 1828800"/>
                  <a:gd name="connsiteY1" fmla="*/ 0 h 914400"/>
                  <a:gd name="connsiteX2" fmla="*/ 1828800 w 1828800"/>
                  <a:gd name="connsiteY2" fmla="*/ 457200 h 914400"/>
                  <a:gd name="connsiteX3" fmla="*/ 1654303 w 1828800"/>
                  <a:gd name="connsiteY3" fmla="*/ 914400 h 914400"/>
                  <a:gd name="connsiteX4" fmla="*/ 0 w 1828800"/>
                  <a:gd name="connsiteY4" fmla="*/ 914400 h 914400"/>
                  <a:gd name="connsiteX5" fmla="*/ 174496 w 1828800"/>
                  <a:gd name="connsiteY5" fmla="*/ 457204 h 914400"/>
                  <a:gd name="connsiteX0" fmla="*/ 0 w 1828800"/>
                  <a:gd name="connsiteY0" fmla="*/ 0 h 914400"/>
                  <a:gd name="connsiteX1" fmla="*/ 1654303 w 1828800"/>
                  <a:gd name="connsiteY1" fmla="*/ 0 h 914400"/>
                  <a:gd name="connsiteX2" fmla="*/ 1828800 w 1828800"/>
                  <a:gd name="connsiteY2" fmla="*/ 457200 h 914400"/>
                  <a:gd name="connsiteX3" fmla="*/ 1654303 w 1828800"/>
                  <a:gd name="connsiteY3" fmla="*/ 914400 h 914400"/>
                  <a:gd name="connsiteX4" fmla="*/ 0 w 1828800"/>
                  <a:gd name="connsiteY4" fmla="*/ 914400 h 914400"/>
                  <a:gd name="connsiteX5" fmla="*/ 201737 w 1828800"/>
                  <a:gd name="connsiteY5" fmla="*/ 457204 h 914400"/>
                  <a:gd name="connsiteX0" fmla="*/ 0 w 1828800"/>
                  <a:gd name="connsiteY0" fmla="*/ 0 h 914400"/>
                  <a:gd name="connsiteX1" fmla="*/ 1627063 w 1828800"/>
                  <a:gd name="connsiteY1" fmla="*/ 0 h 914400"/>
                  <a:gd name="connsiteX2" fmla="*/ 1828800 w 1828800"/>
                  <a:gd name="connsiteY2" fmla="*/ 457200 h 914400"/>
                  <a:gd name="connsiteX3" fmla="*/ 1654303 w 1828800"/>
                  <a:gd name="connsiteY3" fmla="*/ 914400 h 914400"/>
                  <a:gd name="connsiteX4" fmla="*/ 0 w 1828800"/>
                  <a:gd name="connsiteY4" fmla="*/ 914400 h 914400"/>
                  <a:gd name="connsiteX5" fmla="*/ 201737 w 1828800"/>
                  <a:gd name="connsiteY5" fmla="*/ 457204 h 914400"/>
                  <a:gd name="connsiteX0" fmla="*/ 0 w 1828800"/>
                  <a:gd name="connsiteY0" fmla="*/ 0 h 914400"/>
                  <a:gd name="connsiteX1" fmla="*/ 1627063 w 1828800"/>
                  <a:gd name="connsiteY1" fmla="*/ 0 h 914400"/>
                  <a:gd name="connsiteX2" fmla="*/ 1828800 w 1828800"/>
                  <a:gd name="connsiteY2" fmla="*/ 457200 h 914400"/>
                  <a:gd name="connsiteX3" fmla="*/ 1627063 w 1828800"/>
                  <a:gd name="connsiteY3" fmla="*/ 914400 h 914400"/>
                  <a:gd name="connsiteX4" fmla="*/ 0 w 1828800"/>
                  <a:gd name="connsiteY4" fmla="*/ 914400 h 914400"/>
                  <a:gd name="connsiteX5" fmla="*/ 201737 w 1828800"/>
                  <a:gd name="connsiteY5" fmla="*/ 457204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27063" y="0"/>
                    </a:lnTo>
                    <a:lnTo>
                      <a:pt x="1828800" y="457200"/>
                    </a:lnTo>
                    <a:lnTo>
                      <a:pt x="1627063" y="914400"/>
                    </a:lnTo>
                    <a:lnTo>
                      <a:pt x="0" y="914400"/>
                    </a:lnTo>
                    <a:lnTo>
                      <a:pt x="201737" y="457204"/>
                    </a:lnTo>
                    <a:close/>
                  </a:path>
                </a:pathLst>
              </a:cu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400" fontAlgn="base">
                  <a:spcBef>
                    <a:spcPct val="0"/>
                  </a:spcBef>
                  <a:spcAft>
                    <a:spcPct val="0"/>
                  </a:spcAft>
                </a:pPr>
                <a:endParaRPr lang="en-US" sz="800" dirty="0">
                  <a:solidFill>
                    <a:srgbClr val="000000"/>
                  </a:solidFill>
                </a:endParaRPr>
              </a:p>
            </p:txBody>
          </p:sp>
          <p:sp>
            <p:nvSpPr>
              <p:cNvPr id="105" name="TextBox 104"/>
              <p:cNvSpPr txBox="1"/>
              <p:nvPr>
                <p:custDataLst>
                  <p:tags r:id="rId23"/>
                </p:custDataLst>
              </p:nvPr>
            </p:nvSpPr>
            <p:spPr>
              <a:xfrm>
                <a:off x="3687094" y="1390642"/>
                <a:ext cx="678563" cy="49385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800" b="1" dirty="0">
                    <a:solidFill>
                      <a:srgbClr val="01632F"/>
                    </a:solidFill>
                  </a:rPr>
                  <a:t>Infrastructure</a:t>
                </a:r>
              </a:p>
            </p:txBody>
          </p:sp>
        </p:grpSp>
        <p:grpSp>
          <p:nvGrpSpPr>
            <p:cNvPr id="64" name="Group 63"/>
            <p:cNvGrpSpPr/>
            <p:nvPr>
              <p:custDataLst>
                <p:tags r:id="rId10"/>
              </p:custDataLst>
            </p:nvPr>
          </p:nvGrpSpPr>
          <p:grpSpPr>
            <a:xfrm>
              <a:off x="4502214" y="990926"/>
              <a:ext cx="935828" cy="573511"/>
              <a:chOff x="4419441" y="1350816"/>
              <a:chExt cx="935828" cy="573511"/>
            </a:xfrm>
          </p:grpSpPr>
          <p:sp>
            <p:nvSpPr>
              <p:cNvPr id="110" name="Freeform 109"/>
              <p:cNvSpPr/>
              <p:nvPr>
                <p:custDataLst>
                  <p:tags r:id="rId20"/>
                </p:custDataLst>
              </p:nvPr>
            </p:nvSpPr>
            <p:spPr>
              <a:xfrm>
                <a:off x="4419441" y="1350816"/>
                <a:ext cx="935828" cy="57351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44842 w 1828800"/>
                  <a:gd name="connsiteY5" fmla="*/ 457201 h 914400"/>
                  <a:gd name="connsiteX0" fmla="*/ 0 w 1828800"/>
                  <a:gd name="connsiteY0" fmla="*/ 0 h 914400"/>
                  <a:gd name="connsiteX1" fmla="*/ 168395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44842 w 1828800"/>
                  <a:gd name="connsiteY5" fmla="*/ 457201 h 914400"/>
                  <a:gd name="connsiteX0" fmla="*/ 0 w 1828800"/>
                  <a:gd name="connsiteY0" fmla="*/ 0 h 914400"/>
                  <a:gd name="connsiteX1" fmla="*/ 1683958 w 1828800"/>
                  <a:gd name="connsiteY1" fmla="*/ 0 h 914400"/>
                  <a:gd name="connsiteX2" fmla="*/ 1828800 w 1828800"/>
                  <a:gd name="connsiteY2" fmla="*/ 457200 h 914400"/>
                  <a:gd name="connsiteX3" fmla="*/ 1683958 w 1828800"/>
                  <a:gd name="connsiteY3" fmla="*/ 914400 h 914400"/>
                  <a:gd name="connsiteX4" fmla="*/ 0 w 1828800"/>
                  <a:gd name="connsiteY4" fmla="*/ 914400 h 914400"/>
                  <a:gd name="connsiteX5" fmla="*/ 144842 w 1828800"/>
                  <a:gd name="connsiteY5" fmla="*/ 457201 h 914400"/>
                  <a:gd name="connsiteX0" fmla="*/ 0 w 1828800"/>
                  <a:gd name="connsiteY0" fmla="*/ 0 h 914400"/>
                  <a:gd name="connsiteX1" fmla="*/ 1683958 w 1828800"/>
                  <a:gd name="connsiteY1" fmla="*/ 0 h 914400"/>
                  <a:gd name="connsiteX2" fmla="*/ 1828800 w 1828800"/>
                  <a:gd name="connsiteY2" fmla="*/ 457200 h 914400"/>
                  <a:gd name="connsiteX3" fmla="*/ 168395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8395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44841 w 1828800"/>
                  <a:gd name="connsiteY5" fmla="*/ 457202 h 914400"/>
                  <a:gd name="connsiteX0" fmla="*/ 0 w 1828800"/>
                  <a:gd name="connsiteY0" fmla="*/ 0 h 914400"/>
                  <a:gd name="connsiteX1" fmla="*/ 1683959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44841 w 1828800"/>
                  <a:gd name="connsiteY5" fmla="*/ 457202 h 914400"/>
                  <a:gd name="connsiteX0" fmla="*/ 0 w 1828800"/>
                  <a:gd name="connsiteY0" fmla="*/ 0 h 914400"/>
                  <a:gd name="connsiteX1" fmla="*/ 1683959 w 1828800"/>
                  <a:gd name="connsiteY1" fmla="*/ 0 h 914400"/>
                  <a:gd name="connsiteX2" fmla="*/ 1828800 w 1828800"/>
                  <a:gd name="connsiteY2" fmla="*/ 457200 h 914400"/>
                  <a:gd name="connsiteX3" fmla="*/ 1683959 w 1828800"/>
                  <a:gd name="connsiteY3" fmla="*/ 914400 h 914400"/>
                  <a:gd name="connsiteX4" fmla="*/ 0 w 1828800"/>
                  <a:gd name="connsiteY4" fmla="*/ 914400 h 914400"/>
                  <a:gd name="connsiteX5" fmla="*/ 144841 w 1828800"/>
                  <a:gd name="connsiteY5" fmla="*/ 457202 h 914400"/>
                  <a:gd name="connsiteX0" fmla="*/ 0 w 1828800"/>
                  <a:gd name="connsiteY0" fmla="*/ 0 h 914400"/>
                  <a:gd name="connsiteX1" fmla="*/ 1683959 w 1828800"/>
                  <a:gd name="connsiteY1" fmla="*/ 0 h 914400"/>
                  <a:gd name="connsiteX2" fmla="*/ 1828800 w 1828800"/>
                  <a:gd name="connsiteY2" fmla="*/ 457200 h 914400"/>
                  <a:gd name="connsiteX3" fmla="*/ 1683959 w 1828800"/>
                  <a:gd name="connsiteY3" fmla="*/ 914400 h 914400"/>
                  <a:gd name="connsiteX4" fmla="*/ 0 w 1828800"/>
                  <a:gd name="connsiteY4" fmla="*/ 914400 h 914400"/>
                  <a:gd name="connsiteX5" fmla="*/ 181052 w 1828800"/>
                  <a:gd name="connsiteY5" fmla="*/ 457202 h 914400"/>
                  <a:gd name="connsiteX0" fmla="*/ 0 w 1828800"/>
                  <a:gd name="connsiteY0" fmla="*/ 0 h 914400"/>
                  <a:gd name="connsiteX1" fmla="*/ 1647748 w 1828800"/>
                  <a:gd name="connsiteY1" fmla="*/ 0 h 914400"/>
                  <a:gd name="connsiteX2" fmla="*/ 1828800 w 1828800"/>
                  <a:gd name="connsiteY2" fmla="*/ 457200 h 914400"/>
                  <a:gd name="connsiteX3" fmla="*/ 1683959 w 1828800"/>
                  <a:gd name="connsiteY3" fmla="*/ 914400 h 914400"/>
                  <a:gd name="connsiteX4" fmla="*/ 0 w 1828800"/>
                  <a:gd name="connsiteY4" fmla="*/ 914400 h 914400"/>
                  <a:gd name="connsiteX5" fmla="*/ 181052 w 1828800"/>
                  <a:gd name="connsiteY5" fmla="*/ 457202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81052 w 1828800"/>
                  <a:gd name="connsiteY5" fmla="*/ 457202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21595 w 1828800"/>
                  <a:gd name="connsiteY5" fmla="*/ 457203 h 914400"/>
                  <a:gd name="connsiteX0" fmla="*/ 0 w 1828800"/>
                  <a:gd name="connsiteY0" fmla="*/ 0 h 914400"/>
                  <a:gd name="connsiteX1" fmla="*/ 1707207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21595 w 1828800"/>
                  <a:gd name="connsiteY5" fmla="*/ 457203 h 914400"/>
                  <a:gd name="connsiteX0" fmla="*/ 0 w 1828800"/>
                  <a:gd name="connsiteY0" fmla="*/ 0 h 914400"/>
                  <a:gd name="connsiteX1" fmla="*/ 1707207 w 1828800"/>
                  <a:gd name="connsiteY1" fmla="*/ 0 h 914400"/>
                  <a:gd name="connsiteX2" fmla="*/ 1828800 w 1828800"/>
                  <a:gd name="connsiteY2" fmla="*/ 457200 h 914400"/>
                  <a:gd name="connsiteX3" fmla="*/ 1707207 w 1828800"/>
                  <a:gd name="connsiteY3" fmla="*/ 914400 h 914400"/>
                  <a:gd name="connsiteX4" fmla="*/ 0 w 1828800"/>
                  <a:gd name="connsiteY4" fmla="*/ 914400 h 914400"/>
                  <a:gd name="connsiteX5" fmla="*/ 121595 w 1828800"/>
                  <a:gd name="connsiteY5" fmla="*/ 457203 h 914400"/>
                  <a:gd name="connsiteX0" fmla="*/ 0 w 1828800"/>
                  <a:gd name="connsiteY0" fmla="*/ 0 h 914400"/>
                  <a:gd name="connsiteX1" fmla="*/ 1707207 w 1828800"/>
                  <a:gd name="connsiteY1" fmla="*/ 0 h 914400"/>
                  <a:gd name="connsiteX2" fmla="*/ 1828800 w 1828800"/>
                  <a:gd name="connsiteY2" fmla="*/ 457200 h 914400"/>
                  <a:gd name="connsiteX3" fmla="*/ 1707207 w 1828800"/>
                  <a:gd name="connsiteY3" fmla="*/ 914400 h 914400"/>
                  <a:gd name="connsiteX4" fmla="*/ 0 w 1828800"/>
                  <a:gd name="connsiteY4" fmla="*/ 914400 h 914400"/>
                  <a:gd name="connsiteX5" fmla="*/ 151993 w 1828800"/>
                  <a:gd name="connsiteY5" fmla="*/ 457203 h 914400"/>
                  <a:gd name="connsiteX0" fmla="*/ 0 w 1828800"/>
                  <a:gd name="connsiteY0" fmla="*/ 0 h 914400"/>
                  <a:gd name="connsiteX1" fmla="*/ 1676809 w 1828800"/>
                  <a:gd name="connsiteY1" fmla="*/ 0 h 914400"/>
                  <a:gd name="connsiteX2" fmla="*/ 1828800 w 1828800"/>
                  <a:gd name="connsiteY2" fmla="*/ 457200 h 914400"/>
                  <a:gd name="connsiteX3" fmla="*/ 1707207 w 1828800"/>
                  <a:gd name="connsiteY3" fmla="*/ 914400 h 914400"/>
                  <a:gd name="connsiteX4" fmla="*/ 0 w 1828800"/>
                  <a:gd name="connsiteY4" fmla="*/ 914400 h 914400"/>
                  <a:gd name="connsiteX5" fmla="*/ 151993 w 1828800"/>
                  <a:gd name="connsiteY5" fmla="*/ 457203 h 914400"/>
                  <a:gd name="connsiteX0" fmla="*/ 0 w 1828800"/>
                  <a:gd name="connsiteY0" fmla="*/ 0 h 914400"/>
                  <a:gd name="connsiteX1" fmla="*/ 1676809 w 1828800"/>
                  <a:gd name="connsiteY1" fmla="*/ 0 h 914400"/>
                  <a:gd name="connsiteX2" fmla="*/ 1828800 w 1828800"/>
                  <a:gd name="connsiteY2" fmla="*/ 457200 h 914400"/>
                  <a:gd name="connsiteX3" fmla="*/ 1676809 w 1828800"/>
                  <a:gd name="connsiteY3" fmla="*/ 914400 h 914400"/>
                  <a:gd name="connsiteX4" fmla="*/ 0 w 1828800"/>
                  <a:gd name="connsiteY4" fmla="*/ 914400 h 914400"/>
                  <a:gd name="connsiteX5" fmla="*/ 151993 w 1828800"/>
                  <a:gd name="connsiteY5" fmla="*/ 457203 h 914400"/>
                  <a:gd name="connsiteX0" fmla="*/ 0 w 1828800"/>
                  <a:gd name="connsiteY0" fmla="*/ 0 h 914400"/>
                  <a:gd name="connsiteX1" fmla="*/ 1676809 w 1828800"/>
                  <a:gd name="connsiteY1" fmla="*/ 0 h 914400"/>
                  <a:gd name="connsiteX2" fmla="*/ 1828800 w 1828800"/>
                  <a:gd name="connsiteY2" fmla="*/ 457200 h 914400"/>
                  <a:gd name="connsiteX3" fmla="*/ 1676809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76809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162739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162739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162739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179013 w 1828800"/>
                  <a:gd name="connsiteY5" fmla="*/ 457204 h 914400"/>
                  <a:gd name="connsiteX0" fmla="*/ 0 w 1828800"/>
                  <a:gd name="connsiteY0" fmla="*/ 0 h 914400"/>
                  <a:gd name="connsiteX1" fmla="*/ 1649789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179013 w 1828800"/>
                  <a:gd name="connsiteY5" fmla="*/ 457204 h 914400"/>
                  <a:gd name="connsiteX0" fmla="*/ 0 w 1828800"/>
                  <a:gd name="connsiteY0" fmla="*/ 0 h 914400"/>
                  <a:gd name="connsiteX1" fmla="*/ 1649789 w 1828800"/>
                  <a:gd name="connsiteY1" fmla="*/ 0 h 914400"/>
                  <a:gd name="connsiteX2" fmla="*/ 1828800 w 1828800"/>
                  <a:gd name="connsiteY2" fmla="*/ 457200 h 914400"/>
                  <a:gd name="connsiteX3" fmla="*/ 1649789 w 1828800"/>
                  <a:gd name="connsiteY3" fmla="*/ 914400 h 914400"/>
                  <a:gd name="connsiteX4" fmla="*/ 0 w 1828800"/>
                  <a:gd name="connsiteY4" fmla="*/ 914400 h 914400"/>
                  <a:gd name="connsiteX5" fmla="*/ 179013 w 1828800"/>
                  <a:gd name="connsiteY5" fmla="*/ 457204 h 914400"/>
                  <a:gd name="connsiteX0" fmla="*/ 0 w 1828800"/>
                  <a:gd name="connsiteY0" fmla="*/ 0 h 914400"/>
                  <a:gd name="connsiteX1" fmla="*/ 1649789 w 1828800"/>
                  <a:gd name="connsiteY1" fmla="*/ 0 h 914400"/>
                  <a:gd name="connsiteX2" fmla="*/ 1828800 w 1828800"/>
                  <a:gd name="connsiteY2" fmla="*/ 457200 h 914400"/>
                  <a:gd name="connsiteX3" fmla="*/ 1649789 w 1828800"/>
                  <a:gd name="connsiteY3" fmla="*/ 914400 h 914400"/>
                  <a:gd name="connsiteX4" fmla="*/ 0 w 1828800"/>
                  <a:gd name="connsiteY4" fmla="*/ 914400 h 914400"/>
                  <a:gd name="connsiteX5" fmla="*/ 223766 w 1828800"/>
                  <a:gd name="connsiteY5" fmla="*/ 457204 h 914400"/>
                  <a:gd name="connsiteX0" fmla="*/ 0 w 1828800"/>
                  <a:gd name="connsiteY0" fmla="*/ 0 h 914400"/>
                  <a:gd name="connsiteX1" fmla="*/ 1605036 w 1828800"/>
                  <a:gd name="connsiteY1" fmla="*/ 0 h 914400"/>
                  <a:gd name="connsiteX2" fmla="*/ 1828800 w 1828800"/>
                  <a:gd name="connsiteY2" fmla="*/ 457200 h 914400"/>
                  <a:gd name="connsiteX3" fmla="*/ 1649789 w 1828800"/>
                  <a:gd name="connsiteY3" fmla="*/ 914400 h 914400"/>
                  <a:gd name="connsiteX4" fmla="*/ 0 w 1828800"/>
                  <a:gd name="connsiteY4" fmla="*/ 914400 h 914400"/>
                  <a:gd name="connsiteX5" fmla="*/ 223766 w 1828800"/>
                  <a:gd name="connsiteY5" fmla="*/ 457204 h 914400"/>
                  <a:gd name="connsiteX0" fmla="*/ 0 w 1828800"/>
                  <a:gd name="connsiteY0" fmla="*/ 0 h 914400"/>
                  <a:gd name="connsiteX1" fmla="*/ 1605036 w 1828800"/>
                  <a:gd name="connsiteY1" fmla="*/ 0 h 914400"/>
                  <a:gd name="connsiteX2" fmla="*/ 1828800 w 1828800"/>
                  <a:gd name="connsiteY2" fmla="*/ 457200 h 914400"/>
                  <a:gd name="connsiteX3" fmla="*/ 1605036 w 1828800"/>
                  <a:gd name="connsiteY3" fmla="*/ 914400 h 914400"/>
                  <a:gd name="connsiteX4" fmla="*/ 0 w 1828800"/>
                  <a:gd name="connsiteY4" fmla="*/ 914400 h 914400"/>
                  <a:gd name="connsiteX5" fmla="*/ 223766 w 1828800"/>
                  <a:gd name="connsiteY5" fmla="*/ 457204 h 914400"/>
                  <a:gd name="connsiteX0" fmla="*/ 0 w 1828800"/>
                  <a:gd name="connsiteY0" fmla="*/ 0 h 914400"/>
                  <a:gd name="connsiteX1" fmla="*/ 1605036 w 1828800"/>
                  <a:gd name="connsiteY1" fmla="*/ 0 h 914400"/>
                  <a:gd name="connsiteX2" fmla="*/ 1828800 w 1828800"/>
                  <a:gd name="connsiteY2" fmla="*/ 457200 h 914400"/>
                  <a:gd name="connsiteX3" fmla="*/ 1605036 w 1828800"/>
                  <a:gd name="connsiteY3" fmla="*/ 914400 h 914400"/>
                  <a:gd name="connsiteX4" fmla="*/ 0 w 1828800"/>
                  <a:gd name="connsiteY4" fmla="*/ 914400 h 914400"/>
                  <a:gd name="connsiteX5" fmla="*/ 145146 w 1828800"/>
                  <a:gd name="connsiteY5" fmla="*/ 457204 h 914400"/>
                  <a:gd name="connsiteX0" fmla="*/ 0 w 1828800"/>
                  <a:gd name="connsiteY0" fmla="*/ 0 h 914400"/>
                  <a:gd name="connsiteX1" fmla="*/ 1683654 w 1828800"/>
                  <a:gd name="connsiteY1" fmla="*/ 0 h 914400"/>
                  <a:gd name="connsiteX2" fmla="*/ 1828800 w 1828800"/>
                  <a:gd name="connsiteY2" fmla="*/ 457200 h 914400"/>
                  <a:gd name="connsiteX3" fmla="*/ 1605036 w 1828800"/>
                  <a:gd name="connsiteY3" fmla="*/ 914400 h 914400"/>
                  <a:gd name="connsiteX4" fmla="*/ 0 w 1828800"/>
                  <a:gd name="connsiteY4" fmla="*/ 914400 h 914400"/>
                  <a:gd name="connsiteX5" fmla="*/ 145146 w 1828800"/>
                  <a:gd name="connsiteY5" fmla="*/ 457204 h 914400"/>
                  <a:gd name="connsiteX0" fmla="*/ 0 w 1828800"/>
                  <a:gd name="connsiteY0" fmla="*/ 0 h 914400"/>
                  <a:gd name="connsiteX1" fmla="*/ 1683654 w 1828800"/>
                  <a:gd name="connsiteY1" fmla="*/ 0 h 914400"/>
                  <a:gd name="connsiteX2" fmla="*/ 1828800 w 1828800"/>
                  <a:gd name="connsiteY2" fmla="*/ 457200 h 914400"/>
                  <a:gd name="connsiteX3" fmla="*/ 1683654 w 1828800"/>
                  <a:gd name="connsiteY3" fmla="*/ 914400 h 914400"/>
                  <a:gd name="connsiteX4" fmla="*/ 0 w 1828800"/>
                  <a:gd name="connsiteY4" fmla="*/ 914400 h 914400"/>
                  <a:gd name="connsiteX5" fmla="*/ 145146 w 1828800"/>
                  <a:gd name="connsiteY5" fmla="*/ 457204 h 914400"/>
                  <a:gd name="connsiteX0" fmla="*/ 0 w 1828800"/>
                  <a:gd name="connsiteY0" fmla="*/ 0 h 914400"/>
                  <a:gd name="connsiteX1" fmla="*/ 1683654 w 1828800"/>
                  <a:gd name="connsiteY1" fmla="*/ 0 h 914400"/>
                  <a:gd name="connsiteX2" fmla="*/ 1828800 w 1828800"/>
                  <a:gd name="connsiteY2" fmla="*/ 457200 h 914400"/>
                  <a:gd name="connsiteX3" fmla="*/ 1683654 w 1828800"/>
                  <a:gd name="connsiteY3" fmla="*/ 914400 h 914400"/>
                  <a:gd name="connsiteX4" fmla="*/ 0 w 1828800"/>
                  <a:gd name="connsiteY4" fmla="*/ 914400 h 914400"/>
                  <a:gd name="connsiteX5" fmla="*/ 181432 w 1828800"/>
                  <a:gd name="connsiteY5" fmla="*/ 457204 h 914400"/>
                  <a:gd name="connsiteX0" fmla="*/ 0 w 1828800"/>
                  <a:gd name="connsiteY0" fmla="*/ 0 h 914400"/>
                  <a:gd name="connsiteX1" fmla="*/ 1647368 w 1828800"/>
                  <a:gd name="connsiteY1" fmla="*/ 0 h 914400"/>
                  <a:gd name="connsiteX2" fmla="*/ 1828800 w 1828800"/>
                  <a:gd name="connsiteY2" fmla="*/ 457200 h 914400"/>
                  <a:gd name="connsiteX3" fmla="*/ 1683654 w 1828800"/>
                  <a:gd name="connsiteY3" fmla="*/ 914400 h 914400"/>
                  <a:gd name="connsiteX4" fmla="*/ 0 w 1828800"/>
                  <a:gd name="connsiteY4" fmla="*/ 914400 h 914400"/>
                  <a:gd name="connsiteX5" fmla="*/ 181432 w 1828800"/>
                  <a:gd name="connsiteY5" fmla="*/ 457204 h 914400"/>
                  <a:gd name="connsiteX0" fmla="*/ 0 w 1828800"/>
                  <a:gd name="connsiteY0" fmla="*/ 0 h 914400"/>
                  <a:gd name="connsiteX1" fmla="*/ 1647368 w 1828800"/>
                  <a:gd name="connsiteY1" fmla="*/ 0 h 914400"/>
                  <a:gd name="connsiteX2" fmla="*/ 1828800 w 1828800"/>
                  <a:gd name="connsiteY2" fmla="*/ 457200 h 914400"/>
                  <a:gd name="connsiteX3" fmla="*/ 1647368 w 1828800"/>
                  <a:gd name="connsiteY3" fmla="*/ 914400 h 914400"/>
                  <a:gd name="connsiteX4" fmla="*/ 0 w 1828800"/>
                  <a:gd name="connsiteY4" fmla="*/ 914400 h 914400"/>
                  <a:gd name="connsiteX5" fmla="*/ 181432 w 1828800"/>
                  <a:gd name="connsiteY5" fmla="*/ 457204 h 914400"/>
                  <a:gd name="connsiteX0" fmla="*/ 0 w 1828800"/>
                  <a:gd name="connsiteY0" fmla="*/ 0 h 914400"/>
                  <a:gd name="connsiteX1" fmla="*/ 1647368 w 1828800"/>
                  <a:gd name="connsiteY1" fmla="*/ 0 h 914400"/>
                  <a:gd name="connsiteX2" fmla="*/ 1828800 w 1828800"/>
                  <a:gd name="connsiteY2" fmla="*/ 457200 h 914400"/>
                  <a:gd name="connsiteX3" fmla="*/ 1647368 w 1828800"/>
                  <a:gd name="connsiteY3" fmla="*/ 914400 h 914400"/>
                  <a:gd name="connsiteX4" fmla="*/ 0 w 1828800"/>
                  <a:gd name="connsiteY4" fmla="*/ 914400 h 914400"/>
                  <a:gd name="connsiteX5" fmla="*/ 97133 w 1828800"/>
                  <a:gd name="connsiteY5" fmla="*/ 457203 h 914400"/>
                  <a:gd name="connsiteX0" fmla="*/ 0 w 1828800"/>
                  <a:gd name="connsiteY0" fmla="*/ 0 h 914400"/>
                  <a:gd name="connsiteX1" fmla="*/ 1731667 w 1828800"/>
                  <a:gd name="connsiteY1" fmla="*/ 0 h 914400"/>
                  <a:gd name="connsiteX2" fmla="*/ 1828800 w 1828800"/>
                  <a:gd name="connsiteY2" fmla="*/ 457200 h 914400"/>
                  <a:gd name="connsiteX3" fmla="*/ 1647368 w 1828800"/>
                  <a:gd name="connsiteY3" fmla="*/ 914400 h 914400"/>
                  <a:gd name="connsiteX4" fmla="*/ 0 w 1828800"/>
                  <a:gd name="connsiteY4" fmla="*/ 914400 h 914400"/>
                  <a:gd name="connsiteX5" fmla="*/ 97133 w 1828800"/>
                  <a:gd name="connsiteY5" fmla="*/ 457203 h 914400"/>
                  <a:gd name="connsiteX0" fmla="*/ 0 w 1828800"/>
                  <a:gd name="connsiteY0" fmla="*/ 0 h 914400"/>
                  <a:gd name="connsiteX1" fmla="*/ 1731667 w 1828800"/>
                  <a:gd name="connsiteY1" fmla="*/ 0 h 914400"/>
                  <a:gd name="connsiteX2" fmla="*/ 1828800 w 1828800"/>
                  <a:gd name="connsiteY2" fmla="*/ 457200 h 914400"/>
                  <a:gd name="connsiteX3" fmla="*/ 1731667 w 1828800"/>
                  <a:gd name="connsiteY3" fmla="*/ 914400 h 914400"/>
                  <a:gd name="connsiteX4" fmla="*/ 0 w 1828800"/>
                  <a:gd name="connsiteY4" fmla="*/ 914400 h 914400"/>
                  <a:gd name="connsiteX5" fmla="*/ 97133 w 1828800"/>
                  <a:gd name="connsiteY5" fmla="*/ 457203 h 914400"/>
                  <a:gd name="connsiteX0" fmla="*/ 0 w 1828800"/>
                  <a:gd name="connsiteY0" fmla="*/ 0 h 914400"/>
                  <a:gd name="connsiteX1" fmla="*/ 1731667 w 1828800"/>
                  <a:gd name="connsiteY1" fmla="*/ 0 h 914400"/>
                  <a:gd name="connsiteX2" fmla="*/ 1828800 w 1828800"/>
                  <a:gd name="connsiteY2" fmla="*/ 457200 h 914400"/>
                  <a:gd name="connsiteX3" fmla="*/ 1731667 w 1828800"/>
                  <a:gd name="connsiteY3" fmla="*/ 914400 h 914400"/>
                  <a:gd name="connsiteX4" fmla="*/ 0 w 1828800"/>
                  <a:gd name="connsiteY4" fmla="*/ 914400 h 914400"/>
                  <a:gd name="connsiteX5" fmla="*/ 121416 w 1828800"/>
                  <a:gd name="connsiteY5" fmla="*/ 457203 h 914400"/>
                  <a:gd name="connsiteX0" fmla="*/ 0 w 1828800"/>
                  <a:gd name="connsiteY0" fmla="*/ 0 h 914400"/>
                  <a:gd name="connsiteX1" fmla="*/ 1707384 w 1828800"/>
                  <a:gd name="connsiteY1" fmla="*/ 0 h 914400"/>
                  <a:gd name="connsiteX2" fmla="*/ 1828800 w 1828800"/>
                  <a:gd name="connsiteY2" fmla="*/ 457200 h 914400"/>
                  <a:gd name="connsiteX3" fmla="*/ 1731667 w 1828800"/>
                  <a:gd name="connsiteY3" fmla="*/ 914400 h 914400"/>
                  <a:gd name="connsiteX4" fmla="*/ 0 w 1828800"/>
                  <a:gd name="connsiteY4" fmla="*/ 914400 h 914400"/>
                  <a:gd name="connsiteX5" fmla="*/ 121416 w 1828800"/>
                  <a:gd name="connsiteY5" fmla="*/ 457203 h 914400"/>
                  <a:gd name="connsiteX0" fmla="*/ 0 w 1828800"/>
                  <a:gd name="connsiteY0" fmla="*/ 0 h 914400"/>
                  <a:gd name="connsiteX1" fmla="*/ 1707384 w 1828800"/>
                  <a:gd name="connsiteY1" fmla="*/ 0 h 914400"/>
                  <a:gd name="connsiteX2" fmla="*/ 1828800 w 1828800"/>
                  <a:gd name="connsiteY2" fmla="*/ 457200 h 914400"/>
                  <a:gd name="connsiteX3" fmla="*/ 1707384 w 1828800"/>
                  <a:gd name="connsiteY3" fmla="*/ 914400 h 914400"/>
                  <a:gd name="connsiteX4" fmla="*/ 0 w 1828800"/>
                  <a:gd name="connsiteY4" fmla="*/ 914400 h 914400"/>
                  <a:gd name="connsiteX5" fmla="*/ 121416 w 1828800"/>
                  <a:gd name="connsiteY5" fmla="*/ 457203 h 914400"/>
                  <a:gd name="connsiteX0" fmla="*/ 0 w 1828800"/>
                  <a:gd name="connsiteY0" fmla="*/ 0 h 914400"/>
                  <a:gd name="connsiteX1" fmla="*/ 1707384 w 1828800"/>
                  <a:gd name="connsiteY1" fmla="*/ 0 h 914400"/>
                  <a:gd name="connsiteX2" fmla="*/ 1828800 w 1828800"/>
                  <a:gd name="connsiteY2" fmla="*/ 457200 h 914400"/>
                  <a:gd name="connsiteX3" fmla="*/ 170738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738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81622 w 1828800"/>
                  <a:gd name="connsiteY5" fmla="*/ 457203 h 914400"/>
                  <a:gd name="connsiteX0" fmla="*/ 0 w 1828800"/>
                  <a:gd name="connsiteY0" fmla="*/ 0 h 914400"/>
                  <a:gd name="connsiteX1" fmla="*/ 1747178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81622 w 1828800"/>
                  <a:gd name="connsiteY5" fmla="*/ 457203 h 914400"/>
                  <a:gd name="connsiteX0" fmla="*/ 0 w 1828800"/>
                  <a:gd name="connsiteY0" fmla="*/ 0 h 914400"/>
                  <a:gd name="connsiteX1" fmla="*/ 1747178 w 1828800"/>
                  <a:gd name="connsiteY1" fmla="*/ 0 h 914400"/>
                  <a:gd name="connsiteX2" fmla="*/ 1828800 w 1828800"/>
                  <a:gd name="connsiteY2" fmla="*/ 457200 h 914400"/>
                  <a:gd name="connsiteX3" fmla="*/ 1747178 w 1828800"/>
                  <a:gd name="connsiteY3" fmla="*/ 914400 h 914400"/>
                  <a:gd name="connsiteX4" fmla="*/ 0 w 1828800"/>
                  <a:gd name="connsiteY4" fmla="*/ 914400 h 914400"/>
                  <a:gd name="connsiteX5" fmla="*/ 81622 w 1828800"/>
                  <a:gd name="connsiteY5" fmla="*/ 457203 h 914400"/>
                  <a:gd name="connsiteX0" fmla="*/ 0 w 1828800"/>
                  <a:gd name="connsiteY0" fmla="*/ 0 h 914400"/>
                  <a:gd name="connsiteX1" fmla="*/ 1747178 w 1828800"/>
                  <a:gd name="connsiteY1" fmla="*/ 0 h 914400"/>
                  <a:gd name="connsiteX2" fmla="*/ 1828800 w 1828800"/>
                  <a:gd name="connsiteY2" fmla="*/ 457200 h 914400"/>
                  <a:gd name="connsiteX3" fmla="*/ 1747178 w 1828800"/>
                  <a:gd name="connsiteY3" fmla="*/ 914400 h 914400"/>
                  <a:gd name="connsiteX4" fmla="*/ 0 w 1828800"/>
                  <a:gd name="connsiteY4" fmla="*/ 914400 h 914400"/>
                  <a:gd name="connsiteX5" fmla="*/ 102027 w 1828800"/>
                  <a:gd name="connsiteY5" fmla="*/ 457203 h 914400"/>
                  <a:gd name="connsiteX0" fmla="*/ 0 w 1828800"/>
                  <a:gd name="connsiteY0" fmla="*/ 0 h 914400"/>
                  <a:gd name="connsiteX1" fmla="*/ 1726773 w 1828800"/>
                  <a:gd name="connsiteY1" fmla="*/ 0 h 914400"/>
                  <a:gd name="connsiteX2" fmla="*/ 1828800 w 1828800"/>
                  <a:gd name="connsiteY2" fmla="*/ 457200 h 914400"/>
                  <a:gd name="connsiteX3" fmla="*/ 1747178 w 1828800"/>
                  <a:gd name="connsiteY3" fmla="*/ 914400 h 914400"/>
                  <a:gd name="connsiteX4" fmla="*/ 0 w 1828800"/>
                  <a:gd name="connsiteY4" fmla="*/ 914400 h 914400"/>
                  <a:gd name="connsiteX5" fmla="*/ 102027 w 1828800"/>
                  <a:gd name="connsiteY5" fmla="*/ 457203 h 914400"/>
                  <a:gd name="connsiteX0" fmla="*/ 0 w 1828800"/>
                  <a:gd name="connsiteY0" fmla="*/ 0 h 914400"/>
                  <a:gd name="connsiteX1" fmla="*/ 1726773 w 1828800"/>
                  <a:gd name="connsiteY1" fmla="*/ 0 h 914400"/>
                  <a:gd name="connsiteX2" fmla="*/ 1828800 w 1828800"/>
                  <a:gd name="connsiteY2" fmla="*/ 457200 h 914400"/>
                  <a:gd name="connsiteX3" fmla="*/ 1726773 w 1828800"/>
                  <a:gd name="connsiteY3" fmla="*/ 914400 h 914400"/>
                  <a:gd name="connsiteX4" fmla="*/ 0 w 1828800"/>
                  <a:gd name="connsiteY4" fmla="*/ 914400 h 914400"/>
                  <a:gd name="connsiteX5" fmla="*/ 102027 w 1828800"/>
                  <a:gd name="connsiteY5" fmla="*/ 457203 h 914400"/>
                  <a:gd name="connsiteX0" fmla="*/ 0 w 1828800"/>
                  <a:gd name="connsiteY0" fmla="*/ 0 h 914400"/>
                  <a:gd name="connsiteX1" fmla="*/ 1726773 w 1828800"/>
                  <a:gd name="connsiteY1" fmla="*/ 0 h 914400"/>
                  <a:gd name="connsiteX2" fmla="*/ 1828800 w 1828800"/>
                  <a:gd name="connsiteY2" fmla="*/ 457200 h 914400"/>
                  <a:gd name="connsiteX3" fmla="*/ 1726773 w 1828800"/>
                  <a:gd name="connsiteY3" fmla="*/ 914400 h 914400"/>
                  <a:gd name="connsiteX4" fmla="*/ 0 w 1828800"/>
                  <a:gd name="connsiteY4" fmla="*/ 914400 h 914400"/>
                  <a:gd name="connsiteX5" fmla="*/ 168686 w 1828800"/>
                  <a:gd name="connsiteY5" fmla="*/ 457203 h 914400"/>
                  <a:gd name="connsiteX0" fmla="*/ 0 w 1828800"/>
                  <a:gd name="connsiteY0" fmla="*/ 0 h 914400"/>
                  <a:gd name="connsiteX1" fmla="*/ 1660114 w 1828800"/>
                  <a:gd name="connsiteY1" fmla="*/ 0 h 914400"/>
                  <a:gd name="connsiteX2" fmla="*/ 1828800 w 1828800"/>
                  <a:gd name="connsiteY2" fmla="*/ 457200 h 914400"/>
                  <a:gd name="connsiteX3" fmla="*/ 1726773 w 1828800"/>
                  <a:gd name="connsiteY3" fmla="*/ 914400 h 914400"/>
                  <a:gd name="connsiteX4" fmla="*/ 0 w 1828800"/>
                  <a:gd name="connsiteY4" fmla="*/ 914400 h 914400"/>
                  <a:gd name="connsiteX5" fmla="*/ 168686 w 1828800"/>
                  <a:gd name="connsiteY5" fmla="*/ 457203 h 914400"/>
                  <a:gd name="connsiteX0" fmla="*/ 0 w 1828800"/>
                  <a:gd name="connsiteY0" fmla="*/ 0 h 914400"/>
                  <a:gd name="connsiteX1" fmla="*/ 1660114 w 1828800"/>
                  <a:gd name="connsiteY1" fmla="*/ 0 h 914400"/>
                  <a:gd name="connsiteX2" fmla="*/ 1828800 w 1828800"/>
                  <a:gd name="connsiteY2" fmla="*/ 457200 h 914400"/>
                  <a:gd name="connsiteX3" fmla="*/ 1660114 w 1828800"/>
                  <a:gd name="connsiteY3" fmla="*/ 914400 h 914400"/>
                  <a:gd name="connsiteX4" fmla="*/ 0 w 1828800"/>
                  <a:gd name="connsiteY4" fmla="*/ 914400 h 914400"/>
                  <a:gd name="connsiteX5" fmla="*/ 168686 w 1828800"/>
                  <a:gd name="connsiteY5" fmla="*/ 457203 h 914400"/>
                  <a:gd name="connsiteX0" fmla="*/ 0 w 1828800"/>
                  <a:gd name="connsiteY0" fmla="*/ 0 h 914400"/>
                  <a:gd name="connsiteX1" fmla="*/ 1660114 w 1828800"/>
                  <a:gd name="connsiteY1" fmla="*/ 0 h 914400"/>
                  <a:gd name="connsiteX2" fmla="*/ 1828800 w 1828800"/>
                  <a:gd name="connsiteY2" fmla="*/ 457200 h 914400"/>
                  <a:gd name="connsiteX3" fmla="*/ 1660114 w 1828800"/>
                  <a:gd name="connsiteY3" fmla="*/ 914400 h 914400"/>
                  <a:gd name="connsiteX4" fmla="*/ 0 w 1828800"/>
                  <a:gd name="connsiteY4" fmla="*/ 914400 h 914400"/>
                  <a:gd name="connsiteX5" fmla="*/ 210858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60114 w 1828800"/>
                  <a:gd name="connsiteY3" fmla="*/ 914400 h 914400"/>
                  <a:gd name="connsiteX4" fmla="*/ 0 w 1828800"/>
                  <a:gd name="connsiteY4" fmla="*/ 914400 h 914400"/>
                  <a:gd name="connsiteX5" fmla="*/ 210858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210858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153351 w 1828800"/>
                  <a:gd name="connsiteY5" fmla="*/ 457203 h 914400"/>
                  <a:gd name="connsiteX0" fmla="*/ 0 w 1828800"/>
                  <a:gd name="connsiteY0" fmla="*/ 0 h 914400"/>
                  <a:gd name="connsiteX1" fmla="*/ 1675449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153351 w 1828800"/>
                  <a:gd name="connsiteY5" fmla="*/ 457203 h 914400"/>
                  <a:gd name="connsiteX0" fmla="*/ 0 w 1828800"/>
                  <a:gd name="connsiteY0" fmla="*/ 0 h 914400"/>
                  <a:gd name="connsiteX1" fmla="*/ 1675449 w 1828800"/>
                  <a:gd name="connsiteY1" fmla="*/ 0 h 914400"/>
                  <a:gd name="connsiteX2" fmla="*/ 1828800 w 1828800"/>
                  <a:gd name="connsiteY2" fmla="*/ 457200 h 914400"/>
                  <a:gd name="connsiteX3" fmla="*/ 1675449 w 1828800"/>
                  <a:gd name="connsiteY3" fmla="*/ 914400 h 914400"/>
                  <a:gd name="connsiteX4" fmla="*/ 0 w 1828800"/>
                  <a:gd name="connsiteY4" fmla="*/ 914400 h 914400"/>
                  <a:gd name="connsiteX5" fmla="*/ 153351 w 1828800"/>
                  <a:gd name="connsiteY5" fmla="*/ 457203 h 914400"/>
                  <a:gd name="connsiteX0" fmla="*/ 0 w 1828800"/>
                  <a:gd name="connsiteY0" fmla="*/ 0 h 914400"/>
                  <a:gd name="connsiteX1" fmla="*/ 1675449 w 1828800"/>
                  <a:gd name="connsiteY1" fmla="*/ 0 h 914400"/>
                  <a:gd name="connsiteX2" fmla="*/ 1828800 w 1828800"/>
                  <a:gd name="connsiteY2" fmla="*/ 457200 h 914400"/>
                  <a:gd name="connsiteX3" fmla="*/ 1675449 w 1828800"/>
                  <a:gd name="connsiteY3" fmla="*/ 914400 h 914400"/>
                  <a:gd name="connsiteX4" fmla="*/ 0 w 1828800"/>
                  <a:gd name="connsiteY4" fmla="*/ 914400 h 914400"/>
                  <a:gd name="connsiteX5" fmla="*/ 191689 w 1828800"/>
                  <a:gd name="connsiteY5" fmla="*/ 457203 h 914400"/>
                  <a:gd name="connsiteX0" fmla="*/ 0 w 1828800"/>
                  <a:gd name="connsiteY0" fmla="*/ 0 h 914400"/>
                  <a:gd name="connsiteX1" fmla="*/ 1637111 w 1828800"/>
                  <a:gd name="connsiteY1" fmla="*/ 0 h 914400"/>
                  <a:gd name="connsiteX2" fmla="*/ 1828800 w 1828800"/>
                  <a:gd name="connsiteY2" fmla="*/ 457200 h 914400"/>
                  <a:gd name="connsiteX3" fmla="*/ 1675449 w 1828800"/>
                  <a:gd name="connsiteY3" fmla="*/ 914400 h 914400"/>
                  <a:gd name="connsiteX4" fmla="*/ 0 w 1828800"/>
                  <a:gd name="connsiteY4" fmla="*/ 914400 h 914400"/>
                  <a:gd name="connsiteX5" fmla="*/ 191689 w 1828800"/>
                  <a:gd name="connsiteY5" fmla="*/ 457203 h 914400"/>
                  <a:gd name="connsiteX0" fmla="*/ 0 w 1828800"/>
                  <a:gd name="connsiteY0" fmla="*/ 0 h 914400"/>
                  <a:gd name="connsiteX1" fmla="*/ 1637111 w 1828800"/>
                  <a:gd name="connsiteY1" fmla="*/ 0 h 914400"/>
                  <a:gd name="connsiteX2" fmla="*/ 1828800 w 1828800"/>
                  <a:gd name="connsiteY2" fmla="*/ 457200 h 914400"/>
                  <a:gd name="connsiteX3" fmla="*/ 1637111 w 1828800"/>
                  <a:gd name="connsiteY3" fmla="*/ 914400 h 914400"/>
                  <a:gd name="connsiteX4" fmla="*/ 0 w 1828800"/>
                  <a:gd name="connsiteY4" fmla="*/ 914400 h 914400"/>
                  <a:gd name="connsiteX5" fmla="*/ 191689 w 1828800"/>
                  <a:gd name="connsiteY5" fmla="*/ 457203 h 914400"/>
                  <a:gd name="connsiteX0" fmla="*/ 0 w 1828800"/>
                  <a:gd name="connsiteY0" fmla="*/ 0 h 914400"/>
                  <a:gd name="connsiteX1" fmla="*/ 1637111 w 1828800"/>
                  <a:gd name="connsiteY1" fmla="*/ 0 h 914400"/>
                  <a:gd name="connsiteX2" fmla="*/ 1828800 w 1828800"/>
                  <a:gd name="connsiteY2" fmla="*/ 457200 h 914400"/>
                  <a:gd name="connsiteX3" fmla="*/ 1637111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60114 w 1828800"/>
                  <a:gd name="connsiteY1" fmla="*/ 0 h 914400"/>
                  <a:gd name="connsiteX2" fmla="*/ 1828800 w 1828800"/>
                  <a:gd name="connsiteY2" fmla="*/ 457200 h 914400"/>
                  <a:gd name="connsiteX3" fmla="*/ 1637111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60114 w 1828800"/>
                  <a:gd name="connsiteY1" fmla="*/ 0 h 914400"/>
                  <a:gd name="connsiteX2" fmla="*/ 1828800 w 1828800"/>
                  <a:gd name="connsiteY2" fmla="*/ 457200 h 914400"/>
                  <a:gd name="connsiteX3" fmla="*/ 166011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60114 w 1828800"/>
                  <a:gd name="connsiteY1" fmla="*/ 0 h 914400"/>
                  <a:gd name="connsiteX2" fmla="*/ 1828800 w 1828800"/>
                  <a:gd name="connsiteY2" fmla="*/ 457200 h 914400"/>
                  <a:gd name="connsiteX3" fmla="*/ 166011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6011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210858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210858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210858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24690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24690 w 1828800"/>
                  <a:gd name="connsiteY1" fmla="*/ 0 h 914400"/>
                  <a:gd name="connsiteX2" fmla="*/ 1828800 w 1828800"/>
                  <a:gd name="connsiteY2" fmla="*/ 457200 h 914400"/>
                  <a:gd name="connsiteX3" fmla="*/ 162469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24690 w 1828800"/>
                  <a:gd name="connsiteY1" fmla="*/ 0 h 914400"/>
                  <a:gd name="connsiteX2" fmla="*/ 1828800 w 1828800"/>
                  <a:gd name="connsiteY2" fmla="*/ 457200 h 914400"/>
                  <a:gd name="connsiteX3" fmla="*/ 162469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573662 w 1828800"/>
                  <a:gd name="connsiteY1" fmla="*/ 0 h 914400"/>
                  <a:gd name="connsiteX2" fmla="*/ 1828800 w 1828800"/>
                  <a:gd name="connsiteY2" fmla="*/ 457200 h 914400"/>
                  <a:gd name="connsiteX3" fmla="*/ 162469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573662 w 1828800"/>
                  <a:gd name="connsiteY1" fmla="*/ 0 h 914400"/>
                  <a:gd name="connsiteX2" fmla="*/ 1828800 w 1828800"/>
                  <a:gd name="connsiteY2" fmla="*/ 457200 h 914400"/>
                  <a:gd name="connsiteX3" fmla="*/ 1573662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573662 w 1828800"/>
                  <a:gd name="connsiteY1" fmla="*/ 0 h 914400"/>
                  <a:gd name="connsiteX2" fmla="*/ 1828800 w 1828800"/>
                  <a:gd name="connsiteY2" fmla="*/ 457200 h 914400"/>
                  <a:gd name="connsiteX3" fmla="*/ 1573662 w 1828800"/>
                  <a:gd name="connsiteY3" fmla="*/ 914400 h 914400"/>
                  <a:gd name="connsiteX4" fmla="*/ 0 w 1828800"/>
                  <a:gd name="connsiteY4" fmla="*/ 914400 h 914400"/>
                  <a:gd name="connsiteX5" fmla="*/ 255138 w 1828800"/>
                  <a:gd name="connsiteY5" fmla="*/ 457203 h 914400"/>
                  <a:gd name="connsiteX0" fmla="*/ 0 w 1828800"/>
                  <a:gd name="connsiteY0" fmla="*/ 0 h 914400"/>
                  <a:gd name="connsiteX1" fmla="*/ 1573662 w 1828800"/>
                  <a:gd name="connsiteY1" fmla="*/ 0 h 914400"/>
                  <a:gd name="connsiteX2" fmla="*/ 1828800 w 1828800"/>
                  <a:gd name="connsiteY2" fmla="*/ 457200 h 914400"/>
                  <a:gd name="connsiteX3" fmla="*/ 1573662 w 1828800"/>
                  <a:gd name="connsiteY3" fmla="*/ 914400 h 914400"/>
                  <a:gd name="connsiteX4" fmla="*/ 0 w 1828800"/>
                  <a:gd name="connsiteY4" fmla="*/ 914400 h 914400"/>
                  <a:gd name="connsiteX5" fmla="*/ 255138 w 1828800"/>
                  <a:gd name="connsiteY5" fmla="*/ 457203 h 914400"/>
                  <a:gd name="connsiteX0" fmla="*/ 0 w 1828800"/>
                  <a:gd name="connsiteY0" fmla="*/ 0 h 914400"/>
                  <a:gd name="connsiteX1" fmla="*/ 1573662 w 1828800"/>
                  <a:gd name="connsiteY1" fmla="*/ 0 h 914400"/>
                  <a:gd name="connsiteX2" fmla="*/ 1828800 w 1828800"/>
                  <a:gd name="connsiteY2" fmla="*/ 457200 h 914400"/>
                  <a:gd name="connsiteX3" fmla="*/ 1573662 w 1828800"/>
                  <a:gd name="connsiteY3" fmla="*/ 914400 h 914400"/>
                  <a:gd name="connsiteX4" fmla="*/ 0 w 1828800"/>
                  <a:gd name="connsiteY4" fmla="*/ 914400 h 914400"/>
                  <a:gd name="connsiteX5" fmla="*/ 255138 w 1828800"/>
                  <a:gd name="connsiteY5" fmla="*/ 457203 h 914400"/>
                  <a:gd name="connsiteX0" fmla="*/ 0 w 1828800"/>
                  <a:gd name="connsiteY0" fmla="*/ 0 h 914400"/>
                  <a:gd name="connsiteX1" fmla="*/ 1573662 w 1828800"/>
                  <a:gd name="connsiteY1" fmla="*/ 0 h 914400"/>
                  <a:gd name="connsiteX2" fmla="*/ 1828800 w 1828800"/>
                  <a:gd name="connsiteY2" fmla="*/ 457200 h 914400"/>
                  <a:gd name="connsiteX3" fmla="*/ 1573662 w 1828800"/>
                  <a:gd name="connsiteY3" fmla="*/ 914400 h 914400"/>
                  <a:gd name="connsiteX4" fmla="*/ 0 w 1828800"/>
                  <a:gd name="connsiteY4" fmla="*/ 914400 h 914400"/>
                  <a:gd name="connsiteX5" fmla="*/ 185555 w 1828800"/>
                  <a:gd name="connsiteY5" fmla="*/ 457203 h 914400"/>
                  <a:gd name="connsiteX0" fmla="*/ 0 w 1828800"/>
                  <a:gd name="connsiteY0" fmla="*/ 0 h 914400"/>
                  <a:gd name="connsiteX1" fmla="*/ 1643245 w 1828800"/>
                  <a:gd name="connsiteY1" fmla="*/ 0 h 914400"/>
                  <a:gd name="connsiteX2" fmla="*/ 1828800 w 1828800"/>
                  <a:gd name="connsiteY2" fmla="*/ 457200 h 914400"/>
                  <a:gd name="connsiteX3" fmla="*/ 1573662 w 1828800"/>
                  <a:gd name="connsiteY3" fmla="*/ 914400 h 914400"/>
                  <a:gd name="connsiteX4" fmla="*/ 0 w 1828800"/>
                  <a:gd name="connsiteY4" fmla="*/ 914400 h 914400"/>
                  <a:gd name="connsiteX5" fmla="*/ 185555 w 1828800"/>
                  <a:gd name="connsiteY5" fmla="*/ 457203 h 914400"/>
                  <a:gd name="connsiteX0" fmla="*/ 0 w 1828800"/>
                  <a:gd name="connsiteY0" fmla="*/ 0 h 914400"/>
                  <a:gd name="connsiteX1" fmla="*/ 1643245 w 1828800"/>
                  <a:gd name="connsiteY1" fmla="*/ 0 h 914400"/>
                  <a:gd name="connsiteX2" fmla="*/ 1828800 w 1828800"/>
                  <a:gd name="connsiteY2" fmla="*/ 457200 h 914400"/>
                  <a:gd name="connsiteX3" fmla="*/ 1643245 w 1828800"/>
                  <a:gd name="connsiteY3" fmla="*/ 914400 h 914400"/>
                  <a:gd name="connsiteX4" fmla="*/ 0 w 1828800"/>
                  <a:gd name="connsiteY4" fmla="*/ 914400 h 914400"/>
                  <a:gd name="connsiteX5" fmla="*/ 185555 w 1828800"/>
                  <a:gd name="connsiteY5" fmla="*/ 457203 h 914400"/>
                  <a:gd name="connsiteX0" fmla="*/ 0 w 1828800"/>
                  <a:gd name="connsiteY0" fmla="*/ 0 h 914400"/>
                  <a:gd name="connsiteX1" fmla="*/ 1643245 w 1828800"/>
                  <a:gd name="connsiteY1" fmla="*/ 0 h 914400"/>
                  <a:gd name="connsiteX2" fmla="*/ 1828800 w 1828800"/>
                  <a:gd name="connsiteY2" fmla="*/ 457200 h 914400"/>
                  <a:gd name="connsiteX3" fmla="*/ 1643245 w 1828800"/>
                  <a:gd name="connsiteY3" fmla="*/ 914400 h 914400"/>
                  <a:gd name="connsiteX4" fmla="*/ 0 w 1828800"/>
                  <a:gd name="connsiteY4" fmla="*/ 914400 h 914400"/>
                  <a:gd name="connsiteX5" fmla="*/ 231943 w 1828800"/>
                  <a:gd name="connsiteY5" fmla="*/ 457203 h 914400"/>
                  <a:gd name="connsiteX0" fmla="*/ 0 w 1828800"/>
                  <a:gd name="connsiteY0" fmla="*/ 0 h 914400"/>
                  <a:gd name="connsiteX1" fmla="*/ 1596860 w 1828800"/>
                  <a:gd name="connsiteY1" fmla="*/ 0 h 914400"/>
                  <a:gd name="connsiteX2" fmla="*/ 1828800 w 1828800"/>
                  <a:gd name="connsiteY2" fmla="*/ 457200 h 914400"/>
                  <a:gd name="connsiteX3" fmla="*/ 1643245 w 1828800"/>
                  <a:gd name="connsiteY3" fmla="*/ 914400 h 914400"/>
                  <a:gd name="connsiteX4" fmla="*/ 0 w 1828800"/>
                  <a:gd name="connsiteY4" fmla="*/ 914400 h 914400"/>
                  <a:gd name="connsiteX5" fmla="*/ 231943 w 1828800"/>
                  <a:gd name="connsiteY5" fmla="*/ 457203 h 914400"/>
                  <a:gd name="connsiteX0" fmla="*/ 0 w 1828800"/>
                  <a:gd name="connsiteY0" fmla="*/ 0 h 914400"/>
                  <a:gd name="connsiteX1" fmla="*/ 1596860 w 1828800"/>
                  <a:gd name="connsiteY1" fmla="*/ 0 h 914400"/>
                  <a:gd name="connsiteX2" fmla="*/ 1828800 w 1828800"/>
                  <a:gd name="connsiteY2" fmla="*/ 457200 h 914400"/>
                  <a:gd name="connsiteX3" fmla="*/ 1596860 w 1828800"/>
                  <a:gd name="connsiteY3" fmla="*/ 914400 h 914400"/>
                  <a:gd name="connsiteX4" fmla="*/ 0 w 1828800"/>
                  <a:gd name="connsiteY4" fmla="*/ 914400 h 914400"/>
                  <a:gd name="connsiteX5" fmla="*/ 231943 w 1828800"/>
                  <a:gd name="connsiteY5" fmla="*/ 457203 h 914400"/>
                  <a:gd name="connsiteX0" fmla="*/ 0 w 1828800"/>
                  <a:gd name="connsiteY0" fmla="*/ 0 h 914400"/>
                  <a:gd name="connsiteX1" fmla="*/ 1596860 w 1828800"/>
                  <a:gd name="connsiteY1" fmla="*/ 0 h 914400"/>
                  <a:gd name="connsiteX2" fmla="*/ 1828800 w 1828800"/>
                  <a:gd name="connsiteY2" fmla="*/ 457200 h 914400"/>
                  <a:gd name="connsiteX3" fmla="*/ 1596860 w 1828800"/>
                  <a:gd name="connsiteY3" fmla="*/ 914400 h 914400"/>
                  <a:gd name="connsiteX4" fmla="*/ 0 w 1828800"/>
                  <a:gd name="connsiteY4" fmla="*/ 914400 h 914400"/>
                  <a:gd name="connsiteX5" fmla="*/ 185555 w 1828800"/>
                  <a:gd name="connsiteY5" fmla="*/ 457203 h 914400"/>
                  <a:gd name="connsiteX0" fmla="*/ 0 w 1828800"/>
                  <a:gd name="connsiteY0" fmla="*/ 0 h 914400"/>
                  <a:gd name="connsiteX1" fmla="*/ 1643245 w 1828800"/>
                  <a:gd name="connsiteY1" fmla="*/ 0 h 914400"/>
                  <a:gd name="connsiteX2" fmla="*/ 1828800 w 1828800"/>
                  <a:gd name="connsiteY2" fmla="*/ 457200 h 914400"/>
                  <a:gd name="connsiteX3" fmla="*/ 1596860 w 1828800"/>
                  <a:gd name="connsiteY3" fmla="*/ 914400 h 914400"/>
                  <a:gd name="connsiteX4" fmla="*/ 0 w 1828800"/>
                  <a:gd name="connsiteY4" fmla="*/ 914400 h 914400"/>
                  <a:gd name="connsiteX5" fmla="*/ 185555 w 1828800"/>
                  <a:gd name="connsiteY5" fmla="*/ 457203 h 914400"/>
                  <a:gd name="connsiteX0" fmla="*/ 0 w 1828800"/>
                  <a:gd name="connsiteY0" fmla="*/ 0 h 914400"/>
                  <a:gd name="connsiteX1" fmla="*/ 1643245 w 1828800"/>
                  <a:gd name="connsiteY1" fmla="*/ 0 h 914400"/>
                  <a:gd name="connsiteX2" fmla="*/ 1828800 w 1828800"/>
                  <a:gd name="connsiteY2" fmla="*/ 457200 h 914400"/>
                  <a:gd name="connsiteX3" fmla="*/ 1643245 w 1828800"/>
                  <a:gd name="connsiteY3" fmla="*/ 914400 h 914400"/>
                  <a:gd name="connsiteX4" fmla="*/ 0 w 1828800"/>
                  <a:gd name="connsiteY4" fmla="*/ 914400 h 914400"/>
                  <a:gd name="connsiteX5" fmla="*/ 185555 w 1828800"/>
                  <a:gd name="connsiteY5" fmla="*/ 457203 h 914400"/>
                  <a:gd name="connsiteX0" fmla="*/ 0 w 1828800"/>
                  <a:gd name="connsiteY0" fmla="*/ 0 h 914400"/>
                  <a:gd name="connsiteX1" fmla="*/ 1643245 w 1828800"/>
                  <a:gd name="connsiteY1" fmla="*/ 0 h 914400"/>
                  <a:gd name="connsiteX2" fmla="*/ 1828800 w 1828800"/>
                  <a:gd name="connsiteY2" fmla="*/ 457200 h 914400"/>
                  <a:gd name="connsiteX3" fmla="*/ 1643245 w 1828800"/>
                  <a:gd name="connsiteY3" fmla="*/ 914400 h 914400"/>
                  <a:gd name="connsiteX4" fmla="*/ 0 w 1828800"/>
                  <a:gd name="connsiteY4" fmla="*/ 914400 h 914400"/>
                  <a:gd name="connsiteX5" fmla="*/ 231943 w 1828800"/>
                  <a:gd name="connsiteY5" fmla="*/ 457203 h 914400"/>
                  <a:gd name="connsiteX0" fmla="*/ 0 w 1828800"/>
                  <a:gd name="connsiteY0" fmla="*/ 0 h 914400"/>
                  <a:gd name="connsiteX1" fmla="*/ 1596857 w 1828800"/>
                  <a:gd name="connsiteY1" fmla="*/ 0 h 914400"/>
                  <a:gd name="connsiteX2" fmla="*/ 1828800 w 1828800"/>
                  <a:gd name="connsiteY2" fmla="*/ 457200 h 914400"/>
                  <a:gd name="connsiteX3" fmla="*/ 1643245 w 1828800"/>
                  <a:gd name="connsiteY3" fmla="*/ 914400 h 914400"/>
                  <a:gd name="connsiteX4" fmla="*/ 0 w 1828800"/>
                  <a:gd name="connsiteY4" fmla="*/ 914400 h 914400"/>
                  <a:gd name="connsiteX5" fmla="*/ 231943 w 1828800"/>
                  <a:gd name="connsiteY5" fmla="*/ 457203 h 914400"/>
                  <a:gd name="connsiteX0" fmla="*/ 0 w 1828800"/>
                  <a:gd name="connsiteY0" fmla="*/ 0 h 914400"/>
                  <a:gd name="connsiteX1" fmla="*/ 1596857 w 1828800"/>
                  <a:gd name="connsiteY1" fmla="*/ 0 h 914400"/>
                  <a:gd name="connsiteX2" fmla="*/ 1828800 w 1828800"/>
                  <a:gd name="connsiteY2" fmla="*/ 457200 h 914400"/>
                  <a:gd name="connsiteX3" fmla="*/ 1596857 w 1828800"/>
                  <a:gd name="connsiteY3" fmla="*/ 914400 h 914400"/>
                  <a:gd name="connsiteX4" fmla="*/ 0 w 1828800"/>
                  <a:gd name="connsiteY4" fmla="*/ 914400 h 914400"/>
                  <a:gd name="connsiteX5" fmla="*/ 231943 w 1828800"/>
                  <a:gd name="connsiteY5" fmla="*/ 457203 h 914400"/>
                  <a:gd name="connsiteX0" fmla="*/ 0 w 1828800"/>
                  <a:gd name="connsiteY0" fmla="*/ 0 h 914400"/>
                  <a:gd name="connsiteX1" fmla="*/ 1596857 w 1828800"/>
                  <a:gd name="connsiteY1" fmla="*/ 0 h 914400"/>
                  <a:gd name="connsiteX2" fmla="*/ 1828800 w 1828800"/>
                  <a:gd name="connsiteY2" fmla="*/ 457200 h 914400"/>
                  <a:gd name="connsiteX3" fmla="*/ 1596857 w 1828800"/>
                  <a:gd name="connsiteY3" fmla="*/ 914400 h 914400"/>
                  <a:gd name="connsiteX4" fmla="*/ 0 w 1828800"/>
                  <a:gd name="connsiteY4" fmla="*/ 914400 h 914400"/>
                  <a:gd name="connsiteX5" fmla="*/ 104881 w 1828800"/>
                  <a:gd name="connsiteY5" fmla="*/ 457203 h 914400"/>
                  <a:gd name="connsiteX0" fmla="*/ 0 w 1828800"/>
                  <a:gd name="connsiteY0" fmla="*/ 0 h 914400"/>
                  <a:gd name="connsiteX1" fmla="*/ 1723919 w 1828800"/>
                  <a:gd name="connsiteY1" fmla="*/ 0 h 914400"/>
                  <a:gd name="connsiteX2" fmla="*/ 1828800 w 1828800"/>
                  <a:gd name="connsiteY2" fmla="*/ 457200 h 914400"/>
                  <a:gd name="connsiteX3" fmla="*/ 1596857 w 1828800"/>
                  <a:gd name="connsiteY3" fmla="*/ 914400 h 914400"/>
                  <a:gd name="connsiteX4" fmla="*/ 0 w 1828800"/>
                  <a:gd name="connsiteY4" fmla="*/ 914400 h 914400"/>
                  <a:gd name="connsiteX5" fmla="*/ 104881 w 1828800"/>
                  <a:gd name="connsiteY5" fmla="*/ 457203 h 914400"/>
                  <a:gd name="connsiteX0" fmla="*/ 0 w 1828800"/>
                  <a:gd name="connsiteY0" fmla="*/ 0 h 914400"/>
                  <a:gd name="connsiteX1" fmla="*/ 1723919 w 1828800"/>
                  <a:gd name="connsiteY1" fmla="*/ 0 h 914400"/>
                  <a:gd name="connsiteX2" fmla="*/ 1828800 w 1828800"/>
                  <a:gd name="connsiteY2" fmla="*/ 457200 h 914400"/>
                  <a:gd name="connsiteX3" fmla="*/ 1723919 w 1828800"/>
                  <a:gd name="connsiteY3" fmla="*/ 914400 h 914400"/>
                  <a:gd name="connsiteX4" fmla="*/ 0 w 1828800"/>
                  <a:gd name="connsiteY4" fmla="*/ 914400 h 914400"/>
                  <a:gd name="connsiteX5" fmla="*/ 104881 w 1828800"/>
                  <a:gd name="connsiteY5" fmla="*/ 457203 h 914400"/>
                  <a:gd name="connsiteX0" fmla="*/ 0 w 1828800"/>
                  <a:gd name="connsiteY0" fmla="*/ 0 h 914400"/>
                  <a:gd name="connsiteX1" fmla="*/ 1723919 w 1828800"/>
                  <a:gd name="connsiteY1" fmla="*/ 0 h 914400"/>
                  <a:gd name="connsiteX2" fmla="*/ 1828800 w 1828800"/>
                  <a:gd name="connsiteY2" fmla="*/ 457200 h 914400"/>
                  <a:gd name="connsiteX3" fmla="*/ 1723919 w 1828800"/>
                  <a:gd name="connsiteY3" fmla="*/ 914400 h 914400"/>
                  <a:gd name="connsiteX4" fmla="*/ 0 w 1828800"/>
                  <a:gd name="connsiteY4" fmla="*/ 914400 h 914400"/>
                  <a:gd name="connsiteX5" fmla="*/ 131102 w 1828800"/>
                  <a:gd name="connsiteY5" fmla="*/ 457203 h 914400"/>
                  <a:gd name="connsiteX0" fmla="*/ 0 w 1828800"/>
                  <a:gd name="connsiteY0" fmla="*/ 0 h 914400"/>
                  <a:gd name="connsiteX1" fmla="*/ 1697698 w 1828800"/>
                  <a:gd name="connsiteY1" fmla="*/ 0 h 914400"/>
                  <a:gd name="connsiteX2" fmla="*/ 1828800 w 1828800"/>
                  <a:gd name="connsiteY2" fmla="*/ 457200 h 914400"/>
                  <a:gd name="connsiteX3" fmla="*/ 1723919 w 1828800"/>
                  <a:gd name="connsiteY3" fmla="*/ 914400 h 914400"/>
                  <a:gd name="connsiteX4" fmla="*/ 0 w 1828800"/>
                  <a:gd name="connsiteY4" fmla="*/ 914400 h 914400"/>
                  <a:gd name="connsiteX5" fmla="*/ 131102 w 1828800"/>
                  <a:gd name="connsiteY5" fmla="*/ 457203 h 914400"/>
                  <a:gd name="connsiteX0" fmla="*/ 0 w 1828800"/>
                  <a:gd name="connsiteY0" fmla="*/ 0 h 914400"/>
                  <a:gd name="connsiteX1" fmla="*/ 1697698 w 1828800"/>
                  <a:gd name="connsiteY1" fmla="*/ 0 h 914400"/>
                  <a:gd name="connsiteX2" fmla="*/ 1828800 w 1828800"/>
                  <a:gd name="connsiteY2" fmla="*/ 457200 h 914400"/>
                  <a:gd name="connsiteX3" fmla="*/ 1697698 w 1828800"/>
                  <a:gd name="connsiteY3" fmla="*/ 914400 h 914400"/>
                  <a:gd name="connsiteX4" fmla="*/ 0 w 1828800"/>
                  <a:gd name="connsiteY4" fmla="*/ 914400 h 914400"/>
                  <a:gd name="connsiteX5" fmla="*/ 131102 w 1828800"/>
                  <a:gd name="connsiteY5" fmla="*/ 457203 h 914400"/>
                  <a:gd name="connsiteX0" fmla="*/ 0 w 1828800"/>
                  <a:gd name="connsiteY0" fmla="*/ 0 h 914400"/>
                  <a:gd name="connsiteX1" fmla="*/ 1697698 w 1828800"/>
                  <a:gd name="connsiteY1" fmla="*/ 0 h 914400"/>
                  <a:gd name="connsiteX2" fmla="*/ 1828800 w 1828800"/>
                  <a:gd name="connsiteY2" fmla="*/ 457200 h 914400"/>
                  <a:gd name="connsiteX3" fmla="*/ 1697698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97698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174497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174497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174497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201737 w 1828800"/>
                  <a:gd name="connsiteY5" fmla="*/ 457204 h 914400"/>
                  <a:gd name="connsiteX0" fmla="*/ 0 w 1828800"/>
                  <a:gd name="connsiteY0" fmla="*/ 0 h 914400"/>
                  <a:gd name="connsiteX1" fmla="*/ 1627063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201737 w 1828800"/>
                  <a:gd name="connsiteY5" fmla="*/ 457204 h 914400"/>
                  <a:gd name="connsiteX0" fmla="*/ 0 w 1828800"/>
                  <a:gd name="connsiteY0" fmla="*/ 0 h 914400"/>
                  <a:gd name="connsiteX1" fmla="*/ 1627063 w 1828800"/>
                  <a:gd name="connsiteY1" fmla="*/ 0 h 914400"/>
                  <a:gd name="connsiteX2" fmla="*/ 1828800 w 1828800"/>
                  <a:gd name="connsiteY2" fmla="*/ 457200 h 914400"/>
                  <a:gd name="connsiteX3" fmla="*/ 1627063 w 1828800"/>
                  <a:gd name="connsiteY3" fmla="*/ 914400 h 914400"/>
                  <a:gd name="connsiteX4" fmla="*/ 0 w 1828800"/>
                  <a:gd name="connsiteY4" fmla="*/ 914400 h 914400"/>
                  <a:gd name="connsiteX5" fmla="*/ 201737 w 1828800"/>
                  <a:gd name="connsiteY5" fmla="*/ 457204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27063" y="0"/>
                    </a:lnTo>
                    <a:lnTo>
                      <a:pt x="1828800" y="457200"/>
                    </a:lnTo>
                    <a:lnTo>
                      <a:pt x="1627063" y="914400"/>
                    </a:lnTo>
                    <a:lnTo>
                      <a:pt x="0" y="914400"/>
                    </a:lnTo>
                    <a:lnTo>
                      <a:pt x="201737" y="457204"/>
                    </a:lnTo>
                    <a:close/>
                  </a:path>
                </a:pathLst>
              </a:cu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400" fontAlgn="base">
                  <a:spcBef>
                    <a:spcPct val="0"/>
                  </a:spcBef>
                  <a:spcAft>
                    <a:spcPct val="0"/>
                  </a:spcAft>
                </a:pPr>
                <a:endParaRPr lang="en-US" sz="800" dirty="0">
                  <a:solidFill>
                    <a:srgbClr val="000000"/>
                  </a:solidFill>
                </a:endParaRPr>
              </a:p>
            </p:txBody>
          </p:sp>
          <p:sp>
            <p:nvSpPr>
              <p:cNvPr id="111" name="TextBox 110"/>
              <p:cNvSpPr txBox="1"/>
              <p:nvPr>
                <p:custDataLst>
                  <p:tags r:id="rId21"/>
                </p:custDataLst>
              </p:nvPr>
            </p:nvSpPr>
            <p:spPr>
              <a:xfrm>
                <a:off x="4573473" y="1563410"/>
                <a:ext cx="678564" cy="14832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000000"/>
                  </a:buClr>
                </a:pPr>
                <a:r>
                  <a:rPr lang="en-US" sz="800" b="1" dirty="0">
                    <a:solidFill>
                      <a:srgbClr val="01632F"/>
                    </a:solidFill>
                  </a:rPr>
                  <a:t>Farmer Access (agro dealerships)</a:t>
                </a:r>
              </a:p>
            </p:txBody>
          </p:sp>
        </p:grpSp>
        <p:grpSp>
          <p:nvGrpSpPr>
            <p:cNvPr id="63" name="Group 62"/>
            <p:cNvGrpSpPr/>
            <p:nvPr>
              <p:custDataLst>
                <p:tags r:id="rId11"/>
              </p:custDataLst>
            </p:nvPr>
          </p:nvGrpSpPr>
          <p:grpSpPr>
            <a:xfrm>
              <a:off x="5394562" y="990926"/>
              <a:ext cx="935828" cy="573511"/>
              <a:chOff x="5305821" y="1350816"/>
              <a:chExt cx="935828" cy="573511"/>
            </a:xfrm>
          </p:grpSpPr>
          <p:sp>
            <p:nvSpPr>
              <p:cNvPr id="113" name="Freeform 112"/>
              <p:cNvSpPr/>
              <p:nvPr>
                <p:custDataLst>
                  <p:tags r:id="rId18"/>
                </p:custDataLst>
              </p:nvPr>
            </p:nvSpPr>
            <p:spPr>
              <a:xfrm>
                <a:off x="5305821" y="1350816"/>
                <a:ext cx="935828" cy="57351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44842 w 1828800"/>
                  <a:gd name="connsiteY5" fmla="*/ 457201 h 914400"/>
                  <a:gd name="connsiteX0" fmla="*/ 0 w 1828800"/>
                  <a:gd name="connsiteY0" fmla="*/ 0 h 914400"/>
                  <a:gd name="connsiteX1" fmla="*/ 168395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44842 w 1828800"/>
                  <a:gd name="connsiteY5" fmla="*/ 457201 h 914400"/>
                  <a:gd name="connsiteX0" fmla="*/ 0 w 1828800"/>
                  <a:gd name="connsiteY0" fmla="*/ 0 h 914400"/>
                  <a:gd name="connsiteX1" fmla="*/ 1683958 w 1828800"/>
                  <a:gd name="connsiteY1" fmla="*/ 0 h 914400"/>
                  <a:gd name="connsiteX2" fmla="*/ 1828800 w 1828800"/>
                  <a:gd name="connsiteY2" fmla="*/ 457200 h 914400"/>
                  <a:gd name="connsiteX3" fmla="*/ 1683958 w 1828800"/>
                  <a:gd name="connsiteY3" fmla="*/ 914400 h 914400"/>
                  <a:gd name="connsiteX4" fmla="*/ 0 w 1828800"/>
                  <a:gd name="connsiteY4" fmla="*/ 914400 h 914400"/>
                  <a:gd name="connsiteX5" fmla="*/ 144842 w 1828800"/>
                  <a:gd name="connsiteY5" fmla="*/ 457201 h 914400"/>
                  <a:gd name="connsiteX0" fmla="*/ 0 w 1828800"/>
                  <a:gd name="connsiteY0" fmla="*/ 0 h 914400"/>
                  <a:gd name="connsiteX1" fmla="*/ 1683958 w 1828800"/>
                  <a:gd name="connsiteY1" fmla="*/ 0 h 914400"/>
                  <a:gd name="connsiteX2" fmla="*/ 1828800 w 1828800"/>
                  <a:gd name="connsiteY2" fmla="*/ 457200 h 914400"/>
                  <a:gd name="connsiteX3" fmla="*/ 168395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8395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44841 w 1828800"/>
                  <a:gd name="connsiteY5" fmla="*/ 457202 h 914400"/>
                  <a:gd name="connsiteX0" fmla="*/ 0 w 1828800"/>
                  <a:gd name="connsiteY0" fmla="*/ 0 h 914400"/>
                  <a:gd name="connsiteX1" fmla="*/ 1683959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44841 w 1828800"/>
                  <a:gd name="connsiteY5" fmla="*/ 457202 h 914400"/>
                  <a:gd name="connsiteX0" fmla="*/ 0 w 1828800"/>
                  <a:gd name="connsiteY0" fmla="*/ 0 h 914400"/>
                  <a:gd name="connsiteX1" fmla="*/ 1683959 w 1828800"/>
                  <a:gd name="connsiteY1" fmla="*/ 0 h 914400"/>
                  <a:gd name="connsiteX2" fmla="*/ 1828800 w 1828800"/>
                  <a:gd name="connsiteY2" fmla="*/ 457200 h 914400"/>
                  <a:gd name="connsiteX3" fmla="*/ 1683959 w 1828800"/>
                  <a:gd name="connsiteY3" fmla="*/ 914400 h 914400"/>
                  <a:gd name="connsiteX4" fmla="*/ 0 w 1828800"/>
                  <a:gd name="connsiteY4" fmla="*/ 914400 h 914400"/>
                  <a:gd name="connsiteX5" fmla="*/ 144841 w 1828800"/>
                  <a:gd name="connsiteY5" fmla="*/ 457202 h 914400"/>
                  <a:gd name="connsiteX0" fmla="*/ 0 w 1828800"/>
                  <a:gd name="connsiteY0" fmla="*/ 0 h 914400"/>
                  <a:gd name="connsiteX1" fmla="*/ 1683959 w 1828800"/>
                  <a:gd name="connsiteY1" fmla="*/ 0 h 914400"/>
                  <a:gd name="connsiteX2" fmla="*/ 1828800 w 1828800"/>
                  <a:gd name="connsiteY2" fmla="*/ 457200 h 914400"/>
                  <a:gd name="connsiteX3" fmla="*/ 1683959 w 1828800"/>
                  <a:gd name="connsiteY3" fmla="*/ 914400 h 914400"/>
                  <a:gd name="connsiteX4" fmla="*/ 0 w 1828800"/>
                  <a:gd name="connsiteY4" fmla="*/ 914400 h 914400"/>
                  <a:gd name="connsiteX5" fmla="*/ 181052 w 1828800"/>
                  <a:gd name="connsiteY5" fmla="*/ 457202 h 914400"/>
                  <a:gd name="connsiteX0" fmla="*/ 0 w 1828800"/>
                  <a:gd name="connsiteY0" fmla="*/ 0 h 914400"/>
                  <a:gd name="connsiteX1" fmla="*/ 1647748 w 1828800"/>
                  <a:gd name="connsiteY1" fmla="*/ 0 h 914400"/>
                  <a:gd name="connsiteX2" fmla="*/ 1828800 w 1828800"/>
                  <a:gd name="connsiteY2" fmla="*/ 457200 h 914400"/>
                  <a:gd name="connsiteX3" fmla="*/ 1683959 w 1828800"/>
                  <a:gd name="connsiteY3" fmla="*/ 914400 h 914400"/>
                  <a:gd name="connsiteX4" fmla="*/ 0 w 1828800"/>
                  <a:gd name="connsiteY4" fmla="*/ 914400 h 914400"/>
                  <a:gd name="connsiteX5" fmla="*/ 181052 w 1828800"/>
                  <a:gd name="connsiteY5" fmla="*/ 457202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81052 w 1828800"/>
                  <a:gd name="connsiteY5" fmla="*/ 457202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21595 w 1828800"/>
                  <a:gd name="connsiteY5" fmla="*/ 457203 h 914400"/>
                  <a:gd name="connsiteX0" fmla="*/ 0 w 1828800"/>
                  <a:gd name="connsiteY0" fmla="*/ 0 h 914400"/>
                  <a:gd name="connsiteX1" fmla="*/ 1707207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21595 w 1828800"/>
                  <a:gd name="connsiteY5" fmla="*/ 457203 h 914400"/>
                  <a:gd name="connsiteX0" fmla="*/ 0 w 1828800"/>
                  <a:gd name="connsiteY0" fmla="*/ 0 h 914400"/>
                  <a:gd name="connsiteX1" fmla="*/ 1707207 w 1828800"/>
                  <a:gd name="connsiteY1" fmla="*/ 0 h 914400"/>
                  <a:gd name="connsiteX2" fmla="*/ 1828800 w 1828800"/>
                  <a:gd name="connsiteY2" fmla="*/ 457200 h 914400"/>
                  <a:gd name="connsiteX3" fmla="*/ 1707207 w 1828800"/>
                  <a:gd name="connsiteY3" fmla="*/ 914400 h 914400"/>
                  <a:gd name="connsiteX4" fmla="*/ 0 w 1828800"/>
                  <a:gd name="connsiteY4" fmla="*/ 914400 h 914400"/>
                  <a:gd name="connsiteX5" fmla="*/ 121595 w 1828800"/>
                  <a:gd name="connsiteY5" fmla="*/ 457203 h 914400"/>
                  <a:gd name="connsiteX0" fmla="*/ 0 w 1828800"/>
                  <a:gd name="connsiteY0" fmla="*/ 0 h 914400"/>
                  <a:gd name="connsiteX1" fmla="*/ 1707207 w 1828800"/>
                  <a:gd name="connsiteY1" fmla="*/ 0 h 914400"/>
                  <a:gd name="connsiteX2" fmla="*/ 1828800 w 1828800"/>
                  <a:gd name="connsiteY2" fmla="*/ 457200 h 914400"/>
                  <a:gd name="connsiteX3" fmla="*/ 1707207 w 1828800"/>
                  <a:gd name="connsiteY3" fmla="*/ 914400 h 914400"/>
                  <a:gd name="connsiteX4" fmla="*/ 0 w 1828800"/>
                  <a:gd name="connsiteY4" fmla="*/ 914400 h 914400"/>
                  <a:gd name="connsiteX5" fmla="*/ 151993 w 1828800"/>
                  <a:gd name="connsiteY5" fmla="*/ 457203 h 914400"/>
                  <a:gd name="connsiteX0" fmla="*/ 0 w 1828800"/>
                  <a:gd name="connsiteY0" fmla="*/ 0 h 914400"/>
                  <a:gd name="connsiteX1" fmla="*/ 1676809 w 1828800"/>
                  <a:gd name="connsiteY1" fmla="*/ 0 h 914400"/>
                  <a:gd name="connsiteX2" fmla="*/ 1828800 w 1828800"/>
                  <a:gd name="connsiteY2" fmla="*/ 457200 h 914400"/>
                  <a:gd name="connsiteX3" fmla="*/ 1707207 w 1828800"/>
                  <a:gd name="connsiteY3" fmla="*/ 914400 h 914400"/>
                  <a:gd name="connsiteX4" fmla="*/ 0 w 1828800"/>
                  <a:gd name="connsiteY4" fmla="*/ 914400 h 914400"/>
                  <a:gd name="connsiteX5" fmla="*/ 151993 w 1828800"/>
                  <a:gd name="connsiteY5" fmla="*/ 457203 h 914400"/>
                  <a:gd name="connsiteX0" fmla="*/ 0 w 1828800"/>
                  <a:gd name="connsiteY0" fmla="*/ 0 h 914400"/>
                  <a:gd name="connsiteX1" fmla="*/ 1676809 w 1828800"/>
                  <a:gd name="connsiteY1" fmla="*/ 0 h 914400"/>
                  <a:gd name="connsiteX2" fmla="*/ 1828800 w 1828800"/>
                  <a:gd name="connsiteY2" fmla="*/ 457200 h 914400"/>
                  <a:gd name="connsiteX3" fmla="*/ 1676809 w 1828800"/>
                  <a:gd name="connsiteY3" fmla="*/ 914400 h 914400"/>
                  <a:gd name="connsiteX4" fmla="*/ 0 w 1828800"/>
                  <a:gd name="connsiteY4" fmla="*/ 914400 h 914400"/>
                  <a:gd name="connsiteX5" fmla="*/ 151993 w 1828800"/>
                  <a:gd name="connsiteY5" fmla="*/ 457203 h 914400"/>
                  <a:gd name="connsiteX0" fmla="*/ 0 w 1828800"/>
                  <a:gd name="connsiteY0" fmla="*/ 0 h 914400"/>
                  <a:gd name="connsiteX1" fmla="*/ 1676809 w 1828800"/>
                  <a:gd name="connsiteY1" fmla="*/ 0 h 914400"/>
                  <a:gd name="connsiteX2" fmla="*/ 1828800 w 1828800"/>
                  <a:gd name="connsiteY2" fmla="*/ 457200 h 914400"/>
                  <a:gd name="connsiteX3" fmla="*/ 1676809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76809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162739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162739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162739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179013 w 1828800"/>
                  <a:gd name="connsiteY5" fmla="*/ 457204 h 914400"/>
                  <a:gd name="connsiteX0" fmla="*/ 0 w 1828800"/>
                  <a:gd name="connsiteY0" fmla="*/ 0 h 914400"/>
                  <a:gd name="connsiteX1" fmla="*/ 1649789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179013 w 1828800"/>
                  <a:gd name="connsiteY5" fmla="*/ 457204 h 914400"/>
                  <a:gd name="connsiteX0" fmla="*/ 0 w 1828800"/>
                  <a:gd name="connsiteY0" fmla="*/ 0 h 914400"/>
                  <a:gd name="connsiteX1" fmla="*/ 1649789 w 1828800"/>
                  <a:gd name="connsiteY1" fmla="*/ 0 h 914400"/>
                  <a:gd name="connsiteX2" fmla="*/ 1828800 w 1828800"/>
                  <a:gd name="connsiteY2" fmla="*/ 457200 h 914400"/>
                  <a:gd name="connsiteX3" fmla="*/ 1649789 w 1828800"/>
                  <a:gd name="connsiteY3" fmla="*/ 914400 h 914400"/>
                  <a:gd name="connsiteX4" fmla="*/ 0 w 1828800"/>
                  <a:gd name="connsiteY4" fmla="*/ 914400 h 914400"/>
                  <a:gd name="connsiteX5" fmla="*/ 179013 w 1828800"/>
                  <a:gd name="connsiteY5" fmla="*/ 457204 h 914400"/>
                  <a:gd name="connsiteX0" fmla="*/ 0 w 1828800"/>
                  <a:gd name="connsiteY0" fmla="*/ 0 h 914400"/>
                  <a:gd name="connsiteX1" fmla="*/ 1649789 w 1828800"/>
                  <a:gd name="connsiteY1" fmla="*/ 0 h 914400"/>
                  <a:gd name="connsiteX2" fmla="*/ 1828800 w 1828800"/>
                  <a:gd name="connsiteY2" fmla="*/ 457200 h 914400"/>
                  <a:gd name="connsiteX3" fmla="*/ 1649789 w 1828800"/>
                  <a:gd name="connsiteY3" fmla="*/ 914400 h 914400"/>
                  <a:gd name="connsiteX4" fmla="*/ 0 w 1828800"/>
                  <a:gd name="connsiteY4" fmla="*/ 914400 h 914400"/>
                  <a:gd name="connsiteX5" fmla="*/ 223766 w 1828800"/>
                  <a:gd name="connsiteY5" fmla="*/ 457204 h 914400"/>
                  <a:gd name="connsiteX0" fmla="*/ 0 w 1828800"/>
                  <a:gd name="connsiteY0" fmla="*/ 0 h 914400"/>
                  <a:gd name="connsiteX1" fmla="*/ 1605036 w 1828800"/>
                  <a:gd name="connsiteY1" fmla="*/ 0 h 914400"/>
                  <a:gd name="connsiteX2" fmla="*/ 1828800 w 1828800"/>
                  <a:gd name="connsiteY2" fmla="*/ 457200 h 914400"/>
                  <a:gd name="connsiteX3" fmla="*/ 1649789 w 1828800"/>
                  <a:gd name="connsiteY3" fmla="*/ 914400 h 914400"/>
                  <a:gd name="connsiteX4" fmla="*/ 0 w 1828800"/>
                  <a:gd name="connsiteY4" fmla="*/ 914400 h 914400"/>
                  <a:gd name="connsiteX5" fmla="*/ 223766 w 1828800"/>
                  <a:gd name="connsiteY5" fmla="*/ 457204 h 914400"/>
                  <a:gd name="connsiteX0" fmla="*/ 0 w 1828800"/>
                  <a:gd name="connsiteY0" fmla="*/ 0 h 914400"/>
                  <a:gd name="connsiteX1" fmla="*/ 1605036 w 1828800"/>
                  <a:gd name="connsiteY1" fmla="*/ 0 h 914400"/>
                  <a:gd name="connsiteX2" fmla="*/ 1828800 w 1828800"/>
                  <a:gd name="connsiteY2" fmla="*/ 457200 h 914400"/>
                  <a:gd name="connsiteX3" fmla="*/ 1605036 w 1828800"/>
                  <a:gd name="connsiteY3" fmla="*/ 914400 h 914400"/>
                  <a:gd name="connsiteX4" fmla="*/ 0 w 1828800"/>
                  <a:gd name="connsiteY4" fmla="*/ 914400 h 914400"/>
                  <a:gd name="connsiteX5" fmla="*/ 223766 w 1828800"/>
                  <a:gd name="connsiteY5" fmla="*/ 457204 h 914400"/>
                  <a:gd name="connsiteX0" fmla="*/ 0 w 1828800"/>
                  <a:gd name="connsiteY0" fmla="*/ 0 h 914400"/>
                  <a:gd name="connsiteX1" fmla="*/ 1605036 w 1828800"/>
                  <a:gd name="connsiteY1" fmla="*/ 0 h 914400"/>
                  <a:gd name="connsiteX2" fmla="*/ 1828800 w 1828800"/>
                  <a:gd name="connsiteY2" fmla="*/ 457200 h 914400"/>
                  <a:gd name="connsiteX3" fmla="*/ 1605036 w 1828800"/>
                  <a:gd name="connsiteY3" fmla="*/ 914400 h 914400"/>
                  <a:gd name="connsiteX4" fmla="*/ 0 w 1828800"/>
                  <a:gd name="connsiteY4" fmla="*/ 914400 h 914400"/>
                  <a:gd name="connsiteX5" fmla="*/ 145146 w 1828800"/>
                  <a:gd name="connsiteY5" fmla="*/ 457204 h 914400"/>
                  <a:gd name="connsiteX0" fmla="*/ 0 w 1828800"/>
                  <a:gd name="connsiteY0" fmla="*/ 0 h 914400"/>
                  <a:gd name="connsiteX1" fmla="*/ 1683654 w 1828800"/>
                  <a:gd name="connsiteY1" fmla="*/ 0 h 914400"/>
                  <a:gd name="connsiteX2" fmla="*/ 1828800 w 1828800"/>
                  <a:gd name="connsiteY2" fmla="*/ 457200 h 914400"/>
                  <a:gd name="connsiteX3" fmla="*/ 1605036 w 1828800"/>
                  <a:gd name="connsiteY3" fmla="*/ 914400 h 914400"/>
                  <a:gd name="connsiteX4" fmla="*/ 0 w 1828800"/>
                  <a:gd name="connsiteY4" fmla="*/ 914400 h 914400"/>
                  <a:gd name="connsiteX5" fmla="*/ 145146 w 1828800"/>
                  <a:gd name="connsiteY5" fmla="*/ 457204 h 914400"/>
                  <a:gd name="connsiteX0" fmla="*/ 0 w 1828800"/>
                  <a:gd name="connsiteY0" fmla="*/ 0 h 914400"/>
                  <a:gd name="connsiteX1" fmla="*/ 1683654 w 1828800"/>
                  <a:gd name="connsiteY1" fmla="*/ 0 h 914400"/>
                  <a:gd name="connsiteX2" fmla="*/ 1828800 w 1828800"/>
                  <a:gd name="connsiteY2" fmla="*/ 457200 h 914400"/>
                  <a:gd name="connsiteX3" fmla="*/ 1683654 w 1828800"/>
                  <a:gd name="connsiteY3" fmla="*/ 914400 h 914400"/>
                  <a:gd name="connsiteX4" fmla="*/ 0 w 1828800"/>
                  <a:gd name="connsiteY4" fmla="*/ 914400 h 914400"/>
                  <a:gd name="connsiteX5" fmla="*/ 145146 w 1828800"/>
                  <a:gd name="connsiteY5" fmla="*/ 457204 h 914400"/>
                  <a:gd name="connsiteX0" fmla="*/ 0 w 1828800"/>
                  <a:gd name="connsiteY0" fmla="*/ 0 h 914400"/>
                  <a:gd name="connsiteX1" fmla="*/ 1683654 w 1828800"/>
                  <a:gd name="connsiteY1" fmla="*/ 0 h 914400"/>
                  <a:gd name="connsiteX2" fmla="*/ 1828800 w 1828800"/>
                  <a:gd name="connsiteY2" fmla="*/ 457200 h 914400"/>
                  <a:gd name="connsiteX3" fmla="*/ 1683654 w 1828800"/>
                  <a:gd name="connsiteY3" fmla="*/ 914400 h 914400"/>
                  <a:gd name="connsiteX4" fmla="*/ 0 w 1828800"/>
                  <a:gd name="connsiteY4" fmla="*/ 914400 h 914400"/>
                  <a:gd name="connsiteX5" fmla="*/ 181432 w 1828800"/>
                  <a:gd name="connsiteY5" fmla="*/ 457204 h 914400"/>
                  <a:gd name="connsiteX0" fmla="*/ 0 w 1828800"/>
                  <a:gd name="connsiteY0" fmla="*/ 0 h 914400"/>
                  <a:gd name="connsiteX1" fmla="*/ 1647368 w 1828800"/>
                  <a:gd name="connsiteY1" fmla="*/ 0 h 914400"/>
                  <a:gd name="connsiteX2" fmla="*/ 1828800 w 1828800"/>
                  <a:gd name="connsiteY2" fmla="*/ 457200 h 914400"/>
                  <a:gd name="connsiteX3" fmla="*/ 1683654 w 1828800"/>
                  <a:gd name="connsiteY3" fmla="*/ 914400 h 914400"/>
                  <a:gd name="connsiteX4" fmla="*/ 0 w 1828800"/>
                  <a:gd name="connsiteY4" fmla="*/ 914400 h 914400"/>
                  <a:gd name="connsiteX5" fmla="*/ 181432 w 1828800"/>
                  <a:gd name="connsiteY5" fmla="*/ 457204 h 914400"/>
                  <a:gd name="connsiteX0" fmla="*/ 0 w 1828800"/>
                  <a:gd name="connsiteY0" fmla="*/ 0 h 914400"/>
                  <a:gd name="connsiteX1" fmla="*/ 1647368 w 1828800"/>
                  <a:gd name="connsiteY1" fmla="*/ 0 h 914400"/>
                  <a:gd name="connsiteX2" fmla="*/ 1828800 w 1828800"/>
                  <a:gd name="connsiteY2" fmla="*/ 457200 h 914400"/>
                  <a:gd name="connsiteX3" fmla="*/ 1647368 w 1828800"/>
                  <a:gd name="connsiteY3" fmla="*/ 914400 h 914400"/>
                  <a:gd name="connsiteX4" fmla="*/ 0 w 1828800"/>
                  <a:gd name="connsiteY4" fmla="*/ 914400 h 914400"/>
                  <a:gd name="connsiteX5" fmla="*/ 181432 w 1828800"/>
                  <a:gd name="connsiteY5" fmla="*/ 457204 h 914400"/>
                  <a:gd name="connsiteX0" fmla="*/ 0 w 1828800"/>
                  <a:gd name="connsiteY0" fmla="*/ 0 h 914400"/>
                  <a:gd name="connsiteX1" fmla="*/ 1647368 w 1828800"/>
                  <a:gd name="connsiteY1" fmla="*/ 0 h 914400"/>
                  <a:gd name="connsiteX2" fmla="*/ 1828800 w 1828800"/>
                  <a:gd name="connsiteY2" fmla="*/ 457200 h 914400"/>
                  <a:gd name="connsiteX3" fmla="*/ 1647368 w 1828800"/>
                  <a:gd name="connsiteY3" fmla="*/ 914400 h 914400"/>
                  <a:gd name="connsiteX4" fmla="*/ 0 w 1828800"/>
                  <a:gd name="connsiteY4" fmla="*/ 914400 h 914400"/>
                  <a:gd name="connsiteX5" fmla="*/ 97133 w 1828800"/>
                  <a:gd name="connsiteY5" fmla="*/ 457203 h 914400"/>
                  <a:gd name="connsiteX0" fmla="*/ 0 w 1828800"/>
                  <a:gd name="connsiteY0" fmla="*/ 0 h 914400"/>
                  <a:gd name="connsiteX1" fmla="*/ 1731667 w 1828800"/>
                  <a:gd name="connsiteY1" fmla="*/ 0 h 914400"/>
                  <a:gd name="connsiteX2" fmla="*/ 1828800 w 1828800"/>
                  <a:gd name="connsiteY2" fmla="*/ 457200 h 914400"/>
                  <a:gd name="connsiteX3" fmla="*/ 1647368 w 1828800"/>
                  <a:gd name="connsiteY3" fmla="*/ 914400 h 914400"/>
                  <a:gd name="connsiteX4" fmla="*/ 0 w 1828800"/>
                  <a:gd name="connsiteY4" fmla="*/ 914400 h 914400"/>
                  <a:gd name="connsiteX5" fmla="*/ 97133 w 1828800"/>
                  <a:gd name="connsiteY5" fmla="*/ 457203 h 914400"/>
                  <a:gd name="connsiteX0" fmla="*/ 0 w 1828800"/>
                  <a:gd name="connsiteY0" fmla="*/ 0 h 914400"/>
                  <a:gd name="connsiteX1" fmla="*/ 1731667 w 1828800"/>
                  <a:gd name="connsiteY1" fmla="*/ 0 h 914400"/>
                  <a:gd name="connsiteX2" fmla="*/ 1828800 w 1828800"/>
                  <a:gd name="connsiteY2" fmla="*/ 457200 h 914400"/>
                  <a:gd name="connsiteX3" fmla="*/ 1731667 w 1828800"/>
                  <a:gd name="connsiteY3" fmla="*/ 914400 h 914400"/>
                  <a:gd name="connsiteX4" fmla="*/ 0 w 1828800"/>
                  <a:gd name="connsiteY4" fmla="*/ 914400 h 914400"/>
                  <a:gd name="connsiteX5" fmla="*/ 97133 w 1828800"/>
                  <a:gd name="connsiteY5" fmla="*/ 457203 h 914400"/>
                  <a:gd name="connsiteX0" fmla="*/ 0 w 1828800"/>
                  <a:gd name="connsiteY0" fmla="*/ 0 h 914400"/>
                  <a:gd name="connsiteX1" fmla="*/ 1731667 w 1828800"/>
                  <a:gd name="connsiteY1" fmla="*/ 0 h 914400"/>
                  <a:gd name="connsiteX2" fmla="*/ 1828800 w 1828800"/>
                  <a:gd name="connsiteY2" fmla="*/ 457200 h 914400"/>
                  <a:gd name="connsiteX3" fmla="*/ 1731667 w 1828800"/>
                  <a:gd name="connsiteY3" fmla="*/ 914400 h 914400"/>
                  <a:gd name="connsiteX4" fmla="*/ 0 w 1828800"/>
                  <a:gd name="connsiteY4" fmla="*/ 914400 h 914400"/>
                  <a:gd name="connsiteX5" fmla="*/ 121416 w 1828800"/>
                  <a:gd name="connsiteY5" fmla="*/ 457203 h 914400"/>
                  <a:gd name="connsiteX0" fmla="*/ 0 w 1828800"/>
                  <a:gd name="connsiteY0" fmla="*/ 0 h 914400"/>
                  <a:gd name="connsiteX1" fmla="*/ 1707384 w 1828800"/>
                  <a:gd name="connsiteY1" fmla="*/ 0 h 914400"/>
                  <a:gd name="connsiteX2" fmla="*/ 1828800 w 1828800"/>
                  <a:gd name="connsiteY2" fmla="*/ 457200 h 914400"/>
                  <a:gd name="connsiteX3" fmla="*/ 1731667 w 1828800"/>
                  <a:gd name="connsiteY3" fmla="*/ 914400 h 914400"/>
                  <a:gd name="connsiteX4" fmla="*/ 0 w 1828800"/>
                  <a:gd name="connsiteY4" fmla="*/ 914400 h 914400"/>
                  <a:gd name="connsiteX5" fmla="*/ 121416 w 1828800"/>
                  <a:gd name="connsiteY5" fmla="*/ 457203 h 914400"/>
                  <a:gd name="connsiteX0" fmla="*/ 0 w 1828800"/>
                  <a:gd name="connsiteY0" fmla="*/ 0 h 914400"/>
                  <a:gd name="connsiteX1" fmla="*/ 1707384 w 1828800"/>
                  <a:gd name="connsiteY1" fmla="*/ 0 h 914400"/>
                  <a:gd name="connsiteX2" fmla="*/ 1828800 w 1828800"/>
                  <a:gd name="connsiteY2" fmla="*/ 457200 h 914400"/>
                  <a:gd name="connsiteX3" fmla="*/ 1707384 w 1828800"/>
                  <a:gd name="connsiteY3" fmla="*/ 914400 h 914400"/>
                  <a:gd name="connsiteX4" fmla="*/ 0 w 1828800"/>
                  <a:gd name="connsiteY4" fmla="*/ 914400 h 914400"/>
                  <a:gd name="connsiteX5" fmla="*/ 121416 w 1828800"/>
                  <a:gd name="connsiteY5" fmla="*/ 457203 h 914400"/>
                  <a:gd name="connsiteX0" fmla="*/ 0 w 1828800"/>
                  <a:gd name="connsiteY0" fmla="*/ 0 h 914400"/>
                  <a:gd name="connsiteX1" fmla="*/ 1707384 w 1828800"/>
                  <a:gd name="connsiteY1" fmla="*/ 0 h 914400"/>
                  <a:gd name="connsiteX2" fmla="*/ 1828800 w 1828800"/>
                  <a:gd name="connsiteY2" fmla="*/ 457200 h 914400"/>
                  <a:gd name="connsiteX3" fmla="*/ 170738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738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81622 w 1828800"/>
                  <a:gd name="connsiteY5" fmla="*/ 457203 h 914400"/>
                  <a:gd name="connsiteX0" fmla="*/ 0 w 1828800"/>
                  <a:gd name="connsiteY0" fmla="*/ 0 h 914400"/>
                  <a:gd name="connsiteX1" fmla="*/ 1747178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81622 w 1828800"/>
                  <a:gd name="connsiteY5" fmla="*/ 457203 h 914400"/>
                  <a:gd name="connsiteX0" fmla="*/ 0 w 1828800"/>
                  <a:gd name="connsiteY0" fmla="*/ 0 h 914400"/>
                  <a:gd name="connsiteX1" fmla="*/ 1747178 w 1828800"/>
                  <a:gd name="connsiteY1" fmla="*/ 0 h 914400"/>
                  <a:gd name="connsiteX2" fmla="*/ 1828800 w 1828800"/>
                  <a:gd name="connsiteY2" fmla="*/ 457200 h 914400"/>
                  <a:gd name="connsiteX3" fmla="*/ 1747178 w 1828800"/>
                  <a:gd name="connsiteY3" fmla="*/ 914400 h 914400"/>
                  <a:gd name="connsiteX4" fmla="*/ 0 w 1828800"/>
                  <a:gd name="connsiteY4" fmla="*/ 914400 h 914400"/>
                  <a:gd name="connsiteX5" fmla="*/ 81622 w 1828800"/>
                  <a:gd name="connsiteY5" fmla="*/ 457203 h 914400"/>
                  <a:gd name="connsiteX0" fmla="*/ 0 w 1828800"/>
                  <a:gd name="connsiteY0" fmla="*/ 0 h 914400"/>
                  <a:gd name="connsiteX1" fmla="*/ 1747178 w 1828800"/>
                  <a:gd name="connsiteY1" fmla="*/ 0 h 914400"/>
                  <a:gd name="connsiteX2" fmla="*/ 1828800 w 1828800"/>
                  <a:gd name="connsiteY2" fmla="*/ 457200 h 914400"/>
                  <a:gd name="connsiteX3" fmla="*/ 1747178 w 1828800"/>
                  <a:gd name="connsiteY3" fmla="*/ 914400 h 914400"/>
                  <a:gd name="connsiteX4" fmla="*/ 0 w 1828800"/>
                  <a:gd name="connsiteY4" fmla="*/ 914400 h 914400"/>
                  <a:gd name="connsiteX5" fmla="*/ 102027 w 1828800"/>
                  <a:gd name="connsiteY5" fmla="*/ 457203 h 914400"/>
                  <a:gd name="connsiteX0" fmla="*/ 0 w 1828800"/>
                  <a:gd name="connsiteY0" fmla="*/ 0 h 914400"/>
                  <a:gd name="connsiteX1" fmla="*/ 1726773 w 1828800"/>
                  <a:gd name="connsiteY1" fmla="*/ 0 h 914400"/>
                  <a:gd name="connsiteX2" fmla="*/ 1828800 w 1828800"/>
                  <a:gd name="connsiteY2" fmla="*/ 457200 h 914400"/>
                  <a:gd name="connsiteX3" fmla="*/ 1747178 w 1828800"/>
                  <a:gd name="connsiteY3" fmla="*/ 914400 h 914400"/>
                  <a:gd name="connsiteX4" fmla="*/ 0 w 1828800"/>
                  <a:gd name="connsiteY4" fmla="*/ 914400 h 914400"/>
                  <a:gd name="connsiteX5" fmla="*/ 102027 w 1828800"/>
                  <a:gd name="connsiteY5" fmla="*/ 457203 h 914400"/>
                  <a:gd name="connsiteX0" fmla="*/ 0 w 1828800"/>
                  <a:gd name="connsiteY0" fmla="*/ 0 h 914400"/>
                  <a:gd name="connsiteX1" fmla="*/ 1726773 w 1828800"/>
                  <a:gd name="connsiteY1" fmla="*/ 0 h 914400"/>
                  <a:gd name="connsiteX2" fmla="*/ 1828800 w 1828800"/>
                  <a:gd name="connsiteY2" fmla="*/ 457200 h 914400"/>
                  <a:gd name="connsiteX3" fmla="*/ 1726773 w 1828800"/>
                  <a:gd name="connsiteY3" fmla="*/ 914400 h 914400"/>
                  <a:gd name="connsiteX4" fmla="*/ 0 w 1828800"/>
                  <a:gd name="connsiteY4" fmla="*/ 914400 h 914400"/>
                  <a:gd name="connsiteX5" fmla="*/ 102027 w 1828800"/>
                  <a:gd name="connsiteY5" fmla="*/ 457203 h 914400"/>
                  <a:gd name="connsiteX0" fmla="*/ 0 w 1828800"/>
                  <a:gd name="connsiteY0" fmla="*/ 0 h 914400"/>
                  <a:gd name="connsiteX1" fmla="*/ 1726773 w 1828800"/>
                  <a:gd name="connsiteY1" fmla="*/ 0 h 914400"/>
                  <a:gd name="connsiteX2" fmla="*/ 1828800 w 1828800"/>
                  <a:gd name="connsiteY2" fmla="*/ 457200 h 914400"/>
                  <a:gd name="connsiteX3" fmla="*/ 1726773 w 1828800"/>
                  <a:gd name="connsiteY3" fmla="*/ 914400 h 914400"/>
                  <a:gd name="connsiteX4" fmla="*/ 0 w 1828800"/>
                  <a:gd name="connsiteY4" fmla="*/ 914400 h 914400"/>
                  <a:gd name="connsiteX5" fmla="*/ 168686 w 1828800"/>
                  <a:gd name="connsiteY5" fmla="*/ 457203 h 914400"/>
                  <a:gd name="connsiteX0" fmla="*/ 0 w 1828800"/>
                  <a:gd name="connsiteY0" fmla="*/ 0 h 914400"/>
                  <a:gd name="connsiteX1" fmla="*/ 1660114 w 1828800"/>
                  <a:gd name="connsiteY1" fmla="*/ 0 h 914400"/>
                  <a:gd name="connsiteX2" fmla="*/ 1828800 w 1828800"/>
                  <a:gd name="connsiteY2" fmla="*/ 457200 h 914400"/>
                  <a:gd name="connsiteX3" fmla="*/ 1726773 w 1828800"/>
                  <a:gd name="connsiteY3" fmla="*/ 914400 h 914400"/>
                  <a:gd name="connsiteX4" fmla="*/ 0 w 1828800"/>
                  <a:gd name="connsiteY4" fmla="*/ 914400 h 914400"/>
                  <a:gd name="connsiteX5" fmla="*/ 168686 w 1828800"/>
                  <a:gd name="connsiteY5" fmla="*/ 457203 h 914400"/>
                  <a:gd name="connsiteX0" fmla="*/ 0 w 1828800"/>
                  <a:gd name="connsiteY0" fmla="*/ 0 h 914400"/>
                  <a:gd name="connsiteX1" fmla="*/ 1660114 w 1828800"/>
                  <a:gd name="connsiteY1" fmla="*/ 0 h 914400"/>
                  <a:gd name="connsiteX2" fmla="*/ 1828800 w 1828800"/>
                  <a:gd name="connsiteY2" fmla="*/ 457200 h 914400"/>
                  <a:gd name="connsiteX3" fmla="*/ 1660114 w 1828800"/>
                  <a:gd name="connsiteY3" fmla="*/ 914400 h 914400"/>
                  <a:gd name="connsiteX4" fmla="*/ 0 w 1828800"/>
                  <a:gd name="connsiteY4" fmla="*/ 914400 h 914400"/>
                  <a:gd name="connsiteX5" fmla="*/ 168686 w 1828800"/>
                  <a:gd name="connsiteY5" fmla="*/ 457203 h 914400"/>
                  <a:gd name="connsiteX0" fmla="*/ 0 w 1828800"/>
                  <a:gd name="connsiteY0" fmla="*/ 0 h 914400"/>
                  <a:gd name="connsiteX1" fmla="*/ 1660114 w 1828800"/>
                  <a:gd name="connsiteY1" fmla="*/ 0 h 914400"/>
                  <a:gd name="connsiteX2" fmla="*/ 1828800 w 1828800"/>
                  <a:gd name="connsiteY2" fmla="*/ 457200 h 914400"/>
                  <a:gd name="connsiteX3" fmla="*/ 1660114 w 1828800"/>
                  <a:gd name="connsiteY3" fmla="*/ 914400 h 914400"/>
                  <a:gd name="connsiteX4" fmla="*/ 0 w 1828800"/>
                  <a:gd name="connsiteY4" fmla="*/ 914400 h 914400"/>
                  <a:gd name="connsiteX5" fmla="*/ 210858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60114 w 1828800"/>
                  <a:gd name="connsiteY3" fmla="*/ 914400 h 914400"/>
                  <a:gd name="connsiteX4" fmla="*/ 0 w 1828800"/>
                  <a:gd name="connsiteY4" fmla="*/ 914400 h 914400"/>
                  <a:gd name="connsiteX5" fmla="*/ 210858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210858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153351 w 1828800"/>
                  <a:gd name="connsiteY5" fmla="*/ 457203 h 914400"/>
                  <a:gd name="connsiteX0" fmla="*/ 0 w 1828800"/>
                  <a:gd name="connsiteY0" fmla="*/ 0 h 914400"/>
                  <a:gd name="connsiteX1" fmla="*/ 1675449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153351 w 1828800"/>
                  <a:gd name="connsiteY5" fmla="*/ 457203 h 914400"/>
                  <a:gd name="connsiteX0" fmla="*/ 0 w 1828800"/>
                  <a:gd name="connsiteY0" fmla="*/ 0 h 914400"/>
                  <a:gd name="connsiteX1" fmla="*/ 1675449 w 1828800"/>
                  <a:gd name="connsiteY1" fmla="*/ 0 h 914400"/>
                  <a:gd name="connsiteX2" fmla="*/ 1828800 w 1828800"/>
                  <a:gd name="connsiteY2" fmla="*/ 457200 h 914400"/>
                  <a:gd name="connsiteX3" fmla="*/ 1675449 w 1828800"/>
                  <a:gd name="connsiteY3" fmla="*/ 914400 h 914400"/>
                  <a:gd name="connsiteX4" fmla="*/ 0 w 1828800"/>
                  <a:gd name="connsiteY4" fmla="*/ 914400 h 914400"/>
                  <a:gd name="connsiteX5" fmla="*/ 153351 w 1828800"/>
                  <a:gd name="connsiteY5" fmla="*/ 457203 h 914400"/>
                  <a:gd name="connsiteX0" fmla="*/ 0 w 1828800"/>
                  <a:gd name="connsiteY0" fmla="*/ 0 h 914400"/>
                  <a:gd name="connsiteX1" fmla="*/ 1675449 w 1828800"/>
                  <a:gd name="connsiteY1" fmla="*/ 0 h 914400"/>
                  <a:gd name="connsiteX2" fmla="*/ 1828800 w 1828800"/>
                  <a:gd name="connsiteY2" fmla="*/ 457200 h 914400"/>
                  <a:gd name="connsiteX3" fmla="*/ 1675449 w 1828800"/>
                  <a:gd name="connsiteY3" fmla="*/ 914400 h 914400"/>
                  <a:gd name="connsiteX4" fmla="*/ 0 w 1828800"/>
                  <a:gd name="connsiteY4" fmla="*/ 914400 h 914400"/>
                  <a:gd name="connsiteX5" fmla="*/ 191689 w 1828800"/>
                  <a:gd name="connsiteY5" fmla="*/ 457203 h 914400"/>
                  <a:gd name="connsiteX0" fmla="*/ 0 w 1828800"/>
                  <a:gd name="connsiteY0" fmla="*/ 0 h 914400"/>
                  <a:gd name="connsiteX1" fmla="*/ 1637111 w 1828800"/>
                  <a:gd name="connsiteY1" fmla="*/ 0 h 914400"/>
                  <a:gd name="connsiteX2" fmla="*/ 1828800 w 1828800"/>
                  <a:gd name="connsiteY2" fmla="*/ 457200 h 914400"/>
                  <a:gd name="connsiteX3" fmla="*/ 1675449 w 1828800"/>
                  <a:gd name="connsiteY3" fmla="*/ 914400 h 914400"/>
                  <a:gd name="connsiteX4" fmla="*/ 0 w 1828800"/>
                  <a:gd name="connsiteY4" fmla="*/ 914400 h 914400"/>
                  <a:gd name="connsiteX5" fmla="*/ 191689 w 1828800"/>
                  <a:gd name="connsiteY5" fmla="*/ 457203 h 914400"/>
                  <a:gd name="connsiteX0" fmla="*/ 0 w 1828800"/>
                  <a:gd name="connsiteY0" fmla="*/ 0 h 914400"/>
                  <a:gd name="connsiteX1" fmla="*/ 1637111 w 1828800"/>
                  <a:gd name="connsiteY1" fmla="*/ 0 h 914400"/>
                  <a:gd name="connsiteX2" fmla="*/ 1828800 w 1828800"/>
                  <a:gd name="connsiteY2" fmla="*/ 457200 h 914400"/>
                  <a:gd name="connsiteX3" fmla="*/ 1637111 w 1828800"/>
                  <a:gd name="connsiteY3" fmla="*/ 914400 h 914400"/>
                  <a:gd name="connsiteX4" fmla="*/ 0 w 1828800"/>
                  <a:gd name="connsiteY4" fmla="*/ 914400 h 914400"/>
                  <a:gd name="connsiteX5" fmla="*/ 191689 w 1828800"/>
                  <a:gd name="connsiteY5" fmla="*/ 457203 h 914400"/>
                  <a:gd name="connsiteX0" fmla="*/ 0 w 1828800"/>
                  <a:gd name="connsiteY0" fmla="*/ 0 h 914400"/>
                  <a:gd name="connsiteX1" fmla="*/ 1637111 w 1828800"/>
                  <a:gd name="connsiteY1" fmla="*/ 0 h 914400"/>
                  <a:gd name="connsiteX2" fmla="*/ 1828800 w 1828800"/>
                  <a:gd name="connsiteY2" fmla="*/ 457200 h 914400"/>
                  <a:gd name="connsiteX3" fmla="*/ 1637111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60114 w 1828800"/>
                  <a:gd name="connsiteY1" fmla="*/ 0 h 914400"/>
                  <a:gd name="connsiteX2" fmla="*/ 1828800 w 1828800"/>
                  <a:gd name="connsiteY2" fmla="*/ 457200 h 914400"/>
                  <a:gd name="connsiteX3" fmla="*/ 1637111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60114 w 1828800"/>
                  <a:gd name="connsiteY1" fmla="*/ 0 h 914400"/>
                  <a:gd name="connsiteX2" fmla="*/ 1828800 w 1828800"/>
                  <a:gd name="connsiteY2" fmla="*/ 457200 h 914400"/>
                  <a:gd name="connsiteX3" fmla="*/ 166011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60114 w 1828800"/>
                  <a:gd name="connsiteY1" fmla="*/ 0 h 914400"/>
                  <a:gd name="connsiteX2" fmla="*/ 1828800 w 1828800"/>
                  <a:gd name="connsiteY2" fmla="*/ 457200 h 914400"/>
                  <a:gd name="connsiteX3" fmla="*/ 166011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6011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210858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210858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210858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24690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24690 w 1828800"/>
                  <a:gd name="connsiteY1" fmla="*/ 0 h 914400"/>
                  <a:gd name="connsiteX2" fmla="*/ 1828800 w 1828800"/>
                  <a:gd name="connsiteY2" fmla="*/ 457200 h 914400"/>
                  <a:gd name="connsiteX3" fmla="*/ 162469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24690 w 1828800"/>
                  <a:gd name="connsiteY1" fmla="*/ 0 h 914400"/>
                  <a:gd name="connsiteX2" fmla="*/ 1828800 w 1828800"/>
                  <a:gd name="connsiteY2" fmla="*/ 457200 h 914400"/>
                  <a:gd name="connsiteX3" fmla="*/ 162469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573662 w 1828800"/>
                  <a:gd name="connsiteY1" fmla="*/ 0 h 914400"/>
                  <a:gd name="connsiteX2" fmla="*/ 1828800 w 1828800"/>
                  <a:gd name="connsiteY2" fmla="*/ 457200 h 914400"/>
                  <a:gd name="connsiteX3" fmla="*/ 162469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573662 w 1828800"/>
                  <a:gd name="connsiteY1" fmla="*/ 0 h 914400"/>
                  <a:gd name="connsiteX2" fmla="*/ 1828800 w 1828800"/>
                  <a:gd name="connsiteY2" fmla="*/ 457200 h 914400"/>
                  <a:gd name="connsiteX3" fmla="*/ 1573662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573662 w 1828800"/>
                  <a:gd name="connsiteY1" fmla="*/ 0 h 914400"/>
                  <a:gd name="connsiteX2" fmla="*/ 1828800 w 1828800"/>
                  <a:gd name="connsiteY2" fmla="*/ 457200 h 914400"/>
                  <a:gd name="connsiteX3" fmla="*/ 1573662 w 1828800"/>
                  <a:gd name="connsiteY3" fmla="*/ 914400 h 914400"/>
                  <a:gd name="connsiteX4" fmla="*/ 0 w 1828800"/>
                  <a:gd name="connsiteY4" fmla="*/ 914400 h 914400"/>
                  <a:gd name="connsiteX5" fmla="*/ 255138 w 1828800"/>
                  <a:gd name="connsiteY5" fmla="*/ 457203 h 914400"/>
                  <a:gd name="connsiteX0" fmla="*/ 0 w 1828800"/>
                  <a:gd name="connsiteY0" fmla="*/ 0 h 914400"/>
                  <a:gd name="connsiteX1" fmla="*/ 1573662 w 1828800"/>
                  <a:gd name="connsiteY1" fmla="*/ 0 h 914400"/>
                  <a:gd name="connsiteX2" fmla="*/ 1828800 w 1828800"/>
                  <a:gd name="connsiteY2" fmla="*/ 457200 h 914400"/>
                  <a:gd name="connsiteX3" fmla="*/ 1573662 w 1828800"/>
                  <a:gd name="connsiteY3" fmla="*/ 914400 h 914400"/>
                  <a:gd name="connsiteX4" fmla="*/ 0 w 1828800"/>
                  <a:gd name="connsiteY4" fmla="*/ 914400 h 914400"/>
                  <a:gd name="connsiteX5" fmla="*/ 255138 w 1828800"/>
                  <a:gd name="connsiteY5" fmla="*/ 457203 h 914400"/>
                  <a:gd name="connsiteX0" fmla="*/ 0 w 1828800"/>
                  <a:gd name="connsiteY0" fmla="*/ 0 h 914400"/>
                  <a:gd name="connsiteX1" fmla="*/ 1573662 w 1828800"/>
                  <a:gd name="connsiteY1" fmla="*/ 0 h 914400"/>
                  <a:gd name="connsiteX2" fmla="*/ 1828800 w 1828800"/>
                  <a:gd name="connsiteY2" fmla="*/ 457200 h 914400"/>
                  <a:gd name="connsiteX3" fmla="*/ 1573662 w 1828800"/>
                  <a:gd name="connsiteY3" fmla="*/ 914400 h 914400"/>
                  <a:gd name="connsiteX4" fmla="*/ 0 w 1828800"/>
                  <a:gd name="connsiteY4" fmla="*/ 914400 h 914400"/>
                  <a:gd name="connsiteX5" fmla="*/ 255138 w 1828800"/>
                  <a:gd name="connsiteY5" fmla="*/ 457203 h 914400"/>
                  <a:gd name="connsiteX0" fmla="*/ 0 w 1828800"/>
                  <a:gd name="connsiteY0" fmla="*/ 0 h 914400"/>
                  <a:gd name="connsiteX1" fmla="*/ 1573662 w 1828800"/>
                  <a:gd name="connsiteY1" fmla="*/ 0 h 914400"/>
                  <a:gd name="connsiteX2" fmla="*/ 1828800 w 1828800"/>
                  <a:gd name="connsiteY2" fmla="*/ 457200 h 914400"/>
                  <a:gd name="connsiteX3" fmla="*/ 1573662 w 1828800"/>
                  <a:gd name="connsiteY3" fmla="*/ 914400 h 914400"/>
                  <a:gd name="connsiteX4" fmla="*/ 0 w 1828800"/>
                  <a:gd name="connsiteY4" fmla="*/ 914400 h 914400"/>
                  <a:gd name="connsiteX5" fmla="*/ 185555 w 1828800"/>
                  <a:gd name="connsiteY5" fmla="*/ 457203 h 914400"/>
                  <a:gd name="connsiteX0" fmla="*/ 0 w 1828800"/>
                  <a:gd name="connsiteY0" fmla="*/ 0 h 914400"/>
                  <a:gd name="connsiteX1" fmla="*/ 1643245 w 1828800"/>
                  <a:gd name="connsiteY1" fmla="*/ 0 h 914400"/>
                  <a:gd name="connsiteX2" fmla="*/ 1828800 w 1828800"/>
                  <a:gd name="connsiteY2" fmla="*/ 457200 h 914400"/>
                  <a:gd name="connsiteX3" fmla="*/ 1573662 w 1828800"/>
                  <a:gd name="connsiteY3" fmla="*/ 914400 h 914400"/>
                  <a:gd name="connsiteX4" fmla="*/ 0 w 1828800"/>
                  <a:gd name="connsiteY4" fmla="*/ 914400 h 914400"/>
                  <a:gd name="connsiteX5" fmla="*/ 185555 w 1828800"/>
                  <a:gd name="connsiteY5" fmla="*/ 457203 h 914400"/>
                  <a:gd name="connsiteX0" fmla="*/ 0 w 1828800"/>
                  <a:gd name="connsiteY0" fmla="*/ 0 h 914400"/>
                  <a:gd name="connsiteX1" fmla="*/ 1643245 w 1828800"/>
                  <a:gd name="connsiteY1" fmla="*/ 0 h 914400"/>
                  <a:gd name="connsiteX2" fmla="*/ 1828800 w 1828800"/>
                  <a:gd name="connsiteY2" fmla="*/ 457200 h 914400"/>
                  <a:gd name="connsiteX3" fmla="*/ 1643245 w 1828800"/>
                  <a:gd name="connsiteY3" fmla="*/ 914400 h 914400"/>
                  <a:gd name="connsiteX4" fmla="*/ 0 w 1828800"/>
                  <a:gd name="connsiteY4" fmla="*/ 914400 h 914400"/>
                  <a:gd name="connsiteX5" fmla="*/ 185555 w 1828800"/>
                  <a:gd name="connsiteY5" fmla="*/ 457203 h 914400"/>
                  <a:gd name="connsiteX0" fmla="*/ 0 w 1828800"/>
                  <a:gd name="connsiteY0" fmla="*/ 0 h 914400"/>
                  <a:gd name="connsiteX1" fmla="*/ 1643245 w 1828800"/>
                  <a:gd name="connsiteY1" fmla="*/ 0 h 914400"/>
                  <a:gd name="connsiteX2" fmla="*/ 1828800 w 1828800"/>
                  <a:gd name="connsiteY2" fmla="*/ 457200 h 914400"/>
                  <a:gd name="connsiteX3" fmla="*/ 1643245 w 1828800"/>
                  <a:gd name="connsiteY3" fmla="*/ 914400 h 914400"/>
                  <a:gd name="connsiteX4" fmla="*/ 0 w 1828800"/>
                  <a:gd name="connsiteY4" fmla="*/ 914400 h 914400"/>
                  <a:gd name="connsiteX5" fmla="*/ 231943 w 1828800"/>
                  <a:gd name="connsiteY5" fmla="*/ 457203 h 914400"/>
                  <a:gd name="connsiteX0" fmla="*/ 0 w 1828800"/>
                  <a:gd name="connsiteY0" fmla="*/ 0 h 914400"/>
                  <a:gd name="connsiteX1" fmla="*/ 1596857 w 1828800"/>
                  <a:gd name="connsiteY1" fmla="*/ 0 h 914400"/>
                  <a:gd name="connsiteX2" fmla="*/ 1828800 w 1828800"/>
                  <a:gd name="connsiteY2" fmla="*/ 457200 h 914400"/>
                  <a:gd name="connsiteX3" fmla="*/ 1643245 w 1828800"/>
                  <a:gd name="connsiteY3" fmla="*/ 914400 h 914400"/>
                  <a:gd name="connsiteX4" fmla="*/ 0 w 1828800"/>
                  <a:gd name="connsiteY4" fmla="*/ 914400 h 914400"/>
                  <a:gd name="connsiteX5" fmla="*/ 231943 w 1828800"/>
                  <a:gd name="connsiteY5" fmla="*/ 457203 h 914400"/>
                  <a:gd name="connsiteX0" fmla="*/ 0 w 1828800"/>
                  <a:gd name="connsiteY0" fmla="*/ 0 h 914400"/>
                  <a:gd name="connsiteX1" fmla="*/ 1596857 w 1828800"/>
                  <a:gd name="connsiteY1" fmla="*/ 0 h 914400"/>
                  <a:gd name="connsiteX2" fmla="*/ 1828800 w 1828800"/>
                  <a:gd name="connsiteY2" fmla="*/ 457200 h 914400"/>
                  <a:gd name="connsiteX3" fmla="*/ 1596857 w 1828800"/>
                  <a:gd name="connsiteY3" fmla="*/ 914400 h 914400"/>
                  <a:gd name="connsiteX4" fmla="*/ 0 w 1828800"/>
                  <a:gd name="connsiteY4" fmla="*/ 914400 h 914400"/>
                  <a:gd name="connsiteX5" fmla="*/ 231943 w 1828800"/>
                  <a:gd name="connsiteY5" fmla="*/ 457203 h 914400"/>
                  <a:gd name="connsiteX0" fmla="*/ 0 w 1828800"/>
                  <a:gd name="connsiteY0" fmla="*/ 0 h 914400"/>
                  <a:gd name="connsiteX1" fmla="*/ 1596857 w 1828800"/>
                  <a:gd name="connsiteY1" fmla="*/ 0 h 914400"/>
                  <a:gd name="connsiteX2" fmla="*/ 1828800 w 1828800"/>
                  <a:gd name="connsiteY2" fmla="*/ 457200 h 914400"/>
                  <a:gd name="connsiteX3" fmla="*/ 1596857 w 1828800"/>
                  <a:gd name="connsiteY3" fmla="*/ 914400 h 914400"/>
                  <a:gd name="connsiteX4" fmla="*/ 0 w 1828800"/>
                  <a:gd name="connsiteY4" fmla="*/ 914400 h 914400"/>
                  <a:gd name="connsiteX5" fmla="*/ 185555 w 1828800"/>
                  <a:gd name="connsiteY5" fmla="*/ 457203 h 914400"/>
                  <a:gd name="connsiteX0" fmla="*/ 0 w 1828800"/>
                  <a:gd name="connsiteY0" fmla="*/ 0 h 914400"/>
                  <a:gd name="connsiteX1" fmla="*/ 1643245 w 1828800"/>
                  <a:gd name="connsiteY1" fmla="*/ 0 h 914400"/>
                  <a:gd name="connsiteX2" fmla="*/ 1828800 w 1828800"/>
                  <a:gd name="connsiteY2" fmla="*/ 457200 h 914400"/>
                  <a:gd name="connsiteX3" fmla="*/ 1596857 w 1828800"/>
                  <a:gd name="connsiteY3" fmla="*/ 914400 h 914400"/>
                  <a:gd name="connsiteX4" fmla="*/ 0 w 1828800"/>
                  <a:gd name="connsiteY4" fmla="*/ 914400 h 914400"/>
                  <a:gd name="connsiteX5" fmla="*/ 185555 w 1828800"/>
                  <a:gd name="connsiteY5" fmla="*/ 457203 h 914400"/>
                  <a:gd name="connsiteX0" fmla="*/ 0 w 1828800"/>
                  <a:gd name="connsiteY0" fmla="*/ 0 h 914400"/>
                  <a:gd name="connsiteX1" fmla="*/ 1643245 w 1828800"/>
                  <a:gd name="connsiteY1" fmla="*/ 0 h 914400"/>
                  <a:gd name="connsiteX2" fmla="*/ 1828800 w 1828800"/>
                  <a:gd name="connsiteY2" fmla="*/ 457200 h 914400"/>
                  <a:gd name="connsiteX3" fmla="*/ 1643245 w 1828800"/>
                  <a:gd name="connsiteY3" fmla="*/ 914400 h 914400"/>
                  <a:gd name="connsiteX4" fmla="*/ 0 w 1828800"/>
                  <a:gd name="connsiteY4" fmla="*/ 914400 h 914400"/>
                  <a:gd name="connsiteX5" fmla="*/ 185555 w 1828800"/>
                  <a:gd name="connsiteY5" fmla="*/ 457203 h 914400"/>
                  <a:gd name="connsiteX0" fmla="*/ 0 w 1828800"/>
                  <a:gd name="connsiteY0" fmla="*/ 0 h 914400"/>
                  <a:gd name="connsiteX1" fmla="*/ 1643245 w 1828800"/>
                  <a:gd name="connsiteY1" fmla="*/ 0 h 914400"/>
                  <a:gd name="connsiteX2" fmla="*/ 1828800 w 1828800"/>
                  <a:gd name="connsiteY2" fmla="*/ 457200 h 914400"/>
                  <a:gd name="connsiteX3" fmla="*/ 1643245 w 1828800"/>
                  <a:gd name="connsiteY3" fmla="*/ 914400 h 914400"/>
                  <a:gd name="connsiteX4" fmla="*/ 0 w 1828800"/>
                  <a:gd name="connsiteY4" fmla="*/ 914400 h 914400"/>
                  <a:gd name="connsiteX5" fmla="*/ 231943 w 1828800"/>
                  <a:gd name="connsiteY5" fmla="*/ 457203 h 914400"/>
                  <a:gd name="connsiteX0" fmla="*/ 0 w 1828800"/>
                  <a:gd name="connsiteY0" fmla="*/ 0 h 914400"/>
                  <a:gd name="connsiteX1" fmla="*/ 1596857 w 1828800"/>
                  <a:gd name="connsiteY1" fmla="*/ 0 h 914400"/>
                  <a:gd name="connsiteX2" fmla="*/ 1828800 w 1828800"/>
                  <a:gd name="connsiteY2" fmla="*/ 457200 h 914400"/>
                  <a:gd name="connsiteX3" fmla="*/ 1643245 w 1828800"/>
                  <a:gd name="connsiteY3" fmla="*/ 914400 h 914400"/>
                  <a:gd name="connsiteX4" fmla="*/ 0 w 1828800"/>
                  <a:gd name="connsiteY4" fmla="*/ 914400 h 914400"/>
                  <a:gd name="connsiteX5" fmla="*/ 231943 w 1828800"/>
                  <a:gd name="connsiteY5" fmla="*/ 457203 h 914400"/>
                  <a:gd name="connsiteX0" fmla="*/ 0 w 1828800"/>
                  <a:gd name="connsiteY0" fmla="*/ 0 h 914400"/>
                  <a:gd name="connsiteX1" fmla="*/ 1596857 w 1828800"/>
                  <a:gd name="connsiteY1" fmla="*/ 0 h 914400"/>
                  <a:gd name="connsiteX2" fmla="*/ 1828800 w 1828800"/>
                  <a:gd name="connsiteY2" fmla="*/ 457200 h 914400"/>
                  <a:gd name="connsiteX3" fmla="*/ 1596857 w 1828800"/>
                  <a:gd name="connsiteY3" fmla="*/ 914400 h 914400"/>
                  <a:gd name="connsiteX4" fmla="*/ 0 w 1828800"/>
                  <a:gd name="connsiteY4" fmla="*/ 914400 h 914400"/>
                  <a:gd name="connsiteX5" fmla="*/ 231943 w 1828800"/>
                  <a:gd name="connsiteY5" fmla="*/ 457203 h 914400"/>
                  <a:gd name="connsiteX0" fmla="*/ 0 w 1828800"/>
                  <a:gd name="connsiteY0" fmla="*/ 0 h 914400"/>
                  <a:gd name="connsiteX1" fmla="*/ 1596857 w 1828800"/>
                  <a:gd name="connsiteY1" fmla="*/ 0 h 914400"/>
                  <a:gd name="connsiteX2" fmla="*/ 1828800 w 1828800"/>
                  <a:gd name="connsiteY2" fmla="*/ 457200 h 914400"/>
                  <a:gd name="connsiteX3" fmla="*/ 1596857 w 1828800"/>
                  <a:gd name="connsiteY3" fmla="*/ 914400 h 914400"/>
                  <a:gd name="connsiteX4" fmla="*/ 0 w 1828800"/>
                  <a:gd name="connsiteY4" fmla="*/ 914400 h 914400"/>
                  <a:gd name="connsiteX5" fmla="*/ 104880 w 1828800"/>
                  <a:gd name="connsiteY5" fmla="*/ 457203 h 914400"/>
                  <a:gd name="connsiteX0" fmla="*/ 0 w 1828800"/>
                  <a:gd name="connsiteY0" fmla="*/ 0 h 914400"/>
                  <a:gd name="connsiteX1" fmla="*/ 1723919 w 1828800"/>
                  <a:gd name="connsiteY1" fmla="*/ 0 h 914400"/>
                  <a:gd name="connsiteX2" fmla="*/ 1828800 w 1828800"/>
                  <a:gd name="connsiteY2" fmla="*/ 457200 h 914400"/>
                  <a:gd name="connsiteX3" fmla="*/ 1596857 w 1828800"/>
                  <a:gd name="connsiteY3" fmla="*/ 914400 h 914400"/>
                  <a:gd name="connsiteX4" fmla="*/ 0 w 1828800"/>
                  <a:gd name="connsiteY4" fmla="*/ 914400 h 914400"/>
                  <a:gd name="connsiteX5" fmla="*/ 104880 w 1828800"/>
                  <a:gd name="connsiteY5" fmla="*/ 457203 h 914400"/>
                  <a:gd name="connsiteX0" fmla="*/ 0 w 1828800"/>
                  <a:gd name="connsiteY0" fmla="*/ 0 h 914400"/>
                  <a:gd name="connsiteX1" fmla="*/ 1723919 w 1828800"/>
                  <a:gd name="connsiteY1" fmla="*/ 0 h 914400"/>
                  <a:gd name="connsiteX2" fmla="*/ 1828800 w 1828800"/>
                  <a:gd name="connsiteY2" fmla="*/ 457200 h 914400"/>
                  <a:gd name="connsiteX3" fmla="*/ 1723919 w 1828800"/>
                  <a:gd name="connsiteY3" fmla="*/ 914400 h 914400"/>
                  <a:gd name="connsiteX4" fmla="*/ 0 w 1828800"/>
                  <a:gd name="connsiteY4" fmla="*/ 914400 h 914400"/>
                  <a:gd name="connsiteX5" fmla="*/ 104880 w 1828800"/>
                  <a:gd name="connsiteY5" fmla="*/ 457203 h 914400"/>
                  <a:gd name="connsiteX0" fmla="*/ 0 w 1828800"/>
                  <a:gd name="connsiteY0" fmla="*/ 0 h 914400"/>
                  <a:gd name="connsiteX1" fmla="*/ 1723919 w 1828800"/>
                  <a:gd name="connsiteY1" fmla="*/ 0 h 914400"/>
                  <a:gd name="connsiteX2" fmla="*/ 1828800 w 1828800"/>
                  <a:gd name="connsiteY2" fmla="*/ 457200 h 914400"/>
                  <a:gd name="connsiteX3" fmla="*/ 1723919 w 1828800"/>
                  <a:gd name="connsiteY3" fmla="*/ 914400 h 914400"/>
                  <a:gd name="connsiteX4" fmla="*/ 0 w 1828800"/>
                  <a:gd name="connsiteY4" fmla="*/ 914400 h 914400"/>
                  <a:gd name="connsiteX5" fmla="*/ 131100 w 1828800"/>
                  <a:gd name="connsiteY5" fmla="*/ 457203 h 914400"/>
                  <a:gd name="connsiteX0" fmla="*/ 0 w 1828800"/>
                  <a:gd name="connsiteY0" fmla="*/ 0 h 914400"/>
                  <a:gd name="connsiteX1" fmla="*/ 1697698 w 1828800"/>
                  <a:gd name="connsiteY1" fmla="*/ 0 h 914400"/>
                  <a:gd name="connsiteX2" fmla="*/ 1828800 w 1828800"/>
                  <a:gd name="connsiteY2" fmla="*/ 457200 h 914400"/>
                  <a:gd name="connsiteX3" fmla="*/ 1723919 w 1828800"/>
                  <a:gd name="connsiteY3" fmla="*/ 914400 h 914400"/>
                  <a:gd name="connsiteX4" fmla="*/ 0 w 1828800"/>
                  <a:gd name="connsiteY4" fmla="*/ 914400 h 914400"/>
                  <a:gd name="connsiteX5" fmla="*/ 131100 w 1828800"/>
                  <a:gd name="connsiteY5" fmla="*/ 457203 h 914400"/>
                  <a:gd name="connsiteX0" fmla="*/ 0 w 1828800"/>
                  <a:gd name="connsiteY0" fmla="*/ 0 h 914400"/>
                  <a:gd name="connsiteX1" fmla="*/ 1697698 w 1828800"/>
                  <a:gd name="connsiteY1" fmla="*/ 0 h 914400"/>
                  <a:gd name="connsiteX2" fmla="*/ 1828800 w 1828800"/>
                  <a:gd name="connsiteY2" fmla="*/ 457200 h 914400"/>
                  <a:gd name="connsiteX3" fmla="*/ 1697698 w 1828800"/>
                  <a:gd name="connsiteY3" fmla="*/ 914400 h 914400"/>
                  <a:gd name="connsiteX4" fmla="*/ 0 w 1828800"/>
                  <a:gd name="connsiteY4" fmla="*/ 914400 h 914400"/>
                  <a:gd name="connsiteX5" fmla="*/ 131100 w 1828800"/>
                  <a:gd name="connsiteY5" fmla="*/ 457203 h 914400"/>
                  <a:gd name="connsiteX0" fmla="*/ 0 w 1828800"/>
                  <a:gd name="connsiteY0" fmla="*/ 0 h 914400"/>
                  <a:gd name="connsiteX1" fmla="*/ 1697698 w 1828800"/>
                  <a:gd name="connsiteY1" fmla="*/ 0 h 914400"/>
                  <a:gd name="connsiteX2" fmla="*/ 1828800 w 1828800"/>
                  <a:gd name="connsiteY2" fmla="*/ 457200 h 914400"/>
                  <a:gd name="connsiteX3" fmla="*/ 1697698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97698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174495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174495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174495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201737 w 1828800"/>
                  <a:gd name="connsiteY5" fmla="*/ 457204 h 914400"/>
                  <a:gd name="connsiteX0" fmla="*/ 0 w 1828800"/>
                  <a:gd name="connsiteY0" fmla="*/ 0 h 914400"/>
                  <a:gd name="connsiteX1" fmla="*/ 1627063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201737 w 1828800"/>
                  <a:gd name="connsiteY5" fmla="*/ 457204 h 914400"/>
                  <a:gd name="connsiteX0" fmla="*/ 0 w 1828800"/>
                  <a:gd name="connsiteY0" fmla="*/ 0 h 914400"/>
                  <a:gd name="connsiteX1" fmla="*/ 1627063 w 1828800"/>
                  <a:gd name="connsiteY1" fmla="*/ 0 h 914400"/>
                  <a:gd name="connsiteX2" fmla="*/ 1828800 w 1828800"/>
                  <a:gd name="connsiteY2" fmla="*/ 457200 h 914400"/>
                  <a:gd name="connsiteX3" fmla="*/ 1627063 w 1828800"/>
                  <a:gd name="connsiteY3" fmla="*/ 914400 h 914400"/>
                  <a:gd name="connsiteX4" fmla="*/ 0 w 1828800"/>
                  <a:gd name="connsiteY4" fmla="*/ 914400 h 914400"/>
                  <a:gd name="connsiteX5" fmla="*/ 201737 w 1828800"/>
                  <a:gd name="connsiteY5" fmla="*/ 457204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27063" y="0"/>
                    </a:lnTo>
                    <a:lnTo>
                      <a:pt x="1828800" y="457200"/>
                    </a:lnTo>
                    <a:lnTo>
                      <a:pt x="1627063" y="914400"/>
                    </a:lnTo>
                    <a:lnTo>
                      <a:pt x="0" y="914400"/>
                    </a:lnTo>
                    <a:lnTo>
                      <a:pt x="201737" y="457204"/>
                    </a:lnTo>
                    <a:close/>
                  </a:path>
                </a:pathLst>
              </a:cu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400" fontAlgn="base">
                  <a:spcBef>
                    <a:spcPct val="0"/>
                  </a:spcBef>
                  <a:spcAft>
                    <a:spcPct val="0"/>
                  </a:spcAft>
                </a:pPr>
                <a:endParaRPr lang="en-US" sz="800" dirty="0">
                  <a:solidFill>
                    <a:srgbClr val="000000"/>
                  </a:solidFill>
                </a:endParaRPr>
              </a:p>
            </p:txBody>
          </p:sp>
          <p:sp>
            <p:nvSpPr>
              <p:cNvPr id="114" name="TextBox 113"/>
              <p:cNvSpPr txBox="1"/>
              <p:nvPr>
                <p:custDataLst>
                  <p:tags r:id="rId19"/>
                </p:custDataLst>
              </p:nvPr>
            </p:nvSpPr>
            <p:spPr>
              <a:xfrm>
                <a:off x="5459853" y="1489248"/>
                <a:ext cx="678564" cy="29664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800" b="1" dirty="0">
                    <a:solidFill>
                      <a:srgbClr val="01632F"/>
                    </a:solidFill>
                  </a:rPr>
                  <a:t>Farmer awareness (extension)</a:t>
                </a:r>
              </a:p>
            </p:txBody>
          </p:sp>
        </p:grpSp>
        <p:grpSp>
          <p:nvGrpSpPr>
            <p:cNvPr id="60" name="Group 59"/>
            <p:cNvGrpSpPr/>
            <p:nvPr>
              <p:custDataLst>
                <p:tags r:id="rId12"/>
              </p:custDataLst>
            </p:nvPr>
          </p:nvGrpSpPr>
          <p:grpSpPr>
            <a:xfrm>
              <a:off x="6286910" y="990926"/>
              <a:ext cx="935828" cy="573511"/>
              <a:chOff x="6192201" y="1350816"/>
              <a:chExt cx="935828" cy="573511"/>
            </a:xfrm>
          </p:grpSpPr>
          <p:sp>
            <p:nvSpPr>
              <p:cNvPr id="116" name="Freeform 115"/>
              <p:cNvSpPr/>
              <p:nvPr>
                <p:custDataLst>
                  <p:tags r:id="rId16"/>
                </p:custDataLst>
              </p:nvPr>
            </p:nvSpPr>
            <p:spPr>
              <a:xfrm>
                <a:off x="6192201" y="1350816"/>
                <a:ext cx="935828" cy="57351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44842 w 1828800"/>
                  <a:gd name="connsiteY5" fmla="*/ 457201 h 914400"/>
                  <a:gd name="connsiteX0" fmla="*/ 0 w 1828800"/>
                  <a:gd name="connsiteY0" fmla="*/ 0 h 914400"/>
                  <a:gd name="connsiteX1" fmla="*/ 168395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44842 w 1828800"/>
                  <a:gd name="connsiteY5" fmla="*/ 457201 h 914400"/>
                  <a:gd name="connsiteX0" fmla="*/ 0 w 1828800"/>
                  <a:gd name="connsiteY0" fmla="*/ 0 h 914400"/>
                  <a:gd name="connsiteX1" fmla="*/ 1683958 w 1828800"/>
                  <a:gd name="connsiteY1" fmla="*/ 0 h 914400"/>
                  <a:gd name="connsiteX2" fmla="*/ 1828800 w 1828800"/>
                  <a:gd name="connsiteY2" fmla="*/ 457200 h 914400"/>
                  <a:gd name="connsiteX3" fmla="*/ 1683958 w 1828800"/>
                  <a:gd name="connsiteY3" fmla="*/ 914400 h 914400"/>
                  <a:gd name="connsiteX4" fmla="*/ 0 w 1828800"/>
                  <a:gd name="connsiteY4" fmla="*/ 914400 h 914400"/>
                  <a:gd name="connsiteX5" fmla="*/ 144842 w 1828800"/>
                  <a:gd name="connsiteY5" fmla="*/ 457201 h 914400"/>
                  <a:gd name="connsiteX0" fmla="*/ 0 w 1828800"/>
                  <a:gd name="connsiteY0" fmla="*/ 0 h 914400"/>
                  <a:gd name="connsiteX1" fmla="*/ 1683958 w 1828800"/>
                  <a:gd name="connsiteY1" fmla="*/ 0 h 914400"/>
                  <a:gd name="connsiteX2" fmla="*/ 1828800 w 1828800"/>
                  <a:gd name="connsiteY2" fmla="*/ 457200 h 914400"/>
                  <a:gd name="connsiteX3" fmla="*/ 168395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8395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44841 w 1828800"/>
                  <a:gd name="connsiteY5" fmla="*/ 457202 h 914400"/>
                  <a:gd name="connsiteX0" fmla="*/ 0 w 1828800"/>
                  <a:gd name="connsiteY0" fmla="*/ 0 h 914400"/>
                  <a:gd name="connsiteX1" fmla="*/ 1683959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44841 w 1828800"/>
                  <a:gd name="connsiteY5" fmla="*/ 457202 h 914400"/>
                  <a:gd name="connsiteX0" fmla="*/ 0 w 1828800"/>
                  <a:gd name="connsiteY0" fmla="*/ 0 h 914400"/>
                  <a:gd name="connsiteX1" fmla="*/ 1683959 w 1828800"/>
                  <a:gd name="connsiteY1" fmla="*/ 0 h 914400"/>
                  <a:gd name="connsiteX2" fmla="*/ 1828800 w 1828800"/>
                  <a:gd name="connsiteY2" fmla="*/ 457200 h 914400"/>
                  <a:gd name="connsiteX3" fmla="*/ 1683959 w 1828800"/>
                  <a:gd name="connsiteY3" fmla="*/ 914400 h 914400"/>
                  <a:gd name="connsiteX4" fmla="*/ 0 w 1828800"/>
                  <a:gd name="connsiteY4" fmla="*/ 914400 h 914400"/>
                  <a:gd name="connsiteX5" fmla="*/ 144841 w 1828800"/>
                  <a:gd name="connsiteY5" fmla="*/ 457202 h 914400"/>
                  <a:gd name="connsiteX0" fmla="*/ 0 w 1828800"/>
                  <a:gd name="connsiteY0" fmla="*/ 0 h 914400"/>
                  <a:gd name="connsiteX1" fmla="*/ 1683959 w 1828800"/>
                  <a:gd name="connsiteY1" fmla="*/ 0 h 914400"/>
                  <a:gd name="connsiteX2" fmla="*/ 1828800 w 1828800"/>
                  <a:gd name="connsiteY2" fmla="*/ 457200 h 914400"/>
                  <a:gd name="connsiteX3" fmla="*/ 1683959 w 1828800"/>
                  <a:gd name="connsiteY3" fmla="*/ 914400 h 914400"/>
                  <a:gd name="connsiteX4" fmla="*/ 0 w 1828800"/>
                  <a:gd name="connsiteY4" fmla="*/ 914400 h 914400"/>
                  <a:gd name="connsiteX5" fmla="*/ 181052 w 1828800"/>
                  <a:gd name="connsiteY5" fmla="*/ 457202 h 914400"/>
                  <a:gd name="connsiteX0" fmla="*/ 0 w 1828800"/>
                  <a:gd name="connsiteY0" fmla="*/ 0 h 914400"/>
                  <a:gd name="connsiteX1" fmla="*/ 1647748 w 1828800"/>
                  <a:gd name="connsiteY1" fmla="*/ 0 h 914400"/>
                  <a:gd name="connsiteX2" fmla="*/ 1828800 w 1828800"/>
                  <a:gd name="connsiteY2" fmla="*/ 457200 h 914400"/>
                  <a:gd name="connsiteX3" fmla="*/ 1683959 w 1828800"/>
                  <a:gd name="connsiteY3" fmla="*/ 914400 h 914400"/>
                  <a:gd name="connsiteX4" fmla="*/ 0 w 1828800"/>
                  <a:gd name="connsiteY4" fmla="*/ 914400 h 914400"/>
                  <a:gd name="connsiteX5" fmla="*/ 181052 w 1828800"/>
                  <a:gd name="connsiteY5" fmla="*/ 457202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81052 w 1828800"/>
                  <a:gd name="connsiteY5" fmla="*/ 457202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21595 w 1828800"/>
                  <a:gd name="connsiteY5" fmla="*/ 457203 h 914400"/>
                  <a:gd name="connsiteX0" fmla="*/ 0 w 1828800"/>
                  <a:gd name="connsiteY0" fmla="*/ 0 h 914400"/>
                  <a:gd name="connsiteX1" fmla="*/ 1707207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21595 w 1828800"/>
                  <a:gd name="connsiteY5" fmla="*/ 457203 h 914400"/>
                  <a:gd name="connsiteX0" fmla="*/ 0 w 1828800"/>
                  <a:gd name="connsiteY0" fmla="*/ 0 h 914400"/>
                  <a:gd name="connsiteX1" fmla="*/ 1707207 w 1828800"/>
                  <a:gd name="connsiteY1" fmla="*/ 0 h 914400"/>
                  <a:gd name="connsiteX2" fmla="*/ 1828800 w 1828800"/>
                  <a:gd name="connsiteY2" fmla="*/ 457200 h 914400"/>
                  <a:gd name="connsiteX3" fmla="*/ 1707207 w 1828800"/>
                  <a:gd name="connsiteY3" fmla="*/ 914400 h 914400"/>
                  <a:gd name="connsiteX4" fmla="*/ 0 w 1828800"/>
                  <a:gd name="connsiteY4" fmla="*/ 914400 h 914400"/>
                  <a:gd name="connsiteX5" fmla="*/ 121595 w 1828800"/>
                  <a:gd name="connsiteY5" fmla="*/ 457203 h 914400"/>
                  <a:gd name="connsiteX0" fmla="*/ 0 w 1828800"/>
                  <a:gd name="connsiteY0" fmla="*/ 0 h 914400"/>
                  <a:gd name="connsiteX1" fmla="*/ 1707207 w 1828800"/>
                  <a:gd name="connsiteY1" fmla="*/ 0 h 914400"/>
                  <a:gd name="connsiteX2" fmla="*/ 1828800 w 1828800"/>
                  <a:gd name="connsiteY2" fmla="*/ 457200 h 914400"/>
                  <a:gd name="connsiteX3" fmla="*/ 1707207 w 1828800"/>
                  <a:gd name="connsiteY3" fmla="*/ 914400 h 914400"/>
                  <a:gd name="connsiteX4" fmla="*/ 0 w 1828800"/>
                  <a:gd name="connsiteY4" fmla="*/ 914400 h 914400"/>
                  <a:gd name="connsiteX5" fmla="*/ 151993 w 1828800"/>
                  <a:gd name="connsiteY5" fmla="*/ 457203 h 914400"/>
                  <a:gd name="connsiteX0" fmla="*/ 0 w 1828800"/>
                  <a:gd name="connsiteY0" fmla="*/ 0 h 914400"/>
                  <a:gd name="connsiteX1" fmla="*/ 1676809 w 1828800"/>
                  <a:gd name="connsiteY1" fmla="*/ 0 h 914400"/>
                  <a:gd name="connsiteX2" fmla="*/ 1828800 w 1828800"/>
                  <a:gd name="connsiteY2" fmla="*/ 457200 h 914400"/>
                  <a:gd name="connsiteX3" fmla="*/ 1707207 w 1828800"/>
                  <a:gd name="connsiteY3" fmla="*/ 914400 h 914400"/>
                  <a:gd name="connsiteX4" fmla="*/ 0 w 1828800"/>
                  <a:gd name="connsiteY4" fmla="*/ 914400 h 914400"/>
                  <a:gd name="connsiteX5" fmla="*/ 151993 w 1828800"/>
                  <a:gd name="connsiteY5" fmla="*/ 457203 h 914400"/>
                  <a:gd name="connsiteX0" fmla="*/ 0 w 1828800"/>
                  <a:gd name="connsiteY0" fmla="*/ 0 h 914400"/>
                  <a:gd name="connsiteX1" fmla="*/ 1676809 w 1828800"/>
                  <a:gd name="connsiteY1" fmla="*/ 0 h 914400"/>
                  <a:gd name="connsiteX2" fmla="*/ 1828800 w 1828800"/>
                  <a:gd name="connsiteY2" fmla="*/ 457200 h 914400"/>
                  <a:gd name="connsiteX3" fmla="*/ 1676809 w 1828800"/>
                  <a:gd name="connsiteY3" fmla="*/ 914400 h 914400"/>
                  <a:gd name="connsiteX4" fmla="*/ 0 w 1828800"/>
                  <a:gd name="connsiteY4" fmla="*/ 914400 h 914400"/>
                  <a:gd name="connsiteX5" fmla="*/ 151993 w 1828800"/>
                  <a:gd name="connsiteY5" fmla="*/ 457203 h 914400"/>
                  <a:gd name="connsiteX0" fmla="*/ 0 w 1828800"/>
                  <a:gd name="connsiteY0" fmla="*/ 0 h 914400"/>
                  <a:gd name="connsiteX1" fmla="*/ 1676809 w 1828800"/>
                  <a:gd name="connsiteY1" fmla="*/ 0 h 914400"/>
                  <a:gd name="connsiteX2" fmla="*/ 1828800 w 1828800"/>
                  <a:gd name="connsiteY2" fmla="*/ 457200 h 914400"/>
                  <a:gd name="connsiteX3" fmla="*/ 1676809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76809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162739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162739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162739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179013 w 1828800"/>
                  <a:gd name="connsiteY5" fmla="*/ 457204 h 914400"/>
                  <a:gd name="connsiteX0" fmla="*/ 0 w 1828800"/>
                  <a:gd name="connsiteY0" fmla="*/ 0 h 914400"/>
                  <a:gd name="connsiteX1" fmla="*/ 1649789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179013 w 1828800"/>
                  <a:gd name="connsiteY5" fmla="*/ 457204 h 914400"/>
                  <a:gd name="connsiteX0" fmla="*/ 0 w 1828800"/>
                  <a:gd name="connsiteY0" fmla="*/ 0 h 914400"/>
                  <a:gd name="connsiteX1" fmla="*/ 1649789 w 1828800"/>
                  <a:gd name="connsiteY1" fmla="*/ 0 h 914400"/>
                  <a:gd name="connsiteX2" fmla="*/ 1828800 w 1828800"/>
                  <a:gd name="connsiteY2" fmla="*/ 457200 h 914400"/>
                  <a:gd name="connsiteX3" fmla="*/ 1649789 w 1828800"/>
                  <a:gd name="connsiteY3" fmla="*/ 914400 h 914400"/>
                  <a:gd name="connsiteX4" fmla="*/ 0 w 1828800"/>
                  <a:gd name="connsiteY4" fmla="*/ 914400 h 914400"/>
                  <a:gd name="connsiteX5" fmla="*/ 179013 w 1828800"/>
                  <a:gd name="connsiteY5" fmla="*/ 457204 h 914400"/>
                  <a:gd name="connsiteX0" fmla="*/ 0 w 1828800"/>
                  <a:gd name="connsiteY0" fmla="*/ 0 h 914400"/>
                  <a:gd name="connsiteX1" fmla="*/ 1649789 w 1828800"/>
                  <a:gd name="connsiteY1" fmla="*/ 0 h 914400"/>
                  <a:gd name="connsiteX2" fmla="*/ 1828800 w 1828800"/>
                  <a:gd name="connsiteY2" fmla="*/ 457200 h 914400"/>
                  <a:gd name="connsiteX3" fmla="*/ 1649789 w 1828800"/>
                  <a:gd name="connsiteY3" fmla="*/ 914400 h 914400"/>
                  <a:gd name="connsiteX4" fmla="*/ 0 w 1828800"/>
                  <a:gd name="connsiteY4" fmla="*/ 914400 h 914400"/>
                  <a:gd name="connsiteX5" fmla="*/ 223766 w 1828800"/>
                  <a:gd name="connsiteY5" fmla="*/ 457204 h 914400"/>
                  <a:gd name="connsiteX0" fmla="*/ 0 w 1828800"/>
                  <a:gd name="connsiteY0" fmla="*/ 0 h 914400"/>
                  <a:gd name="connsiteX1" fmla="*/ 1605036 w 1828800"/>
                  <a:gd name="connsiteY1" fmla="*/ 0 h 914400"/>
                  <a:gd name="connsiteX2" fmla="*/ 1828800 w 1828800"/>
                  <a:gd name="connsiteY2" fmla="*/ 457200 h 914400"/>
                  <a:gd name="connsiteX3" fmla="*/ 1649789 w 1828800"/>
                  <a:gd name="connsiteY3" fmla="*/ 914400 h 914400"/>
                  <a:gd name="connsiteX4" fmla="*/ 0 w 1828800"/>
                  <a:gd name="connsiteY4" fmla="*/ 914400 h 914400"/>
                  <a:gd name="connsiteX5" fmla="*/ 223766 w 1828800"/>
                  <a:gd name="connsiteY5" fmla="*/ 457204 h 914400"/>
                  <a:gd name="connsiteX0" fmla="*/ 0 w 1828800"/>
                  <a:gd name="connsiteY0" fmla="*/ 0 h 914400"/>
                  <a:gd name="connsiteX1" fmla="*/ 1605036 w 1828800"/>
                  <a:gd name="connsiteY1" fmla="*/ 0 h 914400"/>
                  <a:gd name="connsiteX2" fmla="*/ 1828800 w 1828800"/>
                  <a:gd name="connsiteY2" fmla="*/ 457200 h 914400"/>
                  <a:gd name="connsiteX3" fmla="*/ 1605036 w 1828800"/>
                  <a:gd name="connsiteY3" fmla="*/ 914400 h 914400"/>
                  <a:gd name="connsiteX4" fmla="*/ 0 w 1828800"/>
                  <a:gd name="connsiteY4" fmla="*/ 914400 h 914400"/>
                  <a:gd name="connsiteX5" fmla="*/ 223766 w 1828800"/>
                  <a:gd name="connsiteY5" fmla="*/ 457204 h 914400"/>
                  <a:gd name="connsiteX0" fmla="*/ 0 w 1828800"/>
                  <a:gd name="connsiteY0" fmla="*/ 0 h 914400"/>
                  <a:gd name="connsiteX1" fmla="*/ 1605036 w 1828800"/>
                  <a:gd name="connsiteY1" fmla="*/ 0 h 914400"/>
                  <a:gd name="connsiteX2" fmla="*/ 1828800 w 1828800"/>
                  <a:gd name="connsiteY2" fmla="*/ 457200 h 914400"/>
                  <a:gd name="connsiteX3" fmla="*/ 1605036 w 1828800"/>
                  <a:gd name="connsiteY3" fmla="*/ 914400 h 914400"/>
                  <a:gd name="connsiteX4" fmla="*/ 0 w 1828800"/>
                  <a:gd name="connsiteY4" fmla="*/ 914400 h 914400"/>
                  <a:gd name="connsiteX5" fmla="*/ 145146 w 1828800"/>
                  <a:gd name="connsiteY5" fmla="*/ 457204 h 914400"/>
                  <a:gd name="connsiteX0" fmla="*/ 0 w 1828800"/>
                  <a:gd name="connsiteY0" fmla="*/ 0 h 914400"/>
                  <a:gd name="connsiteX1" fmla="*/ 1683654 w 1828800"/>
                  <a:gd name="connsiteY1" fmla="*/ 0 h 914400"/>
                  <a:gd name="connsiteX2" fmla="*/ 1828800 w 1828800"/>
                  <a:gd name="connsiteY2" fmla="*/ 457200 h 914400"/>
                  <a:gd name="connsiteX3" fmla="*/ 1605036 w 1828800"/>
                  <a:gd name="connsiteY3" fmla="*/ 914400 h 914400"/>
                  <a:gd name="connsiteX4" fmla="*/ 0 w 1828800"/>
                  <a:gd name="connsiteY4" fmla="*/ 914400 h 914400"/>
                  <a:gd name="connsiteX5" fmla="*/ 145146 w 1828800"/>
                  <a:gd name="connsiteY5" fmla="*/ 457204 h 914400"/>
                  <a:gd name="connsiteX0" fmla="*/ 0 w 1828800"/>
                  <a:gd name="connsiteY0" fmla="*/ 0 h 914400"/>
                  <a:gd name="connsiteX1" fmla="*/ 1683654 w 1828800"/>
                  <a:gd name="connsiteY1" fmla="*/ 0 h 914400"/>
                  <a:gd name="connsiteX2" fmla="*/ 1828800 w 1828800"/>
                  <a:gd name="connsiteY2" fmla="*/ 457200 h 914400"/>
                  <a:gd name="connsiteX3" fmla="*/ 1683654 w 1828800"/>
                  <a:gd name="connsiteY3" fmla="*/ 914400 h 914400"/>
                  <a:gd name="connsiteX4" fmla="*/ 0 w 1828800"/>
                  <a:gd name="connsiteY4" fmla="*/ 914400 h 914400"/>
                  <a:gd name="connsiteX5" fmla="*/ 145146 w 1828800"/>
                  <a:gd name="connsiteY5" fmla="*/ 457204 h 914400"/>
                  <a:gd name="connsiteX0" fmla="*/ 0 w 1828800"/>
                  <a:gd name="connsiteY0" fmla="*/ 0 h 914400"/>
                  <a:gd name="connsiteX1" fmla="*/ 1683654 w 1828800"/>
                  <a:gd name="connsiteY1" fmla="*/ 0 h 914400"/>
                  <a:gd name="connsiteX2" fmla="*/ 1828800 w 1828800"/>
                  <a:gd name="connsiteY2" fmla="*/ 457200 h 914400"/>
                  <a:gd name="connsiteX3" fmla="*/ 1683654 w 1828800"/>
                  <a:gd name="connsiteY3" fmla="*/ 914400 h 914400"/>
                  <a:gd name="connsiteX4" fmla="*/ 0 w 1828800"/>
                  <a:gd name="connsiteY4" fmla="*/ 914400 h 914400"/>
                  <a:gd name="connsiteX5" fmla="*/ 181432 w 1828800"/>
                  <a:gd name="connsiteY5" fmla="*/ 457204 h 914400"/>
                  <a:gd name="connsiteX0" fmla="*/ 0 w 1828800"/>
                  <a:gd name="connsiteY0" fmla="*/ 0 h 914400"/>
                  <a:gd name="connsiteX1" fmla="*/ 1647368 w 1828800"/>
                  <a:gd name="connsiteY1" fmla="*/ 0 h 914400"/>
                  <a:gd name="connsiteX2" fmla="*/ 1828800 w 1828800"/>
                  <a:gd name="connsiteY2" fmla="*/ 457200 h 914400"/>
                  <a:gd name="connsiteX3" fmla="*/ 1683654 w 1828800"/>
                  <a:gd name="connsiteY3" fmla="*/ 914400 h 914400"/>
                  <a:gd name="connsiteX4" fmla="*/ 0 w 1828800"/>
                  <a:gd name="connsiteY4" fmla="*/ 914400 h 914400"/>
                  <a:gd name="connsiteX5" fmla="*/ 181432 w 1828800"/>
                  <a:gd name="connsiteY5" fmla="*/ 457204 h 914400"/>
                  <a:gd name="connsiteX0" fmla="*/ 0 w 1828800"/>
                  <a:gd name="connsiteY0" fmla="*/ 0 h 914400"/>
                  <a:gd name="connsiteX1" fmla="*/ 1647368 w 1828800"/>
                  <a:gd name="connsiteY1" fmla="*/ 0 h 914400"/>
                  <a:gd name="connsiteX2" fmla="*/ 1828800 w 1828800"/>
                  <a:gd name="connsiteY2" fmla="*/ 457200 h 914400"/>
                  <a:gd name="connsiteX3" fmla="*/ 1647368 w 1828800"/>
                  <a:gd name="connsiteY3" fmla="*/ 914400 h 914400"/>
                  <a:gd name="connsiteX4" fmla="*/ 0 w 1828800"/>
                  <a:gd name="connsiteY4" fmla="*/ 914400 h 914400"/>
                  <a:gd name="connsiteX5" fmla="*/ 181432 w 1828800"/>
                  <a:gd name="connsiteY5" fmla="*/ 457204 h 914400"/>
                  <a:gd name="connsiteX0" fmla="*/ 0 w 1828800"/>
                  <a:gd name="connsiteY0" fmla="*/ 0 h 914400"/>
                  <a:gd name="connsiteX1" fmla="*/ 1647368 w 1828800"/>
                  <a:gd name="connsiteY1" fmla="*/ 0 h 914400"/>
                  <a:gd name="connsiteX2" fmla="*/ 1828800 w 1828800"/>
                  <a:gd name="connsiteY2" fmla="*/ 457200 h 914400"/>
                  <a:gd name="connsiteX3" fmla="*/ 1647368 w 1828800"/>
                  <a:gd name="connsiteY3" fmla="*/ 914400 h 914400"/>
                  <a:gd name="connsiteX4" fmla="*/ 0 w 1828800"/>
                  <a:gd name="connsiteY4" fmla="*/ 914400 h 914400"/>
                  <a:gd name="connsiteX5" fmla="*/ 97133 w 1828800"/>
                  <a:gd name="connsiteY5" fmla="*/ 457203 h 914400"/>
                  <a:gd name="connsiteX0" fmla="*/ 0 w 1828800"/>
                  <a:gd name="connsiteY0" fmla="*/ 0 h 914400"/>
                  <a:gd name="connsiteX1" fmla="*/ 1731667 w 1828800"/>
                  <a:gd name="connsiteY1" fmla="*/ 0 h 914400"/>
                  <a:gd name="connsiteX2" fmla="*/ 1828800 w 1828800"/>
                  <a:gd name="connsiteY2" fmla="*/ 457200 h 914400"/>
                  <a:gd name="connsiteX3" fmla="*/ 1647368 w 1828800"/>
                  <a:gd name="connsiteY3" fmla="*/ 914400 h 914400"/>
                  <a:gd name="connsiteX4" fmla="*/ 0 w 1828800"/>
                  <a:gd name="connsiteY4" fmla="*/ 914400 h 914400"/>
                  <a:gd name="connsiteX5" fmla="*/ 97133 w 1828800"/>
                  <a:gd name="connsiteY5" fmla="*/ 457203 h 914400"/>
                  <a:gd name="connsiteX0" fmla="*/ 0 w 1828800"/>
                  <a:gd name="connsiteY0" fmla="*/ 0 h 914400"/>
                  <a:gd name="connsiteX1" fmla="*/ 1731667 w 1828800"/>
                  <a:gd name="connsiteY1" fmla="*/ 0 h 914400"/>
                  <a:gd name="connsiteX2" fmla="*/ 1828800 w 1828800"/>
                  <a:gd name="connsiteY2" fmla="*/ 457200 h 914400"/>
                  <a:gd name="connsiteX3" fmla="*/ 1731667 w 1828800"/>
                  <a:gd name="connsiteY3" fmla="*/ 914400 h 914400"/>
                  <a:gd name="connsiteX4" fmla="*/ 0 w 1828800"/>
                  <a:gd name="connsiteY4" fmla="*/ 914400 h 914400"/>
                  <a:gd name="connsiteX5" fmla="*/ 97133 w 1828800"/>
                  <a:gd name="connsiteY5" fmla="*/ 457203 h 914400"/>
                  <a:gd name="connsiteX0" fmla="*/ 0 w 1828800"/>
                  <a:gd name="connsiteY0" fmla="*/ 0 h 914400"/>
                  <a:gd name="connsiteX1" fmla="*/ 1731667 w 1828800"/>
                  <a:gd name="connsiteY1" fmla="*/ 0 h 914400"/>
                  <a:gd name="connsiteX2" fmla="*/ 1828800 w 1828800"/>
                  <a:gd name="connsiteY2" fmla="*/ 457200 h 914400"/>
                  <a:gd name="connsiteX3" fmla="*/ 1731667 w 1828800"/>
                  <a:gd name="connsiteY3" fmla="*/ 914400 h 914400"/>
                  <a:gd name="connsiteX4" fmla="*/ 0 w 1828800"/>
                  <a:gd name="connsiteY4" fmla="*/ 914400 h 914400"/>
                  <a:gd name="connsiteX5" fmla="*/ 121416 w 1828800"/>
                  <a:gd name="connsiteY5" fmla="*/ 457203 h 914400"/>
                  <a:gd name="connsiteX0" fmla="*/ 0 w 1828800"/>
                  <a:gd name="connsiteY0" fmla="*/ 0 h 914400"/>
                  <a:gd name="connsiteX1" fmla="*/ 1707384 w 1828800"/>
                  <a:gd name="connsiteY1" fmla="*/ 0 h 914400"/>
                  <a:gd name="connsiteX2" fmla="*/ 1828800 w 1828800"/>
                  <a:gd name="connsiteY2" fmla="*/ 457200 h 914400"/>
                  <a:gd name="connsiteX3" fmla="*/ 1731667 w 1828800"/>
                  <a:gd name="connsiteY3" fmla="*/ 914400 h 914400"/>
                  <a:gd name="connsiteX4" fmla="*/ 0 w 1828800"/>
                  <a:gd name="connsiteY4" fmla="*/ 914400 h 914400"/>
                  <a:gd name="connsiteX5" fmla="*/ 121416 w 1828800"/>
                  <a:gd name="connsiteY5" fmla="*/ 457203 h 914400"/>
                  <a:gd name="connsiteX0" fmla="*/ 0 w 1828800"/>
                  <a:gd name="connsiteY0" fmla="*/ 0 h 914400"/>
                  <a:gd name="connsiteX1" fmla="*/ 1707384 w 1828800"/>
                  <a:gd name="connsiteY1" fmla="*/ 0 h 914400"/>
                  <a:gd name="connsiteX2" fmla="*/ 1828800 w 1828800"/>
                  <a:gd name="connsiteY2" fmla="*/ 457200 h 914400"/>
                  <a:gd name="connsiteX3" fmla="*/ 1707384 w 1828800"/>
                  <a:gd name="connsiteY3" fmla="*/ 914400 h 914400"/>
                  <a:gd name="connsiteX4" fmla="*/ 0 w 1828800"/>
                  <a:gd name="connsiteY4" fmla="*/ 914400 h 914400"/>
                  <a:gd name="connsiteX5" fmla="*/ 121416 w 1828800"/>
                  <a:gd name="connsiteY5" fmla="*/ 457203 h 914400"/>
                  <a:gd name="connsiteX0" fmla="*/ 0 w 1828800"/>
                  <a:gd name="connsiteY0" fmla="*/ 0 h 914400"/>
                  <a:gd name="connsiteX1" fmla="*/ 1707384 w 1828800"/>
                  <a:gd name="connsiteY1" fmla="*/ 0 h 914400"/>
                  <a:gd name="connsiteX2" fmla="*/ 1828800 w 1828800"/>
                  <a:gd name="connsiteY2" fmla="*/ 457200 h 914400"/>
                  <a:gd name="connsiteX3" fmla="*/ 170738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738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81622 w 1828800"/>
                  <a:gd name="connsiteY5" fmla="*/ 457203 h 914400"/>
                  <a:gd name="connsiteX0" fmla="*/ 0 w 1828800"/>
                  <a:gd name="connsiteY0" fmla="*/ 0 h 914400"/>
                  <a:gd name="connsiteX1" fmla="*/ 1747178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81622 w 1828800"/>
                  <a:gd name="connsiteY5" fmla="*/ 457203 h 914400"/>
                  <a:gd name="connsiteX0" fmla="*/ 0 w 1828800"/>
                  <a:gd name="connsiteY0" fmla="*/ 0 h 914400"/>
                  <a:gd name="connsiteX1" fmla="*/ 1747178 w 1828800"/>
                  <a:gd name="connsiteY1" fmla="*/ 0 h 914400"/>
                  <a:gd name="connsiteX2" fmla="*/ 1828800 w 1828800"/>
                  <a:gd name="connsiteY2" fmla="*/ 457200 h 914400"/>
                  <a:gd name="connsiteX3" fmla="*/ 1747178 w 1828800"/>
                  <a:gd name="connsiteY3" fmla="*/ 914400 h 914400"/>
                  <a:gd name="connsiteX4" fmla="*/ 0 w 1828800"/>
                  <a:gd name="connsiteY4" fmla="*/ 914400 h 914400"/>
                  <a:gd name="connsiteX5" fmla="*/ 81622 w 1828800"/>
                  <a:gd name="connsiteY5" fmla="*/ 457203 h 914400"/>
                  <a:gd name="connsiteX0" fmla="*/ 0 w 1828800"/>
                  <a:gd name="connsiteY0" fmla="*/ 0 h 914400"/>
                  <a:gd name="connsiteX1" fmla="*/ 1747178 w 1828800"/>
                  <a:gd name="connsiteY1" fmla="*/ 0 h 914400"/>
                  <a:gd name="connsiteX2" fmla="*/ 1828800 w 1828800"/>
                  <a:gd name="connsiteY2" fmla="*/ 457200 h 914400"/>
                  <a:gd name="connsiteX3" fmla="*/ 1747178 w 1828800"/>
                  <a:gd name="connsiteY3" fmla="*/ 914400 h 914400"/>
                  <a:gd name="connsiteX4" fmla="*/ 0 w 1828800"/>
                  <a:gd name="connsiteY4" fmla="*/ 914400 h 914400"/>
                  <a:gd name="connsiteX5" fmla="*/ 102027 w 1828800"/>
                  <a:gd name="connsiteY5" fmla="*/ 457203 h 914400"/>
                  <a:gd name="connsiteX0" fmla="*/ 0 w 1828800"/>
                  <a:gd name="connsiteY0" fmla="*/ 0 h 914400"/>
                  <a:gd name="connsiteX1" fmla="*/ 1726773 w 1828800"/>
                  <a:gd name="connsiteY1" fmla="*/ 0 h 914400"/>
                  <a:gd name="connsiteX2" fmla="*/ 1828800 w 1828800"/>
                  <a:gd name="connsiteY2" fmla="*/ 457200 h 914400"/>
                  <a:gd name="connsiteX3" fmla="*/ 1747178 w 1828800"/>
                  <a:gd name="connsiteY3" fmla="*/ 914400 h 914400"/>
                  <a:gd name="connsiteX4" fmla="*/ 0 w 1828800"/>
                  <a:gd name="connsiteY4" fmla="*/ 914400 h 914400"/>
                  <a:gd name="connsiteX5" fmla="*/ 102027 w 1828800"/>
                  <a:gd name="connsiteY5" fmla="*/ 457203 h 914400"/>
                  <a:gd name="connsiteX0" fmla="*/ 0 w 1828800"/>
                  <a:gd name="connsiteY0" fmla="*/ 0 h 914400"/>
                  <a:gd name="connsiteX1" fmla="*/ 1726773 w 1828800"/>
                  <a:gd name="connsiteY1" fmla="*/ 0 h 914400"/>
                  <a:gd name="connsiteX2" fmla="*/ 1828800 w 1828800"/>
                  <a:gd name="connsiteY2" fmla="*/ 457200 h 914400"/>
                  <a:gd name="connsiteX3" fmla="*/ 1726773 w 1828800"/>
                  <a:gd name="connsiteY3" fmla="*/ 914400 h 914400"/>
                  <a:gd name="connsiteX4" fmla="*/ 0 w 1828800"/>
                  <a:gd name="connsiteY4" fmla="*/ 914400 h 914400"/>
                  <a:gd name="connsiteX5" fmla="*/ 102027 w 1828800"/>
                  <a:gd name="connsiteY5" fmla="*/ 457203 h 914400"/>
                  <a:gd name="connsiteX0" fmla="*/ 0 w 1828800"/>
                  <a:gd name="connsiteY0" fmla="*/ 0 h 914400"/>
                  <a:gd name="connsiteX1" fmla="*/ 1726773 w 1828800"/>
                  <a:gd name="connsiteY1" fmla="*/ 0 h 914400"/>
                  <a:gd name="connsiteX2" fmla="*/ 1828800 w 1828800"/>
                  <a:gd name="connsiteY2" fmla="*/ 457200 h 914400"/>
                  <a:gd name="connsiteX3" fmla="*/ 1726773 w 1828800"/>
                  <a:gd name="connsiteY3" fmla="*/ 914400 h 914400"/>
                  <a:gd name="connsiteX4" fmla="*/ 0 w 1828800"/>
                  <a:gd name="connsiteY4" fmla="*/ 914400 h 914400"/>
                  <a:gd name="connsiteX5" fmla="*/ 168686 w 1828800"/>
                  <a:gd name="connsiteY5" fmla="*/ 457203 h 914400"/>
                  <a:gd name="connsiteX0" fmla="*/ 0 w 1828800"/>
                  <a:gd name="connsiteY0" fmla="*/ 0 h 914400"/>
                  <a:gd name="connsiteX1" fmla="*/ 1660114 w 1828800"/>
                  <a:gd name="connsiteY1" fmla="*/ 0 h 914400"/>
                  <a:gd name="connsiteX2" fmla="*/ 1828800 w 1828800"/>
                  <a:gd name="connsiteY2" fmla="*/ 457200 h 914400"/>
                  <a:gd name="connsiteX3" fmla="*/ 1726773 w 1828800"/>
                  <a:gd name="connsiteY3" fmla="*/ 914400 h 914400"/>
                  <a:gd name="connsiteX4" fmla="*/ 0 w 1828800"/>
                  <a:gd name="connsiteY4" fmla="*/ 914400 h 914400"/>
                  <a:gd name="connsiteX5" fmla="*/ 168686 w 1828800"/>
                  <a:gd name="connsiteY5" fmla="*/ 457203 h 914400"/>
                  <a:gd name="connsiteX0" fmla="*/ 0 w 1828800"/>
                  <a:gd name="connsiteY0" fmla="*/ 0 h 914400"/>
                  <a:gd name="connsiteX1" fmla="*/ 1660114 w 1828800"/>
                  <a:gd name="connsiteY1" fmla="*/ 0 h 914400"/>
                  <a:gd name="connsiteX2" fmla="*/ 1828800 w 1828800"/>
                  <a:gd name="connsiteY2" fmla="*/ 457200 h 914400"/>
                  <a:gd name="connsiteX3" fmla="*/ 1660114 w 1828800"/>
                  <a:gd name="connsiteY3" fmla="*/ 914400 h 914400"/>
                  <a:gd name="connsiteX4" fmla="*/ 0 w 1828800"/>
                  <a:gd name="connsiteY4" fmla="*/ 914400 h 914400"/>
                  <a:gd name="connsiteX5" fmla="*/ 168686 w 1828800"/>
                  <a:gd name="connsiteY5" fmla="*/ 457203 h 914400"/>
                  <a:gd name="connsiteX0" fmla="*/ 0 w 1828800"/>
                  <a:gd name="connsiteY0" fmla="*/ 0 h 914400"/>
                  <a:gd name="connsiteX1" fmla="*/ 1660114 w 1828800"/>
                  <a:gd name="connsiteY1" fmla="*/ 0 h 914400"/>
                  <a:gd name="connsiteX2" fmla="*/ 1828800 w 1828800"/>
                  <a:gd name="connsiteY2" fmla="*/ 457200 h 914400"/>
                  <a:gd name="connsiteX3" fmla="*/ 1660114 w 1828800"/>
                  <a:gd name="connsiteY3" fmla="*/ 914400 h 914400"/>
                  <a:gd name="connsiteX4" fmla="*/ 0 w 1828800"/>
                  <a:gd name="connsiteY4" fmla="*/ 914400 h 914400"/>
                  <a:gd name="connsiteX5" fmla="*/ 210858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60114 w 1828800"/>
                  <a:gd name="connsiteY3" fmla="*/ 914400 h 914400"/>
                  <a:gd name="connsiteX4" fmla="*/ 0 w 1828800"/>
                  <a:gd name="connsiteY4" fmla="*/ 914400 h 914400"/>
                  <a:gd name="connsiteX5" fmla="*/ 210858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210858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153351 w 1828800"/>
                  <a:gd name="connsiteY5" fmla="*/ 457203 h 914400"/>
                  <a:gd name="connsiteX0" fmla="*/ 0 w 1828800"/>
                  <a:gd name="connsiteY0" fmla="*/ 0 h 914400"/>
                  <a:gd name="connsiteX1" fmla="*/ 1675449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153351 w 1828800"/>
                  <a:gd name="connsiteY5" fmla="*/ 457203 h 914400"/>
                  <a:gd name="connsiteX0" fmla="*/ 0 w 1828800"/>
                  <a:gd name="connsiteY0" fmla="*/ 0 h 914400"/>
                  <a:gd name="connsiteX1" fmla="*/ 1675449 w 1828800"/>
                  <a:gd name="connsiteY1" fmla="*/ 0 h 914400"/>
                  <a:gd name="connsiteX2" fmla="*/ 1828800 w 1828800"/>
                  <a:gd name="connsiteY2" fmla="*/ 457200 h 914400"/>
                  <a:gd name="connsiteX3" fmla="*/ 1675449 w 1828800"/>
                  <a:gd name="connsiteY3" fmla="*/ 914400 h 914400"/>
                  <a:gd name="connsiteX4" fmla="*/ 0 w 1828800"/>
                  <a:gd name="connsiteY4" fmla="*/ 914400 h 914400"/>
                  <a:gd name="connsiteX5" fmla="*/ 153351 w 1828800"/>
                  <a:gd name="connsiteY5" fmla="*/ 457203 h 914400"/>
                  <a:gd name="connsiteX0" fmla="*/ 0 w 1828800"/>
                  <a:gd name="connsiteY0" fmla="*/ 0 h 914400"/>
                  <a:gd name="connsiteX1" fmla="*/ 1675449 w 1828800"/>
                  <a:gd name="connsiteY1" fmla="*/ 0 h 914400"/>
                  <a:gd name="connsiteX2" fmla="*/ 1828800 w 1828800"/>
                  <a:gd name="connsiteY2" fmla="*/ 457200 h 914400"/>
                  <a:gd name="connsiteX3" fmla="*/ 1675449 w 1828800"/>
                  <a:gd name="connsiteY3" fmla="*/ 914400 h 914400"/>
                  <a:gd name="connsiteX4" fmla="*/ 0 w 1828800"/>
                  <a:gd name="connsiteY4" fmla="*/ 914400 h 914400"/>
                  <a:gd name="connsiteX5" fmla="*/ 191689 w 1828800"/>
                  <a:gd name="connsiteY5" fmla="*/ 457203 h 914400"/>
                  <a:gd name="connsiteX0" fmla="*/ 0 w 1828800"/>
                  <a:gd name="connsiteY0" fmla="*/ 0 h 914400"/>
                  <a:gd name="connsiteX1" fmla="*/ 1637114 w 1828800"/>
                  <a:gd name="connsiteY1" fmla="*/ 0 h 914400"/>
                  <a:gd name="connsiteX2" fmla="*/ 1828800 w 1828800"/>
                  <a:gd name="connsiteY2" fmla="*/ 457200 h 914400"/>
                  <a:gd name="connsiteX3" fmla="*/ 1675449 w 1828800"/>
                  <a:gd name="connsiteY3" fmla="*/ 914400 h 914400"/>
                  <a:gd name="connsiteX4" fmla="*/ 0 w 1828800"/>
                  <a:gd name="connsiteY4" fmla="*/ 914400 h 914400"/>
                  <a:gd name="connsiteX5" fmla="*/ 191689 w 1828800"/>
                  <a:gd name="connsiteY5" fmla="*/ 457203 h 914400"/>
                  <a:gd name="connsiteX0" fmla="*/ 0 w 1828800"/>
                  <a:gd name="connsiteY0" fmla="*/ 0 h 914400"/>
                  <a:gd name="connsiteX1" fmla="*/ 1637114 w 1828800"/>
                  <a:gd name="connsiteY1" fmla="*/ 0 h 914400"/>
                  <a:gd name="connsiteX2" fmla="*/ 1828800 w 1828800"/>
                  <a:gd name="connsiteY2" fmla="*/ 457200 h 914400"/>
                  <a:gd name="connsiteX3" fmla="*/ 1637114 w 1828800"/>
                  <a:gd name="connsiteY3" fmla="*/ 914400 h 914400"/>
                  <a:gd name="connsiteX4" fmla="*/ 0 w 1828800"/>
                  <a:gd name="connsiteY4" fmla="*/ 914400 h 914400"/>
                  <a:gd name="connsiteX5" fmla="*/ 191689 w 1828800"/>
                  <a:gd name="connsiteY5" fmla="*/ 457203 h 914400"/>
                  <a:gd name="connsiteX0" fmla="*/ 0 w 1828800"/>
                  <a:gd name="connsiteY0" fmla="*/ 0 h 914400"/>
                  <a:gd name="connsiteX1" fmla="*/ 1637114 w 1828800"/>
                  <a:gd name="connsiteY1" fmla="*/ 0 h 914400"/>
                  <a:gd name="connsiteX2" fmla="*/ 1828800 w 1828800"/>
                  <a:gd name="connsiteY2" fmla="*/ 457200 h 914400"/>
                  <a:gd name="connsiteX3" fmla="*/ 163711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60114 w 1828800"/>
                  <a:gd name="connsiteY1" fmla="*/ 0 h 914400"/>
                  <a:gd name="connsiteX2" fmla="*/ 1828800 w 1828800"/>
                  <a:gd name="connsiteY2" fmla="*/ 457200 h 914400"/>
                  <a:gd name="connsiteX3" fmla="*/ 163711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60114 w 1828800"/>
                  <a:gd name="connsiteY1" fmla="*/ 0 h 914400"/>
                  <a:gd name="connsiteX2" fmla="*/ 1828800 w 1828800"/>
                  <a:gd name="connsiteY2" fmla="*/ 457200 h 914400"/>
                  <a:gd name="connsiteX3" fmla="*/ 166011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60114 w 1828800"/>
                  <a:gd name="connsiteY1" fmla="*/ 0 h 914400"/>
                  <a:gd name="connsiteX2" fmla="*/ 1828800 w 1828800"/>
                  <a:gd name="connsiteY2" fmla="*/ 457200 h 914400"/>
                  <a:gd name="connsiteX3" fmla="*/ 166011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6011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210858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210858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210858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24690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24690 w 1828800"/>
                  <a:gd name="connsiteY1" fmla="*/ 0 h 914400"/>
                  <a:gd name="connsiteX2" fmla="*/ 1828800 w 1828800"/>
                  <a:gd name="connsiteY2" fmla="*/ 457200 h 914400"/>
                  <a:gd name="connsiteX3" fmla="*/ 162469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24690 w 1828800"/>
                  <a:gd name="connsiteY1" fmla="*/ 0 h 914400"/>
                  <a:gd name="connsiteX2" fmla="*/ 1828800 w 1828800"/>
                  <a:gd name="connsiteY2" fmla="*/ 457200 h 914400"/>
                  <a:gd name="connsiteX3" fmla="*/ 162469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573665 w 1828800"/>
                  <a:gd name="connsiteY1" fmla="*/ 0 h 914400"/>
                  <a:gd name="connsiteX2" fmla="*/ 1828800 w 1828800"/>
                  <a:gd name="connsiteY2" fmla="*/ 457200 h 914400"/>
                  <a:gd name="connsiteX3" fmla="*/ 162469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573665 w 1828800"/>
                  <a:gd name="connsiteY1" fmla="*/ 0 h 914400"/>
                  <a:gd name="connsiteX2" fmla="*/ 1828800 w 1828800"/>
                  <a:gd name="connsiteY2" fmla="*/ 457200 h 914400"/>
                  <a:gd name="connsiteX3" fmla="*/ 1573665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573665 w 1828800"/>
                  <a:gd name="connsiteY1" fmla="*/ 0 h 914400"/>
                  <a:gd name="connsiteX2" fmla="*/ 1828800 w 1828800"/>
                  <a:gd name="connsiteY2" fmla="*/ 457200 h 914400"/>
                  <a:gd name="connsiteX3" fmla="*/ 1573665 w 1828800"/>
                  <a:gd name="connsiteY3" fmla="*/ 914400 h 914400"/>
                  <a:gd name="connsiteX4" fmla="*/ 0 w 1828800"/>
                  <a:gd name="connsiteY4" fmla="*/ 914400 h 914400"/>
                  <a:gd name="connsiteX5" fmla="*/ 255138 w 1828800"/>
                  <a:gd name="connsiteY5" fmla="*/ 457203 h 914400"/>
                  <a:gd name="connsiteX0" fmla="*/ 0 w 1828800"/>
                  <a:gd name="connsiteY0" fmla="*/ 0 h 914400"/>
                  <a:gd name="connsiteX1" fmla="*/ 1573665 w 1828800"/>
                  <a:gd name="connsiteY1" fmla="*/ 0 h 914400"/>
                  <a:gd name="connsiteX2" fmla="*/ 1828800 w 1828800"/>
                  <a:gd name="connsiteY2" fmla="*/ 457200 h 914400"/>
                  <a:gd name="connsiteX3" fmla="*/ 1573665 w 1828800"/>
                  <a:gd name="connsiteY3" fmla="*/ 914400 h 914400"/>
                  <a:gd name="connsiteX4" fmla="*/ 0 w 1828800"/>
                  <a:gd name="connsiteY4" fmla="*/ 914400 h 914400"/>
                  <a:gd name="connsiteX5" fmla="*/ 255138 w 1828800"/>
                  <a:gd name="connsiteY5" fmla="*/ 457203 h 914400"/>
                  <a:gd name="connsiteX0" fmla="*/ 0 w 1828800"/>
                  <a:gd name="connsiteY0" fmla="*/ 0 h 914400"/>
                  <a:gd name="connsiteX1" fmla="*/ 1573665 w 1828800"/>
                  <a:gd name="connsiteY1" fmla="*/ 0 h 914400"/>
                  <a:gd name="connsiteX2" fmla="*/ 1828800 w 1828800"/>
                  <a:gd name="connsiteY2" fmla="*/ 457200 h 914400"/>
                  <a:gd name="connsiteX3" fmla="*/ 1573665 w 1828800"/>
                  <a:gd name="connsiteY3" fmla="*/ 914400 h 914400"/>
                  <a:gd name="connsiteX4" fmla="*/ 0 w 1828800"/>
                  <a:gd name="connsiteY4" fmla="*/ 914400 h 914400"/>
                  <a:gd name="connsiteX5" fmla="*/ 255138 w 1828800"/>
                  <a:gd name="connsiteY5" fmla="*/ 457203 h 914400"/>
                  <a:gd name="connsiteX0" fmla="*/ 0 w 1828800"/>
                  <a:gd name="connsiteY0" fmla="*/ 0 h 914400"/>
                  <a:gd name="connsiteX1" fmla="*/ 1573665 w 1828800"/>
                  <a:gd name="connsiteY1" fmla="*/ 0 h 914400"/>
                  <a:gd name="connsiteX2" fmla="*/ 1828800 w 1828800"/>
                  <a:gd name="connsiteY2" fmla="*/ 457200 h 914400"/>
                  <a:gd name="connsiteX3" fmla="*/ 1573665 w 1828800"/>
                  <a:gd name="connsiteY3" fmla="*/ 914400 h 914400"/>
                  <a:gd name="connsiteX4" fmla="*/ 0 w 1828800"/>
                  <a:gd name="connsiteY4" fmla="*/ 914400 h 914400"/>
                  <a:gd name="connsiteX5" fmla="*/ 185555 w 1828800"/>
                  <a:gd name="connsiteY5" fmla="*/ 457203 h 914400"/>
                  <a:gd name="connsiteX0" fmla="*/ 0 w 1828800"/>
                  <a:gd name="connsiteY0" fmla="*/ 0 h 914400"/>
                  <a:gd name="connsiteX1" fmla="*/ 1643248 w 1828800"/>
                  <a:gd name="connsiteY1" fmla="*/ 0 h 914400"/>
                  <a:gd name="connsiteX2" fmla="*/ 1828800 w 1828800"/>
                  <a:gd name="connsiteY2" fmla="*/ 457200 h 914400"/>
                  <a:gd name="connsiteX3" fmla="*/ 1573665 w 1828800"/>
                  <a:gd name="connsiteY3" fmla="*/ 914400 h 914400"/>
                  <a:gd name="connsiteX4" fmla="*/ 0 w 1828800"/>
                  <a:gd name="connsiteY4" fmla="*/ 914400 h 914400"/>
                  <a:gd name="connsiteX5" fmla="*/ 185555 w 1828800"/>
                  <a:gd name="connsiteY5" fmla="*/ 457203 h 914400"/>
                  <a:gd name="connsiteX0" fmla="*/ 0 w 1828800"/>
                  <a:gd name="connsiteY0" fmla="*/ 0 h 914400"/>
                  <a:gd name="connsiteX1" fmla="*/ 1643248 w 1828800"/>
                  <a:gd name="connsiteY1" fmla="*/ 0 h 914400"/>
                  <a:gd name="connsiteX2" fmla="*/ 1828800 w 1828800"/>
                  <a:gd name="connsiteY2" fmla="*/ 457200 h 914400"/>
                  <a:gd name="connsiteX3" fmla="*/ 1643248 w 1828800"/>
                  <a:gd name="connsiteY3" fmla="*/ 914400 h 914400"/>
                  <a:gd name="connsiteX4" fmla="*/ 0 w 1828800"/>
                  <a:gd name="connsiteY4" fmla="*/ 914400 h 914400"/>
                  <a:gd name="connsiteX5" fmla="*/ 185555 w 1828800"/>
                  <a:gd name="connsiteY5" fmla="*/ 457203 h 914400"/>
                  <a:gd name="connsiteX0" fmla="*/ 0 w 1828800"/>
                  <a:gd name="connsiteY0" fmla="*/ 0 h 914400"/>
                  <a:gd name="connsiteX1" fmla="*/ 1643248 w 1828800"/>
                  <a:gd name="connsiteY1" fmla="*/ 0 h 914400"/>
                  <a:gd name="connsiteX2" fmla="*/ 1828800 w 1828800"/>
                  <a:gd name="connsiteY2" fmla="*/ 457200 h 914400"/>
                  <a:gd name="connsiteX3" fmla="*/ 1643248 w 1828800"/>
                  <a:gd name="connsiteY3" fmla="*/ 914400 h 914400"/>
                  <a:gd name="connsiteX4" fmla="*/ 0 w 1828800"/>
                  <a:gd name="connsiteY4" fmla="*/ 914400 h 914400"/>
                  <a:gd name="connsiteX5" fmla="*/ 231943 w 1828800"/>
                  <a:gd name="connsiteY5" fmla="*/ 457203 h 914400"/>
                  <a:gd name="connsiteX0" fmla="*/ 0 w 1828800"/>
                  <a:gd name="connsiteY0" fmla="*/ 0 h 914400"/>
                  <a:gd name="connsiteX1" fmla="*/ 1596857 w 1828800"/>
                  <a:gd name="connsiteY1" fmla="*/ 0 h 914400"/>
                  <a:gd name="connsiteX2" fmla="*/ 1828800 w 1828800"/>
                  <a:gd name="connsiteY2" fmla="*/ 457200 h 914400"/>
                  <a:gd name="connsiteX3" fmla="*/ 1643248 w 1828800"/>
                  <a:gd name="connsiteY3" fmla="*/ 914400 h 914400"/>
                  <a:gd name="connsiteX4" fmla="*/ 0 w 1828800"/>
                  <a:gd name="connsiteY4" fmla="*/ 914400 h 914400"/>
                  <a:gd name="connsiteX5" fmla="*/ 231943 w 1828800"/>
                  <a:gd name="connsiteY5" fmla="*/ 457203 h 914400"/>
                  <a:gd name="connsiteX0" fmla="*/ 0 w 1828800"/>
                  <a:gd name="connsiteY0" fmla="*/ 0 h 914400"/>
                  <a:gd name="connsiteX1" fmla="*/ 1596857 w 1828800"/>
                  <a:gd name="connsiteY1" fmla="*/ 0 h 914400"/>
                  <a:gd name="connsiteX2" fmla="*/ 1828800 w 1828800"/>
                  <a:gd name="connsiteY2" fmla="*/ 457200 h 914400"/>
                  <a:gd name="connsiteX3" fmla="*/ 1596857 w 1828800"/>
                  <a:gd name="connsiteY3" fmla="*/ 914400 h 914400"/>
                  <a:gd name="connsiteX4" fmla="*/ 0 w 1828800"/>
                  <a:gd name="connsiteY4" fmla="*/ 914400 h 914400"/>
                  <a:gd name="connsiteX5" fmla="*/ 231943 w 1828800"/>
                  <a:gd name="connsiteY5" fmla="*/ 457203 h 914400"/>
                  <a:gd name="connsiteX0" fmla="*/ 0 w 1828800"/>
                  <a:gd name="connsiteY0" fmla="*/ 0 h 914400"/>
                  <a:gd name="connsiteX1" fmla="*/ 1596857 w 1828800"/>
                  <a:gd name="connsiteY1" fmla="*/ 0 h 914400"/>
                  <a:gd name="connsiteX2" fmla="*/ 1828800 w 1828800"/>
                  <a:gd name="connsiteY2" fmla="*/ 457200 h 914400"/>
                  <a:gd name="connsiteX3" fmla="*/ 1596857 w 1828800"/>
                  <a:gd name="connsiteY3" fmla="*/ 914400 h 914400"/>
                  <a:gd name="connsiteX4" fmla="*/ 0 w 1828800"/>
                  <a:gd name="connsiteY4" fmla="*/ 914400 h 914400"/>
                  <a:gd name="connsiteX5" fmla="*/ 185555 w 1828800"/>
                  <a:gd name="connsiteY5" fmla="*/ 457203 h 914400"/>
                  <a:gd name="connsiteX0" fmla="*/ 0 w 1828800"/>
                  <a:gd name="connsiteY0" fmla="*/ 0 h 914400"/>
                  <a:gd name="connsiteX1" fmla="*/ 1643248 w 1828800"/>
                  <a:gd name="connsiteY1" fmla="*/ 0 h 914400"/>
                  <a:gd name="connsiteX2" fmla="*/ 1828800 w 1828800"/>
                  <a:gd name="connsiteY2" fmla="*/ 457200 h 914400"/>
                  <a:gd name="connsiteX3" fmla="*/ 1596857 w 1828800"/>
                  <a:gd name="connsiteY3" fmla="*/ 914400 h 914400"/>
                  <a:gd name="connsiteX4" fmla="*/ 0 w 1828800"/>
                  <a:gd name="connsiteY4" fmla="*/ 914400 h 914400"/>
                  <a:gd name="connsiteX5" fmla="*/ 185555 w 1828800"/>
                  <a:gd name="connsiteY5" fmla="*/ 457203 h 914400"/>
                  <a:gd name="connsiteX0" fmla="*/ 0 w 1828800"/>
                  <a:gd name="connsiteY0" fmla="*/ 0 h 914400"/>
                  <a:gd name="connsiteX1" fmla="*/ 1643248 w 1828800"/>
                  <a:gd name="connsiteY1" fmla="*/ 0 h 914400"/>
                  <a:gd name="connsiteX2" fmla="*/ 1828800 w 1828800"/>
                  <a:gd name="connsiteY2" fmla="*/ 457200 h 914400"/>
                  <a:gd name="connsiteX3" fmla="*/ 1643248 w 1828800"/>
                  <a:gd name="connsiteY3" fmla="*/ 914400 h 914400"/>
                  <a:gd name="connsiteX4" fmla="*/ 0 w 1828800"/>
                  <a:gd name="connsiteY4" fmla="*/ 914400 h 914400"/>
                  <a:gd name="connsiteX5" fmla="*/ 185555 w 1828800"/>
                  <a:gd name="connsiteY5" fmla="*/ 457203 h 914400"/>
                  <a:gd name="connsiteX0" fmla="*/ 0 w 1828800"/>
                  <a:gd name="connsiteY0" fmla="*/ 0 h 914400"/>
                  <a:gd name="connsiteX1" fmla="*/ 1643248 w 1828800"/>
                  <a:gd name="connsiteY1" fmla="*/ 0 h 914400"/>
                  <a:gd name="connsiteX2" fmla="*/ 1828800 w 1828800"/>
                  <a:gd name="connsiteY2" fmla="*/ 457200 h 914400"/>
                  <a:gd name="connsiteX3" fmla="*/ 1643248 w 1828800"/>
                  <a:gd name="connsiteY3" fmla="*/ 914400 h 914400"/>
                  <a:gd name="connsiteX4" fmla="*/ 0 w 1828800"/>
                  <a:gd name="connsiteY4" fmla="*/ 914400 h 914400"/>
                  <a:gd name="connsiteX5" fmla="*/ 231943 w 1828800"/>
                  <a:gd name="connsiteY5" fmla="*/ 457203 h 914400"/>
                  <a:gd name="connsiteX0" fmla="*/ 0 w 1828800"/>
                  <a:gd name="connsiteY0" fmla="*/ 0 h 914400"/>
                  <a:gd name="connsiteX1" fmla="*/ 1596860 w 1828800"/>
                  <a:gd name="connsiteY1" fmla="*/ 0 h 914400"/>
                  <a:gd name="connsiteX2" fmla="*/ 1828800 w 1828800"/>
                  <a:gd name="connsiteY2" fmla="*/ 457200 h 914400"/>
                  <a:gd name="connsiteX3" fmla="*/ 1643248 w 1828800"/>
                  <a:gd name="connsiteY3" fmla="*/ 914400 h 914400"/>
                  <a:gd name="connsiteX4" fmla="*/ 0 w 1828800"/>
                  <a:gd name="connsiteY4" fmla="*/ 914400 h 914400"/>
                  <a:gd name="connsiteX5" fmla="*/ 231943 w 1828800"/>
                  <a:gd name="connsiteY5" fmla="*/ 457203 h 914400"/>
                  <a:gd name="connsiteX0" fmla="*/ 0 w 1828800"/>
                  <a:gd name="connsiteY0" fmla="*/ 0 h 914400"/>
                  <a:gd name="connsiteX1" fmla="*/ 1596860 w 1828800"/>
                  <a:gd name="connsiteY1" fmla="*/ 0 h 914400"/>
                  <a:gd name="connsiteX2" fmla="*/ 1828800 w 1828800"/>
                  <a:gd name="connsiteY2" fmla="*/ 457200 h 914400"/>
                  <a:gd name="connsiteX3" fmla="*/ 1596860 w 1828800"/>
                  <a:gd name="connsiteY3" fmla="*/ 914400 h 914400"/>
                  <a:gd name="connsiteX4" fmla="*/ 0 w 1828800"/>
                  <a:gd name="connsiteY4" fmla="*/ 914400 h 914400"/>
                  <a:gd name="connsiteX5" fmla="*/ 231943 w 1828800"/>
                  <a:gd name="connsiteY5" fmla="*/ 457203 h 914400"/>
                  <a:gd name="connsiteX0" fmla="*/ 0 w 1828800"/>
                  <a:gd name="connsiteY0" fmla="*/ 0 h 914400"/>
                  <a:gd name="connsiteX1" fmla="*/ 1596860 w 1828800"/>
                  <a:gd name="connsiteY1" fmla="*/ 0 h 914400"/>
                  <a:gd name="connsiteX2" fmla="*/ 1828800 w 1828800"/>
                  <a:gd name="connsiteY2" fmla="*/ 457200 h 914400"/>
                  <a:gd name="connsiteX3" fmla="*/ 1596860 w 1828800"/>
                  <a:gd name="connsiteY3" fmla="*/ 914400 h 914400"/>
                  <a:gd name="connsiteX4" fmla="*/ 0 w 1828800"/>
                  <a:gd name="connsiteY4" fmla="*/ 914400 h 914400"/>
                  <a:gd name="connsiteX5" fmla="*/ 104881 w 1828800"/>
                  <a:gd name="connsiteY5" fmla="*/ 457203 h 914400"/>
                  <a:gd name="connsiteX0" fmla="*/ 0 w 1828800"/>
                  <a:gd name="connsiteY0" fmla="*/ 0 h 914400"/>
                  <a:gd name="connsiteX1" fmla="*/ 1723920 w 1828800"/>
                  <a:gd name="connsiteY1" fmla="*/ 0 h 914400"/>
                  <a:gd name="connsiteX2" fmla="*/ 1828800 w 1828800"/>
                  <a:gd name="connsiteY2" fmla="*/ 457200 h 914400"/>
                  <a:gd name="connsiteX3" fmla="*/ 1596860 w 1828800"/>
                  <a:gd name="connsiteY3" fmla="*/ 914400 h 914400"/>
                  <a:gd name="connsiteX4" fmla="*/ 0 w 1828800"/>
                  <a:gd name="connsiteY4" fmla="*/ 914400 h 914400"/>
                  <a:gd name="connsiteX5" fmla="*/ 104881 w 1828800"/>
                  <a:gd name="connsiteY5" fmla="*/ 457203 h 914400"/>
                  <a:gd name="connsiteX0" fmla="*/ 0 w 1828800"/>
                  <a:gd name="connsiteY0" fmla="*/ 0 h 914400"/>
                  <a:gd name="connsiteX1" fmla="*/ 1723920 w 1828800"/>
                  <a:gd name="connsiteY1" fmla="*/ 0 h 914400"/>
                  <a:gd name="connsiteX2" fmla="*/ 1828800 w 1828800"/>
                  <a:gd name="connsiteY2" fmla="*/ 457200 h 914400"/>
                  <a:gd name="connsiteX3" fmla="*/ 1723920 w 1828800"/>
                  <a:gd name="connsiteY3" fmla="*/ 914400 h 914400"/>
                  <a:gd name="connsiteX4" fmla="*/ 0 w 1828800"/>
                  <a:gd name="connsiteY4" fmla="*/ 914400 h 914400"/>
                  <a:gd name="connsiteX5" fmla="*/ 104881 w 1828800"/>
                  <a:gd name="connsiteY5" fmla="*/ 457203 h 914400"/>
                  <a:gd name="connsiteX0" fmla="*/ 0 w 1828800"/>
                  <a:gd name="connsiteY0" fmla="*/ 0 h 914400"/>
                  <a:gd name="connsiteX1" fmla="*/ 1723920 w 1828800"/>
                  <a:gd name="connsiteY1" fmla="*/ 0 h 914400"/>
                  <a:gd name="connsiteX2" fmla="*/ 1828800 w 1828800"/>
                  <a:gd name="connsiteY2" fmla="*/ 457200 h 914400"/>
                  <a:gd name="connsiteX3" fmla="*/ 1723920 w 1828800"/>
                  <a:gd name="connsiteY3" fmla="*/ 914400 h 914400"/>
                  <a:gd name="connsiteX4" fmla="*/ 0 w 1828800"/>
                  <a:gd name="connsiteY4" fmla="*/ 914400 h 914400"/>
                  <a:gd name="connsiteX5" fmla="*/ 131102 w 1828800"/>
                  <a:gd name="connsiteY5" fmla="*/ 457203 h 914400"/>
                  <a:gd name="connsiteX0" fmla="*/ 0 w 1828800"/>
                  <a:gd name="connsiteY0" fmla="*/ 0 h 914400"/>
                  <a:gd name="connsiteX1" fmla="*/ 1697698 w 1828800"/>
                  <a:gd name="connsiteY1" fmla="*/ 0 h 914400"/>
                  <a:gd name="connsiteX2" fmla="*/ 1828800 w 1828800"/>
                  <a:gd name="connsiteY2" fmla="*/ 457200 h 914400"/>
                  <a:gd name="connsiteX3" fmla="*/ 1723920 w 1828800"/>
                  <a:gd name="connsiteY3" fmla="*/ 914400 h 914400"/>
                  <a:gd name="connsiteX4" fmla="*/ 0 w 1828800"/>
                  <a:gd name="connsiteY4" fmla="*/ 914400 h 914400"/>
                  <a:gd name="connsiteX5" fmla="*/ 131102 w 1828800"/>
                  <a:gd name="connsiteY5" fmla="*/ 457203 h 914400"/>
                  <a:gd name="connsiteX0" fmla="*/ 0 w 1828800"/>
                  <a:gd name="connsiteY0" fmla="*/ 0 h 914400"/>
                  <a:gd name="connsiteX1" fmla="*/ 1697698 w 1828800"/>
                  <a:gd name="connsiteY1" fmla="*/ 0 h 914400"/>
                  <a:gd name="connsiteX2" fmla="*/ 1828800 w 1828800"/>
                  <a:gd name="connsiteY2" fmla="*/ 457200 h 914400"/>
                  <a:gd name="connsiteX3" fmla="*/ 1697698 w 1828800"/>
                  <a:gd name="connsiteY3" fmla="*/ 914400 h 914400"/>
                  <a:gd name="connsiteX4" fmla="*/ 0 w 1828800"/>
                  <a:gd name="connsiteY4" fmla="*/ 914400 h 914400"/>
                  <a:gd name="connsiteX5" fmla="*/ 131102 w 1828800"/>
                  <a:gd name="connsiteY5" fmla="*/ 457203 h 914400"/>
                  <a:gd name="connsiteX0" fmla="*/ 0 w 1828800"/>
                  <a:gd name="connsiteY0" fmla="*/ 0 h 914400"/>
                  <a:gd name="connsiteX1" fmla="*/ 1697698 w 1828800"/>
                  <a:gd name="connsiteY1" fmla="*/ 0 h 914400"/>
                  <a:gd name="connsiteX2" fmla="*/ 1828800 w 1828800"/>
                  <a:gd name="connsiteY2" fmla="*/ 457200 h 914400"/>
                  <a:gd name="connsiteX3" fmla="*/ 1697698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97698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174495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174495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174495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201737 w 1828800"/>
                  <a:gd name="connsiteY5" fmla="*/ 457204 h 914400"/>
                  <a:gd name="connsiteX0" fmla="*/ 0 w 1828800"/>
                  <a:gd name="connsiteY0" fmla="*/ 0 h 914400"/>
                  <a:gd name="connsiteX1" fmla="*/ 162706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201737 w 1828800"/>
                  <a:gd name="connsiteY5" fmla="*/ 457204 h 914400"/>
                  <a:gd name="connsiteX0" fmla="*/ 0 w 1828800"/>
                  <a:gd name="connsiteY0" fmla="*/ 0 h 914400"/>
                  <a:gd name="connsiteX1" fmla="*/ 1627065 w 1828800"/>
                  <a:gd name="connsiteY1" fmla="*/ 0 h 914400"/>
                  <a:gd name="connsiteX2" fmla="*/ 1828800 w 1828800"/>
                  <a:gd name="connsiteY2" fmla="*/ 457200 h 914400"/>
                  <a:gd name="connsiteX3" fmla="*/ 1627065 w 1828800"/>
                  <a:gd name="connsiteY3" fmla="*/ 914400 h 914400"/>
                  <a:gd name="connsiteX4" fmla="*/ 0 w 1828800"/>
                  <a:gd name="connsiteY4" fmla="*/ 914400 h 914400"/>
                  <a:gd name="connsiteX5" fmla="*/ 201737 w 1828800"/>
                  <a:gd name="connsiteY5" fmla="*/ 457204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27065" y="0"/>
                    </a:lnTo>
                    <a:lnTo>
                      <a:pt x="1828800" y="457200"/>
                    </a:lnTo>
                    <a:lnTo>
                      <a:pt x="1627065" y="914400"/>
                    </a:lnTo>
                    <a:lnTo>
                      <a:pt x="0" y="914400"/>
                    </a:lnTo>
                    <a:lnTo>
                      <a:pt x="201737" y="457204"/>
                    </a:lnTo>
                    <a:close/>
                  </a:path>
                </a:pathLst>
              </a:cu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400" fontAlgn="base">
                  <a:spcBef>
                    <a:spcPct val="0"/>
                  </a:spcBef>
                  <a:spcAft>
                    <a:spcPct val="0"/>
                  </a:spcAft>
                </a:pPr>
                <a:endParaRPr lang="en-US" sz="800" dirty="0">
                  <a:solidFill>
                    <a:srgbClr val="000000"/>
                  </a:solidFill>
                </a:endParaRPr>
              </a:p>
            </p:txBody>
          </p:sp>
          <p:sp>
            <p:nvSpPr>
              <p:cNvPr id="117" name="TextBox 116"/>
              <p:cNvSpPr txBox="1"/>
              <p:nvPr>
                <p:custDataLst>
                  <p:tags r:id="rId17"/>
                </p:custDataLst>
              </p:nvPr>
            </p:nvSpPr>
            <p:spPr>
              <a:xfrm>
                <a:off x="6346233" y="1390642"/>
                <a:ext cx="678564" cy="49385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800" b="1" dirty="0">
                    <a:solidFill>
                      <a:srgbClr val="01632F"/>
                    </a:solidFill>
                  </a:rPr>
                  <a:t>Farmer organization</a:t>
                </a:r>
              </a:p>
            </p:txBody>
          </p:sp>
        </p:grpSp>
        <p:grpSp>
          <p:nvGrpSpPr>
            <p:cNvPr id="66" name="Group 65"/>
            <p:cNvGrpSpPr/>
            <p:nvPr>
              <p:custDataLst>
                <p:tags r:id="rId13"/>
              </p:custDataLst>
            </p:nvPr>
          </p:nvGrpSpPr>
          <p:grpSpPr>
            <a:xfrm>
              <a:off x="2717519" y="990926"/>
              <a:ext cx="935828" cy="573511"/>
              <a:chOff x="2646682" y="1350816"/>
              <a:chExt cx="935828" cy="573511"/>
            </a:xfrm>
          </p:grpSpPr>
          <p:sp>
            <p:nvSpPr>
              <p:cNvPr id="237" name="Freeform 236"/>
              <p:cNvSpPr/>
              <p:nvPr>
                <p:custDataLst>
                  <p:tags r:id="rId14"/>
                </p:custDataLst>
              </p:nvPr>
            </p:nvSpPr>
            <p:spPr>
              <a:xfrm>
                <a:off x="2646682" y="1350816"/>
                <a:ext cx="935828" cy="57351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44842 w 1828800"/>
                  <a:gd name="connsiteY5" fmla="*/ 457201 h 914400"/>
                  <a:gd name="connsiteX0" fmla="*/ 0 w 1828800"/>
                  <a:gd name="connsiteY0" fmla="*/ 0 h 914400"/>
                  <a:gd name="connsiteX1" fmla="*/ 168395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44842 w 1828800"/>
                  <a:gd name="connsiteY5" fmla="*/ 457201 h 914400"/>
                  <a:gd name="connsiteX0" fmla="*/ 0 w 1828800"/>
                  <a:gd name="connsiteY0" fmla="*/ 0 h 914400"/>
                  <a:gd name="connsiteX1" fmla="*/ 1683958 w 1828800"/>
                  <a:gd name="connsiteY1" fmla="*/ 0 h 914400"/>
                  <a:gd name="connsiteX2" fmla="*/ 1828800 w 1828800"/>
                  <a:gd name="connsiteY2" fmla="*/ 457200 h 914400"/>
                  <a:gd name="connsiteX3" fmla="*/ 1683958 w 1828800"/>
                  <a:gd name="connsiteY3" fmla="*/ 914400 h 914400"/>
                  <a:gd name="connsiteX4" fmla="*/ 0 w 1828800"/>
                  <a:gd name="connsiteY4" fmla="*/ 914400 h 914400"/>
                  <a:gd name="connsiteX5" fmla="*/ 144842 w 1828800"/>
                  <a:gd name="connsiteY5" fmla="*/ 457201 h 914400"/>
                  <a:gd name="connsiteX0" fmla="*/ 0 w 1828800"/>
                  <a:gd name="connsiteY0" fmla="*/ 0 h 914400"/>
                  <a:gd name="connsiteX1" fmla="*/ 1683958 w 1828800"/>
                  <a:gd name="connsiteY1" fmla="*/ 0 h 914400"/>
                  <a:gd name="connsiteX2" fmla="*/ 1828800 w 1828800"/>
                  <a:gd name="connsiteY2" fmla="*/ 457200 h 914400"/>
                  <a:gd name="connsiteX3" fmla="*/ 168395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8395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81052 w 1828800"/>
                  <a:gd name="connsiteY5" fmla="*/ 457201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44841 w 1828800"/>
                  <a:gd name="connsiteY5" fmla="*/ 457202 h 914400"/>
                  <a:gd name="connsiteX0" fmla="*/ 0 w 1828800"/>
                  <a:gd name="connsiteY0" fmla="*/ 0 h 914400"/>
                  <a:gd name="connsiteX1" fmla="*/ 1683959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44841 w 1828800"/>
                  <a:gd name="connsiteY5" fmla="*/ 457202 h 914400"/>
                  <a:gd name="connsiteX0" fmla="*/ 0 w 1828800"/>
                  <a:gd name="connsiteY0" fmla="*/ 0 h 914400"/>
                  <a:gd name="connsiteX1" fmla="*/ 1683959 w 1828800"/>
                  <a:gd name="connsiteY1" fmla="*/ 0 h 914400"/>
                  <a:gd name="connsiteX2" fmla="*/ 1828800 w 1828800"/>
                  <a:gd name="connsiteY2" fmla="*/ 457200 h 914400"/>
                  <a:gd name="connsiteX3" fmla="*/ 1683959 w 1828800"/>
                  <a:gd name="connsiteY3" fmla="*/ 914400 h 914400"/>
                  <a:gd name="connsiteX4" fmla="*/ 0 w 1828800"/>
                  <a:gd name="connsiteY4" fmla="*/ 914400 h 914400"/>
                  <a:gd name="connsiteX5" fmla="*/ 144841 w 1828800"/>
                  <a:gd name="connsiteY5" fmla="*/ 457202 h 914400"/>
                  <a:gd name="connsiteX0" fmla="*/ 0 w 1828800"/>
                  <a:gd name="connsiteY0" fmla="*/ 0 h 914400"/>
                  <a:gd name="connsiteX1" fmla="*/ 1683959 w 1828800"/>
                  <a:gd name="connsiteY1" fmla="*/ 0 h 914400"/>
                  <a:gd name="connsiteX2" fmla="*/ 1828800 w 1828800"/>
                  <a:gd name="connsiteY2" fmla="*/ 457200 h 914400"/>
                  <a:gd name="connsiteX3" fmla="*/ 1683959 w 1828800"/>
                  <a:gd name="connsiteY3" fmla="*/ 914400 h 914400"/>
                  <a:gd name="connsiteX4" fmla="*/ 0 w 1828800"/>
                  <a:gd name="connsiteY4" fmla="*/ 914400 h 914400"/>
                  <a:gd name="connsiteX5" fmla="*/ 181052 w 1828800"/>
                  <a:gd name="connsiteY5" fmla="*/ 457202 h 914400"/>
                  <a:gd name="connsiteX0" fmla="*/ 0 w 1828800"/>
                  <a:gd name="connsiteY0" fmla="*/ 0 h 914400"/>
                  <a:gd name="connsiteX1" fmla="*/ 1647748 w 1828800"/>
                  <a:gd name="connsiteY1" fmla="*/ 0 h 914400"/>
                  <a:gd name="connsiteX2" fmla="*/ 1828800 w 1828800"/>
                  <a:gd name="connsiteY2" fmla="*/ 457200 h 914400"/>
                  <a:gd name="connsiteX3" fmla="*/ 1683959 w 1828800"/>
                  <a:gd name="connsiteY3" fmla="*/ 914400 h 914400"/>
                  <a:gd name="connsiteX4" fmla="*/ 0 w 1828800"/>
                  <a:gd name="connsiteY4" fmla="*/ 914400 h 914400"/>
                  <a:gd name="connsiteX5" fmla="*/ 181052 w 1828800"/>
                  <a:gd name="connsiteY5" fmla="*/ 457202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81052 w 1828800"/>
                  <a:gd name="connsiteY5" fmla="*/ 457202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21595 w 1828800"/>
                  <a:gd name="connsiteY5" fmla="*/ 457203 h 914400"/>
                  <a:gd name="connsiteX0" fmla="*/ 0 w 1828800"/>
                  <a:gd name="connsiteY0" fmla="*/ 0 h 914400"/>
                  <a:gd name="connsiteX1" fmla="*/ 1707207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21595 w 1828800"/>
                  <a:gd name="connsiteY5" fmla="*/ 457203 h 914400"/>
                  <a:gd name="connsiteX0" fmla="*/ 0 w 1828800"/>
                  <a:gd name="connsiteY0" fmla="*/ 0 h 914400"/>
                  <a:gd name="connsiteX1" fmla="*/ 1707207 w 1828800"/>
                  <a:gd name="connsiteY1" fmla="*/ 0 h 914400"/>
                  <a:gd name="connsiteX2" fmla="*/ 1828800 w 1828800"/>
                  <a:gd name="connsiteY2" fmla="*/ 457200 h 914400"/>
                  <a:gd name="connsiteX3" fmla="*/ 1707207 w 1828800"/>
                  <a:gd name="connsiteY3" fmla="*/ 914400 h 914400"/>
                  <a:gd name="connsiteX4" fmla="*/ 0 w 1828800"/>
                  <a:gd name="connsiteY4" fmla="*/ 914400 h 914400"/>
                  <a:gd name="connsiteX5" fmla="*/ 121595 w 1828800"/>
                  <a:gd name="connsiteY5" fmla="*/ 457203 h 914400"/>
                  <a:gd name="connsiteX0" fmla="*/ 0 w 1828800"/>
                  <a:gd name="connsiteY0" fmla="*/ 0 h 914400"/>
                  <a:gd name="connsiteX1" fmla="*/ 1707207 w 1828800"/>
                  <a:gd name="connsiteY1" fmla="*/ 0 h 914400"/>
                  <a:gd name="connsiteX2" fmla="*/ 1828800 w 1828800"/>
                  <a:gd name="connsiteY2" fmla="*/ 457200 h 914400"/>
                  <a:gd name="connsiteX3" fmla="*/ 1707207 w 1828800"/>
                  <a:gd name="connsiteY3" fmla="*/ 914400 h 914400"/>
                  <a:gd name="connsiteX4" fmla="*/ 0 w 1828800"/>
                  <a:gd name="connsiteY4" fmla="*/ 914400 h 914400"/>
                  <a:gd name="connsiteX5" fmla="*/ 151993 w 1828800"/>
                  <a:gd name="connsiteY5" fmla="*/ 457203 h 914400"/>
                  <a:gd name="connsiteX0" fmla="*/ 0 w 1828800"/>
                  <a:gd name="connsiteY0" fmla="*/ 0 h 914400"/>
                  <a:gd name="connsiteX1" fmla="*/ 1676809 w 1828800"/>
                  <a:gd name="connsiteY1" fmla="*/ 0 h 914400"/>
                  <a:gd name="connsiteX2" fmla="*/ 1828800 w 1828800"/>
                  <a:gd name="connsiteY2" fmla="*/ 457200 h 914400"/>
                  <a:gd name="connsiteX3" fmla="*/ 1707207 w 1828800"/>
                  <a:gd name="connsiteY3" fmla="*/ 914400 h 914400"/>
                  <a:gd name="connsiteX4" fmla="*/ 0 w 1828800"/>
                  <a:gd name="connsiteY4" fmla="*/ 914400 h 914400"/>
                  <a:gd name="connsiteX5" fmla="*/ 151993 w 1828800"/>
                  <a:gd name="connsiteY5" fmla="*/ 457203 h 914400"/>
                  <a:gd name="connsiteX0" fmla="*/ 0 w 1828800"/>
                  <a:gd name="connsiteY0" fmla="*/ 0 h 914400"/>
                  <a:gd name="connsiteX1" fmla="*/ 1676809 w 1828800"/>
                  <a:gd name="connsiteY1" fmla="*/ 0 h 914400"/>
                  <a:gd name="connsiteX2" fmla="*/ 1828800 w 1828800"/>
                  <a:gd name="connsiteY2" fmla="*/ 457200 h 914400"/>
                  <a:gd name="connsiteX3" fmla="*/ 1676809 w 1828800"/>
                  <a:gd name="connsiteY3" fmla="*/ 914400 h 914400"/>
                  <a:gd name="connsiteX4" fmla="*/ 0 w 1828800"/>
                  <a:gd name="connsiteY4" fmla="*/ 914400 h 914400"/>
                  <a:gd name="connsiteX5" fmla="*/ 151993 w 1828800"/>
                  <a:gd name="connsiteY5" fmla="*/ 457203 h 914400"/>
                  <a:gd name="connsiteX0" fmla="*/ 0 w 1828800"/>
                  <a:gd name="connsiteY0" fmla="*/ 0 h 914400"/>
                  <a:gd name="connsiteX1" fmla="*/ 1676809 w 1828800"/>
                  <a:gd name="connsiteY1" fmla="*/ 0 h 914400"/>
                  <a:gd name="connsiteX2" fmla="*/ 1828800 w 1828800"/>
                  <a:gd name="connsiteY2" fmla="*/ 457200 h 914400"/>
                  <a:gd name="connsiteX3" fmla="*/ 1676809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76809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162739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162739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162739 w 1828800"/>
                  <a:gd name="connsiteY5" fmla="*/ 457204 h 914400"/>
                  <a:gd name="connsiteX0" fmla="*/ 0 w 1828800"/>
                  <a:gd name="connsiteY0" fmla="*/ 0 h 914400"/>
                  <a:gd name="connsiteX1" fmla="*/ 1666062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2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179013 w 1828800"/>
                  <a:gd name="connsiteY5" fmla="*/ 457204 h 914400"/>
                  <a:gd name="connsiteX0" fmla="*/ 0 w 1828800"/>
                  <a:gd name="connsiteY0" fmla="*/ 0 h 914400"/>
                  <a:gd name="connsiteX1" fmla="*/ 1649789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179013 w 1828800"/>
                  <a:gd name="connsiteY5" fmla="*/ 457204 h 914400"/>
                  <a:gd name="connsiteX0" fmla="*/ 0 w 1828800"/>
                  <a:gd name="connsiteY0" fmla="*/ 0 h 914400"/>
                  <a:gd name="connsiteX1" fmla="*/ 1649789 w 1828800"/>
                  <a:gd name="connsiteY1" fmla="*/ 0 h 914400"/>
                  <a:gd name="connsiteX2" fmla="*/ 1828800 w 1828800"/>
                  <a:gd name="connsiteY2" fmla="*/ 457200 h 914400"/>
                  <a:gd name="connsiteX3" fmla="*/ 1649789 w 1828800"/>
                  <a:gd name="connsiteY3" fmla="*/ 914400 h 914400"/>
                  <a:gd name="connsiteX4" fmla="*/ 0 w 1828800"/>
                  <a:gd name="connsiteY4" fmla="*/ 914400 h 914400"/>
                  <a:gd name="connsiteX5" fmla="*/ 179013 w 1828800"/>
                  <a:gd name="connsiteY5" fmla="*/ 457204 h 914400"/>
                  <a:gd name="connsiteX0" fmla="*/ 0 w 1828800"/>
                  <a:gd name="connsiteY0" fmla="*/ 0 h 914400"/>
                  <a:gd name="connsiteX1" fmla="*/ 1649789 w 1828800"/>
                  <a:gd name="connsiteY1" fmla="*/ 0 h 914400"/>
                  <a:gd name="connsiteX2" fmla="*/ 1828800 w 1828800"/>
                  <a:gd name="connsiteY2" fmla="*/ 457200 h 914400"/>
                  <a:gd name="connsiteX3" fmla="*/ 1649789 w 1828800"/>
                  <a:gd name="connsiteY3" fmla="*/ 914400 h 914400"/>
                  <a:gd name="connsiteX4" fmla="*/ 0 w 1828800"/>
                  <a:gd name="connsiteY4" fmla="*/ 914400 h 914400"/>
                  <a:gd name="connsiteX5" fmla="*/ 223766 w 1828800"/>
                  <a:gd name="connsiteY5" fmla="*/ 457204 h 914400"/>
                  <a:gd name="connsiteX0" fmla="*/ 0 w 1828800"/>
                  <a:gd name="connsiteY0" fmla="*/ 0 h 914400"/>
                  <a:gd name="connsiteX1" fmla="*/ 1605036 w 1828800"/>
                  <a:gd name="connsiteY1" fmla="*/ 0 h 914400"/>
                  <a:gd name="connsiteX2" fmla="*/ 1828800 w 1828800"/>
                  <a:gd name="connsiteY2" fmla="*/ 457200 h 914400"/>
                  <a:gd name="connsiteX3" fmla="*/ 1649789 w 1828800"/>
                  <a:gd name="connsiteY3" fmla="*/ 914400 h 914400"/>
                  <a:gd name="connsiteX4" fmla="*/ 0 w 1828800"/>
                  <a:gd name="connsiteY4" fmla="*/ 914400 h 914400"/>
                  <a:gd name="connsiteX5" fmla="*/ 223766 w 1828800"/>
                  <a:gd name="connsiteY5" fmla="*/ 457204 h 914400"/>
                  <a:gd name="connsiteX0" fmla="*/ 0 w 1828800"/>
                  <a:gd name="connsiteY0" fmla="*/ 0 h 914400"/>
                  <a:gd name="connsiteX1" fmla="*/ 1605036 w 1828800"/>
                  <a:gd name="connsiteY1" fmla="*/ 0 h 914400"/>
                  <a:gd name="connsiteX2" fmla="*/ 1828800 w 1828800"/>
                  <a:gd name="connsiteY2" fmla="*/ 457200 h 914400"/>
                  <a:gd name="connsiteX3" fmla="*/ 1605036 w 1828800"/>
                  <a:gd name="connsiteY3" fmla="*/ 914400 h 914400"/>
                  <a:gd name="connsiteX4" fmla="*/ 0 w 1828800"/>
                  <a:gd name="connsiteY4" fmla="*/ 914400 h 914400"/>
                  <a:gd name="connsiteX5" fmla="*/ 223766 w 1828800"/>
                  <a:gd name="connsiteY5" fmla="*/ 457204 h 914400"/>
                  <a:gd name="connsiteX0" fmla="*/ 0 w 1828800"/>
                  <a:gd name="connsiteY0" fmla="*/ 0 h 914400"/>
                  <a:gd name="connsiteX1" fmla="*/ 1605036 w 1828800"/>
                  <a:gd name="connsiteY1" fmla="*/ 0 h 914400"/>
                  <a:gd name="connsiteX2" fmla="*/ 1828800 w 1828800"/>
                  <a:gd name="connsiteY2" fmla="*/ 457200 h 914400"/>
                  <a:gd name="connsiteX3" fmla="*/ 1605036 w 1828800"/>
                  <a:gd name="connsiteY3" fmla="*/ 914400 h 914400"/>
                  <a:gd name="connsiteX4" fmla="*/ 0 w 1828800"/>
                  <a:gd name="connsiteY4" fmla="*/ 914400 h 914400"/>
                  <a:gd name="connsiteX5" fmla="*/ 145146 w 1828800"/>
                  <a:gd name="connsiteY5" fmla="*/ 457204 h 914400"/>
                  <a:gd name="connsiteX0" fmla="*/ 0 w 1828800"/>
                  <a:gd name="connsiteY0" fmla="*/ 0 h 914400"/>
                  <a:gd name="connsiteX1" fmla="*/ 1683654 w 1828800"/>
                  <a:gd name="connsiteY1" fmla="*/ 0 h 914400"/>
                  <a:gd name="connsiteX2" fmla="*/ 1828800 w 1828800"/>
                  <a:gd name="connsiteY2" fmla="*/ 457200 h 914400"/>
                  <a:gd name="connsiteX3" fmla="*/ 1605036 w 1828800"/>
                  <a:gd name="connsiteY3" fmla="*/ 914400 h 914400"/>
                  <a:gd name="connsiteX4" fmla="*/ 0 w 1828800"/>
                  <a:gd name="connsiteY4" fmla="*/ 914400 h 914400"/>
                  <a:gd name="connsiteX5" fmla="*/ 145146 w 1828800"/>
                  <a:gd name="connsiteY5" fmla="*/ 457204 h 914400"/>
                  <a:gd name="connsiteX0" fmla="*/ 0 w 1828800"/>
                  <a:gd name="connsiteY0" fmla="*/ 0 h 914400"/>
                  <a:gd name="connsiteX1" fmla="*/ 1683654 w 1828800"/>
                  <a:gd name="connsiteY1" fmla="*/ 0 h 914400"/>
                  <a:gd name="connsiteX2" fmla="*/ 1828800 w 1828800"/>
                  <a:gd name="connsiteY2" fmla="*/ 457200 h 914400"/>
                  <a:gd name="connsiteX3" fmla="*/ 1683654 w 1828800"/>
                  <a:gd name="connsiteY3" fmla="*/ 914400 h 914400"/>
                  <a:gd name="connsiteX4" fmla="*/ 0 w 1828800"/>
                  <a:gd name="connsiteY4" fmla="*/ 914400 h 914400"/>
                  <a:gd name="connsiteX5" fmla="*/ 145146 w 1828800"/>
                  <a:gd name="connsiteY5" fmla="*/ 457204 h 914400"/>
                  <a:gd name="connsiteX0" fmla="*/ 0 w 1828800"/>
                  <a:gd name="connsiteY0" fmla="*/ 0 h 914400"/>
                  <a:gd name="connsiteX1" fmla="*/ 1683654 w 1828800"/>
                  <a:gd name="connsiteY1" fmla="*/ 0 h 914400"/>
                  <a:gd name="connsiteX2" fmla="*/ 1828800 w 1828800"/>
                  <a:gd name="connsiteY2" fmla="*/ 457200 h 914400"/>
                  <a:gd name="connsiteX3" fmla="*/ 1683654 w 1828800"/>
                  <a:gd name="connsiteY3" fmla="*/ 914400 h 914400"/>
                  <a:gd name="connsiteX4" fmla="*/ 0 w 1828800"/>
                  <a:gd name="connsiteY4" fmla="*/ 914400 h 914400"/>
                  <a:gd name="connsiteX5" fmla="*/ 181432 w 1828800"/>
                  <a:gd name="connsiteY5" fmla="*/ 457204 h 914400"/>
                  <a:gd name="connsiteX0" fmla="*/ 0 w 1828800"/>
                  <a:gd name="connsiteY0" fmla="*/ 0 h 914400"/>
                  <a:gd name="connsiteX1" fmla="*/ 1647368 w 1828800"/>
                  <a:gd name="connsiteY1" fmla="*/ 0 h 914400"/>
                  <a:gd name="connsiteX2" fmla="*/ 1828800 w 1828800"/>
                  <a:gd name="connsiteY2" fmla="*/ 457200 h 914400"/>
                  <a:gd name="connsiteX3" fmla="*/ 1683654 w 1828800"/>
                  <a:gd name="connsiteY3" fmla="*/ 914400 h 914400"/>
                  <a:gd name="connsiteX4" fmla="*/ 0 w 1828800"/>
                  <a:gd name="connsiteY4" fmla="*/ 914400 h 914400"/>
                  <a:gd name="connsiteX5" fmla="*/ 181432 w 1828800"/>
                  <a:gd name="connsiteY5" fmla="*/ 457204 h 914400"/>
                  <a:gd name="connsiteX0" fmla="*/ 0 w 1828800"/>
                  <a:gd name="connsiteY0" fmla="*/ 0 h 914400"/>
                  <a:gd name="connsiteX1" fmla="*/ 1647368 w 1828800"/>
                  <a:gd name="connsiteY1" fmla="*/ 0 h 914400"/>
                  <a:gd name="connsiteX2" fmla="*/ 1828800 w 1828800"/>
                  <a:gd name="connsiteY2" fmla="*/ 457200 h 914400"/>
                  <a:gd name="connsiteX3" fmla="*/ 1647368 w 1828800"/>
                  <a:gd name="connsiteY3" fmla="*/ 914400 h 914400"/>
                  <a:gd name="connsiteX4" fmla="*/ 0 w 1828800"/>
                  <a:gd name="connsiteY4" fmla="*/ 914400 h 914400"/>
                  <a:gd name="connsiteX5" fmla="*/ 181432 w 1828800"/>
                  <a:gd name="connsiteY5" fmla="*/ 457204 h 914400"/>
                  <a:gd name="connsiteX0" fmla="*/ 0 w 1828800"/>
                  <a:gd name="connsiteY0" fmla="*/ 0 h 914400"/>
                  <a:gd name="connsiteX1" fmla="*/ 1647368 w 1828800"/>
                  <a:gd name="connsiteY1" fmla="*/ 0 h 914400"/>
                  <a:gd name="connsiteX2" fmla="*/ 1828800 w 1828800"/>
                  <a:gd name="connsiteY2" fmla="*/ 457200 h 914400"/>
                  <a:gd name="connsiteX3" fmla="*/ 1647368 w 1828800"/>
                  <a:gd name="connsiteY3" fmla="*/ 914400 h 914400"/>
                  <a:gd name="connsiteX4" fmla="*/ 0 w 1828800"/>
                  <a:gd name="connsiteY4" fmla="*/ 914400 h 914400"/>
                  <a:gd name="connsiteX5" fmla="*/ 97133 w 1828800"/>
                  <a:gd name="connsiteY5" fmla="*/ 457203 h 914400"/>
                  <a:gd name="connsiteX0" fmla="*/ 0 w 1828800"/>
                  <a:gd name="connsiteY0" fmla="*/ 0 h 914400"/>
                  <a:gd name="connsiteX1" fmla="*/ 1731667 w 1828800"/>
                  <a:gd name="connsiteY1" fmla="*/ 0 h 914400"/>
                  <a:gd name="connsiteX2" fmla="*/ 1828800 w 1828800"/>
                  <a:gd name="connsiteY2" fmla="*/ 457200 h 914400"/>
                  <a:gd name="connsiteX3" fmla="*/ 1647368 w 1828800"/>
                  <a:gd name="connsiteY3" fmla="*/ 914400 h 914400"/>
                  <a:gd name="connsiteX4" fmla="*/ 0 w 1828800"/>
                  <a:gd name="connsiteY4" fmla="*/ 914400 h 914400"/>
                  <a:gd name="connsiteX5" fmla="*/ 97133 w 1828800"/>
                  <a:gd name="connsiteY5" fmla="*/ 457203 h 914400"/>
                  <a:gd name="connsiteX0" fmla="*/ 0 w 1828800"/>
                  <a:gd name="connsiteY0" fmla="*/ 0 h 914400"/>
                  <a:gd name="connsiteX1" fmla="*/ 1731667 w 1828800"/>
                  <a:gd name="connsiteY1" fmla="*/ 0 h 914400"/>
                  <a:gd name="connsiteX2" fmla="*/ 1828800 w 1828800"/>
                  <a:gd name="connsiteY2" fmla="*/ 457200 h 914400"/>
                  <a:gd name="connsiteX3" fmla="*/ 1731667 w 1828800"/>
                  <a:gd name="connsiteY3" fmla="*/ 914400 h 914400"/>
                  <a:gd name="connsiteX4" fmla="*/ 0 w 1828800"/>
                  <a:gd name="connsiteY4" fmla="*/ 914400 h 914400"/>
                  <a:gd name="connsiteX5" fmla="*/ 97133 w 1828800"/>
                  <a:gd name="connsiteY5" fmla="*/ 457203 h 914400"/>
                  <a:gd name="connsiteX0" fmla="*/ 0 w 1828800"/>
                  <a:gd name="connsiteY0" fmla="*/ 0 h 914400"/>
                  <a:gd name="connsiteX1" fmla="*/ 1731667 w 1828800"/>
                  <a:gd name="connsiteY1" fmla="*/ 0 h 914400"/>
                  <a:gd name="connsiteX2" fmla="*/ 1828800 w 1828800"/>
                  <a:gd name="connsiteY2" fmla="*/ 457200 h 914400"/>
                  <a:gd name="connsiteX3" fmla="*/ 1731667 w 1828800"/>
                  <a:gd name="connsiteY3" fmla="*/ 914400 h 914400"/>
                  <a:gd name="connsiteX4" fmla="*/ 0 w 1828800"/>
                  <a:gd name="connsiteY4" fmla="*/ 914400 h 914400"/>
                  <a:gd name="connsiteX5" fmla="*/ 121416 w 1828800"/>
                  <a:gd name="connsiteY5" fmla="*/ 457203 h 914400"/>
                  <a:gd name="connsiteX0" fmla="*/ 0 w 1828800"/>
                  <a:gd name="connsiteY0" fmla="*/ 0 h 914400"/>
                  <a:gd name="connsiteX1" fmla="*/ 1707384 w 1828800"/>
                  <a:gd name="connsiteY1" fmla="*/ 0 h 914400"/>
                  <a:gd name="connsiteX2" fmla="*/ 1828800 w 1828800"/>
                  <a:gd name="connsiteY2" fmla="*/ 457200 h 914400"/>
                  <a:gd name="connsiteX3" fmla="*/ 1731667 w 1828800"/>
                  <a:gd name="connsiteY3" fmla="*/ 914400 h 914400"/>
                  <a:gd name="connsiteX4" fmla="*/ 0 w 1828800"/>
                  <a:gd name="connsiteY4" fmla="*/ 914400 h 914400"/>
                  <a:gd name="connsiteX5" fmla="*/ 121416 w 1828800"/>
                  <a:gd name="connsiteY5" fmla="*/ 457203 h 914400"/>
                  <a:gd name="connsiteX0" fmla="*/ 0 w 1828800"/>
                  <a:gd name="connsiteY0" fmla="*/ 0 h 914400"/>
                  <a:gd name="connsiteX1" fmla="*/ 1707384 w 1828800"/>
                  <a:gd name="connsiteY1" fmla="*/ 0 h 914400"/>
                  <a:gd name="connsiteX2" fmla="*/ 1828800 w 1828800"/>
                  <a:gd name="connsiteY2" fmla="*/ 457200 h 914400"/>
                  <a:gd name="connsiteX3" fmla="*/ 1707384 w 1828800"/>
                  <a:gd name="connsiteY3" fmla="*/ 914400 h 914400"/>
                  <a:gd name="connsiteX4" fmla="*/ 0 w 1828800"/>
                  <a:gd name="connsiteY4" fmla="*/ 914400 h 914400"/>
                  <a:gd name="connsiteX5" fmla="*/ 121416 w 1828800"/>
                  <a:gd name="connsiteY5" fmla="*/ 457203 h 914400"/>
                  <a:gd name="connsiteX0" fmla="*/ 0 w 1828800"/>
                  <a:gd name="connsiteY0" fmla="*/ 0 h 914400"/>
                  <a:gd name="connsiteX1" fmla="*/ 1707384 w 1828800"/>
                  <a:gd name="connsiteY1" fmla="*/ 0 h 914400"/>
                  <a:gd name="connsiteX2" fmla="*/ 1828800 w 1828800"/>
                  <a:gd name="connsiteY2" fmla="*/ 457200 h 914400"/>
                  <a:gd name="connsiteX3" fmla="*/ 170738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738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81622 w 1828800"/>
                  <a:gd name="connsiteY5" fmla="*/ 457203 h 914400"/>
                  <a:gd name="connsiteX0" fmla="*/ 0 w 1828800"/>
                  <a:gd name="connsiteY0" fmla="*/ 0 h 914400"/>
                  <a:gd name="connsiteX1" fmla="*/ 1747178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81622 w 1828800"/>
                  <a:gd name="connsiteY5" fmla="*/ 457203 h 914400"/>
                  <a:gd name="connsiteX0" fmla="*/ 0 w 1828800"/>
                  <a:gd name="connsiteY0" fmla="*/ 0 h 914400"/>
                  <a:gd name="connsiteX1" fmla="*/ 1747178 w 1828800"/>
                  <a:gd name="connsiteY1" fmla="*/ 0 h 914400"/>
                  <a:gd name="connsiteX2" fmla="*/ 1828800 w 1828800"/>
                  <a:gd name="connsiteY2" fmla="*/ 457200 h 914400"/>
                  <a:gd name="connsiteX3" fmla="*/ 1747178 w 1828800"/>
                  <a:gd name="connsiteY3" fmla="*/ 914400 h 914400"/>
                  <a:gd name="connsiteX4" fmla="*/ 0 w 1828800"/>
                  <a:gd name="connsiteY4" fmla="*/ 914400 h 914400"/>
                  <a:gd name="connsiteX5" fmla="*/ 81622 w 1828800"/>
                  <a:gd name="connsiteY5" fmla="*/ 457203 h 914400"/>
                  <a:gd name="connsiteX0" fmla="*/ 0 w 1828800"/>
                  <a:gd name="connsiteY0" fmla="*/ 0 h 914400"/>
                  <a:gd name="connsiteX1" fmla="*/ 1747178 w 1828800"/>
                  <a:gd name="connsiteY1" fmla="*/ 0 h 914400"/>
                  <a:gd name="connsiteX2" fmla="*/ 1828800 w 1828800"/>
                  <a:gd name="connsiteY2" fmla="*/ 457200 h 914400"/>
                  <a:gd name="connsiteX3" fmla="*/ 1747178 w 1828800"/>
                  <a:gd name="connsiteY3" fmla="*/ 914400 h 914400"/>
                  <a:gd name="connsiteX4" fmla="*/ 0 w 1828800"/>
                  <a:gd name="connsiteY4" fmla="*/ 914400 h 914400"/>
                  <a:gd name="connsiteX5" fmla="*/ 102027 w 1828800"/>
                  <a:gd name="connsiteY5" fmla="*/ 457203 h 914400"/>
                  <a:gd name="connsiteX0" fmla="*/ 0 w 1828800"/>
                  <a:gd name="connsiteY0" fmla="*/ 0 h 914400"/>
                  <a:gd name="connsiteX1" fmla="*/ 1726773 w 1828800"/>
                  <a:gd name="connsiteY1" fmla="*/ 0 h 914400"/>
                  <a:gd name="connsiteX2" fmla="*/ 1828800 w 1828800"/>
                  <a:gd name="connsiteY2" fmla="*/ 457200 h 914400"/>
                  <a:gd name="connsiteX3" fmla="*/ 1747178 w 1828800"/>
                  <a:gd name="connsiteY3" fmla="*/ 914400 h 914400"/>
                  <a:gd name="connsiteX4" fmla="*/ 0 w 1828800"/>
                  <a:gd name="connsiteY4" fmla="*/ 914400 h 914400"/>
                  <a:gd name="connsiteX5" fmla="*/ 102027 w 1828800"/>
                  <a:gd name="connsiteY5" fmla="*/ 457203 h 914400"/>
                  <a:gd name="connsiteX0" fmla="*/ 0 w 1828800"/>
                  <a:gd name="connsiteY0" fmla="*/ 0 h 914400"/>
                  <a:gd name="connsiteX1" fmla="*/ 1726773 w 1828800"/>
                  <a:gd name="connsiteY1" fmla="*/ 0 h 914400"/>
                  <a:gd name="connsiteX2" fmla="*/ 1828800 w 1828800"/>
                  <a:gd name="connsiteY2" fmla="*/ 457200 h 914400"/>
                  <a:gd name="connsiteX3" fmla="*/ 1726773 w 1828800"/>
                  <a:gd name="connsiteY3" fmla="*/ 914400 h 914400"/>
                  <a:gd name="connsiteX4" fmla="*/ 0 w 1828800"/>
                  <a:gd name="connsiteY4" fmla="*/ 914400 h 914400"/>
                  <a:gd name="connsiteX5" fmla="*/ 102027 w 1828800"/>
                  <a:gd name="connsiteY5" fmla="*/ 457203 h 914400"/>
                  <a:gd name="connsiteX0" fmla="*/ 0 w 1828800"/>
                  <a:gd name="connsiteY0" fmla="*/ 0 h 914400"/>
                  <a:gd name="connsiteX1" fmla="*/ 1726773 w 1828800"/>
                  <a:gd name="connsiteY1" fmla="*/ 0 h 914400"/>
                  <a:gd name="connsiteX2" fmla="*/ 1828800 w 1828800"/>
                  <a:gd name="connsiteY2" fmla="*/ 457200 h 914400"/>
                  <a:gd name="connsiteX3" fmla="*/ 1726773 w 1828800"/>
                  <a:gd name="connsiteY3" fmla="*/ 914400 h 914400"/>
                  <a:gd name="connsiteX4" fmla="*/ 0 w 1828800"/>
                  <a:gd name="connsiteY4" fmla="*/ 914400 h 914400"/>
                  <a:gd name="connsiteX5" fmla="*/ 168686 w 1828800"/>
                  <a:gd name="connsiteY5" fmla="*/ 457203 h 914400"/>
                  <a:gd name="connsiteX0" fmla="*/ 0 w 1828800"/>
                  <a:gd name="connsiteY0" fmla="*/ 0 h 914400"/>
                  <a:gd name="connsiteX1" fmla="*/ 1660114 w 1828800"/>
                  <a:gd name="connsiteY1" fmla="*/ 0 h 914400"/>
                  <a:gd name="connsiteX2" fmla="*/ 1828800 w 1828800"/>
                  <a:gd name="connsiteY2" fmla="*/ 457200 h 914400"/>
                  <a:gd name="connsiteX3" fmla="*/ 1726773 w 1828800"/>
                  <a:gd name="connsiteY3" fmla="*/ 914400 h 914400"/>
                  <a:gd name="connsiteX4" fmla="*/ 0 w 1828800"/>
                  <a:gd name="connsiteY4" fmla="*/ 914400 h 914400"/>
                  <a:gd name="connsiteX5" fmla="*/ 168686 w 1828800"/>
                  <a:gd name="connsiteY5" fmla="*/ 457203 h 914400"/>
                  <a:gd name="connsiteX0" fmla="*/ 0 w 1828800"/>
                  <a:gd name="connsiteY0" fmla="*/ 0 h 914400"/>
                  <a:gd name="connsiteX1" fmla="*/ 1660114 w 1828800"/>
                  <a:gd name="connsiteY1" fmla="*/ 0 h 914400"/>
                  <a:gd name="connsiteX2" fmla="*/ 1828800 w 1828800"/>
                  <a:gd name="connsiteY2" fmla="*/ 457200 h 914400"/>
                  <a:gd name="connsiteX3" fmla="*/ 1660114 w 1828800"/>
                  <a:gd name="connsiteY3" fmla="*/ 914400 h 914400"/>
                  <a:gd name="connsiteX4" fmla="*/ 0 w 1828800"/>
                  <a:gd name="connsiteY4" fmla="*/ 914400 h 914400"/>
                  <a:gd name="connsiteX5" fmla="*/ 168686 w 1828800"/>
                  <a:gd name="connsiteY5" fmla="*/ 457203 h 914400"/>
                  <a:gd name="connsiteX0" fmla="*/ 0 w 1828800"/>
                  <a:gd name="connsiteY0" fmla="*/ 0 h 914400"/>
                  <a:gd name="connsiteX1" fmla="*/ 1660114 w 1828800"/>
                  <a:gd name="connsiteY1" fmla="*/ 0 h 914400"/>
                  <a:gd name="connsiteX2" fmla="*/ 1828800 w 1828800"/>
                  <a:gd name="connsiteY2" fmla="*/ 457200 h 914400"/>
                  <a:gd name="connsiteX3" fmla="*/ 1660114 w 1828800"/>
                  <a:gd name="connsiteY3" fmla="*/ 914400 h 914400"/>
                  <a:gd name="connsiteX4" fmla="*/ 0 w 1828800"/>
                  <a:gd name="connsiteY4" fmla="*/ 914400 h 914400"/>
                  <a:gd name="connsiteX5" fmla="*/ 210858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60114 w 1828800"/>
                  <a:gd name="connsiteY3" fmla="*/ 914400 h 914400"/>
                  <a:gd name="connsiteX4" fmla="*/ 0 w 1828800"/>
                  <a:gd name="connsiteY4" fmla="*/ 914400 h 914400"/>
                  <a:gd name="connsiteX5" fmla="*/ 210858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210858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153351 w 1828800"/>
                  <a:gd name="connsiteY5" fmla="*/ 457203 h 914400"/>
                  <a:gd name="connsiteX0" fmla="*/ 0 w 1828800"/>
                  <a:gd name="connsiteY0" fmla="*/ 0 h 914400"/>
                  <a:gd name="connsiteX1" fmla="*/ 1675449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153351 w 1828800"/>
                  <a:gd name="connsiteY5" fmla="*/ 457203 h 914400"/>
                  <a:gd name="connsiteX0" fmla="*/ 0 w 1828800"/>
                  <a:gd name="connsiteY0" fmla="*/ 0 h 914400"/>
                  <a:gd name="connsiteX1" fmla="*/ 1675449 w 1828800"/>
                  <a:gd name="connsiteY1" fmla="*/ 0 h 914400"/>
                  <a:gd name="connsiteX2" fmla="*/ 1828800 w 1828800"/>
                  <a:gd name="connsiteY2" fmla="*/ 457200 h 914400"/>
                  <a:gd name="connsiteX3" fmla="*/ 1675449 w 1828800"/>
                  <a:gd name="connsiteY3" fmla="*/ 914400 h 914400"/>
                  <a:gd name="connsiteX4" fmla="*/ 0 w 1828800"/>
                  <a:gd name="connsiteY4" fmla="*/ 914400 h 914400"/>
                  <a:gd name="connsiteX5" fmla="*/ 153351 w 1828800"/>
                  <a:gd name="connsiteY5" fmla="*/ 457203 h 914400"/>
                  <a:gd name="connsiteX0" fmla="*/ 0 w 1828800"/>
                  <a:gd name="connsiteY0" fmla="*/ 0 h 914400"/>
                  <a:gd name="connsiteX1" fmla="*/ 1675449 w 1828800"/>
                  <a:gd name="connsiteY1" fmla="*/ 0 h 914400"/>
                  <a:gd name="connsiteX2" fmla="*/ 1828800 w 1828800"/>
                  <a:gd name="connsiteY2" fmla="*/ 457200 h 914400"/>
                  <a:gd name="connsiteX3" fmla="*/ 1675449 w 1828800"/>
                  <a:gd name="connsiteY3" fmla="*/ 914400 h 914400"/>
                  <a:gd name="connsiteX4" fmla="*/ 0 w 1828800"/>
                  <a:gd name="connsiteY4" fmla="*/ 914400 h 914400"/>
                  <a:gd name="connsiteX5" fmla="*/ 191689 w 1828800"/>
                  <a:gd name="connsiteY5" fmla="*/ 457203 h 914400"/>
                  <a:gd name="connsiteX0" fmla="*/ 0 w 1828800"/>
                  <a:gd name="connsiteY0" fmla="*/ 0 h 914400"/>
                  <a:gd name="connsiteX1" fmla="*/ 1637111 w 1828800"/>
                  <a:gd name="connsiteY1" fmla="*/ 0 h 914400"/>
                  <a:gd name="connsiteX2" fmla="*/ 1828800 w 1828800"/>
                  <a:gd name="connsiteY2" fmla="*/ 457200 h 914400"/>
                  <a:gd name="connsiteX3" fmla="*/ 1675449 w 1828800"/>
                  <a:gd name="connsiteY3" fmla="*/ 914400 h 914400"/>
                  <a:gd name="connsiteX4" fmla="*/ 0 w 1828800"/>
                  <a:gd name="connsiteY4" fmla="*/ 914400 h 914400"/>
                  <a:gd name="connsiteX5" fmla="*/ 191689 w 1828800"/>
                  <a:gd name="connsiteY5" fmla="*/ 457203 h 914400"/>
                  <a:gd name="connsiteX0" fmla="*/ 0 w 1828800"/>
                  <a:gd name="connsiteY0" fmla="*/ 0 h 914400"/>
                  <a:gd name="connsiteX1" fmla="*/ 1637111 w 1828800"/>
                  <a:gd name="connsiteY1" fmla="*/ 0 h 914400"/>
                  <a:gd name="connsiteX2" fmla="*/ 1828800 w 1828800"/>
                  <a:gd name="connsiteY2" fmla="*/ 457200 h 914400"/>
                  <a:gd name="connsiteX3" fmla="*/ 1637111 w 1828800"/>
                  <a:gd name="connsiteY3" fmla="*/ 914400 h 914400"/>
                  <a:gd name="connsiteX4" fmla="*/ 0 w 1828800"/>
                  <a:gd name="connsiteY4" fmla="*/ 914400 h 914400"/>
                  <a:gd name="connsiteX5" fmla="*/ 191689 w 1828800"/>
                  <a:gd name="connsiteY5" fmla="*/ 457203 h 914400"/>
                  <a:gd name="connsiteX0" fmla="*/ 0 w 1828800"/>
                  <a:gd name="connsiteY0" fmla="*/ 0 h 914400"/>
                  <a:gd name="connsiteX1" fmla="*/ 1637111 w 1828800"/>
                  <a:gd name="connsiteY1" fmla="*/ 0 h 914400"/>
                  <a:gd name="connsiteX2" fmla="*/ 1828800 w 1828800"/>
                  <a:gd name="connsiteY2" fmla="*/ 457200 h 914400"/>
                  <a:gd name="connsiteX3" fmla="*/ 1637111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60114 w 1828800"/>
                  <a:gd name="connsiteY1" fmla="*/ 0 h 914400"/>
                  <a:gd name="connsiteX2" fmla="*/ 1828800 w 1828800"/>
                  <a:gd name="connsiteY2" fmla="*/ 457200 h 914400"/>
                  <a:gd name="connsiteX3" fmla="*/ 1637111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60114 w 1828800"/>
                  <a:gd name="connsiteY1" fmla="*/ 0 h 914400"/>
                  <a:gd name="connsiteX2" fmla="*/ 1828800 w 1828800"/>
                  <a:gd name="connsiteY2" fmla="*/ 457200 h 914400"/>
                  <a:gd name="connsiteX3" fmla="*/ 166011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60114 w 1828800"/>
                  <a:gd name="connsiteY1" fmla="*/ 0 h 914400"/>
                  <a:gd name="connsiteX2" fmla="*/ 1828800 w 1828800"/>
                  <a:gd name="connsiteY2" fmla="*/ 457200 h 914400"/>
                  <a:gd name="connsiteX3" fmla="*/ 166011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6011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210858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210858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210858 w 1828800"/>
                  <a:gd name="connsiteY5" fmla="*/ 457203 h 914400"/>
                  <a:gd name="connsiteX0" fmla="*/ 0 w 1828800"/>
                  <a:gd name="connsiteY0" fmla="*/ 0 h 914400"/>
                  <a:gd name="connsiteX1" fmla="*/ 1617942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24690 w 1828800"/>
                  <a:gd name="connsiteY1" fmla="*/ 0 h 914400"/>
                  <a:gd name="connsiteX2" fmla="*/ 1828800 w 1828800"/>
                  <a:gd name="connsiteY2" fmla="*/ 457200 h 914400"/>
                  <a:gd name="connsiteX3" fmla="*/ 1617942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24690 w 1828800"/>
                  <a:gd name="connsiteY1" fmla="*/ 0 h 914400"/>
                  <a:gd name="connsiteX2" fmla="*/ 1828800 w 1828800"/>
                  <a:gd name="connsiteY2" fmla="*/ 457200 h 914400"/>
                  <a:gd name="connsiteX3" fmla="*/ 162469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24690 w 1828800"/>
                  <a:gd name="connsiteY1" fmla="*/ 0 h 914400"/>
                  <a:gd name="connsiteX2" fmla="*/ 1828800 w 1828800"/>
                  <a:gd name="connsiteY2" fmla="*/ 457200 h 914400"/>
                  <a:gd name="connsiteX3" fmla="*/ 162469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573662 w 1828800"/>
                  <a:gd name="connsiteY1" fmla="*/ 0 h 914400"/>
                  <a:gd name="connsiteX2" fmla="*/ 1828800 w 1828800"/>
                  <a:gd name="connsiteY2" fmla="*/ 457200 h 914400"/>
                  <a:gd name="connsiteX3" fmla="*/ 162469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573662 w 1828800"/>
                  <a:gd name="connsiteY1" fmla="*/ 0 h 914400"/>
                  <a:gd name="connsiteX2" fmla="*/ 1828800 w 1828800"/>
                  <a:gd name="connsiteY2" fmla="*/ 457200 h 914400"/>
                  <a:gd name="connsiteX3" fmla="*/ 1573662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573662 w 1828800"/>
                  <a:gd name="connsiteY1" fmla="*/ 0 h 914400"/>
                  <a:gd name="connsiteX2" fmla="*/ 1828800 w 1828800"/>
                  <a:gd name="connsiteY2" fmla="*/ 457200 h 914400"/>
                  <a:gd name="connsiteX3" fmla="*/ 1573662 w 1828800"/>
                  <a:gd name="connsiteY3" fmla="*/ 914400 h 914400"/>
                  <a:gd name="connsiteX4" fmla="*/ 0 w 1828800"/>
                  <a:gd name="connsiteY4" fmla="*/ 914400 h 914400"/>
                  <a:gd name="connsiteX5" fmla="*/ 255138 w 1828800"/>
                  <a:gd name="connsiteY5" fmla="*/ 457203 h 914400"/>
                  <a:gd name="connsiteX0" fmla="*/ 0 w 1828800"/>
                  <a:gd name="connsiteY0" fmla="*/ 0 h 914400"/>
                  <a:gd name="connsiteX1" fmla="*/ 1573662 w 1828800"/>
                  <a:gd name="connsiteY1" fmla="*/ 0 h 914400"/>
                  <a:gd name="connsiteX2" fmla="*/ 1828800 w 1828800"/>
                  <a:gd name="connsiteY2" fmla="*/ 457200 h 914400"/>
                  <a:gd name="connsiteX3" fmla="*/ 1573662 w 1828800"/>
                  <a:gd name="connsiteY3" fmla="*/ 914400 h 914400"/>
                  <a:gd name="connsiteX4" fmla="*/ 0 w 1828800"/>
                  <a:gd name="connsiteY4" fmla="*/ 914400 h 914400"/>
                  <a:gd name="connsiteX5" fmla="*/ 255138 w 1828800"/>
                  <a:gd name="connsiteY5" fmla="*/ 457203 h 914400"/>
                  <a:gd name="connsiteX0" fmla="*/ 0 w 1828800"/>
                  <a:gd name="connsiteY0" fmla="*/ 0 h 914400"/>
                  <a:gd name="connsiteX1" fmla="*/ 1573662 w 1828800"/>
                  <a:gd name="connsiteY1" fmla="*/ 0 h 914400"/>
                  <a:gd name="connsiteX2" fmla="*/ 1828800 w 1828800"/>
                  <a:gd name="connsiteY2" fmla="*/ 457200 h 914400"/>
                  <a:gd name="connsiteX3" fmla="*/ 1573662 w 1828800"/>
                  <a:gd name="connsiteY3" fmla="*/ 914400 h 914400"/>
                  <a:gd name="connsiteX4" fmla="*/ 0 w 1828800"/>
                  <a:gd name="connsiteY4" fmla="*/ 914400 h 914400"/>
                  <a:gd name="connsiteX5" fmla="*/ 255138 w 1828800"/>
                  <a:gd name="connsiteY5" fmla="*/ 457203 h 914400"/>
                  <a:gd name="connsiteX0" fmla="*/ 0 w 1828800"/>
                  <a:gd name="connsiteY0" fmla="*/ 0 h 914400"/>
                  <a:gd name="connsiteX1" fmla="*/ 1573662 w 1828800"/>
                  <a:gd name="connsiteY1" fmla="*/ 0 h 914400"/>
                  <a:gd name="connsiteX2" fmla="*/ 1828800 w 1828800"/>
                  <a:gd name="connsiteY2" fmla="*/ 457200 h 914400"/>
                  <a:gd name="connsiteX3" fmla="*/ 1573662 w 1828800"/>
                  <a:gd name="connsiteY3" fmla="*/ 914400 h 914400"/>
                  <a:gd name="connsiteX4" fmla="*/ 0 w 1828800"/>
                  <a:gd name="connsiteY4" fmla="*/ 914400 h 914400"/>
                  <a:gd name="connsiteX5" fmla="*/ 185555 w 1828800"/>
                  <a:gd name="connsiteY5" fmla="*/ 457203 h 914400"/>
                  <a:gd name="connsiteX0" fmla="*/ 0 w 1828800"/>
                  <a:gd name="connsiteY0" fmla="*/ 0 h 914400"/>
                  <a:gd name="connsiteX1" fmla="*/ 1643245 w 1828800"/>
                  <a:gd name="connsiteY1" fmla="*/ 0 h 914400"/>
                  <a:gd name="connsiteX2" fmla="*/ 1828800 w 1828800"/>
                  <a:gd name="connsiteY2" fmla="*/ 457200 h 914400"/>
                  <a:gd name="connsiteX3" fmla="*/ 1573662 w 1828800"/>
                  <a:gd name="connsiteY3" fmla="*/ 914400 h 914400"/>
                  <a:gd name="connsiteX4" fmla="*/ 0 w 1828800"/>
                  <a:gd name="connsiteY4" fmla="*/ 914400 h 914400"/>
                  <a:gd name="connsiteX5" fmla="*/ 185555 w 1828800"/>
                  <a:gd name="connsiteY5" fmla="*/ 457203 h 914400"/>
                  <a:gd name="connsiteX0" fmla="*/ 0 w 1828800"/>
                  <a:gd name="connsiteY0" fmla="*/ 0 h 914400"/>
                  <a:gd name="connsiteX1" fmla="*/ 1643245 w 1828800"/>
                  <a:gd name="connsiteY1" fmla="*/ 0 h 914400"/>
                  <a:gd name="connsiteX2" fmla="*/ 1828800 w 1828800"/>
                  <a:gd name="connsiteY2" fmla="*/ 457200 h 914400"/>
                  <a:gd name="connsiteX3" fmla="*/ 1643245 w 1828800"/>
                  <a:gd name="connsiteY3" fmla="*/ 914400 h 914400"/>
                  <a:gd name="connsiteX4" fmla="*/ 0 w 1828800"/>
                  <a:gd name="connsiteY4" fmla="*/ 914400 h 914400"/>
                  <a:gd name="connsiteX5" fmla="*/ 185555 w 1828800"/>
                  <a:gd name="connsiteY5" fmla="*/ 457203 h 914400"/>
                  <a:gd name="connsiteX0" fmla="*/ 0 w 1828800"/>
                  <a:gd name="connsiteY0" fmla="*/ 0 h 914400"/>
                  <a:gd name="connsiteX1" fmla="*/ 1643245 w 1828800"/>
                  <a:gd name="connsiteY1" fmla="*/ 0 h 914400"/>
                  <a:gd name="connsiteX2" fmla="*/ 1828800 w 1828800"/>
                  <a:gd name="connsiteY2" fmla="*/ 457200 h 914400"/>
                  <a:gd name="connsiteX3" fmla="*/ 1643245 w 1828800"/>
                  <a:gd name="connsiteY3" fmla="*/ 914400 h 914400"/>
                  <a:gd name="connsiteX4" fmla="*/ 0 w 1828800"/>
                  <a:gd name="connsiteY4" fmla="*/ 914400 h 914400"/>
                  <a:gd name="connsiteX5" fmla="*/ 231943 w 1828800"/>
                  <a:gd name="connsiteY5" fmla="*/ 457203 h 914400"/>
                  <a:gd name="connsiteX0" fmla="*/ 0 w 1828800"/>
                  <a:gd name="connsiteY0" fmla="*/ 0 h 914400"/>
                  <a:gd name="connsiteX1" fmla="*/ 1596857 w 1828800"/>
                  <a:gd name="connsiteY1" fmla="*/ 0 h 914400"/>
                  <a:gd name="connsiteX2" fmla="*/ 1828800 w 1828800"/>
                  <a:gd name="connsiteY2" fmla="*/ 457200 h 914400"/>
                  <a:gd name="connsiteX3" fmla="*/ 1643245 w 1828800"/>
                  <a:gd name="connsiteY3" fmla="*/ 914400 h 914400"/>
                  <a:gd name="connsiteX4" fmla="*/ 0 w 1828800"/>
                  <a:gd name="connsiteY4" fmla="*/ 914400 h 914400"/>
                  <a:gd name="connsiteX5" fmla="*/ 231943 w 1828800"/>
                  <a:gd name="connsiteY5" fmla="*/ 457203 h 914400"/>
                  <a:gd name="connsiteX0" fmla="*/ 0 w 1828800"/>
                  <a:gd name="connsiteY0" fmla="*/ 0 h 914400"/>
                  <a:gd name="connsiteX1" fmla="*/ 1596857 w 1828800"/>
                  <a:gd name="connsiteY1" fmla="*/ 0 h 914400"/>
                  <a:gd name="connsiteX2" fmla="*/ 1828800 w 1828800"/>
                  <a:gd name="connsiteY2" fmla="*/ 457200 h 914400"/>
                  <a:gd name="connsiteX3" fmla="*/ 1596857 w 1828800"/>
                  <a:gd name="connsiteY3" fmla="*/ 914400 h 914400"/>
                  <a:gd name="connsiteX4" fmla="*/ 0 w 1828800"/>
                  <a:gd name="connsiteY4" fmla="*/ 914400 h 914400"/>
                  <a:gd name="connsiteX5" fmla="*/ 231943 w 1828800"/>
                  <a:gd name="connsiteY5" fmla="*/ 457203 h 914400"/>
                  <a:gd name="connsiteX0" fmla="*/ 0 w 1828800"/>
                  <a:gd name="connsiteY0" fmla="*/ 0 h 914400"/>
                  <a:gd name="connsiteX1" fmla="*/ 1596857 w 1828800"/>
                  <a:gd name="connsiteY1" fmla="*/ 0 h 914400"/>
                  <a:gd name="connsiteX2" fmla="*/ 1828800 w 1828800"/>
                  <a:gd name="connsiteY2" fmla="*/ 457200 h 914400"/>
                  <a:gd name="connsiteX3" fmla="*/ 1596857 w 1828800"/>
                  <a:gd name="connsiteY3" fmla="*/ 914400 h 914400"/>
                  <a:gd name="connsiteX4" fmla="*/ 0 w 1828800"/>
                  <a:gd name="connsiteY4" fmla="*/ 914400 h 914400"/>
                  <a:gd name="connsiteX5" fmla="*/ 185555 w 1828800"/>
                  <a:gd name="connsiteY5" fmla="*/ 457203 h 914400"/>
                  <a:gd name="connsiteX0" fmla="*/ 0 w 1828800"/>
                  <a:gd name="connsiteY0" fmla="*/ 0 h 914400"/>
                  <a:gd name="connsiteX1" fmla="*/ 1643245 w 1828800"/>
                  <a:gd name="connsiteY1" fmla="*/ 0 h 914400"/>
                  <a:gd name="connsiteX2" fmla="*/ 1828800 w 1828800"/>
                  <a:gd name="connsiteY2" fmla="*/ 457200 h 914400"/>
                  <a:gd name="connsiteX3" fmla="*/ 1596857 w 1828800"/>
                  <a:gd name="connsiteY3" fmla="*/ 914400 h 914400"/>
                  <a:gd name="connsiteX4" fmla="*/ 0 w 1828800"/>
                  <a:gd name="connsiteY4" fmla="*/ 914400 h 914400"/>
                  <a:gd name="connsiteX5" fmla="*/ 185555 w 1828800"/>
                  <a:gd name="connsiteY5" fmla="*/ 457203 h 914400"/>
                  <a:gd name="connsiteX0" fmla="*/ 0 w 1828800"/>
                  <a:gd name="connsiteY0" fmla="*/ 0 h 914400"/>
                  <a:gd name="connsiteX1" fmla="*/ 1643245 w 1828800"/>
                  <a:gd name="connsiteY1" fmla="*/ 0 h 914400"/>
                  <a:gd name="connsiteX2" fmla="*/ 1828800 w 1828800"/>
                  <a:gd name="connsiteY2" fmla="*/ 457200 h 914400"/>
                  <a:gd name="connsiteX3" fmla="*/ 1643245 w 1828800"/>
                  <a:gd name="connsiteY3" fmla="*/ 914400 h 914400"/>
                  <a:gd name="connsiteX4" fmla="*/ 0 w 1828800"/>
                  <a:gd name="connsiteY4" fmla="*/ 914400 h 914400"/>
                  <a:gd name="connsiteX5" fmla="*/ 185555 w 1828800"/>
                  <a:gd name="connsiteY5" fmla="*/ 457203 h 914400"/>
                  <a:gd name="connsiteX0" fmla="*/ 0 w 1828800"/>
                  <a:gd name="connsiteY0" fmla="*/ 0 h 914400"/>
                  <a:gd name="connsiteX1" fmla="*/ 1643245 w 1828800"/>
                  <a:gd name="connsiteY1" fmla="*/ 0 h 914400"/>
                  <a:gd name="connsiteX2" fmla="*/ 1828800 w 1828800"/>
                  <a:gd name="connsiteY2" fmla="*/ 457200 h 914400"/>
                  <a:gd name="connsiteX3" fmla="*/ 1643245 w 1828800"/>
                  <a:gd name="connsiteY3" fmla="*/ 914400 h 914400"/>
                  <a:gd name="connsiteX4" fmla="*/ 0 w 1828800"/>
                  <a:gd name="connsiteY4" fmla="*/ 914400 h 914400"/>
                  <a:gd name="connsiteX5" fmla="*/ 231943 w 1828800"/>
                  <a:gd name="connsiteY5" fmla="*/ 457203 h 914400"/>
                  <a:gd name="connsiteX0" fmla="*/ 0 w 1828800"/>
                  <a:gd name="connsiteY0" fmla="*/ 0 h 914400"/>
                  <a:gd name="connsiteX1" fmla="*/ 1596860 w 1828800"/>
                  <a:gd name="connsiteY1" fmla="*/ 0 h 914400"/>
                  <a:gd name="connsiteX2" fmla="*/ 1828800 w 1828800"/>
                  <a:gd name="connsiteY2" fmla="*/ 457200 h 914400"/>
                  <a:gd name="connsiteX3" fmla="*/ 1643245 w 1828800"/>
                  <a:gd name="connsiteY3" fmla="*/ 914400 h 914400"/>
                  <a:gd name="connsiteX4" fmla="*/ 0 w 1828800"/>
                  <a:gd name="connsiteY4" fmla="*/ 914400 h 914400"/>
                  <a:gd name="connsiteX5" fmla="*/ 231943 w 1828800"/>
                  <a:gd name="connsiteY5" fmla="*/ 457203 h 914400"/>
                  <a:gd name="connsiteX0" fmla="*/ 0 w 1828800"/>
                  <a:gd name="connsiteY0" fmla="*/ 0 h 914400"/>
                  <a:gd name="connsiteX1" fmla="*/ 1596860 w 1828800"/>
                  <a:gd name="connsiteY1" fmla="*/ 0 h 914400"/>
                  <a:gd name="connsiteX2" fmla="*/ 1828800 w 1828800"/>
                  <a:gd name="connsiteY2" fmla="*/ 457200 h 914400"/>
                  <a:gd name="connsiteX3" fmla="*/ 1596860 w 1828800"/>
                  <a:gd name="connsiteY3" fmla="*/ 914400 h 914400"/>
                  <a:gd name="connsiteX4" fmla="*/ 0 w 1828800"/>
                  <a:gd name="connsiteY4" fmla="*/ 914400 h 914400"/>
                  <a:gd name="connsiteX5" fmla="*/ 231943 w 1828800"/>
                  <a:gd name="connsiteY5" fmla="*/ 457203 h 914400"/>
                  <a:gd name="connsiteX0" fmla="*/ 0 w 1828800"/>
                  <a:gd name="connsiteY0" fmla="*/ 0 h 914400"/>
                  <a:gd name="connsiteX1" fmla="*/ 1596860 w 1828800"/>
                  <a:gd name="connsiteY1" fmla="*/ 0 h 914400"/>
                  <a:gd name="connsiteX2" fmla="*/ 1828800 w 1828800"/>
                  <a:gd name="connsiteY2" fmla="*/ 457200 h 914400"/>
                  <a:gd name="connsiteX3" fmla="*/ 1596860 w 1828800"/>
                  <a:gd name="connsiteY3" fmla="*/ 914400 h 914400"/>
                  <a:gd name="connsiteX4" fmla="*/ 0 w 1828800"/>
                  <a:gd name="connsiteY4" fmla="*/ 914400 h 914400"/>
                  <a:gd name="connsiteX5" fmla="*/ 104881 w 1828800"/>
                  <a:gd name="connsiteY5" fmla="*/ 457203 h 914400"/>
                  <a:gd name="connsiteX0" fmla="*/ 0 w 1828800"/>
                  <a:gd name="connsiteY0" fmla="*/ 0 h 914400"/>
                  <a:gd name="connsiteX1" fmla="*/ 1723920 w 1828800"/>
                  <a:gd name="connsiteY1" fmla="*/ 0 h 914400"/>
                  <a:gd name="connsiteX2" fmla="*/ 1828800 w 1828800"/>
                  <a:gd name="connsiteY2" fmla="*/ 457200 h 914400"/>
                  <a:gd name="connsiteX3" fmla="*/ 1596860 w 1828800"/>
                  <a:gd name="connsiteY3" fmla="*/ 914400 h 914400"/>
                  <a:gd name="connsiteX4" fmla="*/ 0 w 1828800"/>
                  <a:gd name="connsiteY4" fmla="*/ 914400 h 914400"/>
                  <a:gd name="connsiteX5" fmla="*/ 104881 w 1828800"/>
                  <a:gd name="connsiteY5" fmla="*/ 457203 h 914400"/>
                  <a:gd name="connsiteX0" fmla="*/ 0 w 1828800"/>
                  <a:gd name="connsiteY0" fmla="*/ 0 h 914400"/>
                  <a:gd name="connsiteX1" fmla="*/ 1723920 w 1828800"/>
                  <a:gd name="connsiteY1" fmla="*/ 0 h 914400"/>
                  <a:gd name="connsiteX2" fmla="*/ 1828800 w 1828800"/>
                  <a:gd name="connsiteY2" fmla="*/ 457200 h 914400"/>
                  <a:gd name="connsiteX3" fmla="*/ 1723920 w 1828800"/>
                  <a:gd name="connsiteY3" fmla="*/ 914400 h 914400"/>
                  <a:gd name="connsiteX4" fmla="*/ 0 w 1828800"/>
                  <a:gd name="connsiteY4" fmla="*/ 914400 h 914400"/>
                  <a:gd name="connsiteX5" fmla="*/ 104881 w 1828800"/>
                  <a:gd name="connsiteY5" fmla="*/ 457203 h 914400"/>
                  <a:gd name="connsiteX0" fmla="*/ 0 w 1828800"/>
                  <a:gd name="connsiteY0" fmla="*/ 0 h 914400"/>
                  <a:gd name="connsiteX1" fmla="*/ 1723920 w 1828800"/>
                  <a:gd name="connsiteY1" fmla="*/ 0 h 914400"/>
                  <a:gd name="connsiteX2" fmla="*/ 1828800 w 1828800"/>
                  <a:gd name="connsiteY2" fmla="*/ 457200 h 914400"/>
                  <a:gd name="connsiteX3" fmla="*/ 1723920 w 1828800"/>
                  <a:gd name="connsiteY3" fmla="*/ 914400 h 914400"/>
                  <a:gd name="connsiteX4" fmla="*/ 0 w 1828800"/>
                  <a:gd name="connsiteY4" fmla="*/ 914400 h 914400"/>
                  <a:gd name="connsiteX5" fmla="*/ 131102 w 1828800"/>
                  <a:gd name="connsiteY5" fmla="*/ 457203 h 914400"/>
                  <a:gd name="connsiteX0" fmla="*/ 0 w 1828800"/>
                  <a:gd name="connsiteY0" fmla="*/ 0 h 914400"/>
                  <a:gd name="connsiteX1" fmla="*/ 1697698 w 1828800"/>
                  <a:gd name="connsiteY1" fmla="*/ 0 h 914400"/>
                  <a:gd name="connsiteX2" fmla="*/ 1828800 w 1828800"/>
                  <a:gd name="connsiteY2" fmla="*/ 457200 h 914400"/>
                  <a:gd name="connsiteX3" fmla="*/ 1723920 w 1828800"/>
                  <a:gd name="connsiteY3" fmla="*/ 914400 h 914400"/>
                  <a:gd name="connsiteX4" fmla="*/ 0 w 1828800"/>
                  <a:gd name="connsiteY4" fmla="*/ 914400 h 914400"/>
                  <a:gd name="connsiteX5" fmla="*/ 131102 w 1828800"/>
                  <a:gd name="connsiteY5" fmla="*/ 457203 h 914400"/>
                  <a:gd name="connsiteX0" fmla="*/ 0 w 1828800"/>
                  <a:gd name="connsiteY0" fmla="*/ 0 h 914400"/>
                  <a:gd name="connsiteX1" fmla="*/ 1697698 w 1828800"/>
                  <a:gd name="connsiteY1" fmla="*/ 0 h 914400"/>
                  <a:gd name="connsiteX2" fmla="*/ 1828800 w 1828800"/>
                  <a:gd name="connsiteY2" fmla="*/ 457200 h 914400"/>
                  <a:gd name="connsiteX3" fmla="*/ 1697698 w 1828800"/>
                  <a:gd name="connsiteY3" fmla="*/ 914400 h 914400"/>
                  <a:gd name="connsiteX4" fmla="*/ 0 w 1828800"/>
                  <a:gd name="connsiteY4" fmla="*/ 914400 h 914400"/>
                  <a:gd name="connsiteX5" fmla="*/ 131102 w 1828800"/>
                  <a:gd name="connsiteY5" fmla="*/ 457203 h 914400"/>
                  <a:gd name="connsiteX0" fmla="*/ 0 w 1828800"/>
                  <a:gd name="connsiteY0" fmla="*/ 0 h 914400"/>
                  <a:gd name="connsiteX1" fmla="*/ 1697698 w 1828800"/>
                  <a:gd name="connsiteY1" fmla="*/ 0 h 914400"/>
                  <a:gd name="connsiteX2" fmla="*/ 1828800 w 1828800"/>
                  <a:gd name="connsiteY2" fmla="*/ 457200 h 914400"/>
                  <a:gd name="connsiteX3" fmla="*/ 1697698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97698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174495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174495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174495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201737 w 1828800"/>
                  <a:gd name="connsiteY5" fmla="*/ 457204 h 914400"/>
                  <a:gd name="connsiteX0" fmla="*/ 0 w 1828800"/>
                  <a:gd name="connsiteY0" fmla="*/ 0 h 914400"/>
                  <a:gd name="connsiteX1" fmla="*/ 1627063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201737 w 1828800"/>
                  <a:gd name="connsiteY5" fmla="*/ 457204 h 914400"/>
                  <a:gd name="connsiteX0" fmla="*/ 0 w 1828800"/>
                  <a:gd name="connsiteY0" fmla="*/ 0 h 914400"/>
                  <a:gd name="connsiteX1" fmla="*/ 1627063 w 1828800"/>
                  <a:gd name="connsiteY1" fmla="*/ 0 h 914400"/>
                  <a:gd name="connsiteX2" fmla="*/ 1828800 w 1828800"/>
                  <a:gd name="connsiteY2" fmla="*/ 457200 h 914400"/>
                  <a:gd name="connsiteX3" fmla="*/ 1627063 w 1828800"/>
                  <a:gd name="connsiteY3" fmla="*/ 914400 h 914400"/>
                  <a:gd name="connsiteX4" fmla="*/ 0 w 1828800"/>
                  <a:gd name="connsiteY4" fmla="*/ 914400 h 914400"/>
                  <a:gd name="connsiteX5" fmla="*/ 201737 w 1828800"/>
                  <a:gd name="connsiteY5" fmla="*/ 457204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27063" y="0"/>
                    </a:lnTo>
                    <a:lnTo>
                      <a:pt x="1828800" y="457200"/>
                    </a:lnTo>
                    <a:lnTo>
                      <a:pt x="1627063" y="914400"/>
                    </a:lnTo>
                    <a:lnTo>
                      <a:pt x="0" y="914400"/>
                    </a:lnTo>
                    <a:lnTo>
                      <a:pt x="201737" y="457204"/>
                    </a:lnTo>
                    <a:close/>
                  </a:path>
                </a:pathLst>
              </a:cu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400" fontAlgn="base">
                  <a:spcBef>
                    <a:spcPct val="0"/>
                  </a:spcBef>
                  <a:spcAft>
                    <a:spcPct val="0"/>
                  </a:spcAft>
                </a:pPr>
                <a:endParaRPr lang="en-US" sz="800" dirty="0">
                  <a:solidFill>
                    <a:srgbClr val="000000"/>
                  </a:solidFill>
                </a:endParaRPr>
              </a:p>
            </p:txBody>
          </p:sp>
          <p:sp>
            <p:nvSpPr>
              <p:cNvPr id="238" name="TextBox 237"/>
              <p:cNvSpPr txBox="1"/>
              <p:nvPr>
                <p:custDataLst>
                  <p:tags r:id="rId15"/>
                </p:custDataLst>
              </p:nvPr>
            </p:nvSpPr>
            <p:spPr>
              <a:xfrm>
                <a:off x="2800714" y="1390642"/>
                <a:ext cx="678564" cy="49385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800" b="1" dirty="0">
                    <a:solidFill>
                      <a:srgbClr val="01632F"/>
                    </a:solidFill>
                  </a:rPr>
                  <a:t>Other ag. inputs</a:t>
                </a:r>
              </a:p>
            </p:txBody>
          </p:sp>
        </p:grpSp>
        <p:cxnSp>
          <p:nvCxnSpPr>
            <p:cNvPr id="284" name="Straight Connector 283"/>
            <p:cNvCxnSpPr>
              <a:cxnSpLocks/>
            </p:cNvCxnSpPr>
            <p:nvPr/>
          </p:nvCxnSpPr>
          <p:spPr>
            <a:xfrm>
              <a:off x="932823" y="2302857"/>
              <a:ext cx="8074604"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285" name="Straight Connector 284"/>
            <p:cNvCxnSpPr>
              <a:cxnSpLocks/>
            </p:cNvCxnSpPr>
            <p:nvPr/>
          </p:nvCxnSpPr>
          <p:spPr>
            <a:xfrm>
              <a:off x="932823" y="3015447"/>
              <a:ext cx="8074604"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286" name="Straight Connector 285"/>
            <p:cNvCxnSpPr>
              <a:cxnSpLocks/>
            </p:cNvCxnSpPr>
            <p:nvPr/>
          </p:nvCxnSpPr>
          <p:spPr>
            <a:xfrm>
              <a:off x="136574" y="4440627"/>
              <a:ext cx="8870853" cy="0"/>
            </a:xfrm>
            <a:prstGeom prst="line">
              <a:avLst/>
            </a:prstGeom>
            <a:ln w="9525">
              <a:solidFill>
                <a:schemeClr val="accent6"/>
              </a:solidFill>
              <a:prstDash val="solid"/>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a:cxnSpLocks/>
            </p:cNvCxnSpPr>
            <p:nvPr/>
          </p:nvCxnSpPr>
          <p:spPr>
            <a:xfrm>
              <a:off x="932823" y="5153217"/>
              <a:ext cx="8074604"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160" name="TextBox 159"/>
            <p:cNvSpPr txBox="1">
              <a:spLocks/>
            </p:cNvSpPr>
            <p:nvPr/>
          </p:nvSpPr>
          <p:spPr>
            <a:xfrm>
              <a:off x="136573" y="4482519"/>
              <a:ext cx="718295" cy="628806"/>
            </a:xfrm>
            <a:prstGeom prst="rect">
              <a:avLst/>
            </a:prstGeom>
            <a:solidFill>
              <a:schemeClr val="accent3"/>
            </a:solidFill>
            <a:ln w="9525">
              <a:noFill/>
              <a:miter lim="800000"/>
              <a:headEnd/>
              <a:tailEnd/>
            </a:ln>
            <a:effectLst/>
          </p:spPr>
          <p:txBody>
            <a:bodyPr vert="horz" wrap="square" lIns="72009" tIns="72009" rIns="72009" bIns="72009"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FFFFFF"/>
                </a:buClr>
              </a:pPr>
              <a:r>
                <a:rPr lang="en-US" sz="800" b="1" dirty="0">
                  <a:solidFill>
                    <a:srgbClr val="FFFFFF"/>
                  </a:solidFill>
                </a:rPr>
                <a:t>Enabling </a:t>
              </a:r>
              <a:r>
                <a:rPr lang="en-US" sz="800" b="1" u="sng" dirty="0">
                  <a:solidFill>
                    <a:srgbClr val="FFFFFF"/>
                  </a:solidFill>
                </a:rPr>
                <a:t>environ-ment</a:t>
              </a:r>
            </a:p>
          </p:txBody>
        </p:sp>
        <p:cxnSp>
          <p:nvCxnSpPr>
            <p:cNvPr id="43" name="Straight Connector 42"/>
            <p:cNvCxnSpPr>
              <a:cxnSpLocks/>
            </p:cNvCxnSpPr>
            <p:nvPr/>
          </p:nvCxnSpPr>
          <p:spPr>
            <a:xfrm>
              <a:off x="932823" y="3728037"/>
              <a:ext cx="8074604"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46" name="TextBox 45"/>
            <p:cNvSpPr txBox="1">
              <a:spLocks/>
            </p:cNvSpPr>
            <p:nvPr/>
          </p:nvSpPr>
          <p:spPr>
            <a:xfrm>
              <a:off x="136573" y="2344749"/>
              <a:ext cx="718295" cy="628806"/>
            </a:xfrm>
            <a:prstGeom prst="rect">
              <a:avLst/>
            </a:prstGeom>
            <a:solidFill>
              <a:schemeClr val="accent6">
                <a:lumMod val="20000"/>
                <a:lumOff val="80000"/>
              </a:schemeClr>
            </a:solidFill>
            <a:ln w="9525">
              <a:noFill/>
              <a:miter lim="800000"/>
              <a:headEnd/>
              <a:tailEnd/>
            </a:ln>
            <a:effectLst/>
          </p:spPr>
          <p:txBody>
            <a:bodyPr vert="horz" wrap="square" lIns="72009" tIns="72009" rIns="72009" bIns="72009"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800" b="1" dirty="0">
                  <a:solidFill>
                    <a:srgbClr val="01632F"/>
                  </a:solidFill>
                </a:rPr>
                <a:t>Amhara</a:t>
              </a:r>
            </a:p>
          </p:txBody>
        </p:sp>
        <p:sp>
          <p:nvSpPr>
            <p:cNvPr id="47" name="TextBox 46"/>
            <p:cNvSpPr txBox="1">
              <a:spLocks/>
            </p:cNvSpPr>
            <p:nvPr/>
          </p:nvSpPr>
          <p:spPr>
            <a:xfrm>
              <a:off x="136573" y="3057339"/>
              <a:ext cx="718295" cy="628806"/>
            </a:xfrm>
            <a:prstGeom prst="rect">
              <a:avLst/>
            </a:prstGeom>
            <a:solidFill>
              <a:schemeClr val="accent6">
                <a:lumMod val="20000"/>
                <a:lumOff val="80000"/>
              </a:schemeClr>
            </a:solidFill>
            <a:ln w="9525">
              <a:noFill/>
              <a:miter lim="800000"/>
              <a:headEnd/>
              <a:tailEnd/>
            </a:ln>
            <a:effectLst/>
          </p:spPr>
          <p:txBody>
            <a:bodyPr vert="horz" wrap="square" lIns="72009" tIns="72009" rIns="72009" bIns="72009"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800" b="1" dirty="0">
                  <a:solidFill>
                    <a:srgbClr val="01632F"/>
                  </a:solidFill>
                </a:rPr>
                <a:t>Tigray</a:t>
              </a:r>
            </a:p>
          </p:txBody>
        </p:sp>
        <p:grpSp>
          <p:nvGrpSpPr>
            <p:cNvPr id="3" name="Group 2"/>
            <p:cNvGrpSpPr>
              <a:grpSpLocks/>
            </p:cNvGrpSpPr>
            <p:nvPr/>
          </p:nvGrpSpPr>
          <p:grpSpPr>
            <a:xfrm>
              <a:off x="136573" y="1632159"/>
              <a:ext cx="718295" cy="4191756"/>
              <a:chOff x="136573" y="1632159"/>
              <a:chExt cx="718295" cy="4191756"/>
            </a:xfrm>
          </p:grpSpPr>
          <p:sp>
            <p:nvSpPr>
              <p:cNvPr id="152" name="TextBox 151"/>
              <p:cNvSpPr txBox="1">
                <a:spLocks/>
              </p:cNvSpPr>
              <p:nvPr/>
            </p:nvSpPr>
            <p:spPr>
              <a:xfrm>
                <a:off x="136573" y="5195109"/>
                <a:ext cx="718295" cy="628806"/>
              </a:xfrm>
              <a:prstGeom prst="rect">
                <a:avLst/>
              </a:prstGeom>
              <a:solidFill>
                <a:schemeClr val="accent3"/>
              </a:solidFill>
              <a:ln w="9525">
                <a:noFill/>
                <a:miter lim="800000"/>
                <a:headEnd/>
                <a:tailEnd/>
              </a:ln>
              <a:effectLst/>
            </p:spPr>
            <p:txBody>
              <a:bodyPr vert="horz" wrap="square" lIns="72009" tIns="72009" rIns="72009" bIns="72009"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FFFFFF"/>
                  </a:buClr>
                </a:pPr>
                <a:r>
                  <a:rPr lang="en-US" sz="800" b="1" dirty="0">
                    <a:solidFill>
                      <a:srgbClr val="FFFFFF"/>
                    </a:solidFill>
                  </a:rPr>
                  <a:t>Agri-cultural finance</a:t>
                </a:r>
              </a:p>
            </p:txBody>
          </p:sp>
          <p:sp>
            <p:nvSpPr>
              <p:cNvPr id="45" name="TextBox 44"/>
              <p:cNvSpPr txBox="1">
                <a:spLocks/>
              </p:cNvSpPr>
              <p:nvPr/>
            </p:nvSpPr>
            <p:spPr>
              <a:xfrm>
                <a:off x="136573" y="1632159"/>
                <a:ext cx="718295" cy="628806"/>
              </a:xfrm>
              <a:prstGeom prst="rect">
                <a:avLst/>
              </a:prstGeom>
              <a:solidFill>
                <a:schemeClr val="accent6">
                  <a:lumMod val="20000"/>
                  <a:lumOff val="80000"/>
                </a:schemeClr>
              </a:solidFill>
              <a:ln w="9525">
                <a:noFill/>
                <a:miter lim="800000"/>
                <a:headEnd/>
                <a:tailEnd/>
              </a:ln>
              <a:effectLst/>
            </p:spPr>
            <p:txBody>
              <a:bodyPr vert="horz" wrap="square" lIns="72009" tIns="72009" rIns="72009" bIns="72009"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800" b="1" dirty="0">
                    <a:solidFill>
                      <a:srgbClr val="01632F"/>
                    </a:solidFill>
                  </a:rPr>
                  <a:t>Oromia</a:t>
                </a:r>
              </a:p>
            </p:txBody>
          </p:sp>
        </p:grpSp>
        <p:sp>
          <p:nvSpPr>
            <p:cNvPr id="48" name="TextBox 47"/>
            <p:cNvSpPr txBox="1">
              <a:spLocks/>
            </p:cNvSpPr>
            <p:nvPr/>
          </p:nvSpPr>
          <p:spPr>
            <a:xfrm>
              <a:off x="136573" y="3769929"/>
              <a:ext cx="718295" cy="628806"/>
            </a:xfrm>
            <a:prstGeom prst="rect">
              <a:avLst/>
            </a:prstGeom>
            <a:solidFill>
              <a:schemeClr val="accent6">
                <a:lumMod val="20000"/>
                <a:lumOff val="80000"/>
              </a:schemeClr>
            </a:solidFill>
            <a:ln w="9525">
              <a:noFill/>
              <a:miter lim="800000"/>
              <a:headEnd/>
              <a:tailEnd/>
            </a:ln>
            <a:effectLst/>
          </p:spPr>
          <p:txBody>
            <a:bodyPr vert="horz" wrap="square" lIns="72009" tIns="72009" rIns="72009" bIns="72009"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800" b="1" dirty="0">
                  <a:solidFill>
                    <a:srgbClr val="01632F"/>
                  </a:solidFill>
                </a:rPr>
                <a:t>SNNP</a:t>
              </a:r>
            </a:p>
          </p:txBody>
        </p:sp>
        <p:pic>
          <p:nvPicPr>
            <p:cNvPr id="201" name="Picture 200"/>
            <p:cNvPicPr>
              <a:picLocks noChangeAspect="1"/>
            </p:cNvPicPr>
            <p:nvPr/>
          </p:nvPicPr>
          <p:blipFill>
            <a:blip r:embed="rId30"/>
            <a:stretch>
              <a:fillRect/>
            </a:stretch>
          </p:blipFill>
          <p:spPr>
            <a:xfrm>
              <a:off x="4726114" y="1659196"/>
              <a:ext cx="423953" cy="423953"/>
            </a:xfrm>
            <a:prstGeom prst="rect">
              <a:avLst/>
            </a:prstGeom>
            <a:noFill/>
            <a:ln>
              <a:noFill/>
            </a:ln>
            <a:effectLst/>
          </p:spPr>
        </p:pic>
        <p:pic>
          <p:nvPicPr>
            <p:cNvPr id="202" name="Picture 201"/>
            <p:cNvPicPr>
              <a:picLocks noChangeAspect="1"/>
            </p:cNvPicPr>
            <p:nvPr/>
          </p:nvPicPr>
          <p:blipFill>
            <a:blip r:embed="rId30"/>
            <a:stretch>
              <a:fillRect/>
            </a:stretch>
          </p:blipFill>
          <p:spPr>
            <a:xfrm>
              <a:off x="4744076" y="3863411"/>
              <a:ext cx="423953" cy="423953"/>
            </a:xfrm>
            <a:prstGeom prst="rect">
              <a:avLst/>
            </a:prstGeom>
            <a:noFill/>
            <a:ln>
              <a:noFill/>
            </a:ln>
            <a:effectLst/>
          </p:spPr>
        </p:pic>
        <p:pic>
          <p:nvPicPr>
            <p:cNvPr id="203" name="Picture 202"/>
            <p:cNvPicPr>
              <a:picLocks noChangeAspect="1"/>
            </p:cNvPicPr>
            <p:nvPr/>
          </p:nvPicPr>
          <p:blipFill>
            <a:blip r:embed="rId30"/>
            <a:stretch>
              <a:fillRect/>
            </a:stretch>
          </p:blipFill>
          <p:spPr>
            <a:xfrm>
              <a:off x="4744076" y="3159766"/>
              <a:ext cx="423953" cy="423953"/>
            </a:xfrm>
            <a:prstGeom prst="rect">
              <a:avLst/>
            </a:prstGeom>
            <a:noFill/>
            <a:ln>
              <a:noFill/>
            </a:ln>
            <a:effectLst/>
          </p:spPr>
        </p:pic>
        <p:pic>
          <p:nvPicPr>
            <p:cNvPr id="224" name="Picture 223"/>
            <p:cNvPicPr>
              <a:picLocks noChangeAspect="1"/>
            </p:cNvPicPr>
            <p:nvPr/>
          </p:nvPicPr>
          <p:blipFill>
            <a:blip r:embed="rId30"/>
            <a:stretch>
              <a:fillRect/>
            </a:stretch>
          </p:blipFill>
          <p:spPr>
            <a:xfrm>
              <a:off x="1092221" y="1613703"/>
              <a:ext cx="237349" cy="237349"/>
            </a:xfrm>
            <a:prstGeom prst="rect">
              <a:avLst/>
            </a:prstGeom>
            <a:noFill/>
            <a:ln>
              <a:noFill/>
            </a:ln>
            <a:effectLst/>
          </p:spPr>
        </p:pic>
        <p:pic>
          <p:nvPicPr>
            <p:cNvPr id="4" name="Picture 3"/>
            <p:cNvPicPr>
              <a:picLocks noChangeAspect="1"/>
            </p:cNvPicPr>
            <p:nvPr/>
          </p:nvPicPr>
          <p:blipFill rotWithShape="1">
            <a:blip r:embed="rId31" cstate="print">
              <a:extLst>
                <a:ext uri="{28A0092B-C50C-407E-A947-70E740481C1C}">
                  <a14:useLocalDpi xmlns:a14="http://schemas.microsoft.com/office/drawing/2010/main" val="0"/>
                </a:ext>
              </a:extLst>
            </a:blip>
            <a:srcRect t="31631" b="33750"/>
            <a:stretch/>
          </p:blipFill>
          <p:spPr>
            <a:xfrm>
              <a:off x="1402028" y="1667627"/>
              <a:ext cx="325810" cy="129500"/>
            </a:xfrm>
            <a:prstGeom prst="rect">
              <a:avLst/>
            </a:prstGeom>
            <a:noFill/>
            <a:ln>
              <a:noFill/>
            </a:ln>
            <a:effectLst/>
          </p:spPr>
        </p:pic>
        <p:pic>
          <p:nvPicPr>
            <p:cNvPr id="7" name="Picture 6"/>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1073636" y="1895679"/>
              <a:ext cx="274519" cy="148025"/>
            </a:xfrm>
            <a:prstGeom prst="rect">
              <a:avLst/>
            </a:prstGeom>
            <a:noFill/>
            <a:ln>
              <a:noFill/>
            </a:ln>
            <a:effectLst/>
          </p:spPr>
        </p:pic>
        <p:pic>
          <p:nvPicPr>
            <p:cNvPr id="9" name="Picture 8"/>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1418284" y="1817279"/>
              <a:ext cx="293298" cy="226426"/>
            </a:xfrm>
            <a:prstGeom prst="rect">
              <a:avLst/>
            </a:prstGeom>
            <a:noFill/>
            <a:ln>
              <a:noFill/>
            </a:ln>
            <a:effectLst/>
          </p:spPr>
        </p:pic>
        <p:pic>
          <p:nvPicPr>
            <p:cNvPr id="10" name="Picture 9"/>
            <p:cNvPicPr>
              <a:picLocks noChangeAspect="1"/>
            </p:cNvPicPr>
            <p:nvPr/>
          </p:nvPicPr>
          <p:blipFill rotWithShape="1">
            <a:blip r:embed="rId34" cstate="print">
              <a:extLst>
                <a:ext uri="{28A0092B-C50C-407E-A947-70E740481C1C}">
                  <a14:useLocalDpi xmlns:a14="http://schemas.microsoft.com/office/drawing/2010/main" val="0"/>
                </a:ext>
              </a:extLst>
            </a:blip>
            <a:srcRect t="9474" b="9274"/>
            <a:stretch/>
          </p:blipFill>
          <p:spPr>
            <a:xfrm>
              <a:off x="1272155" y="2064347"/>
              <a:ext cx="240908" cy="195740"/>
            </a:xfrm>
            <a:prstGeom prst="rect">
              <a:avLst/>
            </a:prstGeom>
            <a:noFill/>
            <a:ln>
              <a:noFill/>
            </a:ln>
            <a:effectLst/>
          </p:spPr>
        </p:pic>
        <p:pic>
          <p:nvPicPr>
            <p:cNvPr id="229" name="Picture 228"/>
            <p:cNvPicPr>
              <a:picLocks noChangeAspect="1"/>
            </p:cNvPicPr>
            <p:nvPr/>
          </p:nvPicPr>
          <p:blipFill>
            <a:blip r:embed="rId30"/>
            <a:stretch>
              <a:fillRect/>
            </a:stretch>
          </p:blipFill>
          <p:spPr>
            <a:xfrm>
              <a:off x="1092221" y="2348252"/>
              <a:ext cx="237349" cy="237349"/>
            </a:xfrm>
            <a:prstGeom prst="rect">
              <a:avLst/>
            </a:prstGeom>
            <a:noFill/>
            <a:ln>
              <a:noFill/>
            </a:ln>
            <a:effectLst/>
          </p:spPr>
        </p:pic>
        <p:pic>
          <p:nvPicPr>
            <p:cNvPr id="232" name="Picture 231"/>
            <p:cNvPicPr>
              <a:picLocks noChangeAspect="1"/>
            </p:cNvPicPr>
            <p:nvPr/>
          </p:nvPicPr>
          <p:blipFill rotWithShape="1">
            <a:blip r:embed="rId31" cstate="print">
              <a:extLst>
                <a:ext uri="{28A0092B-C50C-407E-A947-70E740481C1C}">
                  <a14:useLocalDpi xmlns:a14="http://schemas.microsoft.com/office/drawing/2010/main" val="0"/>
                </a:ext>
              </a:extLst>
            </a:blip>
            <a:srcRect t="31631" b="33750"/>
            <a:stretch/>
          </p:blipFill>
          <p:spPr>
            <a:xfrm>
              <a:off x="1402028" y="2402176"/>
              <a:ext cx="325810" cy="129500"/>
            </a:xfrm>
            <a:prstGeom prst="rect">
              <a:avLst/>
            </a:prstGeom>
            <a:noFill/>
            <a:ln>
              <a:noFill/>
            </a:ln>
            <a:effectLst/>
          </p:spPr>
        </p:pic>
        <p:pic>
          <p:nvPicPr>
            <p:cNvPr id="236" name="Picture 235"/>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1073636" y="2630228"/>
              <a:ext cx="274519" cy="148025"/>
            </a:xfrm>
            <a:prstGeom prst="rect">
              <a:avLst/>
            </a:prstGeom>
            <a:noFill/>
            <a:ln>
              <a:noFill/>
            </a:ln>
            <a:effectLst/>
          </p:spPr>
        </p:pic>
        <p:pic>
          <p:nvPicPr>
            <p:cNvPr id="239" name="Picture 238"/>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1418284" y="2551828"/>
              <a:ext cx="293298" cy="226426"/>
            </a:xfrm>
            <a:prstGeom prst="rect">
              <a:avLst/>
            </a:prstGeom>
            <a:noFill/>
            <a:ln>
              <a:noFill/>
            </a:ln>
            <a:effectLst/>
          </p:spPr>
        </p:pic>
        <p:pic>
          <p:nvPicPr>
            <p:cNvPr id="235" name="Picture 234"/>
            <p:cNvPicPr>
              <a:picLocks noChangeAspect="1"/>
            </p:cNvPicPr>
            <p:nvPr/>
          </p:nvPicPr>
          <p:blipFill rotWithShape="1">
            <a:blip r:embed="rId34" cstate="print">
              <a:extLst>
                <a:ext uri="{28A0092B-C50C-407E-A947-70E740481C1C}">
                  <a14:useLocalDpi xmlns:a14="http://schemas.microsoft.com/office/drawing/2010/main" val="0"/>
                </a:ext>
              </a:extLst>
            </a:blip>
            <a:srcRect t="9474" b="9274"/>
            <a:stretch/>
          </p:blipFill>
          <p:spPr>
            <a:xfrm>
              <a:off x="1272155" y="2798896"/>
              <a:ext cx="240908" cy="195740"/>
            </a:xfrm>
            <a:prstGeom prst="rect">
              <a:avLst/>
            </a:prstGeom>
            <a:noFill/>
            <a:ln>
              <a:noFill/>
            </a:ln>
            <a:effectLst/>
          </p:spPr>
        </p:pic>
        <p:pic>
          <p:nvPicPr>
            <p:cNvPr id="241" name="Picture 240"/>
            <p:cNvPicPr>
              <a:picLocks noChangeAspect="1"/>
            </p:cNvPicPr>
            <p:nvPr/>
          </p:nvPicPr>
          <p:blipFill>
            <a:blip r:embed="rId30"/>
            <a:stretch>
              <a:fillRect/>
            </a:stretch>
          </p:blipFill>
          <p:spPr>
            <a:xfrm>
              <a:off x="1092221" y="3062468"/>
              <a:ext cx="237349" cy="237349"/>
            </a:xfrm>
            <a:prstGeom prst="rect">
              <a:avLst/>
            </a:prstGeom>
            <a:noFill/>
            <a:ln>
              <a:noFill/>
            </a:ln>
            <a:effectLst/>
          </p:spPr>
        </p:pic>
        <p:pic>
          <p:nvPicPr>
            <p:cNvPr id="242" name="Picture 241"/>
            <p:cNvPicPr>
              <a:picLocks noChangeAspect="1"/>
            </p:cNvPicPr>
            <p:nvPr/>
          </p:nvPicPr>
          <p:blipFill rotWithShape="1">
            <a:blip r:embed="rId31" cstate="print">
              <a:extLst>
                <a:ext uri="{28A0092B-C50C-407E-A947-70E740481C1C}">
                  <a14:useLocalDpi xmlns:a14="http://schemas.microsoft.com/office/drawing/2010/main" val="0"/>
                </a:ext>
              </a:extLst>
            </a:blip>
            <a:srcRect t="31631" b="33750"/>
            <a:stretch/>
          </p:blipFill>
          <p:spPr>
            <a:xfrm>
              <a:off x="1402028" y="3116392"/>
              <a:ext cx="325810" cy="129500"/>
            </a:xfrm>
            <a:prstGeom prst="rect">
              <a:avLst/>
            </a:prstGeom>
            <a:noFill/>
            <a:ln>
              <a:noFill/>
            </a:ln>
            <a:effectLst/>
          </p:spPr>
        </p:pic>
        <p:pic>
          <p:nvPicPr>
            <p:cNvPr id="245" name="Picture 244"/>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1073636" y="3344444"/>
              <a:ext cx="274519" cy="148025"/>
            </a:xfrm>
            <a:prstGeom prst="rect">
              <a:avLst/>
            </a:prstGeom>
            <a:noFill/>
            <a:ln>
              <a:noFill/>
            </a:ln>
            <a:effectLst/>
          </p:spPr>
        </p:pic>
        <p:pic>
          <p:nvPicPr>
            <p:cNvPr id="246" name="Picture 245"/>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1418284" y="3266044"/>
              <a:ext cx="293298" cy="226426"/>
            </a:xfrm>
            <a:prstGeom prst="rect">
              <a:avLst/>
            </a:prstGeom>
            <a:noFill/>
            <a:ln>
              <a:noFill/>
            </a:ln>
            <a:effectLst/>
          </p:spPr>
        </p:pic>
        <p:pic>
          <p:nvPicPr>
            <p:cNvPr id="244" name="Picture 243"/>
            <p:cNvPicPr>
              <a:picLocks noChangeAspect="1"/>
            </p:cNvPicPr>
            <p:nvPr/>
          </p:nvPicPr>
          <p:blipFill rotWithShape="1">
            <a:blip r:embed="rId34" cstate="print">
              <a:extLst>
                <a:ext uri="{28A0092B-C50C-407E-A947-70E740481C1C}">
                  <a14:useLocalDpi xmlns:a14="http://schemas.microsoft.com/office/drawing/2010/main" val="0"/>
                </a:ext>
              </a:extLst>
            </a:blip>
            <a:srcRect t="9474" b="9274"/>
            <a:stretch/>
          </p:blipFill>
          <p:spPr>
            <a:xfrm>
              <a:off x="1272155" y="3513112"/>
              <a:ext cx="240908" cy="195740"/>
            </a:xfrm>
            <a:prstGeom prst="rect">
              <a:avLst/>
            </a:prstGeom>
            <a:noFill/>
            <a:ln>
              <a:noFill/>
            </a:ln>
            <a:effectLst/>
          </p:spPr>
        </p:pic>
        <p:pic>
          <p:nvPicPr>
            <p:cNvPr id="248" name="Picture 247"/>
            <p:cNvPicPr>
              <a:picLocks noChangeAspect="1"/>
            </p:cNvPicPr>
            <p:nvPr/>
          </p:nvPicPr>
          <p:blipFill>
            <a:blip r:embed="rId30"/>
            <a:stretch>
              <a:fillRect/>
            </a:stretch>
          </p:blipFill>
          <p:spPr>
            <a:xfrm>
              <a:off x="1092221" y="3784237"/>
              <a:ext cx="237349" cy="237349"/>
            </a:xfrm>
            <a:prstGeom prst="rect">
              <a:avLst/>
            </a:prstGeom>
            <a:noFill/>
            <a:ln>
              <a:noFill/>
            </a:ln>
            <a:effectLst/>
          </p:spPr>
        </p:pic>
        <p:pic>
          <p:nvPicPr>
            <p:cNvPr id="249" name="Picture 248"/>
            <p:cNvPicPr>
              <a:picLocks noChangeAspect="1"/>
            </p:cNvPicPr>
            <p:nvPr/>
          </p:nvPicPr>
          <p:blipFill rotWithShape="1">
            <a:blip r:embed="rId31" cstate="print">
              <a:extLst>
                <a:ext uri="{28A0092B-C50C-407E-A947-70E740481C1C}">
                  <a14:useLocalDpi xmlns:a14="http://schemas.microsoft.com/office/drawing/2010/main" val="0"/>
                </a:ext>
              </a:extLst>
            </a:blip>
            <a:srcRect t="31631" b="33750"/>
            <a:stretch/>
          </p:blipFill>
          <p:spPr>
            <a:xfrm>
              <a:off x="1402028" y="3838161"/>
              <a:ext cx="325810" cy="129500"/>
            </a:xfrm>
            <a:prstGeom prst="rect">
              <a:avLst/>
            </a:prstGeom>
            <a:noFill/>
            <a:ln>
              <a:noFill/>
            </a:ln>
            <a:effectLst/>
          </p:spPr>
        </p:pic>
        <p:pic>
          <p:nvPicPr>
            <p:cNvPr id="252" name="Picture 251"/>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1073636" y="4066213"/>
              <a:ext cx="274519" cy="148025"/>
            </a:xfrm>
            <a:prstGeom prst="rect">
              <a:avLst/>
            </a:prstGeom>
            <a:noFill/>
            <a:ln>
              <a:noFill/>
            </a:ln>
            <a:effectLst/>
          </p:spPr>
        </p:pic>
        <p:pic>
          <p:nvPicPr>
            <p:cNvPr id="253" name="Picture 252"/>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1418284" y="3987813"/>
              <a:ext cx="293298" cy="226426"/>
            </a:xfrm>
            <a:prstGeom prst="rect">
              <a:avLst/>
            </a:prstGeom>
            <a:noFill/>
            <a:ln>
              <a:noFill/>
            </a:ln>
            <a:effectLst/>
          </p:spPr>
        </p:pic>
        <p:pic>
          <p:nvPicPr>
            <p:cNvPr id="251" name="Picture 250"/>
            <p:cNvPicPr>
              <a:picLocks noChangeAspect="1"/>
            </p:cNvPicPr>
            <p:nvPr/>
          </p:nvPicPr>
          <p:blipFill rotWithShape="1">
            <a:blip r:embed="rId34" cstate="print">
              <a:extLst>
                <a:ext uri="{28A0092B-C50C-407E-A947-70E740481C1C}">
                  <a14:useLocalDpi xmlns:a14="http://schemas.microsoft.com/office/drawing/2010/main" val="0"/>
                </a:ext>
              </a:extLst>
            </a:blip>
            <a:srcRect t="9474" b="9274"/>
            <a:stretch/>
          </p:blipFill>
          <p:spPr>
            <a:xfrm>
              <a:off x="1272155" y="4234881"/>
              <a:ext cx="240908" cy="195740"/>
            </a:xfrm>
            <a:prstGeom prst="rect">
              <a:avLst/>
            </a:prstGeom>
            <a:noFill/>
            <a:ln>
              <a:noFill/>
            </a:ln>
            <a:effectLst/>
          </p:spPr>
        </p:pic>
        <p:pic>
          <p:nvPicPr>
            <p:cNvPr id="262" name="Picture 261"/>
            <p:cNvPicPr>
              <a:picLocks noChangeAspect="1"/>
            </p:cNvPicPr>
            <p:nvPr/>
          </p:nvPicPr>
          <p:blipFill>
            <a:blip r:embed="rId30"/>
            <a:stretch>
              <a:fillRect/>
            </a:stretch>
          </p:blipFill>
          <p:spPr>
            <a:xfrm>
              <a:off x="1975276" y="1613703"/>
              <a:ext cx="237349" cy="237349"/>
            </a:xfrm>
            <a:prstGeom prst="rect">
              <a:avLst/>
            </a:prstGeom>
            <a:noFill/>
            <a:ln>
              <a:noFill/>
            </a:ln>
            <a:effectLst/>
          </p:spPr>
        </p:pic>
        <p:pic>
          <p:nvPicPr>
            <p:cNvPr id="263" name="Picture 262"/>
            <p:cNvPicPr>
              <a:picLocks noChangeAspect="1"/>
            </p:cNvPicPr>
            <p:nvPr/>
          </p:nvPicPr>
          <p:blipFill rotWithShape="1">
            <a:blip r:embed="rId31" cstate="print">
              <a:extLst>
                <a:ext uri="{28A0092B-C50C-407E-A947-70E740481C1C}">
                  <a14:useLocalDpi xmlns:a14="http://schemas.microsoft.com/office/drawing/2010/main" val="0"/>
                </a:ext>
              </a:extLst>
            </a:blip>
            <a:srcRect t="31631" b="33750"/>
            <a:stretch/>
          </p:blipFill>
          <p:spPr>
            <a:xfrm>
              <a:off x="2285083" y="1667627"/>
              <a:ext cx="325810" cy="129500"/>
            </a:xfrm>
            <a:prstGeom prst="rect">
              <a:avLst/>
            </a:prstGeom>
            <a:noFill/>
            <a:ln>
              <a:noFill/>
            </a:ln>
            <a:effectLst/>
          </p:spPr>
        </p:pic>
        <p:pic>
          <p:nvPicPr>
            <p:cNvPr id="267" name="Picture 266"/>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2146435" y="1920953"/>
              <a:ext cx="293298" cy="226426"/>
            </a:xfrm>
            <a:prstGeom prst="rect">
              <a:avLst/>
            </a:prstGeom>
            <a:noFill/>
            <a:ln>
              <a:noFill/>
            </a:ln>
            <a:effectLst/>
          </p:spPr>
        </p:pic>
        <p:pic>
          <p:nvPicPr>
            <p:cNvPr id="17" name="Picture 16"/>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2847562" y="1644348"/>
              <a:ext cx="269431" cy="210859"/>
            </a:xfrm>
            <a:prstGeom prst="rect">
              <a:avLst/>
            </a:prstGeom>
            <a:noFill/>
            <a:ln>
              <a:noFill/>
            </a:ln>
            <a:effectLst/>
          </p:spPr>
        </p:pic>
        <p:pic>
          <p:nvPicPr>
            <p:cNvPr id="18" name="Picture 17"/>
            <p:cNvPicPr>
              <a:picLocks noChangeAspect="1"/>
            </p:cNvPicPr>
            <p:nvPr/>
          </p:nvPicPr>
          <p:blipFill rotWithShape="1">
            <a:blip r:embed="rId36" cstate="print">
              <a:extLst>
                <a:ext uri="{28A0092B-C50C-407E-A947-70E740481C1C}">
                  <a14:useLocalDpi xmlns:a14="http://schemas.microsoft.com/office/drawing/2010/main" val="0"/>
                </a:ext>
              </a:extLst>
            </a:blip>
            <a:srcRect t="12104" b="12276"/>
            <a:stretch/>
          </p:blipFill>
          <p:spPr>
            <a:xfrm>
              <a:off x="3163415" y="1613703"/>
              <a:ext cx="359886" cy="272148"/>
            </a:xfrm>
            <a:prstGeom prst="rect">
              <a:avLst/>
            </a:prstGeom>
            <a:noFill/>
            <a:ln>
              <a:noFill/>
            </a:ln>
            <a:effectLst/>
          </p:spPr>
        </p:pic>
        <p:pic>
          <p:nvPicPr>
            <p:cNvPr id="291" name="Picture 290"/>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3038782" y="1920953"/>
              <a:ext cx="293298" cy="226426"/>
            </a:xfrm>
            <a:prstGeom prst="rect">
              <a:avLst/>
            </a:prstGeom>
            <a:noFill/>
            <a:ln>
              <a:noFill/>
            </a:ln>
            <a:effectLst/>
          </p:spPr>
        </p:pic>
        <p:pic>
          <p:nvPicPr>
            <p:cNvPr id="295" name="Picture 294"/>
            <p:cNvPicPr>
              <a:picLocks noChangeAspect="1"/>
            </p:cNvPicPr>
            <p:nvPr/>
          </p:nvPicPr>
          <p:blipFill>
            <a:blip r:embed="rId30"/>
            <a:stretch>
              <a:fillRect/>
            </a:stretch>
          </p:blipFill>
          <p:spPr>
            <a:xfrm>
              <a:off x="1975276" y="2404606"/>
              <a:ext cx="237349" cy="237349"/>
            </a:xfrm>
            <a:prstGeom prst="rect">
              <a:avLst/>
            </a:prstGeom>
            <a:noFill/>
            <a:ln>
              <a:noFill/>
            </a:ln>
            <a:effectLst/>
          </p:spPr>
        </p:pic>
        <p:pic>
          <p:nvPicPr>
            <p:cNvPr id="296" name="Picture 295"/>
            <p:cNvPicPr>
              <a:picLocks noChangeAspect="1"/>
            </p:cNvPicPr>
            <p:nvPr/>
          </p:nvPicPr>
          <p:blipFill rotWithShape="1">
            <a:blip r:embed="rId31" cstate="print">
              <a:extLst>
                <a:ext uri="{28A0092B-C50C-407E-A947-70E740481C1C}">
                  <a14:useLocalDpi xmlns:a14="http://schemas.microsoft.com/office/drawing/2010/main" val="0"/>
                </a:ext>
              </a:extLst>
            </a:blip>
            <a:srcRect t="31631" b="33750"/>
            <a:stretch/>
          </p:blipFill>
          <p:spPr>
            <a:xfrm>
              <a:off x="2285083" y="2458530"/>
              <a:ext cx="325810" cy="129500"/>
            </a:xfrm>
            <a:prstGeom prst="rect">
              <a:avLst/>
            </a:prstGeom>
            <a:noFill/>
            <a:ln>
              <a:noFill/>
            </a:ln>
            <a:effectLst/>
          </p:spPr>
        </p:pic>
        <p:pic>
          <p:nvPicPr>
            <p:cNvPr id="294" name="Picture 293"/>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2146435" y="2711856"/>
              <a:ext cx="293298" cy="226426"/>
            </a:xfrm>
            <a:prstGeom prst="rect">
              <a:avLst/>
            </a:prstGeom>
            <a:noFill/>
            <a:ln>
              <a:noFill/>
            </a:ln>
            <a:effectLst/>
          </p:spPr>
        </p:pic>
        <p:pic>
          <p:nvPicPr>
            <p:cNvPr id="300" name="Picture 299"/>
            <p:cNvPicPr>
              <a:picLocks noChangeAspect="1"/>
            </p:cNvPicPr>
            <p:nvPr/>
          </p:nvPicPr>
          <p:blipFill>
            <a:blip r:embed="rId30"/>
            <a:stretch>
              <a:fillRect/>
            </a:stretch>
          </p:blipFill>
          <p:spPr>
            <a:xfrm>
              <a:off x="1975276" y="3118822"/>
              <a:ext cx="237349" cy="237349"/>
            </a:xfrm>
            <a:prstGeom prst="rect">
              <a:avLst/>
            </a:prstGeom>
            <a:noFill/>
            <a:ln>
              <a:noFill/>
            </a:ln>
            <a:effectLst/>
          </p:spPr>
        </p:pic>
        <p:pic>
          <p:nvPicPr>
            <p:cNvPr id="301" name="Picture 300"/>
            <p:cNvPicPr>
              <a:picLocks noChangeAspect="1"/>
            </p:cNvPicPr>
            <p:nvPr/>
          </p:nvPicPr>
          <p:blipFill rotWithShape="1">
            <a:blip r:embed="rId31" cstate="print">
              <a:extLst>
                <a:ext uri="{28A0092B-C50C-407E-A947-70E740481C1C}">
                  <a14:useLocalDpi xmlns:a14="http://schemas.microsoft.com/office/drawing/2010/main" val="0"/>
                </a:ext>
              </a:extLst>
            </a:blip>
            <a:srcRect t="31631" b="33750"/>
            <a:stretch/>
          </p:blipFill>
          <p:spPr>
            <a:xfrm>
              <a:off x="2285083" y="3172746"/>
              <a:ext cx="325810" cy="129500"/>
            </a:xfrm>
            <a:prstGeom prst="rect">
              <a:avLst/>
            </a:prstGeom>
            <a:noFill/>
            <a:ln>
              <a:noFill/>
            </a:ln>
            <a:effectLst/>
          </p:spPr>
        </p:pic>
        <p:pic>
          <p:nvPicPr>
            <p:cNvPr id="299" name="Picture 298"/>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2146435" y="3426072"/>
              <a:ext cx="293298" cy="226426"/>
            </a:xfrm>
            <a:prstGeom prst="rect">
              <a:avLst/>
            </a:prstGeom>
            <a:noFill/>
            <a:ln>
              <a:noFill/>
            </a:ln>
            <a:effectLst/>
          </p:spPr>
        </p:pic>
        <p:pic>
          <p:nvPicPr>
            <p:cNvPr id="305" name="Picture 304"/>
            <p:cNvPicPr>
              <a:picLocks noChangeAspect="1"/>
            </p:cNvPicPr>
            <p:nvPr/>
          </p:nvPicPr>
          <p:blipFill>
            <a:blip r:embed="rId30"/>
            <a:stretch>
              <a:fillRect/>
            </a:stretch>
          </p:blipFill>
          <p:spPr>
            <a:xfrm>
              <a:off x="1975276" y="3840591"/>
              <a:ext cx="237349" cy="237349"/>
            </a:xfrm>
            <a:prstGeom prst="rect">
              <a:avLst/>
            </a:prstGeom>
            <a:noFill/>
            <a:ln>
              <a:noFill/>
            </a:ln>
            <a:effectLst/>
          </p:spPr>
        </p:pic>
        <p:pic>
          <p:nvPicPr>
            <p:cNvPr id="306" name="Picture 305"/>
            <p:cNvPicPr>
              <a:picLocks noChangeAspect="1"/>
            </p:cNvPicPr>
            <p:nvPr/>
          </p:nvPicPr>
          <p:blipFill rotWithShape="1">
            <a:blip r:embed="rId31" cstate="print">
              <a:extLst>
                <a:ext uri="{28A0092B-C50C-407E-A947-70E740481C1C}">
                  <a14:useLocalDpi xmlns:a14="http://schemas.microsoft.com/office/drawing/2010/main" val="0"/>
                </a:ext>
              </a:extLst>
            </a:blip>
            <a:srcRect t="31631" b="33750"/>
            <a:stretch/>
          </p:blipFill>
          <p:spPr>
            <a:xfrm>
              <a:off x="2285083" y="3894515"/>
              <a:ext cx="325810" cy="129500"/>
            </a:xfrm>
            <a:prstGeom prst="rect">
              <a:avLst/>
            </a:prstGeom>
            <a:noFill/>
            <a:ln>
              <a:noFill/>
            </a:ln>
            <a:effectLst/>
          </p:spPr>
        </p:pic>
        <p:pic>
          <p:nvPicPr>
            <p:cNvPr id="304" name="Picture 303"/>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2146435" y="4147841"/>
              <a:ext cx="293298" cy="226426"/>
            </a:xfrm>
            <a:prstGeom prst="rect">
              <a:avLst/>
            </a:prstGeom>
            <a:noFill/>
            <a:ln>
              <a:noFill/>
            </a:ln>
            <a:effectLst/>
          </p:spPr>
        </p:pic>
        <p:pic>
          <p:nvPicPr>
            <p:cNvPr id="310" name="Picture 309"/>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2847562" y="3149467"/>
              <a:ext cx="269431" cy="210859"/>
            </a:xfrm>
            <a:prstGeom prst="rect">
              <a:avLst/>
            </a:prstGeom>
            <a:noFill/>
            <a:ln>
              <a:noFill/>
            </a:ln>
            <a:effectLst/>
          </p:spPr>
        </p:pic>
        <p:pic>
          <p:nvPicPr>
            <p:cNvPr id="311" name="Picture 310"/>
            <p:cNvPicPr>
              <a:picLocks noChangeAspect="1"/>
            </p:cNvPicPr>
            <p:nvPr/>
          </p:nvPicPr>
          <p:blipFill rotWithShape="1">
            <a:blip r:embed="rId36" cstate="print">
              <a:extLst>
                <a:ext uri="{28A0092B-C50C-407E-A947-70E740481C1C}">
                  <a14:useLocalDpi xmlns:a14="http://schemas.microsoft.com/office/drawing/2010/main" val="0"/>
                </a:ext>
              </a:extLst>
            </a:blip>
            <a:srcRect t="12104" b="12276"/>
            <a:stretch/>
          </p:blipFill>
          <p:spPr>
            <a:xfrm>
              <a:off x="3163415" y="3118822"/>
              <a:ext cx="359886" cy="272148"/>
            </a:xfrm>
            <a:prstGeom prst="rect">
              <a:avLst/>
            </a:prstGeom>
            <a:noFill/>
            <a:ln>
              <a:noFill/>
            </a:ln>
            <a:effectLst/>
          </p:spPr>
        </p:pic>
        <p:pic>
          <p:nvPicPr>
            <p:cNvPr id="309" name="Picture 308"/>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3038782" y="3426072"/>
              <a:ext cx="293298" cy="226426"/>
            </a:xfrm>
            <a:prstGeom prst="rect">
              <a:avLst/>
            </a:prstGeom>
            <a:noFill/>
            <a:ln>
              <a:noFill/>
            </a:ln>
            <a:effectLst/>
          </p:spPr>
        </p:pic>
        <p:pic>
          <p:nvPicPr>
            <p:cNvPr id="315" name="Picture 314"/>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2847562" y="3871236"/>
              <a:ext cx="269431" cy="210859"/>
            </a:xfrm>
            <a:prstGeom prst="rect">
              <a:avLst/>
            </a:prstGeom>
            <a:noFill/>
            <a:ln>
              <a:noFill/>
            </a:ln>
            <a:effectLst/>
          </p:spPr>
        </p:pic>
        <p:pic>
          <p:nvPicPr>
            <p:cNvPr id="316" name="Picture 315"/>
            <p:cNvPicPr>
              <a:picLocks noChangeAspect="1"/>
            </p:cNvPicPr>
            <p:nvPr/>
          </p:nvPicPr>
          <p:blipFill rotWithShape="1">
            <a:blip r:embed="rId36" cstate="print">
              <a:extLst>
                <a:ext uri="{28A0092B-C50C-407E-A947-70E740481C1C}">
                  <a14:useLocalDpi xmlns:a14="http://schemas.microsoft.com/office/drawing/2010/main" val="0"/>
                </a:ext>
              </a:extLst>
            </a:blip>
            <a:srcRect t="12104" b="12276"/>
            <a:stretch/>
          </p:blipFill>
          <p:spPr>
            <a:xfrm>
              <a:off x="3163415" y="3840591"/>
              <a:ext cx="359886" cy="272148"/>
            </a:xfrm>
            <a:prstGeom prst="rect">
              <a:avLst/>
            </a:prstGeom>
            <a:noFill/>
            <a:ln>
              <a:noFill/>
            </a:ln>
            <a:effectLst/>
          </p:spPr>
        </p:pic>
        <p:pic>
          <p:nvPicPr>
            <p:cNvPr id="314" name="Picture 313"/>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3038782" y="4147841"/>
              <a:ext cx="293298" cy="226426"/>
            </a:xfrm>
            <a:prstGeom prst="rect">
              <a:avLst/>
            </a:prstGeom>
            <a:noFill/>
            <a:ln>
              <a:noFill/>
            </a:ln>
            <a:effectLst/>
          </p:spPr>
        </p:pic>
        <p:pic>
          <p:nvPicPr>
            <p:cNvPr id="320" name="Picture 319"/>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3050716" y="2417657"/>
              <a:ext cx="269431" cy="210859"/>
            </a:xfrm>
            <a:prstGeom prst="rect">
              <a:avLst/>
            </a:prstGeom>
            <a:noFill/>
            <a:ln>
              <a:noFill/>
            </a:ln>
            <a:effectLst/>
          </p:spPr>
        </p:pic>
        <p:pic>
          <p:nvPicPr>
            <p:cNvPr id="319" name="Picture 318"/>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3038782" y="2694262"/>
              <a:ext cx="293298" cy="226426"/>
            </a:xfrm>
            <a:prstGeom prst="rect">
              <a:avLst/>
            </a:prstGeom>
            <a:noFill/>
            <a:ln>
              <a:noFill/>
            </a:ln>
            <a:effectLst/>
          </p:spPr>
        </p:pic>
        <p:pic>
          <p:nvPicPr>
            <p:cNvPr id="325" name="Picture 324"/>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3739908" y="1644348"/>
              <a:ext cx="269431" cy="210859"/>
            </a:xfrm>
            <a:prstGeom prst="rect">
              <a:avLst/>
            </a:prstGeom>
            <a:noFill/>
            <a:ln>
              <a:noFill/>
            </a:ln>
            <a:effectLst/>
          </p:spPr>
        </p:pic>
        <p:pic>
          <p:nvPicPr>
            <p:cNvPr id="326" name="Picture 325"/>
            <p:cNvPicPr>
              <a:picLocks noChangeAspect="1"/>
            </p:cNvPicPr>
            <p:nvPr/>
          </p:nvPicPr>
          <p:blipFill rotWithShape="1">
            <a:blip r:embed="rId36" cstate="print">
              <a:extLst>
                <a:ext uri="{28A0092B-C50C-407E-A947-70E740481C1C}">
                  <a14:useLocalDpi xmlns:a14="http://schemas.microsoft.com/office/drawing/2010/main" val="0"/>
                </a:ext>
              </a:extLst>
            </a:blip>
            <a:srcRect t="12104" b="12276"/>
            <a:stretch/>
          </p:blipFill>
          <p:spPr>
            <a:xfrm>
              <a:off x="4055761" y="1613703"/>
              <a:ext cx="359886" cy="272148"/>
            </a:xfrm>
            <a:prstGeom prst="rect">
              <a:avLst/>
            </a:prstGeom>
            <a:noFill/>
            <a:ln>
              <a:noFill/>
            </a:ln>
            <a:effectLst/>
          </p:spPr>
        </p:pic>
        <p:pic>
          <p:nvPicPr>
            <p:cNvPr id="23" name="Picture 22"/>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3963796" y="1920355"/>
              <a:ext cx="227963" cy="227024"/>
            </a:xfrm>
            <a:prstGeom prst="rect">
              <a:avLst/>
            </a:prstGeom>
            <a:noFill/>
            <a:ln>
              <a:noFill/>
            </a:ln>
            <a:effectLst/>
          </p:spPr>
        </p:pic>
        <p:pic>
          <p:nvPicPr>
            <p:cNvPr id="330" name="Picture 329"/>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3739908" y="2435251"/>
              <a:ext cx="269431" cy="210859"/>
            </a:xfrm>
            <a:prstGeom prst="rect">
              <a:avLst/>
            </a:prstGeom>
            <a:noFill/>
            <a:ln>
              <a:noFill/>
            </a:ln>
            <a:effectLst/>
          </p:spPr>
        </p:pic>
        <p:pic>
          <p:nvPicPr>
            <p:cNvPr id="331" name="Picture 330"/>
            <p:cNvPicPr>
              <a:picLocks noChangeAspect="1"/>
            </p:cNvPicPr>
            <p:nvPr/>
          </p:nvPicPr>
          <p:blipFill rotWithShape="1">
            <a:blip r:embed="rId36" cstate="print">
              <a:extLst>
                <a:ext uri="{28A0092B-C50C-407E-A947-70E740481C1C}">
                  <a14:useLocalDpi xmlns:a14="http://schemas.microsoft.com/office/drawing/2010/main" val="0"/>
                </a:ext>
              </a:extLst>
            </a:blip>
            <a:srcRect t="12104" b="12276"/>
            <a:stretch/>
          </p:blipFill>
          <p:spPr>
            <a:xfrm>
              <a:off x="4055761" y="2404606"/>
              <a:ext cx="359886" cy="272148"/>
            </a:xfrm>
            <a:prstGeom prst="rect">
              <a:avLst/>
            </a:prstGeom>
            <a:noFill/>
            <a:ln>
              <a:noFill/>
            </a:ln>
            <a:effectLst/>
          </p:spPr>
        </p:pic>
        <p:pic>
          <p:nvPicPr>
            <p:cNvPr id="329" name="Picture 328"/>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3963796" y="2711258"/>
              <a:ext cx="227963" cy="227024"/>
            </a:xfrm>
            <a:prstGeom prst="rect">
              <a:avLst/>
            </a:prstGeom>
            <a:noFill/>
            <a:ln>
              <a:noFill/>
            </a:ln>
            <a:effectLst/>
          </p:spPr>
        </p:pic>
        <p:pic>
          <p:nvPicPr>
            <p:cNvPr id="335" name="Picture 334"/>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3739908" y="3149467"/>
              <a:ext cx="269431" cy="210859"/>
            </a:xfrm>
            <a:prstGeom prst="rect">
              <a:avLst/>
            </a:prstGeom>
            <a:noFill/>
            <a:ln>
              <a:noFill/>
            </a:ln>
            <a:effectLst/>
          </p:spPr>
        </p:pic>
        <p:pic>
          <p:nvPicPr>
            <p:cNvPr id="336" name="Picture 335"/>
            <p:cNvPicPr>
              <a:picLocks noChangeAspect="1"/>
            </p:cNvPicPr>
            <p:nvPr/>
          </p:nvPicPr>
          <p:blipFill rotWithShape="1">
            <a:blip r:embed="rId36" cstate="print">
              <a:extLst>
                <a:ext uri="{28A0092B-C50C-407E-A947-70E740481C1C}">
                  <a14:useLocalDpi xmlns:a14="http://schemas.microsoft.com/office/drawing/2010/main" val="0"/>
                </a:ext>
              </a:extLst>
            </a:blip>
            <a:srcRect t="12104" b="12276"/>
            <a:stretch/>
          </p:blipFill>
          <p:spPr>
            <a:xfrm>
              <a:off x="4055761" y="3118822"/>
              <a:ext cx="359886" cy="272148"/>
            </a:xfrm>
            <a:prstGeom prst="rect">
              <a:avLst/>
            </a:prstGeom>
            <a:noFill/>
            <a:ln>
              <a:noFill/>
            </a:ln>
            <a:effectLst/>
          </p:spPr>
        </p:pic>
        <p:pic>
          <p:nvPicPr>
            <p:cNvPr id="334" name="Picture 333"/>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3963796" y="3425474"/>
              <a:ext cx="227963" cy="227024"/>
            </a:xfrm>
            <a:prstGeom prst="rect">
              <a:avLst/>
            </a:prstGeom>
            <a:noFill/>
            <a:ln>
              <a:noFill/>
            </a:ln>
            <a:effectLst/>
          </p:spPr>
        </p:pic>
        <p:pic>
          <p:nvPicPr>
            <p:cNvPr id="340" name="Picture 339"/>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3739908" y="3871236"/>
              <a:ext cx="269431" cy="210859"/>
            </a:xfrm>
            <a:prstGeom prst="rect">
              <a:avLst/>
            </a:prstGeom>
            <a:noFill/>
            <a:ln>
              <a:noFill/>
            </a:ln>
            <a:effectLst/>
          </p:spPr>
        </p:pic>
        <p:pic>
          <p:nvPicPr>
            <p:cNvPr id="341" name="Picture 340"/>
            <p:cNvPicPr>
              <a:picLocks noChangeAspect="1"/>
            </p:cNvPicPr>
            <p:nvPr/>
          </p:nvPicPr>
          <p:blipFill rotWithShape="1">
            <a:blip r:embed="rId36" cstate="print">
              <a:extLst>
                <a:ext uri="{28A0092B-C50C-407E-A947-70E740481C1C}">
                  <a14:useLocalDpi xmlns:a14="http://schemas.microsoft.com/office/drawing/2010/main" val="0"/>
                </a:ext>
              </a:extLst>
            </a:blip>
            <a:srcRect t="12104" b="12276"/>
            <a:stretch/>
          </p:blipFill>
          <p:spPr>
            <a:xfrm>
              <a:off x="4055761" y="3840591"/>
              <a:ext cx="359886" cy="272148"/>
            </a:xfrm>
            <a:prstGeom prst="rect">
              <a:avLst/>
            </a:prstGeom>
            <a:noFill/>
            <a:ln>
              <a:noFill/>
            </a:ln>
            <a:effectLst/>
          </p:spPr>
        </p:pic>
        <p:pic>
          <p:nvPicPr>
            <p:cNvPr id="339" name="Picture 338"/>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3963796" y="4147243"/>
              <a:ext cx="227963" cy="227024"/>
            </a:xfrm>
            <a:prstGeom prst="rect">
              <a:avLst/>
            </a:prstGeom>
            <a:noFill/>
            <a:ln>
              <a:noFill/>
            </a:ln>
            <a:effectLst/>
          </p:spPr>
        </p:pic>
        <p:pic>
          <p:nvPicPr>
            <p:cNvPr id="342" name="Picture 341"/>
            <p:cNvPicPr>
              <a:picLocks noChangeAspect="1"/>
            </p:cNvPicPr>
            <p:nvPr/>
          </p:nvPicPr>
          <p:blipFill>
            <a:blip r:embed="rId30"/>
            <a:stretch>
              <a:fillRect/>
            </a:stretch>
          </p:blipFill>
          <p:spPr>
            <a:xfrm>
              <a:off x="4753704" y="2429259"/>
              <a:ext cx="423953" cy="423953"/>
            </a:xfrm>
            <a:prstGeom prst="rect">
              <a:avLst/>
            </a:prstGeom>
            <a:noFill/>
            <a:ln>
              <a:noFill/>
            </a:ln>
            <a:effectLst/>
          </p:spPr>
        </p:pic>
        <p:pic>
          <p:nvPicPr>
            <p:cNvPr id="357" name="Picture 356"/>
            <p:cNvPicPr>
              <a:picLocks noChangeAspect="1"/>
            </p:cNvPicPr>
            <p:nvPr/>
          </p:nvPicPr>
          <p:blipFill>
            <a:blip r:embed="rId30"/>
            <a:stretch>
              <a:fillRect/>
            </a:stretch>
          </p:blipFill>
          <p:spPr>
            <a:xfrm>
              <a:off x="8160421" y="1635297"/>
              <a:ext cx="237349" cy="237349"/>
            </a:xfrm>
            <a:prstGeom prst="rect">
              <a:avLst/>
            </a:prstGeom>
            <a:noFill/>
            <a:ln>
              <a:noFill/>
            </a:ln>
            <a:effectLst/>
          </p:spPr>
        </p:pic>
        <p:pic>
          <p:nvPicPr>
            <p:cNvPr id="28" name="Picture 27"/>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8118535" y="1931036"/>
              <a:ext cx="369564" cy="127868"/>
            </a:xfrm>
            <a:prstGeom prst="rect">
              <a:avLst/>
            </a:prstGeom>
            <a:noFill/>
            <a:ln>
              <a:noFill/>
            </a:ln>
            <a:effectLst/>
          </p:spPr>
        </p:pic>
        <p:pic>
          <p:nvPicPr>
            <p:cNvPr id="27" name="Picture 26"/>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8489581" y="1708813"/>
              <a:ext cx="437410" cy="90316"/>
            </a:xfrm>
            <a:prstGeom prst="rect">
              <a:avLst/>
            </a:prstGeom>
            <a:noFill/>
            <a:ln>
              <a:noFill/>
            </a:ln>
            <a:effectLst/>
          </p:spPr>
        </p:pic>
        <p:pic>
          <p:nvPicPr>
            <p:cNvPr id="368" name="Picture 367"/>
            <p:cNvPicPr>
              <a:picLocks noChangeAspect="1"/>
            </p:cNvPicPr>
            <p:nvPr/>
          </p:nvPicPr>
          <p:blipFill>
            <a:blip r:embed="rId30"/>
            <a:stretch>
              <a:fillRect/>
            </a:stretch>
          </p:blipFill>
          <p:spPr>
            <a:xfrm>
              <a:off x="8160421" y="2361949"/>
              <a:ext cx="237349" cy="237349"/>
            </a:xfrm>
            <a:prstGeom prst="rect">
              <a:avLst/>
            </a:prstGeom>
            <a:noFill/>
            <a:ln>
              <a:noFill/>
            </a:ln>
            <a:effectLst/>
          </p:spPr>
        </p:pic>
        <p:pic>
          <p:nvPicPr>
            <p:cNvPr id="369" name="Picture 368"/>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8118535" y="2657688"/>
              <a:ext cx="369564" cy="127868"/>
            </a:xfrm>
            <a:prstGeom prst="rect">
              <a:avLst/>
            </a:prstGeom>
            <a:noFill/>
            <a:ln>
              <a:noFill/>
            </a:ln>
            <a:effectLst/>
          </p:spPr>
        </p:pic>
        <p:pic>
          <p:nvPicPr>
            <p:cNvPr id="366" name="Picture 365"/>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8489581" y="2435465"/>
              <a:ext cx="437410" cy="90316"/>
            </a:xfrm>
            <a:prstGeom prst="rect">
              <a:avLst/>
            </a:prstGeom>
            <a:noFill/>
            <a:ln>
              <a:noFill/>
            </a:ln>
            <a:effectLst/>
          </p:spPr>
        </p:pic>
        <p:pic>
          <p:nvPicPr>
            <p:cNvPr id="375" name="Picture 374"/>
            <p:cNvPicPr>
              <a:picLocks noChangeAspect="1"/>
            </p:cNvPicPr>
            <p:nvPr/>
          </p:nvPicPr>
          <p:blipFill>
            <a:blip r:embed="rId30"/>
            <a:stretch>
              <a:fillRect/>
            </a:stretch>
          </p:blipFill>
          <p:spPr>
            <a:xfrm>
              <a:off x="8160421" y="3108989"/>
              <a:ext cx="237349" cy="237349"/>
            </a:xfrm>
            <a:prstGeom prst="rect">
              <a:avLst/>
            </a:prstGeom>
            <a:noFill/>
            <a:ln>
              <a:noFill/>
            </a:ln>
            <a:effectLst/>
          </p:spPr>
        </p:pic>
        <p:pic>
          <p:nvPicPr>
            <p:cNvPr id="376" name="Picture 375"/>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8118535" y="3404728"/>
              <a:ext cx="369564" cy="127868"/>
            </a:xfrm>
            <a:prstGeom prst="rect">
              <a:avLst/>
            </a:prstGeom>
            <a:noFill/>
            <a:ln>
              <a:noFill/>
            </a:ln>
            <a:effectLst/>
          </p:spPr>
        </p:pic>
        <p:pic>
          <p:nvPicPr>
            <p:cNvPr id="373" name="Picture 372"/>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8489581" y="3182505"/>
              <a:ext cx="437410" cy="90316"/>
            </a:xfrm>
            <a:prstGeom prst="rect">
              <a:avLst/>
            </a:prstGeom>
            <a:noFill/>
            <a:ln>
              <a:noFill/>
            </a:ln>
            <a:effectLst/>
          </p:spPr>
        </p:pic>
        <p:pic>
          <p:nvPicPr>
            <p:cNvPr id="382" name="Picture 381"/>
            <p:cNvPicPr>
              <a:picLocks noChangeAspect="1"/>
            </p:cNvPicPr>
            <p:nvPr/>
          </p:nvPicPr>
          <p:blipFill>
            <a:blip r:embed="rId30"/>
            <a:stretch>
              <a:fillRect/>
            </a:stretch>
          </p:blipFill>
          <p:spPr>
            <a:xfrm>
              <a:off x="8160421" y="3830758"/>
              <a:ext cx="237349" cy="237349"/>
            </a:xfrm>
            <a:prstGeom prst="rect">
              <a:avLst/>
            </a:prstGeom>
            <a:noFill/>
            <a:ln>
              <a:noFill/>
            </a:ln>
            <a:effectLst/>
          </p:spPr>
        </p:pic>
        <p:pic>
          <p:nvPicPr>
            <p:cNvPr id="383" name="Picture 382"/>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8118535" y="4126497"/>
              <a:ext cx="369564" cy="127868"/>
            </a:xfrm>
            <a:prstGeom prst="rect">
              <a:avLst/>
            </a:prstGeom>
            <a:noFill/>
            <a:ln>
              <a:noFill/>
            </a:ln>
            <a:effectLst/>
          </p:spPr>
        </p:pic>
        <p:pic>
          <p:nvPicPr>
            <p:cNvPr id="380" name="Picture 379"/>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8489581" y="3904274"/>
              <a:ext cx="437410" cy="90316"/>
            </a:xfrm>
            <a:prstGeom prst="rect">
              <a:avLst/>
            </a:prstGeom>
            <a:noFill/>
            <a:ln>
              <a:noFill/>
            </a:ln>
            <a:effectLst/>
          </p:spPr>
        </p:pic>
        <p:pic>
          <p:nvPicPr>
            <p:cNvPr id="387" name="Picture 386"/>
            <p:cNvPicPr>
              <a:picLocks noChangeAspect="1"/>
            </p:cNvPicPr>
            <p:nvPr/>
          </p:nvPicPr>
          <p:blipFill>
            <a:blip r:embed="rId30"/>
            <a:stretch>
              <a:fillRect/>
            </a:stretch>
          </p:blipFill>
          <p:spPr>
            <a:xfrm>
              <a:off x="1292613" y="4558053"/>
              <a:ext cx="216248" cy="216248"/>
            </a:xfrm>
            <a:prstGeom prst="rect">
              <a:avLst/>
            </a:prstGeom>
            <a:noFill/>
            <a:ln>
              <a:noFill/>
            </a:ln>
            <a:effectLst/>
          </p:spPr>
        </p:pic>
        <p:pic>
          <p:nvPicPr>
            <p:cNvPr id="33" name="Picture 32"/>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1244966" y="4830409"/>
              <a:ext cx="311543" cy="249483"/>
            </a:xfrm>
            <a:prstGeom prst="rect">
              <a:avLst/>
            </a:prstGeom>
            <a:noFill/>
            <a:ln>
              <a:noFill/>
            </a:ln>
            <a:effectLst/>
          </p:spPr>
        </p:pic>
        <p:pic>
          <p:nvPicPr>
            <p:cNvPr id="395" name="Picture 394"/>
            <p:cNvPicPr>
              <a:picLocks noChangeAspect="1"/>
            </p:cNvPicPr>
            <p:nvPr/>
          </p:nvPicPr>
          <p:blipFill rotWithShape="1">
            <a:blip r:embed="rId36" cstate="print">
              <a:extLst>
                <a:ext uri="{28A0092B-C50C-407E-A947-70E740481C1C}">
                  <a14:useLocalDpi xmlns:a14="http://schemas.microsoft.com/office/drawing/2010/main" val="0"/>
                </a:ext>
              </a:extLst>
            </a:blip>
            <a:srcRect t="12104" b="12276"/>
            <a:stretch/>
          </p:blipFill>
          <p:spPr>
            <a:xfrm>
              <a:off x="1367952" y="5488706"/>
              <a:ext cx="359886" cy="272148"/>
            </a:xfrm>
            <a:prstGeom prst="rect">
              <a:avLst/>
            </a:prstGeom>
            <a:noFill/>
            <a:ln>
              <a:noFill/>
            </a:ln>
            <a:effectLst/>
          </p:spPr>
        </p:pic>
        <p:pic>
          <p:nvPicPr>
            <p:cNvPr id="393" name="Picture 392"/>
            <p:cNvPicPr>
              <a:picLocks noChangeAspect="1"/>
            </p:cNvPicPr>
            <p:nvPr/>
          </p:nvPicPr>
          <p:blipFill>
            <a:blip r:embed="rId30"/>
            <a:stretch>
              <a:fillRect/>
            </a:stretch>
          </p:blipFill>
          <p:spPr>
            <a:xfrm>
              <a:off x="1087913" y="5239854"/>
              <a:ext cx="237349" cy="237349"/>
            </a:xfrm>
            <a:prstGeom prst="rect">
              <a:avLst/>
            </a:prstGeom>
            <a:noFill/>
            <a:ln>
              <a:noFill/>
            </a:ln>
            <a:effectLst/>
          </p:spPr>
        </p:pic>
        <p:pic>
          <p:nvPicPr>
            <p:cNvPr id="38" name="Picture 37"/>
            <p:cNvPicPr>
              <a:picLocks noChangeAspect="1"/>
            </p:cNvPicPr>
            <p:nvPr/>
          </p:nvPicPr>
          <p:blipFill rotWithShape="1">
            <a:blip r:embed="rId41" cstate="print">
              <a:extLst>
                <a:ext uri="{28A0092B-C50C-407E-A947-70E740481C1C}">
                  <a14:useLocalDpi xmlns:a14="http://schemas.microsoft.com/office/drawing/2010/main" val="0"/>
                </a:ext>
              </a:extLst>
            </a:blip>
            <a:srcRect l="6176" r="3806"/>
            <a:stretch/>
          </p:blipFill>
          <p:spPr>
            <a:xfrm>
              <a:off x="1073636" y="5516510"/>
              <a:ext cx="265903" cy="295388"/>
            </a:xfrm>
            <a:prstGeom prst="rect">
              <a:avLst/>
            </a:prstGeom>
            <a:noFill/>
            <a:ln>
              <a:noFill/>
            </a:ln>
            <a:effectLst/>
          </p:spPr>
        </p:pic>
        <p:pic>
          <p:nvPicPr>
            <p:cNvPr id="401" name="Picture 400"/>
            <p:cNvPicPr>
              <a:picLocks noChangeAspect="1"/>
            </p:cNvPicPr>
            <p:nvPr/>
          </p:nvPicPr>
          <p:blipFill rotWithShape="1">
            <a:blip r:embed="rId36" cstate="print">
              <a:extLst>
                <a:ext uri="{28A0092B-C50C-407E-A947-70E740481C1C}">
                  <a14:useLocalDpi xmlns:a14="http://schemas.microsoft.com/office/drawing/2010/main" val="0"/>
                </a:ext>
              </a:extLst>
            </a:blip>
            <a:srcRect t="12104" b="12276"/>
            <a:stretch/>
          </p:blipFill>
          <p:spPr>
            <a:xfrm>
              <a:off x="2113141" y="5488706"/>
              <a:ext cx="359886" cy="272148"/>
            </a:xfrm>
            <a:prstGeom prst="rect">
              <a:avLst/>
            </a:prstGeom>
            <a:noFill/>
            <a:ln>
              <a:noFill/>
            </a:ln>
            <a:effectLst/>
          </p:spPr>
        </p:pic>
        <p:pic>
          <p:nvPicPr>
            <p:cNvPr id="398" name="Picture 397"/>
            <p:cNvPicPr>
              <a:picLocks noChangeAspect="1"/>
            </p:cNvPicPr>
            <p:nvPr/>
          </p:nvPicPr>
          <p:blipFill>
            <a:blip r:embed="rId30"/>
            <a:stretch>
              <a:fillRect/>
            </a:stretch>
          </p:blipFill>
          <p:spPr>
            <a:xfrm>
              <a:off x="1976074" y="5239854"/>
              <a:ext cx="237349" cy="237349"/>
            </a:xfrm>
            <a:prstGeom prst="rect">
              <a:avLst/>
            </a:prstGeom>
            <a:noFill/>
            <a:ln>
              <a:noFill/>
            </a:ln>
            <a:effectLst/>
          </p:spPr>
        </p:pic>
        <p:pic>
          <p:nvPicPr>
            <p:cNvPr id="403" name="Picture 402"/>
            <p:cNvPicPr>
              <a:picLocks noChangeAspect="1"/>
            </p:cNvPicPr>
            <p:nvPr/>
          </p:nvPicPr>
          <p:blipFill rotWithShape="1">
            <a:blip r:embed="rId36" cstate="print">
              <a:extLst>
                <a:ext uri="{28A0092B-C50C-407E-A947-70E740481C1C}">
                  <a14:useLocalDpi xmlns:a14="http://schemas.microsoft.com/office/drawing/2010/main" val="0"/>
                </a:ext>
              </a:extLst>
            </a:blip>
            <a:srcRect t="12104" b="12276"/>
            <a:stretch/>
          </p:blipFill>
          <p:spPr>
            <a:xfrm>
              <a:off x="3005488" y="5488706"/>
              <a:ext cx="359886" cy="272148"/>
            </a:xfrm>
            <a:prstGeom prst="rect">
              <a:avLst/>
            </a:prstGeom>
            <a:noFill/>
            <a:ln>
              <a:noFill/>
            </a:ln>
            <a:effectLst/>
          </p:spPr>
        </p:pic>
        <p:pic>
          <p:nvPicPr>
            <p:cNvPr id="406" name="Picture 405"/>
            <p:cNvPicPr>
              <a:picLocks noChangeAspect="1"/>
            </p:cNvPicPr>
            <p:nvPr/>
          </p:nvPicPr>
          <p:blipFill>
            <a:blip r:embed="rId30"/>
            <a:stretch>
              <a:fillRect/>
            </a:stretch>
          </p:blipFill>
          <p:spPr>
            <a:xfrm>
              <a:off x="2868421" y="5239854"/>
              <a:ext cx="237349" cy="237349"/>
            </a:xfrm>
            <a:prstGeom prst="rect">
              <a:avLst/>
            </a:prstGeom>
            <a:noFill/>
            <a:ln>
              <a:noFill/>
            </a:ln>
            <a:effectLst/>
          </p:spPr>
        </p:pic>
        <p:pic>
          <p:nvPicPr>
            <p:cNvPr id="408" name="Picture 407"/>
            <p:cNvPicPr>
              <a:picLocks noChangeAspect="1"/>
            </p:cNvPicPr>
            <p:nvPr/>
          </p:nvPicPr>
          <p:blipFill rotWithShape="1">
            <a:blip r:embed="rId36" cstate="print">
              <a:extLst>
                <a:ext uri="{28A0092B-C50C-407E-A947-70E740481C1C}">
                  <a14:useLocalDpi xmlns:a14="http://schemas.microsoft.com/office/drawing/2010/main" val="0"/>
                </a:ext>
              </a:extLst>
            </a:blip>
            <a:srcRect t="12104" b="12276"/>
            <a:stretch/>
          </p:blipFill>
          <p:spPr>
            <a:xfrm>
              <a:off x="3897834" y="5488706"/>
              <a:ext cx="359886" cy="272148"/>
            </a:xfrm>
            <a:prstGeom prst="rect">
              <a:avLst/>
            </a:prstGeom>
            <a:noFill/>
            <a:ln>
              <a:noFill/>
            </a:ln>
            <a:effectLst/>
          </p:spPr>
        </p:pic>
        <p:pic>
          <p:nvPicPr>
            <p:cNvPr id="411" name="Picture 410"/>
            <p:cNvPicPr>
              <a:picLocks noChangeAspect="1"/>
            </p:cNvPicPr>
            <p:nvPr/>
          </p:nvPicPr>
          <p:blipFill>
            <a:blip r:embed="rId30"/>
            <a:stretch>
              <a:fillRect/>
            </a:stretch>
          </p:blipFill>
          <p:spPr>
            <a:xfrm>
              <a:off x="3760767" y="5239854"/>
              <a:ext cx="237349" cy="237349"/>
            </a:xfrm>
            <a:prstGeom prst="rect">
              <a:avLst/>
            </a:prstGeom>
            <a:noFill/>
            <a:ln>
              <a:noFill/>
            </a:ln>
            <a:effectLst/>
          </p:spPr>
        </p:pic>
        <p:pic>
          <p:nvPicPr>
            <p:cNvPr id="413" name="Picture 412"/>
            <p:cNvPicPr>
              <a:picLocks noChangeAspect="1"/>
            </p:cNvPicPr>
            <p:nvPr/>
          </p:nvPicPr>
          <p:blipFill rotWithShape="1">
            <a:blip r:embed="rId36" cstate="print">
              <a:extLst>
                <a:ext uri="{28A0092B-C50C-407E-A947-70E740481C1C}">
                  <a14:useLocalDpi xmlns:a14="http://schemas.microsoft.com/office/drawing/2010/main" val="0"/>
                </a:ext>
              </a:extLst>
            </a:blip>
            <a:srcRect t="12104" b="12276"/>
            <a:stretch/>
          </p:blipFill>
          <p:spPr>
            <a:xfrm>
              <a:off x="5682528" y="5488706"/>
              <a:ext cx="359886" cy="272148"/>
            </a:xfrm>
            <a:prstGeom prst="rect">
              <a:avLst/>
            </a:prstGeom>
            <a:noFill/>
            <a:ln>
              <a:noFill/>
            </a:ln>
            <a:effectLst/>
          </p:spPr>
        </p:pic>
        <p:pic>
          <p:nvPicPr>
            <p:cNvPr id="416" name="Picture 415"/>
            <p:cNvPicPr>
              <a:picLocks noChangeAspect="1"/>
            </p:cNvPicPr>
            <p:nvPr/>
          </p:nvPicPr>
          <p:blipFill>
            <a:blip r:embed="rId30"/>
            <a:stretch>
              <a:fillRect/>
            </a:stretch>
          </p:blipFill>
          <p:spPr>
            <a:xfrm>
              <a:off x="5545461" y="5239854"/>
              <a:ext cx="237349" cy="237349"/>
            </a:xfrm>
            <a:prstGeom prst="rect">
              <a:avLst/>
            </a:prstGeom>
            <a:noFill/>
            <a:ln>
              <a:noFill/>
            </a:ln>
            <a:effectLst/>
          </p:spPr>
        </p:pic>
        <p:pic>
          <p:nvPicPr>
            <p:cNvPr id="205" name="Picture 204"/>
            <p:cNvPicPr>
              <a:picLocks noChangeAspect="1"/>
            </p:cNvPicPr>
            <p:nvPr/>
          </p:nvPicPr>
          <p:blipFill>
            <a:blip r:embed="rId30"/>
            <a:stretch>
              <a:fillRect/>
            </a:stretch>
          </p:blipFill>
          <p:spPr>
            <a:xfrm>
              <a:off x="6542842" y="2447176"/>
              <a:ext cx="423953" cy="423953"/>
            </a:xfrm>
            <a:prstGeom prst="rect">
              <a:avLst/>
            </a:prstGeom>
            <a:noFill/>
            <a:ln>
              <a:noFill/>
            </a:ln>
            <a:effectLst/>
          </p:spPr>
        </p:pic>
        <p:pic>
          <p:nvPicPr>
            <p:cNvPr id="206" name="Picture 205"/>
            <p:cNvPicPr>
              <a:picLocks noChangeAspect="1"/>
            </p:cNvPicPr>
            <p:nvPr/>
          </p:nvPicPr>
          <p:blipFill>
            <a:blip r:embed="rId30"/>
            <a:stretch>
              <a:fillRect/>
            </a:stretch>
          </p:blipFill>
          <p:spPr>
            <a:xfrm>
              <a:off x="6542842" y="1668565"/>
              <a:ext cx="423953" cy="423953"/>
            </a:xfrm>
            <a:prstGeom prst="rect">
              <a:avLst/>
            </a:prstGeom>
            <a:noFill/>
            <a:ln>
              <a:noFill/>
            </a:ln>
            <a:effectLst/>
          </p:spPr>
        </p:pic>
        <p:pic>
          <p:nvPicPr>
            <p:cNvPr id="209" name="Picture 208"/>
            <p:cNvPicPr>
              <a:picLocks noChangeAspect="1"/>
            </p:cNvPicPr>
            <p:nvPr/>
          </p:nvPicPr>
          <p:blipFill>
            <a:blip r:embed="rId30"/>
            <a:stretch>
              <a:fillRect/>
            </a:stretch>
          </p:blipFill>
          <p:spPr>
            <a:xfrm>
              <a:off x="6542842" y="3872356"/>
              <a:ext cx="423953" cy="423953"/>
            </a:xfrm>
            <a:prstGeom prst="rect">
              <a:avLst/>
            </a:prstGeom>
            <a:noFill/>
            <a:ln>
              <a:noFill/>
            </a:ln>
            <a:effectLst/>
          </p:spPr>
        </p:pic>
        <p:pic>
          <p:nvPicPr>
            <p:cNvPr id="210" name="Picture 209"/>
            <p:cNvPicPr>
              <a:picLocks noChangeAspect="1"/>
            </p:cNvPicPr>
            <p:nvPr/>
          </p:nvPicPr>
          <p:blipFill>
            <a:blip r:embed="rId30"/>
            <a:stretch>
              <a:fillRect/>
            </a:stretch>
          </p:blipFill>
          <p:spPr>
            <a:xfrm>
              <a:off x="6542842" y="3159766"/>
              <a:ext cx="423953" cy="423953"/>
            </a:xfrm>
            <a:prstGeom prst="rect">
              <a:avLst/>
            </a:prstGeom>
            <a:noFill/>
            <a:ln>
              <a:noFill/>
            </a:ln>
            <a:effectLst/>
          </p:spPr>
        </p:pic>
        <p:pic>
          <p:nvPicPr>
            <p:cNvPr id="418" name="Picture 417"/>
            <p:cNvPicPr>
              <a:picLocks noChangeAspect="1"/>
            </p:cNvPicPr>
            <p:nvPr/>
          </p:nvPicPr>
          <p:blipFill rotWithShape="1">
            <a:blip r:embed="rId36" cstate="print">
              <a:extLst>
                <a:ext uri="{28A0092B-C50C-407E-A947-70E740481C1C}">
                  <a14:useLocalDpi xmlns:a14="http://schemas.microsoft.com/office/drawing/2010/main" val="0"/>
                </a:ext>
              </a:extLst>
            </a:blip>
            <a:srcRect t="12104" b="12276"/>
            <a:stretch/>
          </p:blipFill>
          <p:spPr>
            <a:xfrm>
              <a:off x="6574875" y="5488706"/>
              <a:ext cx="359886" cy="272148"/>
            </a:xfrm>
            <a:prstGeom prst="rect">
              <a:avLst/>
            </a:prstGeom>
            <a:noFill/>
            <a:ln>
              <a:noFill/>
            </a:ln>
            <a:effectLst/>
          </p:spPr>
        </p:pic>
        <p:pic>
          <p:nvPicPr>
            <p:cNvPr id="421" name="Picture 420"/>
            <p:cNvPicPr>
              <a:picLocks noChangeAspect="1"/>
            </p:cNvPicPr>
            <p:nvPr/>
          </p:nvPicPr>
          <p:blipFill>
            <a:blip r:embed="rId30"/>
            <a:stretch>
              <a:fillRect/>
            </a:stretch>
          </p:blipFill>
          <p:spPr>
            <a:xfrm>
              <a:off x="6437808" y="5239854"/>
              <a:ext cx="237349" cy="237349"/>
            </a:xfrm>
            <a:prstGeom prst="rect">
              <a:avLst/>
            </a:prstGeom>
            <a:noFill/>
            <a:ln>
              <a:noFill/>
            </a:ln>
            <a:effectLst/>
          </p:spPr>
        </p:pic>
        <p:pic>
          <p:nvPicPr>
            <p:cNvPr id="345" name="Picture 344"/>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7255327" y="1953625"/>
              <a:ext cx="293298" cy="226426"/>
            </a:xfrm>
            <a:prstGeom prst="rect">
              <a:avLst/>
            </a:prstGeom>
            <a:noFill/>
            <a:ln>
              <a:noFill/>
            </a:ln>
            <a:effectLst/>
          </p:spPr>
        </p:pic>
        <p:pic>
          <p:nvPicPr>
            <p:cNvPr id="346" name="Picture 345"/>
            <p:cNvPicPr>
              <a:picLocks noChangeAspect="1"/>
            </p:cNvPicPr>
            <p:nvPr/>
          </p:nvPicPr>
          <p:blipFill>
            <a:blip r:embed="rId30"/>
            <a:stretch>
              <a:fillRect/>
            </a:stretch>
          </p:blipFill>
          <p:spPr>
            <a:xfrm>
              <a:off x="7284268" y="1624536"/>
              <a:ext cx="216248" cy="216248"/>
            </a:xfrm>
            <a:prstGeom prst="rect">
              <a:avLst/>
            </a:prstGeom>
            <a:noFill/>
            <a:ln>
              <a:noFill/>
            </a:ln>
            <a:effectLst/>
          </p:spPr>
        </p:pic>
        <p:pic>
          <p:nvPicPr>
            <p:cNvPr id="348" name="Picture 347"/>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7234503" y="2680855"/>
              <a:ext cx="293298" cy="226426"/>
            </a:xfrm>
            <a:prstGeom prst="rect">
              <a:avLst/>
            </a:prstGeom>
            <a:noFill/>
            <a:ln>
              <a:noFill/>
            </a:ln>
            <a:effectLst/>
          </p:spPr>
        </p:pic>
        <p:pic>
          <p:nvPicPr>
            <p:cNvPr id="349" name="Picture 348"/>
            <p:cNvPicPr>
              <a:picLocks noChangeAspect="1"/>
            </p:cNvPicPr>
            <p:nvPr/>
          </p:nvPicPr>
          <p:blipFill>
            <a:blip r:embed="rId30"/>
            <a:stretch>
              <a:fillRect/>
            </a:stretch>
          </p:blipFill>
          <p:spPr>
            <a:xfrm>
              <a:off x="7262415" y="2404606"/>
              <a:ext cx="216248" cy="216248"/>
            </a:xfrm>
            <a:prstGeom prst="rect">
              <a:avLst/>
            </a:prstGeom>
            <a:noFill/>
            <a:ln>
              <a:noFill/>
            </a:ln>
            <a:effectLst/>
          </p:spPr>
        </p:pic>
        <p:pic>
          <p:nvPicPr>
            <p:cNvPr id="351" name="Picture 350"/>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7245743" y="3404583"/>
              <a:ext cx="293298" cy="226426"/>
            </a:xfrm>
            <a:prstGeom prst="rect">
              <a:avLst/>
            </a:prstGeom>
            <a:noFill/>
            <a:ln>
              <a:noFill/>
            </a:ln>
            <a:effectLst/>
          </p:spPr>
        </p:pic>
        <p:pic>
          <p:nvPicPr>
            <p:cNvPr id="352" name="Picture 351"/>
            <p:cNvPicPr>
              <a:picLocks noChangeAspect="1"/>
            </p:cNvPicPr>
            <p:nvPr/>
          </p:nvPicPr>
          <p:blipFill>
            <a:blip r:embed="rId30"/>
            <a:stretch>
              <a:fillRect/>
            </a:stretch>
          </p:blipFill>
          <p:spPr>
            <a:xfrm>
              <a:off x="7273028" y="3086875"/>
              <a:ext cx="216248" cy="216248"/>
            </a:xfrm>
            <a:prstGeom prst="rect">
              <a:avLst/>
            </a:prstGeom>
            <a:noFill/>
            <a:ln>
              <a:noFill/>
            </a:ln>
            <a:effectLst/>
          </p:spPr>
        </p:pic>
        <p:pic>
          <p:nvPicPr>
            <p:cNvPr id="424" name="Picture 423"/>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7256370" y="4149652"/>
              <a:ext cx="293298" cy="226426"/>
            </a:xfrm>
            <a:prstGeom prst="rect">
              <a:avLst/>
            </a:prstGeom>
            <a:noFill/>
            <a:ln>
              <a:noFill/>
            </a:ln>
            <a:effectLst/>
          </p:spPr>
        </p:pic>
        <p:pic>
          <p:nvPicPr>
            <p:cNvPr id="425" name="Picture 424"/>
            <p:cNvPicPr>
              <a:picLocks noChangeAspect="1"/>
            </p:cNvPicPr>
            <p:nvPr/>
          </p:nvPicPr>
          <p:blipFill>
            <a:blip r:embed="rId30"/>
            <a:stretch>
              <a:fillRect/>
            </a:stretch>
          </p:blipFill>
          <p:spPr>
            <a:xfrm>
              <a:off x="7273028" y="3821466"/>
              <a:ext cx="216248" cy="216248"/>
            </a:xfrm>
            <a:prstGeom prst="rect">
              <a:avLst/>
            </a:prstGeom>
            <a:noFill/>
            <a:ln>
              <a:noFill/>
            </a:ln>
            <a:effectLst/>
          </p:spPr>
        </p:pic>
        <p:pic>
          <p:nvPicPr>
            <p:cNvPr id="432" name="Picture 431"/>
            <p:cNvPicPr>
              <a:picLocks noChangeAspect="1"/>
            </p:cNvPicPr>
            <p:nvPr/>
          </p:nvPicPr>
          <p:blipFill rotWithShape="1">
            <a:blip r:embed="rId36" cstate="print">
              <a:extLst>
                <a:ext uri="{28A0092B-C50C-407E-A947-70E740481C1C}">
                  <a14:useLocalDpi xmlns:a14="http://schemas.microsoft.com/office/drawing/2010/main" val="0"/>
                </a:ext>
              </a:extLst>
            </a:blip>
            <a:srcRect t="12104" b="12276"/>
            <a:stretch/>
          </p:blipFill>
          <p:spPr>
            <a:xfrm>
              <a:off x="8500199" y="5488706"/>
              <a:ext cx="359886" cy="272148"/>
            </a:xfrm>
            <a:prstGeom prst="rect">
              <a:avLst/>
            </a:prstGeom>
            <a:noFill/>
            <a:ln>
              <a:noFill/>
            </a:ln>
            <a:effectLst/>
          </p:spPr>
        </p:pic>
        <p:pic>
          <p:nvPicPr>
            <p:cNvPr id="429" name="Picture 428"/>
            <p:cNvPicPr>
              <a:picLocks noChangeAspect="1"/>
            </p:cNvPicPr>
            <p:nvPr/>
          </p:nvPicPr>
          <p:blipFill>
            <a:blip r:embed="rId30"/>
            <a:stretch>
              <a:fillRect/>
            </a:stretch>
          </p:blipFill>
          <p:spPr>
            <a:xfrm>
              <a:off x="8169839" y="5239854"/>
              <a:ext cx="237349" cy="237349"/>
            </a:xfrm>
            <a:prstGeom prst="rect">
              <a:avLst/>
            </a:prstGeom>
            <a:noFill/>
            <a:ln>
              <a:noFill/>
            </a:ln>
            <a:effectLst/>
          </p:spPr>
        </p:pic>
        <p:pic>
          <p:nvPicPr>
            <p:cNvPr id="433" name="Picture 432"/>
            <p:cNvPicPr>
              <a:picLocks noChangeAspect="1"/>
            </p:cNvPicPr>
            <p:nvPr/>
          </p:nvPicPr>
          <p:blipFill>
            <a:blip r:embed="rId42" cstate="print">
              <a:extLst>
                <a:ext uri="{28A0092B-C50C-407E-A947-70E740481C1C}">
                  <a14:useLocalDpi xmlns:a14="http://schemas.microsoft.com/office/drawing/2010/main" val="0"/>
                </a:ext>
              </a:extLst>
            </a:blip>
            <a:stretch>
              <a:fillRect/>
            </a:stretch>
          </p:blipFill>
          <p:spPr>
            <a:xfrm>
              <a:off x="8142741" y="5535781"/>
              <a:ext cx="291545" cy="225073"/>
            </a:xfrm>
            <a:prstGeom prst="rect">
              <a:avLst/>
            </a:prstGeom>
            <a:noFill/>
            <a:ln>
              <a:noFill/>
            </a:ln>
            <a:effectLst/>
          </p:spPr>
        </p:pic>
        <p:pic>
          <p:nvPicPr>
            <p:cNvPr id="455" name="Picture 454"/>
            <p:cNvPicPr>
              <a:picLocks noChangeAspect="1"/>
            </p:cNvPicPr>
            <p:nvPr/>
          </p:nvPicPr>
          <p:blipFill>
            <a:blip r:embed="rId30"/>
            <a:stretch>
              <a:fillRect/>
            </a:stretch>
          </p:blipFill>
          <p:spPr>
            <a:xfrm>
              <a:off x="8118128" y="4561807"/>
              <a:ext cx="237349" cy="237349"/>
            </a:xfrm>
            <a:prstGeom prst="rect">
              <a:avLst/>
            </a:prstGeom>
            <a:noFill/>
            <a:ln>
              <a:noFill/>
            </a:ln>
            <a:effectLst/>
          </p:spPr>
        </p:pic>
        <p:pic>
          <p:nvPicPr>
            <p:cNvPr id="453" name="Picture 452"/>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8447288" y="4635323"/>
              <a:ext cx="437410" cy="90316"/>
            </a:xfrm>
            <a:prstGeom prst="rect">
              <a:avLst/>
            </a:prstGeom>
            <a:noFill/>
            <a:ln>
              <a:noFill/>
            </a:ln>
            <a:effectLst/>
          </p:spPr>
        </p:pic>
        <p:pic>
          <p:nvPicPr>
            <p:cNvPr id="457" name="Picture 456"/>
            <p:cNvPicPr>
              <a:picLocks noChangeAspect="1"/>
            </p:cNvPicPr>
            <p:nvPr/>
          </p:nvPicPr>
          <p:blipFill rotWithShape="1">
            <a:blip r:embed="rId36" cstate="print">
              <a:extLst>
                <a:ext uri="{28A0092B-C50C-407E-A947-70E740481C1C}">
                  <a14:useLocalDpi xmlns:a14="http://schemas.microsoft.com/office/drawing/2010/main" val="0"/>
                </a:ext>
              </a:extLst>
            </a:blip>
            <a:srcRect t="12104" b="12276"/>
            <a:stretch/>
          </p:blipFill>
          <p:spPr>
            <a:xfrm>
              <a:off x="8174624" y="4817110"/>
              <a:ext cx="359886" cy="272148"/>
            </a:xfrm>
            <a:prstGeom prst="rect">
              <a:avLst/>
            </a:prstGeom>
            <a:noFill/>
            <a:ln>
              <a:noFill/>
            </a:ln>
            <a:effectLst/>
          </p:spPr>
        </p:pic>
        <p:pic>
          <p:nvPicPr>
            <p:cNvPr id="250" name="Picture 249"/>
            <p:cNvPicPr>
              <a:picLocks noChangeAspect="1"/>
            </p:cNvPicPr>
            <p:nvPr/>
          </p:nvPicPr>
          <p:blipFill rotWithShape="1">
            <a:blip r:embed="rId36" cstate="print">
              <a:extLst>
                <a:ext uri="{28A0092B-C50C-407E-A947-70E740481C1C}">
                  <a14:useLocalDpi xmlns:a14="http://schemas.microsoft.com/office/drawing/2010/main" val="0"/>
                </a:ext>
              </a:extLst>
            </a:blip>
            <a:srcRect t="12104" b="12276"/>
            <a:stretch/>
          </p:blipFill>
          <p:spPr>
            <a:xfrm>
              <a:off x="4790181" y="5488706"/>
              <a:ext cx="359886" cy="272148"/>
            </a:xfrm>
            <a:prstGeom prst="rect">
              <a:avLst/>
            </a:prstGeom>
            <a:noFill/>
            <a:ln>
              <a:noFill/>
            </a:ln>
            <a:effectLst/>
          </p:spPr>
        </p:pic>
        <p:pic>
          <p:nvPicPr>
            <p:cNvPr id="256" name="Picture 255"/>
            <p:cNvPicPr>
              <a:picLocks noChangeAspect="1"/>
            </p:cNvPicPr>
            <p:nvPr/>
          </p:nvPicPr>
          <p:blipFill>
            <a:blip r:embed="rId30"/>
            <a:stretch>
              <a:fillRect/>
            </a:stretch>
          </p:blipFill>
          <p:spPr>
            <a:xfrm>
              <a:off x="4653114" y="5239854"/>
              <a:ext cx="237349" cy="237349"/>
            </a:xfrm>
            <a:prstGeom prst="rect">
              <a:avLst/>
            </a:prstGeom>
            <a:noFill/>
            <a:ln>
              <a:noFill/>
            </a:ln>
            <a:effectLst/>
          </p:spPr>
        </p:pic>
        <p:pic>
          <p:nvPicPr>
            <p:cNvPr id="259" name="Picture 258"/>
            <p:cNvPicPr>
              <a:picLocks noChangeAspect="1"/>
            </p:cNvPicPr>
            <p:nvPr/>
          </p:nvPicPr>
          <p:blipFill rotWithShape="1">
            <a:blip r:embed="rId36" cstate="print">
              <a:extLst>
                <a:ext uri="{28A0092B-C50C-407E-A947-70E740481C1C}">
                  <a14:useLocalDpi xmlns:a14="http://schemas.microsoft.com/office/drawing/2010/main" val="0"/>
                </a:ext>
              </a:extLst>
            </a:blip>
            <a:srcRect t="12104" b="12276"/>
            <a:stretch/>
          </p:blipFill>
          <p:spPr>
            <a:xfrm>
              <a:off x="7645951" y="5488706"/>
              <a:ext cx="359886" cy="272148"/>
            </a:xfrm>
            <a:prstGeom prst="rect">
              <a:avLst/>
            </a:prstGeom>
            <a:noFill/>
            <a:ln>
              <a:noFill/>
            </a:ln>
            <a:effectLst/>
          </p:spPr>
        </p:pic>
        <p:pic>
          <p:nvPicPr>
            <p:cNvPr id="261" name="Picture 260"/>
            <p:cNvPicPr>
              <a:picLocks noChangeAspect="1"/>
            </p:cNvPicPr>
            <p:nvPr/>
          </p:nvPicPr>
          <p:blipFill>
            <a:blip r:embed="rId30"/>
            <a:stretch>
              <a:fillRect/>
            </a:stretch>
          </p:blipFill>
          <p:spPr>
            <a:xfrm>
              <a:off x="7315591" y="5239854"/>
              <a:ext cx="237349" cy="237349"/>
            </a:xfrm>
            <a:prstGeom prst="rect">
              <a:avLst/>
            </a:prstGeom>
            <a:noFill/>
            <a:ln>
              <a:noFill/>
            </a:ln>
            <a:effectLst/>
          </p:spPr>
        </p:pic>
        <p:pic>
          <p:nvPicPr>
            <p:cNvPr id="264" name="Picture 263"/>
            <p:cNvPicPr>
              <a:picLocks noChangeAspect="1"/>
            </p:cNvPicPr>
            <p:nvPr/>
          </p:nvPicPr>
          <p:blipFill>
            <a:blip r:embed="rId42" cstate="print">
              <a:extLst>
                <a:ext uri="{28A0092B-C50C-407E-A947-70E740481C1C}">
                  <a14:useLocalDpi xmlns:a14="http://schemas.microsoft.com/office/drawing/2010/main" val="0"/>
                </a:ext>
              </a:extLst>
            </a:blip>
            <a:stretch>
              <a:fillRect/>
            </a:stretch>
          </p:blipFill>
          <p:spPr>
            <a:xfrm>
              <a:off x="7288493" y="5535781"/>
              <a:ext cx="291545" cy="225073"/>
            </a:xfrm>
            <a:prstGeom prst="rect">
              <a:avLst/>
            </a:prstGeom>
            <a:noFill/>
            <a:ln>
              <a:noFill/>
            </a:ln>
            <a:effectLst/>
          </p:spPr>
        </p:pic>
        <p:cxnSp>
          <p:nvCxnSpPr>
            <p:cNvPr id="194" name="Straight Connector 193"/>
            <p:cNvCxnSpPr>
              <a:cxnSpLocks/>
            </p:cNvCxnSpPr>
            <p:nvPr/>
          </p:nvCxnSpPr>
          <p:spPr>
            <a:xfrm>
              <a:off x="1846911" y="1632159"/>
              <a:ext cx="21740" cy="5088001"/>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96" name="Straight Connector 195"/>
            <p:cNvCxnSpPr>
              <a:cxnSpLocks/>
            </p:cNvCxnSpPr>
            <p:nvPr/>
          </p:nvCxnSpPr>
          <p:spPr>
            <a:xfrm>
              <a:off x="2739259" y="1632159"/>
              <a:ext cx="25325" cy="5088001"/>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97" name="Straight Connector 196"/>
            <p:cNvCxnSpPr>
              <a:cxnSpLocks/>
            </p:cNvCxnSpPr>
            <p:nvPr/>
          </p:nvCxnSpPr>
          <p:spPr>
            <a:xfrm>
              <a:off x="3631607" y="1632159"/>
              <a:ext cx="21740" cy="5088001"/>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98" name="Straight Connector 197"/>
            <p:cNvCxnSpPr>
              <a:cxnSpLocks/>
            </p:cNvCxnSpPr>
            <p:nvPr/>
          </p:nvCxnSpPr>
          <p:spPr>
            <a:xfrm>
              <a:off x="4523954" y="1632159"/>
              <a:ext cx="0" cy="5088001"/>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a:cxnSpLocks/>
            </p:cNvCxnSpPr>
            <p:nvPr/>
          </p:nvCxnSpPr>
          <p:spPr>
            <a:xfrm>
              <a:off x="5416302" y="1632159"/>
              <a:ext cx="21740" cy="5088001"/>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a:cxnSpLocks/>
            </p:cNvCxnSpPr>
            <p:nvPr/>
          </p:nvCxnSpPr>
          <p:spPr>
            <a:xfrm>
              <a:off x="6308650" y="1632159"/>
              <a:ext cx="0" cy="5088001"/>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04" name="Straight Connector 203"/>
            <p:cNvCxnSpPr>
              <a:cxnSpLocks/>
            </p:cNvCxnSpPr>
            <p:nvPr/>
          </p:nvCxnSpPr>
          <p:spPr>
            <a:xfrm>
              <a:off x="7200998" y="1632159"/>
              <a:ext cx="21740" cy="5088001"/>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07" name="Straight Connector 206"/>
            <p:cNvCxnSpPr>
              <a:cxnSpLocks/>
            </p:cNvCxnSpPr>
            <p:nvPr/>
          </p:nvCxnSpPr>
          <p:spPr>
            <a:xfrm>
              <a:off x="8093346" y="1632159"/>
              <a:ext cx="21740" cy="5088001"/>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18" name="TextBox 217"/>
            <p:cNvSpPr txBox="1">
              <a:spLocks/>
            </p:cNvSpPr>
            <p:nvPr/>
          </p:nvSpPr>
          <p:spPr>
            <a:xfrm>
              <a:off x="2739258" y="4482519"/>
              <a:ext cx="4483479" cy="628806"/>
            </a:xfrm>
            <a:prstGeom prst="rect">
              <a:avLst/>
            </a:prstGeom>
            <a:solidFill>
              <a:schemeClr val="bg1"/>
            </a:solidFill>
            <a:ln w="9525">
              <a:solidFill>
                <a:schemeClr val="accent4"/>
              </a:solidFill>
              <a:miter lim="800000"/>
              <a:headEnd/>
              <a:tailEnd/>
            </a:ln>
            <a:effectLst/>
            <a:extLst/>
          </p:spPr>
          <p:txBody>
            <a:bodyPr vert="horz" wrap="square" lIns="72009" tIns="72009" rIns="72009" bIns="72009" numCol="1" anchor="ctr" anchorCtr="0" compatLnSpc="1">
              <a:prstTxWarp prst="textNoShape">
                <a:avLst/>
              </a:prstTxWarp>
              <a:noAutofit/>
            </a:bodyPr>
            <a:lstStyle>
              <a:defPPr>
                <a:defRPr lang="en-US"/>
              </a:defPPr>
              <a:lvl1pPr marL="0" lvl="0" indent="0" defTabSz="913429" eaLnBrk="1" hangingPunct="1">
                <a:buClr>
                  <a:schemeClr val="tx2"/>
                </a:buClr>
                <a:defRPr sz="800" b="1" baseline="0">
                  <a:solidFill>
                    <a:schemeClr val="accent4"/>
                  </a:solidFill>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000000"/>
                </a:buClr>
              </a:pPr>
              <a:endParaRPr lang="en-US" dirty="0">
                <a:solidFill>
                  <a:srgbClr val="01632F"/>
                </a:solidFill>
              </a:endParaRPr>
            </a:p>
          </p:txBody>
        </p:sp>
        <p:pic>
          <p:nvPicPr>
            <p:cNvPr id="176" name="Picture 175"/>
            <p:cNvPicPr>
              <a:picLocks noChangeAspect="1"/>
            </p:cNvPicPr>
            <p:nvPr/>
          </p:nvPicPr>
          <p:blipFill>
            <a:blip r:embed="rId30"/>
            <a:stretch>
              <a:fillRect/>
            </a:stretch>
          </p:blipFill>
          <p:spPr>
            <a:xfrm>
              <a:off x="7306447" y="4535307"/>
              <a:ext cx="216248" cy="216248"/>
            </a:xfrm>
            <a:prstGeom prst="rect">
              <a:avLst/>
            </a:prstGeom>
            <a:noFill/>
            <a:ln>
              <a:noFill/>
            </a:ln>
            <a:effectLst/>
          </p:spPr>
        </p:pic>
        <p:pic>
          <p:nvPicPr>
            <p:cNvPr id="177" name="Picture 176"/>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1366414" y="5979906"/>
              <a:ext cx="293298" cy="226426"/>
            </a:xfrm>
            <a:prstGeom prst="rect">
              <a:avLst/>
            </a:prstGeom>
            <a:noFill/>
            <a:ln>
              <a:noFill/>
            </a:ln>
            <a:effectLst/>
          </p:spPr>
        </p:pic>
        <p:pic>
          <p:nvPicPr>
            <p:cNvPr id="178" name="Picture 177"/>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7267922" y="4822146"/>
              <a:ext cx="293298" cy="226426"/>
            </a:xfrm>
            <a:prstGeom prst="rect">
              <a:avLst/>
            </a:prstGeom>
            <a:noFill/>
            <a:ln>
              <a:noFill/>
            </a:ln>
            <a:effectLst/>
          </p:spPr>
        </p:pic>
        <p:pic>
          <p:nvPicPr>
            <p:cNvPr id="179" name="Picture 178"/>
            <p:cNvPicPr>
              <a:picLocks noChangeAspect="1"/>
            </p:cNvPicPr>
            <p:nvPr/>
          </p:nvPicPr>
          <p:blipFill>
            <a:blip r:embed="rId30"/>
            <a:stretch>
              <a:fillRect/>
            </a:stretch>
          </p:blipFill>
          <p:spPr>
            <a:xfrm>
              <a:off x="1891177" y="4513235"/>
              <a:ext cx="237349" cy="237349"/>
            </a:xfrm>
            <a:prstGeom prst="rect">
              <a:avLst/>
            </a:prstGeom>
            <a:noFill/>
            <a:ln>
              <a:noFill/>
            </a:ln>
            <a:effectLst/>
          </p:spPr>
        </p:pic>
        <p:pic>
          <p:nvPicPr>
            <p:cNvPr id="180" name="Picture 179"/>
            <p:cNvPicPr>
              <a:picLocks noChangeAspect="1"/>
            </p:cNvPicPr>
            <p:nvPr/>
          </p:nvPicPr>
          <p:blipFill rotWithShape="1">
            <a:blip r:embed="rId31" cstate="print">
              <a:extLst>
                <a:ext uri="{28A0092B-C50C-407E-A947-70E740481C1C}">
                  <a14:useLocalDpi xmlns:a14="http://schemas.microsoft.com/office/drawing/2010/main" val="0"/>
                </a:ext>
              </a:extLst>
            </a:blip>
            <a:srcRect t="31631" b="33750"/>
            <a:stretch/>
          </p:blipFill>
          <p:spPr>
            <a:xfrm>
              <a:off x="2306485" y="4543622"/>
              <a:ext cx="325810" cy="129500"/>
            </a:xfrm>
            <a:prstGeom prst="rect">
              <a:avLst/>
            </a:prstGeom>
            <a:noFill/>
            <a:ln>
              <a:noFill/>
            </a:ln>
            <a:effectLst/>
          </p:spPr>
        </p:pic>
        <p:pic>
          <p:nvPicPr>
            <p:cNvPr id="181" name="Picture 180"/>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1880153" y="4834701"/>
              <a:ext cx="293298" cy="226426"/>
            </a:xfrm>
            <a:prstGeom prst="rect">
              <a:avLst/>
            </a:prstGeom>
            <a:noFill/>
            <a:ln>
              <a:noFill/>
            </a:ln>
            <a:effectLst/>
          </p:spPr>
        </p:pic>
        <p:pic>
          <p:nvPicPr>
            <p:cNvPr id="182" name="Picture 181"/>
            <p:cNvPicPr>
              <a:picLocks noChangeAspect="1"/>
            </p:cNvPicPr>
            <p:nvPr/>
          </p:nvPicPr>
          <p:blipFill>
            <a:blip r:embed="rId30"/>
            <a:stretch>
              <a:fillRect/>
            </a:stretch>
          </p:blipFill>
          <p:spPr>
            <a:xfrm>
              <a:off x="3017236" y="4571747"/>
              <a:ext cx="237349" cy="237349"/>
            </a:xfrm>
            <a:prstGeom prst="rect">
              <a:avLst/>
            </a:prstGeom>
            <a:noFill/>
            <a:ln>
              <a:noFill/>
            </a:ln>
            <a:effectLst/>
          </p:spPr>
        </p:pic>
        <p:pic>
          <p:nvPicPr>
            <p:cNvPr id="183" name="Picture 182"/>
            <p:cNvPicPr>
              <a:picLocks noChangeAspect="1"/>
            </p:cNvPicPr>
            <p:nvPr/>
          </p:nvPicPr>
          <p:blipFill>
            <a:blip r:embed="rId30"/>
            <a:stretch>
              <a:fillRect/>
            </a:stretch>
          </p:blipFill>
          <p:spPr>
            <a:xfrm>
              <a:off x="6663285" y="4501697"/>
              <a:ext cx="237349" cy="237349"/>
            </a:xfrm>
            <a:prstGeom prst="rect">
              <a:avLst/>
            </a:prstGeom>
            <a:noFill/>
            <a:ln>
              <a:noFill/>
            </a:ln>
            <a:effectLst/>
          </p:spPr>
        </p:pic>
        <p:pic>
          <p:nvPicPr>
            <p:cNvPr id="184" name="Picture 183"/>
            <p:cNvPicPr>
              <a:picLocks noChangeAspect="1"/>
            </p:cNvPicPr>
            <p:nvPr/>
          </p:nvPicPr>
          <p:blipFill>
            <a:blip r:embed="rId30"/>
            <a:stretch>
              <a:fillRect/>
            </a:stretch>
          </p:blipFill>
          <p:spPr>
            <a:xfrm>
              <a:off x="5783598" y="4513235"/>
              <a:ext cx="237349" cy="237349"/>
            </a:xfrm>
            <a:prstGeom prst="rect">
              <a:avLst/>
            </a:prstGeom>
            <a:noFill/>
            <a:ln>
              <a:noFill/>
            </a:ln>
            <a:effectLst/>
          </p:spPr>
        </p:pic>
      </p:grpSp>
      <p:sp>
        <p:nvSpPr>
          <p:cNvPr id="185" name="TextBox 184"/>
          <p:cNvSpPr txBox="1">
            <a:spLocks/>
          </p:cNvSpPr>
          <p:nvPr/>
        </p:nvSpPr>
        <p:spPr>
          <a:xfrm>
            <a:off x="517576" y="5720064"/>
            <a:ext cx="718293" cy="628806"/>
          </a:xfrm>
          <a:prstGeom prst="rect">
            <a:avLst/>
          </a:prstGeom>
          <a:solidFill>
            <a:schemeClr val="accent3"/>
          </a:solidFill>
          <a:ln w="9525">
            <a:noFill/>
            <a:miter lim="800000"/>
            <a:headEnd/>
            <a:tailEnd/>
          </a:ln>
          <a:effectLst/>
        </p:spPr>
        <p:txBody>
          <a:bodyPr vert="horz" wrap="square" lIns="72009" tIns="72009" rIns="72009" bIns="72009"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FFFFFF"/>
              </a:buClr>
            </a:pPr>
            <a:r>
              <a:rPr lang="en-US" sz="800" b="1" dirty="0">
                <a:solidFill>
                  <a:srgbClr val="FFFFFF"/>
                </a:solidFill>
              </a:rPr>
              <a:t>Human &amp; institu-tional capacity</a:t>
            </a:r>
          </a:p>
        </p:txBody>
      </p:sp>
      <p:cxnSp>
        <p:nvCxnSpPr>
          <p:cNvPr id="186" name="Straight Connector 185"/>
          <p:cNvCxnSpPr>
            <a:cxnSpLocks/>
          </p:cNvCxnSpPr>
          <p:nvPr/>
        </p:nvCxnSpPr>
        <p:spPr>
          <a:xfrm>
            <a:off x="1365441" y="5678172"/>
            <a:ext cx="8074604"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187" name="TextBox 186"/>
          <p:cNvSpPr txBox="1">
            <a:spLocks/>
          </p:cNvSpPr>
          <p:nvPr/>
        </p:nvSpPr>
        <p:spPr>
          <a:xfrm>
            <a:off x="5830599" y="1487448"/>
            <a:ext cx="832596" cy="2730478"/>
          </a:xfrm>
          <a:prstGeom prst="rect">
            <a:avLst/>
          </a:prstGeom>
          <a:solidFill>
            <a:schemeClr val="bg1"/>
          </a:solidFill>
          <a:ln w="9525">
            <a:solidFill>
              <a:schemeClr val="accent4"/>
            </a:solidFill>
            <a:miter lim="800000"/>
            <a:headEnd/>
            <a:tailEnd/>
          </a:ln>
          <a:effectLst/>
          <a:extLst/>
        </p:spPr>
        <p:txBody>
          <a:bodyPr vert="horz" wrap="square" lIns="72009" tIns="72009" rIns="72009" bIns="72009" numCol="1" anchor="ctr" anchorCtr="0" compatLnSpc="1">
            <a:prstTxWarp prst="textNoShape">
              <a:avLst/>
            </a:prstTxWarp>
            <a:noAutofit/>
          </a:bodyPr>
          <a:lstStyle>
            <a:defPPr>
              <a:defRPr lang="en-US"/>
            </a:defPPr>
            <a:lvl1pPr marL="0" lvl="0" indent="0" defTabSz="913429" eaLnBrk="1" hangingPunct="1">
              <a:buClr>
                <a:schemeClr val="tx2"/>
              </a:buClr>
              <a:defRPr sz="800"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lgn="ctr" fontAlgn="base">
              <a:spcBef>
                <a:spcPct val="0"/>
              </a:spcBef>
              <a:spcAft>
                <a:spcPct val="0"/>
              </a:spcAft>
              <a:buClr>
                <a:srgbClr val="000000"/>
              </a:buClr>
            </a:pPr>
            <a:r>
              <a:rPr lang="en-US" b="1" dirty="0">
                <a:solidFill>
                  <a:srgbClr val="01632F"/>
                </a:solidFill>
              </a:rPr>
              <a:t>GoE</a:t>
            </a:r>
          </a:p>
        </p:txBody>
      </p:sp>
      <p:pic>
        <p:nvPicPr>
          <p:cNvPr id="189" name="Picture 188"/>
          <p:cNvPicPr>
            <a:picLocks noChangeAspect="1"/>
          </p:cNvPicPr>
          <p:nvPr/>
        </p:nvPicPr>
        <p:blipFill>
          <a:blip r:embed="rId30"/>
          <a:stretch>
            <a:fillRect/>
          </a:stretch>
        </p:blipFill>
        <p:spPr>
          <a:xfrm>
            <a:off x="1294511" y="5763678"/>
            <a:ext cx="237349" cy="234252"/>
          </a:xfrm>
          <a:prstGeom prst="rect">
            <a:avLst/>
          </a:prstGeom>
          <a:noFill/>
          <a:ln>
            <a:noFill/>
          </a:ln>
          <a:effectLst/>
        </p:spPr>
      </p:pic>
      <p:pic>
        <p:nvPicPr>
          <p:cNvPr id="192" name="Picture 191"/>
          <p:cNvPicPr>
            <a:picLocks noChangeAspect="1"/>
          </p:cNvPicPr>
          <p:nvPr/>
        </p:nvPicPr>
        <p:blipFill>
          <a:blip r:embed="rId30"/>
          <a:stretch>
            <a:fillRect/>
          </a:stretch>
        </p:blipFill>
        <p:spPr>
          <a:xfrm>
            <a:off x="2283078" y="5748249"/>
            <a:ext cx="237349" cy="234252"/>
          </a:xfrm>
          <a:prstGeom prst="rect">
            <a:avLst/>
          </a:prstGeom>
          <a:noFill/>
          <a:ln>
            <a:noFill/>
          </a:ln>
          <a:effectLst/>
        </p:spPr>
      </p:pic>
      <p:pic>
        <p:nvPicPr>
          <p:cNvPr id="193" name="Picture 192"/>
          <p:cNvPicPr>
            <a:picLocks noChangeAspect="1"/>
          </p:cNvPicPr>
          <p:nvPr/>
        </p:nvPicPr>
        <p:blipFill>
          <a:blip r:embed="rId30"/>
          <a:stretch>
            <a:fillRect/>
          </a:stretch>
        </p:blipFill>
        <p:spPr>
          <a:xfrm>
            <a:off x="3181881" y="5719974"/>
            <a:ext cx="237349" cy="234252"/>
          </a:xfrm>
          <a:prstGeom prst="rect">
            <a:avLst/>
          </a:prstGeom>
          <a:noFill/>
          <a:ln>
            <a:noFill/>
          </a:ln>
          <a:effectLst/>
        </p:spPr>
      </p:pic>
      <p:pic>
        <p:nvPicPr>
          <p:cNvPr id="195" name="Picture 194"/>
          <p:cNvPicPr>
            <a:picLocks noChangeAspect="1"/>
          </p:cNvPicPr>
          <p:nvPr/>
        </p:nvPicPr>
        <p:blipFill>
          <a:blip r:embed="rId30"/>
          <a:stretch>
            <a:fillRect/>
          </a:stretch>
        </p:blipFill>
        <p:spPr>
          <a:xfrm>
            <a:off x="4063843" y="5719385"/>
            <a:ext cx="237349" cy="234252"/>
          </a:xfrm>
          <a:prstGeom prst="rect">
            <a:avLst/>
          </a:prstGeom>
          <a:noFill/>
          <a:ln>
            <a:noFill/>
          </a:ln>
          <a:effectLst/>
        </p:spPr>
      </p:pic>
      <p:pic>
        <p:nvPicPr>
          <p:cNvPr id="208" name="Picture 207"/>
          <p:cNvPicPr>
            <a:picLocks noChangeAspect="1"/>
          </p:cNvPicPr>
          <p:nvPr/>
        </p:nvPicPr>
        <p:blipFill>
          <a:blip r:embed="rId30"/>
          <a:stretch>
            <a:fillRect/>
          </a:stretch>
        </p:blipFill>
        <p:spPr>
          <a:xfrm>
            <a:off x="4937067" y="5719385"/>
            <a:ext cx="237349" cy="234252"/>
          </a:xfrm>
          <a:prstGeom prst="rect">
            <a:avLst/>
          </a:prstGeom>
          <a:noFill/>
          <a:ln>
            <a:noFill/>
          </a:ln>
          <a:effectLst/>
        </p:spPr>
      </p:pic>
      <p:pic>
        <p:nvPicPr>
          <p:cNvPr id="211" name="Picture 210"/>
          <p:cNvPicPr>
            <a:picLocks noChangeAspect="1"/>
          </p:cNvPicPr>
          <p:nvPr/>
        </p:nvPicPr>
        <p:blipFill>
          <a:blip r:embed="rId30"/>
          <a:stretch>
            <a:fillRect/>
          </a:stretch>
        </p:blipFill>
        <p:spPr>
          <a:xfrm>
            <a:off x="5858266" y="5719385"/>
            <a:ext cx="237349" cy="234252"/>
          </a:xfrm>
          <a:prstGeom prst="rect">
            <a:avLst/>
          </a:prstGeom>
          <a:noFill/>
          <a:ln>
            <a:noFill/>
          </a:ln>
          <a:effectLst/>
        </p:spPr>
      </p:pic>
      <p:pic>
        <p:nvPicPr>
          <p:cNvPr id="212" name="Picture 211"/>
          <p:cNvPicPr>
            <a:picLocks noChangeAspect="1"/>
          </p:cNvPicPr>
          <p:nvPr/>
        </p:nvPicPr>
        <p:blipFill>
          <a:blip r:embed="rId30"/>
          <a:stretch>
            <a:fillRect/>
          </a:stretch>
        </p:blipFill>
        <p:spPr>
          <a:xfrm>
            <a:off x="6729691" y="5729367"/>
            <a:ext cx="237349" cy="234252"/>
          </a:xfrm>
          <a:prstGeom prst="rect">
            <a:avLst/>
          </a:prstGeom>
          <a:noFill/>
          <a:ln>
            <a:noFill/>
          </a:ln>
          <a:effectLst/>
        </p:spPr>
      </p:pic>
      <p:pic>
        <p:nvPicPr>
          <p:cNvPr id="213" name="Picture 212"/>
          <p:cNvPicPr>
            <a:picLocks noChangeAspect="1"/>
          </p:cNvPicPr>
          <p:nvPr/>
        </p:nvPicPr>
        <p:blipFill>
          <a:blip r:embed="rId30"/>
          <a:stretch>
            <a:fillRect/>
          </a:stretch>
        </p:blipFill>
        <p:spPr>
          <a:xfrm>
            <a:off x="7636328" y="5737540"/>
            <a:ext cx="237349" cy="234252"/>
          </a:xfrm>
          <a:prstGeom prst="rect">
            <a:avLst/>
          </a:prstGeom>
          <a:noFill/>
          <a:ln>
            <a:noFill/>
          </a:ln>
          <a:effectLst/>
        </p:spPr>
      </p:pic>
      <p:pic>
        <p:nvPicPr>
          <p:cNvPr id="214" name="Picture 213"/>
          <p:cNvPicPr>
            <a:picLocks noChangeAspect="1"/>
          </p:cNvPicPr>
          <p:nvPr/>
        </p:nvPicPr>
        <p:blipFill>
          <a:blip r:embed="rId30"/>
          <a:stretch>
            <a:fillRect/>
          </a:stretch>
        </p:blipFill>
        <p:spPr>
          <a:xfrm>
            <a:off x="8523742" y="5729367"/>
            <a:ext cx="237349" cy="234252"/>
          </a:xfrm>
          <a:prstGeom prst="rect">
            <a:avLst/>
          </a:prstGeom>
          <a:noFill/>
          <a:ln>
            <a:noFill/>
          </a:ln>
          <a:effectLst/>
        </p:spPr>
      </p:pic>
      <p:pic>
        <p:nvPicPr>
          <p:cNvPr id="222" name="Picture 221"/>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4317801" y="5730754"/>
            <a:ext cx="293298" cy="223472"/>
          </a:xfrm>
          <a:prstGeom prst="rect">
            <a:avLst/>
          </a:prstGeom>
          <a:noFill/>
          <a:ln>
            <a:noFill/>
          </a:ln>
          <a:effectLst/>
        </p:spPr>
      </p:pic>
      <p:pic>
        <p:nvPicPr>
          <p:cNvPr id="223" name="Picture 222"/>
          <p:cNvPicPr>
            <a:picLocks noChangeAspect="1"/>
          </p:cNvPicPr>
          <p:nvPr/>
        </p:nvPicPr>
        <p:blipFill rotWithShape="1">
          <a:blip r:embed="rId36" cstate="print">
            <a:extLst>
              <a:ext uri="{28A0092B-C50C-407E-A947-70E740481C1C}">
                <a14:useLocalDpi xmlns:a14="http://schemas.microsoft.com/office/drawing/2010/main" val="0"/>
              </a:ext>
            </a:extLst>
          </a:blip>
          <a:srcRect t="12104" b="12276"/>
          <a:stretch/>
        </p:blipFill>
        <p:spPr>
          <a:xfrm>
            <a:off x="4067824" y="6047373"/>
            <a:ext cx="359886" cy="268597"/>
          </a:xfrm>
          <a:prstGeom prst="rect">
            <a:avLst/>
          </a:prstGeom>
          <a:noFill/>
          <a:ln>
            <a:noFill/>
          </a:ln>
          <a:effectLst/>
        </p:spPr>
      </p:pic>
      <p:pic>
        <p:nvPicPr>
          <p:cNvPr id="215" name="Picture 214"/>
          <p:cNvPicPr>
            <a:picLocks noChangeAspect="1"/>
          </p:cNvPicPr>
          <p:nvPr/>
        </p:nvPicPr>
        <p:blipFill rotWithShape="1">
          <a:blip r:embed="rId31" cstate="print">
            <a:extLst>
              <a:ext uri="{28A0092B-C50C-407E-A947-70E740481C1C}">
                <a14:useLocalDpi xmlns:a14="http://schemas.microsoft.com/office/drawing/2010/main" val="0"/>
              </a:ext>
            </a:extLst>
          </a:blip>
          <a:srcRect t="31631" b="33750"/>
          <a:stretch/>
        </p:blipFill>
        <p:spPr>
          <a:xfrm>
            <a:off x="6741877" y="1956494"/>
            <a:ext cx="325810" cy="127810"/>
          </a:xfrm>
          <a:prstGeom prst="rect">
            <a:avLst/>
          </a:prstGeom>
          <a:noFill/>
          <a:ln>
            <a:noFill/>
          </a:ln>
          <a:effectLst/>
        </p:spPr>
      </p:pic>
      <p:pic>
        <p:nvPicPr>
          <p:cNvPr id="216" name="Picture 215"/>
          <p:cNvPicPr>
            <a:picLocks noChangeAspect="1"/>
          </p:cNvPicPr>
          <p:nvPr/>
        </p:nvPicPr>
        <p:blipFill rotWithShape="1">
          <a:blip r:embed="rId31" cstate="print">
            <a:extLst>
              <a:ext uri="{28A0092B-C50C-407E-A947-70E740481C1C}">
                <a14:useLocalDpi xmlns:a14="http://schemas.microsoft.com/office/drawing/2010/main" val="0"/>
              </a:ext>
            </a:extLst>
          </a:blip>
          <a:srcRect t="31631" b="33750"/>
          <a:stretch/>
        </p:blipFill>
        <p:spPr>
          <a:xfrm>
            <a:off x="6695182" y="2678449"/>
            <a:ext cx="325810" cy="127810"/>
          </a:xfrm>
          <a:prstGeom prst="rect">
            <a:avLst/>
          </a:prstGeom>
          <a:noFill/>
          <a:ln>
            <a:noFill/>
          </a:ln>
          <a:effectLst/>
        </p:spPr>
      </p:pic>
      <p:pic>
        <p:nvPicPr>
          <p:cNvPr id="217" name="Picture 216"/>
          <p:cNvPicPr>
            <a:picLocks noChangeAspect="1"/>
          </p:cNvPicPr>
          <p:nvPr/>
        </p:nvPicPr>
        <p:blipFill rotWithShape="1">
          <a:blip r:embed="rId31" cstate="print">
            <a:extLst>
              <a:ext uri="{28A0092B-C50C-407E-A947-70E740481C1C}">
                <a14:useLocalDpi xmlns:a14="http://schemas.microsoft.com/office/drawing/2010/main" val="0"/>
              </a:ext>
            </a:extLst>
          </a:blip>
          <a:srcRect t="31631" b="33750"/>
          <a:stretch/>
        </p:blipFill>
        <p:spPr>
          <a:xfrm>
            <a:off x="6711389" y="3393174"/>
            <a:ext cx="325810" cy="127810"/>
          </a:xfrm>
          <a:prstGeom prst="rect">
            <a:avLst/>
          </a:prstGeom>
          <a:noFill/>
          <a:ln>
            <a:noFill/>
          </a:ln>
          <a:effectLst/>
        </p:spPr>
      </p:pic>
      <p:pic>
        <p:nvPicPr>
          <p:cNvPr id="219" name="Picture 218"/>
          <p:cNvPicPr>
            <a:picLocks noChangeAspect="1"/>
          </p:cNvPicPr>
          <p:nvPr/>
        </p:nvPicPr>
        <p:blipFill rotWithShape="1">
          <a:blip r:embed="rId31" cstate="print">
            <a:extLst>
              <a:ext uri="{28A0092B-C50C-407E-A947-70E740481C1C}">
                <a14:useLocalDpi xmlns:a14="http://schemas.microsoft.com/office/drawing/2010/main" val="0"/>
              </a:ext>
            </a:extLst>
          </a:blip>
          <a:srcRect t="31631" b="33750"/>
          <a:stretch/>
        </p:blipFill>
        <p:spPr>
          <a:xfrm>
            <a:off x="6752703" y="4103997"/>
            <a:ext cx="325810" cy="127810"/>
          </a:xfrm>
          <a:prstGeom prst="rect">
            <a:avLst/>
          </a:prstGeom>
          <a:noFill/>
          <a:ln>
            <a:noFill/>
          </a:ln>
          <a:effectLst/>
        </p:spPr>
      </p:pic>
      <p:pic>
        <p:nvPicPr>
          <p:cNvPr id="220" name="Picture 219"/>
          <p:cNvPicPr>
            <a:picLocks noChangeAspect="1"/>
          </p:cNvPicPr>
          <p:nvPr/>
        </p:nvPicPr>
        <p:blipFill rotWithShape="1">
          <a:blip r:embed="rId31" cstate="print">
            <a:extLst>
              <a:ext uri="{28A0092B-C50C-407E-A947-70E740481C1C}">
                <a14:useLocalDpi xmlns:a14="http://schemas.microsoft.com/office/drawing/2010/main" val="0"/>
              </a:ext>
            </a:extLst>
          </a:blip>
          <a:srcRect t="31631" b="33750"/>
          <a:stretch/>
        </p:blipFill>
        <p:spPr>
          <a:xfrm>
            <a:off x="1320530" y="6072409"/>
            <a:ext cx="325810" cy="127810"/>
          </a:xfrm>
          <a:prstGeom prst="rect">
            <a:avLst/>
          </a:prstGeom>
          <a:noFill/>
          <a:ln>
            <a:noFill/>
          </a:ln>
          <a:effectLst/>
        </p:spPr>
      </p:pic>
      <p:pic>
        <p:nvPicPr>
          <p:cNvPr id="225" name="Picture 224"/>
          <p:cNvPicPr>
            <a:picLocks noChangeAspect="1"/>
          </p:cNvPicPr>
          <p:nvPr/>
        </p:nvPicPr>
        <p:blipFill rotWithShape="1">
          <a:blip r:embed="rId31" cstate="print">
            <a:extLst>
              <a:ext uri="{28A0092B-C50C-407E-A947-70E740481C1C}">
                <a14:useLocalDpi xmlns:a14="http://schemas.microsoft.com/office/drawing/2010/main" val="0"/>
              </a:ext>
            </a:extLst>
          </a:blip>
          <a:srcRect t="31631" b="33750"/>
          <a:stretch/>
        </p:blipFill>
        <p:spPr>
          <a:xfrm>
            <a:off x="2297979" y="6072409"/>
            <a:ext cx="325810" cy="127810"/>
          </a:xfrm>
          <a:prstGeom prst="rect">
            <a:avLst/>
          </a:prstGeom>
          <a:noFill/>
          <a:ln>
            <a:noFill/>
          </a:ln>
          <a:effectLst/>
        </p:spPr>
      </p:pic>
      <p:pic>
        <p:nvPicPr>
          <p:cNvPr id="226" name="Picture 225"/>
          <p:cNvPicPr>
            <a:picLocks noChangeAspect="1"/>
          </p:cNvPicPr>
          <p:nvPr/>
        </p:nvPicPr>
        <p:blipFill rotWithShape="1">
          <a:blip r:embed="rId31" cstate="print">
            <a:extLst>
              <a:ext uri="{28A0092B-C50C-407E-A947-70E740481C1C}">
                <a14:useLocalDpi xmlns:a14="http://schemas.microsoft.com/office/drawing/2010/main" val="0"/>
              </a:ext>
            </a:extLst>
          </a:blip>
          <a:srcRect t="31631" b="33750"/>
          <a:stretch/>
        </p:blipFill>
        <p:spPr>
          <a:xfrm>
            <a:off x="3200372" y="6050116"/>
            <a:ext cx="325810" cy="127810"/>
          </a:xfrm>
          <a:prstGeom prst="rect">
            <a:avLst/>
          </a:prstGeom>
          <a:noFill/>
          <a:ln>
            <a:noFill/>
          </a:ln>
          <a:effectLst/>
        </p:spPr>
      </p:pic>
      <p:pic>
        <p:nvPicPr>
          <p:cNvPr id="227" name="Picture 226"/>
          <p:cNvPicPr>
            <a:picLocks noChangeAspect="1"/>
          </p:cNvPicPr>
          <p:nvPr/>
        </p:nvPicPr>
        <p:blipFill rotWithShape="1">
          <a:blip r:embed="rId31" cstate="print">
            <a:extLst>
              <a:ext uri="{28A0092B-C50C-407E-A947-70E740481C1C}">
                <a14:useLocalDpi xmlns:a14="http://schemas.microsoft.com/office/drawing/2010/main" val="0"/>
              </a:ext>
            </a:extLst>
          </a:blip>
          <a:srcRect t="31631" b="33750"/>
          <a:stretch/>
        </p:blipFill>
        <p:spPr>
          <a:xfrm>
            <a:off x="1245261" y="4392309"/>
            <a:ext cx="325810" cy="127810"/>
          </a:xfrm>
          <a:prstGeom prst="rect">
            <a:avLst/>
          </a:prstGeom>
          <a:noFill/>
          <a:ln>
            <a:noFill/>
          </a:ln>
          <a:effectLst/>
        </p:spPr>
      </p:pic>
      <p:pic>
        <p:nvPicPr>
          <p:cNvPr id="228" name="Picture 227"/>
          <p:cNvPicPr>
            <a:picLocks noChangeAspect="1"/>
          </p:cNvPicPr>
          <p:nvPr/>
        </p:nvPicPr>
        <p:blipFill rotWithShape="1">
          <a:blip r:embed="rId31" cstate="print">
            <a:extLst>
              <a:ext uri="{28A0092B-C50C-407E-A947-70E740481C1C}">
                <a14:useLocalDpi xmlns:a14="http://schemas.microsoft.com/office/drawing/2010/main" val="0"/>
              </a:ext>
            </a:extLst>
          </a:blip>
          <a:srcRect t="31631" b="33750"/>
          <a:stretch/>
        </p:blipFill>
        <p:spPr>
          <a:xfrm>
            <a:off x="8129573" y="4391965"/>
            <a:ext cx="325810" cy="127810"/>
          </a:xfrm>
          <a:prstGeom prst="rect">
            <a:avLst/>
          </a:prstGeom>
          <a:noFill/>
          <a:ln>
            <a:noFill/>
          </a:ln>
          <a:effectLst/>
        </p:spPr>
      </p:pic>
      <p:pic>
        <p:nvPicPr>
          <p:cNvPr id="230" name="Picture 229"/>
          <p:cNvPicPr>
            <a:picLocks noChangeAspect="1"/>
          </p:cNvPicPr>
          <p:nvPr/>
        </p:nvPicPr>
        <p:blipFill rotWithShape="1">
          <a:blip r:embed="rId31" cstate="print">
            <a:extLst>
              <a:ext uri="{28A0092B-C50C-407E-A947-70E740481C1C}">
                <a14:useLocalDpi xmlns:a14="http://schemas.microsoft.com/office/drawing/2010/main" val="0"/>
              </a:ext>
            </a:extLst>
          </a:blip>
          <a:srcRect t="31631" b="33750"/>
          <a:stretch/>
        </p:blipFill>
        <p:spPr>
          <a:xfrm>
            <a:off x="5171128" y="4364435"/>
            <a:ext cx="325810" cy="127810"/>
          </a:xfrm>
          <a:prstGeom prst="rect">
            <a:avLst/>
          </a:prstGeom>
          <a:noFill/>
          <a:ln>
            <a:noFill/>
          </a:ln>
          <a:effectLst/>
        </p:spPr>
      </p:pic>
      <p:pic>
        <p:nvPicPr>
          <p:cNvPr id="231" name="Picture 230"/>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6130116" y="3211374"/>
            <a:ext cx="293298" cy="223472"/>
          </a:xfrm>
          <a:prstGeom prst="rect">
            <a:avLst/>
          </a:prstGeom>
          <a:noFill/>
          <a:ln>
            <a:noFill/>
          </a:ln>
          <a:effectLst/>
        </p:spPr>
      </p:pic>
      <p:pic>
        <p:nvPicPr>
          <p:cNvPr id="233" name="Picture 232"/>
          <p:cNvPicPr>
            <a:picLocks noChangeAspect="1"/>
          </p:cNvPicPr>
          <p:nvPr/>
        </p:nvPicPr>
        <p:blipFill rotWithShape="1">
          <a:blip r:embed="rId31" cstate="print">
            <a:extLst>
              <a:ext uri="{28A0092B-C50C-407E-A947-70E740481C1C}">
                <a14:useLocalDpi xmlns:a14="http://schemas.microsoft.com/office/drawing/2010/main" val="0"/>
              </a:ext>
            </a:extLst>
          </a:blip>
          <a:srcRect t="31631" b="33750"/>
          <a:stretch/>
        </p:blipFill>
        <p:spPr>
          <a:xfrm>
            <a:off x="9005033" y="4693821"/>
            <a:ext cx="325810" cy="127810"/>
          </a:xfrm>
          <a:prstGeom prst="rect">
            <a:avLst/>
          </a:prstGeom>
          <a:noFill/>
          <a:ln>
            <a:noFill/>
          </a:ln>
          <a:effectLst/>
        </p:spPr>
      </p:pic>
      <p:pic>
        <p:nvPicPr>
          <p:cNvPr id="234" name="Picture 233"/>
          <p:cNvPicPr>
            <a:picLocks noChangeAspect="1"/>
          </p:cNvPicPr>
          <p:nvPr/>
        </p:nvPicPr>
        <p:blipFill rotWithShape="1">
          <a:blip r:embed="rId31" cstate="print">
            <a:extLst>
              <a:ext uri="{28A0092B-C50C-407E-A947-70E740481C1C}">
                <a14:useLocalDpi xmlns:a14="http://schemas.microsoft.com/office/drawing/2010/main" val="0"/>
              </a:ext>
            </a:extLst>
          </a:blip>
          <a:srcRect t="31631" b="33750"/>
          <a:stretch/>
        </p:blipFill>
        <p:spPr>
          <a:xfrm>
            <a:off x="8881199" y="5808102"/>
            <a:ext cx="325810" cy="127810"/>
          </a:xfrm>
          <a:prstGeom prst="rect">
            <a:avLst/>
          </a:prstGeom>
          <a:noFill/>
          <a:ln>
            <a:noFill/>
          </a:ln>
          <a:effectLst/>
        </p:spPr>
      </p:pic>
      <p:pic>
        <p:nvPicPr>
          <p:cNvPr id="240" name="Picture 239"/>
          <p:cNvPicPr>
            <a:picLocks noChangeAspect="1"/>
          </p:cNvPicPr>
          <p:nvPr/>
        </p:nvPicPr>
        <p:blipFill rotWithShape="1">
          <a:blip r:embed="rId31" cstate="print">
            <a:extLst>
              <a:ext uri="{28A0092B-C50C-407E-A947-70E740481C1C}">
                <a14:useLocalDpi xmlns:a14="http://schemas.microsoft.com/office/drawing/2010/main" val="0"/>
              </a:ext>
            </a:extLst>
          </a:blip>
          <a:srcRect t="31631" b="33750"/>
          <a:stretch/>
        </p:blipFill>
        <p:spPr>
          <a:xfrm>
            <a:off x="7951054" y="5808102"/>
            <a:ext cx="325810" cy="127810"/>
          </a:xfrm>
          <a:prstGeom prst="rect">
            <a:avLst/>
          </a:prstGeom>
          <a:noFill/>
          <a:ln>
            <a:noFill/>
          </a:ln>
          <a:effectLst/>
        </p:spPr>
      </p:pic>
      <p:pic>
        <p:nvPicPr>
          <p:cNvPr id="243" name="Picture 242"/>
          <p:cNvPicPr>
            <a:picLocks noChangeAspect="1"/>
          </p:cNvPicPr>
          <p:nvPr/>
        </p:nvPicPr>
        <p:blipFill rotWithShape="1">
          <a:blip r:embed="rId31" cstate="print">
            <a:extLst>
              <a:ext uri="{28A0092B-C50C-407E-A947-70E740481C1C}">
                <a14:useLocalDpi xmlns:a14="http://schemas.microsoft.com/office/drawing/2010/main" val="0"/>
              </a:ext>
            </a:extLst>
          </a:blip>
          <a:srcRect t="31631" b="33750"/>
          <a:stretch/>
        </p:blipFill>
        <p:spPr>
          <a:xfrm>
            <a:off x="7048871" y="5775629"/>
            <a:ext cx="325810" cy="127810"/>
          </a:xfrm>
          <a:prstGeom prst="rect">
            <a:avLst/>
          </a:prstGeom>
          <a:noFill/>
          <a:ln>
            <a:noFill/>
          </a:ln>
          <a:effectLst/>
        </p:spPr>
      </p:pic>
      <p:sp>
        <p:nvSpPr>
          <p:cNvPr id="221" name="TextBox 220"/>
          <p:cNvSpPr txBox="1">
            <a:spLocks/>
          </p:cNvSpPr>
          <p:nvPr/>
        </p:nvSpPr>
        <p:spPr>
          <a:xfrm>
            <a:off x="495569" y="6420294"/>
            <a:ext cx="740299" cy="437707"/>
          </a:xfrm>
          <a:prstGeom prst="rect">
            <a:avLst/>
          </a:prstGeom>
          <a:solidFill>
            <a:schemeClr val="accent3"/>
          </a:solidFill>
          <a:ln w="9525">
            <a:noFill/>
            <a:miter lim="800000"/>
            <a:headEnd/>
            <a:tailEnd/>
          </a:ln>
          <a:effectLst/>
        </p:spPr>
        <p:txBody>
          <a:bodyPr vert="horz" wrap="square" lIns="72009" tIns="72009" rIns="72009" bIns="72009"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FFFFFF"/>
              </a:buClr>
            </a:pPr>
            <a:r>
              <a:rPr lang="en-US" sz="800" b="1" dirty="0">
                <a:solidFill>
                  <a:srgbClr val="FFFFFF"/>
                </a:solidFill>
              </a:rPr>
              <a:t>Private Sector</a:t>
            </a:r>
          </a:p>
        </p:txBody>
      </p:sp>
      <p:sp>
        <p:nvSpPr>
          <p:cNvPr id="247" name="TextBox 246"/>
          <p:cNvSpPr txBox="1"/>
          <p:nvPr/>
        </p:nvSpPr>
        <p:spPr>
          <a:xfrm>
            <a:off x="1747414" y="6525628"/>
            <a:ext cx="5488382" cy="307777"/>
          </a:xfrm>
          <a:prstGeom prst="rect">
            <a:avLst/>
          </a:prstGeom>
          <a:noFill/>
        </p:spPr>
        <p:txBody>
          <a:bodyPr wrap="square" rtlCol="0">
            <a:spAutoFit/>
          </a:bodyPr>
          <a:lstStyle/>
          <a:p>
            <a:pPr defTabSz="914400" fontAlgn="base">
              <a:spcBef>
                <a:spcPct val="0"/>
              </a:spcBef>
              <a:spcAft>
                <a:spcPct val="0"/>
              </a:spcAft>
            </a:pPr>
            <a:r>
              <a:rPr lang="en-US" sz="1400" dirty="0">
                <a:solidFill>
                  <a:srgbClr val="000000"/>
                </a:solidFill>
              </a:rPr>
              <a:t>Diageo, </a:t>
            </a:r>
          </a:p>
        </p:txBody>
      </p:sp>
      <p:sp>
        <p:nvSpPr>
          <p:cNvPr id="254" name="Rectangle 253"/>
          <p:cNvSpPr/>
          <p:nvPr/>
        </p:nvSpPr>
        <p:spPr>
          <a:xfrm>
            <a:off x="7742636" y="0"/>
            <a:ext cx="1782365" cy="365760"/>
          </a:xfrm>
          <a:prstGeom prst="rect">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r>
              <a:rPr lang="en-US" sz="1600" dirty="0">
                <a:solidFill>
                  <a:srgbClr val="FFFFFF">
                    <a:lumMod val="65000"/>
                  </a:srgbClr>
                </a:solidFill>
              </a:rPr>
              <a:t>Not </a:t>
            </a:r>
            <a:r>
              <a:rPr lang="en-US" sz="1400" dirty="0">
                <a:solidFill>
                  <a:srgbClr val="FFFFFF">
                    <a:lumMod val="65000"/>
                  </a:srgbClr>
                </a:solidFill>
              </a:rPr>
              <a:t>Exhaustive</a:t>
            </a:r>
          </a:p>
        </p:txBody>
      </p:sp>
      <p:grpSp>
        <p:nvGrpSpPr>
          <p:cNvPr id="255" name="Group 254"/>
          <p:cNvGrpSpPr/>
          <p:nvPr>
            <p:custDataLst>
              <p:tags r:id="rId1"/>
            </p:custDataLst>
          </p:nvPr>
        </p:nvGrpSpPr>
        <p:grpSpPr>
          <a:xfrm>
            <a:off x="7563707" y="836638"/>
            <a:ext cx="935828" cy="573511"/>
            <a:chOff x="7078581" y="1350816"/>
            <a:chExt cx="935828" cy="573511"/>
          </a:xfrm>
        </p:grpSpPr>
        <p:sp>
          <p:nvSpPr>
            <p:cNvPr id="257" name="Freeform 256"/>
            <p:cNvSpPr/>
            <p:nvPr>
              <p:custDataLst>
                <p:tags r:id="rId5"/>
              </p:custDataLst>
            </p:nvPr>
          </p:nvSpPr>
          <p:spPr>
            <a:xfrm>
              <a:off x="7078581" y="1350816"/>
              <a:ext cx="935828" cy="57351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81051 w 1828800"/>
                <a:gd name="connsiteY5" fmla="*/ 457201 h 914400"/>
                <a:gd name="connsiteX0" fmla="*/ 0 w 1828800"/>
                <a:gd name="connsiteY0" fmla="*/ 0 h 914400"/>
                <a:gd name="connsiteX1" fmla="*/ 1647749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81051 w 1828800"/>
                <a:gd name="connsiteY5" fmla="*/ 457201 h 914400"/>
                <a:gd name="connsiteX0" fmla="*/ 0 w 1828800"/>
                <a:gd name="connsiteY0" fmla="*/ 0 h 914400"/>
                <a:gd name="connsiteX1" fmla="*/ 1647749 w 1828800"/>
                <a:gd name="connsiteY1" fmla="*/ 0 h 914400"/>
                <a:gd name="connsiteX2" fmla="*/ 1828800 w 1828800"/>
                <a:gd name="connsiteY2" fmla="*/ 457200 h 914400"/>
                <a:gd name="connsiteX3" fmla="*/ 1647749 w 1828800"/>
                <a:gd name="connsiteY3" fmla="*/ 914400 h 914400"/>
                <a:gd name="connsiteX4" fmla="*/ 0 w 1828800"/>
                <a:gd name="connsiteY4" fmla="*/ 914400 h 914400"/>
                <a:gd name="connsiteX5" fmla="*/ 181051 w 1828800"/>
                <a:gd name="connsiteY5" fmla="*/ 457201 h 914400"/>
                <a:gd name="connsiteX0" fmla="*/ 0 w 1828800"/>
                <a:gd name="connsiteY0" fmla="*/ 0 h 914400"/>
                <a:gd name="connsiteX1" fmla="*/ 1647749 w 1828800"/>
                <a:gd name="connsiteY1" fmla="*/ 0 h 914400"/>
                <a:gd name="connsiteX2" fmla="*/ 1828800 w 1828800"/>
                <a:gd name="connsiteY2" fmla="*/ 457200 h 914400"/>
                <a:gd name="connsiteX3" fmla="*/ 1647749 w 1828800"/>
                <a:gd name="connsiteY3" fmla="*/ 914400 h 914400"/>
                <a:gd name="connsiteX4" fmla="*/ 0 w 1828800"/>
                <a:gd name="connsiteY4" fmla="*/ 914400 h 914400"/>
                <a:gd name="connsiteX5" fmla="*/ 144842 w 1828800"/>
                <a:gd name="connsiteY5" fmla="*/ 457201 h 914400"/>
                <a:gd name="connsiteX0" fmla="*/ 0 w 1828800"/>
                <a:gd name="connsiteY0" fmla="*/ 0 h 914400"/>
                <a:gd name="connsiteX1" fmla="*/ 1683958 w 1828800"/>
                <a:gd name="connsiteY1" fmla="*/ 0 h 914400"/>
                <a:gd name="connsiteX2" fmla="*/ 1828800 w 1828800"/>
                <a:gd name="connsiteY2" fmla="*/ 457200 h 914400"/>
                <a:gd name="connsiteX3" fmla="*/ 1647749 w 1828800"/>
                <a:gd name="connsiteY3" fmla="*/ 914400 h 914400"/>
                <a:gd name="connsiteX4" fmla="*/ 0 w 1828800"/>
                <a:gd name="connsiteY4" fmla="*/ 914400 h 914400"/>
                <a:gd name="connsiteX5" fmla="*/ 144842 w 1828800"/>
                <a:gd name="connsiteY5" fmla="*/ 457201 h 914400"/>
                <a:gd name="connsiteX0" fmla="*/ 0 w 1828800"/>
                <a:gd name="connsiteY0" fmla="*/ 0 h 914400"/>
                <a:gd name="connsiteX1" fmla="*/ 1683958 w 1828800"/>
                <a:gd name="connsiteY1" fmla="*/ 0 h 914400"/>
                <a:gd name="connsiteX2" fmla="*/ 1828800 w 1828800"/>
                <a:gd name="connsiteY2" fmla="*/ 457200 h 914400"/>
                <a:gd name="connsiteX3" fmla="*/ 1683958 w 1828800"/>
                <a:gd name="connsiteY3" fmla="*/ 914400 h 914400"/>
                <a:gd name="connsiteX4" fmla="*/ 0 w 1828800"/>
                <a:gd name="connsiteY4" fmla="*/ 914400 h 914400"/>
                <a:gd name="connsiteX5" fmla="*/ 144842 w 1828800"/>
                <a:gd name="connsiteY5" fmla="*/ 457201 h 914400"/>
                <a:gd name="connsiteX0" fmla="*/ 0 w 1828800"/>
                <a:gd name="connsiteY0" fmla="*/ 0 h 914400"/>
                <a:gd name="connsiteX1" fmla="*/ 1683958 w 1828800"/>
                <a:gd name="connsiteY1" fmla="*/ 0 h 914400"/>
                <a:gd name="connsiteX2" fmla="*/ 1828800 w 1828800"/>
                <a:gd name="connsiteY2" fmla="*/ 457200 h 914400"/>
                <a:gd name="connsiteX3" fmla="*/ 1683958 w 1828800"/>
                <a:gd name="connsiteY3" fmla="*/ 914400 h 914400"/>
                <a:gd name="connsiteX4" fmla="*/ 0 w 1828800"/>
                <a:gd name="connsiteY4" fmla="*/ 914400 h 914400"/>
                <a:gd name="connsiteX5" fmla="*/ 181051 w 1828800"/>
                <a:gd name="connsiteY5" fmla="*/ 457201 h 914400"/>
                <a:gd name="connsiteX0" fmla="*/ 0 w 1828800"/>
                <a:gd name="connsiteY0" fmla="*/ 0 h 914400"/>
                <a:gd name="connsiteX1" fmla="*/ 1647749 w 1828800"/>
                <a:gd name="connsiteY1" fmla="*/ 0 h 914400"/>
                <a:gd name="connsiteX2" fmla="*/ 1828800 w 1828800"/>
                <a:gd name="connsiteY2" fmla="*/ 457200 h 914400"/>
                <a:gd name="connsiteX3" fmla="*/ 1683958 w 1828800"/>
                <a:gd name="connsiteY3" fmla="*/ 914400 h 914400"/>
                <a:gd name="connsiteX4" fmla="*/ 0 w 1828800"/>
                <a:gd name="connsiteY4" fmla="*/ 914400 h 914400"/>
                <a:gd name="connsiteX5" fmla="*/ 181051 w 1828800"/>
                <a:gd name="connsiteY5" fmla="*/ 457201 h 914400"/>
                <a:gd name="connsiteX0" fmla="*/ 0 w 1828800"/>
                <a:gd name="connsiteY0" fmla="*/ 0 h 914400"/>
                <a:gd name="connsiteX1" fmla="*/ 1647749 w 1828800"/>
                <a:gd name="connsiteY1" fmla="*/ 0 h 914400"/>
                <a:gd name="connsiteX2" fmla="*/ 1828800 w 1828800"/>
                <a:gd name="connsiteY2" fmla="*/ 457200 h 914400"/>
                <a:gd name="connsiteX3" fmla="*/ 1647749 w 1828800"/>
                <a:gd name="connsiteY3" fmla="*/ 914400 h 914400"/>
                <a:gd name="connsiteX4" fmla="*/ 0 w 1828800"/>
                <a:gd name="connsiteY4" fmla="*/ 914400 h 914400"/>
                <a:gd name="connsiteX5" fmla="*/ 181051 w 1828800"/>
                <a:gd name="connsiteY5" fmla="*/ 457201 h 914400"/>
                <a:gd name="connsiteX0" fmla="*/ 0 w 1828800"/>
                <a:gd name="connsiteY0" fmla="*/ 0 h 914400"/>
                <a:gd name="connsiteX1" fmla="*/ 1647749 w 1828800"/>
                <a:gd name="connsiteY1" fmla="*/ 0 h 914400"/>
                <a:gd name="connsiteX2" fmla="*/ 1828800 w 1828800"/>
                <a:gd name="connsiteY2" fmla="*/ 457200 h 914400"/>
                <a:gd name="connsiteX3" fmla="*/ 1647749 w 1828800"/>
                <a:gd name="connsiteY3" fmla="*/ 914400 h 914400"/>
                <a:gd name="connsiteX4" fmla="*/ 0 w 1828800"/>
                <a:gd name="connsiteY4" fmla="*/ 914400 h 914400"/>
                <a:gd name="connsiteX5" fmla="*/ 144841 w 1828800"/>
                <a:gd name="connsiteY5" fmla="*/ 457202 h 914400"/>
                <a:gd name="connsiteX0" fmla="*/ 0 w 1828800"/>
                <a:gd name="connsiteY0" fmla="*/ 0 h 914400"/>
                <a:gd name="connsiteX1" fmla="*/ 1683959 w 1828800"/>
                <a:gd name="connsiteY1" fmla="*/ 0 h 914400"/>
                <a:gd name="connsiteX2" fmla="*/ 1828800 w 1828800"/>
                <a:gd name="connsiteY2" fmla="*/ 457200 h 914400"/>
                <a:gd name="connsiteX3" fmla="*/ 1647749 w 1828800"/>
                <a:gd name="connsiteY3" fmla="*/ 914400 h 914400"/>
                <a:gd name="connsiteX4" fmla="*/ 0 w 1828800"/>
                <a:gd name="connsiteY4" fmla="*/ 914400 h 914400"/>
                <a:gd name="connsiteX5" fmla="*/ 144841 w 1828800"/>
                <a:gd name="connsiteY5" fmla="*/ 457202 h 914400"/>
                <a:gd name="connsiteX0" fmla="*/ 0 w 1828800"/>
                <a:gd name="connsiteY0" fmla="*/ 0 h 914400"/>
                <a:gd name="connsiteX1" fmla="*/ 1683959 w 1828800"/>
                <a:gd name="connsiteY1" fmla="*/ 0 h 914400"/>
                <a:gd name="connsiteX2" fmla="*/ 1828800 w 1828800"/>
                <a:gd name="connsiteY2" fmla="*/ 457200 h 914400"/>
                <a:gd name="connsiteX3" fmla="*/ 1683959 w 1828800"/>
                <a:gd name="connsiteY3" fmla="*/ 914400 h 914400"/>
                <a:gd name="connsiteX4" fmla="*/ 0 w 1828800"/>
                <a:gd name="connsiteY4" fmla="*/ 914400 h 914400"/>
                <a:gd name="connsiteX5" fmla="*/ 144841 w 1828800"/>
                <a:gd name="connsiteY5" fmla="*/ 457202 h 914400"/>
                <a:gd name="connsiteX0" fmla="*/ 0 w 1828800"/>
                <a:gd name="connsiteY0" fmla="*/ 0 h 914400"/>
                <a:gd name="connsiteX1" fmla="*/ 1683959 w 1828800"/>
                <a:gd name="connsiteY1" fmla="*/ 0 h 914400"/>
                <a:gd name="connsiteX2" fmla="*/ 1828800 w 1828800"/>
                <a:gd name="connsiteY2" fmla="*/ 457200 h 914400"/>
                <a:gd name="connsiteX3" fmla="*/ 1683959 w 1828800"/>
                <a:gd name="connsiteY3" fmla="*/ 914400 h 914400"/>
                <a:gd name="connsiteX4" fmla="*/ 0 w 1828800"/>
                <a:gd name="connsiteY4" fmla="*/ 914400 h 914400"/>
                <a:gd name="connsiteX5" fmla="*/ 181052 w 1828800"/>
                <a:gd name="connsiteY5" fmla="*/ 457202 h 914400"/>
                <a:gd name="connsiteX0" fmla="*/ 0 w 1828800"/>
                <a:gd name="connsiteY0" fmla="*/ 0 h 914400"/>
                <a:gd name="connsiteX1" fmla="*/ 1647748 w 1828800"/>
                <a:gd name="connsiteY1" fmla="*/ 0 h 914400"/>
                <a:gd name="connsiteX2" fmla="*/ 1828800 w 1828800"/>
                <a:gd name="connsiteY2" fmla="*/ 457200 h 914400"/>
                <a:gd name="connsiteX3" fmla="*/ 1683959 w 1828800"/>
                <a:gd name="connsiteY3" fmla="*/ 914400 h 914400"/>
                <a:gd name="connsiteX4" fmla="*/ 0 w 1828800"/>
                <a:gd name="connsiteY4" fmla="*/ 914400 h 914400"/>
                <a:gd name="connsiteX5" fmla="*/ 181052 w 1828800"/>
                <a:gd name="connsiteY5" fmla="*/ 457202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81052 w 1828800"/>
                <a:gd name="connsiteY5" fmla="*/ 457202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21595 w 1828800"/>
                <a:gd name="connsiteY5" fmla="*/ 457203 h 914400"/>
                <a:gd name="connsiteX0" fmla="*/ 0 w 1828800"/>
                <a:gd name="connsiteY0" fmla="*/ 0 h 914400"/>
                <a:gd name="connsiteX1" fmla="*/ 1707205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21595 w 1828800"/>
                <a:gd name="connsiteY5" fmla="*/ 457203 h 914400"/>
                <a:gd name="connsiteX0" fmla="*/ 0 w 1828800"/>
                <a:gd name="connsiteY0" fmla="*/ 0 h 914400"/>
                <a:gd name="connsiteX1" fmla="*/ 1707205 w 1828800"/>
                <a:gd name="connsiteY1" fmla="*/ 0 h 914400"/>
                <a:gd name="connsiteX2" fmla="*/ 1828800 w 1828800"/>
                <a:gd name="connsiteY2" fmla="*/ 457200 h 914400"/>
                <a:gd name="connsiteX3" fmla="*/ 1707205 w 1828800"/>
                <a:gd name="connsiteY3" fmla="*/ 914400 h 914400"/>
                <a:gd name="connsiteX4" fmla="*/ 0 w 1828800"/>
                <a:gd name="connsiteY4" fmla="*/ 914400 h 914400"/>
                <a:gd name="connsiteX5" fmla="*/ 121595 w 1828800"/>
                <a:gd name="connsiteY5" fmla="*/ 457203 h 914400"/>
                <a:gd name="connsiteX0" fmla="*/ 0 w 1828800"/>
                <a:gd name="connsiteY0" fmla="*/ 0 h 914400"/>
                <a:gd name="connsiteX1" fmla="*/ 1707205 w 1828800"/>
                <a:gd name="connsiteY1" fmla="*/ 0 h 914400"/>
                <a:gd name="connsiteX2" fmla="*/ 1828800 w 1828800"/>
                <a:gd name="connsiteY2" fmla="*/ 457200 h 914400"/>
                <a:gd name="connsiteX3" fmla="*/ 1707205 w 1828800"/>
                <a:gd name="connsiteY3" fmla="*/ 914400 h 914400"/>
                <a:gd name="connsiteX4" fmla="*/ 0 w 1828800"/>
                <a:gd name="connsiteY4" fmla="*/ 914400 h 914400"/>
                <a:gd name="connsiteX5" fmla="*/ 151993 w 1828800"/>
                <a:gd name="connsiteY5" fmla="*/ 457203 h 914400"/>
                <a:gd name="connsiteX0" fmla="*/ 0 w 1828800"/>
                <a:gd name="connsiteY0" fmla="*/ 0 h 914400"/>
                <a:gd name="connsiteX1" fmla="*/ 1676807 w 1828800"/>
                <a:gd name="connsiteY1" fmla="*/ 0 h 914400"/>
                <a:gd name="connsiteX2" fmla="*/ 1828800 w 1828800"/>
                <a:gd name="connsiteY2" fmla="*/ 457200 h 914400"/>
                <a:gd name="connsiteX3" fmla="*/ 1707205 w 1828800"/>
                <a:gd name="connsiteY3" fmla="*/ 914400 h 914400"/>
                <a:gd name="connsiteX4" fmla="*/ 0 w 1828800"/>
                <a:gd name="connsiteY4" fmla="*/ 914400 h 914400"/>
                <a:gd name="connsiteX5" fmla="*/ 151993 w 1828800"/>
                <a:gd name="connsiteY5" fmla="*/ 457203 h 914400"/>
                <a:gd name="connsiteX0" fmla="*/ 0 w 1828800"/>
                <a:gd name="connsiteY0" fmla="*/ 0 h 914400"/>
                <a:gd name="connsiteX1" fmla="*/ 1676807 w 1828800"/>
                <a:gd name="connsiteY1" fmla="*/ 0 h 914400"/>
                <a:gd name="connsiteX2" fmla="*/ 1828800 w 1828800"/>
                <a:gd name="connsiteY2" fmla="*/ 457200 h 914400"/>
                <a:gd name="connsiteX3" fmla="*/ 1676807 w 1828800"/>
                <a:gd name="connsiteY3" fmla="*/ 914400 h 914400"/>
                <a:gd name="connsiteX4" fmla="*/ 0 w 1828800"/>
                <a:gd name="connsiteY4" fmla="*/ 914400 h 914400"/>
                <a:gd name="connsiteX5" fmla="*/ 151993 w 1828800"/>
                <a:gd name="connsiteY5" fmla="*/ 457203 h 914400"/>
                <a:gd name="connsiteX0" fmla="*/ 0 w 1828800"/>
                <a:gd name="connsiteY0" fmla="*/ 0 h 914400"/>
                <a:gd name="connsiteX1" fmla="*/ 1676807 w 1828800"/>
                <a:gd name="connsiteY1" fmla="*/ 0 h 914400"/>
                <a:gd name="connsiteX2" fmla="*/ 1828800 w 1828800"/>
                <a:gd name="connsiteY2" fmla="*/ 457200 h 914400"/>
                <a:gd name="connsiteX3" fmla="*/ 167680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7680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162738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162738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162738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203422 w 1828800"/>
                <a:gd name="connsiteY5" fmla="*/ 457204 h 914400"/>
                <a:gd name="connsiteX0" fmla="*/ 0 w 1828800"/>
                <a:gd name="connsiteY0" fmla="*/ 0 h 914400"/>
                <a:gd name="connsiteX1" fmla="*/ 1625376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203422 w 1828800"/>
                <a:gd name="connsiteY5" fmla="*/ 457204 h 914400"/>
                <a:gd name="connsiteX0" fmla="*/ 0 w 1828800"/>
                <a:gd name="connsiteY0" fmla="*/ 0 h 914400"/>
                <a:gd name="connsiteX1" fmla="*/ 1625376 w 1828800"/>
                <a:gd name="connsiteY1" fmla="*/ 0 h 914400"/>
                <a:gd name="connsiteX2" fmla="*/ 1828800 w 1828800"/>
                <a:gd name="connsiteY2" fmla="*/ 457200 h 914400"/>
                <a:gd name="connsiteX3" fmla="*/ 1625376 w 1828800"/>
                <a:gd name="connsiteY3" fmla="*/ 914400 h 914400"/>
                <a:gd name="connsiteX4" fmla="*/ 0 w 1828800"/>
                <a:gd name="connsiteY4" fmla="*/ 914400 h 914400"/>
                <a:gd name="connsiteX5" fmla="*/ 203422 w 1828800"/>
                <a:gd name="connsiteY5" fmla="*/ 457204 h 914400"/>
                <a:gd name="connsiteX0" fmla="*/ 0 w 1828800"/>
                <a:gd name="connsiteY0" fmla="*/ 0 h 914400"/>
                <a:gd name="connsiteX1" fmla="*/ 1625376 w 1828800"/>
                <a:gd name="connsiteY1" fmla="*/ 0 h 914400"/>
                <a:gd name="connsiteX2" fmla="*/ 1828800 w 1828800"/>
                <a:gd name="connsiteY2" fmla="*/ 457200 h 914400"/>
                <a:gd name="connsiteX3" fmla="*/ 1625376 w 1828800"/>
                <a:gd name="connsiteY3" fmla="*/ 914400 h 914400"/>
                <a:gd name="connsiteX4" fmla="*/ 0 w 1828800"/>
                <a:gd name="connsiteY4" fmla="*/ 914400 h 914400"/>
                <a:gd name="connsiteX5" fmla="*/ 179013 w 1828800"/>
                <a:gd name="connsiteY5" fmla="*/ 457204 h 914400"/>
                <a:gd name="connsiteX0" fmla="*/ 0 w 1828800"/>
                <a:gd name="connsiteY0" fmla="*/ 0 h 914400"/>
                <a:gd name="connsiteX1" fmla="*/ 1649788 w 1828800"/>
                <a:gd name="connsiteY1" fmla="*/ 0 h 914400"/>
                <a:gd name="connsiteX2" fmla="*/ 1828800 w 1828800"/>
                <a:gd name="connsiteY2" fmla="*/ 457200 h 914400"/>
                <a:gd name="connsiteX3" fmla="*/ 1625376 w 1828800"/>
                <a:gd name="connsiteY3" fmla="*/ 914400 h 914400"/>
                <a:gd name="connsiteX4" fmla="*/ 0 w 1828800"/>
                <a:gd name="connsiteY4" fmla="*/ 914400 h 914400"/>
                <a:gd name="connsiteX5" fmla="*/ 179013 w 1828800"/>
                <a:gd name="connsiteY5" fmla="*/ 457204 h 914400"/>
                <a:gd name="connsiteX0" fmla="*/ 0 w 1828800"/>
                <a:gd name="connsiteY0" fmla="*/ 0 h 914400"/>
                <a:gd name="connsiteX1" fmla="*/ 1649788 w 1828800"/>
                <a:gd name="connsiteY1" fmla="*/ 0 h 914400"/>
                <a:gd name="connsiteX2" fmla="*/ 1828800 w 1828800"/>
                <a:gd name="connsiteY2" fmla="*/ 457200 h 914400"/>
                <a:gd name="connsiteX3" fmla="*/ 1649788 w 1828800"/>
                <a:gd name="connsiteY3" fmla="*/ 914400 h 914400"/>
                <a:gd name="connsiteX4" fmla="*/ 0 w 1828800"/>
                <a:gd name="connsiteY4" fmla="*/ 914400 h 914400"/>
                <a:gd name="connsiteX5" fmla="*/ 179013 w 1828800"/>
                <a:gd name="connsiteY5" fmla="*/ 457204 h 914400"/>
                <a:gd name="connsiteX0" fmla="*/ 0 w 1828800"/>
                <a:gd name="connsiteY0" fmla="*/ 0 h 914400"/>
                <a:gd name="connsiteX1" fmla="*/ 1649788 w 1828800"/>
                <a:gd name="connsiteY1" fmla="*/ 0 h 914400"/>
                <a:gd name="connsiteX2" fmla="*/ 1828800 w 1828800"/>
                <a:gd name="connsiteY2" fmla="*/ 457200 h 914400"/>
                <a:gd name="connsiteX3" fmla="*/ 1649788 w 1828800"/>
                <a:gd name="connsiteY3" fmla="*/ 914400 h 914400"/>
                <a:gd name="connsiteX4" fmla="*/ 0 w 1828800"/>
                <a:gd name="connsiteY4" fmla="*/ 914400 h 914400"/>
                <a:gd name="connsiteX5" fmla="*/ 223766 w 1828800"/>
                <a:gd name="connsiteY5" fmla="*/ 457204 h 914400"/>
                <a:gd name="connsiteX0" fmla="*/ 0 w 1828800"/>
                <a:gd name="connsiteY0" fmla="*/ 0 h 914400"/>
                <a:gd name="connsiteX1" fmla="*/ 1605035 w 1828800"/>
                <a:gd name="connsiteY1" fmla="*/ 0 h 914400"/>
                <a:gd name="connsiteX2" fmla="*/ 1828800 w 1828800"/>
                <a:gd name="connsiteY2" fmla="*/ 457200 h 914400"/>
                <a:gd name="connsiteX3" fmla="*/ 1649788 w 1828800"/>
                <a:gd name="connsiteY3" fmla="*/ 914400 h 914400"/>
                <a:gd name="connsiteX4" fmla="*/ 0 w 1828800"/>
                <a:gd name="connsiteY4" fmla="*/ 914400 h 914400"/>
                <a:gd name="connsiteX5" fmla="*/ 223766 w 1828800"/>
                <a:gd name="connsiteY5" fmla="*/ 457204 h 914400"/>
                <a:gd name="connsiteX0" fmla="*/ 0 w 1828800"/>
                <a:gd name="connsiteY0" fmla="*/ 0 h 914400"/>
                <a:gd name="connsiteX1" fmla="*/ 1605035 w 1828800"/>
                <a:gd name="connsiteY1" fmla="*/ 0 h 914400"/>
                <a:gd name="connsiteX2" fmla="*/ 1828800 w 1828800"/>
                <a:gd name="connsiteY2" fmla="*/ 457200 h 914400"/>
                <a:gd name="connsiteX3" fmla="*/ 1605035 w 1828800"/>
                <a:gd name="connsiteY3" fmla="*/ 914400 h 914400"/>
                <a:gd name="connsiteX4" fmla="*/ 0 w 1828800"/>
                <a:gd name="connsiteY4" fmla="*/ 914400 h 914400"/>
                <a:gd name="connsiteX5" fmla="*/ 223766 w 1828800"/>
                <a:gd name="connsiteY5" fmla="*/ 457204 h 914400"/>
                <a:gd name="connsiteX0" fmla="*/ 0 w 1828800"/>
                <a:gd name="connsiteY0" fmla="*/ 0 h 914400"/>
                <a:gd name="connsiteX1" fmla="*/ 1605035 w 1828800"/>
                <a:gd name="connsiteY1" fmla="*/ 0 h 914400"/>
                <a:gd name="connsiteX2" fmla="*/ 1828800 w 1828800"/>
                <a:gd name="connsiteY2" fmla="*/ 457200 h 914400"/>
                <a:gd name="connsiteX3" fmla="*/ 1605035 w 1828800"/>
                <a:gd name="connsiteY3" fmla="*/ 914400 h 914400"/>
                <a:gd name="connsiteX4" fmla="*/ 0 w 1828800"/>
                <a:gd name="connsiteY4" fmla="*/ 914400 h 914400"/>
                <a:gd name="connsiteX5" fmla="*/ 145146 w 1828800"/>
                <a:gd name="connsiteY5" fmla="*/ 457204 h 914400"/>
                <a:gd name="connsiteX0" fmla="*/ 0 w 1828800"/>
                <a:gd name="connsiteY0" fmla="*/ 0 h 914400"/>
                <a:gd name="connsiteX1" fmla="*/ 1683654 w 1828800"/>
                <a:gd name="connsiteY1" fmla="*/ 0 h 914400"/>
                <a:gd name="connsiteX2" fmla="*/ 1828800 w 1828800"/>
                <a:gd name="connsiteY2" fmla="*/ 457200 h 914400"/>
                <a:gd name="connsiteX3" fmla="*/ 1605035 w 1828800"/>
                <a:gd name="connsiteY3" fmla="*/ 914400 h 914400"/>
                <a:gd name="connsiteX4" fmla="*/ 0 w 1828800"/>
                <a:gd name="connsiteY4" fmla="*/ 914400 h 914400"/>
                <a:gd name="connsiteX5" fmla="*/ 145146 w 1828800"/>
                <a:gd name="connsiteY5" fmla="*/ 457204 h 914400"/>
                <a:gd name="connsiteX0" fmla="*/ 0 w 1828800"/>
                <a:gd name="connsiteY0" fmla="*/ 0 h 914400"/>
                <a:gd name="connsiteX1" fmla="*/ 1683654 w 1828800"/>
                <a:gd name="connsiteY1" fmla="*/ 0 h 914400"/>
                <a:gd name="connsiteX2" fmla="*/ 1828800 w 1828800"/>
                <a:gd name="connsiteY2" fmla="*/ 457200 h 914400"/>
                <a:gd name="connsiteX3" fmla="*/ 1683654 w 1828800"/>
                <a:gd name="connsiteY3" fmla="*/ 914400 h 914400"/>
                <a:gd name="connsiteX4" fmla="*/ 0 w 1828800"/>
                <a:gd name="connsiteY4" fmla="*/ 914400 h 914400"/>
                <a:gd name="connsiteX5" fmla="*/ 145146 w 1828800"/>
                <a:gd name="connsiteY5" fmla="*/ 457204 h 914400"/>
                <a:gd name="connsiteX0" fmla="*/ 0 w 1828800"/>
                <a:gd name="connsiteY0" fmla="*/ 0 h 914400"/>
                <a:gd name="connsiteX1" fmla="*/ 1683654 w 1828800"/>
                <a:gd name="connsiteY1" fmla="*/ 0 h 914400"/>
                <a:gd name="connsiteX2" fmla="*/ 1828800 w 1828800"/>
                <a:gd name="connsiteY2" fmla="*/ 457200 h 914400"/>
                <a:gd name="connsiteX3" fmla="*/ 1683654 w 1828800"/>
                <a:gd name="connsiteY3" fmla="*/ 914400 h 914400"/>
                <a:gd name="connsiteX4" fmla="*/ 0 w 1828800"/>
                <a:gd name="connsiteY4" fmla="*/ 914400 h 914400"/>
                <a:gd name="connsiteX5" fmla="*/ 181432 w 1828800"/>
                <a:gd name="connsiteY5" fmla="*/ 457204 h 914400"/>
                <a:gd name="connsiteX0" fmla="*/ 0 w 1828800"/>
                <a:gd name="connsiteY0" fmla="*/ 0 h 914400"/>
                <a:gd name="connsiteX1" fmla="*/ 1647368 w 1828800"/>
                <a:gd name="connsiteY1" fmla="*/ 0 h 914400"/>
                <a:gd name="connsiteX2" fmla="*/ 1828800 w 1828800"/>
                <a:gd name="connsiteY2" fmla="*/ 457200 h 914400"/>
                <a:gd name="connsiteX3" fmla="*/ 1683654 w 1828800"/>
                <a:gd name="connsiteY3" fmla="*/ 914400 h 914400"/>
                <a:gd name="connsiteX4" fmla="*/ 0 w 1828800"/>
                <a:gd name="connsiteY4" fmla="*/ 914400 h 914400"/>
                <a:gd name="connsiteX5" fmla="*/ 181432 w 1828800"/>
                <a:gd name="connsiteY5" fmla="*/ 457204 h 914400"/>
                <a:gd name="connsiteX0" fmla="*/ 0 w 1828800"/>
                <a:gd name="connsiteY0" fmla="*/ 0 h 914400"/>
                <a:gd name="connsiteX1" fmla="*/ 1647368 w 1828800"/>
                <a:gd name="connsiteY1" fmla="*/ 0 h 914400"/>
                <a:gd name="connsiteX2" fmla="*/ 1828800 w 1828800"/>
                <a:gd name="connsiteY2" fmla="*/ 457200 h 914400"/>
                <a:gd name="connsiteX3" fmla="*/ 1647368 w 1828800"/>
                <a:gd name="connsiteY3" fmla="*/ 914400 h 914400"/>
                <a:gd name="connsiteX4" fmla="*/ 0 w 1828800"/>
                <a:gd name="connsiteY4" fmla="*/ 914400 h 914400"/>
                <a:gd name="connsiteX5" fmla="*/ 181432 w 1828800"/>
                <a:gd name="connsiteY5" fmla="*/ 457204 h 914400"/>
                <a:gd name="connsiteX0" fmla="*/ 0 w 1828800"/>
                <a:gd name="connsiteY0" fmla="*/ 0 h 914400"/>
                <a:gd name="connsiteX1" fmla="*/ 1647368 w 1828800"/>
                <a:gd name="connsiteY1" fmla="*/ 0 h 914400"/>
                <a:gd name="connsiteX2" fmla="*/ 1828800 w 1828800"/>
                <a:gd name="connsiteY2" fmla="*/ 457200 h 914400"/>
                <a:gd name="connsiteX3" fmla="*/ 1647368 w 1828800"/>
                <a:gd name="connsiteY3" fmla="*/ 914400 h 914400"/>
                <a:gd name="connsiteX4" fmla="*/ 0 w 1828800"/>
                <a:gd name="connsiteY4" fmla="*/ 914400 h 914400"/>
                <a:gd name="connsiteX5" fmla="*/ 97133 w 1828800"/>
                <a:gd name="connsiteY5" fmla="*/ 457203 h 914400"/>
                <a:gd name="connsiteX0" fmla="*/ 0 w 1828800"/>
                <a:gd name="connsiteY0" fmla="*/ 0 h 914400"/>
                <a:gd name="connsiteX1" fmla="*/ 1731667 w 1828800"/>
                <a:gd name="connsiteY1" fmla="*/ 0 h 914400"/>
                <a:gd name="connsiteX2" fmla="*/ 1828800 w 1828800"/>
                <a:gd name="connsiteY2" fmla="*/ 457200 h 914400"/>
                <a:gd name="connsiteX3" fmla="*/ 1647368 w 1828800"/>
                <a:gd name="connsiteY3" fmla="*/ 914400 h 914400"/>
                <a:gd name="connsiteX4" fmla="*/ 0 w 1828800"/>
                <a:gd name="connsiteY4" fmla="*/ 914400 h 914400"/>
                <a:gd name="connsiteX5" fmla="*/ 97133 w 1828800"/>
                <a:gd name="connsiteY5" fmla="*/ 457203 h 914400"/>
                <a:gd name="connsiteX0" fmla="*/ 0 w 1828800"/>
                <a:gd name="connsiteY0" fmla="*/ 0 h 914400"/>
                <a:gd name="connsiteX1" fmla="*/ 1731667 w 1828800"/>
                <a:gd name="connsiteY1" fmla="*/ 0 h 914400"/>
                <a:gd name="connsiteX2" fmla="*/ 1828800 w 1828800"/>
                <a:gd name="connsiteY2" fmla="*/ 457200 h 914400"/>
                <a:gd name="connsiteX3" fmla="*/ 1731667 w 1828800"/>
                <a:gd name="connsiteY3" fmla="*/ 914400 h 914400"/>
                <a:gd name="connsiteX4" fmla="*/ 0 w 1828800"/>
                <a:gd name="connsiteY4" fmla="*/ 914400 h 914400"/>
                <a:gd name="connsiteX5" fmla="*/ 97133 w 1828800"/>
                <a:gd name="connsiteY5" fmla="*/ 457203 h 914400"/>
                <a:gd name="connsiteX0" fmla="*/ 0 w 1828800"/>
                <a:gd name="connsiteY0" fmla="*/ 0 h 914400"/>
                <a:gd name="connsiteX1" fmla="*/ 1731667 w 1828800"/>
                <a:gd name="connsiteY1" fmla="*/ 0 h 914400"/>
                <a:gd name="connsiteX2" fmla="*/ 1828800 w 1828800"/>
                <a:gd name="connsiteY2" fmla="*/ 457200 h 914400"/>
                <a:gd name="connsiteX3" fmla="*/ 1731667 w 1828800"/>
                <a:gd name="connsiteY3" fmla="*/ 914400 h 914400"/>
                <a:gd name="connsiteX4" fmla="*/ 0 w 1828800"/>
                <a:gd name="connsiteY4" fmla="*/ 914400 h 914400"/>
                <a:gd name="connsiteX5" fmla="*/ 121416 w 1828800"/>
                <a:gd name="connsiteY5" fmla="*/ 457203 h 914400"/>
                <a:gd name="connsiteX0" fmla="*/ 0 w 1828800"/>
                <a:gd name="connsiteY0" fmla="*/ 0 h 914400"/>
                <a:gd name="connsiteX1" fmla="*/ 1707384 w 1828800"/>
                <a:gd name="connsiteY1" fmla="*/ 0 h 914400"/>
                <a:gd name="connsiteX2" fmla="*/ 1828800 w 1828800"/>
                <a:gd name="connsiteY2" fmla="*/ 457200 h 914400"/>
                <a:gd name="connsiteX3" fmla="*/ 1731667 w 1828800"/>
                <a:gd name="connsiteY3" fmla="*/ 914400 h 914400"/>
                <a:gd name="connsiteX4" fmla="*/ 0 w 1828800"/>
                <a:gd name="connsiteY4" fmla="*/ 914400 h 914400"/>
                <a:gd name="connsiteX5" fmla="*/ 121416 w 1828800"/>
                <a:gd name="connsiteY5" fmla="*/ 457203 h 914400"/>
                <a:gd name="connsiteX0" fmla="*/ 0 w 1828800"/>
                <a:gd name="connsiteY0" fmla="*/ 0 h 914400"/>
                <a:gd name="connsiteX1" fmla="*/ 1707384 w 1828800"/>
                <a:gd name="connsiteY1" fmla="*/ 0 h 914400"/>
                <a:gd name="connsiteX2" fmla="*/ 1828800 w 1828800"/>
                <a:gd name="connsiteY2" fmla="*/ 457200 h 914400"/>
                <a:gd name="connsiteX3" fmla="*/ 1707384 w 1828800"/>
                <a:gd name="connsiteY3" fmla="*/ 914400 h 914400"/>
                <a:gd name="connsiteX4" fmla="*/ 0 w 1828800"/>
                <a:gd name="connsiteY4" fmla="*/ 914400 h 914400"/>
                <a:gd name="connsiteX5" fmla="*/ 121416 w 1828800"/>
                <a:gd name="connsiteY5" fmla="*/ 457203 h 914400"/>
                <a:gd name="connsiteX0" fmla="*/ 0 w 1828800"/>
                <a:gd name="connsiteY0" fmla="*/ 0 h 914400"/>
                <a:gd name="connsiteX1" fmla="*/ 1707384 w 1828800"/>
                <a:gd name="connsiteY1" fmla="*/ 0 h 914400"/>
                <a:gd name="connsiteX2" fmla="*/ 1828800 w 1828800"/>
                <a:gd name="connsiteY2" fmla="*/ 457200 h 914400"/>
                <a:gd name="connsiteX3" fmla="*/ 170738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738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81622 w 1828800"/>
                <a:gd name="connsiteY5" fmla="*/ 457203 h 914400"/>
                <a:gd name="connsiteX0" fmla="*/ 0 w 1828800"/>
                <a:gd name="connsiteY0" fmla="*/ 0 h 914400"/>
                <a:gd name="connsiteX1" fmla="*/ 1747179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81622 w 1828800"/>
                <a:gd name="connsiteY5" fmla="*/ 457203 h 914400"/>
                <a:gd name="connsiteX0" fmla="*/ 0 w 1828800"/>
                <a:gd name="connsiteY0" fmla="*/ 0 h 914400"/>
                <a:gd name="connsiteX1" fmla="*/ 1747179 w 1828800"/>
                <a:gd name="connsiteY1" fmla="*/ 0 h 914400"/>
                <a:gd name="connsiteX2" fmla="*/ 1828800 w 1828800"/>
                <a:gd name="connsiteY2" fmla="*/ 457200 h 914400"/>
                <a:gd name="connsiteX3" fmla="*/ 1747179 w 1828800"/>
                <a:gd name="connsiteY3" fmla="*/ 914400 h 914400"/>
                <a:gd name="connsiteX4" fmla="*/ 0 w 1828800"/>
                <a:gd name="connsiteY4" fmla="*/ 914400 h 914400"/>
                <a:gd name="connsiteX5" fmla="*/ 81622 w 1828800"/>
                <a:gd name="connsiteY5" fmla="*/ 457203 h 914400"/>
                <a:gd name="connsiteX0" fmla="*/ 0 w 1828800"/>
                <a:gd name="connsiteY0" fmla="*/ 0 h 914400"/>
                <a:gd name="connsiteX1" fmla="*/ 1747179 w 1828800"/>
                <a:gd name="connsiteY1" fmla="*/ 0 h 914400"/>
                <a:gd name="connsiteX2" fmla="*/ 1828800 w 1828800"/>
                <a:gd name="connsiteY2" fmla="*/ 457200 h 914400"/>
                <a:gd name="connsiteX3" fmla="*/ 1747179 w 1828800"/>
                <a:gd name="connsiteY3" fmla="*/ 914400 h 914400"/>
                <a:gd name="connsiteX4" fmla="*/ 0 w 1828800"/>
                <a:gd name="connsiteY4" fmla="*/ 914400 h 914400"/>
                <a:gd name="connsiteX5" fmla="*/ 102027 w 1828800"/>
                <a:gd name="connsiteY5" fmla="*/ 457203 h 914400"/>
                <a:gd name="connsiteX0" fmla="*/ 0 w 1828800"/>
                <a:gd name="connsiteY0" fmla="*/ 0 h 914400"/>
                <a:gd name="connsiteX1" fmla="*/ 1726773 w 1828800"/>
                <a:gd name="connsiteY1" fmla="*/ 0 h 914400"/>
                <a:gd name="connsiteX2" fmla="*/ 1828800 w 1828800"/>
                <a:gd name="connsiteY2" fmla="*/ 457200 h 914400"/>
                <a:gd name="connsiteX3" fmla="*/ 1747179 w 1828800"/>
                <a:gd name="connsiteY3" fmla="*/ 914400 h 914400"/>
                <a:gd name="connsiteX4" fmla="*/ 0 w 1828800"/>
                <a:gd name="connsiteY4" fmla="*/ 914400 h 914400"/>
                <a:gd name="connsiteX5" fmla="*/ 102027 w 1828800"/>
                <a:gd name="connsiteY5" fmla="*/ 457203 h 914400"/>
                <a:gd name="connsiteX0" fmla="*/ 0 w 1828800"/>
                <a:gd name="connsiteY0" fmla="*/ 0 h 914400"/>
                <a:gd name="connsiteX1" fmla="*/ 1726773 w 1828800"/>
                <a:gd name="connsiteY1" fmla="*/ 0 h 914400"/>
                <a:gd name="connsiteX2" fmla="*/ 1828800 w 1828800"/>
                <a:gd name="connsiteY2" fmla="*/ 457200 h 914400"/>
                <a:gd name="connsiteX3" fmla="*/ 1726773 w 1828800"/>
                <a:gd name="connsiteY3" fmla="*/ 914400 h 914400"/>
                <a:gd name="connsiteX4" fmla="*/ 0 w 1828800"/>
                <a:gd name="connsiteY4" fmla="*/ 914400 h 914400"/>
                <a:gd name="connsiteX5" fmla="*/ 102027 w 1828800"/>
                <a:gd name="connsiteY5" fmla="*/ 457203 h 914400"/>
                <a:gd name="connsiteX0" fmla="*/ 0 w 1828800"/>
                <a:gd name="connsiteY0" fmla="*/ 0 h 914400"/>
                <a:gd name="connsiteX1" fmla="*/ 1726773 w 1828800"/>
                <a:gd name="connsiteY1" fmla="*/ 0 h 914400"/>
                <a:gd name="connsiteX2" fmla="*/ 1828800 w 1828800"/>
                <a:gd name="connsiteY2" fmla="*/ 457200 h 914400"/>
                <a:gd name="connsiteX3" fmla="*/ 1726773 w 1828800"/>
                <a:gd name="connsiteY3" fmla="*/ 914400 h 914400"/>
                <a:gd name="connsiteX4" fmla="*/ 0 w 1828800"/>
                <a:gd name="connsiteY4" fmla="*/ 914400 h 914400"/>
                <a:gd name="connsiteX5" fmla="*/ 85882 w 1828800"/>
                <a:gd name="connsiteY5" fmla="*/ 457203 h 914400"/>
                <a:gd name="connsiteX0" fmla="*/ 0 w 1828800"/>
                <a:gd name="connsiteY0" fmla="*/ 0 h 914400"/>
                <a:gd name="connsiteX1" fmla="*/ 1742918 w 1828800"/>
                <a:gd name="connsiteY1" fmla="*/ 0 h 914400"/>
                <a:gd name="connsiteX2" fmla="*/ 1828800 w 1828800"/>
                <a:gd name="connsiteY2" fmla="*/ 457200 h 914400"/>
                <a:gd name="connsiteX3" fmla="*/ 1726773 w 1828800"/>
                <a:gd name="connsiteY3" fmla="*/ 914400 h 914400"/>
                <a:gd name="connsiteX4" fmla="*/ 0 w 1828800"/>
                <a:gd name="connsiteY4" fmla="*/ 914400 h 914400"/>
                <a:gd name="connsiteX5" fmla="*/ 85882 w 1828800"/>
                <a:gd name="connsiteY5" fmla="*/ 457203 h 914400"/>
                <a:gd name="connsiteX0" fmla="*/ 0 w 1828800"/>
                <a:gd name="connsiteY0" fmla="*/ 0 h 914400"/>
                <a:gd name="connsiteX1" fmla="*/ 1742918 w 1828800"/>
                <a:gd name="connsiteY1" fmla="*/ 0 h 914400"/>
                <a:gd name="connsiteX2" fmla="*/ 1828800 w 1828800"/>
                <a:gd name="connsiteY2" fmla="*/ 457200 h 914400"/>
                <a:gd name="connsiteX3" fmla="*/ 1742918 w 1828800"/>
                <a:gd name="connsiteY3" fmla="*/ 914400 h 914400"/>
                <a:gd name="connsiteX4" fmla="*/ 0 w 1828800"/>
                <a:gd name="connsiteY4" fmla="*/ 914400 h 914400"/>
                <a:gd name="connsiteX5" fmla="*/ 85882 w 1828800"/>
                <a:gd name="connsiteY5" fmla="*/ 457203 h 914400"/>
                <a:gd name="connsiteX0" fmla="*/ 0 w 1828800"/>
                <a:gd name="connsiteY0" fmla="*/ 0 h 914400"/>
                <a:gd name="connsiteX1" fmla="*/ 1742918 w 1828800"/>
                <a:gd name="connsiteY1" fmla="*/ 0 h 914400"/>
                <a:gd name="connsiteX2" fmla="*/ 1828800 w 1828800"/>
                <a:gd name="connsiteY2" fmla="*/ 457200 h 914400"/>
                <a:gd name="connsiteX3" fmla="*/ 1742918 w 1828800"/>
                <a:gd name="connsiteY3" fmla="*/ 914400 h 914400"/>
                <a:gd name="connsiteX4" fmla="*/ 0 w 1828800"/>
                <a:gd name="connsiteY4" fmla="*/ 914400 h 914400"/>
                <a:gd name="connsiteX5" fmla="*/ 107352 w 1828800"/>
                <a:gd name="connsiteY5" fmla="*/ 457203 h 914400"/>
                <a:gd name="connsiteX0" fmla="*/ 0 w 1828800"/>
                <a:gd name="connsiteY0" fmla="*/ 0 h 914400"/>
                <a:gd name="connsiteX1" fmla="*/ 1721448 w 1828800"/>
                <a:gd name="connsiteY1" fmla="*/ 0 h 914400"/>
                <a:gd name="connsiteX2" fmla="*/ 1828800 w 1828800"/>
                <a:gd name="connsiteY2" fmla="*/ 457200 h 914400"/>
                <a:gd name="connsiteX3" fmla="*/ 1742918 w 1828800"/>
                <a:gd name="connsiteY3" fmla="*/ 914400 h 914400"/>
                <a:gd name="connsiteX4" fmla="*/ 0 w 1828800"/>
                <a:gd name="connsiteY4" fmla="*/ 914400 h 914400"/>
                <a:gd name="connsiteX5" fmla="*/ 107352 w 1828800"/>
                <a:gd name="connsiteY5" fmla="*/ 457203 h 914400"/>
                <a:gd name="connsiteX0" fmla="*/ 0 w 1828800"/>
                <a:gd name="connsiteY0" fmla="*/ 0 h 914400"/>
                <a:gd name="connsiteX1" fmla="*/ 1721448 w 1828800"/>
                <a:gd name="connsiteY1" fmla="*/ 0 h 914400"/>
                <a:gd name="connsiteX2" fmla="*/ 1828800 w 1828800"/>
                <a:gd name="connsiteY2" fmla="*/ 457200 h 914400"/>
                <a:gd name="connsiteX3" fmla="*/ 1721448 w 1828800"/>
                <a:gd name="connsiteY3" fmla="*/ 914400 h 914400"/>
                <a:gd name="connsiteX4" fmla="*/ 0 w 1828800"/>
                <a:gd name="connsiteY4" fmla="*/ 914400 h 914400"/>
                <a:gd name="connsiteX5" fmla="*/ 107352 w 1828800"/>
                <a:gd name="connsiteY5" fmla="*/ 457203 h 914400"/>
                <a:gd name="connsiteX0" fmla="*/ 0 w 1828800"/>
                <a:gd name="connsiteY0" fmla="*/ 0 h 914400"/>
                <a:gd name="connsiteX1" fmla="*/ 1721448 w 1828800"/>
                <a:gd name="connsiteY1" fmla="*/ 0 h 914400"/>
                <a:gd name="connsiteX2" fmla="*/ 1828800 w 1828800"/>
                <a:gd name="connsiteY2" fmla="*/ 457200 h 914400"/>
                <a:gd name="connsiteX3" fmla="*/ 1721448 w 1828800"/>
                <a:gd name="connsiteY3" fmla="*/ 914400 h 914400"/>
                <a:gd name="connsiteX4" fmla="*/ 0 w 1828800"/>
                <a:gd name="connsiteY4" fmla="*/ 914400 h 914400"/>
                <a:gd name="connsiteX5" fmla="*/ 58276 w 1828800"/>
                <a:gd name="connsiteY5" fmla="*/ 457203 h 914400"/>
                <a:gd name="connsiteX0" fmla="*/ 0 w 1828800"/>
                <a:gd name="connsiteY0" fmla="*/ 0 h 914400"/>
                <a:gd name="connsiteX1" fmla="*/ 1770523 w 1828800"/>
                <a:gd name="connsiteY1" fmla="*/ 0 h 914400"/>
                <a:gd name="connsiteX2" fmla="*/ 1828800 w 1828800"/>
                <a:gd name="connsiteY2" fmla="*/ 457200 h 914400"/>
                <a:gd name="connsiteX3" fmla="*/ 1721448 w 1828800"/>
                <a:gd name="connsiteY3" fmla="*/ 914400 h 914400"/>
                <a:gd name="connsiteX4" fmla="*/ 0 w 1828800"/>
                <a:gd name="connsiteY4" fmla="*/ 914400 h 914400"/>
                <a:gd name="connsiteX5" fmla="*/ 58276 w 1828800"/>
                <a:gd name="connsiteY5" fmla="*/ 457203 h 914400"/>
                <a:gd name="connsiteX0" fmla="*/ 0 w 1828800"/>
                <a:gd name="connsiteY0" fmla="*/ 0 h 914400"/>
                <a:gd name="connsiteX1" fmla="*/ 1770523 w 1828800"/>
                <a:gd name="connsiteY1" fmla="*/ 0 h 914400"/>
                <a:gd name="connsiteX2" fmla="*/ 1828800 w 1828800"/>
                <a:gd name="connsiteY2" fmla="*/ 457200 h 914400"/>
                <a:gd name="connsiteX3" fmla="*/ 1770523 w 1828800"/>
                <a:gd name="connsiteY3" fmla="*/ 914400 h 914400"/>
                <a:gd name="connsiteX4" fmla="*/ 0 w 1828800"/>
                <a:gd name="connsiteY4" fmla="*/ 914400 h 914400"/>
                <a:gd name="connsiteX5" fmla="*/ 58276 w 1828800"/>
                <a:gd name="connsiteY5" fmla="*/ 457203 h 914400"/>
                <a:gd name="connsiteX0" fmla="*/ 0 w 1828800"/>
                <a:gd name="connsiteY0" fmla="*/ 0 h 914400"/>
                <a:gd name="connsiteX1" fmla="*/ 1770523 w 1828800"/>
                <a:gd name="connsiteY1" fmla="*/ 0 h 914400"/>
                <a:gd name="connsiteX2" fmla="*/ 1828800 w 1828800"/>
                <a:gd name="connsiteY2" fmla="*/ 457200 h 914400"/>
                <a:gd name="connsiteX3" fmla="*/ 1770523 w 1828800"/>
                <a:gd name="connsiteY3" fmla="*/ 914400 h 914400"/>
                <a:gd name="connsiteX4" fmla="*/ 0 w 1828800"/>
                <a:gd name="connsiteY4" fmla="*/ 914400 h 914400"/>
                <a:gd name="connsiteX5" fmla="*/ 72845 w 1828800"/>
                <a:gd name="connsiteY5" fmla="*/ 457203 h 914400"/>
                <a:gd name="connsiteX0" fmla="*/ 0 w 1828800"/>
                <a:gd name="connsiteY0" fmla="*/ 0 h 914400"/>
                <a:gd name="connsiteX1" fmla="*/ 1755954 w 1828800"/>
                <a:gd name="connsiteY1" fmla="*/ 0 h 914400"/>
                <a:gd name="connsiteX2" fmla="*/ 1828800 w 1828800"/>
                <a:gd name="connsiteY2" fmla="*/ 457200 h 914400"/>
                <a:gd name="connsiteX3" fmla="*/ 1770523 w 1828800"/>
                <a:gd name="connsiteY3" fmla="*/ 914400 h 914400"/>
                <a:gd name="connsiteX4" fmla="*/ 0 w 1828800"/>
                <a:gd name="connsiteY4" fmla="*/ 914400 h 914400"/>
                <a:gd name="connsiteX5" fmla="*/ 72845 w 1828800"/>
                <a:gd name="connsiteY5" fmla="*/ 457203 h 914400"/>
                <a:gd name="connsiteX0" fmla="*/ 0 w 1828800"/>
                <a:gd name="connsiteY0" fmla="*/ 0 h 914400"/>
                <a:gd name="connsiteX1" fmla="*/ 1755954 w 1828800"/>
                <a:gd name="connsiteY1" fmla="*/ 0 h 914400"/>
                <a:gd name="connsiteX2" fmla="*/ 1828800 w 1828800"/>
                <a:gd name="connsiteY2" fmla="*/ 457200 h 914400"/>
                <a:gd name="connsiteX3" fmla="*/ 1755954 w 1828800"/>
                <a:gd name="connsiteY3" fmla="*/ 914400 h 914400"/>
                <a:gd name="connsiteX4" fmla="*/ 0 w 1828800"/>
                <a:gd name="connsiteY4" fmla="*/ 914400 h 914400"/>
                <a:gd name="connsiteX5" fmla="*/ 72845 w 1828800"/>
                <a:gd name="connsiteY5" fmla="*/ 457203 h 914400"/>
                <a:gd name="connsiteX0" fmla="*/ 0 w 1828800"/>
                <a:gd name="connsiteY0" fmla="*/ 0 h 914400"/>
                <a:gd name="connsiteX1" fmla="*/ 1755954 w 1828800"/>
                <a:gd name="connsiteY1" fmla="*/ 0 h 914400"/>
                <a:gd name="connsiteX2" fmla="*/ 1828800 w 1828800"/>
                <a:gd name="connsiteY2" fmla="*/ 457200 h 914400"/>
                <a:gd name="connsiteX3" fmla="*/ 175595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63677 w 1828800"/>
                <a:gd name="connsiteY1" fmla="*/ 0 h 914400"/>
                <a:gd name="connsiteX2" fmla="*/ 1828800 w 1828800"/>
                <a:gd name="connsiteY2" fmla="*/ 457200 h 914400"/>
                <a:gd name="connsiteX3" fmla="*/ 175595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63677 w 1828800"/>
                <a:gd name="connsiteY1" fmla="*/ 0 h 914400"/>
                <a:gd name="connsiteX2" fmla="*/ 1828800 w 1828800"/>
                <a:gd name="connsiteY2" fmla="*/ 457200 h 914400"/>
                <a:gd name="connsiteX3" fmla="*/ 176367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63677 w 1828800"/>
                <a:gd name="connsiteY1" fmla="*/ 0 h 914400"/>
                <a:gd name="connsiteX2" fmla="*/ 1828800 w 1828800"/>
                <a:gd name="connsiteY2" fmla="*/ 457200 h 914400"/>
                <a:gd name="connsiteX3" fmla="*/ 176367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47396 w 1828800"/>
                <a:gd name="connsiteY1" fmla="*/ 0 h 914400"/>
                <a:gd name="connsiteX2" fmla="*/ 1828800 w 1828800"/>
                <a:gd name="connsiteY2" fmla="*/ 457200 h 914400"/>
                <a:gd name="connsiteX3" fmla="*/ 176367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47396 w 1828800"/>
                <a:gd name="connsiteY1" fmla="*/ 0 h 914400"/>
                <a:gd name="connsiteX2" fmla="*/ 1828800 w 1828800"/>
                <a:gd name="connsiteY2" fmla="*/ 457200 h 914400"/>
                <a:gd name="connsiteX3" fmla="*/ 1747396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47396 w 1828800"/>
                <a:gd name="connsiteY1" fmla="*/ 0 h 914400"/>
                <a:gd name="connsiteX2" fmla="*/ 1828800 w 1828800"/>
                <a:gd name="connsiteY2" fmla="*/ 457200 h 914400"/>
                <a:gd name="connsiteX3" fmla="*/ 1747396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63677 w 1828800"/>
                <a:gd name="connsiteY1" fmla="*/ 0 h 914400"/>
                <a:gd name="connsiteX2" fmla="*/ 1828800 w 1828800"/>
                <a:gd name="connsiteY2" fmla="*/ 457200 h 914400"/>
                <a:gd name="connsiteX3" fmla="*/ 1747396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63677 w 1828800"/>
                <a:gd name="connsiteY1" fmla="*/ 0 h 914400"/>
                <a:gd name="connsiteX2" fmla="*/ 1828800 w 1828800"/>
                <a:gd name="connsiteY2" fmla="*/ 457200 h 914400"/>
                <a:gd name="connsiteX3" fmla="*/ 176367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63677 w 1828800"/>
                <a:gd name="connsiteY1" fmla="*/ 0 h 914400"/>
                <a:gd name="connsiteX2" fmla="*/ 1828800 w 1828800"/>
                <a:gd name="connsiteY2" fmla="*/ 457200 h 914400"/>
                <a:gd name="connsiteX3" fmla="*/ 176367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47396 w 1828800"/>
                <a:gd name="connsiteY1" fmla="*/ 0 h 914400"/>
                <a:gd name="connsiteX2" fmla="*/ 1828800 w 1828800"/>
                <a:gd name="connsiteY2" fmla="*/ 457200 h 914400"/>
                <a:gd name="connsiteX3" fmla="*/ 176367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47396 w 1828800"/>
                <a:gd name="connsiteY1" fmla="*/ 0 h 914400"/>
                <a:gd name="connsiteX2" fmla="*/ 1828800 w 1828800"/>
                <a:gd name="connsiteY2" fmla="*/ 457200 h 914400"/>
                <a:gd name="connsiteX3" fmla="*/ 1747396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47396 w 1828800"/>
                <a:gd name="connsiteY1" fmla="*/ 0 h 914400"/>
                <a:gd name="connsiteX2" fmla="*/ 1828800 w 1828800"/>
                <a:gd name="connsiteY2" fmla="*/ 457200 h 914400"/>
                <a:gd name="connsiteX3" fmla="*/ 1747396 w 1828800"/>
                <a:gd name="connsiteY3" fmla="*/ 914400 h 914400"/>
                <a:gd name="connsiteX4" fmla="*/ 0 w 1828800"/>
                <a:gd name="connsiteY4" fmla="*/ 914400 h 914400"/>
                <a:gd name="connsiteX5" fmla="*/ 81403 w 1828800"/>
                <a:gd name="connsiteY5" fmla="*/ 457203 h 914400"/>
                <a:gd name="connsiteX0" fmla="*/ 0 w 1828800"/>
                <a:gd name="connsiteY0" fmla="*/ 0 h 914400"/>
                <a:gd name="connsiteX1" fmla="*/ 1747396 w 1828800"/>
                <a:gd name="connsiteY1" fmla="*/ 0 h 914400"/>
                <a:gd name="connsiteX2" fmla="*/ 1828800 w 1828800"/>
                <a:gd name="connsiteY2" fmla="*/ 457200 h 914400"/>
                <a:gd name="connsiteX3" fmla="*/ 1747396 w 1828800"/>
                <a:gd name="connsiteY3" fmla="*/ 914400 h 914400"/>
                <a:gd name="connsiteX4" fmla="*/ 0 w 1828800"/>
                <a:gd name="connsiteY4" fmla="*/ 914400 h 914400"/>
                <a:gd name="connsiteX5" fmla="*/ 81403 w 1828800"/>
                <a:gd name="connsiteY5" fmla="*/ 457203 h 914400"/>
                <a:gd name="connsiteX0" fmla="*/ 0 w 1828800"/>
                <a:gd name="connsiteY0" fmla="*/ 0 h 914400"/>
                <a:gd name="connsiteX1" fmla="*/ 1747396 w 1828800"/>
                <a:gd name="connsiteY1" fmla="*/ 0 h 914400"/>
                <a:gd name="connsiteX2" fmla="*/ 1828800 w 1828800"/>
                <a:gd name="connsiteY2" fmla="*/ 457200 h 914400"/>
                <a:gd name="connsiteX3" fmla="*/ 1747396 w 1828800"/>
                <a:gd name="connsiteY3" fmla="*/ 914400 h 914400"/>
                <a:gd name="connsiteX4" fmla="*/ 0 w 1828800"/>
                <a:gd name="connsiteY4" fmla="*/ 914400 h 914400"/>
                <a:gd name="connsiteX5" fmla="*/ 81403 w 1828800"/>
                <a:gd name="connsiteY5" fmla="*/ 457203 h 914400"/>
                <a:gd name="connsiteX0" fmla="*/ 0 w 1828800"/>
                <a:gd name="connsiteY0" fmla="*/ 0 h 914400"/>
                <a:gd name="connsiteX1" fmla="*/ 1747396 w 1828800"/>
                <a:gd name="connsiteY1" fmla="*/ 0 h 914400"/>
                <a:gd name="connsiteX2" fmla="*/ 1828800 w 1828800"/>
                <a:gd name="connsiteY2" fmla="*/ 457200 h 914400"/>
                <a:gd name="connsiteX3" fmla="*/ 1747396 w 1828800"/>
                <a:gd name="connsiteY3" fmla="*/ 914400 h 914400"/>
                <a:gd name="connsiteX4" fmla="*/ 0 w 1828800"/>
                <a:gd name="connsiteY4" fmla="*/ 914400 h 914400"/>
                <a:gd name="connsiteX5" fmla="*/ 104881 w 1828800"/>
                <a:gd name="connsiteY5" fmla="*/ 457203 h 914400"/>
                <a:gd name="connsiteX0" fmla="*/ 0 w 1828800"/>
                <a:gd name="connsiteY0" fmla="*/ 0 h 914400"/>
                <a:gd name="connsiteX1" fmla="*/ 1723920 w 1828800"/>
                <a:gd name="connsiteY1" fmla="*/ 0 h 914400"/>
                <a:gd name="connsiteX2" fmla="*/ 1828800 w 1828800"/>
                <a:gd name="connsiteY2" fmla="*/ 457200 h 914400"/>
                <a:gd name="connsiteX3" fmla="*/ 1747396 w 1828800"/>
                <a:gd name="connsiteY3" fmla="*/ 914400 h 914400"/>
                <a:gd name="connsiteX4" fmla="*/ 0 w 1828800"/>
                <a:gd name="connsiteY4" fmla="*/ 914400 h 914400"/>
                <a:gd name="connsiteX5" fmla="*/ 104881 w 1828800"/>
                <a:gd name="connsiteY5" fmla="*/ 457203 h 914400"/>
                <a:gd name="connsiteX0" fmla="*/ 0 w 1828800"/>
                <a:gd name="connsiteY0" fmla="*/ 0 h 914400"/>
                <a:gd name="connsiteX1" fmla="*/ 1723920 w 1828800"/>
                <a:gd name="connsiteY1" fmla="*/ 0 h 914400"/>
                <a:gd name="connsiteX2" fmla="*/ 1828800 w 1828800"/>
                <a:gd name="connsiteY2" fmla="*/ 457200 h 914400"/>
                <a:gd name="connsiteX3" fmla="*/ 1723920 w 1828800"/>
                <a:gd name="connsiteY3" fmla="*/ 914400 h 914400"/>
                <a:gd name="connsiteX4" fmla="*/ 0 w 1828800"/>
                <a:gd name="connsiteY4" fmla="*/ 914400 h 914400"/>
                <a:gd name="connsiteX5" fmla="*/ 104881 w 1828800"/>
                <a:gd name="connsiteY5" fmla="*/ 457203 h 914400"/>
                <a:gd name="connsiteX0" fmla="*/ 0 w 1828800"/>
                <a:gd name="connsiteY0" fmla="*/ 0 h 914400"/>
                <a:gd name="connsiteX1" fmla="*/ 1723920 w 1828800"/>
                <a:gd name="connsiteY1" fmla="*/ 0 h 914400"/>
                <a:gd name="connsiteX2" fmla="*/ 1828800 w 1828800"/>
                <a:gd name="connsiteY2" fmla="*/ 457200 h 914400"/>
                <a:gd name="connsiteX3" fmla="*/ 1723920 w 1828800"/>
                <a:gd name="connsiteY3" fmla="*/ 914400 h 914400"/>
                <a:gd name="connsiteX4" fmla="*/ 0 w 1828800"/>
                <a:gd name="connsiteY4" fmla="*/ 914400 h 914400"/>
                <a:gd name="connsiteX5" fmla="*/ 131102 w 1828800"/>
                <a:gd name="connsiteY5" fmla="*/ 457203 h 914400"/>
                <a:gd name="connsiteX0" fmla="*/ 0 w 1828800"/>
                <a:gd name="connsiteY0" fmla="*/ 0 h 914400"/>
                <a:gd name="connsiteX1" fmla="*/ 1697700 w 1828800"/>
                <a:gd name="connsiteY1" fmla="*/ 0 h 914400"/>
                <a:gd name="connsiteX2" fmla="*/ 1828800 w 1828800"/>
                <a:gd name="connsiteY2" fmla="*/ 457200 h 914400"/>
                <a:gd name="connsiteX3" fmla="*/ 1723920 w 1828800"/>
                <a:gd name="connsiteY3" fmla="*/ 914400 h 914400"/>
                <a:gd name="connsiteX4" fmla="*/ 0 w 1828800"/>
                <a:gd name="connsiteY4" fmla="*/ 914400 h 914400"/>
                <a:gd name="connsiteX5" fmla="*/ 131102 w 1828800"/>
                <a:gd name="connsiteY5" fmla="*/ 457203 h 914400"/>
                <a:gd name="connsiteX0" fmla="*/ 0 w 1828800"/>
                <a:gd name="connsiteY0" fmla="*/ 0 h 914400"/>
                <a:gd name="connsiteX1" fmla="*/ 1697700 w 1828800"/>
                <a:gd name="connsiteY1" fmla="*/ 0 h 914400"/>
                <a:gd name="connsiteX2" fmla="*/ 1828800 w 1828800"/>
                <a:gd name="connsiteY2" fmla="*/ 457200 h 914400"/>
                <a:gd name="connsiteX3" fmla="*/ 1697700 w 1828800"/>
                <a:gd name="connsiteY3" fmla="*/ 914400 h 914400"/>
                <a:gd name="connsiteX4" fmla="*/ 0 w 1828800"/>
                <a:gd name="connsiteY4" fmla="*/ 914400 h 914400"/>
                <a:gd name="connsiteX5" fmla="*/ 131102 w 1828800"/>
                <a:gd name="connsiteY5" fmla="*/ 457203 h 914400"/>
                <a:gd name="connsiteX0" fmla="*/ 0 w 1828800"/>
                <a:gd name="connsiteY0" fmla="*/ 0 h 914400"/>
                <a:gd name="connsiteX1" fmla="*/ 1697700 w 1828800"/>
                <a:gd name="connsiteY1" fmla="*/ 0 h 914400"/>
                <a:gd name="connsiteX2" fmla="*/ 1828800 w 1828800"/>
                <a:gd name="connsiteY2" fmla="*/ 457200 h 914400"/>
                <a:gd name="connsiteX3" fmla="*/ 1697700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97700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174495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174495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174495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201737 w 1828800"/>
                <a:gd name="connsiteY5" fmla="*/ 457204 h 914400"/>
                <a:gd name="connsiteX0" fmla="*/ 0 w 1828800"/>
                <a:gd name="connsiteY0" fmla="*/ 0 h 914400"/>
                <a:gd name="connsiteX1" fmla="*/ 162706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201737 w 1828800"/>
                <a:gd name="connsiteY5" fmla="*/ 457204 h 914400"/>
                <a:gd name="connsiteX0" fmla="*/ 0 w 1828800"/>
                <a:gd name="connsiteY0" fmla="*/ 0 h 914400"/>
                <a:gd name="connsiteX1" fmla="*/ 1627065 w 1828800"/>
                <a:gd name="connsiteY1" fmla="*/ 0 h 914400"/>
                <a:gd name="connsiteX2" fmla="*/ 1828800 w 1828800"/>
                <a:gd name="connsiteY2" fmla="*/ 457200 h 914400"/>
                <a:gd name="connsiteX3" fmla="*/ 1627065 w 1828800"/>
                <a:gd name="connsiteY3" fmla="*/ 914400 h 914400"/>
                <a:gd name="connsiteX4" fmla="*/ 0 w 1828800"/>
                <a:gd name="connsiteY4" fmla="*/ 914400 h 914400"/>
                <a:gd name="connsiteX5" fmla="*/ 201737 w 1828800"/>
                <a:gd name="connsiteY5" fmla="*/ 457204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27065" y="0"/>
                  </a:lnTo>
                  <a:lnTo>
                    <a:pt x="1828800" y="457200"/>
                  </a:lnTo>
                  <a:lnTo>
                    <a:pt x="1627065" y="914400"/>
                  </a:lnTo>
                  <a:lnTo>
                    <a:pt x="0" y="914400"/>
                  </a:lnTo>
                  <a:lnTo>
                    <a:pt x="201737" y="457204"/>
                  </a:lnTo>
                  <a:close/>
                </a:path>
              </a:pathLst>
            </a:cu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400" fontAlgn="base">
                <a:spcBef>
                  <a:spcPct val="0"/>
                </a:spcBef>
                <a:spcAft>
                  <a:spcPct val="0"/>
                </a:spcAft>
              </a:pPr>
              <a:endParaRPr lang="en-US" sz="800" dirty="0">
                <a:solidFill>
                  <a:srgbClr val="000000"/>
                </a:solidFill>
              </a:endParaRPr>
            </a:p>
          </p:txBody>
        </p:sp>
        <p:sp>
          <p:nvSpPr>
            <p:cNvPr id="258" name="TextBox 257"/>
            <p:cNvSpPr txBox="1"/>
            <p:nvPr>
              <p:custDataLst>
                <p:tags r:id="rId6"/>
              </p:custDataLst>
            </p:nvPr>
          </p:nvSpPr>
          <p:spPr>
            <a:xfrm>
              <a:off x="7232613" y="1390642"/>
              <a:ext cx="678564" cy="49385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800" b="1" dirty="0">
                  <a:solidFill>
                    <a:srgbClr val="01632F"/>
                  </a:solidFill>
                </a:rPr>
                <a:t>Market linkages</a:t>
              </a:r>
            </a:p>
          </p:txBody>
        </p:sp>
      </p:grpSp>
      <p:grpSp>
        <p:nvGrpSpPr>
          <p:cNvPr id="260" name="Group 259"/>
          <p:cNvGrpSpPr/>
          <p:nvPr>
            <p:custDataLst>
              <p:tags r:id="rId2"/>
            </p:custDataLst>
          </p:nvPr>
        </p:nvGrpSpPr>
        <p:grpSpPr>
          <a:xfrm>
            <a:off x="8456055" y="836638"/>
            <a:ext cx="935828" cy="573511"/>
            <a:chOff x="7988830" y="1350816"/>
            <a:chExt cx="935828" cy="573511"/>
          </a:xfrm>
        </p:grpSpPr>
        <p:sp>
          <p:nvSpPr>
            <p:cNvPr id="265" name="Freeform 264"/>
            <p:cNvSpPr/>
            <p:nvPr>
              <p:custDataLst>
                <p:tags r:id="rId3"/>
              </p:custDataLst>
            </p:nvPr>
          </p:nvSpPr>
          <p:spPr>
            <a:xfrm>
              <a:off x="7988830" y="1350816"/>
              <a:ext cx="935828" cy="57351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81051 w 1828800"/>
                <a:gd name="connsiteY5" fmla="*/ 457201 h 914400"/>
                <a:gd name="connsiteX0" fmla="*/ 0 w 1828800"/>
                <a:gd name="connsiteY0" fmla="*/ 0 h 914400"/>
                <a:gd name="connsiteX1" fmla="*/ 1647749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81051 w 1828800"/>
                <a:gd name="connsiteY5" fmla="*/ 457201 h 914400"/>
                <a:gd name="connsiteX0" fmla="*/ 0 w 1828800"/>
                <a:gd name="connsiteY0" fmla="*/ 0 h 914400"/>
                <a:gd name="connsiteX1" fmla="*/ 1647749 w 1828800"/>
                <a:gd name="connsiteY1" fmla="*/ 0 h 914400"/>
                <a:gd name="connsiteX2" fmla="*/ 1828800 w 1828800"/>
                <a:gd name="connsiteY2" fmla="*/ 457200 h 914400"/>
                <a:gd name="connsiteX3" fmla="*/ 1647749 w 1828800"/>
                <a:gd name="connsiteY3" fmla="*/ 914400 h 914400"/>
                <a:gd name="connsiteX4" fmla="*/ 0 w 1828800"/>
                <a:gd name="connsiteY4" fmla="*/ 914400 h 914400"/>
                <a:gd name="connsiteX5" fmla="*/ 181051 w 1828800"/>
                <a:gd name="connsiteY5" fmla="*/ 457201 h 914400"/>
                <a:gd name="connsiteX0" fmla="*/ 0 w 1828800"/>
                <a:gd name="connsiteY0" fmla="*/ 0 h 914400"/>
                <a:gd name="connsiteX1" fmla="*/ 1647749 w 1828800"/>
                <a:gd name="connsiteY1" fmla="*/ 0 h 914400"/>
                <a:gd name="connsiteX2" fmla="*/ 1828800 w 1828800"/>
                <a:gd name="connsiteY2" fmla="*/ 457200 h 914400"/>
                <a:gd name="connsiteX3" fmla="*/ 1647749 w 1828800"/>
                <a:gd name="connsiteY3" fmla="*/ 914400 h 914400"/>
                <a:gd name="connsiteX4" fmla="*/ 0 w 1828800"/>
                <a:gd name="connsiteY4" fmla="*/ 914400 h 914400"/>
                <a:gd name="connsiteX5" fmla="*/ 144842 w 1828800"/>
                <a:gd name="connsiteY5" fmla="*/ 457201 h 914400"/>
                <a:gd name="connsiteX0" fmla="*/ 0 w 1828800"/>
                <a:gd name="connsiteY0" fmla="*/ 0 h 914400"/>
                <a:gd name="connsiteX1" fmla="*/ 1683958 w 1828800"/>
                <a:gd name="connsiteY1" fmla="*/ 0 h 914400"/>
                <a:gd name="connsiteX2" fmla="*/ 1828800 w 1828800"/>
                <a:gd name="connsiteY2" fmla="*/ 457200 h 914400"/>
                <a:gd name="connsiteX3" fmla="*/ 1647749 w 1828800"/>
                <a:gd name="connsiteY3" fmla="*/ 914400 h 914400"/>
                <a:gd name="connsiteX4" fmla="*/ 0 w 1828800"/>
                <a:gd name="connsiteY4" fmla="*/ 914400 h 914400"/>
                <a:gd name="connsiteX5" fmla="*/ 144842 w 1828800"/>
                <a:gd name="connsiteY5" fmla="*/ 457201 h 914400"/>
                <a:gd name="connsiteX0" fmla="*/ 0 w 1828800"/>
                <a:gd name="connsiteY0" fmla="*/ 0 h 914400"/>
                <a:gd name="connsiteX1" fmla="*/ 1683958 w 1828800"/>
                <a:gd name="connsiteY1" fmla="*/ 0 h 914400"/>
                <a:gd name="connsiteX2" fmla="*/ 1828800 w 1828800"/>
                <a:gd name="connsiteY2" fmla="*/ 457200 h 914400"/>
                <a:gd name="connsiteX3" fmla="*/ 1683958 w 1828800"/>
                <a:gd name="connsiteY3" fmla="*/ 914400 h 914400"/>
                <a:gd name="connsiteX4" fmla="*/ 0 w 1828800"/>
                <a:gd name="connsiteY4" fmla="*/ 914400 h 914400"/>
                <a:gd name="connsiteX5" fmla="*/ 144842 w 1828800"/>
                <a:gd name="connsiteY5" fmla="*/ 457201 h 914400"/>
                <a:gd name="connsiteX0" fmla="*/ 0 w 1828800"/>
                <a:gd name="connsiteY0" fmla="*/ 0 h 914400"/>
                <a:gd name="connsiteX1" fmla="*/ 1683958 w 1828800"/>
                <a:gd name="connsiteY1" fmla="*/ 0 h 914400"/>
                <a:gd name="connsiteX2" fmla="*/ 1828800 w 1828800"/>
                <a:gd name="connsiteY2" fmla="*/ 457200 h 914400"/>
                <a:gd name="connsiteX3" fmla="*/ 1683958 w 1828800"/>
                <a:gd name="connsiteY3" fmla="*/ 914400 h 914400"/>
                <a:gd name="connsiteX4" fmla="*/ 0 w 1828800"/>
                <a:gd name="connsiteY4" fmla="*/ 914400 h 914400"/>
                <a:gd name="connsiteX5" fmla="*/ 181051 w 1828800"/>
                <a:gd name="connsiteY5" fmla="*/ 457201 h 914400"/>
                <a:gd name="connsiteX0" fmla="*/ 0 w 1828800"/>
                <a:gd name="connsiteY0" fmla="*/ 0 h 914400"/>
                <a:gd name="connsiteX1" fmla="*/ 1647749 w 1828800"/>
                <a:gd name="connsiteY1" fmla="*/ 0 h 914400"/>
                <a:gd name="connsiteX2" fmla="*/ 1828800 w 1828800"/>
                <a:gd name="connsiteY2" fmla="*/ 457200 h 914400"/>
                <a:gd name="connsiteX3" fmla="*/ 1683958 w 1828800"/>
                <a:gd name="connsiteY3" fmla="*/ 914400 h 914400"/>
                <a:gd name="connsiteX4" fmla="*/ 0 w 1828800"/>
                <a:gd name="connsiteY4" fmla="*/ 914400 h 914400"/>
                <a:gd name="connsiteX5" fmla="*/ 181051 w 1828800"/>
                <a:gd name="connsiteY5" fmla="*/ 457201 h 914400"/>
                <a:gd name="connsiteX0" fmla="*/ 0 w 1828800"/>
                <a:gd name="connsiteY0" fmla="*/ 0 h 914400"/>
                <a:gd name="connsiteX1" fmla="*/ 1647749 w 1828800"/>
                <a:gd name="connsiteY1" fmla="*/ 0 h 914400"/>
                <a:gd name="connsiteX2" fmla="*/ 1828800 w 1828800"/>
                <a:gd name="connsiteY2" fmla="*/ 457200 h 914400"/>
                <a:gd name="connsiteX3" fmla="*/ 1647749 w 1828800"/>
                <a:gd name="connsiteY3" fmla="*/ 914400 h 914400"/>
                <a:gd name="connsiteX4" fmla="*/ 0 w 1828800"/>
                <a:gd name="connsiteY4" fmla="*/ 914400 h 914400"/>
                <a:gd name="connsiteX5" fmla="*/ 181051 w 1828800"/>
                <a:gd name="connsiteY5" fmla="*/ 457201 h 914400"/>
                <a:gd name="connsiteX0" fmla="*/ 0 w 1828800"/>
                <a:gd name="connsiteY0" fmla="*/ 0 h 914400"/>
                <a:gd name="connsiteX1" fmla="*/ 1647749 w 1828800"/>
                <a:gd name="connsiteY1" fmla="*/ 0 h 914400"/>
                <a:gd name="connsiteX2" fmla="*/ 1828800 w 1828800"/>
                <a:gd name="connsiteY2" fmla="*/ 457200 h 914400"/>
                <a:gd name="connsiteX3" fmla="*/ 1647749 w 1828800"/>
                <a:gd name="connsiteY3" fmla="*/ 914400 h 914400"/>
                <a:gd name="connsiteX4" fmla="*/ 0 w 1828800"/>
                <a:gd name="connsiteY4" fmla="*/ 914400 h 914400"/>
                <a:gd name="connsiteX5" fmla="*/ 144841 w 1828800"/>
                <a:gd name="connsiteY5" fmla="*/ 457202 h 914400"/>
                <a:gd name="connsiteX0" fmla="*/ 0 w 1828800"/>
                <a:gd name="connsiteY0" fmla="*/ 0 h 914400"/>
                <a:gd name="connsiteX1" fmla="*/ 1683959 w 1828800"/>
                <a:gd name="connsiteY1" fmla="*/ 0 h 914400"/>
                <a:gd name="connsiteX2" fmla="*/ 1828800 w 1828800"/>
                <a:gd name="connsiteY2" fmla="*/ 457200 h 914400"/>
                <a:gd name="connsiteX3" fmla="*/ 1647749 w 1828800"/>
                <a:gd name="connsiteY3" fmla="*/ 914400 h 914400"/>
                <a:gd name="connsiteX4" fmla="*/ 0 w 1828800"/>
                <a:gd name="connsiteY4" fmla="*/ 914400 h 914400"/>
                <a:gd name="connsiteX5" fmla="*/ 144841 w 1828800"/>
                <a:gd name="connsiteY5" fmla="*/ 457202 h 914400"/>
                <a:gd name="connsiteX0" fmla="*/ 0 w 1828800"/>
                <a:gd name="connsiteY0" fmla="*/ 0 h 914400"/>
                <a:gd name="connsiteX1" fmla="*/ 1683959 w 1828800"/>
                <a:gd name="connsiteY1" fmla="*/ 0 h 914400"/>
                <a:gd name="connsiteX2" fmla="*/ 1828800 w 1828800"/>
                <a:gd name="connsiteY2" fmla="*/ 457200 h 914400"/>
                <a:gd name="connsiteX3" fmla="*/ 1683959 w 1828800"/>
                <a:gd name="connsiteY3" fmla="*/ 914400 h 914400"/>
                <a:gd name="connsiteX4" fmla="*/ 0 w 1828800"/>
                <a:gd name="connsiteY4" fmla="*/ 914400 h 914400"/>
                <a:gd name="connsiteX5" fmla="*/ 144841 w 1828800"/>
                <a:gd name="connsiteY5" fmla="*/ 457202 h 914400"/>
                <a:gd name="connsiteX0" fmla="*/ 0 w 1828800"/>
                <a:gd name="connsiteY0" fmla="*/ 0 h 914400"/>
                <a:gd name="connsiteX1" fmla="*/ 1683959 w 1828800"/>
                <a:gd name="connsiteY1" fmla="*/ 0 h 914400"/>
                <a:gd name="connsiteX2" fmla="*/ 1828800 w 1828800"/>
                <a:gd name="connsiteY2" fmla="*/ 457200 h 914400"/>
                <a:gd name="connsiteX3" fmla="*/ 1683959 w 1828800"/>
                <a:gd name="connsiteY3" fmla="*/ 914400 h 914400"/>
                <a:gd name="connsiteX4" fmla="*/ 0 w 1828800"/>
                <a:gd name="connsiteY4" fmla="*/ 914400 h 914400"/>
                <a:gd name="connsiteX5" fmla="*/ 181052 w 1828800"/>
                <a:gd name="connsiteY5" fmla="*/ 457202 h 914400"/>
                <a:gd name="connsiteX0" fmla="*/ 0 w 1828800"/>
                <a:gd name="connsiteY0" fmla="*/ 0 h 914400"/>
                <a:gd name="connsiteX1" fmla="*/ 1647748 w 1828800"/>
                <a:gd name="connsiteY1" fmla="*/ 0 h 914400"/>
                <a:gd name="connsiteX2" fmla="*/ 1828800 w 1828800"/>
                <a:gd name="connsiteY2" fmla="*/ 457200 h 914400"/>
                <a:gd name="connsiteX3" fmla="*/ 1683959 w 1828800"/>
                <a:gd name="connsiteY3" fmla="*/ 914400 h 914400"/>
                <a:gd name="connsiteX4" fmla="*/ 0 w 1828800"/>
                <a:gd name="connsiteY4" fmla="*/ 914400 h 914400"/>
                <a:gd name="connsiteX5" fmla="*/ 181052 w 1828800"/>
                <a:gd name="connsiteY5" fmla="*/ 457202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81052 w 1828800"/>
                <a:gd name="connsiteY5" fmla="*/ 457202 h 914400"/>
                <a:gd name="connsiteX0" fmla="*/ 0 w 1828800"/>
                <a:gd name="connsiteY0" fmla="*/ 0 h 914400"/>
                <a:gd name="connsiteX1" fmla="*/ 1647748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21595 w 1828800"/>
                <a:gd name="connsiteY5" fmla="*/ 457203 h 914400"/>
                <a:gd name="connsiteX0" fmla="*/ 0 w 1828800"/>
                <a:gd name="connsiteY0" fmla="*/ 0 h 914400"/>
                <a:gd name="connsiteX1" fmla="*/ 1707205 w 1828800"/>
                <a:gd name="connsiteY1" fmla="*/ 0 h 914400"/>
                <a:gd name="connsiteX2" fmla="*/ 1828800 w 1828800"/>
                <a:gd name="connsiteY2" fmla="*/ 457200 h 914400"/>
                <a:gd name="connsiteX3" fmla="*/ 1647748 w 1828800"/>
                <a:gd name="connsiteY3" fmla="*/ 914400 h 914400"/>
                <a:gd name="connsiteX4" fmla="*/ 0 w 1828800"/>
                <a:gd name="connsiteY4" fmla="*/ 914400 h 914400"/>
                <a:gd name="connsiteX5" fmla="*/ 121595 w 1828800"/>
                <a:gd name="connsiteY5" fmla="*/ 457203 h 914400"/>
                <a:gd name="connsiteX0" fmla="*/ 0 w 1828800"/>
                <a:gd name="connsiteY0" fmla="*/ 0 h 914400"/>
                <a:gd name="connsiteX1" fmla="*/ 1707205 w 1828800"/>
                <a:gd name="connsiteY1" fmla="*/ 0 h 914400"/>
                <a:gd name="connsiteX2" fmla="*/ 1828800 w 1828800"/>
                <a:gd name="connsiteY2" fmla="*/ 457200 h 914400"/>
                <a:gd name="connsiteX3" fmla="*/ 1707205 w 1828800"/>
                <a:gd name="connsiteY3" fmla="*/ 914400 h 914400"/>
                <a:gd name="connsiteX4" fmla="*/ 0 w 1828800"/>
                <a:gd name="connsiteY4" fmla="*/ 914400 h 914400"/>
                <a:gd name="connsiteX5" fmla="*/ 121595 w 1828800"/>
                <a:gd name="connsiteY5" fmla="*/ 457203 h 914400"/>
                <a:gd name="connsiteX0" fmla="*/ 0 w 1828800"/>
                <a:gd name="connsiteY0" fmla="*/ 0 h 914400"/>
                <a:gd name="connsiteX1" fmla="*/ 1707205 w 1828800"/>
                <a:gd name="connsiteY1" fmla="*/ 0 h 914400"/>
                <a:gd name="connsiteX2" fmla="*/ 1828800 w 1828800"/>
                <a:gd name="connsiteY2" fmla="*/ 457200 h 914400"/>
                <a:gd name="connsiteX3" fmla="*/ 1707205 w 1828800"/>
                <a:gd name="connsiteY3" fmla="*/ 914400 h 914400"/>
                <a:gd name="connsiteX4" fmla="*/ 0 w 1828800"/>
                <a:gd name="connsiteY4" fmla="*/ 914400 h 914400"/>
                <a:gd name="connsiteX5" fmla="*/ 151993 w 1828800"/>
                <a:gd name="connsiteY5" fmla="*/ 457203 h 914400"/>
                <a:gd name="connsiteX0" fmla="*/ 0 w 1828800"/>
                <a:gd name="connsiteY0" fmla="*/ 0 h 914400"/>
                <a:gd name="connsiteX1" fmla="*/ 1676807 w 1828800"/>
                <a:gd name="connsiteY1" fmla="*/ 0 h 914400"/>
                <a:gd name="connsiteX2" fmla="*/ 1828800 w 1828800"/>
                <a:gd name="connsiteY2" fmla="*/ 457200 h 914400"/>
                <a:gd name="connsiteX3" fmla="*/ 1707205 w 1828800"/>
                <a:gd name="connsiteY3" fmla="*/ 914400 h 914400"/>
                <a:gd name="connsiteX4" fmla="*/ 0 w 1828800"/>
                <a:gd name="connsiteY4" fmla="*/ 914400 h 914400"/>
                <a:gd name="connsiteX5" fmla="*/ 151993 w 1828800"/>
                <a:gd name="connsiteY5" fmla="*/ 457203 h 914400"/>
                <a:gd name="connsiteX0" fmla="*/ 0 w 1828800"/>
                <a:gd name="connsiteY0" fmla="*/ 0 h 914400"/>
                <a:gd name="connsiteX1" fmla="*/ 1676807 w 1828800"/>
                <a:gd name="connsiteY1" fmla="*/ 0 h 914400"/>
                <a:gd name="connsiteX2" fmla="*/ 1828800 w 1828800"/>
                <a:gd name="connsiteY2" fmla="*/ 457200 h 914400"/>
                <a:gd name="connsiteX3" fmla="*/ 1676807 w 1828800"/>
                <a:gd name="connsiteY3" fmla="*/ 914400 h 914400"/>
                <a:gd name="connsiteX4" fmla="*/ 0 w 1828800"/>
                <a:gd name="connsiteY4" fmla="*/ 914400 h 914400"/>
                <a:gd name="connsiteX5" fmla="*/ 151993 w 1828800"/>
                <a:gd name="connsiteY5" fmla="*/ 457203 h 914400"/>
                <a:gd name="connsiteX0" fmla="*/ 0 w 1828800"/>
                <a:gd name="connsiteY0" fmla="*/ 0 h 914400"/>
                <a:gd name="connsiteX1" fmla="*/ 1676807 w 1828800"/>
                <a:gd name="connsiteY1" fmla="*/ 0 h 914400"/>
                <a:gd name="connsiteX2" fmla="*/ 1828800 w 1828800"/>
                <a:gd name="connsiteY2" fmla="*/ 457200 h 914400"/>
                <a:gd name="connsiteX3" fmla="*/ 167680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7680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203423 w 1828800"/>
                <a:gd name="connsiteY5" fmla="*/ 457204 h 914400"/>
                <a:gd name="connsiteX0" fmla="*/ 0 w 1828800"/>
                <a:gd name="connsiteY0" fmla="*/ 0 h 914400"/>
                <a:gd name="connsiteX1" fmla="*/ 1625377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162738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25377 w 1828800"/>
                <a:gd name="connsiteY3" fmla="*/ 914400 h 914400"/>
                <a:gd name="connsiteX4" fmla="*/ 0 w 1828800"/>
                <a:gd name="connsiteY4" fmla="*/ 914400 h 914400"/>
                <a:gd name="connsiteX5" fmla="*/ 162738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162738 w 1828800"/>
                <a:gd name="connsiteY5" fmla="*/ 457204 h 914400"/>
                <a:gd name="connsiteX0" fmla="*/ 0 w 1828800"/>
                <a:gd name="connsiteY0" fmla="*/ 0 h 914400"/>
                <a:gd name="connsiteX1" fmla="*/ 1666061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203422 w 1828800"/>
                <a:gd name="connsiteY5" fmla="*/ 457204 h 914400"/>
                <a:gd name="connsiteX0" fmla="*/ 0 w 1828800"/>
                <a:gd name="connsiteY0" fmla="*/ 0 h 914400"/>
                <a:gd name="connsiteX1" fmla="*/ 1625376 w 1828800"/>
                <a:gd name="connsiteY1" fmla="*/ 0 h 914400"/>
                <a:gd name="connsiteX2" fmla="*/ 1828800 w 1828800"/>
                <a:gd name="connsiteY2" fmla="*/ 457200 h 914400"/>
                <a:gd name="connsiteX3" fmla="*/ 1666061 w 1828800"/>
                <a:gd name="connsiteY3" fmla="*/ 914400 h 914400"/>
                <a:gd name="connsiteX4" fmla="*/ 0 w 1828800"/>
                <a:gd name="connsiteY4" fmla="*/ 914400 h 914400"/>
                <a:gd name="connsiteX5" fmla="*/ 203422 w 1828800"/>
                <a:gd name="connsiteY5" fmla="*/ 457204 h 914400"/>
                <a:gd name="connsiteX0" fmla="*/ 0 w 1828800"/>
                <a:gd name="connsiteY0" fmla="*/ 0 h 914400"/>
                <a:gd name="connsiteX1" fmla="*/ 1625376 w 1828800"/>
                <a:gd name="connsiteY1" fmla="*/ 0 h 914400"/>
                <a:gd name="connsiteX2" fmla="*/ 1828800 w 1828800"/>
                <a:gd name="connsiteY2" fmla="*/ 457200 h 914400"/>
                <a:gd name="connsiteX3" fmla="*/ 1625376 w 1828800"/>
                <a:gd name="connsiteY3" fmla="*/ 914400 h 914400"/>
                <a:gd name="connsiteX4" fmla="*/ 0 w 1828800"/>
                <a:gd name="connsiteY4" fmla="*/ 914400 h 914400"/>
                <a:gd name="connsiteX5" fmla="*/ 203422 w 1828800"/>
                <a:gd name="connsiteY5" fmla="*/ 457204 h 914400"/>
                <a:gd name="connsiteX0" fmla="*/ 0 w 1828800"/>
                <a:gd name="connsiteY0" fmla="*/ 0 h 914400"/>
                <a:gd name="connsiteX1" fmla="*/ 1625376 w 1828800"/>
                <a:gd name="connsiteY1" fmla="*/ 0 h 914400"/>
                <a:gd name="connsiteX2" fmla="*/ 1828800 w 1828800"/>
                <a:gd name="connsiteY2" fmla="*/ 457200 h 914400"/>
                <a:gd name="connsiteX3" fmla="*/ 1625376 w 1828800"/>
                <a:gd name="connsiteY3" fmla="*/ 914400 h 914400"/>
                <a:gd name="connsiteX4" fmla="*/ 0 w 1828800"/>
                <a:gd name="connsiteY4" fmla="*/ 914400 h 914400"/>
                <a:gd name="connsiteX5" fmla="*/ 179013 w 1828800"/>
                <a:gd name="connsiteY5" fmla="*/ 457204 h 914400"/>
                <a:gd name="connsiteX0" fmla="*/ 0 w 1828800"/>
                <a:gd name="connsiteY0" fmla="*/ 0 h 914400"/>
                <a:gd name="connsiteX1" fmla="*/ 1649788 w 1828800"/>
                <a:gd name="connsiteY1" fmla="*/ 0 h 914400"/>
                <a:gd name="connsiteX2" fmla="*/ 1828800 w 1828800"/>
                <a:gd name="connsiteY2" fmla="*/ 457200 h 914400"/>
                <a:gd name="connsiteX3" fmla="*/ 1625376 w 1828800"/>
                <a:gd name="connsiteY3" fmla="*/ 914400 h 914400"/>
                <a:gd name="connsiteX4" fmla="*/ 0 w 1828800"/>
                <a:gd name="connsiteY4" fmla="*/ 914400 h 914400"/>
                <a:gd name="connsiteX5" fmla="*/ 179013 w 1828800"/>
                <a:gd name="connsiteY5" fmla="*/ 457204 h 914400"/>
                <a:gd name="connsiteX0" fmla="*/ 0 w 1828800"/>
                <a:gd name="connsiteY0" fmla="*/ 0 h 914400"/>
                <a:gd name="connsiteX1" fmla="*/ 1649788 w 1828800"/>
                <a:gd name="connsiteY1" fmla="*/ 0 h 914400"/>
                <a:gd name="connsiteX2" fmla="*/ 1828800 w 1828800"/>
                <a:gd name="connsiteY2" fmla="*/ 457200 h 914400"/>
                <a:gd name="connsiteX3" fmla="*/ 1649788 w 1828800"/>
                <a:gd name="connsiteY3" fmla="*/ 914400 h 914400"/>
                <a:gd name="connsiteX4" fmla="*/ 0 w 1828800"/>
                <a:gd name="connsiteY4" fmla="*/ 914400 h 914400"/>
                <a:gd name="connsiteX5" fmla="*/ 179013 w 1828800"/>
                <a:gd name="connsiteY5" fmla="*/ 457204 h 914400"/>
                <a:gd name="connsiteX0" fmla="*/ 0 w 1828800"/>
                <a:gd name="connsiteY0" fmla="*/ 0 h 914400"/>
                <a:gd name="connsiteX1" fmla="*/ 1649788 w 1828800"/>
                <a:gd name="connsiteY1" fmla="*/ 0 h 914400"/>
                <a:gd name="connsiteX2" fmla="*/ 1828800 w 1828800"/>
                <a:gd name="connsiteY2" fmla="*/ 457200 h 914400"/>
                <a:gd name="connsiteX3" fmla="*/ 1649788 w 1828800"/>
                <a:gd name="connsiteY3" fmla="*/ 914400 h 914400"/>
                <a:gd name="connsiteX4" fmla="*/ 0 w 1828800"/>
                <a:gd name="connsiteY4" fmla="*/ 914400 h 914400"/>
                <a:gd name="connsiteX5" fmla="*/ 223766 w 1828800"/>
                <a:gd name="connsiteY5" fmla="*/ 457204 h 914400"/>
                <a:gd name="connsiteX0" fmla="*/ 0 w 1828800"/>
                <a:gd name="connsiteY0" fmla="*/ 0 h 914400"/>
                <a:gd name="connsiteX1" fmla="*/ 1605035 w 1828800"/>
                <a:gd name="connsiteY1" fmla="*/ 0 h 914400"/>
                <a:gd name="connsiteX2" fmla="*/ 1828800 w 1828800"/>
                <a:gd name="connsiteY2" fmla="*/ 457200 h 914400"/>
                <a:gd name="connsiteX3" fmla="*/ 1649788 w 1828800"/>
                <a:gd name="connsiteY3" fmla="*/ 914400 h 914400"/>
                <a:gd name="connsiteX4" fmla="*/ 0 w 1828800"/>
                <a:gd name="connsiteY4" fmla="*/ 914400 h 914400"/>
                <a:gd name="connsiteX5" fmla="*/ 223766 w 1828800"/>
                <a:gd name="connsiteY5" fmla="*/ 457204 h 914400"/>
                <a:gd name="connsiteX0" fmla="*/ 0 w 1828800"/>
                <a:gd name="connsiteY0" fmla="*/ 0 h 914400"/>
                <a:gd name="connsiteX1" fmla="*/ 1605035 w 1828800"/>
                <a:gd name="connsiteY1" fmla="*/ 0 h 914400"/>
                <a:gd name="connsiteX2" fmla="*/ 1828800 w 1828800"/>
                <a:gd name="connsiteY2" fmla="*/ 457200 h 914400"/>
                <a:gd name="connsiteX3" fmla="*/ 1605035 w 1828800"/>
                <a:gd name="connsiteY3" fmla="*/ 914400 h 914400"/>
                <a:gd name="connsiteX4" fmla="*/ 0 w 1828800"/>
                <a:gd name="connsiteY4" fmla="*/ 914400 h 914400"/>
                <a:gd name="connsiteX5" fmla="*/ 223766 w 1828800"/>
                <a:gd name="connsiteY5" fmla="*/ 457204 h 914400"/>
                <a:gd name="connsiteX0" fmla="*/ 0 w 1828800"/>
                <a:gd name="connsiteY0" fmla="*/ 0 h 914400"/>
                <a:gd name="connsiteX1" fmla="*/ 1605035 w 1828800"/>
                <a:gd name="connsiteY1" fmla="*/ 0 h 914400"/>
                <a:gd name="connsiteX2" fmla="*/ 1828800 w 1828800"/>
                <a:gd name="connsiteY2" fmla="*/ 457200 h 914400"/>
                <a:gd name="connsiteX3" fmla="*/ 1605035 w 1828800"/>
                <a:gd name="connsiteY3" fmla="*/ 914400 h 914400"/>
                <a:gd name="connsiteX4" fmla="*/ 0 w 1828800"/>
                <a:gd name="connsiteY4" fmla="*/ 914400 h 914400"/>
                <a:gd name="connsiteX5" fmla="*/ 145146 w 1828800"/>
                <a:gd name="connsiteY5" fmla="*/ 457204 h 914400"/>
                <a:gd name="connsiteX0" fmla="*/ 0 w 1828800"/>
                <a:gd name="connsiteY0" fmla="*/ 0 h 914400"/>
                <a:gd name="connsiteX1" fmla="*/ 1683654 w 1828800"/>
                <a:gd name="connsiteY1" fmla="*/ 0 h 914400"/>
                <a:gd name="connsiteX2" fmla="*/ 1828800 w 1828800"/>
                <a:gd name="connsiteY2" fmla="*/ 457200 h 914400"/>
                <a:gd name="connsiteX3" fmla="*/ 1605035 w 1828800"/>
                <a:gd name="connsiteY3" fmla="*/ 914400 h 914400"/>
                <a:gd name="connsiteX4" fmla="*/ 0 w 1828800"/>
                <a:gd name="connsiteY4" fmla="*/ 914400 h 914400"/>
                <a:gd name="connsiteX5" fmla="*/ 145146 w 1828800"/>
                <a:gd name="connsiteY5" fmla="*/ 457204 h 914400"/>
                <a:gd name="connsiteX0" fmla="*/ 0 w 1828800"/>
                <a:gd name="connsiteY0" fmla="*/ 0 h 914400"/>
                <a:gd name="connsiteX1" fmla="*/ 1683654 w 1828800"/>
                <a:gd name="connsiteY1" fmla="*/ 0 h 914400"/>
                <a:gd name="connsiteX2" fmla="*/ 1828800 w 1828800"/>
                <a:gd name="connsiteY2" fmla="*/ 457200 h 914400"/>
                <a:gd name="connsiteX3" fmla="*/ 1683654 w 1828800"/>
                <a:gd name="connsiteY3" fmla="*/ 914400 h 914400"/>
                <a:gd name="connsiteX4" fmla="*/ 0 w 1828800"/>
                <a:gd name="connsiteY4" fmla="*/ 914400 h 914400"/>
                <a:gd name="connsiteX5" fmla="*/ 145146 w 1828800"/>
                <a:gd name="connsiteY5" fmla="*/ 457204 h 914400"/>
                <a:gd name="connsiteX0" fmla="*/ 0 w 1828800"/>
                <a:gd name="connsiteY0" fmla="*/ 0 h 914400"/>
                <a:gd name="connsiteX1" fmla="*/ 1683654 w 1828800"/>
                <a:gd name="connsiteY1" fmla="*/ 0 h 914400"/>
                <a:gd name="connsiteX2" fmla="*/ 1828800 w 1828800"/>
                <a:gd name="connsiteY2" fmla="*/ 457200 h 914400"/>
                <a:gd name="connsiteX3" fmla="*/ 1683654 w 1828800"/>
                <a:gd name="connsiteY3" fmla="*/ 914400 h 914400"/>
                <a:gd name="connsiteX4" fmla="*/ 0 w 1828800"/>
                <a:gd name="connsiteY4" fmla="*/ 914400 h 914400"/>
                <a:gd name="connsiteX5" fmla="*/ 181432 w 1828800"/>
                <a:gd name="connsiteY5" fmla="*/ 457204 h 914400"/>
                <a:gd name="connsiteX0" fmla="*/ 0 w 1828800"/>
                <a:gd name="connsiteY0" fmla="*/ 0 h 914400"/>
                <a:gd name="connsiteX1" fmla="*/ 1647368 w 1828800"/>
                <a:gd name="connsiteY1" fmla="*/ 0 h 914400"/>
                <a:gd name="connsiteX2" fmla="*/ 1828800 w 1828800"/>
                <a:gd name="connsiteY2" fmla="*/ 457200 h 914400"/>
                <a:gd name="connsiteX3" fmla="*/ 1683654 w 1828800"/>
                <a:gd name="connsiteY3" fmla="*/ 914400 h 914400"/>
                <a:gd name="connsiteX4" fmla="*/ 0 w 1828800"/>
                <a:gd name="connsiteY4" fmla="*/ 914400 h 914400"/>
                <a:gd name="connsiteX5" fmla="*/ 181432 w 1828800"/>
                <a:gd name="connsiteY5" fmla="*/ 457204 h 914400"/>
                <a:gd name="connsiteX0" fmla="*/ 0 w 1828800"/>
                <a:gd name="connsiteY0" fmla="*/ 0 h 914400"/>
                <a:gd name="connsiteX1" fmla="*/ 1647368 w 1828800"/>
                <a:gd name="connsiteY1" fmla="*/ 0 h 914400"/>
                <a:gd name="connsiteX2" fmla="*/ 1828800 w 1828800"/>
                <a:gd name="connsiteY2" fmla="*/ 457200 h 914400"/>
                <a:gd name="connsiteX3" fmla="*/ 1647368 w 1828800"/>
                <a:gd name="connsiteY3" fmla="*/ 914400 h 914400"/>
                <a:gd name="connsiteX4" fmla="*/ 0 w 1828800"/>
                <a:gd name="connsiteY4" fmla="*/ 914400 h 914400"/>
                <a:gd name="connsiteX5" fmla="*/ 181432 w 1828800"/>
                <a:gd name="connsiteY5" fmla="*/ 457204 h 914400"/>
                <a:gd name="connsiteX0" fmla="*/ 0 w 1828800"/>
                <a:gd name="connsiteY0" fmla="*/ 0 h 914400"/>
                <a:gd name="connsiteX1" fmla="*/ 1647368 w 1828800"/>
                <a:gd name="connsiteY1" fmla="*/ 0 h 914400"/>
                <a:gd name="connsiteX2" fmla="*/ 1828800 w 1828800"/>
                <a:gd name="connsiteY2" fmla="*/ 457200 h 914400"/>
                <a:gd name="connsiteX3" fmla="*/ 1647368 w 1828800"/>
                <a:gd name="connsiteY3" fmla="*/ 914400 h 914400"/>
                <a:gd name="connsiteX4" fmla="*/ 0 w 1828800"/>
                <a:gd name="connsiteY4" fmla="*/ 914400 h 914400"/>
                <a:gd name="connsiteX5" fmla="*/ 97133 w 1828800"/>
                <a:gd name="connsiteY5" fmla="*/ 457203 h 914400"/>
                <a:gd name="connsiteX0" fmla="*/ 0 w 1828800"/>
                <a:gd name="connsiteY0" fmla="*/ 0 h 914400"/>
                <a:gd name="connsiteX1" fmla="*/ 1731667 w 1828800"/>
                <a:gd name="connsiteY1" fmla="*/ 0 h 914400"/>
                <a:gd name="connsiteX2" fmla="*/ 1828800 w 1828800"/>
                <a:gd name="connsiteY2" fmla="*/ 457200 h 914400"/>
                <a:gd name="connsiteX3" fmla="*/ 1647368 w 1828800"/>
                <a:gd name="connsiteY3" fmla="*/ 914400 h 914400"/>
                <a:gd name="connsiteX4" fmla="*/ 0 w 1828800"/>
                <a:gd name="connsiteY4" fmla="*/ 914400 h 914400"/>
                <a:gd name="connsiteX5" fmla="*/ 97133 w 1828800"/>
                <a:gd name="connsiteY5" fmla="*/ 457203 h 914400"/>
                <a:gd name="connsiteX0" fmla="*/ 0 w 1828800"/>
                <a:gd name="connsiteY0" fmla="*/ 0 h 914400"/>
                <a:gd name="connsiteX1" fmla="*/ 1731667 w 1828800"/>
                <a:gd name="connsiteY1" fmla="*/ 0 h 914400"/>
                <a:gd name="connsiteX2" fmla="*/ 1828800 w 1828800"/>
                <a:gd name="connsiteY2" fmla="*/ 457200 h 914400"/>
                <a:gd name="connsiteX3" fmla="*/ 1731667 w 1828800"/>
                <a:gd name="connsiteY3" fmla="*/ 914400 h 914400"/>
                <a:gd name="connsiteX4" fmla="*/ 0 w 1828800"/>
                <a:gd name="connsiteY4" fmla="*/ 914400 h 914400"/>
                <a:gd name="connsiteX5" fmla="*/ 97133 w 1828800"/>
                <a:gd name="connsiteY5" fmla="*/ 457203 h 914400"/>
                <a:gd name="connsiteX0" fmla="*/ 0 w 1828800"/>
                <a:gd name="connsiteY0" fmla="*/ 0 h 914400"/>
                <a:gd name="connsiteX1" fmla="*/ 1731667 w 1828800"/>
                <a:gd name="connsiteY1" fmla="*/ 0 h 914400"/>
                <a:gd name="connsiteX2" fmla="*/ 1828800 w 1828800"/>
                <a:gd name="connsiteY2" fmla="*/ 457200 h 914400"/>
                <a:gd name="connsiteX3" fmla="*/ 1731667 w 1828800"/>
                <a:gd name="connsiteY3" fmla="*/ 914400 h 914400"/>
                <a:gd name="connsiteX4" fmla="*/ 0 w 1828800"/>
                <a:gd name="connsiteY4" fmla="*/ 914400 h 914400"/>
                <a:gd name="connsiteX5" fmla="*/ 121416 w 1828800"/>
                <a:gd name="connsiteY5" fmla="*/ 457203 h 914400"/>
                <a:gd name="connsiteX0" fmla="*/ 0 w 1828800"/>
                <a:gd name="connsiteY0" fmla="*/ 0 h 914400"/>
                <a:gd name="connsiteX1" fmla="*/ 1707384 w 1828800"/>
                <a:gd name="connsiteY1" fmla="*/ 0 h 914400"/>
                <a:gd name="connsiteX2" fmla="*/ 1828800 w 1828800"/>
                <a:gd name="connsiteY2" fmla="*/ 457200 h 914400"/>
                <a:gd name="connsiteX3" fmla="*/ 1731667 w 1828800"/>
                <a:gd name="connsiteY3" fmla="*/ 914400 h 914400"/>
                <a:gd name="connsiteX4" fmla="*/ 0 w 1828800"/>
                <a:gd name="connsiteY4" fmla="*/ 914400 h 914400"/>
                <a:gd name="connsiteX5" fmla="*/ 121416 w 1828800"/>
                <a:gd name="connsiteY5" fmla="*/ 457203 h 914400"/>
                <a:gd name="connsiteX0" fmla="*/ 0 w 1828800"/>
                <a:gd name="connsiteY0" fmla="*/ 0 h 914400"/>
                <a:gd name="connsiteX1" fmla="*/ 1707384 w 1828800"/>
                <a:gd name="connsiteY1" fmla="*/ 0 h 914400"/>
                <a:gd name="connsiteX2" fmla="*/ 1828800 w 1828800"/>
                <a:gd name="connsiteY2" fmla="*/ 457200 h 914400"/>
                <a:gd name="connsiteX3" fmla="*/ 1707384 w 1828800"/>
                <a:gd name="connsiteY3" fmla="*/ 914400 h 914400"/>
                <a:gd name="connsiteX4" fmla="*/ 0 w 1828800"/>
                <a:gd name="connsiteY4" fmla="*/ 914400 h 914400"/>
                <a:gd name="connsiteX5" fmla="*/ 121416 w 1828800"/>
                <a:gd name="connsiteY5" fmla="*/ 457203 h 914400"/>
                <a:gd name="connsiteX0" fmla="*/ 0 w 1828800"/>
                <a:gd name="connsiteY0" fmla="*/ 0 h 914400"/>
                <a:gd name="connsiteX1" fmla="*/ 1707384 w 1828800"/>
                <a:gd name="connsiteY1" fmla="*/ 0 h 914400"/>
                <a:gd name="connsiteX2" fmla="*/ 1828800 w 1828800"/>
                <a:gd name="connsiteY2" fmla="*/ 457200 h 914400"/>
                <a:gd name="connsiteX3" fmla="*/ 170738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738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05504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70550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154120 w 1828800"/>
                <a:gd name="connsiteY5" fmla="*/ 457203 h 914400"/>
                <a:gd name="connsiteX0" fmla="*/ 0 w 1828800"/>
                <a:gd name="connsiteY0" fmla="*/ 0 h 914400"/>
                <a:gd name="connsiteX1" fmla="*/ 1674680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81622 w 1828800"/>
                <a:gd name="connsiteY5" fmla="*/ 457203 h 914400"/>
                <a:gd name="connsiteX0" fmla="*/ 0 w 1828800"/>
                <a:gd name="connsiteY0" fmla="*/ 0 h 914400"/>
                <a:gd name="connsiteX1" fmla="*/ 1747179 w 1828800"/>
                <a:gd name="connsiteY1" fmla="*/ 0 h 914400"/>
                <a:gd name="connsiteX2" fmla="*/ 1828800 w 1828800"/>
                <a:gd name="connsiteY2" fmla="*/ 457200 h 914400"/>
                <a:gd name="connsiteX3" fmla="*/ 1674680 w 1828800"/>
                <a:gd name="connsiteY3" fmla="*/ 914400 h 914400"/>
                <a:gd name="connsiteX4" fmla="*/ 0 w 1828800"/>
                <a:gd name="connsiteY4" fmla="*/ 914400 h 914400"/>
                <a:gd name="connsiteX5" fmla="*/ 81622 w 1828800"/>
                <a:gd name="connsiteY5" fmla="*/ 457203 h 914400"/>
                <a:gd name="connsiteX0" fmla="*/ 0 w 1828800"/>
                <a:gd name="connsiteY0" fmla="*/ 0 h 914400"/>
                <a:gd name="connsiteX1" fmla="*/ 1747179 w 1828800"/>
                <a:gd name="connsiteY1" fmla="*/ 0 h 914400"/>
                <a:gd name="connsiteX2" fmla="*/ 1828800 w 1828800"/>
                <a:gd name="connsiteY2" fmla="*/ 457200 h 914400"/>
                <a:gd name="connsiteX3" fmla="*/ 1747179 w 1828800"/>
                <a:gd name="connsiteY3" fmla="*/ 914400 h 914400"/>
                <a:gd name="connsiteX4" fmla="*/ 0 w 1828800"/>
                <a:gd name="connsiteY4" fmla="*/ 914400 h 914400"/>
                <a:gd name="connsiteX5" fmla="*/ 81622 w 1828800"/>
                <a:gd name="connsiteY5" fmla="*/ 457203 h 914400"/>
                <a:gd name="connsiteX0" fmla="*/ 0 w 1828800"/>
                <a:gd name="connsiteY0" fmla="*/ 0 h 914400"/>
                <a:gd name="connsiteX1" fmla="*/ 1747179 w 1828800"/>
                <a:gd name="connsiteY1" fmla="*/ 0 h 914400"/>
                <a:gd name="connsiteX2" fmla="*/ 1828800 w 1828800"/>
                <a:gd name="connsiteY2" fmla="*/ 457200 h 914400"/>
                <a:gd name="connsiteX3" fmla="*/ 1747179 w 1828800"/>
                <a:gd name="connsiteY3" fmla="*/ 914400 h 914400"/>
                <a:gd name="connsiteX4" fmla="*/ 0 w 1828800"/>
                <a:gd name="connsiteY4" fmla="*/ 914400 h 914400"/>
                <a:gd name="connsiteX5" fmla="*/ 102027 w 1828800"/>
                <a:gd name="connsiteY5" fmla="*/ 457203 h 914400"/>
                <a:gd name="connsiteX0" fmla="*/ 0 w 1828800"/>
                <a:gd name="connsiteY0" fmla="*/ 0 h 914400"/>
                <a:gd name="connsiteX1" fmla="*/ 1726773 w 1828800"/>
                <a:gd name="connsiteY1" fmla="*/ 0 h 914400"/>
                <a:gd name="connsiteX2" fmla="*/ 1828800 w 1828800"/>
                <a:gd name="connsiteY2" fmla="*/ 457200 h 914400"/>
                <a:gd name="connsiteX3" fmla="*/ 1747179 w 1828800"/>
                <a:gd name="connsiteY3" fmla="*/ 914400 h 914400"/>
                <a:gd name="connsiteX4" fmla="*/ 0 w 1828800"/>
                <a:gd name="connsiteY4" fmla="*/ 914400 h 914400"/>
                <a:gd name="connsiteX5" fmla="*/ 102027 w 1828800"/>
                <a:gd name="connsiteY5" fmla="*/ 457203 h 914400"/>
                <a:gd name="connsiteX0" fmla="*/ 0 w 1828800"/>
                <a:gd name="connsiteY0" fmla="*/ 0 h 914400"/>
                <a:gd name="connsiteX1" fmla="*/ 1726773 w 1828800"/>
                <a:gd name="connsiteY1" fmla="*/ 0 h 914400"/>
                <a:gd name="connsiteX2" fmla="*/ 1828800 w 1828800"/>
                <a:gd name="connsiteY2" fmla="*/ 457200 h 914400"/>
                <a:gd name="connsiteX3" fmla="*/ 1726773 w 1828800"/>
                <a:gd name="connsiteY3" fmla="*/ 914400 h 914400"/>
                <a:gd name="connsiteX4" fmla="*/ 0 w 1828800"/>
                <a:gd name="connsiteY4" fmla="*/ 914400 h 914400"/>
                <a:gd name="connsiteX5" fmla="*/ 102027 w 1828800"/>
                <a:gd name="connsiteY5" fmla="*/ 457203 h 914400"/>
                <a:gd name="connsiteX0" fmla="*/ 0 w 1828800"/>
                <a:gd name="connsiteY0" fmla="*/ 0 h 914400"/>
                <a:gd name="connsiteX1" fmla="*/ 1726773 w 1828800"/>
                <a:gd name="connsiteY1" fmla="*/ 0 h 914400"/>
                <a:gd name="connsiteX2" fmla="*/ 1828800 w 1828800"/>
                <a:gd name="connsiteY2" fmla="*/ 457200 h 914400"/>
                <a:gd name="connsiteX3" fmla="*/ 1726773 w 1828800"/>
                <a:gd name="connsiteY3" fmla="*/ 914400 h 914400"/>
                <a:gd name="connsiteX4" fmla="*/ 0 w 1828800"/>
                <a:gd name="connsiteY4" fmla="*/ 914400 h 914400"/>
                <a:gd name="connsiteX5" fmla="*/ 85882 w 1828800"/>
                <a:gd name="connsiteY5" fmla="*/ 457203 h 914400"/>
                <a:gd name="connsiteX0" fmla="*/ 0 w 1828800"/>
                <a:gd name="connsiteY0" fmla="*/ 0 h 914400"/>
                <a:gd name="connsiteX1" fmla="*/ 1742918 w 1828800"/>
                <a:gd name="connsiteY1" fmla="*/ 0 h 914400"/>
                <a:gd name="connsiteX2" fmla="*/ 1828800 w 1828800"/>
                <a:gd name="connsiteY2" fmla="*/ 457200 h 914400"/>
                <a:gd name="connsiteX3" fmla="*/ 1726773 w 1828800"/>
                <a:gd name="connsiteY3" fmla="*/ 914400 h 914400"/>
                <a:gd name="connsiteX4" fmla="*/ 0 w 1828800"/>
                <a:gd name="connsiteY4" fmla="*/ 914400 h 914400"/>
                <a:gd name="connsiteX5" fmla="*/ 85882 w 1828800"/>
                <a:gd name="connsiteY5" fmla="*/ 457203 h 914400"/>
                <a:gd name="connsiteX0" fmla="*/ 0 w 1828800"/>
                <a:gd name="connsiteY0" fmla="*/ 0 h 914400"/>
                <a:gd name="connsiteX1" fmla="*/ 1742918 w 1828800"/>
                <a:gd name="connsiteY1" fmla="*/ 0 h 914400"/>
                <a:gd name="connsiteX2" fmla="*/ 1828800 w 1828800"/>
                <a:gd name="connsiteY2" fmla="*/ 457200 h 914400"/>
                <a:gd name="connsiteX3" fmla="*/ 1742918 w 1828800"/>
                <a:gd name="connsiteY3" fmla="*/ 914400 h 914400"/>
                <a:gd name="connsiteX4" fmla="*/ 0 w 1828800"/>
                <a:gd name="connsiteY4" fmla="*/ 914400 h 914400"/>
                <a:gd name="connsiteX5" fmla="*/ 85882 w 1828800"/>
                <a:gd name="connsiteY5" fmla="*/ 457203 h 914400"/>
                <a:gd name="connsiteX0" fmla="*/ 0 w 1828800"/>
                <a:gd name="connsiteY0" fmla="*/ 0 h 914400"/>
                <a:gd name="connsiteX1" fmla="*/ 1742918 w 1828800"/>
                <a:gd name="connsiteY1" fmla="*/ 0 h 914400"/>
                <a:gd name="connsiteX2" fmla="*/ 1828800 w 1828800"/>
                <a:gd name="connsiteY2" fmla="*/ 457200 h 914400"/>
                <a:gd name="connsiteX3" fmla="*/ 1742918 w 1828800"/>
                <a:gd name="connsiteY3" fmla="*/ 914400 h 914400"/>
                <a:gd name="connsiteX4" fmla="*/ 0 w 1828800"/>
                <a:gd name="connsiteY4" fmla="*/ 914400 h 914400"/>
                <a:gd name="connsiteX5" fmla="*/ 107352 w 1828800"/>
                <a:gd name="connsiteY5" fmla="*/ 457203 h 914400"/>
                <a:gd name="connsiteX0" fmla="*/ 0 w 1828800"/>
                <a:gd name="connsiteY0" fmla="*/ 0 h 914400"/>
                <a:gd name="connsiteX1" fmla="*/ 1721448 w 1828800"/>
                <a:gd name="connsiteY1" fmla="*/ 0 h 914400"/>
                <a:gd name="connsiteX2" fmla="*/ 1828800 w 1828800"/>
                <a:gd name="connsiteY2" fmla="*/ 457200 h 914400"/>
                <a:gd name="connsiteX3" fmla="*/ 1742918 w 1828800"/>
                <a:gd name="connsiteY3" fmla="*/ 914400 h 914400"/>
                <a:gd name="connsiteX4" fmla="*/ 0 w 1828800"/>
                <a:gd name="connsiteY4" fmla="*/ 914400 h 914400"/>
                <a:gd name="connsiteX5" fmla="*/ 107352 w 1828800"/>
                <a:gd name="connsiteY5" fmla="*/ 457203 h 914400"/>
                <a:gd name="connsiteX0" fmla="*/ 0 w 1828800"/>
                <a:gd name="connsiteY0" fmla="*/ 0 h 914400"/>
                <a:gd name="connsiteX1" fmla="*/ 1721448 w 1828800"/>
                <a:gd name="connsiteY1" fmla="*/ 0 h 914400"/>
                <a:gd name="connsiteX2" fmla="*/ 1828800 w 1828800"/>
                <a:gd name="connsiteY2" fmla="*/ 457200 h 914400"/>
                <a:gd name="connsiteX3" fmla="*/ 1721448 w 1828800"/>
                <a:gd name="connsiteY3" fmla="*/ 914400 h 914400"/>
                <a:gd name="connsiteX4" fmla="*/ 0 w 1828800"/>
                <a:gd name="connsiteY4" fmla="*/ 914400 h 914400"/>
                <a:gd name="connsiteX5" fmla="*/ 107352 w 1828800"/>
                <a:gd name="connsiteY5" fmla="*/ 457203 h 914400"/>
                <a:gd name="connsiteX0" fmla="*/ 0 w 1828800"/>
                <a:gd name="connsiteY0" fmla="*/ 0 h 914400"/>
                <a:gd name="connsiteX1" fmla="*/ 1721448 w 1828800"/>
                <a:gd name="connsiteY1" fmla="*/ 0 h 914400"/>
                <a:gd name="connsiteX2" fmla="*/ 1828800 w 1828800"/>
                <a:gd name="connsiteY2" fmla="*/ 457200 h 914400"/>
                <a:gd name="connsiteX3" fmla="*/ 1721448 w 1828800"/>
                <a:gd name="connsiteY3" fmla="*/ 914400 h 914400"/>
                <a:gd name="connsiteX4" fmla="*/ 0 w 1828800"/>
                <a:gd name="connsiteY4" fmla="*/ 914400 h 914400"/>
                <a:gd name="connsiteX5" fmla="*/ 58276 w 1828800"/>
                <a:gd name="connsiteY5" fmla="*/ 457203 h 914400"/>
                <a:gd name="connsiteX0" fmla="*/ 0 w 1828800"/>
                <a:gd name="connsiteY0" fmla="*/ 0 h 914400"/>
                <a:gd name="connsiteX1" fmla="*/ 1770523 w 1828800"/>
                <a:gd name="connsiteY1" fmla="*/ 0 h 914400"/>
                <a:gd name="connsiteX2" fmla="*/ 1828800 w 1828800"/>
                <a:gd name="connsiteY2" fmla="*/ 457200 h 914400"/>
                <a:gd name="connsiteX3" fmla="*/ 1721448 w 1828800"/>
                <a:gd name="connsiteY3" fmla="*/ 914400 h 914400"/>
                <a:gd name="connsiteX4" fmla="*/ 0 w 1828800"/>
                <a:gd name="connsiteY4" fmla="*/ 914400 h 914400"/>
                <a:gd name="connsiteX5" fmla="*/ 58276 w 1828800"/>
                <a:gd name="connsiteY5" fmla="*/ 457203 h 914400"/>
                <a:gd name="connsiteX0" fmla="*/ 0 w 1828800"/>
                <a:gd name="connsiteY0" fmla="*/ 0 h 914400"/>
                <a:gd name="connsiteX1" fmla="*/ 1770523 w 1828800"/>
                <a:gd name="connsiteY1" fmla="*/ 0 h 914400"/>
                <a:gd name="connsiteX2" fmla="*/ 1828800 w 1828800"/>
                <a:gd name="connsiteY2" fmla="*/ 457200 h 914400"/>
                <a:gd name="connsiteX3" fmla="*/ 1770523 w 1828800"/>
                <a:gd name="connsiteY3" fmla="*/ 914400 h 914400"/>
                <a:gd name="connsiteX4" fmla="*/ 0 w 1828800"/>
                <a:gd name="connsiteY4" fmla="*/ 914400 h 914400"/>
                <a:gd name="connsiteX5" fmla="*/ 58276 w 1828800"/>
                <a:gd name="connsiteY5" fmla="*/ 457203 h 914400"/>
                <a:gd name="connsiteX0" fmla="*/ 0 w 1828800"/>
                <a:gd name="connsiteY0" fmla="*/ 0 h 914400"/>
                <a:gd name="connsiteX1" fmla="*/ 1770523 w 1828800"/>
                <a:gd name="connsiteY1" fmla="*/ 0 h 914400"/>
                <a:gd name="connsiteX2" fmla="*/ 1828800 w 1828800"/>
                <a:gd name="connsiteY2" fmla="*/ 457200 h 914400"/>
                <a:gd name="connsiteX3" fmla="*/ 1770523 w 1828800"/>
                <a:gd name="connsiteY3" fmla="*/ 914400 h 914400"/>
                <a:gd name="connsiteX4" fmla="*/ 0 w 1828800"/>
                <a:gd name="connsiteY4" fmla="*/ 914400 h 914400"/>
                <a:gd name="connsiteX5" fmla="*/ 72845 w 1828800"/>
                <a:gd name="connsiteY5" fmla="*/ 457203 h 914400"/>
                <a:gd name="connsiteX0" fmla="*/ 0 w 1828800"/>
                <a:gd name="connsiteY0" fmla="*/ 0 h 914400"/>
                <a:gd name="connsiteX1" fmla="*/ 1755954 w 1828800"/>
                <a:gd name="connsiteY1" fmla="*/ 0 h 914400"/>
                <a:gd name="connsiteX2" fmla="*/ 1828800 w 1828800"/>
                <a:gd name="connsiteY2" fmla="*/ 457200 h 914400"/>
                <a:gd name="connsiteX3" fmla="*/ 1770523 w 1828800"/>
                <a:gd name="connsiteY3" fmla="*/ 914400 h 914400"/>
                <a:gd name="connsiteX4" fmla="*/ 0 w 1828800"/>
                <a:gd name="connsiteY4" fmla="*/ 914400 h 914400"/>
                <a:gd name="connsiteX5" fmla="*/ 72845 w 1828800"/>
                <a:gd name="connsiteY5" fmla="*/ 457203 h 914400"/>
                <a:gd name="connsiteX0" fmla="*/ 0 w 1828800"/>
                <a:gd name="connsiteY0" fmla="*/ 0 h 914400"/>
                <a:gd name="connsiteX1" fmla="*/ 1755954 w 1828800"/>
                <a:gd name="connsiteY1" fmla="*/ 0 h 914400"/>
                <a:gd name="connsiteX2" fmla="*/ 1828800 w 1828800"/>
                <a:gd name="connsiteY2" fmla="*/ 457200 h 914400"/>
                <a:gd name="connsiteX3" fmla="*/ 1755954 w 1828800"/>
                <a:gd name="connsiteY3" fmla="*/ 914400 h 914400"/>
                <a:gd name="connsiteX4" fmla="*/ 0 w 1828800"/>
                <a:gd name="connsiteY4" fmla="*/ 914400 h 914400"/>
                <a:gd name="connsiteX5" fmla="*/ 72845 w 1828800"/>
                <a:gd name="connsiteY5" fmla="*/ 457203 h 914400"/>
                <a:gd name="connsiteX0" fmla="*/ 0 w 1828800"/>
                <a:gd name="connsiteY0" fmla="*/ 0 h 914400"/>
                <a:gd name="connsiteX1" fmla="*/ 1755954 w 1828800"/>
                <a:gd name="connsiteY1" fmla="*/ 0 h 914400"/>
                <a:gd name="connsiteX2" fmla="*/ 1828800 w 1828800"/>
                <a:gd name="connsiteY2" fmla="*/ 457200 h 914400"/>
                <a:gd name="connsiteX3" fmla="*/ 175595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63677 w 1828800"/>
                <a:gd name="connsiteY1" fmla="*/ 0 h 914400"/>
                <a:gd name="connsiteX2" fmla="*/ 1828800 w 1828800"/>
                <a:gd name="connsiteY2" fmla="*/ 457200 h 914400"/>
                <a:gd name="connsiteX3" fmla="*/ 1755954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63677 w 1828800"/>
                <a:gd name="connsiteY1" fmla="*/ 0 h 914400"/>
                <a:gd name="connsiteX2" fmla="*/ 1828800 w 1828800"/>
                <a:gd name="connsiteY2" fmla="*/ 457200 h 914400"/>
                <a:gd name="connsiteX3" fmla="*/ 176367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63677 w 1828800"/>
                <a:gd name="connsiteY1" fmla="*/ 0 h 914400"/>
                <a:gd name="connsiteX2" fmla="*/ 1828800 w 1828800"/>
                <a:gd name="connsiteY2" fmla="*/ 457200 h 914400"/>
                <a:gd name="connsiteX3" fmla="*/ 176367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47396 w 1828800"/>
                <a:gd name="connsiteY1" fmla="*/ 0 h 914400"/>
                <a:gd name="connsiteX2" fmla="*/ 1828800 w 1828800"/>
                <a:gd name="connsiteY2" fmla="*/ 457200 h 914400"/>
                <a:gd name="connsiteX3" fmla="*/ 176367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47396 w 1828800"/>
                <a:gd name="connsiteY1" fmla="*/ 0 h 914400"/>
                <a:gd name="connsiteX2" fmla="*/ 1828800 w 1828800"/>
                <a:gd name="connsiteY2" fmla="*/ 457200 h 914400"/>
                <a:gd name="connsiteX3" fmla="*/ 1747396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47396 w 1828800"/>
                <a:gd name="connsiteY1" fmla="*/ 0 h 914400"/>
                <a:gd name="connsiteX2" fmla="*/ 1828800 w 1828800"/>
                <a:gd name="connsiteY2" fmla="*/ 457200 h 914400"/>
                <a:gd name="connsiteX3" fmla="*/ 1747396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63677 w 1828800"/>
                <a:gd name="connsiteY1" fmla="*/ 0 h 914400"/>
                <a:gd name="connsiteX2" fmla="*/ 1828800 w 1828800"/>
                <a:gd name="connsiteY2" fmla="*/ 457200 h 914400"/>
                <a:gd name="connsiteX3" fmla="*/ 1747396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63677 w 1828800"/>
                <a:gd name="connsiteY1" fmla="*/ 0 h 914400"/>
                <a:gd name="connsiteX2" fmla="*/ 1828800 w 1828800"/>
                <a:gd name="connsiteY2" fmla="*/ 457200 h 914400"/>
                <a:gd name="connsiteX3" fmla="*/ 176367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63677 w 1828800"/>
                <a:gd name="connsiteY1" fmla="*/ 0 h 914400"/>
                <a:gd name="connsiteX2" fmla="*/ 1828800 w 1828800"/>
                <a:gd name="connsiteY2" fmla="*/ 457200 h 914400"/>
                <a:gd name="connsiteX3" fmla="*/ 176367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47396 w 1828800"/>
                <a:gd name="connsiteY1" fmla="*/ 0 h 914400"/>
                <a:gd name="connsiteX2" fmla="*/ 1828800 w 1828800"/>
                <a:gd name="connsiteY2" fmla="*/ 457200 h 914400"/>
                <a:gd name="connsiteX3" fmla="*/ 1763677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47396 w 1828800"/>
                <a:gd name="connsiteY1" fmla="*/ 0 h 914400"/>
                <a:gd name="connsiteX2" fmla="*/ 1828800 w 1828800"/>
                <a:gd name="connsiteY2" fmla="*/ 457200 h 914400"/>
                <a:gd name="connsiteX3" fmla="*/ 1747396 w 1828800"/>
                <a:gd name="connsiteY3" fmla="*/ 914400 h 914400"/>
                <a:gd name="connsiteX4" fmla="*/ 0 w 1828800"/>
                <a:gd name="connsiteY4" fmla="*/ 914400 h 914400"/>
                <a:gd name="connsiteX5" fmla="*/ 0 w 1828800"/>
                <a:gd name="connsiteY5" fmla="*/ 457203 h 914400"/>
                <a:gd name="connsiteX0" fmla="*/ 0 w 1828800"/>
                <a:gd name="connsiteY0" fmla="*/ 0 h 914400"/>
                <a:gd name="connsiteX1" fmla="*/ 1747396 w 1828800"/>
                <a:gd name="connsiteY1" fmla="*/ 0 h 914400"/>
                <a:gd name="connsiteX2" fmla="*/ 1828800 w 1828800"/>
                <a:gd name="connsiteY2" fmla="*/ 457200 h 914400"/>
                <a:gd name="connsiteX3" fmla="*/ 1747396 w 1828800"/>
                <a:gd name="connsiteY3" fmla="*/ 914400 h 914400"/>
                <a:gd name="connsiteX4" fmla="*/ 0 w 1828800"/>
                <a:gd name="connsiteY4" fmla="*/ 914400 h 914400"/>
                <a:gd name="connsiteX5" fmla="*/ 81403 w 1828800"/>
                <a:gd name="connsiteY5" fmla="*/ 457203 h 914400"/>
                <a:gd name="connsiteX0" fmla="*/ 0 w 1828800"/>
                <a:gd name="connsiteY0" fmla="*/ 0 h 914400"/>
                <a:gd name="connsiteX1" fmla="*/ 1747396 w 1828800"/>
                <a:gd name="connsiteY1" fmla="*/ 0 h 914400"/>
                <a:gd name="connsiteX2" fmla="*/ 1828800 w 1828800"/>
                <a:gd name="connsiteY2" fmla="*/ 457200 h 914400"/>
                <a:gd name="connsiteX3" fmla="*/ 1747396 w 1828800"/>
                <a:gd name="connsiteY3" fmla="*/ 914400 h 914400"/>
                <a:gd name="connsiteX4" fmla="*/ 0 w 1828800"/>
                <a:gd name="connsiteY4" fmla="*/ 914400 h 914400"/>
                <a:gd name="connsiteX5" fmla="*/ 81403 w 1828800"/>
                <a:gd name="connsiteY5" fmla="*/ 457203 h 914400"/>
                <a:gd name="connsiteX0" fmla="*/ 0 w 1828800"/>
                <a:gd name="connsiteY0" fmla="*/ 0 h 914400"/>
                <a:gd name="connsiteX1" fmla="*/ 1747396 w 1828800"/>
                <a:gd name="connsiteY1" fmla="*/ 0 h 914400"/>
                <a:gd name="connsiteX2" fmla="*/ 1828800 w 1828800"/>
                <a:gd name="connsiteY2" fmla="*/ 457200 h 914400"/>
                <a:gd name="connsiteX3" fmla="*/ 1747396 w 1828800"/>
                <a:gd name="connsiteY3" fmla="*/ 914400 h 914400"/>
                <a:gd name="connsiteX4" fmla="*/ 0 w 1828800"/>
                <a:gd name="connsiteY4" fmla="*/ 914400 h 914400"/>
                <a:gd name="connsiteX5" fmla="*/ 81403 w 1828800"/>
                <a:gd name="connsiteY5" fmla="*/ 457203 h 914400"/>
                <a:gd name="connsiteX0" fmla="*/ 0 w 1828800"/>
                <a:gd name="connsiteY0" fmla="*/ 0 h 914400"/>
                <a:gd name="connsiteX1" fmla="*/ 1747396 w 1828800"/>
                <a:gd name="connsiteY1" fmla="*/ 0 h 914400"/>
                <a:gd name="connsiteX2" fmla="*/ 1828800 w 1828800"/>
                <a:gd name="connsiteY2" fmla="*/ 457200 h 914400"/>
                <a:gd name="connsiteX3" fmla="*/ 1747396 w 1828800"/>
                <a:gd name="connsiteY3" fmla="*/ 914400 h 914400"/>
                <a:gd name="connsiteX4" fmla="*/ 0 w 1828800"/>
                <a:gd name="connsiteY4" fmla="*/ 914400 h 914400"/>
                <a:gd name="connsiteX5" fmla="*/ 104881 w 1828800"/>
                <a:gd name="connsiteY5" fmla="*/ 457203 h 914400"/>
                <a:gd name="connsiteX0" fmla="*/ 0 w 1828800"/>
                <a:gd name="connsiteY0" fmla="*/ 0 h 914400"/>
                <a:gd name="connsiteX1" fmla="*/ 1723920 w 1828800"/>
                <a:gd name="connsiteY1" fmla="*/ 0 h 914400"/>
                <a:gd name="connsiteX2" fmla="*/ 1828800 w 1828800"/>
                <a:gd name="connsiteY2" fmla="*/ 457200 h 914400"/>
                <a:gd name="connsiteX3" fmla="*/ 1747396 w 1828800"/>
                <a:gd name="connsiteY3" fmla="*/ 914400 h 914400"/>
                <a:gd name="connsiteX4" fmla="*/ 0 w 1828800"/>
                <a:gd name="connsiteY4" fmla="*/ 914400 h 914400"/>
                <a:gd name="connsiteX5" fmla="*/ 104881 w 1828800"/>
                <a:gd name="connsiteY5" fmla="*/ 457203 h 914400"/>
                <a:gd name="connsiteX0" fmla="*/ 0 w 1828800"/>
                <a:gd name="connsiteY0" fmla="*/ 0 h 914400"/>
                <a:gd name="connsiteX1" fmla="*/ 1723920 w 1828800"/>
                <a:gd name="connsiteY1" fmla="*/ 0 h 914400"/>
                <a:gd name="connsiteX2" fmla="*/ 1828800 w 1828800"/>
                <a:gd name="connsiteY2" fmla="*/ 457200 h 914400"/>
                <a:gd name="connsiteX3" fmla="*/ 1723920 w 1828800"/>
                <a:gd name="connsiteY3" fmla="*/ 914400 h 914400"/>
                <a:gd name="connsiteX4" fmla="*/ 0 w 1828800"/>
                <a:gd name="connsiteY4" fmla="*/ 914400 h 914400"/>
                <a:gd name="connsiteX5" fmla="*/ 104881 w 1828800"/>
                <a:gd name="connsiteY5" fmla="*/ 457203 h 914400"/>
                <a:gd name="connsiteX0" fmla="*/ 0 w 1828800"/>
                <a:gd name="connsiteY0" fmla="*/ 0 h 914400"/>
                <a:gd name="connsiteX1" fmla="*/ 1723920 w 1828800"/>
                <a:gd name="connsiteY1" fmla="*/ 0 h 914400"/>
                <a:gd name="connsiteX2" fmla="*/ 1828800 w 1828800"/>
                <a:gd name="connsiteY2" fmla="*/ 457200 h 914400"/>
                <a:gd name="connsiteX3" fmla="*/ 1723920 w 1828800"/>
                <a:gd name="connsiteY3" fmla="*/ 914400 h 914400"/>
                <a:gd name="connsiteX4" fmla="*/ 0 w 1828800"/>
                <a:gd name="connsiteY4" fmla="*/ 914400 h 914400"/>
                <a:gd name="connsiteX5" fmla="*/ 131102 w 1828800"/>
                <a:gd name="connsiteY5" fmla="*/ 457203 h 914400"/>
                <a:gd name="connsiteX0" fmla="*/ 0 w 1828800"/>
                <a:gd name="connsiteY0" fmla="*/ 0 h 914400"/>
                <a:gd name="connsiteX1" fmla="*/ 1697700 w 1828800"/>
                <a:gd name="connsiteY1" fmla="*/ 0 h 914400"/>
                <a:gd name="connsiteX2" fmla="*/ 1828800 w 1828800"/>
                <a:gd name="connsiteY2" fmla="*/ 457200 h 914400"/>
                <a:gd name="connsiteX3" fmla="*/ 1723920 w 1828800"/>
                <a:gd name="connsiteY3" fmla="*/ 914400 h 914400"/>
                <a:gd name="connsiteX4" fmla="*/ 0 w 1828800"/>
                <a:gd name="connsiteY4" fmla="*/ 914400 h 914400"/>
                <a:gd name="connsiteX5" fmla="*/ 131102 w 1828800"/>
                <a:gd name="connsiteY5" fmla="*/ 457203 h 914400"/>
                <a:gd name="connsiteX0" fmla="*/ 0 w 1828800"/>
                <a:gd name="connsiteY0" fmla="*/ 0 h 914400"/>
                <a:gd name="connsiteX1" fmla="*/ 1697700 w 1828800"/>
                <a:gd name="connsiteY1" fmla="*/ 0 h 914400"/>
                <a:gd name="connsiteX2" fmla="*/ 1828800 w 1828800"/>
                <a:gd name="connsiteY2" fmla="*/ 457200 h 914400"/>
                <a:gd name="connsiteX3" fmla="*/ 1697700 w 1828800"/>
                <a:gd name="connsiteY3" fmla="*/ 914400 h 914400"/>
                <a:gd name="connsiteX4" fmla="*/ 0 w 1828800"/>
                <a:gd name="connsiteY4" fmla="*/ 914400 h 914400"/>
                <a:gd name="connsiteX5" fmla="*/ 131102 w 1828800"/>
                <a:gd name="connsiteY5" fmla="*/ 457203 h 914400"/>
                <a:gd name="connsiteX0" fmla="*/ 0 w 1828800"/>
                <a:gd name="connsiteY0" fmla="*/ 0 h 914400"/>
                <a:gd name="connsiteX1" fmla="*/ 1697700 w 1828800"/>
                <a:gd name="connsiteY1" fmla="*/ 0 h 914400"/>
                <a:gd name="connsiteX2" fmla="*/ 1828800 w 1828800"/>
                <a:gd name="connsiteY2" fmla="*/ 457200 h 914400"/>
                <a:gd name="connsiteX3" fmla="*/ 1697700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97700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89204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89204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0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174495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174495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174495 w 1828800"/>
                <a:gd name="connsiteY5" fmla="*/ 457204 h 914400"/>
                <a:gd name="connsiteX0" fmla="*/ 0 w 1828800"/>
                <a:gd name="connsiteY0" fmla="*/ 0 h 914400"/>
                <a:gd name="connsiteX1" fmla="*/ 165430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201737 w 1828800"/>
                <a:gd name="connsiteY5" fmla="*/ 457204 h 914400"/>
                <a:gd name="connsiteX0" fmla="*/ 0 w 1828800"/>
                <a:gd name="connsiteY0" fmla="*/ 0 h 914400"/>
                <a:gd name="connsiteX1" fmla="*/ 1627065 w 1828800"/>
                <a:gd name="connsiteY1" fmla="*/ 0 h 914400"/>
                <a:gd name="connsiteX2" fmla="*/ 1828800 w 1828800"/>
                <a:gd name="connsiteY2" fmla="*/ 457200 h 914400"/>
                <a:gd name="connsiteX3" fmla="*/ 1654305 w 1828800"/>
                <a:gd name="connsiteY3" fmla="*/ 914400 h 914400"/>
                <a:gd name="connsiteX4" fmla="*/ 0 w 1828800"/>
                <a:gd name="connsiteY4" fmla="*/ 914400 h 914400"/>
                <a:gd name="connsiteX5" fmla="*/ 201737 w 1828800"/>
                <a:gd name="connsiteY5" fmla="*/ 457204 h 914400"/>
                <a:gd name="connsiteX0" fmla="*/ 0 w 1828800"/>
                <a:gd name="connsiteY0" fmla="*/ 0 h 914400"/>
                <a:gd name="connsiteX1" fmla="*/ 1627065 w 1828800"/>
                <a:gd name="connsiteY1" fmla="*/ 0 h 914400"/>
                <a:gd name="connsiteX2" fmla="*/ 1828800 w 1828800"/>
                <a:gd name="connsiteY2" fmla="*/ 457200 h 914400"/>
                <a:gd name="connsiteX3" fmla="*/ 1627065 w 1828800"/>
                <a:gd name="connsiteY3" fmla="*/ 914400 h 914400"/>
                <a:gd name="connsiteX4" fmla="*/ 0 w 1828800"/>
                <a:gd name="connsiteY4" fmla="*/ 914400 h 914400"/>
                <a:gd name="connsiteX5" fmla="*/ 201737 w 1828800"/>
                <a:gd name="connsiteY5" fmla="*/ 457204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27065" y="0"/>
                  </a:lnTo>
                  <a:lnTo>
                    <a:pt x="1828800" y="457200"/>
                  </a:lnTo>
                  <a:lnTo>
                    <a:pt x="1627065" y="914400"/>
                  </a:lnTo>
                  <a:lnTo>
                    <a:pt x="0" y="914400"/>
                  </a:lnTo>
                  <a:lnTo>
                    <a:pt x="201737" y="457204"/>
                  </a:lnTo>
                  <a:close/>
                </a:path>
              </a:pathLst>
            </a:cu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400" fontAlgn="base">
                <a:spcBef>
                  <a:spcPct val="0"/>
                </a:spcBef>
                <a:spcAft>
                  <a:spcPct val="0"/>
                </a:spcAft>
              </a:pPr>
              <a:endParaRPr lang="en-US" sz="800" dirty="0">
                <a:solidFill>
                  <a:srgbClr val="000000"/>
                </a:solidFill>
              </a:endParaRPr>
            </a:p>
          </p:txBody>
        </p:sp>
        <p:sp>
          <p:nvSpPr>
            <p:cNvPr id="266" name="TextBox 265"/>
            <p:cNvSpPr txBox="1"/>
            <p:nvPr>
              <p:custDataLst>
                <p:tags r:id="rId4"/>
              </p:custDataLst>
            </p:nvPr>
          </p:nvSpPr>
          <p:spPr>
            <a:xfrm>
              <a:off x="8142862" y="1390642"/>
              <a:ext cx="678564" cy="49385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pPr>
              <a:r>
                <a:rPr lang="en-US" sz="800" b="1" dirty="0">
                  <a:solidFill>
                    <a:srgbClr val="01632F"/>
                  </a:solidFill>
                </a:rPr>
                <a:t>Post-harvest management, quality and standards</a:t>
              </a:r>
            </a:p>
          </p:txBody>
        </p:sp>
      </p:grpSp>
    </p:spTree>
    <p:extLst>
      <p:ext uri="{BB962C8B-B14F-4D97-AF65-F5344CB8AC3E}">
        <p14:creationId xmlns:p14="http://schemas.microsoft.com/office/powerpoint/2010/main" val="372026851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287" name="think-cell Slide" r:id="rId5" imgW="327" imgH="327" progId="TCLayout.ActiveDocument.1">
                  <p:embed/>
                </p:oleObj>
              </mc:Choice>
              <mc:Fallback>
                <p:oleObj name="think-cell Slide" r:id="rId5" imgW="327" imgH="327"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000" b="1" dirty="0">
              <a:latin typeface="Arial" panose="020B0604020202020204" pitchFamily="34" charset="0"/>
              <a:cs typeface="Arial" panose="020B0604020202020204" pitchFamily="34" charset="0"/>
              <a:sym typeface="Arial" panose="020B0604020202020204" pitchFamily="34" charset="0"/>
            </a:endParaRPr>
          </a:p>
        </p:txBody>
      </p:sp>
      <p:sp>
        <p:nvSpPr>
          <p:cNvPr id="7" name="Title 6"/>
          <p:cNvSpPr>
            <a:spLocks noGrp="1"/>
          </p:cNvSpPr>
          <p:nvPr>
            <p:ph type="title"/>
          </p:nvPr>
        </p:nvSpPr>
        <p:spPr/>
        <p:txBody>
          <a:bodyPr/>
          <a:lstStyle/>
          <a:p>
            <a:r>
              <a:rPr lang="en-US" sz="2000" dirty="0"/>
              <a:t>In addition to Macro-economic analysis, AGRA also carried out analysis of  specific systems to inform the strategy</a:t>
            </a:r>
          </a:p>
        </p:txBody>
      </p:sp>
      <p:sp>
        <p:nvSpPr>
          <p:cNvPr id="10" name="TextBox 9"/>
          <p:cNvSpPr txBox="1"/>
          <p:nvPr/>
        </p:nvSpPr>
        <p:spPr>
          <a:xfrm>
            <a:off x="275302" y="848666"/>
            <a:ext cx="3384222" cy="276999"/>
          </a:xfrm>
          <a:prstGeom prst="rect">
            <a:avLst/>
          </a:prstGeom>
          <a:noFill/>
        </p:spPr>
        <p:txBody>
          <a:bodyPr wrap="square" rtlCol="0">
            <a:spAutoFit/>
          </a:bodyPr>
          <a:lstStyle/>
          <a:p>
            <a:r>
              <a:rPr lang="en-US" sz="1200" b="1" dirty="0" smtClean="0"/>
              <a:t>Seed systems</a:t>
            </a:r>
            <a:endParaRPr lang="en-US" sz="1200" b="1" dirty="0"/>
          </a:p>
        </p:txBody>
      </p:sp>
      <p:graphicFrame>
        <p:nvGraphicFramePr>
          <p:cNvPr id="11" name="Table 10"/>
          <p:cNvGraphicFramePr>
            <a:graphicFrameLocks noGrp="1"/>
          </p:cNvGraphicFramePr>
          <p:nvPr>
            <p:extLst>
              <p:ext uri="{D42A27DB-BD31-4B8C-83A1-F6EECF244321}">
                <p14:modId xmlns:p14="http://schemas.microsoft.com/office/powerpoint/2010/main" val="993858560"/>
              </p:ext>
            </p:extLst>
          </p:nvPr>
        </p:nvGraphicFramePr>
        <p:xfrm>
          <a:off x="356473" y="1104822"/>
          <a:ext cx="9418320" cy="5015232"/>
        </p:xfrm>
        <a:graphic>
          <a:graphicData uri="http://schemas.openxmlformats.org/drawingml/2006/table">
            <a:tbl>
              <a:tblPr firstRow="1" bandRow="1">
                <a:tableStyleId>{2D5ABB26-0587-4C30-8999-92F81FD0307C}</a:tableStyleId>
              </a:tblPr>
              <a:tblGrid>
                <a:gridCol w="1569720">
                  <a:extLst>
                    <a:ext uri="{9D8B030D-6E8A-4147-A177-3AD203B41FA5}">
                      <a16:colId xmlns:a16="http://schemas.microsoft.com/office/drawing/2014/main" val="20000"/>
                    </a:ext>
                  </a:extLst>
                </a:gridCol>
                <a:gridCol w="1569720">
                  <a:extLst>
                    <a:ext uri="{9D8B030D-6E8A-4147-A177-3AD203B41FA5}">
                      <a16:colId xmlns:a16="http://schemas.microsoft.com/office/drawing/2014/main" val="20001"/>
                    </a:ext>
                  </a:extLst>
                </a:gridCol>
                <a:gridCol w="1569720">
                  <a:extLst>
                    <a:ext uri="{9D8B030D-6E8A-4147-A177-3AD203B41FA5}">
                      <a16:colId xmlns:a16="http://schemas.microsoft.com/office/drawing/2014/main" val="20002"/>
                    </a:ext>
                  </a:extLst>
                </a:gridCol>
                <a:gridCol w="1471801">
                  <a:extLst>
                    <a:ext uri="{9D8B030D-6E8A-4147-A177-3AD203B41FA5}">
                      <a16:colId xmlns:a16="http://schemas.microsoft.com/office/drawing/2014/main" val="20003"/>
                    </a:ext>
                  </a:extLst>
                </a:gridCol>
                <a:gridCol w="1667639">
                  <a:extLst>
                    <a:ext uri="{9D8B030D-6E8A-4147-A177-3AD203B41FA5}">
                      <a16:colId xmlns:a16="http://schemas.microsoft.com/office/drawing/2014/main" val="20004"/>
                    </a:ext>
                  </a:extLst>
                </a:gridCol>
                <a:gridCol w="1569720">
                  <a:extLst>
                    <a:ext uri="{9D8B030D-6E8A-4147-A177-3AD203B41FA5}">
                      <a16:colId xmlns:a16="http://schemas.microsoft.com/office/drawing/2014/main" val="20005"/>
                    </a:ext>
                  </a:extLst>
                </a:gridCol>
              </a:tblGrid>
              <a:tr h="414104">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000" b="1" dirty="0" smtClean="0">
                          <a:solidFill>
                            <a:schemeClr val="bg1"/>
                          </a:solidFill>
                        </a:rPr>
                        <a:t>Breeding</a:t>
                      </a:r>
                      <a:r>
                        <a:rPr lang="en-US" sz="1000" b="1" baseline="0" dirty="0" smtClean="0">
                          <a:solidFill>
                            <a:schemeClr val="bg1"/>
                          </a:solidFill>
                        </a:rPr>
                        <a:t> and variety release</a:t>
                      </a:r>
                      <a:endParaRPr lang="en-US" sz="1000" b="1" dirty="0" smtClean="0">
                        <a:solidFill>
                          <a:schemeClr val="bg1"/>
                        </a:solidFill>
                      </a:endParaRPr>
                    </a:p>
                    <a:p>
                      <a:endParaRPr lang="en-US" sz="1000" b="1" dirty="0">
                        <a:solidFill>
                          <a:schemeClr val="bg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75000"/>
                      </a:schemeClr>
                    </a:solidFill>
                  </a:tcPr>
                </a:tc>
                <a:tc>
                  <a:txBody>
                    <a:bodyPr/>
                    <a:lstStyle/>
                    <a:p>
                      <a:r>
                        <a:rPr lang="en-US" sz="1000" b="1" dirty="0" smtClean="0">
                          <a:solidFill>
                            <a:schemeClr val="bg1"/>
                          </a:solidFill>
                        </a:rPr>
                        <a:t>EGS supply</a:t>
                      </a:r>
                      <a:endParaRPr lang="en-US" sz="1000" b="1" dirty="0">
                        <a:solidFill>
                          <a:schemeClr val="bg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75000"/>
                      </a:schemeClr>
                    </a:solidFill>
                  </a:tcPr>
                </a:tc>
                <a:tc>
                  <a:txBody>
                    <a:bodyPr/>
                    <a:lstStyle/>
                    <a:p>
                      <a:r>
                        <a:rPr lang="en-US" sz="1000" b="1" dirty="0" smtClean="0">
                          <a:solidFill>
                            <a:schemeClr val="bg1"/>
                          </a:solidFill>
                        </a:rPr>
                        <a:t>Certified seed production</a:t>
                      </a:r>
                      <a:endParaRPr lang="en-US" sz="1000" b="1" dirty="0">
                        <a:solidFill>
                          <a:schemeClr val="bg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75000"/>
                      </a:schemeClr>
                    </a:solidFill>
                  </a:tcPr>
                </a:tc>
                <a:tc>
                  <a:txBody>
                    <a:bodyPr/>
                    <a:lstStyle/>
                    <a:p>
                      <a:r>
                        <a:rPr lang="en-US" sz="1000" b="1" dirty="0" smtClean="0">
                          <a:solidFill>
                            <a:schemeClr val="bg1"/>
                          </a:solidFill>
                        </a:rPr>
                        <a:t>Awareness by farmers</a:t>
                      </a:r>
                      <a:endParaRPr lang="en-US" sz="1000" b="1" dirty="0">
                        <a:solidFill>
                          <a:schemeClr val="bg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75000"/>
                      </a:schemeClr>
                    </a:solidFill>
                  </a:tcPr>
                </a:tc>
                <a:tc>
                  <a:txBody>
                    <a:bodyPr/>
                    <a:lstStyle/>
                    <a:p>
                      <a:r>
                        <a:rPr lang="en-US" sz="1000" b="1" dirty="0" smtClean="0">
                          <a:solidFill>
                            <a:schemeClr val="bg1"/>
                          </a:solidFill>
                        </a:rPr>
                        <a:t>Marketing</a:t>
                      </a:r>
                      <a:r>
                        <a:rPr lang="en-US" sz="1000" b="1" baseline="0" dirty="0" smtClean="0">
                          <a:solidFill>
                            <a:schemeClr val="bg1"/>
                          </a:solidFill>
                        </a:rPr>
                        <a:t> and distribution</a:t>
                      </a:r>
                      <a:endParaRPr lang="en-US" sz="1000" b="1" dirty="0">
                        <a:solidFill>
                          <a:schemeClr val="bg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000" b="1" dirty="0" smtClean="0">
                          <a:solidFill>
                            <a:schemeClr val="bg1"/>
                          </a:solidFill>
                        </a:rPr>
                        <a:t>Regulation</a:t>
                      </a:r>
                    </a:p>
                    <a:p>
                      <a:endParaRPr lang="en-US" sz="1000" b="1" dirty="0">
                        <a:solidFill>
                          <a:schemeClr val="bg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75000"/>
                      </a:schemeClr>
                    </a:solidFill>
                  </a:tcPr>
                </a:tc>
                <a:extLst>
                  <a:ext uri="{0D108BD9-81ED-4DB2-BD59-A6C34878D82A}">
                    <a16:rowId xmlns:a16="http://schemas.microsoft.com/office/drawing/2014/main" val="10000"/>
                  </a:ext>
                </a:extLst>
              </a:tr>
              <a:tr h="2510027">
                <a:tc>
                  <a:txBody>
                    <a:bodyPr/>
                    <a:lstStyle/>
                    <a:p>
                      <a:pPr marL="128588" indent="-128588" defTabSz="685800">
                        <a:spcAft>
                          <a:spcPts val="225"/>
                        </a:spcAft>
                        <a:buFont typeface="Arial" panose="020B0604020202020204" pitchFamily="34" charset="0"/>
                        <a:buChar char="•"/>
                      </a:pPr>
                      <a:r>
                        <a:rPr lang="en-US" sz="1000" dirty="0"/>
                        <a:t>Breeding is conducted by public entities (such as for most food crops in Ethiopia), business models for breeder and foundation seed production and delivery may be complex.</a:t>
                      </a:r>
                    </a:p>
                    <a:p>
                      <a:pPr marL="128588" indent="-128588" defTabSz="685800">
                        <a:spcAft>
                          <a:spcPts val="225"/>
                        </a:spcAft>
                        <a:buFont typeface="Arial" panose="020B0604020202020204" pitchFamily="34" charset="0"/>
                        <a:buChar char="•"/>
                      </a:pPr>
                      <a:r>
                        <a:rPr lang="en-US" sz="1000" dirty="0"/>
                        <a:t>Ethiopian seed system is highly dominated by the informal sector (defined as farmers producing and exchanging their own seeds).</a:t>
                      </a:r>
                      <a:endParaRPr lang="en-US" sz="1000" dirty="0">
                        <a:solidFill>
                          <a:srgbClr val="F07F09"/>
                        </a:solidFill>
                        <a:latin typeface="Calibri" panose="020F0502020204030204"/>
                      </a:endParaRPr>
                    </a:p>
                  </a:txBody>
                  <a:tcPr marL="74295" marR="74295" marT="37148" marB="3714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28588" indent="-128588" defTabSz="685800">
                        <a:spcAft>
                          <a:spcPts val="225"/>
                        </a:spcAft>
                        <a:buFont typeface="Arial" panose="020B0604020202020204" pitchFamily="34" charset="0"/>
                        <a:buChar char="•"/>
                      </a:pPr>
                      <a:r>
                        <a:rPr lang="en-US" sz="1000" dirty="0"/>
                        <a:t>Lack of adequate access to early generation seed</a:t>
                      </a:r>
                    </a:p>
                    <a:p>
                      <a:pPr marL="128588" indent="-128588" defTabSz="685800">
                        <a:spcAft>
                          <a:spcPts val="225"/>
                        </a:spcAft>
                        <a:buFont typeface="Arial" panose="020B0604020202020204" pitchFamily="34" charset="0"/>
                        <a:buChar char="•"/>
                      </a:pPr>
                      <a:r>
                        <a:rPr lang="en-US" sz="1000" dirty="0"/>
                        <a:t>Allocation and distribution of source seed has been solely managed by </a:t>
                      </a:r>
                      <a:r>
                        <a:rPr lang="en-US" sz="1000" dirty="0" err="1"/>
                        <a:t>BoAs</a:t>
                      </a:r>
                      <a:r>
                        <a:rPr lang="en-US" sz="1000" dirty="0"/>
                        <a:t>, which does not allow a direct link between source seed producers (research and PSEs) and producer cooperatives</a:t>
                      </a:r>
                    </a:p>
                  </a:txBody>
                  <a:tcPr marL="74295" marR="74295" marT="37148" marB="3714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28588" indent="-128588" defTabSz="685800">
                        <a:spcAft>
                          <a:spcPts val="225"/>
                        </a:spcAft>
                        <a:buFont typeface="Arial" panose="020B0604020202020204" pitchFamily="34" charset="0"/>
                        <a:buChar char="•"/>
                      </a:pPr>
                      <a:r>
                        <a:rPr lang="en-US" sz="1000" dirty="0"/>
                        <a:t>Public seed enterprises (PSEs) have the largest share in the production and marketing of certified seed</a:t>
                      </a:r>
                    </a:p>
                    <a:p>
                      <a:pPr marL="128588" indent="-128588" defTabSz="685800">
                        <a:spcAft>
                          <a:spcPts val="225"/>
                        </a:spcAft>
                        <a:buFont typeface="Arial" panose="020B0604020202020204" pitchFamily="34" charset="0"/>
                        <a:buChar char="•"/>
                      </a:pPr>
                      <a:r>
                        <a:rPr lang="en-US" sz="1000" dirty="0"/>
                        <a:t>35 Privately owned seed companies operating at varying scales</a:t>
                      </a:r>
                    </a:p>
                    <a:p>
                      <a:pPr marL="128588" indent="-128588" defTabSz="685800">
                        <a:spcAft>
                          <a:spcPts val="225"/>
                        </a:spcAft>
                        <a:buFont typeface="Arial" panose="020B0604020202020204" pitchFamily="34" charset="0"/>
                        <a:buChar char="•"/>
                      </a:pPr>
                      <a:r>
                        <a:rPr lang="en-US" sz="1000" dirty="0"/>
                        <a:t>Farmer organizations are also major producers of seed. Because of their fundamental mandate of serving farmers’ interest, they are well positioned to produce and distribute seeds that will maximize the benefit to farmers.</a:t>
                      </a:r>
                    </a:p>
                  </a:txBody>
                  <a:tcPr marL="74295" marR="74295" marT="37148" marB="3714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28588" indent="-128588" defTabSz="685800">
                        <a:spcAft>
                          <a:spcPts val="225"/>
                        </a:spcAft>
                        <a:buFont typeface="Arial" panose="020B0604020202020204" pitchFamily="34" charset="0"/>
                        <a:buChar char="•"/>
                      </a:pPr>
                      <a:r>
                        <a:rPr lang="en-US" sz="1000" dirty="0"/>
                        <a:t>Limited commercialization and adoption of improved varieties by seed producers and farmers</a:t>
                      </a:r>
                    </a:p>
                    <a:p>
                      <a:pPr marL="128588" indent="-128588" defTabSz="685800">
                        <a:spcAft>
                          <a:spcPts val="225"/>
                        </a:spcAft>
                        <a:buFont typeface="Arial" panose="020B0604020202020204" pitchFamily="34" charset="0"/>
                        <a:buChar char="•"/>
                      </a:pPr>
                      <a:r>
                        <a:rPr lang="en-US" sz="1000" dirty="0"/>
                        <a:t>Variety development didn’t incorporate traits beyond simply yield</a:t>
                      </a:r>
                    </a:p>
                    <a:p>
                      <a:pPr marL="128588" indent="-128588" defTabSz="685800">
                        <a:spcAft>
                          <a:spcPts val="225"/>
                        </a:spcAft>
                        <a:buFont typeface="Arial" panose="020B0604020202020204" pitchFamily="34" charset="0"/>
                        <a:buChar char="•"/>
                      </a:pPr>
                      <a:r>
                        <a:rPr lang="en-US" sz="1000" dirty="0"/>
                        <a:t>Research institutions and producers should work to actively popularize new improved varieties to drive adoption</a:t>
                      </a:r>
                    </a:p>
                  </a:txBody>
                  <a:tcPr marL="74295" marR="74295" marT="37148" marB="3714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28588" indent="-128588" defTabSz="685800">
                        <a:spcAft>
                          <a:spcPts val="225"/>
                        </a:spcAft>
                        <a:buFont typeface="Arial" panose="020B0604020202020204" pitchFamily="34" charset="0"/>
                        <a:buChar char="•"/>
                      </a:pPr>
                      <a:r>
                        <a:rPr lang="en-US" sz="1000" dirty="0"/>
                        <a:t>Marketing agents currently lack the means and incentives to distribute seed effectively</a:t>
                      </a:r>
                    </a:p>
                    <a:p>
                      <a:pPr marL="128588" indent="-128588" defTabSz="685800">
                        <a:spcAft>
                          <a:spcPts val="225"/>
                        </a:spcAft>
                        <a:buFont typeface="Arial" panose="020B0604020202020204" pitchFamily="34" charset="0"/>
                        <a:buChar char="•"/>
                      </a:pPr>
                      <a:r>
                        <a:rPr lang="en-US" sz="1000" dirty="0"/>
                        <a:t>Fixed pricing for public varieties dis-incentivizes producers and distributors to invest in quality and marketing</a:t>
                      </a:r>
                    </a:p>
                    <a:p>
                      <a:pPr marL="128588" indent="-128588" defTabSz="685800">
                        <a:spcAft>
                          <a:spcPts val="225"/>
                        </a:spcAft>
                        <a:buFont typeface="Arial" panose="020B0604020202020204" pitchFamily="34" charset="0"/>
                        <a:buChar char="•"/>
                      </a:pPr>
                      <a:r>
                        <a:rPr lang="en-US" sz="1000" dirty="0"/>
                        <a:t>Producers and distributors lack appropriate access to finance, transport and storage facilities</a:t>
                      </a:r>
                    </a:p>
                  </a:txBody>
                  <a:tcPr marL="74295" marR="74295" marT="37148" marB="3714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28588" indent="-128588" defTabSz="685800">
                        <a:spcAft>
                          <a:spcPts val="225"/>
                        </a:spcAft>
                        <a:buFont typeface="Arial" panose="020B0604020202020204" pitchFamily="34" charset="0"/>
                        <a:buChar char="•"/>
                      </a:pPr>
                      <a:r>
                        <a:rPr lang="en-US" sz="1000" dirty="0"/>
                        <a:t>New seed proclamation endorsed by the House of Representatives after a thorough evaluation by partners</a:t>
                      </a:r>
                    </a:p>
                    <a:p>
                      <a:pPr marL="128588" indent="-128588" defTabSz="685800">
                        <a:spcAft>
                          <a:spcPts val="225"/>
                        </a:spcAft>
                        <a:buFont typeface="Arial" panose="020B0604020202020204" pitchFamily="34" charset="0"/>
                        <a:buChar char="•"/>
                      </a:pPr>
                      <a:r>
                        <a:rPr lang="en-US" sz="1000" dirty="0"/>
                        <a:t>Regulatory bodies at both the Regional and the Federal levels are being restructured to be more independent and autonomous</a:t>
                      </a:r>
                    </a:p>
                    <a:p>
                      <a:pPr marL="128588" indent="-128588" defTabSz="685800">
                        <a:spcAft>
                          <a:spcPts val="225"/>
                        </a:spcAft>
                        <a:buFont typeface="Arial" panose="020B0604020202020204" pitchFamily="34" charset="0"/>
                        <a:buChar char="•"/>
                      </a:pPr>
                      <a:r>
                        <a:rPr lang="en-US" sz="1000" dirty="0"/>
                        <a:t>Old seed quality standards were revised in collaboration with the Ethiopian Standard Authority and 27 of them endorsed and distributed to users</a:t>
                      </a:r>
                    </a:p>
                  </a:txBody>
                  <a:tcPr marL="74295" marR="74295" marT="37148" marB="3714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001"/>
                  </a:ext>
                </a:extLst>
              </a:tr>
              <a:tr h="1042172">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000" dirty="0"/>
                        <a:t>Very long variety release process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000" dirty="0"/>
                        <a:t>Post-release duties and rights of the variety owners are not enforced due to capacity constraints</a:t>
                      </a:r>
                    </a:p>
                  </a:txBody>
                  <a:tcPr marL="74295" marR="74295" marT="37148" marB="3714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sz="1000" dirty="0"/>
                        <a:t>Shortage of quality foundation seed for most crop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sz="1000" dirty="0"/>
                        <a:t>Weak linkage between EGS EIAR &amp; private seed companies</a:t>
                      </a:r>
                    </a:p>
                  </a:txBody>
                  <a:tcPr marL="74295" marR="74295" marT="37148" marB="3714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000" dirty="0"/>
                        <a:t>Low volumes of production and sales for certified seed for all key food crops</a:t>
                      </a:r>
                    </a:p>
                  </a:txBody>
                  <a:tcPr marL="74295" marR="74295" marT="37148" marB="3714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28588" indent="-128588" defTabSz="685800">
                        <a:spcAft>
                          <a:spcPts val="225"/>
                        </a:spcAft>
                        <a:buFont typeface="Arial" panose="020B0604020202020204" pitchFamily="34" charset="0"/>
                        <a:buChar char="•"/>
                      </a:pPr>
                      <a:r>
                        <a:rPr lang="en-US" sz="1000" dirty="0"/>
                        <a:t>Insufficient private sector engagement in raising awareness of improved varieties among farmers.</a:t>
                      </a:r>
                    </a:p>
                  </a:txBody>
                  <a:tcPr marL="74295" marR="74295" marT="37148" marB="3714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28588" indent="-128588" defTabSz="685800">
                        <a:spcAft>
                          <a:spcPts val="225"/>
                        </a:spcAft>
                        <a:buFont typeface="Arial" panose="020B0604020202020204" pitchFamily="34" charset="0"/>
                        <a:buChar char="•"/>
                      </a:pPr>
                      <a:r>
                        <a:rPr lang="en-US" sz="1000" dirty="0"/>
                        <a:t>Under-developed agro-dealer network: insufficient number and capacity</a:t>
                      </a:r>
                    </a:p>
                    <a:p>
                      <a:pPr marL="128588" indent="-128588" defTabSz="685800">
                        <a:spcAft>
                          <a:spcPts val="225"/>
                        </a:spcAft>
                        <a:buFont typeface="Arial" panose="020B0604020202020204" pitchFamily="34" charset="0"/>
                        <a:buChar char="•"/>
                      </a:pPr>
                      <a:r>
                        <a:rPr lang="en-US" sz="1000" dirty="0"/>
                        <a:t>Long duration for seed importation</a:t>
                      </a:r>
                      <a:endParaRPr lang="en-US" sz="1000" dirty="0">
                        <a:solidFill>
                          <a:srgbClr val="C19859"/>
                        </a:solidFill>
                        <a:latin typeface="Calibri" panose="020F0502020204030204"/>
                      </a:endParaRPr>
                    </a:p>
                  </a:txBody>
                  <a:tcPr marL="74295" marR="74295" marT="37148" marB="3714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000" dirty="0" err="1"/>
                        <a:t>MoA</a:t>
                      </a:r>
                      <a:r>
                        <a:rPr lang="en-US" sz="1000" dirty="0"/>
                        <a:t> has insufficient seed inspection capacity, leading to a high rate of seed adulteration.</a:t>
                      </a:r>
                      <a:endParaRPr lang="en-GB" sz="1000" dirty="0"/>
                    </a:p>
                  </a:txBody>
                  <a:tcPr marL="74295" marR="74295" marT="37148" marB="37148">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12" name="TextBox 11"/>
          <p:cNvSpPr txBox="1"/>
          <p:nvPr/>
        </p:nvSpPr>
        <p:spPr>
          <a:xfrm rot="16200000">
            <a:off x="-358219" y="2381517"/>
            <a:ext cx="1112363" cy="276999"/>
          </a:xfrm>
          <a:prstGeom prst="rect">
            <a:avLst/>
          </a:prstGeom>
          <a:noFill/>
        </p:spPr>
        <p:txBody>
          <a:bodyPr wrap="square" rtlCol="0">
            <a:spAutoFit/>
          </a:bodyPr>
          <a:lstStyle/>
          <a:p>
            <a:r>
              <a:rPr lang="en-US" sz="1200" dirty="0" smtClean="0"/>
              <a:t>Status</a:t>
            </a:r>
            <a:endParaRPr lang="en-US" sz="1200" dirty="0"/>
          </a:p>
        </p:txBody>
      </p:sp>
      <p:sp>
        <p:nvSpPr>
          <p:cNvPr id="13" name="TextBox 12"/>
          <p:cNvSpPr txBox="1"/>
          <p:nvPr/>
        </p:nvSpPr>
        <p:spPr>
          <a:xfrm rot="16200000">
            <a:off x="-358219" y="4681657"/>
            <a:ext cx="1112363" cy="276999"/>
          </a:xfrm>
          <a:prstGeom prst="rect">
            <a:avLst/>
          </a:prstGeom>
          <a:noFill/>
        </p:spPr>
        <p:txBody>
          <a:bodyPr wrap="square" rtlCol="0">
            <a:spAutoFit/>
          </a:bodyPr>
          <a:lstStyle/>
          <a:p>
            <a:r>
              <a:rPr lang="en-US" sz="1200" dirty="0" smtClean="0"/>
              <a:t>Gaps</a:t>
            </a:r>
            <a:endParaRPr lang="en-US" sz="1200" dirty="0"/>
          </a:p>
        </p:txBody>
      </p:sp>
    </p:spTree>
    <p:extLst>
      <p:ext uri="{BB962C8B-B14F-4D97-AF65-F5344CB8AC3E}">
        <p14:creationId xmlns:p14="http://schemas.microsoft.com/office/powerpoint/2010/main" val="105932933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1848" name="think-cell Slide" r:id="rId5" imgW="327" imgH="327" progId="TCLayout.ActiveDocument.1">
                  <p:embed/>
                </p:oleObj>
              </mc:Choice>
              <mc:Fallback>
                <p:oleObj name="think-cell Slide" r:id="rId5" imgW="327" imgH="327"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000" b="1" dirty="0">
              <a:latin typeface="Arial" panose="020B0604020202020204" pitchFamily="34" charset="0"/>
              <a:cs typeface="Arial" panose="020B0604020202020204" pitchFamily="34" charset="0"/>
              <a:sym typeface="Arial" panose="020B0604020202020204" pitchFamily="34" charset="0"/>
            </a:endParaRPr>
          </a:p>
        </p:txBody>
      </p:sp>
      <p:sp>
        <p:nvSpPr>
          <p:cNvPr id="7" name="Title 6"/>
          <p:cNvSpPr>
            <a:spLocks noGrp="1"/>
          </p:cNvSpPr>
          <p:nvPr>
            <p:ph type="title"/>
          </p:nvPr>
        </p:nvSpPr>
        <p:spPr/>
        <p:txBody>
          <a:bodyPr/>
          <a:lstStyle/>
          <a:p>
            <a:r>
              <a:rPr lang="en-US" sz="2000" dirty="0"/>
              <a:t>In addition to Macro-economic analysis, AGRA also carried out analysis of  specific systems to inform the strategy</a:t>
            </a:r>
          </a:p>
        </p:txBody>
      </p:sp>
      <p:sp>
        <p:nvSpPr>
          <p:cNvPr id="10" name="TextBox 9"/>
          <p:cNvSpPr txBox="1"/>
          <p:nvPr/>
        </p:nvSpPr>
        <p:spPr>
          <a:xfrm>
            <a:off x="275302" y="848666"/>
            <a:ext cx="3384222" cy="276999"/>
          </a:xfrm>
          <a:prstGeom prst="rect">
            <a:avLst/>
          </a:prstGeom>
          <a:noFill/>
        </p:spPr>
        <p:txBody>
          <a:bodyPr wrap="square" rtlCol="0">
            <a:spAutoFit/>
          </a:bodyPr>
          <a:lstStyle/>
          <a:p>
            <a:r>
              <a:rPr lang="en-US" sz="1200" b="1" dirty="0"/>
              <a:t>Soil health and fertilizer systems</a:t>
            </a:r>
          </a:p>
        </p:txBody>
      </p:sp>
      <p:sp>
        <p:nvSpPr>
          <p:cNvPr id="12" name="TextBox 11"/>
          <p:cNvSpPr txBox="1"/>
          <p:nvPr/>
        </p:nvSpPr>
        <p:spPr>
          <a:xfrm rot="16200000">
            <a:off x="-358219" y="2381517"/>
            <a:ext cx="1112363" cy="276999"/>
          </a:xfrm>
          <a:prstGeom prst="rect">
            <a:avLst/>
          </a:prstGeom>
          <a:noFill/>
        </p:spPr>
        <p:txBody>
          <a:bodyPr wrap="square" rtlCol="0">
            <a:spAutoFit/>
          </a:bodyPr>
          <a:lstStyle/>
          <a:p>
            <a:r>
              <a:rPr lang="en-US" sz="1200" dirty="0" smtClean="0"/>
              <a:t>Status</a:t>
            </a:r>
            <a:endParaRPr lang="en-US" sz="1200" dirty="0"/>
          </a:p>
        </p:txBody>
      </p:sp>
      <p:sp>
        <p:nvSpPr>
          <p:cNvPr id="13" name="TextBox 12"/>
          <p:cNvSpPr txBox="1"/>
          <p:nvPr/>
        </p:nvSpPr>
        <p:spPr>
          <a:xfrm rot="16200000">
            <a:off x="-358219" y="4681657"/>
            <a:ext cx="1112363" cy="276999"/>
          </a:xfrm>
          <a:prstGeom prst="rect">
            <a:avLst/>
          </a:prstGeom>
          <a:noFill/>
        </p:spPr>
        <p:txBody>
          <a:bodyPr wrap="square" rtlCol="0">
            <a:spAutoFit/>
          </a:bodyPr>
          <a:lstStyle/>
          <a:p>
            <a:r>
              <a:rPr lang="en-US" sz="1200" dirty="0" smtClean="0"/>
              <a:t>Gaps</a:t>
            </a:r>
            <a:endParaRPr lang="en-US" sz="1200" dirty="0"/>
          </a:p>
        </p:txBody>
      </p:sp>
      <p:graphicFrame>
        <p:nvGraphicFramePr>
          <p:cNvPr id="14" name="Table 13"/>
          <p:cNvGraphicFramePr>
            <a:graphicFrameLocks noGrp="1"/>
          </p:cNvGraphicFramePr>
          <p:nvPr>
            <p:extLst>
              <p:ext uri="{D42A27DB-BD31-4B8C-83A1-F6EECF244321}">
                <p14:modId xmlns:p14="http://schemas.microsoft.com/office/powerpoint/2010/main" val="1288019359"/>
              </p:ext>
            </p:extLst>
          </p:nvPr>
        </p:nvGraphicFramePr>
        <p:xfrm>
          <a:off x="356473" y="1231820"/>
          <a:ext cx="9418320" cy="4800600"/>
        </p:xfrm>
        <a:graphic>
          <a:graphicData uri="http://schemas.openxmlformats.org/drawingml/2006/table">
            <a:tbl>
              <a:tblPr firstRow="1" bandRow="1">
                <a:tableStyleId>{2D5ABB26-0587-4C30-8999-92F81FD0307C}</a:tableStyleId>
              </a:tblPr>
              <a:tblGrid>
                <a:gridCol w="1569720">
                  <a:extLst>
                    <a:ext uri="{9D8B030D-6E8A-4147-A177-3AD203B41FA5}">
                      <a16:colId xmlns:a16="http://schemas.microsoft.com/office/drawing/2014/main" val="20000"/>
                    </a:ext>
                  </a:extLst>
                </a:gridCol>
                <a:gridCol w="1569720">
                  <a:extLst>
                    <a:ext uri="{9D8B030D-6E8A-4147-A177-3AD203B41FA5}">
                      <a16:colId xmlns:a16="http://schemas.microsoft.com/office/drawing/2014/main" val="20001"/>
                    </a:ext>
                  </a:extLst>
                </a:gridCol>
                <a:gridCol w="1569720">
                  <a:extLst>
                    <a:ext uri="{9D8B030D-6E8A-4147-A177-3AD203B41FA5}">
                      <a16:colId xmlns:a16="http://schemas.microsoft.com/office/drawing/2014/main" val="20002"/>
                    </a:ext>
                  </a:extLst>
                </a:gridCol>
                <a:gridCol w="1569720">
                  <a:extLst>
                    <a:ext uri="{9D8B030D-6E8A-4147-A177-3AD203B41FA5}">
                      <a16:colId xmlns:a16="http://schemas.microsoft.com/office/drawing/2014/main" val="20003"/>
                    </a:ext>
                  </a:extLst>
                </a:gridCol>
                <a:gridCol w="1569720">
                  <a:extLst>
                    <a:ext uri="{9D8B030D-6E8A-4147-A177-3AD203B41FA5}">
                      <a16:colId xmlns:a16="http://schemas.microsoft.com/office/drawing/2014/main" val="20004"/>
                    </a:ext>
                  </a:extLst>
                </a:gridCol>
                <a:gridCol w="1569720">
                  <a:extLst>
                    <a:ext uri="{9D8B030D-6E8A-4147-A177-3AD203B41FA5}">
                      <a16:colId xmlns:a16="http://schemas.microsoft.com/office/drawing/2014/main" val="20005"/>
                    </a:ext>
                  </a:extLst>
                </a:gridCol>
              </a:tblGrid>
              <a:tr h="370840">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000" b="1" dirty="0">
                          <a:solidFill>
                            <a:schemeClr val="bg1"/>
                          </a:solidFill>
                        </a:rPr>
                        <a:t>Soil Mapping and Testing</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75000"/>
                      </a:schemeClr>
                    </a:solidFill>
                  </a:tcPr>
                </a:tc>
                <a:tc>
                  <a:txBody>
                    <a:bodyPr/>
                    <a:lstStyle/>
                    <a:p>
                      <a:r>
                        <a:rPr lang="en-US" sz="1000" b="1" dirty="0">
                          <a:solidFill>
                            <a:schemeClr val="bg1"/>
                          </a:solidFill>
                        </a:rPr>
                        <a:t>Product</a:t>
                      </a:r>
                      <a:r>
                        <a:rPr lang="en-US" sz="1000" b="1" baseline="0" dirty="0">
                          <a:solidFill>
                            <a:schemeClr val="bg1"/>
                          </a:solidFill>
                        </a:rPr>
                        <a:t> development</a:t>
                      </a:r>
                      <a:endParaRPr lang="en-US" sz="1000" b="1" dirty="0">
                        <a:solidFill>
                          <a:schemeClr val="bg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75000"/>
                      </a:schemeClr>
                    </a:solidFill>
                  </a:tcPr>
                </a:tc>
                <a:tc>
                  <a:txBody>
                    <a:bodyPr/>
                    <a:lstStyle/>
                    <a:p>
                      <a:r>
                        <a:rPr lang="en-US" sz="1000" b="1" dirty="0">
                          <a:solidFill>
                            <a:schemeClr val="bg1"/>
                          </a:solidFill>
                        </a:rPr>
                        <a:t>Certified seed production</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75000"/>
                      </a:schemeClr>
                    </a:solidFill>
                  </a:tcPr>
                </a:tc>
                <a:tc>
                  <a:txBody>
                    <a:bodyPr/>
                    <a:lstStyle/>
                    <a:p>
                      <a:r>
                        <a:rPr lang="en-US" sz="1000" b="1" dirty="0">
                          <a:solidFill>
                            <a:schemeClr val="bg1"/>
                          </a:solidFill>
                        </a:rPr>
                        <a:t>Awareness by farmers</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75000"/>
                      </a:schemeClr>
                    </a:solidFill>
                  </a:tcPr>
                </a:tc>
                <a:tc>
                  <a:txBody>
                    <a:bodyPr/>
                    <a:lstStyle/>
                    <a:p>
                      <a:r>
                        <a:rPr lang="en-US" sz="1000" b="1" dirty="0">
                          <a:solidFill>
                            <a:schemeClr val="bg1"/>
                          </a:solidFill>
                        </a:rPr>
                        <a:t>Commercialization</a:t>
                      </a:r>
                      <a:r>
                        <a:rPr lang="en-US" sz="1000" b="1" baseline="0" dirty="0">
                          <a:solidFill>
                            <a:schemeClr val="bg1"/>
                          </a:solidFill>
                        </a:rPr>
                        <a:t> and distribution</a:t>
                      </a:r>
                      <a:endParaRPr lang="en-US" sz="1000" b="1" dirty="0">
                        <a:solidFill>
                          <a:schemeClr val="bg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000" b="1" dirty="0">
                          <a:solidFill>
                            <a:schemeClr val="bg1"/>
                          </a:solidFill>
                        </a:rPr>
                        <a:t>Regulation</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75000"/>
                      </a:schemeClr>
                    </a:solidFill>
                  </a:tcPr>
                </a:tc>
                <a:extLst>
                  <a:ext uri="{0D108BD9-81ED-4DB2-BD59-A6C34878D82A}">
                    <a16:rowId xmlns:a16="http://schemas.microsoft.com/office/drawing/2014/main" val="10000"/>
                  </a:ext>
                </a:extLst>
              </a:tr>
              <a:tr h="2371126">
                <a:tc>
                  <a:txBody>
                    <a:bodyPr/>
                    <a:lstStyle/>
                    <a:p>
                      <a:pPr marL="128588" indent="-128588" defTabSz="685800">
                        <a:spcAft>
                          <a:spcPts val="225"/>
                        </a:spcAft>
                        <a:buFont typeface="Arial" panose="020B0604020202020204" pitchFamily="34" charset="0"/>
                        <a:buChar char="•"/>
                      </a:pPr>
                      <a:r>
                        <a:rPr lang="en-US" sz="900" dirty="0">
                          <a:solidFill>
                            <a:schemeClr val="tx1"/>
                          </a:solidFill>
                          <a:latin typeface="+mn-lt"/>
                        </a:rPr>
                        <a:t>Soil mapping done and the Ethiopian soil information system (</a:t>
                      </a:r>
                      <a:r>
                        <a:rPr lang="en-US" sz="900" dirty="0" err="1">
                          <a:solidFill>
                            <a:schemeClr val="tx1"/>
                          </a:solidFill>
                          <a:latin typeface="+mn-lt"/>
                        </a:rPr>
                        <a:t>Ethiosis</a:t>
                      </a:r>
                      <a:r>
                        <a:rPr lang="en-US" sz="900" dirty="0">
                          <a:solidFill>
                            <a:schemeClr val="tx1"/>
                          </a:solidFill>
                          <a:latin typeface="+mn-lt"/>
                        </a:rPr>
                        <a:t>) is in place which identifies fertilizer requirements. </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900" b="0" i="0" u="none" strike="noStrike" cap="none" dirty="0">
                          <a:solidFill>
                            <a:schemeClr val="tx1"/>
                          </a:solidFill>
                          <a:effectLst/>
                          <a:latin typeface="+mn-lt"/>
                          <a:ea typeface="+mn-ea"/>
                          <a:cs typeface="+mn-cs"/>
                          <a:sym typeface="Arial"/>
                        </a:rPr>
                        <a:t>Five fertilizer blending factories have been established by the government at five Farmers’ Cooperative Unions (FCUs), to produce different fertilizer formulations containing both macro- and micronutrients. </a:t>
                      </a:r>
                    </a:p>
                    <a:p>
                      <a:pPr marL="285750" indent="-285750">
                        <a:buFont typeface="Arial" panose="020B0604020202020204" pitchFamily="34" charset="0"/>
                        <a:buChar char="•"/>
                      </a:pPr>
                      <a:r>
                        <a:rPr lang="en-US" sz="900" b="0" i="0" u="none" strike="noStrike" cap="none" dirty="0">
                          <a:solidFill>
                            <a:schemeClr val="tx1"/>
                          </a:solidFill>
                          <a:effectLst/>
                          <a:latin typeface="+mn-lt"/>
                          <a:ea typeface="+mn-ea"/>
                          <a:cs typeface="+mn-cs"/>
                          <a:sym typeface="Arial"/>
                        </a:rPr>
                        <a:t>seven lime-crushing factories have been established in the four regions,</a:t>
                      </a:r>
                      <a:endParaRPr lang="en-US" sz="900" dirty="0">
                        <a:latin typeface="+mn-lt"/>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900" dirty="0">
                          <a:latin typeface="+mn-lt"/>
                        </a:rPr>
                        <a:t>Certified seed production is done by the national and regional public seed enterprises. There are 32 private seed companies involved in certified seed production most of them focusing on improved maize seed. </a:t>
                      </a:r>
                    </a:p>
                    <a:p>
                      <a:pPr marL="171450" indent="-171450">
                        <a:buFont typeface="Arial" panose="020B0604020202020204" pitchFamily="34" charset="0"/>
                        <a:buChar char="•"/>
                      </a:pPr>
                      <a:r>
                        <a:rPr lang="en-US" sz="900" dirty="0">
                          <a:latin typeface="+mn-lt"/>
                        </a:rPr>
                        <a:t>The national agriculture system provides the early generation seed including breeder, basic and </a:t>
                      </a:r>
                      <a:r>
                        <a:rPr lang="en-US" sz="900" dirty="0" err="1">
                          <a:latin typeface="+mn-lt"/>
                        </a:rPr>
                        <a:t>prebasic</a:t>
                      </a:r>
                      <a:r>
                        <a:rPr lang="en-US" sz="900" dirty="0">
                          <a:latin typeface="+mn-lt"/>
                        </a:rPr>
                        <a:t> seed. </a:t>
                      </a:r>
                    </a:p>
                    <a:p>
                      <a:pPr marL="171450" indent="-171450">
                        <a:buFont typeface="Arial" panose="020B0604020202020204" pitchFamily="34" charset="0"/>
                        <a:buChar char="•"/>
                      </a:pPr>
                      <a:endParaRPr lang="en-US" sz="900" dirty="0">
                        <a:latin typeface="+mn-lt"/>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GB" sz="900" b="0" i="0" u="none" strike="noStrike" cap="none" dirty="0">
                          <a:solidFill>
                            <a:schemeClr val="tx1"/>
                          </a:solidFill>
                          <a:effectLst/>
                          <a:latin typeface="+mn-lt"/>
                          <a:ea typeface="+mn-ea"/>
                          <a:cs typeface="+mn-cs"/>
                          <a:sym typeface="Arial"/>
                        </a:rPr>
                        <a:t>Demonstration of blended fertilizer types and rates for selected crops in different soil types and </a:t>
                      </a:r>
                      <a:r>
                        <a:rPr lang="en-GB" sz="900" b="0" i="0" u="none" strike="noStrike" cap="none" dirty="0" err="1">
                          <a:solidFill>
                            <a:schemeClr val="tx1"/>
                          </a:solidFill>
                          <a:effectLst/>
                          <a:latin typeface="+mn-lt"/>
                          <a:ea typeface="+mn-ea"/>
                          <a:cs typeface="+mn-cs"/>
                          <a:sym typeface="Arial"/>
                        </a:rPr>
                        <a:t>agro</a:t>
                      </a:r>
                      <a:r>
                        <a:rPr lang="en-GB" sz="900" b="0" i="0" u="none" strike="noStrike" cap="none" dirty="0">
                          <a:solidFill>
                            <a:schemeClr val="tx1"/>
                          </a:solidFill>
                          <a:effectLst/>
                          <a:latin typeface="+mn-lt"/>
                          <a:ea typeface="+mn-ea"/>
                          <a:cs typeface="+mn-cs"/>
                          <a:sym typeface="Arial"/>
                        </a:rPr>
                        <a:t>-ecologies is being undertaken by different initiators . </a:t>
                      </a:r>
                    </a:p>
                    <a:p>
                      <a:pPr marL="171450" indent="-171450">
                        <a:buFont typeface="Arial" panose="020B0604020202020204" pitchFamily="34" charset="0"/>
                        <a:buChar char="•"/>
                      </a:pPr>
                      <a:endParaRPr lang="en-US" sz="900" dirty="0">
                        <a:latin typeface="+mn-lt"/>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000" dirty="0">
                          <a:solidFill>
                            <a:schemeClr val="tx1"/>
                          </a:solidFill>
                        </a:rPr>
                        <a:t>Distribution of seeds, fertilizers is mainly done through Ministry of Agriculture and Farmer Cooperatives</a:t>
                      </a:r>
                    </a:p>
                    <a:p>
                      <a:pPr marL="171450" indent="-171450">
                        <a:buFont typeface="Arial" panose="020B0604020202020204" pitchFamily="34" charset="0"/>
                        <a:buChar char="•"/>
                      </a:pPr>
                      <a:r>
                        <a:rPr lang="en-US" sz="1000" dirty="0">
                          <a:solidFill>
                            <a:schemeClr val="tx1"/>
                          </a:solidFill>
                        </a:rPr>
                        <a:t>For seed , there is also direct seed marketing through dealers of seed companies </a:t>
                      </a:r>
                    </a:p>
                    <a:p>
                      <a:pPr marL="171450" indent="-171450">
                        <a:buFont typeface="Arial" panose="020B0604020202020204" pitchFamily="34" charset="0"/>
                        <a:buChar char="•"/>
                      </a:pPr>
                      <a:r>
                        <a:rPr lang="en-US" sz="1000" dirty="0">
                          <a:solidFill>
                            <a:schemeClr val="tx1"/>
                          </a:solidFill>
                        </a:rPr>
                        <a:t>Fertilizer blending facilities are now being transferred to OCP</a:t>
                      </a:r>
                    </a:p>
                    <a:p>
                      <a:pPr marL="171450" indent="-171450">
                        <a:buFont typeface="Arial" panose="020B0604020202020204" pitchFamily="34" charset="0"/>
                        <a:buChar char="•"/>
                      </a:pPr>
                      <a:r>
                        <a:rPr lang="en-US" sz="1000" dirty="0">
                          <a:solidFill>
                            <a:schemeClr val="tx1"/>
                          </a:solidFill>
                        </a:rPr>
                        <a:t>Huge fertilizer plant is being built by OCP</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000" dirty="0"/>
                        <a:t>National  seed system strategy has been developed. </a:t>
                      </a:r>
                    </a:p>
                    <a:p>
                      <a:pPr marL="171450" indent="-171450">
                        <a:buFont typeface="Arial" panose="020B0604020202020204" pitchFamily="34" charset="0"/>
                        <a:buChar char="•"/>
                      </a:pPr>
                      <a:r>
                        <a:rPr lang="en-US" sz="1000" dirty="0"/>
                        <a:t>Seed marketing regulation is in place </a:t>
                      </a:r>
                    </a:p>
                    <a:p>
                      <a:pPr marL="171450" indent="-171450">
                        <a:buFont typeface="Arial" panose="020B0604020202020204" pitchFamily="34" charset="0"/>
                        <a:buChar char="•"/>
                      </a:pPr>
                      <a:r>
                        <a:rPr lang="en-US" sz="1000" dirty="0"/>
                        <a:t>National coordination mechanisms for the promotion of blended fertilizers are being established. </a:t>
                      </a:r>
                    </a:p>
                    <a:p>
                      <a:pPr marL="171450" indent="-171450">
                        <a:buFont typeface="Arial" panose="020B0604020202020204" pitchFamily="34" charset="0"/>
                        <a:buChar char="•"/>
                      </a:pPr>
                      <a:endParaRPr lang="en-US" sz="10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001"/>
                  </a:ext>
                </a:extLst>
              </a:tr>
              <a:tr h="1198179">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900" dirty="0">
                          <a:latin typeface="+mn-lt"/>
                        </a:rPr>
                        <a:t>-there is a need to validate existing fertilizer blends and demonstrate to farmers.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900" dirty="0">
                          <a:latin typeface="+mn-lt"/>
                        </a:rPr>
                        <a:t>-there is a need to calibrate the critical values identified on </a:t>
                      </a:r>
                      <a:r>
                        <a:rPr lang="en-US" sz="900" dirty="0" smtClean="0">
                          <a:latin typeface="+mn-lt"/>
                        </a:rPr>
                        <a:t>Ethiopia's micronutrient </a:t>
                      </a:r>
                      <a:r>
                        <a:rPr lang="en-US" sz="900" dirty="0">
                          <a:latin typeface="+mn-lt"/>
                        </a:rPr>
                        <a:t>requirements on the basis of soil test crop response based trials</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900" b="0" i="0" u="none" strike="noStrike" cap="none" dirty="0">
                          <a:solidFill>
                            <a:schemeClr val="tx1"/>
                          </a:solidFill>
                          <a:effectLst/>
                          <a:latin typeface="+mn-lt"/>
                          <a:ea typeface="+mn-ea"/>
                          <a:cs typeface="+mn-cs"/>
                          <a:sym typeface="Arial"/>
                        </a:rPr>
                        <a:t>Currently, because of a technical problem encountered on the fertilizer blending factories, OCP group, i.e. the fertilizer manufacturing company of Morocco in Ethiopia, has been supplying the compound and blended fertilizers to the country. </a:t>
                      </a:r>
                      <a:endParaRPr lang="en-GB" sz="900" dirty="0">
                        <a:latin typeface="+mn-lt"/>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900" dirty="0">
                          <a:latin typeface="+mn-lt"/>
                        </a:rPr>
                        <a:t>EGS supply is major constraint to certified seed production by the private seed companies.</a:t>
                      </a:r>
                    </a:p>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lang="en-US" sz="900" dirty="0">
                        <a:latin typeface="+mn-lt"/>
                      </a:endParaRPr>
                    </a:p>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900" dirty="0">
                          <a:latin typeface="+mn-lt"/>
                        </a:rPr>
                        <a:t>The formal system is largely government driven across the seed value chain, from breeding to seed distribution.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900" dirty="0">
                        <a:latin typeface="+mn-lt"/>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28588" indent="-128588" defTabSz="685800">
                        <a:spcAft>
                          <a:spcPts val="225"/>
                        </a:spcAft>
                        <a:buFont typeface="Arial" panose="020B0604020202020204" pitchFamily="34" charset="0"/>
                        <a:buChar char="•"/>
                      </a:pPr>
                      <a:r>
                        <a:rPr lang="en-US" sz="900" dirty="0">
                          <a:solidFill>
                            <a:srgbClr val="604878"/>
                          </a:solidFill>
                          <a:latin typeface="+mn-lt"/>
                        </a:rPr>
                        <a:t>There is lack of coordination among the different actors involved in promoting blended fertilizer </a:t>
                      </a:r>
                    </a:p>
                    <a:p>
                      <a:pPr marL="128588" indent="-128588" defTabSz="685800">
                        <a:spcAft>
                          <a:spcPts val="225"/>
                        </a:spcAft>
                        <a:buFont typeface="Arial" panose="020B0604020202020204" pitchFamily="34" charset="0"/>
                        <a:buChar char="•"/>
                      </a:pPr>
                      <a:endParaRPr lang="en-US" sz="900" dirty="0">
                        <a:solidFill>
                          <a:srgbClr val="604878"/>
                        </a:solidFill>
                        <a:latin typeface="+mn-lt"/>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28588" indent="-128588" defTabSz="685800">
                        <a:spcAft>
                          <a:spcPts val="225"/>
                        </a:spcAft>
                        <a:buFont typeface="Arial" panose="020B0604020202020204" pitchFamily="34" charset="0"/>
                        <a:buChar char="•"/>
                      </a:pPr>
                      <a:r>
                        <a:rPr lang="en-US" sz="1000" dirty="0">
                          <a:solidFill>
                            <a:schemeClr val="tx1"/>
                          </a:solidFill>
                          <a:latin typeface="+mj-lt"/>
                        </a:rPr>
                        <a:t>Lack of availability of seed and fertilizer in the right type, quality and quantity during the planting season</a:t>
                      </a:r>
                    </a:p>
                    <a:p>
                      <a:pPr marL="128588" indent="-128588" defTabSz="685800">
                        <a:spcAft>
                          <a:spcPts val="225"/>
                        </a:spcAft>
                        <a:buFont typeface="Arial" panose="020B0604020202020204" pitchFamily="34" charset="0"/>
                        <a:buChar char="•"/>
                      </a:pPr>
                      <a:r>
                        <a:rPr lang="en-US" sz="1000" dirty="0">
                          <a:solidFill>
                            <a:schemeClr val="tx1"/>
                          </a:solidFill>
                          <a:latin typeface="+mj-lt"/>
                        </a:rPr>
                        <a:t>Shortage of certified seeds </a:t>
                      </a:r>
                    </a:p>
                    <a:p>
                      <a:pPr marL="128588" indent="-128588" defTabSz="685800">
                        <a:spcAft>
                          <a:spcPts val="225"/>
                        </a:spcAft>
                        <a:buFont typeface="Arial" panose="020B0604020202020204" pitchFamily="34" charset="0"/>
                        <a:buChar char="•"/>
                      </a:pPr>
                      <a:r>
                        <a:rPr lang="en-US" sz="1000" dirty="0">
                          <a:solidFill>
                            <a:schemeClr val="tx1"/>
                          </a:solidFill>
                          <a:latin typeface="+mj-lt"/>
                        </a:rPr>
                        <a:t>Lack of access to </a:t>
                      </a:r>
                      <a:r>
                        <a:rPr lang="en-US" sz="1000" dirty="0" err="1">
                          <a:solidFill>
                            <a:schemeClr val="tx1"/>
                          </a:solidFill>
                          <a:latin typeface="+mj-lt"/>
                        </a:rPr>
                        <a:t>agro</a:t>
                      </a:r>
                      <a:r>
                        <a:rPr lang="en-US" sz="1000" dirty="0">
                          <a:solidFill>
                            <a:schemeClr val="tx1"/>
                          </a:solidFill>
                          <a:latin typeface="+mj-lt"/>
                        </a:rPr>
                        <a:t> </a:t>
                      </a:r>
                      <a:r>
                        <a:rPr lang="en-US" sz="1000" dirty="0" err="1">
                          <a:solidFill>
                            <a:schemeClr val="tx1"/>
                          </a:solidFill>
                          <a:latin typeface="+mj-lt"/>
                        </a:rPr>
                        <a:t>ealer</a:t>
                      </a:r>
                      <a:r>
                        <a:rPr lang="en-US" sz="1000" dirty="0">
                          <a:solidFill>
                            <a:schemeClr val="tx1"/>
                          </a:solidFill>
                          <a:latin typeface="+mj-lt"/>
                        </a:rPr>
                        <a:t> shops in nearby locations for smallholder farmers </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000" dirty="0"/>
                        <a:t>The new national seed regulatory frameworks have not yet been popularized</a:t>
                      </a:r>
                    </a:p>
                    <a:p>
                      <a:pPr marL="171450" indent="-171450">
                        <a:buFont typeface="Arial" panose="020B0604020202020204" pitchFamily="34" charset="0"/>
                        <a:buChar char="•"/>
                      </a:pPr>
                      <a:r>
                        <a:rPr lang="en-US" sz="1000" dirty="0"/>
                        <a:t>The institutional framework for the coordination of promotion of blended fertilizer use has not yet been clearly defined.  </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98892558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2875" name="think-cell Slide" r:id="rId5" imgW="327" imgH="327" progId="TCLayout.ActiveDocument.1">
                  <p:embed/>
                </p:oleObj>
              </mc:Choice>
              <mc:Fallback>
                <p:oleObj name="think-cell Slide" r:id="rId5" imgW="327" imgH="327"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000" b="1" dirty="0">
              <a:latin typeface="Arial" panose="020B0604020202020204" pitchFamily="34" charset="0"/>
              <a:cs typeface="Arial" panose="020B0604020202020204" pitchFamily="34" charset="0"/>
              <a:sym typeface="Arial" panose="020B0604020202020204" pitchFamily="34" charset="0"/>
            </a:endParaRPr>
          </a:p>
        </p:txBody>
      </p:sp>
      <p:sp>
        <p:nvSpPr>
          <p:cNvPr id="7" name="Title 6"/>
          <p:cNvSpPr>
            <a:spLocks noGrp="1"/>
          </p:cNvSpPr>
          <p:nvPr>
            <p:ph type="title"/>
          </p:nvPr>
        </p:nvSpPr>
        <p:spPr/>
        <p:txBody>
          <a:bodyPr/>
          <a:lstStyle/>
          <a:p>
            <a:r>
              <a:rPr lang="en-US" sz="2000" dirty="0"/>
              <a:t>In addition to Macro-economic analysis, AGRA also carried out analysis of  specific systems to inform the strategy</a:t>
            </a:r>
          </a:p>
        </p:txBody>
      </p:sp>
      <p:sp>
        <p:nvSpPr>
          <p:cNvPr id="10" name="TextBox 9"/>
          <p:cNvSpPr txBox="1"/>
          <p:nvPr/>
        </p:nvSpPr>
        <p:spPr>
          <a:xfrm>
            <a:off x="356472" y="954820"/>
            <a:ext cx="3384222" cy="276999"/>
          </a:xfrm>
          <a:prstGeom prst="rect">
            <a:avLst/>
          </a:prstGeom>
          <a:noFill/>
        </p:spPr>
        <p:txBody>
          <a:bodyPr wrap="square" rtlCol="0">
            <a:spAutoFit/>
          </a:bodyPr>
          <a:lstStyle/>
          <a:p>
            <a:r>
              <a:rPr lang="en-US" sz="1200" b="1" dirty="0" smtClean="0"/>
              <a:t>Extension</a:t>
            </a:r>
            <a:endParaRPr lang="en-US" sz="1200" b="1" dirty="0"/>
          </a:p>
        </p:txBody>
      </p:sp>
      <p:graphicFrame>
        <p:nvGraphicFramePr>
          <p:cNvPr id="16" name="Table 15"/>
          <p:cNvGraphicFramePr>
            <a:graphicFrameLocks noGrp="1"/>
          </p:cNvGraphicFramePr>
          <p:nvPr>
            <p:extLst>
              <p:ext uri="{D42A27DB-BD31-4B8C-83A1-F6EECF244321}">
                <p14:modId xmlns:p14="http://schemas.microsoft.com/office/powerpoint/2010/main" val="1895982643"/>
              </p:ext>
            </p:extLst>
          </p:nvPr>
        </p:nvGraphicFramePr>
        <p:xfrm>
          <a:off x="356472" y="1231819"/>
          <a:ext cx="4724683" cy="4836820"/>
        </p:xfrm>
        <a:graphic>
          <a:graphicData uri="http://schemas.openxmlformats.org/drawingml/2006/table">
            <a:tbl>
              <a:tblPr firstRow="1" bandRow="1">
                <a:tableStyleId>{2D5ABB26-0587-4C30-8999-92F81FD0307C}</a:tableStyleId>
              </a:tblPr>
              <a:tblGrid>
                <a:gridCol w="1097462">
                  <a:extLst>
                    <a:ext uri="{9D8B030D-6E8A-4147-A177-3AD203B41FA5}">
                      <a16:colId xmlns:a16="http://schemas.microsoft.com/office/drawing/2014/main" val="20000"/>
                    </a:ext>
                  </a:extLst>
                </a:gridCol>
                <a:gridCol w="3627221">
                  <a:extLst>
                    <a:ext uri="{9D8B030D-6E8A-4147-A177-3AD203B41FA5}">
                      <a16:colId xmlns:a16="http://schemas.microsoft.com/office/drawing/2014/main" val="20001"/>
                    </a:ext>
                  </a:extLst>
                </a:gridCol>
              </a:tblGrid>
              <a:tr h="1480208">
                <a:tc>
                  <a:txBody>
                    <a:bodyPr/>
                    <a:lstStyle/>
                    <a:p>
                      <a:r>
                        <a:rPr lang="en-US" sz="1000" dirty="0" smtClean="0"/>
                        <a:t>Current state of play</a:t>
                      </a:r>
                      <a:endParaRPr lang="en-US" sz="10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tc>
                  <a:txBody>
                    <a:bodyPr/>
                    <a:lstStyle/>
                    <a:p>
                      <a:pPr marL="171450" indent="-171450">
                        <a:buFont typeface="Arial" panose="020B0604020202020204" pitchFamily="34" charset="0"/>
                        <a:buChar char="•"/>
                      </a:pPr>
                      <a:r>
                        <a:rPr lang="en-US" sz="1000" dirty="0" smtClean="0"/>
                        <a:t>Ethiopia has</a:t>
                      </a:r>
                      <a:r>
                        <a:rPr lang="en-US" sz="1000" baseline="0" dirty="0" smtClean="0"/>
                        <a:t> approximately 67,000 extension workers; about 1 extension worker per 450 farmers; or three extension workers (crop, livestock, natural resource) per village. In some villages it is as high as 5 extension workers when irrigation and beekeeping exist</a:t>
                      </a:r>
                    </a:p>
                    <a:p>
                      <a:pPr marL="171450" indent="-171450">
                        <a:buFont typeface="Arial" panose="020B0604020202020204" pitchFamily="34" charset="0"/>
                        <a:buChar char="•"/>
                      </a:pPr>
                      <a:r>
                        <a:rPr lang="en-US" sz="1000" baseline="0" dirty="0" smtClean="0"/>
                        <a:t>There is also one Farmer training Center (FTC) per village</a:t>
                      </a:r>
                    </a:p>
                    <a:p>
                      <a:pPr marL="171450" indent="-171450">
                        <a:buFont typeface="Arial" panose="020B0604020202020204" pitchFamily="34" charset="0"/>
                        <a:buChar char="•"/>
                      </a:pPr>
                      <a:r>
                        <a:rPr lang="en-US" sz="1000" dirty="0" smtClean="0"/>
                        <a:t>However despite this massive investment on the extension system its effectiveness is questionable largely due to poor pay scale, working condition and poor skill of the extension workers</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000"/>
                  </a:ext>
                </a:extLst>
              </a:tr>
              <a:tr h="1968621">
                <a:tc>
                  <a:txBody>
                    <a:bodyPr/>
                    <a:lstStyle/>
                    <a:p>
                      <a:r>
                        <a:rPr lang="en-US" sz="1000" dirty="0" smtClean="0"/>
                        <a:t>Opportunities</a:t>
                      </a:r>
                      <a:endParaRPr lang="en-US" sz="10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tc>
                  <a:txBody>
                    <a:bodyPr/>
                    <a:lstStyle/>
                    <a:p>
                      <a:pPr marL="171450" indent="-171450">
                        <a:buFont typeface="Arial" panose="020B0604020202020204" pitchFamily="34" charset="0"/>
                        <a:buChar char="•"/>
                      </a:pPr>
                      <a:r>
                        <a:rPr lang="en-US" sz="1000" dirty="0" smtClean="0"/>
                        <a:t>Emerging</a:t>
                      </a:r>
                      <a:r>
                        <a:rPr lang="en-US" sz="1000" baseline="0" dirty="0" smtClean="0"/>
                        <a:t> policy shift from the government to enhance the role of private sector in the economy</a:t>
                      </a:r>
                      <a:endParaRPr lang="en-US" sz="1000" dirty="0" smtClean="0"/>
                    </a:p>
                    <a:p>
                      <a:pPr marL="171450" indent="-171450">
                        <a:buFont typeface="Arial" panose="020B0604020202020204" pitchFamily="34" charset="0"/>
                        <a:buChar char="•"/>
                      </a:pPr>
                      <a:r>
                        <a:rPr lang="en-US" sz="1000" dirty="0" smtClean="0"/>
                        <a:t>Opportunities to transform this cadre of extension workers into a private sector</a:t>
                      </a:r>
                      <a:r>
                        <a:rPr lang="en-US" sz="1000" baseline="0" dirty="0" smtClean="0"/>
                        <a:t> extension system adopting the VBA model</a:t>
                      </a:r>
                      <a:endParaRPr lang="en-US" sz="1000" dirty="0" smtClean="0"/>
                    </a:p>
                    <a:p>
                      <a:pPr marL="171450" indent="-171450">
                        <a:buFont typeface="Arial" panose="020B0604020202020204" pitchFamily="34" charset="0"/>
                        <a:buChar char="•"/>
                      </a:pPr>
                      <a:r>
                        <a:rPr lang="en-US" sz="1000" baseline="0" dirty="0" smtClean="0"/>
                        <a:t>Very nascent agro dealer system but fast growing</a:t>
                      </a:r>
                    </a:p>
                    <a:p>
                      <a:pPr marL="171450" indent="-171450">
                        <a:buFont typeface="Arial" panose="020B0604020202020204" pitchFamily="34" charset="0"/>
                        <a:buChar char="•"/>
                      </a:pPr>
                      <a:r>
                        <a:rPr lang="en-US" sz="1000" baseline="0" dirty="0" smtClean="0"/>
                        <a:t>Large number of trained but unemployed youth </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001"/>
                  </a:ext>
                </a:extLst>
              </a:tr>
              <a:tr h="1252759">
                <a:tc>
                  <a:txBody>
                    <a:bodyPr/>
                    <a:lstStyle/>
                    <a:p>
                      <a:r>
                        <a:rPr lang="en-US" sz="1000" dirty="0" smtClean="0"/>
                        <a:t/>
                      </a:r>
                      <a:br>
                        <a:rPr lang="en-US" sz="1000" dirty="0" smtClean="0"/>
                      </a:br>
                      <a:r>
                        <a:rPr lang="en-US" sz="1000" dirty="0" smtClean="0"/>
                        <a:t>Enablers</a:t>
                      </a:r>
                      <a:endParaRPr lang="en-US" sz="10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tc>
                  <a:txBody>
                    <a:bodyPr/>
                    <a:lstStyle/>
                    <a:p>
                      <a:pPr marL="171450" indent="-171450">
                        <a:buFont typeface="Arial" panose="020B0604020202020204" pitchFamily="34" charset="0"/>
                        <a:buChar char="•"/>
                      </a:pPr>
                      <a:r>
                        <a:rPr lang="en-US" sz="1000" baseline="0" dirty="0" smtClean="0"/>
                        <a:t>ICT infrastructure expansion and efficiency</a:t>
                      </a:r>
                    </a:p>
                    <a:p>
                      <a:pPr marL="171450" indent="-171450">
                        <a:buFont typeface="Arial" panose="020B0604020202020204" pitchFamily="34" charset="0"/>
                        <a:buChar char="•"/>
                      </a:pPr>
                      <a:r>
                        <a:rPr lang="en-US" sz="1000" baseline="0" dirty="0" smtClean="0"/>
                        <a:t>Current policy reforms to increase the role of the private sector and improve competitiveness</a:t>
                      </a:r>
                    </a:p>
                    <a:p>
                      <a:pPr marL="171450" indent="-171450">
                        <a:buFont typeface="Arial" panose="020B0604020202020204" pitchFamily="34" charset="0"/>
                        <a:buChar char="•"/>
                      </a:pPr>
                      <a:endParaRPr lang="en-US" sz="10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graphicFrame>
        <p:nvGraphicFramePr>
          <p:cNvPr id="17" name="Table 16"/>
          <p:cNvGraphicFramePr>
            <a:graphicFrameLocks noGrp="1"/>
          </p:cNvGraphicFramePr>
          <p:nvPr>
            <p:extLst>
              <p:ext uri="{D42A27DB-BD31-4B8C-83A1-F6EECF244321}">
                <p14:modId xmlns:p14="http://schemas.microsoft.com/office/powerpoint/2010/main" val="879213466"/>
              </p:ext>
            </p:extLst>
          </p:nvPr>
        </p:nvGraphicFramePr>
        <p:xfrm>
          <a:off x="5338816" y="1231820"/>
          <a:ext cx="4138671" cy="4974586"/>
        </p:xfrm>
        <a:graphic>
          <a:graphicData uri="http://schemas.openxmlformats.org/drawingml/2006/table">
            <a:tbl>
              <a:tblPr firstRow="1" bandRow="1">
                <a:tableStyleId>{2D5ABB26-0587-4C30-8999-92F81FD0307C}</a:tableStyleId>
              </a:tblPr>
              <a:tblGrid>
                <a:gridCol w="1156668">
                  <a:extLst>
                    <a:ext uri="{9D8B030D-6E8A-4147-A177-3AD203B41FA5}">
                      <a16:colId xmlns:a16="http://schemas.microsoft.com/office/drawing/2014/main" val="20000"/>
                    </a:ext>
                  </a:extLst>
                </a:gridCol>
                <a:gridCol w="2982003">
                  <a:extLst>
                    <a:ext uri="{9D8B030D-6E8A-4147-A177-3AD203B41FA5}">
                      <a16:colId xmlns:a16="http://schemas.microsoft.com/office/drawing/2014/main" val="20001"/>
                    </a:ext>
                  </a:extLst>
                </a:gridCol>
              </a:tblGrid>
              <a:tr h="1604898">
                <a:tc>
                  <a:txBody>
                    <a:bodyPr/>
                    <a:lstStyle/>
                    <a:p>
                      <a:r>
                        <a:rPr lang="en-US" sz="1000" dirty="0" smtClean="0"/>
                        <a:t>Current state of play</a:t>
                      </a:r>
                      <a:endParaRPr lang="en-US" sz="10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tc>
                  <a:txBody>
                    <a:bodyPr/>
                    <a:lstStyle/>
                    <a:p>
                      <a:pPr marL="171450" indent="-171450">
                        <a:buFont typeface="Arial" panose="020B0604020202020204" pitchFamily="34" charset="0"/>
                        <a:buChar char="•"/>
                      </a:pPr>
                      <a:r>
                        <a:rPr lang="en-US" sz="1000" dirty="0" smtClean="0"/>
                        <a:t>Input distribution is predominantly through the cooperatives system</a:t>
                      </a:r>
                    </a:p>
                    <a:p>
                      <a:pPr marL="171450" indent="-171450">
                        <a:buFont typeface="Arial" panose="020B0604020202020204" pitchFamily="34" charset="0"/>
                        <a:buChar char="•"/>
                      </a:pPr>
                      <a:r>
                        <a:rPr lang="en-US" sz="1000" dirty="0" smtClean="0"/>
                        <a:t>Import of fertilizer is done</a:t>
                      </a:r>
                      <a:r>
                        <a:rPr lang="en-US" sz="1000" baseline="0" dirty="0" smtClean="0"/>
                        <a:t> by the public sector</a:t>
                      </a:r>
                    </a:p>
                    <a:p>
                      <a:pPr marL="171450" lvl="0" indent="-171450" fontAlgn="base">
                        <a:buFont typeface="Arial" panose="020B0604020202020204" pitchFamily="34" charset="0"/>
                        <a:buChar char="•"/>
                      </a:pPr>
                      <a:r>
                        <a:rPr lang="en-US" sz="1000" b="0" i="0" u="none" strike="noStrike" cap="none" dirty="0" smtClean="0">
                          <a:solidFill>
                            <a:schemeClr val="tx1"/>
                          </a:solidFill>
                          <a:latin typeface="+mn-lt"/>
                          <a:ea typeface="+mn-ea"/>
                          <a:cs typeface="+mn-cs"/>
                          <a:sym typeface="Arial"/>
                        </a:rPr>
                        <a:t>Some 20 Agricultural One Stop </a:t>
                      </a:r>
                      <a:r>
                        <a:rPr lang="en-US" sz="1000" b="0" i="0" u="none" strike="noStrike" cap="none" dirty="0" err="1" smtClean="0">
                          <a:solidFill>
                            <a:schemeClr val="tx1"/>
                          </a:solidFill>
                          <a:latin typeface="+mn-lt"/>
                          <a:ea typeface="+mn-ea"/>
                          <a:cs typeface="+mn-cs"/>
                          <a:sym typeface="Arial"/>
                        </a:rPr>
                        <a:t>Centres</a:t>
                      </a:r>
                      <a:r>
                        <a:rPr lang="en-US" sz="1000" b="0" i="0" u="none" strike="noStrike" cap="none" dirty="0" smtClean="0">
                          <a:solidFill>
                            <a:schemeClr val="tx1"/>
                          </a:solidFill>
                          <a:latin typeface="+mn-lt"/>
                          <a:ea typeface="+mn-ea"/>
                          <a:cs typeface="+mn-cs"/>
                          <a:sym typeface="Arial"/>
                        </a:rPr>
                        <a:t> (</a:t>
                      </a:r>
                      <a:r>
                        <a:rPr lang="en-US" sz="1000" b="0" i="0" u="none" strike="noStrike" cap="none" dirty="0" err="1" smtClean="0">
                          <a:solidFill>
                            <a:schemeClr val="tx1"/>
                          </a:solidFill>
                          <a:latin typeface="+mn-lt"/>
                          <a:ea typeface="+mn-ea"/>
                          <a:cs typeface="+mn-cs"/>
                          <a:sym typeface="Arial"/>
                        </a:rPr>
                        <a:t>OSCs</a:t>
                      </a:r>
                      <a:r>
                        <a:rPr lang="en-US" sz="1000" b="0" i="0" u="none" strike="noStrike" cap="none" dirty="0" smtClean="0">
                          <a:solidFill>
                            <a:schemeClr val="tx1"/>
                          </a:solidFill>
                          <a:latin typeface="+mn-lt"/>
                          <a:ea typeface="+mn-ea"/>
                          <a:cs typeface="+mn-cs"/>
                          <a:sym typeface="Arial"/>
                        </a:rPr>
                        <a:t>) have been established and 53 are in the pipeline</a:t>
                      </a:r>
                    </a:p>
                    <a:p>
                      <a:pPr marL="171450" indent="-171450">
                        <a:buFont typeface="Arial" panose="020B0604020202020204" pitchFamily="34" charset="0"/>
                        <a:buChar char="•"/>
                      </a:pPr>
                      <a:r>
                        <a:rPr lang="en-US" sz="1000" b="0" i="0" u="none" strike="noStrike" cap="none" dirty="0" err="1" smtClean="0">
                          <a:solidFill>
                            <a:schemeClr val="tx1"/>
                          </a:solidFill>
                          <a:latin typeface="+mn-lt"/>
                          <a:ea typeface="+mn-ea"/>
                          <a:cs typeface="+mn-cs"/>
                          <a:sym typeface="Arial"/>
                        </a:rPr>
                        <a:t>SHFs</a:t>
                      </a:r>
                      <a:r>
                        <a:rPr lang="en-US" sz="1000" b="0" i="0" u="none" strike="noStrike" cap="none" dirty="0" smtClean="0">
                          <a:solidFill>
                            <a:schemeClr val="tx1"/>
                          </a:solidFill>
                          <a:latin typeface="+mn-lt"/>
                          <a:ea typeface="+mn-ea"/>
                          <a:cs typeface="+mn-cs"/>
                          <a:sym typeface="Arial"/>
                        </a:rPr>
                        <a:t> in rural areas still travel long distances to access inputs</a:t>
                      </a:r>
                      <a:endParaRPr lang="en-US" sz="1000" b="0" i="0" u="none" strike="noStrike" cap="none" dirty="0">
                        <a:solidFill>
                          <a:schemeClr val="tx1"/>
                        </a:solidFill>
                        <a:latin typeface="+mn-lt"/>
                        <a:ea typeface="+mn-ea"/>
                        <a:cs typeface="+mn-cs"/>
                        <a:sym typeface="Aria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000"/>
                  </a:ext>
                </a:extLst>
              </a:tr>
              <a:tr h="1946476">
                <a:tc>
                  <a:txBody>
                    <a:bodyPr/>
                    <a:lstStyle/>
                    <a:p>
                      <a:r>
                        <a:rPr lang="en-US" sz="1000" dirty="0" smtClean="0"/>
                        <a:t>Opportunities</a:t>
                      </a:r>
                      <a:endParaRPr lang="en-US" sz="10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tc>
                  <a:txBody>
                    <a:bodyPr/>
                    <a:lstStyle/>
                    <a:p>
                      <a:pPr marL="171450" indent="-171450">
                        <a:buFont typeface="Arial" panose="020B0604020202020204" pitchFamily="34" charset="0"/>
                        <a:buChar char="•"/>
                      </a:pPr>
                      <a:r>
                        <a:rPr lang="en-US" sz="1000" dirty="0" smtClean="0"/>
                        <a:t>Policy reforms to increase private sector role in the economy</a:t>
                      </a:r>
                    </a:p>
                    <a:p>
                      <a:pPr marL="171450" indent="-171450">
                        <a:buFont typeface="Arial" panose="020B0604020202020204" pitchFamily="34" charset="0"/>
                        <a:buChar char="•"/>
                      </a:pPr>
                      <a:r>
                        <a:rPr lang="en-US" sz="1000" dirty="0" smtClean="0"/>
                        <a:t>Limited pilot programs to allow the private sector in the marketing of agricultural inputs have become very successful</a:t>
                      </a:r>
                    </a:p>
                    <a:p>
                      <a:pPr marL="171450" indent="-171450">
                        <a:buFont typeface="Arial" panose="020B0604020202020204" pitchFamily="34" charset="0"/>
                        <a:buChar char="•"/>
                      </a:pPr>
                      <a:r>
                        <a:rPr lang="en-US" sz="1000" dirty="0" smtClean="0"/>
                        <a:t>Private sector actors such as OCP are entering</a:t>
                      </a:r>
                      <a:r>
                        <a:rPr lang="en-US" sz="1000" baseline="0" dirty="0" smtClean="0"/>
                        <a:t> in the production and blending of fertilizer</a:t>
                      </a:r>
                    </a:p>
                    <a:p>
                      <a:pPr marL="171450" indent="-171450">
                        <a:buFont typeface="Arial" panose="020B0604020202020204" pitchFamily="34" charset="0"/>
                        <a:buChar char="•"/>
                      </a:pPr>
                      <a:r>
                        <a:rPr lang="en-US" sz="1000" baseline="0" dirty="0" smtClean="0"/>
                        <a:t>There are thousands of well trained unemployed youth in rural towns </a:t>
                      </a:r>
                    </a:p>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000" b="0" i="0" u="none" strike="noStrike" cap="none" baseline="0" dirty="0" smtClean="0">
                          <a:solidFill>
                            <a:schemeClr val="tx1"/>
                          </a:solidFill>
                          <a:latin typeface="+mn-lt"/>
                          <a:ea typeface="+mn-ea"/>
                          <a:cs typeface="+mn-cs"/>
                          <a:sym typeface="Arial"/>
                        </a:rPr>
                        <a:t>Development of last mile inputs delivery points-of-sale linked to </a:t>
                      </a:r>
                      <a:r>
                        <a:rPr lang="en-US" sz="1000" b="0" i="0" u="none" strike="noStrike" cap="none" baseline="0" dirty="0" err="1" smtClean="0">
                          <a:solidFill>
                            <a:schemeClr val="tx1"/>
                          </a:solidFill>
                          <a:latin typeface="+mn-lt"/>
                          <a:ea typeface="+mn-ea"/>
                          <a:cs typeface="+mn-cs"/>
                          <a:sym typeface="Arial"/>
                        </a:rPr>
                        <a:t>OSCs</a:t>
                      </a:r>
                      <a:endParaRPr lang="en-US" sz="1000" b="0" i="0" u="none" strike="noStrike" cap="none" baseline="0" dirty="0" smtClean="0">
                        <a:solidFill>
                          <a:schemeClr val="tx1"/>
                        </a:solidFill>
                        <a:latin typeface="+mn-lt"/>
                        <a:ea typeface="+mn-ea"/>
                        <a:cs typeface="+mn-cs"/>
                        <a:sym typeface="Arial"/>
                      </a:endParaRPr>
                    </a:p>
                    <a:p>
                      <a:pPr marL="171450" indent="-171450">
                        <a:buFont typeface="Arial" panose="020B0604020202020204" pitchFamily="34" charset="0"/>
                        <a:buChar char="•"/>
                      </a:pPr>
                      <a:endParaRPr lang="en-US" sz="10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001"/>
                  </a:ext>
                </a:extLst>
              </a:tr>
              <a:tr h="1297048">
                <a:tc>
                  <a:txBody>
                    <a:bodyPr/>
                    <a:lstStyle/>
                    <a:p>
                      <a:r>
                        <a:rPr lang="en-US" sz="1000" dirty="0" smtClean="0"/>
                        <a:t/>
                      </a:r>
                      <a:br>
                        <a:rPr lang="en-US" sz="1000" dirty="0" smtClean="0"/>
                      </a:br>
                      <a:r>
                        <a:rPr lang="en-US" sz="1000" dirty="0" smtClean="0"/>
                        <a:t>Enablers</a:t>
                      </a:r>
                      <a:endParaRPr lang="en-US" sz="10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tc>
                  <a:txBody>
                    <a:bodyPr/>
                    <a:lstStyle/>
                    <a:p>
                      <a:pPr marL="171450" indent="-171450">
                        <a:buFont typeface="Arial" panose="020B0604020202020204" pitchFamily="34" charset="0"/>
                        <a:buChar char="•"/>
                      </a:pPr>
                      <a:r>
                        <a:rPr lang="en-US" sz="1000" dirty="0" smtClean="0"/>
                        <a:t>Policy reforms to</a:t>
                      </a:r>
                      <a:r>
                        <a:rPr lang="en-US" sz="1000" baseline="0" dirty="0" smtClean="0"/>
                        <a:t> create enabling environment</a:t>
                      </a:r>
                    </a:p>
                    <a:p>
                      <a:pPr marL="171450" indent="-171450">
                        <a:buFont typeface="Arial" panose="020B0604020202020204" pitchFamily="34" charset="0"/>
                        <a:buChar char="•"/>
                      </a:pPr>
                      <a:r>
                        <a:rPr lang="en-US" sz="1000" baseline="0" dirty="0" smtClean="0"/>
                        <a:t>Bureaucratic efficiency</a:t>
                      </a:r>
                    </a:p>
                    <a:p>
                      <a:pPr marL="171450" indent="-171450">
                        <a:buFont typeface="Arial" panose="020B0604020202020204" pitchFamily="34" charset="0"/>
                        <a:buChar char="•"/>
                      </a:pPr>
                      <a:r>
                        <a:rPr lang="en-US" sz="1000" baseline="0" dirty="0" smtClean="0"/>
                        <a:t>Forex availability</a:t>
                      </a:r>
                    </a:p>
                    <a:p>
                      <a:pPr marL="171450" indent="-171450">
                        <a:buFont typeface="Arial" panose="020B0604020202020204" pitchFamily="34" charset="0"/>
                        <a:buChar char="•"/>
                      </a:pPr>
                      <a:r>
                        <a:rPr lang="en-US" sz="1000" baseline="0" dirty="0" smtClean="0"/>
                        <a:t>Access to finance</a:t>
                      </a:r>
                      <a:endParaRPr lang="en-US" sz="10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2" name="Rectangle 1"/>
          <p:cNvSpPr/>
          <p:nvPr/>
        </p:nvSpPr>
        <p:spPr>
          <a:xfrm>
            <a:off x="5338816" y="954820"/>
            <a:ext cx="1765227" cy="276999"/>
          </a:xfrm>
          <a:prstGeom prst="rect">
            <a:avLst/>
          </a:prstGeom>
        </p:spPr>
        <p:txBody>
          <a:bodyPr wrap="none">
            <a:spAutoFit/>
          </a:bodyPr>
          <a:lstStyle/>
          <a:p>
            <a:r>
              <a:rPr lang="en-US" sz="1200" b="1" dirty="0"/>
              <a:t>Agro-dealer networks</a:t>
            </a:r>
          </a:p>
        </p:txBody>
      </p:sp>
    </p:spTree>
    <p:extLst>
      <p:ext uri="{BB962C8B-B14F-4D97-AF65-F5344CB8AC3E}">
        <p14:creationId xmlns:p14="http://schemas.microsoft.com/office/powerpoint/2010/main" val="368120224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3901" name="think-cell Slide" r:id="rId5" imgW="327" imgH="327" progId="TCLayout.ActiveDocument.1">
                  <p:embed/>
                </p:oleObj>
              </mc:Choice>
              <mc:Fallback>
                <p:oleObj name="think-cell Slide" r:id="rId5" imgW="327" imgH="327"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000" b="1" dirty="0">
              <a:latin typeface="Arial" panose="020B0604020202020204" pitchFamily="34" charset="0"/>
              <a:cs typeface="Arial" panose="020B0604020202020204" pitchFamily="34" charset="0"/>
              <a:sym typeface="Arial" panose="020B0604020202020204" pitchFamily="34" charset="0"/>
            </a:endParaRPr>
          </a:p>
        </p:txBody>
      </p:sp>
      <p:sp>
        <p:nvSpPr>
          <p:cNvPr id="7" name="Title 6"/>
          <p:cNvSpPr>
            <a:spLocks noGrp="1"/>
          </p:cNvSpPr>
          <p:nvPr>
            <p:ph type="title"/>
          </p:nvPr>
        </p:nvSpPr>
        <p:spPr/>
        <p:txBody>
          <a:bodyPr/>
          <a:lstStyle/>
          <a:p>
            <a:r>
              <a:rPr lang="en-US" sz="2000" dirty="0"/>
              <a:t>In addition to Macro-economic analysis, AGRA also carried out analysis of  specific systems to inform the strategy</a:t>
            </a:r>
          </a:p>
        </p:txBody>
      </p:sp>
      <p:sp>
        <p:nvSpPr>
          <p:cNvPr id="10" name="TextBox 9"/>
          <p:cNvSpPr txBox="1"/>
          <p:nvPr/>
        </p:nvSpPr>
        <p:spPr>
          <a:xfrm>
            <a:off x="356472" y="954820"/>
            <a:ext cx="3384222" cy="276999"/>
          </a:xfrm>
          <a:prstGeom prst="rect">
            <a:avLst/>
          </a:prstGeom>
          <a:noFill/>
        </p:spPr>
        <p:txBody>
          <a:bodyPr wrap="square" rtlCol="0">
            <a:spAutoFit/>
          </a:bodyPr>
          <a:lstStyle/>
          <a:p>
            <a:r>
              <a:rPr lang="en-US" sz="1200" b="1" dirty="0"/>
              <a:t>Output </a:t>
            </a:r>
            <a:r>
              <a:rPr lang="en-US" sz="1200" b="1" dirty="0" smtClean="0"/>
              <a:t>Markets</a:t>
            </a:r>
            <a:endParaRPr lang="en-US" sz="1200" b="1" dirty="0"/>
          </a:p>
        </p:txBody>
      </p:sp>
      <p:sp>
        <p:nvSpPr>
          <p:cNvPr id="2" name="Rectangle 1"/>
          <p:cNvSpPr/>
          <p:nvPr/>
        </p:nvSpPr>
        <p:spPr>
          <a:xfrm>
            <a:off x="5171090" y="952040"/>
            <a:ext cx="1534394" cy="276999"/>
          </a:xfrm>
          <a:prstGeom prst="rect">
            <a:avLst/>
          </a:prstGeom>
        </p:spPr>
        <p:txBody>
          <a:bodyPr wrap="none">
            <a:spAutoFit/>
          </a:bodyPr>
          <a:lstStyle/>
          <a:p>
            <a:r>
              <a:rPr lang="en-US" sz="1200" b="1" dirty="0"/>
              <a:t>Access to Finance</a:t>
            </a:r>
          </a:p>
        </p:txBody>
      </p:sp>
      <p:graphicFrame>
        <p:nvGraphicFramePr>
          <p:cNvPr id="11" name="Table 10"/>
          <p:cNvGraphicFramePr>
            <a:graphicFrameLocks noGrp="1"/>
          </p:cNvGraphicFramePr>
          <p:nvPr>
            <p:extLst>
              <p:ext uri="{D42A27DB-BD31-4B8C-83A1-F6EECF244321}">
                <p14:modId xmlns:p14="http://schemas.microsoft.com/office/powerpoint/2010/main" val="117143864"/>
              </p:ext>
            </p:extLst>
          </p:nvPr>
        </p:nvGraphicFramePr>
        <p:xfrm>
          <a:off x="356471" y="1231821"/>
          <a:ext cx="4506473" cy="5179370"/>
        </p:xfrm>
        <a:graphic>
          <a:graphicData uri="http://schemas.openxmlformats.org/drawingml/2006/table">
            <a:tbl>
              <a:tblPr firstRow="1" bandRow="1">
                <a:tableStyleId>{2D5ABB26-0587-4C30-8999-92F81FD0307C}</a:tableStyleId>
              </a:tblPr>
              <a:tblGrid>
                <a:gridCol w="1221436">
                  <a:extLst>
                    <a:ext uri="{9D8B030D-6E8A-4147-A177-3AD203B41FA5}">
                      <a16:colId xmlns:a16="http://schemas.microsoft.com/office/drawing/2014/main" val="20000"/>
                    </a:ext>
                  </a:extLst>
                </a:gridCol>
                <a:gridCol w="3285037">
                  <a:extLst>
                    <a:ext uri="{9D8B030D-6E8A-4147-A177-3AD203B41FA5}">
                      <a16:colId xmlns:a16="http://schemas.microsoft.com/office/drawing/2014/main" val="20001"/>
                    </a:ext>
                  </a:extLst>
                </a:gridCol>
              </a:tblGrid>
              <a:tr h="1696216">
                <a:tc>
                  <a:txBody>
                    <a:bodyPr/>
                    <a:lstStyle/>
                    <a:p>
                      <a:r>
                        <a:rPr lang="en-US" sz="1000" dirty="0"/>
                        <a:t>Current state of play</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tc>
                  <a:txBody>
                    <a:bodyPr/>
                    <a:lstStyle/>
                    <a:p>
                      <a:pPr marL="171450" indent="-171450">
                        <a:buFont typeface="Arial" panose="020B0604020202020204" pitchFamily="34" charset="0"/>
                        <a:buChar char="•"/>
                      </a:pPr>
                      <a:r>
                        <a:rPr lang="en-US" sz="1000" dirty="0" smtClean="0"/>
                        <a:t>Output markets are highly fragmented with extended chains and many middlemen actors</a:t>
                      </a:r>
                    </a:p>
                    <a:p>
                      <a:pPr marL="171450" indent="-171450">
                        <a:buFont typeface="Arial" panose="020B0604020202020204" pitchFamily="34" charset="0"/>
                        <a:buChar char="•"/>
                      </a:pPr>
                      <a:r>
                        <a:rPr lang="en-US" sz="1000" dirty="0" smtClean="0"/>
                        <a:t>Extensive network of farmers cooperatives exist in the country but</a:t>
                      </a:r>
                      <a:r>
                        <a:rPr lang="en-US" sz="1000" baseline="0" dirty="0" smtClean="0"/>
                        <a:t> they play very limited role in output marketing due to lack of access to working capital and storage facilities</a:t>
                      </a:r>
                    </a:p>
                    <a:p>
                      <a:pPr marL="171450" indent="-171450">
                        <a:buFont typeface="Arial" panose="020B0604020202020204" pitchFamily="34" charset="0"/>
                        <a:buChar char="•"/>
                      </a:pPr>
                      <a:r>
                        <a:rPr lang="en-US" sz="1000" baseline="0" dirty="0" smtClean="0"/>
                        <a:t>A Commodity Exchange that functions very well</a:t>
                      </a:r>
                    </a:p>
                    <a:p>
                      <a:pPr marL="171450" indent="-171450">
                        <a:buFont typeface="Arial" panose="020B0604020202020204" pitchFamily="34" charset="0"/>
                        <a:buChar char="•"/>
                      </a:pPr>
                      <a:r>
                        <a:rPr lang="en-US" sz="1000" baseline="0" dirty="0" smtClean="0"/>
                        <a:t>Farmers increasing use of mobile phones to find out market prices before selling their produce</a:t>
                      </a:r>
                    </a:p>
                    <a:p>
                      <a:pPr marL="171450" indent="-171450">
                        <a:buFont typeface="Arial" panose="020B0604020202020204" pitchFamily="34" charset="0"/>
                        <a:buChar char="•"/>
                      </a:pPr>
                      <a:r>
                        <a:rPr lang="en-US" sz="1000" baseline="0" dirty="0" smtClean="0"/>
                        <a:t>The country faces chronic foreign exchange shortages with massive negative BOP </a:t>
                      </a:r>
                      <a:endParaRPr lang="en-US" sz="10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000"/>
                  </a:ext>
                </a:extLst>
              </a:tr>
              <a:tr h="1696216">
                <a:tc>
                  <a:txBody>
                    <a:bodyPr/>
                    <a:lstStyle/>
                    <a:p>
                      <a:r>
                        <a:rPr lang="en-US" sz="1000" dirty="0"/>
                        <a:t>Opportunities</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tc>
                  <a:txBody>
                    <a:bodyPr/>
                    <a:lstStyle/>
                    <a:p>
                      <a:pPr marL="171450" indent="-171450">
                        <a:buFont typeface="Arial" panose="020B0604020202020204" pitchFamily="34" charset="0"/>
                        <a:buChar char="•"/>
                      </a:pPr>
                      <a:r>
                        <a:rPr lang="en-US" sz="1000" baseline="0" dirty="0" smtClean="0"/>
                        <a:t>Growing population and increasing incomes that create opportunities for bigger domestic market</a:t>
                      </a:r>
                    </a:p>
                    <a:p>
                      <a:pPr marL="171450" indent="-171450">
                        <a:buFont typeface="Arial" panose="020B0604020202020204" pitchFamily="34" charset="0"/>
                        <a:buChar char="•"/>
                      </a:pPr>
                      <a:r>
                        <a:rPr lang="en-US" sz="1000" baseline="0" dirty="0" smtClean="0"/>
                        <a:t>Opening up of the economy for a greater role of the private sector</a:t>
                      </a:r>
                    </a:p>
                    <a:p>
                      <a:pPr marL="171450" indent="-171450">
                        <a:buFont typeface="Arial" panose="020B0604020202020204" pitchFamily="34" charset="0"/>
                        <a:buChar char="•"/>
                      </a:pPr>
                      <a:r>
                        <a:rPr lang="en-US" sz="1000" baseline="0" dirty="0" smtClean="0"/>
                        <a:t>Agro-food industrial parks development</a:t>
                      </a:r>
                    </a:p>
                    <a:p>
                      <a:pPr marL="171450" indent="-171450">
                        <a:buFont typeface="Arial" panose="020B0604020202020204" pitchFamily="34" charset="0"/>
                        <a:buChar char="•"/>
                      </a:pPr>
                      <a:r>
                        <a:rPr lang="en-US" sz="1000" baseline="0" dirty="0" smtClean="0"/>
                        <a:t>Cluster program to enable farmers increase productivity and produce uniform quality product at scale to supply the agro-processing industry</a:t>
                      </a:r>
                    </a:p>
                    <a:p>
                      <a:pPr marL="171450" indent="-171450">
                        <a:buFont typeface="Arial" panose="020B0604020202020204" pitchFamily="34" charset="0"/>
                        <a:buChar char="•"/>
                      </a:pPr>
                      <a:r>
                        <a:rPr lang="en-US" sz="1000" baseline="0" dirty="0" smtClean="0"/>
                        <a:t>Big regional markets in neighboring countries and the Middle East</a:t>
                      </a:r>
                    </a:p>
                    <a:p>
                      <a:pPr marL="171450" indent="-171450">
                        <a:buFont typeface="Arial" panose="020B0604020202020204" pitchFamily="34" charset="0"/>
                        <a:buChar char="•"/>
                      </a:pPr>
                      <a:r>
                        <a:rPr lang="en-US" sz="1000" baseline="0" dirty="0" smtClean="0"/>
                        <a:t>The passage of the contract farming proclamation</a:t>
                      </a:r>
                      <a:endParaRPr lang="en-US" sz="10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001"/>
                  </a:ext>
                </a:extLst>
              </a:tr>
              <a:tr h="965088">
                <a:tc>
                  <a:txBody>
                    <a:bodyPr/>
                    <a:lstStyle/>
                    <a:p>
                      <a:r>
                        <a:rPr lang="en-US" sz="1000" dirty="0"/>
                        <a:t/>
                      </a:r>
                      <a:br>
                        <a:rPr lang="en-US" sz="1000" dirty="0"/>
                      </a:br>
                      <a:r>
                        <a:rPr lang="en-US" sz="1000" dirty="0"/>
                        <a:t>Enablers</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tc>
                  <a:txBody>
                    <a:bodyPr/>
                    <a:lstStyle/>
                    <a:p>
                      <a:pPr marL="171450" indent="-171450">
                        <a:buFont typeface="Arial" panose="020B0604020202020204" pitchFamily="34" charset="0"/>
                        <a:buChar char="•"/>
                      </a:pPr>
                      <a:r>
                        <a:rPr lang="en-US" sz="1000" dirty="0" smtClean="0"/>
                        <a:t>Policy reforms to create an enabling environment</a:t>
                      </a:r>
                      <a:endParaRPr lang="en-US" sz="1000" baseline="0" dirty="0"/>
                    </a:p>
                    <a:p>
                      <a:pPr marL="171450" indent="-171450">
                        <a:buFont typeface="Arial" panose="020B0604020202020204" pitchFamily="34" charset="0"/>
                        <a:buChar char="•"/>
                      </a:pPr>
                      <a:r>
                        <a:rPr lang="en-US" sz="1000" baseline="0" dirty="0" smtClean="0"/>
                        <a:t>Improved bureaucratic efficiency</a:t>
                      </a:r>
                      <a:endParaRPr lang="en-US" sz="1000" baseline="0" dirty="0"/>
                    </a:p>
                    <a:p>
                      <a:pPr marL="171450" indent="-171450">
                        <a:buFont typeface="Arial" panose="020B0604020202020204" pitchFamily="34" charset="0"/>
                        <a:buChar char="•"/>
                      </a:pPr>
                      <a:r>
                        <a:rPr lang="en-US" sz="1000" baseline="0" dirty="0" smtClean="0"/>
                        <a:t>Expansion and efficiency of the ICT infrastructure</a:t>
                      </a:r>
                    </a:p>
                    <a:p>
                      <a:pPr marL="171450" indent="-171450">
                        <a:buFont typeface="Arial" panose="020B0604020202020204" pitchFamily="34" charset="0"/>
                        <a:buChar char="•"/>
                      </a:pPr>
                      <a:r>
                        <a:rPr lang="en-US" sz="1000" baseline="0" dirty="0" smtClean="0"/>
                        <a:t>Regulation of quality and standards of products </a:t>
                      </a:r>
                    </a:p>
                    <a:p>
                      <a:pPr marL="171450" indent="-171450">
                        <a:buFont typeface="Arial" panose="020B0604020202020204" pitchFamily="34" charset="0"/>
                        <a:buChar char="•"/>
                      </a:pPr>
                      <a:r>
                        <a:rPr lang="en-US" sz="1000" baseline="0" dirty="0" smtClean="0"/>
                        <a:t>Improved trade logistics</a:t>
                      </a:r>
                    </a:p>
                    <a:p>
                      <a:pPr marL="171450" indent="-171450">
                        <a:buFont typeface="Arial" panose="020B0604020202020204" pitchFamily="34" charset="0"/>
                        <a:buChar char="•"/>
                      </a:pPr>
                      <a:r>
                        <a:rPr lang="en-US" sz="1000" baseline="0" dirty="0" smtClean="0"/>
                        <a:t>Access to finance</a:t>
                      </a:r>
                      <a:endParaRPr lang="en-US" sz="10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002"/>
                  </a:ext>
                </a:extLst>
              </a:tr>
              <a:tr h="637850">
                <a:tc>
                  <a:txBody>
                    <a:bodyPr/>
                    <a:lstStyle/>
                    <a:p>
                      <a:r>
                        <a:rPr lang="en-US" sz="1000" dirty="0"/>
                        <a:t>Key Partners</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tc>
                  <a:txBody>
                    <a:bodyPr/>
                    <a:lstStyle/>
                    <a:p>
                      <a:pPr marL="171450" indent="-171450">
                        <a:buFont typeface="Arial" panose="020B0604020202020204" pitchFamily="34" charset="0"/>
                        <a:buChar char="•"/>
                      </a:pPr>
                      <a:r>
                        <a:rPr lang="en-US" sz="1000" dirty="0" smtClean="0"/>
                        <a:t>IFC – Policy</a:t>
                      </a:r>
                      <a:r>
                        <a:rPr lang="en-US" sz="1000" baseline="0" dirty="0" smtClean="0"/>
                        <a:t> reform to improve the EBA indicators</a:t>
                      </a:r>
                    </a:p>
                    <a:p>
                      <a:pPr marL="171450" indent="-171450">
                        <a:buFont typeface="Arial" panose="020B0604020202020204" pitchFamily="34" charset="0"/>
                        <a:buChar char="•"/>
                      </a:pPr>
                      <a:r>
                        <a:rPr lang="en-US" sz="1000" baseline="0" dirty="0" smtClean="0"/>
                        <a:t>ATA – access to key Policy makers</a:t>
                      </a:r>
                    </a:p>
                    <a:p>
                      <a:pPr marL="171450" indent="-171450">
                        <a:buFont typeface="Arial" panose="020B0604020202020204" pitchFamily="34" charset="0"/>
                        <a:buChar char="•"/>
                      </a:pPr>
                      <a:r>
                        <a:rPr lang="en-US" sz="1000" baseline="0" dirty="0" smtClean="0"/>
                        <a:t>Private sector sectoral associations</a:t>
                      </a:r>
                      <a:endParaRPr lang="en-US" sz="10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343076018"/>
                  </a:ext>
                </a:extLst>
              </a:tr>
            </a:tbl>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879886418"/>
              </p:ext>
            </p:extLst>
          </p:nvPr>
        </p:nvGraphicFramePr>
        <p:xfrm>
          <a:off x="5171090" y="1231818"/>
          <a:ext cx="4306397" cy="5179372"/>
        </p:xfrm>
        <a:graphic>
          <a:graphicData uri="http://schemas.openxmlformats.org/drawingml/2006/table">
            <a:tbl>
              <a:tblPr firstRow="1" bandRow="1">
                <a:tableStyleId>{2D5ABB26-0587-4C30-8999-92F81FD0307C}</a:tableStyleId>
              </a:tblPr>
              <a:tblGrid>
                <a:gridCol w="1203544">
                  <a:extLst>
                    <a:ext uri="{9D8B030D-6E8A-4147-A177-3AD203B41FA5}">
                      <a16:colId xmlns:a16="http://schemas.microsoft.com/office/drawing/2014/main" val="20000"/>
                    </a:ext>
                  </a:extLst>
                </a:gridCol>
                <a:gridCol w="3102853">
                  <a:extLst>
                    <a:ext uri="{9D8B030D-6E8A-4147-A177-3AD203B41FA5}">
                      <a16:colId xmlns:a16="http://schemas.microsoft.com/office/drawing/2014/main" val="20001"/>
                    </a:ext>
                  </a:extLst>
                </a:gridCol>
              </a:tblGrid>
              <a:tr h="1683619">
                <a:tc>
                  <a:txBody>
                    <a:bodyPr/>
                    <a:lstStyle/>
                    <a:p>
                      <a:r>
                        <a:rPr lang="en-US" sz="1000" dirty="0"/>
                        <a:t>Current state of play</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tc>
                  <a:txBody>
                    <a:bodyPr/>
                    <a:lstStyle/>
                    <a:p>
                      <a:pPr marL="171450" indent="-171450">
                        <a:buFont typeface="Arial" panose="020B0604020202020204" pitchFamily="34" charset="0"/>
                        <a:buChar char="•"/>
                      </a:pPr>
                      <a:r>
                        <a:rPr lang="en-US" sz="1000" dirty="0" smtClean="0"/>
                        <a:t>Access to finance is difficult for all agricultural value chain actors </a:t>
                      </a:r>
                    </a:p>
                    <a:p>
                      <a:pPr marL="171450" indent="-171450">
                        <a:buFont typeface="Arial" panose="020B0604020202020204" pitchFamily="34" charset="0"/>
                        <a:buChar char="•"/>
                      </a:pPr>
                      <a:r>
                        <a:rPr lang="en-US" sz="1000" baseline="0" dirty="0" smtClean="0"/>
                        <a:t>No foreign investments in financial sector, undeveloped private equity sector</a:t>
                      </a:r>
                    </a:p>
                    <a:p>
                      <a:pPr marL="171450" indent="-171450">
                        <a:buFont typeface="Arial" panose="020B0604020202020204" pitchFamily="34" charset="0"/>
                        <a:buChar char="•"/>
                      </a:pPr>
                      <a:r>
                        <a:rPr lang="en-US" sz="1000" baseline="0" dirty="0" smtClean="0"/>
                        <a:t>Poor financial management by SMEs makes them un-bankable</a:t>
                      </a:r>
                    </a:p>
                    <a:p>
                      <a:pPr marL="171450" indent="-171450">
                        <a:buFont typeface="Arial" panose="020B0604020202020204" pitchFamily="34" charset="0"/>
                        <a:buChar char="•"/>
                      </a:pPr>
                      <a:r>
                        <a:rPr lang="en-US" sz="1000" dirty="0" smtClean="0"/>
                        <a:t>Banks prefer to lend to their urban traders and facilitating of foreign trade transactions</a:t>
                      </a:r>
                    </a:p>
                    <a:p>
                      <a:pPr marL="171450" indent="-171450">
                        <a:buFont typeface="Arial" panose="020B0604020202020204" pitchFamily="34" charset="0"/>
                        <a:buChar char="•"/>
                      </a:pPr>
                      <a:r>
                        <a:rPr lang="en-US" sz="1000" dirty="0" smtClean="0"/>
                        <a:t>State owned financial institutions</a:t>
                      </a:r>
                      <a:r>
                        <a:rPr lang="en-US" sz="1000" baseline="0" dirty="0" smtClean="0"/>
                        <a:t> often bureaucratic with standard fin. products</a:t>
                      </a:r>
                      <a:endParaRPr lang="en-US" sz="10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000"/>
                  </a:ext>
                </a:extLst>
              </a:tr>
              <a:tr h="1207123">
                <a:tc>
                  <a:txBody>
                    <a:bodyPr/>
                    <a:lstStyle/>
                    <a:p>
                      <a:r>
                        <a:rPr lang="en-US" sz="1000" dirty="0"/>
                        <a:t>Opportunities</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tc>
                  <a:txBody>
                    <a:bodyPr/>
                    <a:lstStyle/>
                    <a:p>
                      <a:pPr marL="171450" indent="-171450">
                        <a:buFont typeface="Arial" panose="020B0604020202020204" pitchFamily="34" charset="0"/>
                        <a:buChar char="•"/>
                      </a:pPr>
                      <a:r>
                        <a:rPr lang="en-US" sz="1000" dirty="0" smtClean="0"/>
                        <a:t>Entry of Equity Bank</a:t>
                      </a:r>
                      <a:r>
                        <a:rPr lang="en-US" sz="1000" baseline="0" dirty="0" smtClean="0"/>
                        <a:t> into Ethiopia market</a:t>
                      </a:r>
                      <a:endParaRPr lang="en-US" sz="1000" dirty="0"/>
                    </a:p>
                    <a:p>
                      <a:pPr marL="171450" indent="-171450">
                        <a:buFont typeface="Arial" panose="020B0604020202020204" pitchFamily="34" charset="0"/>
                        <a:buChar char="•"/>
                      </a:pPr>
                      <a:r>
                        <a:rPr lang="en-US" sz="1000" dirty="0" smtClean="0"/>
                        <a:t>AGRA’s relation</a:t>
                      </a:r>
                      <a:r>
                        <a:rPr lang="en-US" sz="1000" baseline="0" dirty="0" smtClean="0"/>
                        <a:t> with ACSI and Oromia Coop Bank though Min. of Agriculture</a:t>
                      </a:r>
                      <a:endParaRPr lang="en-US" sz="1000" dirty="0"/>
                    </a:p>
                    <a:p>
                      <a:pPr marL="171450" indent="-171450">
                        <a:buFont typeface="Arial" panose="020B0604020202020204" pitchFamily="34" charset="0"/>
                        <a:buChar char="•"/>
                      </a:pPr>
                      <a:r>
                        <a:rPr lang="en-US" sz="1000" dirty="0" err="1" smtClean="0"/>
                        <a:t>Liberalisation</a:t>
                      </a:r>
                      <a:r>
                        <a:rPr lang="en-US" sz="1000" dirty="0" smtClean="0"/>
                        <a:t> of telco sector will lead to opportunities in digital financial</a:t>
                      </a:r>
                      <a:r>
                        <a:rPr lang="en-US" sz="1000" baseline="0" dirty="0" smtClean="0"/>
                        <a:t> services</a:t>
                      </a:r>
                      <a:endParaRPr lang="en-US" sz="1000" baseline="0" dirty="0"/>
                    </a:p>
                    <a:p>
                      <a:pPr marL="171450" indent="-171450">
                        <a:buFont typeface="Arial" panose="020B0604020202020204" pitchFamily="34" charset="0"/>
                        <a:buChar char="•"/>
                      </a:pPr>
                      <a:r>
                        <a:rPr lang="en-US" sz="1000" baseline="0" dirty="0" smtClean="0"/>
                        <a:t>Private sector MFIs supported by STARS program in agricultural finance</a:t>
                      </a:r>
                      <a:endParaRPr lang="en-US" sz="10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001"/>
                  </a:ext>
                </a:extLst>
              </a:tr>
              <a:tr h="1207123">
                <a:tc>
                  <a:txBody>
                    <a:bodyPr/>
                    <a:lstStyle/>
                    <a:p>
                      <a:r>
                        <a:rPr lang="en-US" sz="1000" dirty="0"/>
                        <a:t/>
                      </a:r>
                      <a:br>
                        <a:rPr lang="en-US" sz="1000" dirty="0"/>
                      </a:br>
                      <a:r>
                        <a:rPr lang="en-US" sz="1000" dirty="0"/>
                        <a:t>Enablers</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tc>
                  <a:txBody>
                    <a:bodyPr/>
                    <a:lstStyle/>
                    <a:p>
                      <a:pPr marL="171450" indent="-171450">
                        <a:buFont typeface="Arial" panose="020B0604020202020204" pitchFamily="34" charset="0"/>
                        <a:buChar char="•"/>
                      </a:pPr>
                      <a:r>
                        <a:rPr lang="en-US" sz="1000" dirty="0" smtClean="0"/>
                        <a:t>Capacity</a:t>
                      </a:r>
                      <a:r>
                        <a:rPr lang="en-US" sz="1000" baseline="0" dirty="0" smtClean="0"/>
                        <a:t> building of financial institutions and agricultural value chain actors</a:t>
                      </a:r>
                    </a:p>
                    <a:p>
                      <a:pPr marL="171450" indent="-171450">
                        <a:buFont typeface="Arial" panose="020B0604020202020204" pitchFamily="34" charset="0"/>
                        <a:buChar char="•"/>
                      </a:pPr>
                      <a:r>
                        <a:rPr lang="en-US" sz="1000" baseline="0" dirty="0" smtClean="0"/>
                        <a:t>Creating a credit history register in the country</a:t>
                      </a:r>
                    </a:p>
                    <a:p>
                      <a:pPr marL="171450" indent="-171450">
                        <a:buFont typeface="Arial" panose="020B0604020202020204" pitchFamily="34" charset="0"/>
                        <a:buChar char="•"/>
                      </a:pPr>
                      <a:r>
                        <a:rPr lang="en-US" sz="1000" baseline="0" dirty="0" smtClean="0"/>
                        <a:t>Policy changes</a:t>
                      </a:r>
                    </a:p>
                    <a:p>
                      <a:pPr marL="171450" indent="-171450">
                        <a:buFont typeface="Arial" panose="020B0604020202020204" pitchFamily="34" charset="0"/>
                        <a:buChar char="•"/>
                      </a:pPr>
                      <a:r>
                        <a:rPr lang="en-US" sz="1000" baseline="0" dirty="0" smtClean="0"/>
                        <a:t>ICT technology which extends the reach of financial institutions where brick and mortar braches may not be feasible</a:t>
                      </a:r>
                      <a:endParaRPr lang="en-US" sz="10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0002"/>
                  </a:ext>
                </a:extLst>
              </a:tr>
              <a:tr h="1081507">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000" dirty="0"/>
                        <a:t>Key partners</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tc>
                  <a:txBody>
                    <a:bodyPr/>
                    <a:lstStyle/>
                    <a:p>
                      <a:pPr marL="171450" indent="-171450">
                        <a:buFont typeface="Arial" panose="020B0604020202020204" pitchFamily="34" charset="0"/>
                        <a:buChar char="•"/>
                      </a:pPr>
                      <a:r>
                        <a:rPr lang="en-US" sz="1000" dirty="0" smtClean="0"/>
                        <a:t>National Bank of Ethiopia</a:t>
                      </a:r>
                    </a:p>
                    <a:p>
                      <a:pPr marL="171450" indent="-171450">
                        <a:buFont typeface="Arial" panose="020B0604020202020204" pitchFamily="34" charset="0"/>
                        <a:buChar char="•"/>
                      </a:pPr>
                      <a:r>
                        <a:rPr lang="en-US" sz="1000" dirty="0" smtClean="0"/>
                        <a:t>Development Bank of Ethiopia</a:t>
                      </a:r>
                    </a:p>
                    <a:p>
                      <a:pPr marL="171450" indent="-171450">
                        <a:buFont typeface="Arial" panose="020B0604020202020204" pitchFamily="34" charset="0"/>
                        <a:buChar char="•"/>
                      </a:pPr>
                      <a:r>
                        <a:rPr lang="en-US" sz="1000" dirty="0" smtClean="0"/>
                        <a:t>ATA</a:t>
                      </a:r>
                    </a:p>
                    <a:p>
                      <a:pPr marL="171450" indent="-171450">
                        <a:buFont typeface="Arial" panose="020B0604020202020204" pitchFamily="34" charset="0"/>
                        <a:buChar char="•"/>
                      </a:pPr>
                      <a:r>
                        <a:rPr lang="en-US" sz="1000" dirty="0" smtClean="0"/>
                        <a:t>IFAD (through RUFIP</a:t>
                      </a:r>
                      <a:r>
                        <a:rPr lang="en-US" sz="1000" baseline="0" dirty="0" smtClean="0"/>
                        <a:t> program)</a:t>
                      </a:r>
                      <a:endParaRPr lang="en-US" sz="1000" dirty="0" smtClean="0"/>
                    </a:p>
                    <a:p>
                      <a:pPr marL="171450" indent="-171450">
                        <a:buFont typeface="Arial" panose="020B0604020202020204" pitchFamily="34" charset="0"/>
                        <a:buChar char="•"/>
                      </a:pPr>
                      <a:r>
                        <a:rPr lang="en-US" sz="1000" dirty="0" smtClean="0"/>
                        <a:t>Microfinance</a:t>
                      </a:r>
                      <a:r>
                        <a:rPr lang="en-US" sz="1000" baseline="0" dirty="0" smtClean="0"/>
                        <a:t> institutions (STARS)</a:t>
                      </a:r>
                    </a:p>
                    <a:p>
                      <a:pPr marL="171450" indent="-171450">
                        <a:buFont typeface="Arial" panose="020B0604020202020204" pitchFamily="34" charset="0"/>
                        <a:buChar char="•"/>
                      </a:pPr>
                      <a:r>
                        <a:rPr lang="en-US" sz="1000" baseline="0" dirty="0" smtClean="0"/>
                        <a:t>Banks esp. the private sector banks</a:t>
                      </a:r>
                      <a:endParaRPr lang="en-US" sz="10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07318504"/>
                  </a:ext>
                </a:extLst>
              </a:tr>
            </a:tbl>
          </a:graphicData>
        </a:graphic>
      </p:graphicFrame>
    </p:spTree>
    <p:extLst>
      <p:ext uri="{BB962C8B-B14F-4D97-AF65-F5344CB8AC3E}">
        <p14:creationId xmlns:p14="http://schemas.microsoft.com/office/powerpoint/2010/main" val="202998664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20" name="think-cell Slide" r:id="rId5" imgW="327" imgH="327" progId="TCLayout.ActiveDocument.1">
                  <p:embed/>
                </p:oleObj>
              </mc:Choice>
              <mc:Fallback>
                <p:oleObj name="think-cell Slide" r:id="rId5" imgW="327" imgH="327"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031" b="1" dirty="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smtClean="0"/>
              <a:t>Partnerships Mapping</a:t>
            </a:r>
            <a:endParaRPr lang="en-US" dirty="0"/>
          </a:p>
        </p:txBody>
      </p:sp>
      <p:pic>
        <p:nvPicPr>
          <p:cNvPr id="9" name="Picture 8"/>
          <p:cNvPicPr>
            <a:picLocks noChangeAspect="1"/>
          </p:cNvPicPr>
          <p:nvPr/>
        </p:nvPicPr>
        <p:blipFill>
          <a:blip r:embed="rId7"/>
          <a:stretch>
            <a:fillRect/>
          </a:stretch>
        </p:blipFill>
        <p:spPr>
          <a:xfrm>
            <a:off x="103908" y="1134514"/>
            <a:ext cx="9680251" cy="4580485"/>
          </a:xfrm>
          <a:prstGeom prst="rect">
            <a:avLst/>
          </a:prstGeom>
        </p:spPr>
      </p:pic>
    </p:spTree>
    <p:extLst>
      <p:ext uri="{BB962C8B-B14F-4D97-AF65-F5344CB8AC3E}">
        <p14:creationId xmlns:p14="http://schemas.microsoft.com/office/powerpoint/2010/main" val="251371774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116996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0584" name="think-cell Slide" r:id="rId5" imgW="327" imgH="327" progId="TCLayout.ActiveDocument.1">
                  <p:embed/>
                </p:oleObj>
              </mc:Choice>
              <mc:Fallback>
                <p:oleObj name="think-cell Slide" r:id="rId5" imgW="327" imgH="32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4400" dirty="0">
              <a:latin typeface="Arial" panose="020B0604020202020204" pitchFamily="34" charset="0"/>
              <a:cs typeface="Arial" panose="020B0604020202020204" pitchFamily="34" charset="0"/>
              <a:sym typeface="Arial" panose="020B0604020202020204" pitchFamily="34" charset="0"/>
            </a:endParaRPr>
          </a:p>
        </p:txBody>
      </p:sp>
      <p:sp>
        <p:nvSpPr>
          <p:cNvPr id="4" name="Title 3"/>
          <p:cNvSpPr>
            <a:spLocks noGrp="1"/>
          </p:cNvSpPr>
          <p:nvPr>
            <p:ph type="title"/>
          </p:nvPr>
        </p:nvSpPr>
        <p:spPr/>
        <p:txBody>
          <a:bodyPr/>
          <a:lstStyle/>
          <a:p>
            <a:r>
              <a:rPr lang="en-US" dirty="0" smtClean="0"/>
              <a:t>AGRA Ethiopia Strategy</a:t>
            </a:r>
            <a:endParaRPr lang="en-US" dirty="0"/>
          </a:p>
        </p:txBody>
      </p:sp>
    </p:spTree>
    <p:extLst>
      <p:ext uri="{BB962C8B-B14F-4D97-AF65-F5344CB8AC3E}">
        <p14:creationId xmlns:p14="http://schemas.microsoft.com/office/powerpoint/2010/main" val="156495850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537708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943" name="think-cell Slide" r:id="rId5" imgW="327" imgH="327" progId="TCLayout.ActiveDocument.1">
                  <p:embed/>
                </p:oleObj>
              </mc:Choice>
              <mc:Fallback>
                <p:oleObj name="think-cell Slide" r:id="rId5" imgW="327" imgH="327"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200" b="1" dirty="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smtClean="0"/>
              <a:t>Ethiopia Theory of Change</a:t>
            </a:r>
            <a:endParaRPr lang="en-US" dirty="0"/>
          </a:p>
        </p:txBody>
      </p:sp>
      <p:grpSp>
        <p:nvGrpSpPr>
          <p:cNvPr id="7" name="Group 6"/>
          <p:cNvGrpSpPr/>
          <p:nvPr/>
        </p:nvGrpSpPr>
        <p:grpSpPr>
          <a:xfrm>
            <a:off x="602551" y="1081343"/>
            <a:ext cx="8844153" cy="4760306"/>
            <a:chOff x="1652033" y="1143688"/>
            <a:chExt cx="8844153" cy="4760306"/>
          </a:xfrm>
        </p:grpSpPr>
        <p:sp>
          <p:nvSpPr>
            <p:cNvPr id="8" name="Rectangle 7"/>
            <p:cNvSpPr/>
            <p:nvPr/>
          </p:nvSpPr>
          <p:spPr>
            <a:xfrm>
              <a:off x="2422440" y="1710000"/>
              <a:ext cx="4118924" cy="1485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en-US" sz="975" b="1" dirty="0">
                <a:solidFill>
                  <a:schemeClr val="accent6">
                    <a:lumMod val="50000"/>
                  </a:schemeClr>
                </a:solidFill>
                <a:latin typeface="Arial" panose="020B0604020202020204" pitchFamily="34" charset="0"/>
                <a:cs typeface="Arial" panose="020B0604020202020204" pitchFamily="34" charset="0"/>
              </a:endParaRPr>
            </a:p>
          </p:txBody>
        </p:sp>
        <p:grpSp>
          <p:nvGrpSpPr>
            <p:cNvPr id="9" name="Group 8"/>
            <p:cNvGrpSpPr/>
            <p:nvPr/>
          </p:nvGrpSpPr>
          <p:grpSpPr>
            <a:xfrm>
              <a:off x="2285370" y="2232732"/>
              <a:ext cx="5105719" cy="1788338"/>
              <a:chOff x="314812" y="2552146"/>
              <a:chExt cx="5680818" cy="2201031"/>
            </a:xfrm>
          </p:grpSpPr>
          <p:sp>
            <p:nvSpPr>
              <p:cNvPr id="27" name="Rectangle 26"/>
              <p:cNvSpPr/>
              <p:nvPr/>
            </p:nvSpPr>
            <p:spPr>
              <a:xfrm>
                <a:off x="314812" y="2552146"/>
                <a:ext cx="5680818" cy="2201031"/>
              </a:xfrm>
              <a:prstGeom prst="rect">
                <a:avLst/>
              </a:prstGeom>
              <a:solidFill>
                <a:schemeClr val="tx2">
                  <a:lumMod val="40000"/>
                  <a:lumOff val="6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t" anchorCtr="0" forceAA="0" compatLnSpc="1">
                <a:prstTxWarp prst="textNoShape">
                  <a:avLst/>
                </a:prstTxWarp>
                <a:noAutofit/>
              </a:bodyPr>
              <a:lstStyle/>
              <a:p>
                <a:pPr algn="ctr"/>
                <a:r>
                  <a:rPr lang="en-US" sz="853" b="1" dirty="0">
                    <a:solidFill>
                      <a:schemeClr val="tx1"/>
                    </a:solidFill>
                    <a:latin typeface="Arial" panose="020B0604020202020204" pitchFamily="34" charset="0"/>
                    <a:cs typeface="Arial" panose="020B0604020202020204" pitchFamily="34" charset="0"/>
                  </a:rPr>
                  <a:t>Outcomes </a:t>
                </a:r>
              </a:p>
            </p:txBody>
          </p:sp>
          <p:sp>
            <p:nvSpPr>
              <p:cNvPr id="28" name="Rectangle 27"/>
              <p:cNvSpPr/>
              <p:nvPr/>
            </p:nvSpPr>
            <p:spPr>
              <a:xfrm>
                <a:off x="364928" y="2788667"/>
                <a:ext cx="2444852" cy="1223532"/>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en-US" sz="731" b="1" dirty="0">
                  <a:solidFill>
                    <a:schemeClr val="tx1"/>
                  </a:solidFill>
                  <a:latin typeface="Arial" panose="020B0604020202020204" pitchFamily="34" charset="0"/>
                  <a:cs typeface="Arial" panose="020B0604020202020204" pitchFamily="34" charset="0"/>
                </a:endParaRPr>
              </a:p>
              <a:p>
                <a:r>
                  <a:rPr lang="en-US" sz="731" b="1" dirty="0">
                    <a:solidFill>
                      <a:schemeClr val="tx1"/>
                    </a:solidFill>
                    <a:latin typeface="Arial" panose="020B0604020202020204" pitchFamily="34" charset="0"/>
                    <a:cs typeface="Arial" panose="020B0604020202020204" pitchFamily="34" charset="0"/>
                  </a:rPr>
                  <a:t>Farmers using</a:t>
                </a:r>
              </a:p>
              <a:p>
                <a:pPr marL="139303" indent="-139303">
                  <a:buFont typeface="Arial" panose="020B0604020202020204" pitchFamily="34" charset="0"/>
                  <a:buChar char="•"/>
                </a:pPr>
                <a:r>
                  <a:rPr lang="en-US" sz="731" dirty="0">
                    <a:solidFill>
                      <a:schemeClr val="tx1"/>
                    </a:solidFill>
                    <a:latin typeface="Arial" panose="020B0604020202020204" pitchFamily="34" charset="0"/>
                    <a:cs typeface="Arial" panose="020B0604020202020204" pitchFamily="34" charset="0"/>
                  </a:rPr>
                  <a:t> Improved production,  management  technologies and practices </a:t>
                </a:r>
              </a:p>
              <a:p>
                <a:pPr marL="139303" indent="-139303">
                  <a:buFont typeface="Arial" panose="020B0604020202020204" pitchFamily="34" charset="0"/>
                  <a:buChar char="•"/>
                </a:pPr>
                <a:r>
                  <a:rPr lang="en-US" sz="731" dirty="0">
                    <a:solidFill>
                      <a:schemeClr val="tx1"/>
                    </a:solidFill>
                    <a:latin typeface="Arial" panose="020B0604020202020204" pitchFamily="34" charset="0"/>
                    <a:cs typeface="Arial" panose="020B0604020202020204" pitchFamily="34" charset="0"/>
                  </a:rPr>
                  <a:t>Agricultural credit and financial services </a:t>
                </a:r>
              </a:p>
              <a:p>
                <a:pPr marL="139303" indent="-139303">
                  <a:buFont typeface="Arial" panose="020B0604020202020204" pitchFamily="34" charset="0"/>
                  <a:buChar char="•"/>
                </a:pPr>
                <a:r>
                  <a:rPr lang="en-US" sz="731" dirty="0">
                    <a:solidFill>
                      <a:schemeClr val="tx1"/>
                    </a:solidFill>
                    <a:latin typeface="Arial" panose="020B0604020202020204" pitchFamily="34" charset="0"/>
                    <a:cs typeface="Arial" panose="020B0604020202020204" pitchFamily="34" charset="0"/>
                  </a:rPr>
                  <a:t>Improved post harvest management technologies and practices</a:t>
                </a:r>
              </a:p>
              <a:p>
                <a:pPr marL="139303" indent="-139303">
                  <a:buFont typeface="Arial" panose="020B0604020202020204" pitchFamily="34" charset="0"/>
                  <a:buChar char="•"/>
                </a:pPr>
                <a:r>
                  <a:rPr lang="en-US" sz="731" dirty="0" smtClean="0">
                    <a:solidFill>
                      <a:schemeClr val="tx1"/>
                    </a:solidFill>
                    <a:latin typeface="Arial" panose="020B0604020202020204" pitchFamily="34" charset="0"/>
                    <a:cs typeface="Arial" panose="020B0604020202020204" pitchFamily="34" charset="0"/>
                  </a:rPr>
                  <a:t>Structured input and output markets</a:t>
                </a:r>
                <a:endParaRPr lang="en-US" sz="731" dirty="0">
                  <a:solidFill>
                    <a:schemeClr val="tx1"/>
                  </a:solidFill>
                  <a:latin typeface="Arial" panose="020B0604020202020204" pitchFamily="34" charset="0"/>
                  <a:cs typeface="Arial" panose="020B0604020202020204" pitchFamily="34" charset="0"/>
                </a:endParaRPr>
              </a:p>
              <a:p>
                <a:endParaRPr lang="en-US" sz="731" dirty="0">
                  <a:solidFill>
                    <a:schemeClr val="tx1"/>
                  </a:solidFill>
                  <a:latin typeface="Arial" panose="020B0604020202020204" pitchFamily="34" charset="0"/>
                  <a:cs typeface="Arial" panose="020B0604020202020204" pitchFamily="34" charset="0"/>
                </a:endParaRPr>
              </a:p>
            </p:txBody>
          </p:sp>
          <p:sp>
            <p:nvSpPr>
              <p:cNvPr id="29" name="Rectangle 28"/>
              <p:cNvSpPr/>
              <p:nvPr/>
            </p:nvSpPr>
            <p:spPr>
              <a:xfrm>
                <a:off x="3003467" y="2800072"/>
                <a:ext cx="2798476" cy="1212128"/>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r>
                  <a:rPr lang="en-US" sz="731" b="1" dirty="0" smtClean="0">
                    <a:solidFill>
                      <a:schemeClr val="tx1"/>
                    </a:solidFill>
                    <a:latin typeface="Arial" panose="020B0604020202020204" pitchFamily="34" charset="0"/>
                    <a:cs typeface="Arial" panose="020B0604020202020204" pitchFamily="34" charset="0"/>
                  </a:rPr>
                  <a:t>Other value chain actors</a:t>
                </a:r>
                <a:endParaRPr lang="en-US" sz="731" dirty="0" smtClean="0">
                  <a:solidFill>
                    <a:schemeClr val="tx1"/>
                  </a:solidFill>
                  <a:latin typeface="Arial" panose="020B0604020202020204" pitchFamily="34" charset="0"/>
                  <a:cs typeface="Arial" panose="020B0604020202020204" pitchFamily="34" charset="0"/>
                </a:endParaRPr>
              </a:p>
              <a:p>
                <a:pPr marL="139303" indent="-139303">
                  <a:buFont typeface="Arial" panose="020B0604020202020204" pitchFamily="34" charset="0"/>
                  <a:buChar char="•"/>
                </a:pPr>
                <a:r>
                  <a:rPr lang="en-US" sz="731" dirty="0" smtClean="0">
                    <a:solidFill>
                      <a:schemeClr val="tx1"/>
                    </a:solidFill>
                    <a:latin typeface="Arial" panose="020B0604020202020204" pitchFamily="34" charset="0"/>
                    <a:cs typeface="Arial" panose="020B0604020202020204" pitchFamily="34" charset="0"/>
                  </a:rPr>
                  <a:t>Improved planning and coordination of government entities</a:t>
                </a:r>
              </a:p>
              <a:p>
                <a:pPr marL="139303" indent="-139303">
                  <a:buFont typeface="Arial" panose="020B0604020202020204" pitchFamily="34" charset="0"/>
                  <a:buChar char="•"/>
                </a:pPr>
                <a:r>
                  <a:rPr lang="en-US" sz="731" dirty="0" smtClean="0">
                    <a:solidFill>
                      <a:schemeClr val="tx1"/>
                    </a:solidFill>
                    <a:latin typeface="Arial" panose="020B0604020202020204" pitchFamily="34" charset="0"/>
                    <a:cs typeface="Arial" panose="020B0604020202020204" pitchFamily="34" charset="0"/>
                  </a:rPr>
                  <a:t>Bank </a:t>
                </a:r>
                <a:r>
                  <a:rPr lang="en-US" sz="731" dirty="0">
                    <a:solidFill>
                      <a:schemeClr val="tx1"/>
                    </a:solidFill>
                    <a:latin typeface="Arial" panose="020B0604020202020204" pitchFamily="34" charset="0"/>
                    <a:cs typeface="Arial" panose="020B0604020202020204" pitchFamily="34" charset="0"/>
                  </a:rPr>
                  <a:t>and non-bank institutions providing financial and credit services to MSMEs and farmers </a:t>
                </a:r>
              </a:p>
              <a:p>
                <a:pPr marL="139303" indent="-139303">
                  <a:buFont typeface="Arial" panose="020B0604020202020204" pitchFamily="34" charset="0"/>
                  <a:buChar char="•"/>
                </a:pPr>
                <a:r>
                  <a:rPr lang="en-US" sz="731" dirty="0">
                    <a:solidFill>
                      <a:schemeClr val="tx1"/>
                    </a:solidFill>
                    <a:latin typeface="Arial" panose="020B0604020202020204" pitchFamily="34" charset="0"/>
                    <a:cs typeface="Arial" panose="020B0604020202020204" pitchFamily="34" charset="0"/>
                  </a:rPr>
                  <a:t>Large, MSMEs providing off-taking,  warehousing and processing services  </a:t>
                </a:r>
              </a:p>
              <a:p>
                <a:endParaRPr lang="en-US" sz="731" dirty="0">
                  <a:solidFill>
                    <a:schemeClr val="tx1"/>
                  </a:solidFill>
                  <a:latin typeface="Arial" panose="020B0604020202020204" pitchFamily="34" charset="0"/>
                  <a:cs typeface="Arial" panose="020B0604020202020204" pitchFamily="34" charset="0"/>
                </a:endParaRPr>
              </a:p>
            </p:txBody>
          </p:sp>
          <p:sp>
            <p:nvSpPr>
              <p:cNvPr id="30" name="Rectangle 29"/>
              <p:cNvSpPr/>
              <p:nvPr/>
            </p:nvSpPr>
            <p:spPr>
              <a:xfrm>
                <a:off x="364927" y="4129032"/>
                <a:ext cx="5571713" cy="519168"/>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r>
                  <a:rPr lang="en-US" sz="813" b="1" dirty="0">
                    <a:solidFill>
                      <a:schemeClr val="tx1"/>
                    </a:solidFill>
                    <a:latin typeface="Arial" panose="020B0604020202020204" pitchFamily="34" charset="0"/>
                    <a:cs typeface="Arial" panose="020B0604020202020204" pitchFamily="34" charset="0"/>
                  </a:rPr>
                  <a:t>Farmers and other value chain actors have improved access to </a:t>
                </a:r>
              </a:p>
              <a:p>
                <a:r>
                  <a:rPr lang="en-US" sz="813" dirty="0" smtClean="0">
                    <a:solidFill>
                      <a:schemeClr val="tx1"/>
                    </a:solidFill>
                    <a:latin typeface="Arial" panose="020B0604020202020204" pitchFamily="34" charset="0"/>
                    <a:cs typeface="Arial" panose="020B0604020202020204" pitchFamily="34" charset="0"/>
                  </a:rPr>
                  <a:t> Access to inputs, Extension </a:t>
                </a:r>
                <a:r>
                  <a:rPr lang="en-US" sz="813" dirty="0">
                    <a:solidFill>
                      <a:schemeClr val="tx1"/>
                    </a:solidFill>
                    <a:latin typeface="Arial" panose="020B0604020202020204" pitchFamily="34" charset="0"/>
                    <a:cs typeface="Arial" panose="020B0604020202020204" pitchFamily="34" charset="0"/>
                  </a:rPr>
                  <a:t>services (knowledge and information); Credit and financial services, stable and remunerative markets, </a:t>
                </a:r>
                <a:r>
                  <a:rPr lang="en-US" sz="813" dirty="0" smtClean="0">
                    <a:solidFill>
                      <a:schemeClr val="tx1"/>
                    </a:solidFill>
                    <a:latin typeface="Arial" panose="020B0604020202020204" pitchFamily="34" charset="0"/>
                    <a:cs typeface="Arial" panose="020B0604020202020204" pitchFamily="34" charset="0"/>
                  </a:rPr>
                  <a:t>and </a:t>
                </a:r>
                <a:r>
                  <a:rPr lang="en-US" sz="813" dirty="0">
                    <a:solidFill>
                      <a:schemeClr val="tx1"/>
                    </a:solidFill>
                    <a:latin typeface="Arial" panose="020B0604020202020204" pitchFamily="34" charset="0"/>
                    <a:cs typeface="Arial" panose="020B0604020202020204" pitchFamily="34" charset="0"/>
                  </a:rPr>
                  <a:t>market intelligence </a:t>
                </a:r>
                <a:r>
                  <a:rPr lang="en-US" sz="813" dirty="0" smtClean="0">
                    <a:solidFill>
                      <a:schemeClr val="tx1"/>
                    </a:solidFill>
                    <a:latin typeface="Arial" panose="020B0604020202020204" pitchFamily="34" charset="0"/>
                    <a:cs typeface="Arial" panose="020B0604020202020204" pitchFamily="34" charset="0"/>
                  </a:rPr>
                  <a:t>information, improved policy regulatory environment</a:t>
                </a:r>
                <a:endParaRPr lang="en-US" sz="813" dirty="0">
                  <a:solidFill>
                    <a:schemeClr val="tx1"/>
                  </a:solidFill>
                  <a:latin typeface="Arial" panose="020B0604020202020204" pitchFamily="34" charset="0"/>
                  <a:cs typeface="Arial" panose="020B0604020202020204" pitchFamily="34" charset="0"/>
                </a:endParaRPr>
              </a:p>
            </p:txBody>
          </p:sp>
        </p:grpSp>
        <p:grpSp>
          <p:nvGrpSpPr>
            <p:cNvPr id="10" name="Group 9"/>
            <p:cNvGrpSpPr/>
            <p:nvPr/>
          </p:nvGrpSpPr>
          <p:grpSpPr>
            <a:xfrm>
              <a:off x="2285370" y="1295618"/>
              <a:ext cx="5038538" cy="912879"/>
              <a:chOff x="314813" y="1316708"/>
              <a:chExt cx="5113471" cy="838389"/>
            </a:xfrm>
          </p:grpSpPr>
          <p:sp>
            <p:nvSpPr>
              <p:cNvPr id="24" name="Rectangle 23"/>
              <p:cNvSpPr/>
              <p:nvPr/>
            </p:nvSpPr>
            <p:spPr>
              <a:xfrm>
                <a:off x="314813" y="1316708"/>
                <a:ext cx="5113471" cy="838389"/>
              </a:xfrm>
              <a:prstGeom prst="rect">
                <a:avLst/>
              </a:prstGeom>
              <a:solidFill>
                <a:schemeClr val="accent2">
                  <a:lumMod val="20000"/>
                  <a:lumOff val="8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t" anchorCtr="0" forceAA="0" compatLnSpc="1">
                <a:prstTxWarp prst="textNoShape">
                  <a:avLst/>
                </a:prstTxWarp>
                <a:noAutofit/>
              </a:bodyPr>
              <a:lstStyle/>
              <a:p>
                <a:pPr algn="ctr"/>
                <a:endParaRPr lang="en-US" sz="650" b="1" dirty="0">
                  <a:solidFill>
                    <a:schemeClr val="tx1"/>
                  </a:solidFill>
                  <a:latin typeface="Arial" panose="020B0604020202020204" pitchFamily="34" charset="0"/>
                  <a:cs typeface="Arial" panose="020B0604020202020204" pitchFamily="34" charset="0"/>
                </a:endParaRPr>
              </a:p>
              <a:p>
                <a:pPr algn="ctr"/>
                <a:endParaRPr lang="en-US" sz="650" b="1" dirty="0">
                  <a:solidFill>
                    <a:schemeClr val="tx1"/>
                  </a:solidFill>
                  <a:latin typeface="Arial" panose="020B0604020202020204" pitchFamily="34" charset="0"/>
                  <a:cs typeface="Arial" panose="020B0604020202020204" pitchFamily="34" charset="0"/>
                </a:endParaRPr>
              </a:p>
              <a:p>
                <a:pPr algn="ctr"/>
                <a:endParaRPr lang="en-US" sz="650" b="1" dirty="0">
                  <a:solidFill>
                    <a:schemeClr val="tx1"/>
                  </a:solidFill>
                  <a:latin typeface="Arial" panose="020B0604020202020204" pitchFamily="34" charset="0"/>
                  <a:cs typeface="Arial" panose="020B0604020202020204" pitchFamily="34" charset="0"/>
                </a:endParaRPr>
              </a:p>
              <a:p>
                <a:pPr algn="ctr"/>
                <a:endParaRPr lang="en-US" sz="650" b="1" dirty="0">
                  <a:solidFill>
                    <a:schemeClr val="tx1"/>
                  </a:solidFill>
                  <a:latin typeface="Arial" panose="020B0604020202020204" pitchFamily="34" charset="0"/>
                  <a:cs typeface="Arial" panose="020B0604020202020204" pitchFamily="34" charset="0"/>
                </a:endParaRPr>
              </a:p>
              <a:p>
                <a:pPr algn="ctr"/>
                <a:endParaRPr lang="en-US" sz="650" b="1" dirty="0">
                  <a:solidFill>
                    <a:schemeClr val="tx1"/>
                  </a:solidFill>
                  <a:latin typeface="Arial" panose="020B0604020202020204" pitchFamily="34" charset="0"/>
                  <a:cs typeface="Arial" panose="020B0604020202020204" pitchFamily="34" charset="0"/>
                </a:endParaRPr>
              </a:p>
              <a:p>
                <a:pPr algn="ctr"/>
                <a:endParaRPr lang="en-US" sz="650" b="1" dirty="0">
                  <a:solidFill>
                    <a:schemeClr val="tx1"/>
                  </a:solidFill>
                  <a:latin typeface="Arial" panose="020B0604020202020204" pitchFamily="34" charset="0"/>
                  <a:cs typeface="Arial" panose="020B0604020202020204" pitchFamily="34" charset="0"/>
                </a:endParaRPr>
              </a:p>
              <a:p>
                <a:pPr algn="ctr"/>
                <a:endParaRPr lang="en-US" sz="975" dirty="0">
                  <a:solidFill>
                    <a:schemeClr val="accent6">
                      <a:lumMod val="50000"/>
                    </a:schemeClr>
                  </a:solidFill>
                  <a:latin typeface="Arial" panose="020B0604020202020204" pitchFamily="34" charset="0"/>
                  <a:cs typeface="Arial" panose="020B0604020202020204" pitchFamily="34" charset="0"/>
                </a:endParaRPr>
              </a:p>
            </p:txBody>
          </p:sp>
          <p:sp>
            <p:nvSpPr>
              <p:cNvPr id="25" name="Rectangle 24"/>
              <p:cNvSpPr/>
              <p:nvPr/>
            </p:nvSpPr>
            <p:spPr>
              <a:xfrm>
                <a:off x="314813" y="1672291"/>
                <a:ext cx="1846378" cy="428100"/>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r>
                  <a:rPr lang="en-US" sz="813" dirty="0" smtClean="0">
                    <a:solidFill>
                      <a:schemeClr val="tx1"/>
                    </a:solidFill>
                    <a:latin typeface="Arial" panose="020B0604020202020204" pitchFamily="34" charset="0"/>
                    <a:cs typeface="Arial" panose="020B0604020202020204" pitchFamily="34" charset="0"/>
                  </a:rPr>
                  <a:t>Strengthened input and output market systems  </a:t>
                </a:r>
                <a:endParaRPr lang="en-US" sz="813" dirty="0">
                  <a:solidFill>
                    <a:schemeClr val="tx1"/>
                  </a:solidFill>
                  <a:latin typeface="Arial" panose="020B0604020202020204" pitchFamily="34" charset="0"/>
                  <a:cs typeface="Arial" panose="020B0604020202020204" pitchFamily="34" charset="0"/>
                </a:endParaRPr>
              </a:p>
            </p:txBody>
          </p:sp>
          <p:sp>
            <p:nvSpPr>
              <p:cNvPr id="26" name="Rectangle 25"/>
              <p:cNvSpPr/>
              <p:nvPr/>
            </p:nvSpPr>
            <p:spPr>
              <a:xfrm>
                <a:off x="981671" y="1327177"/>
                <a:ext cx="4085069" cy="285689"/>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r>
                  <a:rPr lang="en-US" sz="900" b="1" dirty="0">
                    <a:solidFill>
                      <a:schemeClr val="tx1"/>
                    </a:solidFill>
                    <a:latin typeface="Arial" panose="020B0604020202020204" pitchFamily="34" charset="0"/>
                    <a:cs typeface="Arial" panose="020B0604020202020204" pitchFamily="34" charset="0"/>
                  </a:rPr>
                  <a:t>Country Goal: Increased incomes </a:t>
                </a:r>
                <a:r>
                  <a:rPr lang="en-US" sz="900" b="1" dirty="0" smtClean="0">
                    <a:solidFill>
                      <a:schemeClr val="tx1"/>
                    </a:solidFill>
                    <a:latin typeface="Arial" panose="020B0604020202020204" pitchFamily="34" charset="0"/>
                    <a:cs typeface="Arial" panose="020B0604020202020204" pitchFamily="34" charset="0"/>
                  </a:rPr>
                  <a:t>an </a:t>
                </a:r>
                <a:r>
                  <a:rPr lang="en-US" sz="900" b="1" dirty="0">
                    <a:solidFill>
                      <a:schemeClr val="tx1"/>
                    </a:solidFill>
                    <a:latin typeface="Arial" panose="020B0604020202020204" pitchFamily="34" charset="0"/>
                    <a:cs typeface="Arial" panose="020B0604020202020204" pitchFamily="34" charset="0"/>
                  </a:rPr>
                  <a:t>improved food </a:t>
                </a:r>
                <a:r>
                  <a:rPr lang="en-US" sz="900" b="1" dirty="0" smtClean="0">
                    <a:solidFill>
                      <a:schemeClr val="tx1"/>
                    </a:solidFill>
                    <a:latin typeface="Arial" panose="020B0604020202020204" pitchFamily="34" charset="0"/>
                    <a:cs typeface="Arial" panose="020B0604020202020204" pitchFamily="34" charset="0"/>
                  </a:rPr>
                  <a:t>security through</a:t>
                </a:r>
                <a:r>
                  <a:rPr lang="en-US" sz="900" b="1" dirty="0">
                    <a:solidFill>
                      <a:schemeClr val="tx1"/>
                    </a:solidFill>
                  </a:rPr>
                  <a:t> Building downstream delivery systems </a:t>
                </a:r>
                <a:r>
                  <a:rPr lang="en-US" sz="900" b="1" dirty="0" smtClean="0">
                    <a:solidFill>
                      <a:schemeClr val="tx1"/>
                    </a:solidFill>
                  </a:rPr>
                  <a:t>for smallholder farmers</a:t>
                </a:r>
                <a:endParaRPr lang="en-US" sz="900" b="1" dirty="0">
                  <a:solidFill>
                    <a:schemeClr val="tx1"/>
                  </a:solidFill>
                  <a:latin typeface="Arial" panose="020B0604020202020204" pitchFamily="34" charset="0"/>
                  <a:cs typeface="Arial" panose="020B0604020202020204" pitchFamily="34" charset="0"/>
                </a:endParaRPr>
              </a:p>
            </p:txBody>
          </p:sp>
        </p:grpSp>
        <p:grpSp>
          <p:nvGrpSpPr>
            <p:cNvPr id="11" name="Group 10"/>
            <p:cNvGrpSpPr/>
            <p:nvPr/>
          </p:nvGrpSpPr>
          <p:grpSpPr>
            <a:xfrm>
              <a:off x="7638615" y="2168185"/>
              <a:ext cx="2857571" cy="3663538"/>
              <a:chOff x="5493256" y="1494680"/>
              <a:chExt cx="3602315" cy="2432793"/>
            </a:xfrm>
          </p:grpSpPr>
          <p:sp>
            <p:nvSpPr>
              <p:cNvPr id="22" name="Rectangle 21"/>
              <p:cNvSpPr/>
              <p:nvPr/>
            </p:nvSpPr>
            <p:spPr>
              <a:xfrm>
                <a:off x="5493256" y="2725096"/>
                <a:ext cx="3566662" cy="1202377"/>
              </a:xfrm>
              <a:prstGeom prst="rect">
                <a:avLst/>
              </a:prstGeom>
              <a:ln>
                <a:solidFill>
                  <a:schemeClr val="tx1"/>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r>
                  <a:rPr lang="en-GB" sz="975" b="1" dirty="0">
                    <a:solidFill>
                      <a:schemeClr val="tx1"/>
                    </a:solidFill>
                    <a:latin typeface="Arial" panose="020B0604020202020204" pitchFamily="34" charset="0"/>
                    <a:cs typeface="Arial" panose="020B0604020202020204" pitchFamily="34" charset="0"/>
                  </a:rPr>
                  <a:t>Partnerships</a:t>
                </a:r>
              </a:p>
              <a:p>
                <a:r>
                  <a:rPr lang="en-GB" sz="894" dirty="0">
                    <a:solidFill>
                      <a:schemeClr val="tx1"/>
                    </a:solidFill>
                    <a:latin typeface="Arial" panose="020B0604020202020204" pitchFamily="34" charset="0"/>
                    <a:cs typeface="Arial" panose="020B0604020202020204" pitchFamily="34" charset="0"/>
                  </a:rPr>
                  <a:t>Work with partners at all levels to:</a:t>
                </a:r>
              </a:p>
              <a:p>
                <a:pPr marL="232172" indent="-232172">
                  <a:buFont typeface="Arial" panose="020B0604020202020204" pitchFamily="34" charset="0"/>
                  <a:buChar char="•"/>
                </a:pPr>
                <a:r>
                  <a:rPr lang="en-US" sz="894" dirty="0">
                    <a:solidFill>
                      <a:schemeClr val="tx1"/>
                    </a:solidFill>
                    <a:latin typeface="Arial" panose="020B0604020202020204" pitchFamily="34" charset="0"/>
                    <a:cs typeface="Arial" panose="020B0604020202020204" pitchFamily="34" charset="0"/>
                  </a:rPr>
                  <a:t>Build partnerships with leading private sector champions to leverage entire ecosystem and build partnerships around knowledge and intelligence sharing</a:t>
                </a:r>
              </a:p>
              <a:p>
                <a:pPr marL="232172" indent="-232172">
                  <a:buFont typeface="Arial" panose="020B0604020202020204" pitchFamily="34" charset="0"/>
                  <a:buChar char="•"/>
                </a:pPr>
                <a:r>
                  <a:rPr lang="en-GB" sz="894" dirty="0" smtClean="0">
                    <a:solidFill>
                      <a:schemeClr val="tx1"/>
                    </a:solidFill>
                    <a:latin typeface="Arial" panose="020B0604020202020204" pitchFamily="34" charset="0"/>
                    <a:cs typeface="Arial" panose="020B0604020202020204" pitchFamily="34" charset="0"/>
                  </a:rPr>
                  <a:t>Derive </a:t>
                </a:r>
                <a:r>
                  <a:rPr lang="en-GB" sz="894" dirty="0">
                    <a:solidFill>
                      <a:schemeClr val="tx1"/>
                    </a:solidFill>
                    <a:latin typeface="Arial" panose="020B0604020202020204" pitchFamily="34" charset="0"/>
                    <a:cs typeface="Arial" panose="020B0604020202020204" pitchFamily="34" charset="0"/>
                  </a:rPr>
                  <a:t>synergies in order to increase the reach of AGRA’s investments (impact at scale</a:t>
                </a:r>
                <a:r>
                  <a:rPr lang="en-GB" sz="894" dirty="0" smtClean="0">
                    <a:solidFill>
                      <a:schemeClr val="tx1"/>
                    </a:solidFill>
                    <a:latin typeface="Arial" panose="020B0604020202020204" pitchFamily="34" charset="0"/>
                    <a:cs typeface="Arial" panose="020B0604020202020204" pitchFamily="34" charset="0"/>
                  </a:rPr>
                  <a:t>)</a:t>
                </a:r>
              </a:p>
              <a:p>
                <a:pPr marL="232172" indent="-232172">
                  <a:buFont typeface="Arial" panose="020B0604020202020204" pitchFamily="34" charset="0"/>
                  <a:buChar char="•"/>
                </a:pPr>
                <a:r>
                  <a:rPr lang="en-GB" sz="894" dirty="0" smtClean="0">
                    <a:solidFill>
                      <a:schemeClr val="tx1"/>
                    </a:solidFill>
                    <a:latin typeface="Arial" panose="020B0604020202020204" pitchFamily="34" charset="0"/>
                    <a:cs typeface="Arial" panose="020B0604020202020204" pitchFamily="34" charset="0"/>
                  </a:rPr>
                  <a:t>Leverage on investments from partners in the Agriculture sector</a:t>
                </a:r>
              </a:p>
              <a:p>
                <a:pPr marL="232172" indent="-232172">
                  <a:buFont typeface="Arial" panose="020B0604020202020204" pitchFamily="34" charset="0"/>
                  <a:buChar char="•"/>
                </a:pPr>
                <a:endParaRPr lang="en-GB" sz="894" dirty="0">
                  <a:solidFill>
                    <a:schemeClr val="tx1"/>
                  </a:solidFill>
                  <a:latin typeface="Arial" panose="020B0604020202020204" pitchFamily="34" charset="0"/>
                  <a:cs typeface="Arial" panose="020B0604020202020204" pitchFamily="34" charset="0"/>
                </a:endParaRPr>
              </a:p>
              <a:p>
                <a:pPr marL="232172" indent="-232172">
                  <a:buFont typeface="Arial" panose="020B0604020202020204" pitchFamily="34" charset="0"/>
                  <a:buChar char="•"/>
                </a:pPr>
                <a:endParaRPr lang="en-GB" sz="894" dirty="0" smtClean="0">
                  <a:solidFill>
                    <a:schemeClr val="tx1"/>
                  </a:solidFill>
                  <a:latin typeface="Arial" panose="020B0604020202020204" pitchFamily="34" charset="0"/>
                  <a:cs typeface="Arial" panose="020B0604020202020204" pitchFamily="34" charset="0"/>
                </a:endParaRPr>
              </a:p>
              <a:p>
                <a:pPr marL="232172" indent="-232172">
                  <a:buFont typeface="Arial" panose="020B0604020202020204" pitchFamily="34" charset="0"/>
                  <a:buChar char="•"/>
                </a:pPr>
                <a:endParaRPr lang="en-GB" sz="894" dirty="0">
                  <a:solidFill>
                    <a:schemeClr val="tx1"/>
                  </a:solidFill>
                  <a:latin typeface="Arial" panose="020B0604020202020204" pitchFamily="34" charset="0"/>
                  <a:cs typeface="Arial" panose="020B0604020202020204" pitchFamily="34" charset="0"/>
                </a:endParaRPr>
              </a:p>
            </p:txBody>
          </p:sp>
          <p:sp>
            <p:nvSpPr>
              <p:cNvPr id="23" name="Rectangle 22"/>
              <p:cNvSpPr/>
              <p:nvPr/>
            </p:nvSpPr>
            <p:spPr>
              <a:xfrm>
                <a:off x="5521025" y="1494680"/>
                <a:ext cx="3574546" cy="1187554"/>
              </a:xfrm>
              <a:prstGeom prst="rect">
                <a:avLst/>
              </a:prstGeom>
              <a:ln>
                <a:solidFill>
                  <a:schemeClr val="tx1"/>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r>
                  <a:rPr lang="en-US" sz="975" b="1" dirty="0">
                    <a:solidFill>
                      <a:schemeClr val="tx1"/>
                    </a:solidFill>
                    <a:latin typeface="Arial" panose="020B0604020202020204" pitchFamily="34" charset="0"/>
                    <a:cs typeface="Arial" panose="020B0604020202020204" pitchFamily="34" charset="0"/>
                  </a:rPr>
                  <a:t>State capacity and policy </a:t>
                </a:r>
              </a:p>
              <a:p>
                <a:r>
                  <a:rPr lang="en-US" sz="894" dirty="0">
                    <a:solidFill>
                      <a:schemeClr val="tx1"/>
                    </a:solidFill>
                    <a:latin typeface="Arial" panose="020B0604020202020204" pitchFamily="34" charset="0"/>
                    <a:cs typeface="Arial" panose="020B0604020202020204" pitchFamily="34" charset="0"/>
                  </a:rPr>
                  <a:t>Develop state capability to:</a:t>
                </a:r>
              </a:p>
              <a:p>
                <a:pPr marL="232172" indent="-232172">
                  <a:buFont typeface="Arial" panose="020B0604020202020204" pitchFamily="34" charset="0"/>
                  <a:buChar char="•"/>
                </a:pPr>
                <a:r>
                  <a:rPr lang="en-US" sz="800" dirty="0" smtClean="0">
                    <a:solidFill>
                      <a:schemeClr val="tx1"/>
                    </a:solidFill>
                    <a:latin typeface="Arial" panose="020B0604020202020204" pitchFamily="34" charset="0"/>
                    <a:cs typeface="Arial" panose="020B0604020202020204" pitchFamily="34" charset="0"/>
                  </a:rPr>
                  <a:t>Develop </a:t>
                </a:r>
                <a:r>
                  <a:rPr lang="en-US" sz="800" dirty="0">
                    <a:solidFill>
                      <a:schemeClr val="tx1"/>
                    </a:solidFill>
                    <a:latin typeface="Arial" panose="020B0604020202020204" pitchFamily="34" charset="0"/>
                    <a:cs typeface="Arial" panose="020B0604020202020204" pitchFamily="34" charset="0"/>
                  </a:rPr>
                  <a:t>appropriate sector strategies and investment </a:t>
                </a:r>
                <a:r>
                  <a:rPr lang="en-US" sz="800" dirty="0" smtClean="0">
                    <a:solidFill>
                      <a:schemeClr val="tx1"/>
                    </a:solidFill>
                    <a:latin typeface="Arial" panose="020B0604020202020204" pitchFamily="34" charset="0"/>
                    <a:cs typeface="Arial" panose="020B0604020202020204" pitchFamily="34" charset="0"/>
                  </a:rPr>
                  <a:t>Support </a:t>
                </a:r>
                <a:r>
                  <a:rPr lang="en-US" sz="800" dirty="0">
                    <a:solidFill>
                      <a:schemeClr val="tx1"/>
                    </a:solidFill>
                    <a:latin typeface="Arial" panose="020B0604020202020204" pitchFamily="34" charset="0"/>
                    <a:cs typeface="Arial" panose="020B0604020202020204" pitchFamily="34" charset="0"/>
                  </a:rPr>
                  <a:t>development of a National results framework for </a:t>
                </a:r>
                <a:r>
                  <a:rPr lang="en-US" sz="800" dirty="0" smtClean="0">
                    <a:solidFill>
                      <a:schemeClr val="tx1"/>
                    </a:solidFill>
                    <a:latin typeface="Arial" panose="020B0604020202020204" pitchFamily="34" charset="0"/>
                    <a:cs typeface="Arial" panose="020B0604020202020204" pitchFamily="34" charset="0"/>
                  </a:rPr>
                  <a:t>the ministry flagship program</a:t>
                </a:r>
              </a:p>
              <a:p>
                <a:pPr marL="232172" indent="-232172">
                  <a:buFont typeface="Arial" panose="020B0604020202020204" pitchFamily="34" charset="0"/>
                  <a:buChar char="•"/>
                </a:pPr>
                <a:r>
                  <a:rPr lang="en-US" sz="800" dirty="0">
                    <a:solidFill>
                      <a:schemeClr val="tx1"/>
                    </a:solidFill>
                    <a:latin typeface="Arial" panose="020B0604020202020204" pitchFamily="34" charset="0"/>
                    <a:cs typeface="Arial" panose="020B0604020202020204" pitchFamily="34" charset="0"/>
                  </a:rPr>
                  <a:t>Working with government to strengthen execution capacity while enhancing the transparency, accountability systems and policy environment for increased public and private sector investment in </a:t>
                </a:r>
                <a:r>
                  <a:rPr lang="en-US" sz="800" dirty="0" smtClean="0">
                    <a:solidFill>
                      <a:schemeClr val="tx1"/>
                    </a:solidFill>
                    <a:latin typeface="Arial" panose="020B0604020202020204" pitchFamily="34" charset="0"/>
                    <a:cs typeface="Arial" panose="020B0604020202020204" pitchFamily="34" charset="0"/>
                  </a:rPr>
                  <a:t>agriculture</a:t>
                </a:r>
                <a:endParaRPr lang="en-US" sz="800" dirty="0">
                  <a:solidFill>
                    <a:schemeClr val="tx1"/>
                  </a:solidFill>
                  <a:latin typeface="Arial" panose="020B0604020202020204" pitchFamily="34" charset="0"/>
                  <a:cs typeface="Arial" panose="020B0604020202020204" pitchFamily="34" charset="0"/>
                </a:endParaRPr>
              </a:p>
              <a:p>
                <a:pPr marL="232172" indent="-232172">
                  <a:buFont typeface="Arial" panose="020B0604020202020204" pitchFamily="34" charset="0"/>
                  <a:buChar char="•"/>
                </a:pPr>
                <a:r>
                  <a:rPr lang="en-US" sz="800" dirty="0">
                    <a:solidFill>
                      <a:schemeClr val="tx1"/>
                    </a:solidFill>
                    <a:latin typeface="Arial" panose="020B0604020202020204" pitchFamily="34" charset="0"/>
                    <a:cs typeface="Arial" panose="020B0604020202020204" pitchFamily="34" charset="0"/>
                  </a:rPr>
                  <a:t>Formulate appropriate policies that catalyze and sustain agricultural transformation and </a:t>
                </a:r>
                <a:r>
                  <a:rPr lang="en-US" sz="800" dirty="0" smtClean="0">
                    <a:solidFill>
                      <a:schemeClr val="tx1"/>
                    </a:solidFill>
                    <a:latin typeface="Arial" panose="020B0604020202020204" pitchFamily="34" charset="0"/>
                    <a:cs typeface="Arial" panose="020B0604020202020204" pitchFamily="34" charset="0"/>
                  </a:rPr>
                  <a:t>promote </a:t>
                </a:r>
                <a:r>
                  <a:rPr lang="en-US" sz="800" dirty="0">
                    <a:solidFill>
                      <a:schemeClr val="tx1"/>
                    </a:solidFill>
                    <a:latin typeface="Arial" panose="020B0604020202020204" pitchFamily="34" charset="0"/>
                    <a:cs typeface="Arial" panose="020B0604020202020204" pitchFamily="34" charset="0"/>
                  </a:rPr>
                  <a:t>trade</a:t>
                </a:r>
              </a:p>
              <a:p>
                <a:pPr marL="232172" indent="-232172">
                  <a:buFont typeface="Arial" panose="020B0604020202020204" pitchFamily="34" charset="0"/>
                  <a:buChar char="•"/>
                </a:pPr>
                <a:r>
                  <a:rPr lang="en-US" sz="800" dirty="0">
                    <a:solidFill>
                      <a:schemeClr val="tx1"/>
                    </a:solidFill>
                    <a:latin typeface="Arial" panose="020B0604020202020204" pitchFamily="34" charset="0"/>
                    <a:cs typeface="Arial" panose="020B0604020202020204" pitchFamily="34" charset="0"/>
                  </a:rPr>
                  <a:t>D</a:t>
                </a:r>
                <a:r>
                  <a:rPr lang="en-US" sz="800" dirty="0" smtClean="0">
                    <a:solidFill>
                      <a:schemeClr val="tx1"/>
                    </a:solidFill>
                    <a:latin typeface="Arial" panose="020B0604020202020204" pitchFamily="34" charset="0"/>
                    <a:cs typeface="Arial" panose="020B0604020202020204" pitchFamily="34" charset="0"/>
                  </a:rPr>
                  <a:t>e-risk </a:t>
                </a:r>
                <a:r>
                  <a:rPr lang="en-US" sz="800" dirty="0">
                    <a:solidFill>
                      <a:schemeClr val="tx1"/>
                    </a:solidFill>
                    <a:latin typeface="Arial" panose="020B0604020202020204" pitchFamily="34" charset="0"/>
                    <a:cs typeface="Arial" panose="020B0604020202020204" pitchFamily="34" charset="0"/>
                  </a:rPr>
                  <a:t>the sector, attract   private capital   investment and facilitate regional trade </a:t>
                </a:r>
              </a:p>
            </p:txBody>
          </p:sp>
        </p:grpSp>
        <p:sp>
          <p:nvSpPr>
            <p:cNvPr id="12" name="Isosceles Triangle 11"/>
            <p:cNvSpPr/>
            <p:nvPr/>
          </p:nvSpPr>
          <p:spPr>
            <a:xfrm rot="16200000">
              <a:off x="5668256" y="3948173"/>
              <a:ext cx="3670981" cy="145784"/>
            </a:xfrm>
            <a:prstGeom prst="triangle">
              <a:avLst/>
            </a:prstGeom>
            <a:solidFill>
              <a:schemeClr val="bg2">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38" dirty="0">
                <a:solidFill>
                  <a:schemeClr val="accent6">
                    <a:lumMod val="50000"/>
                  </a:schemeClr>
                </a:solidFill>
                <a:latin typeface="Arial" panose="020B0604020202020204" pitchFamily="34" charset="0"/>
                <a:cs typeface="Arial" panose="020B0604020202020204" pitchFamily="34" charset="0"/>
              </a:endParaRPr>
            </a:p>
          </p:txBody>
        </p:sp>
        <p:sp>
          <p:nvSpPr>
            <p:cNvPr id="13" name="Up Arrow 12"/>
            <p:cNvSpPr/>
            <p:nvPr/>
          </p:nvSpPr>
          <p:spPr>
            <a:xfrm>
              <a:off x="1652033" y="1292602"/>
              <a:ext cx="207040" cy="4611392"/>
            </a:xfrm>
            <a:prstGeom prst="upArrow">
              <a:avLst/>
            </a:prstGeom>
            <a:solidFill>
              <a:schemeClr val="tx1">
                <a:lumMod val="65000"/>
                <a:lumOff val="3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38" dirty="0">
                <a:solidFill>
                  <a:schemeClr val="accent6">
                    <a:lumMod val="50000"/>
                  </a:schemeClr>
                </a:solidFill>
                <a:latin typeface="Arial" panose="020B0604020202020204" pitchFamily="34" charset="0"/>
                <a:cs typeface="Arial" panose="020B0604020202020204" pitchFamily="34" charset="0"/>
              </a:endParaRPr>
            </a:p>
          </p:txBody>
        </p:sp>
        <p:grpSp>
          <p:nvGrpSpPr>
            <p:cNvPr id="14" name="Group 13"/>
            <p:cNvGrpSpPr/>
            <p:nvPr/>
          </p:nvGrpSpPr>
          <p:grpSpPr>
            <a:xfrm>
              <a:off x="1813051" y="1143688"/>
              <a:ext cx="472880" cy="4291807"/>
              <a:chOff x="9026706" y="127976"/>
              <a:chExt cx="528823" cy="5282224"/>
            </a:xfrm>
          </p:grpSpPr>
          <p:sp>
            <p:nvSpPr>
              <p:cNvPr id="19" name="TextBox 18"/>
              <p:cNvSpPr txBox="1"/>
              <p:nvPr/>
            </p:nvSpPr>
            <p:spPr>
              <a:xfrm rot="16200000" flipH="1">
                <a:off x="8504357" y="4501857"/>
                <a:ext cx="1545639" cy="271047"/>
              </a:xfrm>
              <a:prstGeom prst="rect">
                <a:avLst/>
              </a:prstGeom>
              <a:noFill/>
            </p:spPr>
            <p:txBody>
              <a:bodyPr wrap="square" rtlCol="0">
                <a:spAutoFit/>
              </a:bodyPr>
              <a:lstStyle/>
              <a:p>
                <a:pPr algn="ctr"/>
                <a:r>
                  <a:rPr lang="en-US" sz="813" b="1" dirty="0">
                    <a:latin typeface="Arial" panose="020B0604020202020204" pitchFamily="34" charset="0"/>
                    <a:cs typeface="Arial" panose="020B0604020202020204" pitchFamily="34" charset="0"/>
                  </a:rPr>
                  <a:t>What AGRA </a:t>
                </a:r>
                <a:r>
                  <a:rPr lang="en-US" sz="975" b="1" dirty="0">
                    <a:latin typeface="Arial" panose="020B0604020202020204" pitchFamily="34" charset="0"/>
                    <a:cs typeface="Arial" panose="020B0604020202020204" pitchFamily="34" charset="0"/>
                  </a:rPr>
                  <a:t>does</a:t>
                </a:r>
              </a:p>
            </p:txBody>
          </p:sp>
          <p:sp>
            <p:nvSpPr>
              <p:cNvPr id="20" name="TextBox 19"/>
              <p:cNvSpPr txBox="1"/>
              <p:nvPr/>
            </p:nvSpPr>
            <p:spPr>
              <a:xfrm rot="16200000" flipH="1">
                <a:off x="8471278" y="683404"/>
                <a:ext cx="1493908" cy="383052"/>
              </a:xfrm>
              <a:prstGeom prst="rect">
                <a:avLst/>
              </a:prstGeom>
              <a:noFill/>
            </p:spPr>
            <p:txBody>
              <a:bodyPr wrap="square" rtlCol="0">
                <a:spAutoFit/>
              </a:bodyPr>
              <a:lstStyle/>
              <a:p>
                <a:pPr algn="ctr"/>
                <a:r>
                  <a:rPr lang="en-US" sz="813" b="1" dirty="0">
                    <a:latin typeface="Arial" panose="020B0604020202020204" pitchFamily="34" charset="0"/>
                    <a:cs typeface="Arial" panose="020B0604020202020204" pitchFamily="34" charset="0"/>
                  </a:rPr>
                  <a:t>AGRA’s Strategic Country Goals</a:t>
                </a:r>
              </a:p>
            </p:txBody>
          </p:sp>
          <p:sp>
            <p:nvSpPr>
              <p:cNvPr id="21" name="TextBox 20"/>
              <p:cNvSpPr txBox="1"/>
              <p:nvPr/>
            </p:nvSpPr>
            <p:spPr>
              <a:xfrm rot="16200000" flipH="1">
                <a:off x="8296678" y="2410522"/>
                <a:ext cx="1994751" cy="522950"/>
              </a:xfrm>
              <a:prstGeom prst="rect">
                <a:avLst/>
              </a:prstGeom>
              <a:noFill/>
            </p:spPr>
            <p:txBody>
              <a:bodyPr wrap="square" rtlCol="0">
                <a:spAutoFit/>
              </a:bodyPr>
              <a:lstStyle/>
              <a:p>
                <a:pPr algn="ctr"/>
                <a:r>
                  <a:rPr lang="en-US" sz="813" b="1" dirty="0">
                    <a:latin typeface="Arial" panose="020B0604020202020204" pitchFamily="34" charset="0"/>
                    <a:cs typeface="Arial" panose="020B0604020202020204" pitchFamily="34" charset="0"/>
                  </a:rPr>
                  <a:t>So that the target population, institution or resource change </a:t>
                </a:r>
              </a:p>
            </p:txBody>
          </p:sp>
        </p:grpSp>
        <p:sp>
          <p:nvSpPr>
            <p:cNvPr id="15" name="Rectangle 14"/>
            <p:cNvSpPr/>
            <p:nvPr/>
          </p:nvSpPr>
          <p:spPr>
            <a:xfrm>
              <a:off x="2285890" y="4084143"/>
              <a:ext cx="5038018" cy="1819851"/>
            </a:xfrm>
            <a:prstGeom prst="rect">
              <a:avLst/>
            </a:prstGeom>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r>
                <a:rPr lang="en-GB" sz="813" b="1" dirty="0" smtClean="0">
                  <a:solidFill>
                    <a:schemeClr val="tx1"/>
                  </a:solidFill>
                  <a:latin typeface="Arial" panose="020B0604020202020204" pitchFamily="34" charset="0"/>
                  <a:cs typeface="Arial" panose="020B0604020202020204" pitchFamily="34" charset="0"/>
                </a:rPr>
                <a:t>Country Investment </a:t>
              </a:r>
              <a:r>
                <a:rPr lang="en-GB" sz="813" b="1" dirty="0">
                  <a:solidFill>
                    <a:schemeClr val="tx1"/>
                  </a:solidFill>
                  <a:latin typeface="Arial" panose="020B0604020202020204" pitchFamily="34" charset="0"/>
                  <a:cs typeface="Arial" panose="020B0604020202020204" pitchFamily="34" charset="0"/>
                </a:rPr>
                <a:t>areas </a:t>
              </a:r>
            </a:p>
            <a:p>
              <a:pPr marL="139303" indent="-139303">
                <a:buFont typeface="Arial" panose="020B0604020202020204" pitchFamily="34" charset="0"/>
                <a:buChar char="•"/>
              </a:pPr>
              <a:r>
                <a:rPr lang="en-US" sz="900" dirty="0" smtClean="0">
                  <a:solidFill>
                    <a:schemeClr val="tx1"/>
                  </a:solidFill>
                  <a:latin typeface="Arial" panose="020B0604020202020204" pitchFamily="34" charset="0"/>
                  <a:cs typeface="Arial" panose="020B0604020202020204" pitchFamily="34" charset="0"/>
                </a:rPr>
                <a:t>Developing and strengthening input systems (seed and fertilizer)</a:t>
              </a:r>
            </a:p>
            <a:p>
              <a:pPr marL="139303" indent="-139303">
                <a:buFont typeface="Arial" panose="020B0604020202020204" pitchFamily="34" charset="0"/>
                <a:buChar char="•"/>
              </a:pPr>
              <a:r>
                <a:rPr lang="en-US" sz="900" dirty="0" smtClean="0">
                  <a:solidFill>
                    <a:schemeClr val="tx1"/>
                  </a:solidFill>
                  <a:latin typeface="Arial" panose="020B0604020202020204" pitchFamily="34" charset="0"/>
                  <a:cs typeface="Arial" panose="020B0604020202020204" pitchFamily="34" charset="0"/>
                </a:rPr>
                <a:t>Developing </a:t>
              </a:r>
              <a:r>
                <a:rPr lang="en-US" sz="900" dirty="0">
                  <a:solidFill>
                    <a:schemeClr val="tx1"/>
                  </a:solidFill>
                  <a:latin typeface="Arial" panose="020B0604020202020204" pitchFamily="34" charset="0"/>
                  <a:cs typeface="Arial" panose="020B0604020202020204" pitchFamily="34" charset="0"/>
                </a:rPr>
                <a:t>and strengthening extension and advisory </a:t>
              </a:r>
              <a:r>
                <a:rPr lang="en-US" sz="900" dirty="0" smtClean="0">
                  <a:solidFill>
                    <a:schemeClr val="tx1"/>
                  </a:solidFill>
                  <a:latin typeface="Arial" panose="020B0604020202020204" pitchFamily="34" charset="0"/>
                  <a:cs typeface="Arial" panose="020B0604020202020204" pitchFamily="34" charset="0"/>
                </a:rPr>
                <a:t>services </a:t>
              </a:r>
              <a:endParaRPr lang="en-US" sz="900" dirty="0">
                <a:solidFill>
                  <a:schemeClr val="tx1"/>
                </a:solidFill>
                <a:latin typeface="Arial" panose="020B0604020202020204" pitchFamily="34" charset="0"/>
                <a:cs typeface="Arial" panose="020B0604020202020204" pitchFamily="34" charset="0"/>
              </a:endParaRPr>
            </a:p>
            <a:p>
              <a:pPr marL="139303" indent="-139303">
                <a:buFont typeface="Arial" panose="020B0604020202020204" pitchFamily="34" charset="0"/>
                <a:buChar char="•"/>
              </a:pPr>
              <a:r>
                <a:rPr lang="en-US" sz="900" dirty="0">
                  <a:solidFill>
                    <a:schemeClr val="tx1"/>
                  </a:solidFill>
                  <a:latin typeface="Arial" panose="020B0604020202020204" pitchFamily="34" charset="0"/>
                  <a:cs typeface="Arial" panose="020B0604020202020204" pitchFamily="34" charset="0"/>
                </a:rPr>
                <a:t>Developing and strengthening </a:t>
              </a:r>
              <a:r>
                <a:rPr lang="en-US" sz="900" dirty="0" smtClean="0">
                  <a:solidFill>
                    <a:schemeClr val="tx1"/>
                  </a:solidFill>
                  <a:latin typeface="Arial" panose="020B0604020202020204" pitchFamily="34" charset="0"/>
                  <a:cs typeface="Arial" panose="020B0604020202020204" pitchFamily="34" charset="0"/>
                </a:rPr>
                <a:t>market </a:t>
              </a:r>
              <a:r>
                <a:rPr lang="en-US" sz="900" dirty="0">
                  <a:solidFill>
                    <a:schemeClr val="tx1"/>
                  </a:solidFill>
                  <a:latin typeface="Arial" panose="020B0604020202020204" pitchFamily="34" charset="0"/>
                  <a:cs typeface="Arial" panose="020B0604020202020204" pitchFamily="34" charset="0"/>
                </a:rPr>
                <a:t>information systems</a:t>
              </a:r>
            </a:p>
            <a:p>
              <a:pPr marL="139303" indent="-139303">
                <a:buFont typeface="Arial" panose="020B0604020202020204" pitchFamily="34" charset="0"/>
                <a:buChar char="•"/>
              </a:pPr>
              <a:r>
                <a:rPr lang="en-US" sz="900" dirty="0">
                  <a:solidFill>
                    <a:schemeClr val="tx1"/>
                  </a:solidFill>
                  <a:latin typeface="Arial" panose="020B0604020202020204" pitchFamily="34" charset="0"/>
                  <a:cs typeface="Arial" panose="020B0604020202020204" pitchFamily="34" charset="0"/>
                </a:rPr>
                <a:t>Developing and strengthening </a:t>
              </a:r>
              <a:r>
                <a:rPr lang="en-US" sz="900" dirty="0" smtClean="0">
                  <a:solidFill>
                    <a:schemeClr val="tx1"/>
                  </a:solidFill>
                  <a:latin typeface="Arial" panose="020B0604020202020204" pitchFamily="34" charset="0"/>
                  <a:cs typeface="Arial" panose="020B0604020202020204" pitchFamily="34" charset="0"/>
                </a:rPr>
                <a:t>responsive </a:t>
              </a:r>
              <a:r>
                <a:rPr lang="en-US" sz="900" dirty="0">
                  <a:solidFill>
                    <a:schemeClr val="tx1"/>
                  </a:solidFill>
                  <a:latin typeface="Arial" panose="020B0604020202020204" pitchFamily="34" charset="0"/>
                  <a:cs typeface="Arial" panose="020B0604020202020204" pitchFamily="34" charset="0"/>
                </a:rPr>
                <a:t>agricultural finance and credit systems </a:t>
              </a:r>
            </a:p>
            <a:p>
              <a:pPr marL="139303" indent="-139303">
                <a:buFont typeface="Arial" panose="020B0604020202020204" pitchFamily="34" charset="0"/>
                <a:buChar char="•"/>
              </a:pPr>
              <a:r>
                <a:rPr lang="en-US" sz="900" dirty="0">
                  <a:solidFill>
                    <a:schemeClr val="tx1"/>
                  </a:solidFill>
                  <a:latin typeface="Arial" panose="020B0604020202020204" pitchFamily="34" charset="0"/>
                  <a:cs typeface="Arial" panose="020B0604020202020204" pitchFamily="34" charset="0"/>
                </a:rPr>
                <a:t>Developing and strengthening stable reliable and remunerative output </a:t>
              </a:r>
              <a:r>
                <a:rPr lang="en-US" sz="900" dirty="0" smtClean="0">
                  <a:solidFill>
                    <a:schemeClr val="tx1"/>
                  </a:solidFill>
                  <a:latin typeface="Arial" panose="020B0604020202020204" pitchFamily="34" charset="0"/>
                  <a:cs typeface="Arial" panose="020B0604020202020204" pitchFamily="34" charset="0"/>
                </a:rPr>
                <a:t>markets</a:t>
              </a:r>
            </a:p>
            <a:p>
              <a:pPr marL="139303" indent="-139303">
                <a:buFont typeface="Arial" panose="020B0604020202020204" pitchFamily="34" charset="0"/>
                <a:buChar char="•"/>
              </a:pPr>
              <a:r>
                <a:rPr lang="en-US" sz="900" dirty="0" smtClean="0">
                  <a:solidFill>
                    <a:schemeClr val="tx1"/>
                  </a:solidFill>
                  <a:latin typeface="Arial" panose="020B0604020202020204" pitchFamily="34" charset="0"/>
                  <a:cs typeface="Arial" panose="020B0604020202020204" pitchFamily="34" charset="0"/>
                </a:rPr>
                <a:t>Build the capacity of various value chain actors, farmer level, private and public sector</a:t>
              </a:r>
            </a:p>
            <a:p>
              <a:pPr marL="139303" indent="-139303">
                <a:buFont typeface="Arial" panose="020B0604020202020204" pitchFamily="34" charset="0"/>
                <a:buChar char="•"/>
              </a:pPr>
              <a:endParaRPr lang="en-US" sz="975" dirty="0" smtClean="0">
                <a:solidFill>
                  <a:schemeClr val="tx1"/>
                </a:solidFill>
                <a:latin typeface="Arial" panose="020B0604020202020204" pitchFamily="34" charset="0"/>
                <a:cs typeface="Arial" panose="020B0604020202020204" pitchFamily="34" charset="0"/>
              </a:endParaRPr>
            </a:p>
            <a:p>
              <a:pPr marL="139303" indent="-139303">
                <a:buFont typeface="Arial" panose="020B0604020202020204" pitchFamily="34" charset="0"/>
                <a:buChar char="•"/>
              </a:pPr>
              <a:endParaRPr lang="en-US" sz="975" dirty="0" smtClean="0">
                <a:solidFill>
                  <a:schemeClr val="tx1"/>
                </a:solidFill>
                <a:latin typeface="Arial" panose="020B0604020202020204" pitchFamily="34" charset="0"/>
                <a:cs typeface="Arial" panose="020B0604020202020204" pitchFamily="34" charset="0"/>
              </a:endParaRPr>
            </a:p>
            <a:p>
              <a:pPr marL="139303" indent="-139303">
                <a:buFont typeface="Arial" panose="020B0604020202020204" pitchFamily="34" charset="0"/>
                <a:buChar char="•"/>
              </a:pPr>
              <a:endParaRPr lang="en-US" sz="975" dirty="0">
                <a:solidFill>
                  <a:schemeClr val="tx1"/>
                </a:solidFill>
                <a:latin typeface="Arial" panose="020B0604020202020204" pitchFamily="34" charset="0"/>
                <a:cs typeface="Arial" panose="020B0604020202020204" pitchFamily="34" charset="0"/>
              </a:endParaRPr>
            </a:p>
            <a:p>
              <a:pPr marL="139303" indent="-139303">
                <a:buFont typeface="Arial" panose="020B0604020202020204" pitchFamily="34" charset="0"/>
                <a:buChar char="•"/>
              </a:pPr>
              <a:endParaRPr lang="en-US" sz="975" dirty="0" smtClean="0">
                <a:solidFill>
                  <a:schemeClr val="tx1"/>
                </a:solidFill>
                <a:latin typeface="Arial" panose="020B0604020202020204" pitchFamily="34" charset="0"/>
                <a:cs typeface="Arial" panose="020B0604020202020204" pitchFamily="34" charset="0"/>
              </a:endParaRPr>
            </a:p>
            <a:p>
              <a:endParaRPr lang="en-US" sz="813" dirty="0">
                <a:latin typeface="Arial" panose="020B0604020202020204" pitchFamily="34" charset="0"/>
                <a:cs typeface="Arial" panose="020B0604020202020204" pitchFamily="34" charset="0"/>
              </a:endParaRPr>
            </a:p>
          </p:txBody>
        </p:sp>
        <p:sp>
          <p:nvSpPr>
            <p:cNvPr id="16" name="Rectangle 15">
              <a:extLst>
                <a:ext uri="{FF2B5EF4-FFF2-40B4-BE49-F238E27FC236}">
                  <a16:creationId xmlns:a16="http://schemas.microsoft.com/office/drawing/2014/main" id="{DF0A37FE-9961-7446-A9D2-C6C2F70CDB9E}"/>
                </a:ext>
              </a:extLst>
            </p:cNvPr>
            <p:cNvSpPr/>
            <p:nvPr/>
          </p:nvSpPr>
          <p:spPr>
            <a:xfrm>
              <a:off x="4164770" y="1685733"/>
              <a:ext cx="1656566" cy="481285"/>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r>
                <a:rPr lang="en-US" sz="813" dirty="0">
                  <a:solidFill>
                    <a:schemeClr val="tx1"/>
                  </a:solidFill>
                  <a:latin typeface="Arial" panose="020B0604020202020204" pitchFamily="34" charset="0"/>
                  <a:cs typeface="Arial" panose="020B0604020202020204" pitchFamily="34" charset="0"/>
                </a:rPr>
                <a:t>E</a:t>
              </a:r>
              <a:r>
                <a:rPr lang="en-US" sz="813" dirty="0" smtClean="0">
                  <a:solidFill>
                    <a:schemeClr val="tx1"/>
                  </a:solidFill>
                  <a:latin typeface="Arial" panose="020B0604020202020204" pitchFamily="34" charset="0"/>
                  <a:cs typeface="Arial" panose="020B0604020202020204" pitchFamily="34" charset="0"/>
                </a:rPr>
                <a:t>xpanded </a:t>
              </a:r>
              <a:r>
                <a:rPr lang="en-US" sz="813" dirty="0">
                  <a:solidFill>
                    <a:schemeClr val="tx1"/>
                  </a:solidFill>
                  <a:latin typeface="Arial" panose="020B0604020202020204" pitchFamily="34" charset="0"/>
                  <a:cs typeface="Arial" panose="020B0604020202020204" pitchFamily="34" charset="0"/>
                </a:rPr>
                <a:t>financial and risk management service </a:t>
              </a:r>
              <a:r>
                <a:rPr lang="en-US" sz="813" dirty="0" smtClean="0">
                  <a:solidFill>
                    <a:schemeClr val="tx1"/>
                  </a:solidFill>
                  <a:latin typeface="Arial" panose="020B0604020202020204" pitchFamily="34" charset="0"/>
                  <a:cs typeface="Arial" panose="020B0604020202020204" pitchFamily="34" charset="0"/>
                </a:rPr>
                <a:t>and improved linkages to private sector</a:t>
              </a:r>
              <a:endParaRPr lang="en-US" sz="813" dirty="0">
                <a:solidFill>
                  <a:schemeClr val="tx1"/>
                </a:solidFill>
                <a:latin typeface="Arial" panose="020B0604020202020204" pitchFamily="34" charset="0"/>
                <a:cs typeface="Arial" panose="020B0604020202020204" pitchFamily="34" charset="0"/>
              </a:endParaRPr>
            </a:p>
          </p:txBody>
        </p:sp>
        <p:sp>
          <p:nvSpPr>
            <p:cNvPr id="17" name="TextBox 16"/>
            <p:cNvSpPr txBox="1"/>
            <p:nvPr/>
          </p:nvSpPr>
          <p:spPr>
            <a:xfrm>
              <a:off x="8320526" y="1918775"/>
              <a:ext cx="1680268" cy="253916"/>
            </a:xfrm>
            <a:prstGeom prst="rect">
              <a:avLst/>
            </a:prstGeom>
            <a:noFill/>
          </p:spPr>
          <p:txBody>
            <a:bodyPr wrap="none" rtlCol="0">
              <a:spAutoFit/>
            </a:bodyPr>
            <a:lstStyle/>
            <a:p>
              <a:r>
                <a:rPr lang="en-US" sz="1050" b="1" dirty="0" smtClean="0">
                  <a:latin typeface="Arial" panose="020B0604020202020204" pitchFamily="34" charset="0"/>
                  <a:cs typeface="Arial" panose="020B0604020202020204" pitchFamily="34" charset="0"/>
                </a:rPr>
                <a:t>Cross Cutting Enablers</a:t>
              </a:r>
              <a:endParaRPr lang="en-US" sz="1050" b="1" dirty="0">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DF0A37FE-9961-7446-A9D2-C6C2F70CDB9E}"/>
                </a:ext>
              </a:extLst>
            </p:cNvPr>
            <p:cNvSpPr/>
            <p:nvPr/>
          </p:nvSpPr>
          <p:spPr>
            <a:xfrm>
              <a:off x="5881416" y="1675219"/>
              <a:ext cx="1442492" cy="481285"/>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r>
                <a:rPr lang="en-US" sz="813" dirty="0" smtClean="0">
                  <a:solidFill>
                    <a:schemeClr val="tx1"/>
                  </a:solidFill>
                  <a:latin typeface="Arial" panose="020B0604020202020204" pitchFamily="34" charset="0"/>
                  <a:cs typeface="Arial" panose="020B0604020202020204" pitchFamily="34" charset="0"/>
                </a:rPr>
                <a:t>Improved policy regulatory in environment in agriculture</a:t>
              </a:r>
              <a:endParaRPr lang="en-US" sz="813" dirty="0">
                <a:solidFill>
                  <a:schemeClr val="tx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206779715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8913528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0352" name="think-cell Slide" r:id="rId5" imgW="327" imgH="327" progId="TCLayout.ActiveDocument.1">
                  <p:embed/>
                </p:oleObj>
              </mc:Choice>
              <mc:Fallback>
                <p:oleObj name="think-cell Slide" r:id="rId5" imgW="327" imgH="32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200" b="1" dirty="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lIns="0" tIns="0" rIns="0" bIns="0" anchor="b"/>
          <a:lstStyle/>
          <a:p>
            <a:pPr defTabSz="914395">
              <a:spcBef>
                <a:spcPct val="0"/>
              </a:spcBef>
              <a:buClrTx/>
              <a:buSzTx/>
              <a:buFontTx/>
            </a:pPr>
            <a:r>
              <a:rPr lang="en-US" dirty="0">
                <a:solidFill>
                  <a:schemeClr val="tx1"/>
                </a:solidFill>
                <a:latin typeface="Arial" panose="020B0604020202020204" pitchFamily="34" charset="0"/>
                <a:cs typeface="Arial" panose="020B0604020202020204" pitchFamily="34" charset="0"/>
              </a:rPr>
              <a:t>AGRA’s Strategy for </a:t>
            </a:r>
            <a:r>
              <a:rPr lang="en-US" dirty="0" smtClean="0">
                <a:solidFill>
                  <a:schemeClr val="tx1"/>
                </a:solidFill>
                <a:latin typeface="Arial" panose="020B0604020202020204" pitchFamily="34" charset="0"/>
                <a:cs typeface="Arial" panose="020B0604020202020204" pitchFamily="34" charset="0"/>
              </a:rPr>
              <a:t>Ethiopia  </a:t>
            </a:r>
            <a:endParaRPr lang="en-US" dirty="0">
              <a:solidFill>
                <a:schemeClr val="tx1"/>
              </a:solidFill>
              <a:latin typeface="Arial" panose="020B0604020202020204" pitchFamily="34" charset="0"/>
              <a:cs typeface="Arial" panose="020B0604020202020204" pitchFamily="34" charset="0"/>
            </a:endParaRPr>
          </a:p>
        </p:txBody>
      </p:sp>
      <p:sp>
        <p:nvSpPr>
          <p:cNvPr id="5" name="Rectangle 4"/>
          <p:cNvSpPr>
            <a:spLocks/>
          </p:cNvSpPr>
          <p:nvPr/>
        </p:nvSpPr>
        <p:spPr>
          <a:xfrm>
            <a:off x="450588" y="856034"/>
            <a:ext cx="9069931" cy="1068754"/>
          </a:xfrm>
          <a:prstGeom prst="rect">
            <a:avLst/>
          </a:prstGeom>
          <a:ln>
            <a:headEnd/>
            <a:tailEnd/>
          </a:ln>
          <a:extLst/>
        </p:spPr>
        <p:style>
          <a:lnRef idx="2">
            <a:schemeClr val="accent1"/>
          </a:lnRef>
          <a:fillRef idx="1">
            <a:schemeClr val="lt1"/>
          </a:fillRef>
          <a:effectRef idx="0">
            <a:schemeClr val="accent1"/>
          </a:effectRef>
          <a:fontRef idx="minor">
            <a:schemeClr val="dk1"/>
          </a:fontRef>
        </p:style>
        <p:txBody>
          <a:bodyPr vert="horz" wrap="square" lIns="72009" tIns="72009" rIns="72009" bIns="72009" numCol="1" anchor="ctr" anchorCtr="0" compatLnSpc="1">
            <a:prstTxWarp prst="textNoShape">
              <a:avLst/>
            </a:prstTxWarp>
            <a:spAutoFit/>
          </a:bodyPr>
          <a:lstStyle/>
          <a:p>
            <a:pPr defTabSz="843984"/>
            <a:r>
              <a:rPr lang="en-US" sz="1200" b="1" dirty="0" err="1">
                <a:latin typeface="Arial" panose="020B0604020202020204" pitchFamily="34" charset="0"/>
                <a:cs typeface="Arial" panose="020B0604020202020204" pitchFamily="34" charset="0"/>
              </a:rPr>
              <a:t>AGRA’s</a:t>
            </a:r>
            <a:r>
              <a:rPr lang="en-US" sz="1200" b="1" dirty="0">
                <a:latin typeface="Arial" panose="020B0604020202020204" pitchFamily="34" charset="0"/>
                <a:cs typeface="Arial" panose="020B0604020202020204" pitchFamily="34" charset="0"/>
              </a:rPr>
              <a:t> strategy for Rwanda </a:t>
            </a:r>
            <a:r>
              <a:rPr lang="en-US" sz="1200" b="1" dirty="0" smtClean="0">
                <a:latin typeface="Arial" panose="020B0604020202020204" pitchFamily="34" charset="0"/>
                <a:cs typeface="Arial" panose="020B0604020202020204" pitchFamily="34" charset="0"/>
              </a:rPr>
              <a:t>seeks </a:t>
            </a:r>
            <a:r>
              <a:rPr lang="en-US" sz="1200" b="1" dirty="0">
                <a:latin typeface="Arial" panose="020B0604020202020204" pitchFamily="34" charset="0"/>
                <a:cs typeface="Arial" panose="020B0604020202020204" pitchFamily="34" charset="0"/>
              </a:rPr>
              <a:t>to </a:t>
            </a:r>
            <a:r>
              <a:rPr lang="en-US" sz="1200" dirty="0" smtClean="0">
                <a:solidFill>
                  <a:schemeClr val="tx1"/>
                </a:solidFill>
              </a:rPr>
              <a:t>catalyze </a:t>
            </a:r>
            <a:r>
              <a:rPr lang="en-US" sz="1200" dirty="0">
                <a:solidFill>
                  <a:schemeClr val="tx1"/>
                </a:solidFill>
              </a:rPr>
              <a:t>and sustain inclusive agriculture transformation in Ethiopia by contributing </a:t>
            </a:r>
            <a:r>
              <a:rPr lang="en-US" sz="1200" dirty="0" smtClean="0">
                <a:solidFill>
                  <a:schemeClr val="tx1"/>
                </a:solidFill>
              </a:rPr>
              <a:t>to: increasing </a:t>
            </a:r>
            <a:r>
              <a:rPr lang="en-US" sz="1200" dirty="0">
                <a:solidFill>
                  <a:schemeClr val="tx1"/>
                </a:solidFill>
              </a:rPr>
              <a:t>incomes and improving food security for 4.7 million smallholder households </a:t>
            </a:r>
            <a:r>
              <a:rPr lang="en-US" sz="1200" dirty="0" smtClean="0">
                <a:solidFill>
                  <a:schemeClr val="tx1"/>
                </a:solidFill>
              </a:rPr>
              <a:t>and </a:t>
            </a:r>
            <a:r>
              <a:rPr lang="en-US" sz="1200" dirty="0">
                <a:solidFill>
                  <a:schemeClr val="tx1"/>
                </a:solidFill>
              </a:rPr>
              <a:t>to support Ethiopia on a pathway to attain and sustain an agriculture transformation. </a:t>
            </a:r>
            <a:r>
              <a:rPr lang="en-US" sz="1200" dirty="0" smtClean="0">
                <a:solidFill>
                  <a:schemeClr val="tx1"/>
                </a:solidFill>
              </a:rPr>
              <a:t>By </a:t>
            </a:r>
            <a:r>
              <a:rPr lang="en-US" sz="1200" dirty="0">
                <a:solidFill>
                  <a:schemeClr val="tx1"/>
                </a:solidFill>
              </a:rPr>
              <a:t>focusing on inclusive Agriculture Transformation in Ethiopia, AGRA is seeking to contribute to increased commercialization and incomes of small holders and support investments leading to more modern agriculture </a:t>
            </a:r>
            <a:r>
              <a:rPr lang="en-US" sz="1200" dirty="0" smtClean="0">
                <a:solidFill>
                  <a:schemeClr val="tx1"/>
                </a:solidFill>
              </a:rPr>
              <a:t>systems. </a:t>
            </a:r>
            <a:r>
              <a:rPr lang="en-US" sz="1200" dirty="0" smtClean="0">
                <a:latin typeface="Arial" panose="020B0604020202020204" pitchFamily="34" charset="0"/>
                <a:cs typeface="Arial" panose="020B0604020202020204" pitchFamily="34" charset="0"/>
              </a:rPr>
              <a:t>The strategy </a:t>
            </a:r>
            <a:r>
              <a:rPr lang="en-US" sz="1200" dirty="0">
                <a:latin typeface="Arial" panose="020B0604020202020204" pitchFamily="34" charset="0"/>
                <a:cs typeface="Arial" panose="020B0604020202020204" pitchFamily="34" charset="0"/>
              </a:rPr>
              <a:t>prioritizes initiatives that complement the work of other </a:t>
            </a:r>
            <a:r>
              <a:rPr lang="en-US" sz="1200" dirty="0" smtClean="0">
                <a:latin typeface="Arial" panose="020B0604020202020204" pitchFamily="34" charset="0"/>
                <a:cs typeface="Arial" panose="020B0604020202020204" pitchFamily="34" charset="0"/>
              </a:rPr>
              <a:t>actors. </a:t>
            </a:r>
            <a:endParaRPr lang="en-US" sz="1200" dirty="0">
              <a:latin typeface="Arial" panose="020B0604020202020204" pitchFamily="34" charset="0"/>
              <a:cs typeface="Arial" panose="020B0604020202020204" pitchFamily="34" charset="0"/>
            </a:endParaRPr>
          </a:p>
        </p:txBody>
      </p:sp>
      <p:grpSp>
        <p:nvGrpSpPr>
          <p:cNvPr id="8" name="Group 7"/>
          <p:cNvGrpSpPr/>
          <p:nvPr/>
        </p:nvGrpSpPr>
        <p:grpSpPr>
          <a:xfrm>
            <a:off x="404023" y="1968900"/>
            <a:ext cx="3232555" cy="3570361"/>
            <a:chOff x="404023" y="2056192"/>
            <a:chExt cx="3232555" cy="3570361"/>
          </a:xfrm>
        </p:grpSpPr>
        <p:sp>
          <p:nvSpPr>
            <p:cNvPr id="21" name="TextBox 20"/>
            <p:cNvSpPr txBox="1"/>
            <p:nvPr/>
          </p:nvSpPr>
          <p:spPr>
            <a:xfrm>
              <a:off x="404023" y="3502895"/>
              <a:ext cx="3232555" cy="2123658"/>
            </a:xfrm>
            <a:prstGeom prst="rect">
              <a:avLst/>
            </a:prstGeom>
            <a:noFill/>
            <a:ln>
              <a:noFill/>
            </a:ln>
          </p:spPr>
          <p:txBody>
            <a:bodyPr wrap="square" rtlCol="0">
              <a:spAutoFit/>
            </a:bodyPr>
            <a:lstStyle/>
            <a:p>
              <a:pPr marL="171450" indent="-171450">
                <a:buFont typeface="Arial" panose="020B0604020202020204" pitchFamily="34" charset="0"/>
                <a:buChar char="•"/>
              </a:pPr>
              <a:r>
                <a:rPr lang="en-US" sz="1200" b="1" dirty="0"/>
                <a:t>Support to </a:t>
              </a:r>
              <a:r>
                <a:rPr lang="en-US" sz="1200" b="1" dirty="0" err="1"/>
                <a:t>GoE</a:t>
              </a:r>
              <a:r>
                <a:rPr lang="en-US" sz="1200" b="1" dirty="0"/>
                <a:t> </a:t>
              </a:r>
              <a:r>
                <a:rPr lang="en-US" sz="1200" dirty="0"/>
                <a:t>to implement the </a:t>
              </a:r>
              <a:r>
                <a:rPr lang="en-US" sz="1200" dirty="0" err="1"/>
                <a:t>GTP</a:t>
              </a:r>
              <a:r>
                <a:rPr lang="en-US" sz="1200" dirty="0"/>
                <a:t> II; provide advisory services to the Ministry of Agriculture; collaborate with the ATA in implementation of the Agriculture Commercialization Cluster (ACC) Strategy; </a:t>
              </a:r>
              <a:endParaRPr lang="en-US" sz="1200" dirty="0" smtClean="0"/>
            </a:p>
            <a:p>
              <a:pPr marL="171450" indent="-171450">
                <a:buFont typeface="Arial" panose="020B0604020202020204" pitchFamily="34" charset="0"/>
                <a:buChar char="•"/>
              </a:pPr>
              <a:r>
                <a:rPr lang="en-US" sz="1200" b="1" dirty="0" smtClean="0"/>
                <a:t>Support </a:t>
              </a:r>
              <a:r>
                <a:rPr lang="en-US" sz="1200" b="1" dirty="0"/>
                <a:t>for the Ministry of Trade and Industry</a:t>
              </a:r>
              <a:r>
                <a:rPr lang="en-US" sz="1200" dirty="0"/>
                <a:t> for developing Agricultural Trade Policy </a:t>
              </a:r>
              <a:r>
                <a:rPr lang="en-US" sz="1200" dirty="0" smtClean="0"/>
                <a:t>and </a:t>
              </a:r>
              <a:r>
                <a:rPr lang="en-US" sz="1200" dirty="0"/>
                <a:t>support the government in developing a 7-10-year National Agricultural Investment Plan (</a:t>
              </a:r>
              <a:r>
                <a:rPr lang="en-US" sz="1200" dirty="0" err="1"/>
                <a:t>NAIP</a:t>
              </a:r>
              <a:r>
                <a:rPr lang="en-US" sz="1200" dirty="0"/>
                <a:t>) </a:t>
              </a:r>
            </a:p>
          </p:txBody>
        </p:sp>
        <p:pic>
          <p:nvPicPr>
            <p:cNvPr id="4" name="Picture 3"/>
            <p:cNvPicPr>
              <a:picLocks noChangeAspect="1"/>
            </p:cNvPicPr>
            <p:nvPr/>
          </p:nvPicPr>
          <p:blipFill rotWithShape="1">
            <a:blip r:embed="rId7"/>
            <a:srcRect l="9102" t="9100" r="8017" b="9000"/>
            <a:stretch/>
          </p:blipFill>
          <p:spPr>
            <a:xfrm>
              <a:off x="1358858" y="2056192"/>
              <a:ext cx="1127715" cy="1114369"/>
            </a:xfrm>
            <a:prstGeom prst="rect">
              <a:avLst/>
            </a:prstGeom>
          </p:spPr>
        </p:pic>
        <p:sp>
          <p:nvSpPr>
            <p:cNvPr id="11" name="TextBox 10"/>
            <p:cNvSpPr txBox="1"/>
            <p:nvPr/>
          </p:nvSpPr>
          <p:spPr>
            <a:xfrm>
              <a:off x="703513" y="3154183"/>
              <a:ext cx="2312277" cy="276999"/>
            </a:xfrm>
            <a:prstGeom prst="rect">
              <a:avLst/>
            </a:prstGeom>
            <a:noFill/>
            <a:ln>
              <a:noFill/>
            </a:ln>
          </p:spPr>
          <p:txBody>
            <a:bodyPr wrap="square" rtlCol="0">
              <a:spAutoFit/>
            </a:bodyPr>
            <a:lstStyle/>
            <a:p>
              <a:pPr algn="ctr"/>
              <a:r>
                <a:rPr lang="en-US" sz="1200" b="1" dirty="0" smtClean="0">
                  <a:solidFill>
                    <a:srgbClr val="0070C0"/>
                  </a:solidFill>
                </a:rPr>
                <a:t>Policy and State Capability</a:t>
              </a:r>
              <a:endParaRPr lang="en-US" sz="1200" b="1" dirty="0">
                <a:solidFill>
                  <a:srgbClr val="0070C0"/>
                </a:solidFill>
              </a:endParaRPr>
            </a:p>
          </p:txBody>
        </p:sp>
      </p:grpSp>
      <p:grpSp>
        <p:nvGrpSpPr>
          <p:cNvPr id="10" name="Group 9"/>
          <p:cNvGrpSpPr/>
          <p:nvPr/>
        </p:nvGrpSpPr>
        <p:grpSpPr>
          <a:xfrm>
            <a:off x="3976930" y="2084510"/>
            <a:ext cx="5671567" cy="3648048"/>
            <a:chOff x="3976930" y="2168590"/>
            <a:chExt cx="5671567" cy="3648048"/>
          </a:xfrm>
        </p:grpSpPr>
        <p:sp>
          <p:nvSpPr>
            <p:cNvPr id="23" name="TextBox 22"/>
            <p:cNvSpPr txBox="1"/>
            <p:nvPr/>
          </p:nvSpPr>
          <p:spPr>
            <a:xfrm>
              <a:off x="6638624" y="3528914"/>
              <a:ext cx="3009873" cy="1231106"/>
            </a:xfrm>
            <a:prstGeom prst="rect">
              <a:avLst/>
            </a:prstGeom>
            <a:noFill/>
            <a:ln>
              <a:noFill/>
            </a:ln>
          </p:spPr>
          <p:txBody>
            <a:bodyPr wrap="square" rtlCol="0">
              <a:spAutoFit/>
            </a:bodyPr>
            <a:lstStyle/>
            <a:p>
              <a:pPr marL="171450" indent="-171450">
                <a:buFont typeface="Arial" panose="020B0604020202020204" pitchFamily="34" charset="0"/>
                <a:buChar char="•"/>
              </a:pPr>
              <a:r>
                <a:rPr lang="en-US" sz="1200" dirty="0"/>
                <a:t>Full mapping of government, development partners, private sector actors and other partners and </a:t>
              </a:r>
            </a:p>
            <a:p>
              <a:pPr marL="171450" indent="-171450">
                <a:buFont typeface="Arial" panose="020B0604020202020204" pitchFamily="34" charset="0"/>
                <a:buChar char="•"/>
              </a:pPr>
              <a:r>
                <a:rPr lang="en-US" sz="1200" dirty="0"/>
                <a:t>Facilitate the creation </a:t>
              </a:r>
              <a:r>
                <a:rPr lang="en-US" sz="1200" dirty="0" smtClean="0"/>
                <a:t>of an </a:t>
              </a:r>
              <a:r>
                <a:rPr lang="en-US" sz="1200" dirty="0"/>
                <a:t>enabling environment that attracts increased private sector investments</a:t>
              </a:r>
              <a:r>
                <a:rPr lang="en-US" dirty="0"/>
                <a:t>. </a:t>
              </a:r>
              <a:endParaRPr lang="en-US" sz="1200" dirty="0"/>
            </a:p>
          </p:txBody>
        </p:sp>
        <p:pic>
          <p:nvPicPr>
            <p:cNvPr id="6" name="Picture 5"/>
            <p:cNvPicPr>
              <a:picLocks noChangeAspect="1"/>
            </p:cNvPicPr>
            <p:nvPr/>
          </p:nvPicPr>
          <p:blipFill>
            <a:blip r:embed="rId8"/>
            <a:stretch>
              <a:fillRect/>
            </a:stretch>
          </p:blipFill>
          <p:spPr>
            <a:xfrm>
              <a:off x="7664638" y="2257801"/>
              <a:ext cx="1211715" cy="727029"/>
            </a:xfrm>
            <a:prstGeom prst="rect">
              <a:avLst/>
            </a:prstGeom>
          </p:spPr>
        </p:pic>
        <p:grpSp>
          <p:nvGrpSpPr>
            <p:cNvPr id="9" name="Group 8"/>
            <p:cNvGrpSpPr/>
            <p:nvPr/>
          </p:nvGrpSpPr>
          <p:grpSpPr>
            <a:xfrm>
              <a:off x="3976930" y="2168590"/>
              <a:ext cx="2543344" cy="3648048"/>
              <a:chOff x="3976930" y="2168590"/>
              <a:chExt cx="2543344" cy="3648048"/>
            </a:xfrm>
          </p:grpSpPr>
          <p:sp>
            <p:nvSpPr>
              <p:cNvPr id="22" name="TextBox 21"/>
              <p:cNvSpPr txBox="1"/>
              <p:nvPr/>
            </p:nvSpPr>
            <p:spPr>
              <a:xfrm>
                <a:off x="3976930" y="3508314"/>
                <a:ext cx="2543344" cy="2308324"/>
              </a:xfrm>
              <a:prstGeom prst="rect">
                <a:avLst/>
              </a:prstGeom>
              <a:noFill/>
              <a:ln>
                <a:noFill/>
              </a:ln>
            </p:spPr>
            <p:txBody>
              <a:bodyPr wrap="square" rtlCol="0">
                <a:spAutoFit/>
              </a:bodyPr>
              <a:lstStyle/>
              <a:p>
                <a:pPr marL="285750" indent="-285750">
                  <a:buFont typeface="Arial" panose="020B0604020202020204" pitchFamily="34" charset="0"/>
                  <a:buChar char="•"/>
                </a:pPr>
                <a:r>
                  <a:rPr lang="en-US" sz="1200" dirty="0"/>
                  <a:t>Strengthening agricultural </a:t>
                </a:r>
                <a:r>
                  <a:rPr lang="en-US" sz="1200" b="1" dirty="0"/>
                  <a:t>extension, inputs and marketing systems </a:t>
                </a:r>
                <a:r>
                  <a:rPr lang="en-US" sz="1200" dirty="0"/>
                  <a:t>in Amhara, </a:t>
                </a:r>
                <a:r>
                  <a:rPr lang="en-US" sz="1200" dirty="0" smtClean="0"/>
                  <a:t>Tigray, </a:t>
                </a:r>
                <a:r>
                  <a:rPr lang="en-US" sz="1200" dirty="0"/>
                  <a:t>Oromia and </a:t>
                </a:r>
                <a:r>
                  <a:rPr lang="en-US" sz="1200" dirty="0" err="1" smtClean="0"/>
                  <a:t>SNNPR</a:t>
                </a:r>
                <a:r>
                  <a:rPr lang="en-US" sz="1200" dirty="0" smtClean="0"/>
                  <a:t> regions and </a:t>
                </a:r>
                <a:endParaRPr lang="en-US" sz="1200" dirty="0"/>
              </a:p>
              <a:p>
                <a:pPr marL="285750" indent="-285750">
                  <a:buFont typeface="Arial" panose="020B0604020202020204" pitchFamily="34" charset="0"/>
                  <a:buChar char="•"/>
                </a:pPr>
                <a:r>
                  <a:rPr lang="en-US" sz="1200" dirty="0"/>
                  <a:t>Build capacity of financial institutions and SMEs to facilitate </a:t>
                </a:r>
                <a:r>
                  <a:rPr lang="en-US" sz="1200" b="1" dirty="0"/>
                  <a:t>access to finance</a:t>
                </a:r>
                <a:r>
                  <a:rPr lang="en-US" sz="1200" dirty="0"/>
                  <a:t> for SMEs </a:t>
                </a:r>
                <a:endParaRPr lang="en-US" sz="1200" dirty="0" smtClean="0"/>
              </a:p>
              <a:p>
                <a:pPr marL="285750" indent="-285750">
                  <a:buFont typeface="Arial" panose="020B0604020202020204" pitchFamily="34" charset="0"/>
                  <a:buChar char="•"/>
                </a:pPr>
                <a:r>
                  <a:rPr lang="en-US" sz="1200" dirty="0"/>
                  <a:t>Gap filling interventions in other regions to improve last mile delivery of inputs </a:t>
                </a:r>
              </a:p>
            </p:txBody>
          </p:sp>
          <p:pic>
            <p:nvPicPr>
              <p:cNvPr id="24" name="Picture 23"/>
              <p:cNvPicPr>
                <a:picLocks noChangeAspect="1"/>
              </p:cNvPicPr>
              <p:nvPr/>
            </p:nvPicPr>
            <p:blipFill rotWithShape="1">
              <a:blip r:embed="rId9"/>
              <a:srcRect t="4925"/>
              <a:stretch/>
            </p:blipFill>
            <p:spPr>
              <a:xfrm>
                <a:off x="4447000" y="2168590"/>
                <a:ext cx="946684" cy="1001971"/>
              </a:xfrm>
              <a:prstGeom prst="rect">
                <a:avLst/>
              </a:prstGeom>
            </p:spPr>
          </p:pic>
          <p:sp>
            <p:nvSpPr>
              <p:cNvPr id="12" name="TextBox 11"/>
              <p:cNvSpPr txBox="1"/>
              <p:nvPr/>
            </p:nvSpPr>
            <p:spPr>
              <a:xfrm>
                <a:off x="4095281" y="3148387"/>
                <a:ext cx="1954924" cy="276999"/>
              </a:xfrm>
              <a:prstGeom prst="rect">
                <a:avLst/>
              </a:prstGeom>
              <a:noFill/>
              <a:ln>
                <a:noFill/>
              </a:ln>
            </p:spPr>
            <p:txBody>
              <a:bodyPr wrap="square" rtlCol="0">
                <a:spAutoFit/>
              </a:bodyPr>
              <a:lstStyle/>
              <a:p>
                <a:pPr algn="ctr"/>
                <a:r>
                  <a:rPr lang="en-US" sz="1200" b="1" dirty="0">
                    <a:solidFill>
                      <a:srgbClr val="0070C0"/>
                    </a:solidFill>
                  </a:rPr>
                  <a:t>Systems Development</a:t>
                </a:r>
              </a:p>
            </p:txBody>
          </p:sp>
        </p:grpSp>
        <p:sp>
          <p:nvSpPr>
            <p:cNvPr id="13" name="TextBox 12"/>
            <p:cNvSpPr txBox="1"/>
            <p:nvPr/>
          </p:nvSpPr>
          <p:spPr>
            <a:xfrm>
              <a:off x="7481415" y="3148387"/>
              <a:ext cx="1572434" cy="276999"/>
            </a:xfrm>
            <a:prstGeom prst="rect">
              <a:avLst/>
            </a:prstGeom>
            <a:noFill/>
            <a:ln>
              <a:noFill/>
            </a:ln>
          </p:spPr>
          <p:txBody>
            <a:bodyPr wrap="square" rtlCol="0">
              <a:spAutoFit/>
            </a:bodyPr>
            <a:lstStyle/>
            <a:p>
              <a:pPr algn="ctr"/>
              <a:r>
                <a:rPr lang="en-US" sz="1200" b="1" dirty="0">
                  <a:solidFill>
                    <a:srgbClr val="0070C0"/>
                  </a:solidFill>
                </a:rPr>
                <a:t>Partnerships</a:t>
              </a:r>
              <a:endParaRPr lang="en-US" sz="1200" dirty="0">
                <a:solidFill>
                  <a:srgbClr val="0070C0"/>
                </a:solidFill>
              </a:endParaRPr>
            </a:p>
          </p:txBody>
        </p:sp>
      </p:grpSp>
      <p:sp>
        <p:nvSpPr>
          <p:cNvPr id="15" name="Rectangle 14"/>
          <p:cNvSpPr/>
          <p:nvPr/>
        </p:nvSpPr>
        <p:spPr>
          <a:xfrm>
            <a:off x="450588" y="6043050"/>
            <a:ext cx="9069931" cy="316494"/>
          </a:xfrm>
          <a:prstGeom prst="rect">
            <a:avLst/>
          </a:prstGeom>
          <a:solidFill>
            <a:schemeClr val="accent5"/>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defRPr/>
            </a:pPr>
            <a:r>
              <a:rPr lang="en-US" sz="1200" kern="1200" dirty="0" smtClean="0">
                <a:solidFill>
                  <a:schemeClr val="bg1"/>
                </a:solidFill>
                <a:latin typeface="Arial"/>
              </a:rPr>
              <a:t>Enhanced Large Scale Production, </a:t>
            </a:r>
            <a:r>
              <a:rPr lang="en-US" sz="1200" dirty="0" smtClean="0">
                <a:solidFill>
                  <a:schemeClr val="bg1"/>
                </a:solidFill>
              </a:rPr>
              <a:t>Smallholder Productivity,</a:t>
            </a:r>
            <a:r>
              <a:rPr lang="en-US" sz="1200" kern="1200" dirty="0" smtClean="0">
                <a:solidFill>
                  <a:schemeClr val="bg1"/>
                </a:solidFill>
                <a:latin typeface="Arial"/>
              </a:rPr>
              <a:t> </a:t>
            </a:r>
            <a:r>
              <a:rPr lang="en-US" sz="1200" kern="1200" dirty="0" smtClean="0">
                <a:solidFill>
                  <a:schemeClr val="bg1"/>
                </a:solidFill>
              </a:rPr>
              <a:t>Reduced Cost Of Food </a:t>
            </a:r>
            <a:endParaRPr lang="en-US" sz="1200" kern="1200" dirty="0">
              <a:solidFill>
                <a:schemeClr val="bg1"/>
              </a:solidFill>
            </a:endParaRPr>
          </a:p>
        </p:txBody>
      </p:sp>
      <p:sp>
        <p:nvSpPr>
          <p:cNvPr id="19" name="Isosceles Triangle 18"/>
          <p:cNvSpPr/>
          <p:nvPr/>
        </p:nvSpPr>
        <p:spPr>
          <a:xfrm flipH="1" flipV="1">
            <a:off x="404023" y="5670031"/>
            <a:ext cx="9069931" cy="320873"/>
          </a:xfrm>
          <a:prstGeom prst="triangle">
            <a:avLst/>
          </a:prstGeom>
          <a:solidFill>
            <a:srgbClr val="00B05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defRPr/>
            </a:pPr>
            <a:endParaRPr lang="en-US" sz="1600" kern="1200" dirty="0">
              <a:solidFill>
                <a:srgbClr val="000000"/>
              </a:solidFill>
              <a:latin typeface="Arial"/>
            </a:endParaRPr>
          </a:p>
        </p:txBody>
      </p:sp>
    </p:spTree>
    <p:extLst>
      <p:ext uri="{BB962C8B-B14F-4D97-AF65-F5344CB8AC3E}">
        <p14:creationId xmlns:p14="http://schemas.microsoft.com/office/powerpoint/2010/main" val="251586390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a:grpSpLocks noChangeAspect="1"/>
          </p:cNvGrpSpPr>
          <p:nvPr/>
        </p:nvGrpSpPr>
        <p:grpSpPr bwMode="gray">
          <a:xfrm>
            <a:off x="2489838" y="1665606"/>
            <a:ext cx="4494850" cy="3191039"/>
            <a:chOff x="666750" y="981075"/>
            <a:chExt cx="7962900" cy="5653120"/>
          </a:xfrm>
          <a:solidFill>
            <a:schemeClr val="accent6">
              <a:lumMod val="20000"/>
              <a:lumOff val="80000"/>
            </a:schemeClr>
          </a:solidFill>
        </p:grpSpPr>
        <p:sp>
          <p:nvSpPr>
            <p:cNvPr id="4" name="Freeform 3"/>
            <p:cNvSpPr/>
            <p:nvPr/>
          </p:nvSpPr>
          <p:spPr bwMode="gray">
            <a:xfrm>
              <a:off x="2492375" y="981075"/>
              <a:ext cx="1867569" cy="1311275"/>
            </a:xfrm>
            <a:custGeom>
              <a:avLst/>
              <a:gdLst>
                <a:gd name="connsiteX0" fmla="*/ 6350 w 1867569"/>
                <a:gd name="connsiteY0" fmla="*/ 552450 h 1311275"/>
                <a:gd name="connsiteX1" fmla="*/ 6350 w 1867569"/>
                <a:gd name="connsiteY1" fmla="*/ 552450 h 1311275"/>
                <a:gd name="connsiteX2" fmla="*/ 25400 w 1867569"/>
                <a:gd name="connsiteY2" fmla="*/ 577850 h 1311275"/>
                <a:gd name="connsiteX3" fmla="*/ 31750 w 1867569"/>
                <a:gd name="connsiteY3" fmla="*/ 587375 h 1311275"/>
                <a:gd name="connsiteX4" fmla="*/ 34925 w 1867569"/>
                <a:gd name="connsiteY4" fmla="*/ 631825 h 1311275"/>
                <a:gd name="connsiteX5" fmla="*/ 44450 w 1867569"/>
                <a:gd name="connsiteY5" fmla="*/ 657225 h 1311275"/>
                <a:gd name="connsiteX6" fmla="*/ 146050 w 1867569"/>
                <a:gd name="connsiteY6" fmla="*/ 676275 h 1311275"/>
                <a:gd name="connsiteX7" fmla="*/ 168275 w 1867569"/>
                <a:gd name="connsiteY7" fmla="*/ 692150 h 1311275"/>
                <a:gd name="connsiteX8" fmla="*/ 177800 w 1867569"/>
                <a:gd name="connsiteY8" fmla="*/ 695325 h 1311275"/>
                <a:gd name="connsiteX9" fmla="*/ 196850 w 1867569"/>
                <a:gd name="connsiteY9" fmla="*/ 711200 h 1311275"/>
                <a:gd name="connsiteX10" fmla="*/ 212725 w 1867569"/>
                <a:gd name="connsiteY10" fmla="*/ 733425 h 1311275"/>
                <a:gd name="connsiteX11" fmla="*/ 215900 w 1867569"/>
                <a:gd name="connsiteY11" fmla="*/ 742950 h 1311275"/>
                <a:gd name="connsiteX12" fmla="*/ 241300 w 1867569"/>
                <a:gd name="connsiteY12" fmla="*/ 758825 h 1311275"/>
                <a:gd name="connsiteX13" fmla="*/ 317500 w 1867569"/>
                <a:gd name="connsiteY13" fmla="*/ 777875 h 1311275"/>
                <a:gd name="connsiteX14" fmla="*/ 346075 w 1867569"/>
                <a:gd name="connsiteY14" fmla="*/ 755650 h 1311275"/>
                <a:gd name="connsiteX15" fmla="*/ 368300 w 1867569"/>
                <a:gd name="connsiteY15" fmla="*/ 739775 h 1311275"/>
                <a:gd name="connsiteX16" fmla="*/ 377825 w 1867569"/>
                <a:gd name="connsiteY16" fmla="*/ 733425 h 1311275"/>
                <a:gd name="connsiteX17" fmla="*/ 400050 w 1867569"/>
                <a:gd name="connsiteY17" fmla="*/ 730250 h 1311275"/>
                <a:gd name="connsiteX18" fmla="*/ 415925 w 1867569"/>
                <a:gd name="connsiteY18" fmla="*/ 723900 h 1311275"/>
                <a:gd name="connsiteX19" fmla="*/ 482600 w 1867569"/>
                <a:gd name="connsiteY19" fmla="*/ 777875 h 1311275"/>
                <a:gd name="connsiteX20" fmla="*/ 574675 w 1867569"/>
                <a:gd name="connsiteY20" fmla="*/ 774700 h 1311275"/>
                <a:gd name="connsiteX21" fmla="*/ 666750 w 1867569"/>
                <a:gd name="connsiteY21" fmla="*/ 727075 h 1311275"/>
                <a:gd name="connsiteX22" fmla="*/ 714375 w 1867569"/>
                <a:gd name="connsiteY22" fmla="*/ 631825 h 1311275"/>
                <a:gd name="connsiteX23" fmla="*/ 762000 w 1867569"/>
                <a:gd name="connsiteY23" fmla="*/ 679450 h 1311275"/>
                <a:gd name="connsiteX24" fmla="*/ 847725 w 1867569"/>
                <a:gd name="connsiteY24" fmla="*/ 701675 h 1311275"/>
                <a:gd name="connsiteX25" fmla="*/ 977900 w 1867569"/>
                <a:gd name="connsiteY25" fmla="*/ 701675 h 1311275"/>
                <a:gd name="connsiteX26" fmla="*/ 1085850 w 1867569"/>
                <a:gd name="connsiteY26" fmla="*/ 654050 h 1311275"/>
                <a:gd name="connsiteX27" fmla="*/ 1114425 w 1867569"/>
                <a:gd name="connsiteY27" fmla="*/ 660400 h 1311275"/>
                <a:gd name="connsiteX28" fmla="*/ 1127125 w 1867569"/>
                <a:gd name="connsiteY28" fmla="*/ 679450 h 1311275"/>
                <a:gd name="connsiteX29" fmla="*/ 1120775 w 1867569"/>
                <a:gd name="connsiteY29" fmla="*/ 698500 h 1311275"/>
                <a:gd name="connsiteX30" fmla="*/ 1111250 w 1867569"/>
                <a:gd name="connsiteY30" fmla="*/ 711200 h 1311275"/>
                <a:gd name="connsiteX31" fmla="*/ 1190625 w 1867569"/>
                <a:gd name="connsiteY31" fmla="*/ 701675 h 1311275"/>
                <a:gd name="connsiteX32" fmla="*/ 1212850 w 1867569"/>
                <a:gd name="connsiteY32" fmla="*/ 717550 h 1311275"/>
                <a:gd name="connsiteX33" fmla="*/ 1216025 w 1867569"/>
                <a:gd name="connsiteY33" fmla="*/ 752475 h 1311275"/>
                <a:gd name="connsiteX34" fmla="*/ 1222375 w 1867569"/>
                <a:gd name="connsiteY34" fmla="*/ 774700 h 1311275"/>
                <a:gd name="connsiteX35" fmla="*/ 1228725 w 1867569"/>
                <a:gd name="connsiteY35" fmla="*/ 787400 h 1311275"/>
                <a:gd name="connsiteX36" fmla="*/ 1235075 w 1867569"/>
                <a:gd name="connsiteY36" fmla="*/ 796925 h 1311275"/>
                <a:gd name="connsiteX37" fmla="*/ 1235075 w 1867569"/>
                <a:gd name="connsiteY37" fmla="*/ 806450 h 1311275"/>
                <a:gd name="connsiteX38" fmla="*/ 1304925 w 1867569"/>
                <a:gd name="connsiteY38" fmla="*/ 831850 h 1311275"/>
                <a:gd name="connsiteX39" fmla="*/ 1333500 w 1867569"/>
                <a:gd name="connsiteY39" fmla="*/ 825500 h 1311275"/>
                <a:gd name="connsiteX40" fmla="*/ 1349375 w 1867569"/>
                <a:gd name="connsiteY40" fmla="*/ 831850 h 1311275"/>
                <a:gd name="connsiteX41" fmla="*/ 1365250 w 1867569"/>
                <a:gd name="connsiteY41" fmla="*/ 850900 h 1311275"/>
                <a:gd name="connsiteX42" fmla="*/ 1390650 w 1867569"/>
                <a:gd name="connsiteY42" fmla="*/ 854075 h 1311275"/>
                <a:gd name="connsiteX43" fmla="*/ 1390650 w 1867569"/>
                <a:gd name="connsiteY43" fmla="*/ 901700 h 1311275"/>
                <a:gd name="connsiteX44" fmla="*/ 1384300 w 1867569"/>
                <a:gd name="connsiteY44" fmla="*/ 914400 h 1311275"/>
                <a:gd name="connsiteX45" fmla="*/ 1419225 w 1867569"/>
                <a:gd name="connsiteY45" fmla="*/ 952500 h 1311275"/>
                <a:gd name="connsiteX46" fmla="*/ 1447800 w 1867569"/>
                <a:gd name="connsiteY46" fmla="*/ 942975 h 1311275"/>
                <a:gd name="connsiteX47" fmla="*/ 1457325 w 1867569"/>
                <a:gd name="connsiteY47" fmla="*/ 936625 h 1311275"/>
                <a:gd name="connsiteX48" fmla="*/ 1466850 w 1867569"/>
                <a:gd name="connsiteY48" fmla="*/ 933450 h 1311275"/>
                <a:gd name="connsiteX49" fmla="*/ 1504950 w 1867569"/>
                <a:gd name="connsiteY49" fmla="*/ 936625 h 1311275"/>
                <a:gd name="connsiteX50" fmla="*/ 1508125 w 1867569"/>
                <a:gd name="connsiteY50" fmla="*/ 968375 h 1311275"/>
                <a:gd name="connsiteX51" fmla="*/ 1517650 w 1867569"/>
                <a:gd name="connsiteY51" fmla="*/ 1000125 h 1311275"/>
                <a:gd name="connsiteX52" fmla="*/ 1520825 w 1867569"/>
                <a:gd name="connsiteY52" fmla="*/ 1009650 h 1311275"/>
                <a:gd name="connsiteX53" fmla="*/ 1524000 w 1867569"/>
                <a:gd name="connsiteY53" fmla="*/ 1019175 h 1311275"/>
                <a:gd name="connsiteX54" fmla="*/ 1530350 w 1867569"/>
                <a:gd name="connsiteY54" fmla="*/ 1050925 h 1311275"/>
                <a:gd name="connsiteX55" fmla="*/ 1527175 w 1867569"/>
                <a:gd name="connsiteY55" fmla="*/ 1089025 h 1311275"/>
                <a:gd name="connsiteX56" fmla="*/ 1498600 w 1867569"/>
                <a:gd name="connsiteY56" fmla="*/ 1104900 h 1311275"/>
                <a:gd name="connsiteX57" fmla="*/ 1485900 w 1867569"/>
                <a:gd name="connsiteY57" fmla="*/ 1114425 h 1311275"/>
                <a:gd name="connsiteX58" fmla="*/ 1482725 w 1867569"/>
                <a:gd name="connsiteY58" fmla="*/ 1139825 h 1311275"/>
                <a:gd name="connsiteX59" fmla="*/ 1492250 w 1867569"/>
                <a:gd name="connsiteY59" fmla="*/ 1165225 h 1311275"/>
                <a:gd name="connsiteX60" fmla="*/ 1498600 w 1867569"/>
                <a:gd name="connsiteY60" fmla="*/ 1174750 h 1311275"/>
                <a:gd name="connsiteX61" fmla="*/ 1504950 w 1867569"/>
                <a:gd name="connsiteY61" fmla="*/ 1200150 h 1311275"/>
                <a:gd name="connsiteX62" fmla="*/ 1508125 w 1867569"/>
                <a:gd name="connsiteY62" fmla="*/ 1276350 h 1311275"/>
                <a:gd name="connsiteX63" fmla="*/ 1511300 w 1867569"/>
                <a:gd name="connsiteY63" fmla="*/ 1285875 h 1311275"/>
                <a:gd name="connsiteX64" fmla="*/ 1530350 w 1867569"/>
                <a:gd name="connsiteY64" fmla="*/ 1298575 h 1311275"/>
                <a:gd name="connsiteX65" fmla="*/ 1549400 w 1867569"/>
                <a:gd name="connsiteY65" fmla="*/ 1295400 h 1311275"/>
                <a:gd name="connsiteX66" fmla="*/ 1558925 w 1867569"/>
                <a:gd name="connsiteY66" fmla="*/ 1289050 h 1311275"/>
                <a:gd name="connsiteX67" fmla="*/ 1571625 w 1867569"/>
                <a:gd name="connsiteY67" fmla="*/ 1282700 h 1311275"/>
                <a:gd name="connsiteX68" fmla="*/ 1581150 w 1867569"/>
                <a:gd name="connsiteY68" fmla="*/ 1276350 h 1311275"/>
                <a:gd name="connsiteX69" fmla="*/ 1600200 w 1867569"/>
                <a:gd name="connsiteY69" fmla="*/ 1270000 h 1311275"/>
                <a:gd name="connsiteX70" fmla="*/ 1647825 w 1867569"/>
                <a:gd name="connsiteY70" fmla="*/ 1273175 h 1311275"/>
                <a:gd name="connsiteX71" fmla="*/ 1651000 w 1867569"/>
                <a:gd name="connsiteY71" fmla="*/ 1289050 h 1311275"/>
                <a:gd name="connsiteX72" fmla="*/ 1660525 w 1867569"/>
                <a:gd name="connsiteY72" fmla="*/ 1308100 h 1311275"/>
                <a:gd name="connsiteX73" fmla="*/ 1685925 w 1867569"/>
                <a:gd name="connsiteY73" fmla="*/ 1311275 h 1311275"/>
                <a:gd name="connsiteX74" fmla="*/ 1717675 w 1867569"/>
                <a:gd name="connsiteY74" fmla="*/ 1295400 h 1311275"/>
                <a:gd name="connsiteX75" fmla="*/ 1727200 w 1867569"/>
                <a:gd name="connsiteY75" fmla="*/ 1292225 h 1311275"/>
                <a:gd name="connsiteX76" fmla="*/ 1755775 w 1867569"/>
                <a:gd name="connsiteY76" fmla="*/ 1279525 h 1311275"/>
                <a:gd name="connsiteX77" fmla="*/ 1765300 w 1867569"/>
                <a:gd name="connsiteY77" fmla="*/ 1276350 h 1311275"/>
                <a:gd name="connsiteX78" fmla="*/ 1790700 w 1867569"/>
                <a:gd name="connsiteY78" fmla="*/ 1276350 h 1311275"/>
                <a:gd name="connsiteX79" fmla="*/ 1809750 w 1867569"/>
                <a:gd name="connsiteY79" fmla="*/ 1238250 h 1311275"/>
                <a:gd name="connsiteX80" fmla="*/ 1790700 w 1867569"/>
                <a:gd name="connsiteY80" fmla="*/ 1187450 h 1311275"/>
                <a:gd name="connsiteX81" fmla="*/ 1793875 w 1867569"/>
                <a:gd name="connsiteY81" fmla="*/ 1158875 h 1311275"/>
                <a:gd name="connsiteX82" fmla="*/ 1797050 w 1867569"/>
                <a:gd name="connsiteY82" fmla="*/ 1149350 h 1311275"/>
                <a:gd name="connsiteX83" fmla="*/ 1806575 w 1867569"/>
                <a:gd name="connsiteY83" fmla="*/ 1143000 h 1311275"/>
                <a:gd name="connsiteX84" fmla="*/ 1819275 w 1867569"/>
                <a:gd name="connsiteY84" fmla="*/ 1133475 h 1311275"/>
                <a:gd name="connsiteX85" fmla="*/ 1831975 w 1867569"/>
                <a:gd name="connsiteY85" fmla="*/ 1114425 h 1311275"/>
                <a:gd name="connsiteX86" fmla="*/ 1847850 w 1867569"/>
                <a:gd name="connsiteY86" fmla="*/ 1095375 h 1311275"/>
                <a:gd name="connsiteX87" fmla="*/ 1851025 w 1867569"/>
                <a:gd name="connsiteY87" fmla="*/ 1085850 h 1311275"/>
                <a:gd name="connsiteX88" fmla="*/ 1847850 w 1867569"/>
                <a:gd name="connsiteY88" fmla="*/ 1054100 h 1311275"/>
                <a:gd name="connsiteX89" fmla="*/ 1825625 w 1867569"/>
                <a:gd name="connsiteY89" fmla="*/ 1028700 h 1311275"/>
                <a:gd name="connsiteX90" fmla="*/ 1816100 w 1867569"/>
                <a:gd name="connsiteY90" fmla="*/ 1019175 h 1311275"/>
                <a:gd name="connsiteX91" fmla="*/ 1806575 w 1867569"/>
                <a:gd name="connsiteY91" fmla="*/ 1012825 h 1311275"/>
                <a:gd name="connsiteX92" fmla="*/ 1787525 w 1867569"/>
                <a:gd name="connsiteY92" fmla="*/ 990600 h 1311275"/>
                <a:gd name="connsiteX93" fmla="*/ 1787525 w 1867569"/>
                <a:gd name="connsiteY93" fmla="*/ 942975 h 1311275"/>
                <a:gd name="connsiteX94" fmla="*/ 1790700 w 1867569"/>
                <a:gd name="connsiteY94" fmla="*/ 933450 h 1311275"/>
                <a:gd name="connsiteX95" fmla="*/ 1809750 w 1867569"/>
                <a:gd name="connsiteY95" fmla="*/ 917575 h 1311275"/>
                <a:gd name="connsiteX96" fmla="*/ 1816100 w 1867569"/>
                <a:gd name="connsiteY96" fmla="*/ 908050 h 1311275"/>
                <a:gd name="connsiteX97" fmla="*/ 1809750 w 1867569"/>
                <a:gd name="connsiteY97" fmla="*/ 898525 h 1311275"/>
                <a:gd name="connsiteX98" fmla="*/ 1787525 w 1867569"/>
                <a:gd name="connsiteY98" fmla="*/ 869950 h 1311275"/>
                <a:gd name="connsiteX99" fmla="*/ 1778000 w 1867569"/>
                <a:gd name="connsiteY99" fmla="*/ 841375 h 1311275"/>
                <a:gd name="connsiteX100" fmla="*/ 1774825 w 1867569"/>
                <a:gd name="connsiteY100" fmla="*/ 831850 h 1311275"/>
                <a:gd name="connsiteX101" fmla="*/ 1758950 w 1867569"/>
                <a:gd name="connsiteY101" fmla="*/ 803275 h 1311275"/>
                <a:gd name="connsiteX102" fmla="*/ 1765300 w 1867569"/>
                <a:gd name="connsiteY102" fmla="*/ 679450 h 1311275"/>
                <a:gd name="connsiteX103" fmla="*/ 1784350 w 1867569"/>
                <a:gd name="connsiteY103" fmla="*/ 673100 h 1311275"/>
                <a:gd name="connsiteX104" fmla="*/ 1793875 w 1867569"/>
                <a:gd name="connsiteY104" fmla="*/ 669925 h 1311275"/>
                <a:gd name="connsiteX105" fmla="*/ 1806575 w 1867569"/>
                <a:gd name="connsiteY105" fmla="*/ 660400 h 1311275"/>
                <a:gd name="connsiteX106" fmla="*/ 1812925 w 1867569"/>
                <a:gd name="connsiteY106" fmla="*/ 625475 h 1311275"/>
                <a:gd name="connsiteX107" fmla="*/ 1812925 w 1867569"/>
                <a:gd name="connsiteY107" fmla="*/ 488950 h 1311275"/>
                <a:gd name="connsiteX108" fmla="*/ 1806575 w 1867569"/>
                <a:gd name="connsiteY108" fmla="*/ 469900 h 1311275"/>
                <a:gd name="connsiteX109" fmla="*/ 1793875 w 1867569"/>
                <a:gd name="connsiteY109" fmla="*/ 454025 h 1311275"/>
                <a:gd name="connsiteX110" fmla="*/ 1790700 w 1867569"/>
                <a:gd name="connsiteY110" fmla="*/ 406400 h 1311275"/>
                <a:gd name="connsiteX111" fmla="*/ 1768475 w 1867569"/>
                <a:gd name="connsiteY111" fmla="*/ 403225 h 1311275"/>
                <a:gd name="connsiteX112" fmla="*/ 1771650 w 1867569"/>
                <a:gd name="connsiteY112" fmla="*/ 393700 h 1311275"/>
                <a:gd name="connsiteX113" fmla="*/ 1778000 w 1867569"/>
                <a:gd name="connsiteY113" fmla="*/ 384175 h 1311275"/>
                <a:gd name="connsiteX114" fmla="*/ 1749425 w 1867569"/>
                <a:gd name="connsiteY114" fmla="*/ 371475 h 1311275"/>
                <a:gd name="connsiteX115" fmla="*/ 1739900 w 1867569"/>
                <a:gd name="connsiteY115" fmla="*/ 365125 h 1311275"/>
                <a:gd name="connsiteX116" fmla="*/ 1730375 w 1867569"/>
                <a:gd name="connsiteY116" fmla="*/ 361950 h 1311275"/>
                <a:gd name="connsiteX117" fmla="*/ 1736725 w 1867569"/>
                <a:gd name="connsiteY117" fmla="*/ 336550 h 1311275"/>
                <a:gd name="connsiteX118" fmla="*/ 1749425 w 1867569"/>
                <a:gd name="connsiteY118" fmla="*/ 330200 h 1311275"/>
                <a:gd name="connsiteX119" fmla="*/ 1758950 w 1867569"/>
                <a:gd name="connsiteY119" fmla="*/ 327025 h 1311275"/>
                <a:gd name="connsiteX120" fmla="*/ 1778000 w 1867569"/>
                <a:gd name="connsiteY120" fmla="*/ 317500 h 1311275"/>
                <a:gd name="connsiteX121" fmla="*/ 1774825 w 1867569"/>
                <a:gd name="connsiteY121" fmla="*/ 307975 h 1311275"/>
                <a:gd name="connsiteX122" fmla="*/ 1765300 w 1867569"/>
                <a:gd name="connsiteY122" fmla="*/ 301625 h 1311275"/>
                <a:gd name="connsiteX123" fmla="*/ 1743075 w 1867569"/>
                <a:gd name="connsiteY123" fmla="*/ 295275 h 1311275"/>
                <a:gd name="connsiteX124" fmla="*/ 1758950 w 1867569"/>
                <a:gd name="connsiteY124" fmla="*/ 266700 h 1311275"/>
                <a:gd name="connsiteX125" fmla="*/ 1768475 w 1867569"/>
                <a:gd name="connsiteY125" fmla="*/ 263525 h 1311275"/>
                <a:gd name="connsiteX126" fmla="*/ 1816100 w 1867569"/>
                <a:gd name="connsiteY126" fmla="*/ 266700 h 1311275"/>
                <a:gd name="connsiteX127" fmla="*/ 1854200 w 1867569"/>
                <a:gd name="connsiteY127" fmla="*/ 273050 h 1311275"/>
                <a:gd name="connsiteX128" fmla="*/ 1866900 w 1867569"/>
                <a:gd name="connsiteY128" fmla="*/ 269875 h 1311275"/>
                <a:gd name="connsiteX129" fmla="*/ 1857375 w 1867569"/>
                <a:gd name="connsiteY129" fmla="*/ 247650 h 1311275"/>
                <a:gd name="connsiteX130" fmla="*/ 1851025 w 1867569"/>
                <a:gd name="connsiteY130" fmla="*/ 234950 h 1311275"/>
                <a:gd name="connsiteX131" fmla="*/ 1720850 w 1867569"/>
                <a:gd name="connsiteY131" fmla="*/ 133350 h 1311275"/>
                <a:gd name="connsiteX132" fmla="*/ 1695450 w 1867569"/>
                <a:gd name="connsiteY132" fmla="*/ 146050 h 1311275"/>
                <a:gd name="connsiteX133" fmla="*/ 1676400 w 1867569"/>
                <a:gd name="connsiteY133" fmla="*/ 152400 h 1311275"/>
                <a:gd name="connsiteX134" fmla="*/ 1644650 w 1867569"/>
                <a:gd name="connsiteY134" fmla="*/ 171450 h 1311275"/>
                <a:gd name="connsiteX135" fmla="*/ 1631950 w 1867569"/>
                <a:gd name="connsiteY135" fmla="*/ 190500 h 1311275"/>
                <a:gd name="connsiteX136" fmla="*/ 1625600 w 1867569"/>
                <a:gd name="connsiteY136" fmla="*/ 200025 h 1311275"/>
                <a:gd name="connsiteX137" fmla="*/ 1612900 w 1867569"/>
                <a:gd name="connsiteY137" fmla="*/ 203200 h 1311275"/>
                <a:gd name="connsiteX138" fmla="*/ 1584325 w 1867569"/>
                <a:gd name="connsiteY138" fmla="*/ 193675 h 1311275"/>
                <a:gd name="connsiteX139" fmla="*/ 1571625 w 1867569"/>
                <a:gd name="connsiteY139" fmla="*/ 174625 h 1311275"/>
                <a:gd name="connsiteX140" fmla="*/ 1552575 w 1867569"/>
                <a:gd name="connsiteY140" fmla="*/ 193675 h 1311275"/>
                <a:gd name="connsiteX141" fmla="*/ 1530350 w 1867569"/>
                <a:gd name="connsiteY141" fmla="*/ 203200 h 1311275"/>
                <a:gd name="connsiteX142" fmla="*/ 1511300 w 1867569"/>
                <a:gd name="connsiteY142" fmla="*/ 206375 h 1311275"/>
                <a:gd name="connsiteX143" fmla="*/ 1498600 w 1867569"/>
                <a:gd name="connsiteY143" fmla="*/ 209550 h 1311275"/>
                <a:gd name="connsiteX144" fmla="*/ 1482725 w 1867569"/>
                <a:gd name="connsiteY144" fmla="*/ 219075 h 1311275"/>
                <a:gd name="connsiteX145" fmla="*/ 1482725 w 1867569"/>
                <a:gd name="connsiteY145" fmla="*/ 142875 h 1311275"/>
                <a:gd name="connsiteX146" fmla="*/ 1457325 w 1867569"/>
                <a:gd name="connsiteY146" fmla="*/ 117475 h 1311275"/>
                <a:gd name="connsiteX147" fmla="*/ 1438275 w 1867569"/>
                <a:gd name="connsiteY147" fmla="*/ 114300 h 1311275"/>
                <a:gd name="connsiteX148" fmla="*/ 1409700 w 1867569"/>
                <a:gd name="connsiteY148" fmla="*/ 117475 h 1311275"/>
                <a:gd name="connsiteX149" fmla="*/ 1371600 w 1867569"/>
                <a:gd name="connsiteY149" fmla="*/ 120650 h 1311275"/>
                <a:gd name="connsiteX150" fmla="*/ 1358900 w 1867569"/>
                <a:gd name="connsiteY150" fmla="*/ 139700 h 1311275"/>
                <a:gd name="connsiteX151" fmla="*/ 1343025 w 1867569"/>
                <a:gd name="connsiteY151" fmla="*/ 165100 h 1311275"/>
                <a:gd name="connsiteX152" fmla="*/ 1320800 w 1867569"/>
                <a:gd name="connsiteY152" fmla="*/ 187325 h 1311275"/>
                <a:gd name="connsiteX153" fmla="*/ 1285875 w 1867569"/>
                <a:gd name="connsiteY153" fmla="*/ 196850 h 1311275"/>
                <a:gd name="connsiteX154" fmla="*/ 1250950 w 1867569"/>
                <a:gd name="connsiteY154" fmla="*/ 206375 h 1311275"/>
                <a:gd name="connsiteX155" fmla="*/ 1235075 w 1867569"/>
                <a:gd name="connsiteY155" fmla="*/ 203200 h 1311275"/>
                <a:gd name="connsiteX156" fmla="*/ 1225550 w 1867569"/>
                <a:gd name="connsiteY156" fmla="*/ 200025 h 1311275"/>
                <a:gd name="connsiteX157" fmla="*/ 1190625 w 1867569"/>
                <a:gd name="connsiteY157" fmla="*/ 200025 h 1311275"/>
                <a:gd name="connsiteX158" fmla="*/ 1079500 w 1867569"/>
                <a:gd name="connsiteY158" fmla="*/ 234950 h 1311275"/>
                <a:gd name="connsiteX159" fmla="*/ 1063625 w 1867569"/>
                <a:gd name="connsiteY159" fmla="*/ 212725 h 1311275"/>
                <a:gd name="connsiteX160" fmla="*/ 1060450 w 1867569"/>
                <a:gd name="connsiteY160" fmla="*/ 203200 h 1311275"/>
                <a:gd name="connsiteX161" fmla="*/ 1044575 w 1867569"/>
                <a:gd name="connsiteY161" fmla="*/ 200025 h 1311275"/>
                <a:gd name="connsiteX162" fmla="*/ 1025525 w 1867569"/>
                <a:gd name="connsiteY162" fmla="*/ 193675 h 1311275"/>
                <a:gd name="connsiteX163" fmla="*/ 1016000 w 1867569"/>
                <a:gd name="connsiteY163" fmla="*/ 190500 h 1311275"/>
                <a:gd name="connsiteX164" fmla="*/ 971550 w 1867569"/>
                <a:gd name="connsiteY164" fmla="*/ 104775 h 1311275"/>
                <a:gd name="connsiteX165" fmla="*/ 933450 w 1867569"/>
                <a:gd name="connsiteY165" fmla="*/ 92075 h 1311275"/>
                <a:gd name="connsiteX166" fmla="*/ 911225 w 1867569"/>
                <a:gd name="connsiteY166" fmla="*/ 88900 h 1311275"/>
                <a:gd name="connsiteX167" fmla="*/ 895350 w 1867569"/>
                <a:gd name="connsiteY167" fmla="*/ 85725 h 1311275"/>
                <a:gd name="connsiteX168" fmla="*/ 825500 w 1867569"/>
                <a:gd name="connsiteY168" fmla="*/ 73025 h 1311275"/>
                <a:gd name="connsiteX169" fmla="*/ 787400 w 1867569"/>
                <a:gd name="connsiteY169" fmla="*/ 0 h 1311275"/>
                <a:gd name="connsiteX170" fmla="*/ 571500 w 1867569"/>
                <a:gd name="connsiteY170" fmla="*/ 352425 h 1311275"/>
                <a:gd name="connsiteX171" fmla="*/ 555625 w 1867569"/>
                <a:gd name="connsiteY171" fmla="*/ 311150 h 1311275"/>
                <a:gd name="connsiteX172" fmla="*/ 552450 w 1867569"/>
                <a:gd name="connsiteY172" fmla="*/ 301625 h 1311275"/>
                <a:gd name="connsiteX173" fmla="*/ 546100 w 1867569"/>
                <a:gd name="connsiteY173" fmla="*/ 285750 h 1311275"/>
                <a:gd name="connsiteX174" fmla="*/ 542925 w 1867569"/>
                <a:gd name="connsiteY174" fmla="*/ 276225 h 1311275"/>
                <a:gd name="connsiteX175" fmla="*/ 533400 w 1867569"/>
                <a:gd name="connsiteY175" fmla="*/ 266700 h 1311275"/>
                <a:gd name="connsiteX176" fmla="*/ 530225 w 1867569"/>
                <a:gd name="connsiteY176" fmla="*/ 257175 h 1311275"/>
                <a:gd name="connsiteX177" fmla="*/ 520700 w 1867569"/>
                <a:gd name="connsiteY177" fmla="*/ 254000 h 1311275"/>
                <a:gd name="connsiteX178" fmla="*/ 508000 w 1867569"/>
                <a:gd name="connsiteY178" fmla="*/ 244475 h 1311275"/>
                <a:gd name="connsiteX179" fmla="*/ 498475 w 1867569"/>
                <a:gd name="connsiteY179" fmla="*/ 225425 h 1311275"/>
                <a:gd name="connsiteX180" fmla="*/ 479425 w 1867569"/>
                <a:gd name="connsiteY180" fmla="*/ 212725 h 1311275"/>
                <a:gd name="connsiteX181" fmla="*/ 438150 w 1867569"/>
                <a:gd name="connsiteY181" fmla="*/ 219075 h 1311275"/>
                <a:gd name="connsiteX182" fmla="*/ 422275 w 1867569"/>
                <a:gd name="connsiteY182" fmla="*/ 225425 h 1311275"/>
                <a:gd name="connsiteX183" fmla="*/ 393700 w 1867569"/>
                <a:gd name="connsiteY183" fmla="*/ 238125 h 1311275"/>
                <a:gd name="connsiteX184" fmla="*/ 374650 w 1867569"/>
                <a:gd name="connsiteY184" fmla="*/ 260350 h 1311275"/>
                <a:gd name="connsiteX185" fmla="*/ 368300 w 1867569"/>
                <a:gd name="connsiteY185" fmla="*/ 269875 h 1311275"/>
                <a:gd name="connsiteX186" fmla="*/ 352425 w 1867569"/>
                <a:gd name="connsiteY186" fmla="*/ 292100 h 1311275"/>
                <a:gd name="connsiteX187" fmla="*/ 339725 w 1867569"/>
                <a:gd name="connsiteY187" fmla="*/ 311150 h 1311275"/>
                <a:gd name="connsiteX188" fmla="*/ 327025 w 1867569"/>
                <a:gd name="connsiteY188" fmla="*/ 317500 h 1311275"/>
                <a:gd name="connsiteX189" fmla="*/ 317500 w 1867569"/>
                <a:gd name="connsiteY189" fmla="*/ 327025 h 1311275"/>
                <a:gd name="connsiteX190" fmla="*/ 228600 w 1867569"/>
                <a:gd name="connsiteY190" fmla="*/ 292100 h 1311275"/>
                <a:gd name="connsiteX191" fmla="*/ 139700 w 1867569"/>
                <a:gd name="connsiteY191" fmla="*/ 276225 h 1311275"/>
                <a:gd name="connsiteX192" fmla="*/ 117475 w 1867569"/>
                <a:gd name="connsiteY192" fmla="*/ 295275 h 1311275"/>
                <a:gd name="connsiteX193" fmla="*/ 107950 w 1867569"/>
                <a:gd name="connsiteY193" fmla="*/ 301625 h 1311275"/>
                <a:gd name="connsiteX194" fmla="*/ 92075 w 1867569"/>
                <a:gd name="connsiteY194" fmla="*/ 314325 h 1311275"/>
                <a:gd name="connsiteX195" fmla="*/ 85725 w 1867569"/>
                <a:gd name="connsiteY195" fmla="*/ 327025 h 1311275"/>
                <a:gd name="connsiteX196" fmla="*/ 79375 w 1867569"/>
                <a:gd name="connsiteY196" fmla="*/ 336550 h 1311275"/>
                <a:gd name="connsiteX197" fmla="*/ 76200 w 1867569"/>
                <a:gd name="connsiteY197" fmla="*/ 352425 h 1311275"/>
                <a:gd name="connsiteX198" fmla="*/ 69850 w 1867569"/>
                <a:gd name="connsiteY198" fmla="*/ 371475 h 1311275"/>
                <a:gd name="connsiteX199" fmla="*/ 66675 w 1867569"/>
                <a:gd name="connsiteY199" fmla="*/ 381000 h 1311275"/>
                <a:gd name="connsiteX200" fmla="*/ 34925 w 1867569"/>
                <a:gd name="connsiteY200" fmla="*/ 406400 h 1311275"/>
                <a:gd name="connsiteX201" fmla="*/ 28575 w 1867569"/>
                <a:gd name="connsiteY201" fmla="*/ 415925 h 1311275"/>
                <a:gd name="connsiteX202" fmla="*/ 19050 w 1867569"/>
                <a:gd name="connsiteY202" fmla="*/ 422275 h 1311275"/>
                <a:gd name="connsiteX203" fmla="*/ 6350 w 1867569"/>
                <a:gd name="connsiteY203" fmla="*/ 431800 h 1311275"/>
                <a:gd name="connsiteX204" fmla="*/ 0 w 1867569"/>
                <a:gd name="connsiteY204" fmla="*/ 441325 h 1311275"/>
                <a:gd name="connsiteX205" fmla="*/ 9525 w 1867569"/>
                <a:gd name="connsiteY205" fmla="*/ 469900 h 1311275"/>
                <a:gd name="connsiteX206" fmla="*/ 12700 w 1867569"/>
                <a:gd name="connsiteY206" fmla="*/ 479425 h 1311275"/>
                <a:gd name="connsiteX207" fmla="*/ 22225 w 1867569"/>
                <a:gd name="connsiteY207" fmla="*/ 485775 h 1311275"/>
                <a:gd name="connsiteX208" fmla="*/ 28575 w 1867569"/>
                <a:gd name="connsiteY208" fmla="*/ 495300 h 1311275"/>
                <a:gd name="connsiteX209" fmla="*/ 34925 w 1867569"/>
                <a:gd name="connsiteY209" fmla="*/ 514350 h 1311275"/>
                <a:gd name="connsiteX210" fmla="*/ 28575 w 1867569"/>
                <a:gd name="connsiteY210" fmla="*/ 546100 h 1311275"/>
                <a:gd name="connsiteX211" fmla="*/ 6350 w 1867569"/>
                <a:gd name="connsiteY211" fmla="*/ 552450 h 1311275"/>
                <a:gd name="connsiteX0" fmla="*/ 6350 w 1867569"/>
                <a:gd name="connsiteY0" fmla="*/ 552450 h 1311275"/>
                <a:gd name="connsiteX1" fmla="*/ 6350 w 1867569"/>
                <a:gd name="connsiteY1" fmla="*/ 552450 h 1311275"/>
                <a:gd name="connsiteX2" fmla="*/ 25400 w 1867569"/>
                <a:gd name="connsiteY2" fmla="*/ 577850 h 1311275"/>
                <a:gd name="connsiteX3" fmla="*/ 31750 w 1867569"/>
                <a:gd name="connsiteY3" fmla="*/ 587375 h 1311275"/>
                <a:gd name="connsiteX4" fmla="*/ 34925 w 1867569"/>
                <a:gd name="connsiteY4" fmla="*/ 631825 h 1311275"/>
                <a:gd name="connsiteX5" fmla="*/ 44450 w 1867569"/>
                <a:gd name="connsiteY5" fmla="*/ 657225 h 1311275"/>
                <a:gd name="connsiteX6" fmla="*/ 146050 w 1867569"/>
                <a:gd name="connsiteY6" fmla="*/ 676275 h 1311275"/>
                <a:gd name="connsiteX7" fmla="*/ 168275 w 1867569"/>
                <a:gd name="connsiteY7" fmla="*/ 692150 h 1311275"/>
                <a:gd name="connsiteX8" fmla="*/ 177800 w 1867569"/>
                <a:gd name="connsiteY8" fmla="*/ 695325 h 1311275"/>
                <a:gd name="connsiteX9" fmla="*/ 196850 w 1867569"/>
                <a:gd name="connsiteY9" fmla="*/ 711200 h 1311275"/>
                <a:gd name="connsiteX10" fmla="*/ 212725 w 1867569"/>
                <a:gd name="connsiteY10" fmla="*/ 733425 h 1311275"/>
                <a:gd name="connsiteX11" fmla="*/ 215900 w 1867569"/>
                <a:gd name="connsiteY11" fmla="*/ 742950 h 1311275"/>
                <a:gd name="connsiteX12" fmla="*/ 241300 w 1867569"/>
                <a:gd name="connsiteY12" fmla="*/ 758825 h 1311275"/>
                <a:gd name="connsiteX13" fmla="*/ 317500 w 1867569"/>
                <a:gd name="connsiteY13" fmla="*/ 777875 h 1311275"/>
                <a:gd name="connsiteX14" fmla="*/ 346075 w 1867569"/>
                <a:gd name="connsiteY14" fmla="*/ 755650 h 1311275"/>
                <a:gd name="connsiteX15" fmla="*/ 368300 w 1867569"/>
                <a:gd name="connsiteY15" fmla="*/ 739775 h 1311275"/>
                <a:gd name="connsiteX16" fmla="*/ 377825 w 1867569"/>
                <a:gd name="connsiteY16" fmla="*/ 733425 h 1311275"/>
                <a:gd name="connsiteX17" fmla="*/ 400050 w 1867569"/>
                <a:gd name="connsiteY17" fmla="*/ 730250 h 1311275"/>
                <a:gd name="connsiteX18" fmla="*/ 415925 w 1867569"/>
                <a:gd name="connsiteY18" fmla="*/ 723900 h 1311275"/>
                <a:gd name="connsiteX19" fmla="*/ 482600 w 1867569"/>
                <a:gd name="connsiteY19" fmla="*/ 777875 h 1311275"/>
                <a:gd name="connsiteX20" fmla="*/ 574675 w 1867569"/>
                <a:gd name="connsiteY20" fmla="*/ 774700 h 1311275"/>
                <a:gd name="connsiteX21" fmla="*/ 666750 w 1867569"/>
                <a:gd name="connsiteY21" fmla="*/ 727075 h 1311275"/>
                <a:gd name="connsiteX22" fmla="*/ 714375 w 1867569"/>
                <a:gd name="connsiteY22" fmla="*/ 631825 h 1311275"/>
                <a:gd name="connsiteX23" fmla="*/ 762000 w 1867569"/>
                <a:gd name="connsiteY23" fmla="*/ 679450 h 1311275"/>
                <a:gd name="connsiteX24" fmla="*/ 847725 w 1867569"/>
                <a:gd name="connsiteY24" fmla="*/ 701675 h 1311275"/>
                <a:gd name="connsiteX25" fmla="*/ 977900 w 1867569"/>
                <a:gd name="connsiteY25" fmla="*/ 701675 h 1311275"/>
                <a:gd name="connsiteX26" fmla="*/ 1085850 w 1867569"/>
                <a:gd name="connsiteY26" fmla="*/ 654050 h 1311275"/>
                <a:gd name="connsiteX27" fmla="*/ 1114425 w 1867569"/>
                <a:gd name="connsiteY27" fmla="*/ 660400 h 1311275"/>
                <a:gd name="connsiteX28" fmla="*/ 1127125 w 1867569"/>
                <a:gd name="connsiteY28" fmla="*/ 679450 h 1311275"/>
                <a:gd name="connsiteX29" fmla="*/ 1120775 w 1867569"/>
                <a:gd name="connsiteY29" fmla="*/ 698500 h 1311275"/>
                <a:gd name="connsiteX30" fmla="*/ 1111250 w 1867569"/>
                <a:gd name="connsiteY30" fmla="*/ 711200 h 1311275"/>
                <a:gd name="connsiteX31" fmla="*/ 1190625 w 1867569"/>
                <a:gd name="connsiteY31" fmla="*/ 701675 h 1311275"/>
                <a:gd name="connsiteX32" fmla="*/ 1212850 w 1867569"/>
                <a:gd name="connsiteY32" fmla="*/ 717550 h 1311275"/>
                <a:gd name="connsiteX33" fmla="*/ 1216025 w 1867569"/>
                <a:gd name="connsiteY33" fmla="*/ 752475 h 1311275"/>
                <a:gd name="connsiteX34" fmla="*/ 1222375 w 1867569"/>
                <a:gd name="connsiteY34" fmla="*/ 774700 h 1311275"/>
                <a:gd name="connsiteX35" fmla="*/ 1228725 w 1867569"/>
                <a:gd name="connsiteY35" fmla="*/ 787400 h 1311275"/>
                <a:gd name="connsiteX36" fmla="*/ 1235075 w 1867569"/>
                <a:gd name="connsiteY36" fmla="*/ 796925 h 1311275"/>
                <a:gd name="connsiteX37" fmla="*/ 1235075 w 1867569"/>
                <a:gd name="connsiteY37" fmla="*/ 806450 h 1311275"/>
                <a:gd name="connsiteX38" fmla="*/ 1304925 w 1867569"/>
                <a:gd name="connsiteY38" fmla="*/ 831850 h 1311275"/>
                <a:gd name="connsiteX39" fmla="*/ 1333500 w 1867569"/>
                <a:gd name="connsiteY39" fmla="*/ 825500 h 1311275"/>
                <a:gd name="connsiteX40" fmla="*/ 1349375 w 1867569"/>
                <a:gd name="connsiteY40" fmla="*/ 831850 h 1311275"/>
                <a:gd name="connsiteX41" fmla="*/ 1365250 w 1867569"/>
                <a:gd name="connsiteY41" fmla="*/ 850900 h 1311275"/>
                <a:gd name="connsiteX42" fmla="*/ 1390650 w 1867569"/>
                <a:gd name="connsiteY42" fmla="*/ 854075 h 1311275"/>
                <a:gd name="connsiteX43" fmla="*/ 1390650 w 1867569"/>
                <a:gd name="connsiteY43" fmla="*/ 901700 h 1311275"/>
                <a:gd name="connsiteX44" fmla="*/ 1384300 w 1867569"/>
                <a:gd name="connsiteY44" fmla="*/ 914400 h 1311275"/>
                <a:gd name="connsiteX45" fmla="*/ 1419225 w 1867569"/>
                <a:gd name="connsiteY45" fmla="*/ 952500 h 1311275"/>
                <a:gd name="connsiteX46" fmla="*/ 1447800 w 1867569"/>
                <a:gd name="connsiteY46" fmla="*/ 942975 h 1311275"/>
                <a:gd name="connsiteX47" fmla="*/ 1457325 w 1867569"/>
                <a:gd name="connsiteY47" fmla="*/ 936625 h 1311275"/>
                <a:gd name="connsiteX48" fmla="*/ 1466850 w 1867569"/>
                <a:gd name="connsiteY48" fmla="*/ 933450 h 1311275"/>
                <a:gd name="connsiteX49" fmla="*/ 1504950 w 1867569"/>
                <a:gd name="connsiteY49" fmla="*/ 936625 h 1311275"/>
                <a:gd name="connsiteX50" fmla="*/ 1508125 w 1867569"/>
                <a:gd name="connsiteY50" fmla="*/ 968375 h 1311275"/>
                <a:gd name="connsiteX51" fmla="*/ 1517650 w 1867569"/>
                <a:gd name="connsiteY51" fmla="*/ 1000125 h 1311275"/>
                <a:gd name="connsiteX52" fmla="*/ 1520825 w 1867569"/>
                <a:gd name="connsiteY52" fmla="*/ 1009650 h 1311275"/>
                <a:gd name="connsiteX53" fmla="*/ 1524000 w 1867569"/>
                <a:gd name="connsiteY53" fmla="*/ 1019175 h 1311275"/>
                <a:gd name="connsiteX54" fmla="*/ 1530350 w 1867569"/>
                <a:gd name="connsiteY54" fmla="*/ 1050925 h 1311275"/>
                <a:gd name="connsiteX55" fmla="*/ 1527175 w 1867569"/>
                <a:gd name="connsiteY55" fmla="*/ 1089025 h 1311275"/>
                <a:gd name="connsiteX56" fmla="*/ 1498600 w 1867569"/>
                <a:gd name="connsiteY56" fmla="*/ 1104900 h 1311275"/>
                <a:gd name="connsiteX57" fmla="*/ 1485900 w 1867569"/>
                <a:gd name="connsiteY57" fmla="*/ 1114425 h 1311275"/>
                <a:gd name="connsiteX58" fmla="*/ 1482725 w 1867569"/>
                <a:gd name="connsiteY58" fmla="*/ 1139825 h 1311275"/>
                <a:gd name="connsiteX59" fmla="*/ 1492250 w 1867569"/>
                <a:gd name="connsiteY59" fmla="*/ 1165225 h 1311275"/>
                <a:gd name="connsiteX60" fmla="*/ 1498600 w 1867569"/>
                <a:gd name="connsiteY60" fmla="*/ 1174750 h 1311275"/>
                <a:gd name="connsiteX61" fmla="*/ 1504950 w 1867569"/>
                <a:gd name="connsiteY61" fmla="*/ 1200150 h 1311275"/>
                <a:gd name="connsiteX62" fmla="*/ 1508125 w 1867569"/>
                <a:gd name="connsiteY62" fmla="*/ 1276350 h 1311275"/>
                <a:gd name="connsiteX63" fmla="*/ 1511300 w 1867569"/>
                <a:gd name="connsiteY63" fmla="*/ 1285875 h 1311275"/>
                <a:gd name="connsiteX64" fmla="*/ 1530350 w 1867569"/>
                <a:gd name="connsiteY64" fmla="*/ 1298575 h 1311275"/>
                <a:gd name="connsiteX65" fmla="*/ 1549400 w 1867569"/>
                <a:gd name="connsiteY65" fmla="*/ 1295400 h 1311275"/>
                <a:gd name="connsiteX66" fmla="*/ 1558925 w 1867569"/>
                <a:gd name="connsiteY66" fmla="*/ 1289050 h 1311275"/>
                <a:gd name="connsiteX67" fmla="*/ 1571625 w 1867569"/>
                <a:gd name="connsiteY67" fmla="*/ 1282700 h 1311275"/>
                <a:gd name="connsiteX68" fmla="*/ 1581150 w 1867569"/>
                <a:gd name="connsiteY68" fmla="*/ 1276350 h 1311275"/>
                <a:gd name="connsiteX69" fmla="*/ 1600200 w 1867569"/>
                <a:gd name="connsiteY69" fmla="*/ 1270000 h 1311275"/>
                <a:gd name="connsiteX70" fmla="*/ 1647825 w 1867569"/>
                <a:gd name="connsiteY70" fmla="*/ 1273175 h 1311275"/>
                <a:gd name="connsiteX71" fmla="*/ 1651000 w 1867569"/>
                <a:gd name="connsiteY71" fmla="*/ 1289050 h 1311275"/>
                <a:gd name="connsiteX72" fmla="*/ 1660525 w 1867569"/>
                <a:gd name="connsiteY72" fmla="*/ 1308100 h 1311275"/>
                <a:gd name="connsiteX73" fmla="*/ 1685925 w 1867569"/>
                <a:gd name="connsiteY73" fmla="*/ 1311275 h 1311275"/>
                <a:gd name="connsiteX74" fmla="*/ 1717675 w 1867569"/>
                <a:gd name="connsiteY74" fmla="*/ 1295400 h 1311275"/>
                <a:gd name="connsiteX75" fmla="*/ 1727200 w 1867569"/>
                <a:gd name="connsiteY75" fmla="*/ 1292225 h 1311275"/>
                <a:gd name="connsiteX76" fmla="*/ 1755775 w 1867569"/>
                <a:gd name="connsiteY76" fmla="*/ 1279525 h 1311275"/>
                <a:gd name="connsiteX77" fmla="*/ 1765300 w 1867569"/>
                <a:gd name="connsiteY77" fmla="*/ 1276350 h 1311275"/>
                <a:gd name="connsiteX78" fmla="*/ 1790700 w 1867569"/>
                <a:gd name="connsiteY78" fmla="*/ 1276350 h 1311275"/>
                <a:gd name="connsiteX79" fmla="*/ 1809750 w 1867569"/>
                <a:gd name="connsiteY79" fmla="*/ 1238250 h 1311275"/>
                <a:gd name="connsiteX80" fmla="*/ 1790700 w 1867569"/>
                <a:gd name="connsiteY80" fmla="*/ 1187450 h 1311275"/>
                <a:gd name="connsiteX81" fmla="*/ 1793875 w 1867569"/>
                <a:gd name="connsiteY81" fmla="*/ 1158875 h 1311275"/>
                <a:gd name="connsiteX82" fmla="*/ 1797050 w 1867569"/>
                <a:gd name="connsiteY82" fmla="*/ 1149350 h 1311275"/>
                <a:gd name="connsiteX83" fmla="*/ 1806575 w 1867569"/>
                <a:gd name="connsiteY83" fmla="*/ 1143000 h 1311275"/>
                <a:gd name="connsiteX84" fmla="*/ 1819275 w 1867569"/>
                <a:gd name="connsiteY84" fmla="*/ 1133475 h 1311275"/>
                <a:gd name="connsiteX85" fmla="*/ 1831975 w 1867569"/>
                <a:gd name="connsiteY85" fmla="*/ 1114425 h 1311275"/>
                <a:gd name="connsiteX86" fmla="*/ 1847850 w 1867569"/>
                <a:gd name="connsiteY86" fmla="*/ 1095375 h 1311275"/>
                <a:gd name="connsiteX87" fmla="*/ 1851025 w 1867569"/>
                <a:gd name="connsiteY87" fmla="*/ 1085850 h 1311275"/>
                <a:gd name="connsiteX88" fmla="*/ 1847850 w 1867569"/>
                <a:gd name="connsiteY88" fmla="*/ 1054100 h 1311275"/>
                <a:gd name="connsiteX89" fmla="*/ 1825625 w 1867569"/>
                <a:gd name="connsiteY89" fmla="*/ 1028700 h 1311275"/>
                <a:gd name="connsiteX90" fmla="*/ 1816100 w 1867569"/>
                <a:gd name="connsiteY90" fmla="*/ 1019175 h 1311275"/>
                <a:gd name="connsiteX91" fmla="*/ 1806575 w 1867569"/>
                <a:gd name="connsiteY91" fmla="*/ 1012825 h 1311275"/>
                <a:gd name="connsiteX92" fmla="*/ 1787525 w 1867569"/>
                <a:gd name="connsiteY92" fmla="*/ 990600 h 1311275"/>
                <a:gd name="connsiteX93" fmla="*/ 1787525 w 1867569"/>
                <a:gd name="connsiteY93" fmla="*/ 942975 h 1311275"/>
                <a:gd name="connsiteX94" fmla="*/ 1790700 w 1867569"/>
                <a:gd name="connsiteY94" fmla="*/ 933450 h 1311275"/>
                <a:gd name="connsiteX95" fmla="*/ 1809750 w 1867569"/>
                <a:gd name="connsiteY95" fmla="*/ 917575 h 1311275"/>
                <a:gd name="connsiteX96" fmla="*/ 1816100 w 1867569"/>
                <a:gd name="connsiteY96" fmla="*/ 908050 h 1311275"/>
                <a:gd name="connsiteX97" fmla="*/ 1809750 w 1867569"/>
                <a:gd name="connsiteY97" fmla="*/ 898525 h 1311275"/>
                <a:gd name="connsiteX98" fmla="*/ 1787525 w 1867569"/>
                <a:gd name="connsiteY98" fmla="*/ 869950 h 1311275"/>
                <a:gd name="connsiteX99" fmla="*/ 1778000 w 1867569"/>
                <a:gd name="connsiteY99" fmla="*/ 841375 h 1311275"/>
                <a:gd name="connsiteX100" fmla="*/ 1774825 w 1867569"/>
                <a:gd name="connsiteY100" fmla="*/ 831850 h 1311275"/>
                <a:gd name="connsiteX101" fmla="*/ 1758950 w 1867569"/>
                <a:gd name="connsiteY101" fmla="*/ 803275 h 1311275"/>
                <a:gd name="connsiteX102" fmla="*/ 1765300 w 1867569"/>
                <a:gd name="connsiteY102" fmla="*/ 679450 h 1311275"/>
                <a:gd name="connsiteX103" fmla="*/ 1784350 w 1867569"/>
                <a:gd name="connsiteY103" fmla="*/ 673100 h 1311275"/>
                <a:gd name="connsiteX104" fmla="*/ 1793875 w 1867569"/>
                <a:gd name="connsiteY104" fmla="*/ 669925 h 1311275"/>
                <a:gd name="connsiteX105" fmla="*/ 1806575 w 1867569"/>
                <a:gd name="connsiteY105" fmla="*/ 660400 h 1311275"/>
                <a:gd name="connsiteX106" fmla="*/ 1812925 w 1867569"/>
                <a:gd name="connsiteY106" fmla="*/ 625475 h 1311275"/>
                <a:gd name="connsiteX107" fmla="*/ 1812925 w 1867569"/>
                <a:gd name="connsiteY107" fmla="*/ 488950 h 1311275"/>
                <a:gd name="connsiteX108" fmla="*/ 1806575 w 1867569"/>
                <a:gd name="connsiteY108" fmla="*/ 469900 h 1311275"/>
                <a:gd name="connsiteX109" fmla="*/ 1793875 w 1867569"/>
                <a:gd name="connsiteY109" fmla="*/ 454025 h 1311275"/>
                <a:gd name="connsiteX110" fmla="*/ 1790700 w 1867569"/>
                <a:gd name="connsiteY110" fmla="*/ 406400 h 1311275"/>
                <a:gd name="connsiteX111" fmla="*/ 1768475 w 1867569"/>
                <a:gd name="connsiteY111" fmla="*/ 403225 h 1311275"/>
                <a:gd name="connsiteX112" fmla="*/ 1771650 w 1867569"/>
                <a:gd name="connsiteY112" fmla="*/ 393700 h 1311275"/>
                <a:gd name="connsiteX113" fmla="*/ 1778000 w 1867569"/>
                <a:gd name="connsiteY113" fmla="*/ 384175 h 1311275"/>
                <a:gd name="connsiteX114" fmla="*/ 1749425 w 1867569"/>
                <a:gd name="connsiteY114" fmla="*/ 371475 h 1311275"/>
                <a:gd name="connsiteX115" fmla="*/ 1739900 w 1867569"/>
                <a:gd name="connsiteY115" fmla="*/ 365125 h 1311275"/>
                <a:gd name="connsiteX116" fmla="*/ 1730375 w 1867569"/>
                <a:gd name="connsiteY116" fmla="*/ 361950 h 1311275"/>
                <a:gd name="connsiteX117" fmla="*/ 1736725 w 1867569"/>
                <a:gd name="connsiteY117" fmla="*/ 336550 h 1311275"/>
                <a:gd name="connsiteX118" fmla="*/ 1749425 w 1867569"/>
                <a:gd name="connsiteY118" fmla="*/ 330200 h 1311275"/>
                <a:gd name="connsiteX119" fmla="*/ 1758950 w 1867569"/>
                <a:gd name="connsiteY119" fmla="*/ 327025 h 1311275"/>
                <a:gd name="connsiteX120" fmla="*/ 1778000 w 1867569"/>
                <a:gd name="connsiteY120" fmla="*/ 317500 h 1311275"/>
                <a:gd name="connsiteX121" fmla="*/ 1774825 w 1867569"/>
                <a:gd name="connsiteY121" fmla="*/ 307975 h 1311275"/>
                <a:gd name="connsiteX122" fmla="*/ 1765300 w 1867569"/>
                <a:gd name="connsiteY122" fmla="*/ 301625 h 1311275"/>
                <a:gd name="connsiteX123" fmla="*/ 1743075 w 1867569"/>
                <a:gd name="connsiteY123" fmla="*/ 295275 h 1311275"/>
                <a:gd name="connsiteX124" fmla="*/ 1758950 w 1867569"/>
                <a:gd name="connsiteY124" fmla="*/ 266700 h 1311275"/>
                <a:gd name="connsiteX125" fmla="*/ 1768475 w 1867569"/>
                <a:gd name="connsiteY125" fmla="*/ 263525 h 1311275"/>
                <a:gd name="connsiteX126" fmla="*/ 1816100 w 1867569"/>
                <a:gd name="connsiteY126" fmla="*/ 266700 h 1311275"/>
                <a:gd name="connsiteX127" fmla="*/ 1854200 w 1867569"/>
                <a:gd name="connsiteY127" fmla="*/ 273050 h 1311275"/>
                <a:gd name="connsiteX128" fmla="*/ 1866900 w 1867569"/>
                <a:gd name="connsiteY128" fmla="*/ 269875 h 1311275"/>
                <a:gd name="connsiteX129" fmla="*/ 1857375 w 1867569"/>
                <a:gd name="connsiteY129" fmla="*/ 247650 h 1311275"/>
                <a:gd name="connsiteX130" fmla="*/ 1851025 w 1867569"/>
                <a:gd name="connsiteY130" fmla="*/ 234950 h 1311275"/>
                <a:gd name="connsiteX131" fmla="*/ 1720850 w 1867569"/>
                <a:gd name="connsiteY131" fmla="*/ 133350 h 1311275"/>
                <a:gd name="connsiteX132" fmla="*/ 1695450 w 1867569"/>
                <a:gd name="connsiteY132" fmla="*/ 146050 h 1311275"/>
                <a:gd name="connsiteX133" fmla="*/ 1676400 w 1867569"/>
                <a:gd name="connsiteY133" fmla="*/ 152400 h 1311275"/>
                <a:gd name="connsiteX134" fmla="*/ 1631950 w 1867569"/>
                <a:gd name="connsiteY134" fmla="*/ 190500 h 1311275"/>
                <a:gd name="connsiteX135" fmla="*/ 1625600 w 1867569"/>
                <a:gd name="connsiteY135" fmla="*/ 200025 h 1311275"/>
                <a:gd name="connsiteX136" fmla="*/ 1612900 w 1867569"/>
                <a:gd name="connsiteY136" fmla="*/ 203200 h 1311275"/>
                <a:gd name="connsiteX137" fmla="*/ 1584325 w 1867569"/>
                <a:gd name="connsiteY137" fmla="*/ 193675 h 1311275"/>
                <a:gd name="connsiteX138" fmla="*/ 1571625 w 1867569"/>
                <a:gd name="connsiteY138" fmla="*/ 174625 h 1311275"/>
                <a:gd name="connsiteX139" fmla="*/ 1552575 w 1867569"/>
                <a:gd name="connsiteY139" fmla="*/ 193675 h 1311275"/>
                <a:gd name="connsiteX140" fmla="*/ 1530350 w 1867569"/>
                <a:gd name="connsiteY140" fmla="*/ 203200 h 1311275"/>
                <a:gd name="connsiteX141" fmla="*/ 1511300 w 1867569"/>
                <a:gd name="connsiteY141" fmla="*/ 206375 h 1311275"/>
                <a:gd name="connsiteX142" fmla="*/ 1498600 w 1867569"/>
                <a:gd name="connsiteY142" fmla="*/ 209550 h 1311275"/>
                <a:gd name="connsiteX143" fmla="*/ 1482725 w 1867569"/>
                <a:gd name="connsiteY143" fmla="*/ 219075 h 1311275"/>
                <a:gd name="connsiteX144" fmla="*/ 1482725 w 1867569"/>
                <a:gd name="connsiteY144" fmla="*/ 142875 h 1311275"/>
                <a:gd name="connsiteX145" fmla="*/ 1457325 w 1867569"/>
                <a:gd name="connsiteY145" fmla="*/ 117475 h 1311275"/>
                <a:gd name="connsiteX146" fmla="*/ 1438275 w 1867569"/>
                <a:gd name="connsiteY146" fmla="*/ 114300 h 1311275"/>
                <a:gd name="connsiteX147" fmla="*/ 1409700 w 1867569"/>
                <a:gd name="connsiteY147" fmla="*/ 117475 h 1311275"/>
                <a:gd name="connsiteX148" fmla="*/ 1371600 w 1867569"/>
                <a:gd name="connsiteY148" fmla="*/ 120650 h 1311275"/>
                <a:gd name="connsiteX149" fmla="*/ 1358900 w 1867569"/>
                <a:gd name="connsiteY149" fmla="*/ 139700 h 1311275"/>
                <a:gd name="connsiteX150" fmla="*/ 1343025 w 1867569"/>
                <a:gd name="connsiteY150" fmla="*/ 165100 h 1311275"/>
                <a:gd name="connsiteX151" fmla="*/ 1320800 w 1867569"/>
                <a:gd name="connsiteY151" fmla="*/ 187325 h 1311275"/>
                <a:gd name="connsiteX152" fmla="*/ 1285875 w 1867569"/>
                <a:gd name="connsiteY152" fmla="*/ 196850 h 1311275"/>
                <a:gd name="connsiteX153" fmla="*/ 1250950 w 1867569"/>
                <a:gd name="connsiteY153" fmla="*/ 206375 h 1311275"/>
                <a:gd name="connsiteX154" fmla="*/ 1235075 w 1867569"/>
                <a:gd name="connsiteY154" fmla="*/ 203200 h 1311275"/>
                <a:gd name="connsiteX155" fmla="*/ 1225550 w 1867569"/>
                <a:gd name="connsiteY155" fmla="*/ 200025 h 1311275"/>
                <a:gd name="connsiteX156" fmla="*/ 1190625 w 1867569"/>
                <a:gd name="connsiteY156" fmla="*/ 200025 h 1311275"/>
                <a:gd name="connsiteX157" fmla="*/ 1079500 w 1867569"/>
                <a:gd name="connsiteY157" fmla="*/ 234950 h 1311275"/>
                <a:gd name="connsiteX158" fmla="*/ 1063625 w 1867569"/>
                <a:gd name="connsiteY158" fmla="*/ 212725 h 1311275"/>
                <a:gd name="connsiteX159" fmla="*/ 1060450 w 1867569"/>
                <a:gd name="connsiteY159" fmla="*/ 203200 h 1311275"/>
                <a:gd name="connsiteX160" fmla="*/ 1044575 w 1867569"/>
                <a:gd name="connsiteY160" fmla="*/ 200025 h 1311275"/>
                <a:gd name="connsiteX161" fmla="*/ 1025525 w 1867569"/>
                <a:gd name="connsiteY161" fmla="*/ 193675 h 1311275"/>
                <a:gd name="connsiteX162" fmla="*/ 1016000 w 1867569"/>
                <a:gd name="connsiteY162" fmla="*/ 190500 h 1311275"/>
                <a:gd name="connsiteX163" fmla="*/ 971550 w 1867569"/>
                <a:gd name="connsiteY163" fmla="*/ 104775 h 1311275"/>
                <a:gd name="connsiteX164" fmla="*/ 933450 w 1867569"/>
                <a:gd name="connsiteY164" fmla="*/ 92075 h 1311275"/>
                <a:gd name="connsiteX165" fmla="*/ 911225 w 1867569"/>
                <a:gd name="connsiteY165" fmla="*/ 88900 h 1311275"/>
                <a:gd name="connsiteX166" fmla="*/ 895350 w 1867569"/>
                <a:gd name="connsiteY166" fmla="*/ 85725 h 1311275"/>
                <a:gd name="connsiteX167" fmla="*/ 825500 w 1867569"/>
                <a:gd name="connsiteY167" fmla="*/ 73025 h 1311275"/>
                <a:gd name="connsiteX168" fmla="*/ 787400 w 1867569"/>
                <a:gd name="connsiteY168" fmla="*/ 0 h 1311275"/>
                <a:gd name="connsiteX169" fmla="*/ 571500 w 1867569"/>
                <a:gd name="connsiteY169" fmla="*/ 352425 h 1311275"/>
                <a:gd name="connsiteX170" fmla="*/ 555625 w 1867569"/>
                <a:gd name="connsiteY170" fmla="*/ 311150 h 1311275"/>
                <a:gd name="connsiteX171" fmla="*/ 552450 w 1867569"/>
                <a:gd name="connsiteY171" fmla="*/ 301625 h 1311275"/>
                <a:gd name="connsiteX172" fmla="*/ 546100 w 1867569"/>
                <a:gd name="connsiteY172" fmla="*/ 285750 h 1311275"/>
                <a:gd name="connsiteX173" fmla="*/ 542925 w 1867569"/>
                <a:gd name="connsiteY173" fmla="*/ 276225 h 1311275"/>
                <a:gd name="connsiteX174" fmla="*/ 533400 w 1867569"/>
                <a:gd name="connsiteY174" fmla="*/ 266700 h 1311275"/>
                <a:gd name="connsiteX175" fmla="*/ 530225 w 1867569"/>
                <a:gd name="connsiteY175" fmla="*/ 257175 h 1311275"/>
                <a:gd name="connsiteX176" fmla="*/ 520700 w 1867569"/>
                <a:gd name="connsiteY176" fmla="*/ 254000 h 1311275"/>
                <a:gd name="connsiteX177" fmla="*/ 508000 w 1867569"/>
                <a:gd name="connsiteY177" fmla="*/ 244475 h 1311275"/>
                <a:gd name="connsiteX178" fmla="*/ 498475 w 1867569"/>
                <a:gd name="connsiteY178" fmla="*/ 225425 h 1311275"/>
                <a:gd name="connsiteX179" fmla="*/ 479425 w 1867569"/>
                <a:gd name="connsiteY179" fmla="*/ 212725 h 1311275"/>
                <a:gd name="connsiteX180" fmla="*/ 438150 w 1867569"/>
                <a:gd name="connsiteY180" fmla="*/ 219075 h 1311275"/>
                <a:gd name="connsiteX181" fmla="*/ 422275 w 1867569"/>
                <a:gd name="connsiteY181" fmla="*/ 225425 h 1311275"/>
                <a:gd name="connsiteX182" fmla="*/ 393700 w 1867569"/>
                <a:gd name="connsiteY182" fmla="*/ 238125 h 1311275"/>
                <a:gd name="connsiteX183" fmla="*/ 374650 w 1867569"/>
                <a:gd name="connsiteY183" fmla="*/ 260350 h 1311275"/>
                <a:gd name="connsiteX184" fmla="*/ 368300 w 1867569"/>
                <a:gd name="connsiteY184" fmla="*/ 269875 h 1311275"/>
                <a:gd name="connsiteX185" fmla="*/ 352425 w 1867569"/>
                <a:gd name="connsiteY185" fmla="*/ 292100 h 1311275"/>
                <a:gd name="connsiteX186" fmla="*/ 339725 w 1867569"/>
                <a:gd name="connsiteY186" fmla="*/ 311150 h 1311275"/>
                <a:gd name="connsiteX187" fmla="*/ 327025 w 1867569"/>
                <a:gd name="connsiteY187" fmla="*/ 317500 h 1311275"/>
                <a:gd name="connsiteX188" fmla="*/ 317500 w 1867569"/>
                <a:gd name="connsiteY188" fmla="*/ 327025 h 1311275"/>
                <a:gd name="connsiteX189" fmla="*/ 228600 w 1867569"/>
                <a:gd name="connsiteY189" fmla="*/ 292100 h 1311275"/>
                <a:gd name="connsiteX190" fmla="*/ 139700 w 1867569"/>
                <a:gd name="connsiteY190" fmla="*/ 276225 h 1311275"/>
                <a:gd name="connsiteX191" fmla="*/ 117475 w 1867569"/>
                <a:gd name="connsiteY191" fmla="*/ 295275 h 1311275"/>
                <a:gd name="connsiteX192" fmla="*/ 107950 w 1867569"/>
                <a:gd name="connsiteY192" fmla="*/ 301625 h 1311275"/>
                <a:gd name="connsiteX193" fmla="*/ 92075 w 1867569"/>
                <a:gd name="connsiteY193" fmla="*/ 314325 h 1311275"/>
                <a:gd name="connsiteX194" fmla="*/ 85725 w 1867569"/>
                <a:gd name="connsiteY194" fmla="*/ 327025 h 1311275"/>
                <a:gd name="connsiteX195" fmla="*/ 79375 w 1867569"/>
                <a:gd name="connsiteY195" fmla="*/ 336550 h 1311275"/>
                <a:gd name="connsiteX196" fmla="*/ 76200 w 1867569"/>
                <a:gd name="connsiteY196" fmla="*/ 352425 h 1311275"/>
                <a:gd name="connsiteX197" fmla="*/ 69850 w 1867569"/>
                <a:gd name="connsiteY197" fmla="*/ 371475 h 1311275"/>
                <a:gd name="connsiteX198" fmla="*/ 66675 w 1867569"/>
                <a:gd name="connsiteY198" fmla="*/ 381000 h 1311275"/>
                <a:gd name="connsiteX199" fmla="*/ 34925 w 1867569"/>
                <a:gd name="connsiteY199" fmla="*/ 406400 h 1311275"/>
                <a:gd name="connsiteX200" fmla="*/ 28575 w 1867569"/>
                <a:gd name="connsiteY200" fmla="*/ 415925 h 1311275"/>
                <a:gd name="connsiteX201" fmla="*/ 19050 w 1867569"/>
                <a:gd name="connsiteY201" fmla="*/ 422275 h 1311275"/>
                <a:gd name="connsiteX202" fmla="*/ 6350 w 1867569"/>
                <a:gd name="connsiteY202" fmla="*/ 431800 h 1311275"/>
                <a:gd name="connsiteX203" fmla="*/ 0 w 1867569"/>
                <a:gd name="connsiteY203" fmla="*/ 441325 h 1311275"/>
                <a:gd name="connsiteX204" fmla="*/ 9525 w 1867569"/>
                <a:gd name="connsiteY204" fmla="*/ 469900 h 1311275"/>
                <a:gd name="connsiteX205" fmla="*/ 12700 w 1867569"/>
                <a:gd name="connsiteY205" fmla="*/ 479425 h 1311275"/>
                <a:gd name="connsiteX206" fmla="*/ 22225 w 1867569"/>
                <a:gd name="connsiteY206" fmla="*/ 485775 h 1311275"/>
                <a:gd name="connsiteX207" fmla="*/ 28575 w 1867569"/>
                <a:gd name="connsiteY207" fmla="*/ 495300 h 1311275"/>
                <a:gd name="connsiteX208" fmla="*/ 34925 w 1867569"/>
                <a:gd name="connsiteY208" fmla="*/ 514350 h 1311275"/>
                <a:gd name="connsiteX209" fmla="*/ 28575 w 1867569"/>
                <a:gd name="connsiteY209" fmla="*/ 546100 h 1311275"/>
                <a:gd name="connsiteX210" fmla="*/ 6350 w 1867569"/>
                <a:gd name="connsiteY210" fmla="*/ 552450 h 1311275"/>
                <a:gd name="connsiteX0" fmla="*/ 6350 w 1867569"/>
                <a:gd name="connsiteY0" fmla="*/ 552450 h 1311275"/>
                <a:gd name="connsiteX1" fmla="*/ 6350 w 1867569"/>
                <a:gd name="connsiteY1" fmla="*/ 552450 h 1311275"/>
                <a:gd name="connsiteX2" fmla="*/ 25400 w 1867569"/>
                <a:gd name="connsiteY2" fmla="*/ 577850 h 1311275"/>
                <a:gd name="connsiteX3" fmla="*/ 31750 w 1867569"/>
                <a:gd name="connsiteY3" fmla="*/ 587375 h 1311275"/>
                <a:gd name="connsiteX4" fmla="*/ 34925 w 1867569"/>
                <a:gd name="connsiteY4" fmla="*/ 631825 h 1311275"/>
                <a:gd name="connsiteX5" fmla="*/ 44450 w 1867569"/>
                <a:gd name="connsiteY5" fmla="*/ 657225 h 1311275"/>
                <a:gd name="connsiteX6" fmla="*/ 146050 w 1867569"/>
                <a:gd name="connsiteY6" fmla="*/ 676275 h 1311275"/>
                <a:gd name="connsiteX7" fmla="*/ 168275 w 1867569"/>
                <a:gd name="connsiteY7" fmla="*/ 692150 h 1311275"/>
                <a:gd name="connsiteX8" fmla="*/ 177800 w 1867569"/>
                <a:gd name="connsiteY8" fmla="*/ 695325 h 1311275"/>
                <a:gd name="connsiteX9" fmla="*/ 196850 w 1867569"/>
                <a:gd name="connsiteY9" fmla="*/ 711200 h 1311275"/>
                <a:gd name="connsiteX10" fmla="*/ 212725 w 1867569"/>
                <a:gd name="connsiteY10" fmla="*/ 733425 h 1311275"/>
                <a:gd name="connsiteX11" fmla="*/ 215900 w 1867569"/>
                <a:gd name="connsiteY11" fmla="*/ 742950 h 1311275"/>
                <a:gd name="connsiteX12" fmla="*/ 241300 w 1867569"/>
                <a:gd name="connsiteY12" fmla="*/ 758825 h 1311275"/>
                <a:gd name="connsiteX13" fmla="*/ 317500 w 1867569"/>
                <a:gd name="connsiteY13" fmla="*/ 777875 h 1311275"/>
                <a:gd name="connsiteX14" fmla="*/ 346075 w 1867569"/>
                <a:gd name="connsiteY14" fmla="*/ 755650 h 1311275"/>
                <a:gd name="connsiteX15" fmla="*/ 368300 w 1867569"/>
                <a:gd name="connsiteY15" fmla="*/ 739775 h 1311275"/>
                <a:gd name="connsiteX16" fmla="*/ 377825 w 1867569"/>
                <a:gd name="connsiteY16" fmla="*/ 733425 h 1311275"/>
                <a:gd name="connsiteX17" fmla="*/ 400050 w 1867569"/>
                <a:gd name="connsiteY17" fmla="*/ 730250 h 1311275"/>
                <a:gd name="connsiteX18" fmla="*/ 415925 w 1867569"/>
                <a:gd name="connsiteY18" fmla="*/ 723900 h 1311275"/>
                <a:gd name="connsiteX19" fmla="*/ 482600 w 1867569"/>
                <a:gd name="connsiteY19" fmla="*/ 777875 h 1311275"/>
                <a:gd name="connsiteX20" fmla="*/ 574675 w 1867569"/>
                <a:gd name="connsiteY20" fmla="*/ 774700 h 1311275"/>
                <a:gd name="connsiteX21" fmla="*/ 666750 w 1867569"/>
                <a:gd name="connsiteY21" fmla="*/ 727075 h 1311275"/>
                <a:gd name="connsiteX22" fmla="*/ 714375 w 1867569"/>
                <a:gd name="connsiteY22" fmla="*/ 631825 h 1311275"/>
                <a:gd name="connsiteX23" fmla="*/ 762000 w 1867569"/>
                <a:gd name="connsiteY23" fmla="*/ 679450 h 1311275"/>
                <a:gd name="connsiteX24" fmla="*/ 847725 w 1867569"/>
                <a:gd name="connsiteY24" fmla="*/ 701675 h 1311275"/>
                <a:gd name="connsiteX25" fmla="*/ 977900 w 1867569"/>
                <a:gd name="connsiteY25" fmla="*/ 701675 h 1311275"/>
                <a:gd name="connsiteX26" fmla="*/ 1085850 w 1867569"/>
                <a:gd name="connsiteY26" fmla="*/ 654050 h 1311275"/>
                <a:gd name="connsiteX27" fmla="*/ 1114425 w 1867569"/>
                <a:gd name="connsiteY27" fmla="*/ 660400 h 1311275"/>
                <a:gd name="connsiteX28" fmla="*/ 1127125 w 1867569"/>
                <a:gd name="connsiteY28" fmla="*/ 679450 h 1311275"/>
                <a:gd name="connsiteX29" fmla="*/ 1120775 w 1867569"/>
                <a:gd name="connsiteY29" fmla="*/ 698500 h 1311275"/>
                <a:gd name="connsiteX30" fmla="*/ 1111250 w 1867569"/>
                <a:gd name="connsiteY30" fmla="*/ 711200 h 1311275"/>
                <a:gd name="connsiteX31" fmla="*/ 1190625 w 1867569"/>
                <a:gd name="connsiteY31" fmla="*/ 701675 h 1311275"/>
                <a:gd name="connsiteX32" fmla="*/ 1212850 w 1867569"/>
                <a:gd name="connsiteY32" fmla="*/ 717550 h 1311275"/>
                <a:gd name="connsiteX33" fmla="*/ 1216025 w 1867569"/>
                <a:gd name="connsiteY33" fmla="*/ 752475 h 1311275"/>
                <a:gd name="connsiteX34" fmla="*/ 1222375 w 1867569"/>
                <a:gd name="connsiteY34" fmla="*/ 774700 h 1311275"/>
                <a:gd name="connsiteX35" fmla="*/ 1228725 w 1867569"/>
                <a:gd name="connsiteY35" fmla="*/ 787400 h 1311275"/>
                <a:gd name="connsiteX36" fmla="*/ 1235075 w 1867569"/>
                <a:gd name="connsiteY36" fmla="*/ 796925 h 1311275"/>
                <a:gd name="connsiteX37" fmla="*/ 1235075 w 1867569"/>
                <a:gd name="connsiteY37" fmla="*/ 806450 h 1311275"/>
                <a:gd name="connsiteX38" fmla="*/ 1304925 w 1867569"/>
                <a:gd name="connsiteY38" fmla="*/ 831850 h 1311275"/>
                <a:gd name="connsiteX39" fmla="*/ 1333500 w 1867569"/>
                <a:gd name="connsiteY39" fmla="*/ 825500 h 1311275"/>
                <a:gd name="connsiteX40" fmla="*/ 1349375 w 1867569"/>
                <a:gd name="connsiteY40" fmla="*/ 831850 h 1311275"/>
                <a:gd name="connsiteX41" fmla="*/ 1365250 w 1867569"/>
                <a:gd name="connsiteY41" fmla="*/ 850900 h 1311275"/>
                <a:gd name="connsiteX42" fmla="*/ 1390650 w 1867569"/>
                <a:gd name="connsiteY42" fmla="*/ 854075 h 1311275"/>
                <a:gd name="connsiteX43" fmla="*/ 1390650 w 1867569"/>
                <a:gd name="connsiteY43" fmla="*/ 901700 h 1311275"/>
                <a:gd name="connsiteX44" fmla="*/ 1384300 w 1867569"/>
                <a:gd name="connsiteY44" fmla="*/ 914400 h 1311275"/>
                <a:gd name="connsiteX45" fmla="*/ 1419225 w 1867569"/>
                <a:gd name="connsiteY45" fmla="*/ 952500 h 1311275"/>
                <a:gd name="connsiteX46" fmla="*/ 1447800 w 1867569"/>
                <a:gd name="connsiteY46" fmla="*/ 942975 h 1311275"/>
                <a:gd name="connsiteX47" fmla="*/ 1457325 w 1867569"/>
                <a:gd name="connsiteY47" fmla="*/ 936625 h 1311275"/>
                <a:gd name="connsiteX48" fmla="*/ 1466850 w 1867569"/>
                <a:gd name="connsiteY48" fmla="*/ 933450 h 1311275"/>
                <a:gd name="connsiteX49" fmla="*/ 1504950 w 1867569"/>
                <a:gd name="connsiteY49" fmla="*/ 936625 h 1311275"/>
                <a:gd name="connsiteX50" fmla="*/ 1508125 w 1867569"/>
                <a:gd name="connsiteY50" fmla="*/ 968375 h 1311275"/>
                <a:gd name="connsiteX51" fmla="*/ 1517650 w 1867569"/>
                <a:gd name="connsiteY51" fmla="*/ 1000125 h 1311275"/>
                <a:gd name="connsiteX52" fmla="*/ 1520825 w 1867569"/>
                <a:gd name="connsiteY52" fmla="*/ 1009650 h 1311275"/>
                <a:gd name="connsiteX53" fmla="*/ 1524000 w 1867569"/>
                <a:gd name="connsiteY53" fmla="*/ 1019175 h 1311275"/>
                <a:gd name="connsiteX54" fmla="*/ 1530350 w 1867569"/>
                <a:gd name="connsiteY54" fmla="*/ 1050925 h 1311275"/>
                <a:gd name="connsiteX55" fmla="*/ 1527175 w 1867569"/>
                <a:gd name="connsiteY55" fmla="*/ 1089025 h 1311275"/>
                <a:gd name="connsiteX56" fmla="*/ 1498600 w 1867569"/>
                <a:gd name="connsiteY56" fmla="*/ 1104900 h 1311275"/>
                <a:gd name="connsiteX57" fmla="*/ 1485900 w 1867569"/>
                <a:gd name="connsiteY57" fmla="*/ 1114425 h 1311275"/>
                <a:gd name="connsiteX58" fmla="*/ 1482725 w 1867569"/>
                <a:gd name="connsiteY58" fmla="*/ 1139825 h 1311275"/>
                <a:gd name="connsiteX59" fmla="*/ 1492250 w 1867569"/>
                <a:gd name="connsiteY59" fmla="*/ 1165225 h 1311275"/>
                <a:gd name="connsiteX60" fmla="*/ 1498600 w 1867569"/>
                <a:gd name="connsiteY60" fmla="*/ 1174750 h 1311275"/>
                <a:gd name="connsiteX61" fmla="*/ 1504950 w 1867569"/>
                <a:gd name="connsiteY61" fmla="*/ 1200150 h 1311275"/>
                <a:gd name="connsiteX62" fmla="*/ 1508125 w 1867569"/>
                <a:gd name="connsiteY62" fmla="*/ 1276350 h 1311275"/>
                <a:gd name="connsiteX63" fmla="*/ 1511300 w 1867569"/>
                <a:gd name="connsiteY63" fmla="*/ 1285875 h 1311275"/>
                <a:gd name="connsiteX64" fmla="*/ 1530350 w 1867569"/>
                <a:gd name="connsiteY64" fmla="*/ 1298575 h 1311275"/>
                <a:gd name="connsiteX65" fmla="*/ 1549400 w 1867569"/>
                <a:gd name="connsiteY65" fmla="*/ 1295400 h 1311275"/>
                <a:gd name="connsiteX66" fmla="*/ 1558925 w 1867569"/>
                <a:gd name="connsiteY66" fmla="*/ 1289050 h 1311275"/>
                <a:gd name="connsiteX67" fmla="*/ 1571625 w 1867569"/>
                <a:gd name="connsiteY67" fmla="*/ 1282700 h 1311275"/>
                <a:gd name="connsiteX68" fmla="*/ 1581150 w 1867569"/>
                <a:gd name="connsiteY68" fmla="*/ 1276350 h 1311275"/>
                <a:gd name="connsiteX69" fmla="*/ 1600200 w 1867569"/>
                <a:gd name="connsiteY69" fmla="*/ 1270000 h 1311275"/>
                <a:gd name="connsiteX70" fmla="*/ 1647825 w 1867569"/>
                <a:gd name="connsiteY70" fmla="*/ 1273175 h 1311275"/>
                <a:gd name="connsiteX71" fmla="*/ 1651000 w 1867569"/>
                <a:gd name="connsiteY71" fmla="*/ 1289050 h 1311275"/>
                <a:gd name="connsiteX72" fmla="*/ 1660525 w 1867569"/>
                <a:gd name="connsiteY72" fmla="*/ 1308100 h 1311275"/>
                <a:gd name="connsiteX73" fmla="*/ 1685925 w 1867569"/>
                <a:gd name="connsiteY73" fmla="*/ 1311275 h 1311275"/>
                <a:gd name="connsiteX74" fmla="*/ 1717675 w 1867569"/>
                <a:gd name="connsiteY74" fmla="*/ 1295400 h 1311275"/>
                <a:gd name="connsiteX75" fmla="*/ 1727200 w 1867569"/>
                <a:gd name="connsiteY75" fmla="*/ 1292225 h 1311275"/>
                <a:gd name="connsiteX76" fmla="*/ 1755775 w 1867569"/>
                <a:gd name="connsiteY76" fmla="*/ 1279525 h 1311275"/>
                <a:gd name="connsiteX77" fmla="*/ 1765300 w 1867569"/>
                <a:gd name="connsiteY77" fmla="*/ 1276350 h 1311275"/>
                <a:gd name="connsiteX78" fmla="*/ 1790700 w 1867569"/>
                <a:gd name="connsiteY78" fmla="*/ 1276350 h 1311275"/>
                <a:gd name="connsiteX79" fmla="*/ 1809750 w 1867569"/>
                <a:gd name="connsiteY79" fmla="*/ 1238250 h 1311275"/>
                <a:gd name="connsiteX80" fmla="*/ 1790700 w 1867569"/>
                <a:gd name="connsiteY80" fmla="*/ 1187450 h 1311275"/>
                <a:gd name="connsiteX81" fmla="*/ 1793875 w 1867569"/>
                <a:gd name="connsiteY81" fmla="*/ 1158875 h 1311275"/>
                <a:gd name="connsiteX82" fmla="*/ 1797050 w 1867569"/>
                <a:gd name="connsiteY82" fmla="*/ 1149350 h 1311275"/>
                <a:gd name="connsiteX83" fmla="*/ 1806575 w 1867569"/>
                <a:gd name="connsiteY83" fmla="*/ 1143000 h 1311275"/>
                <a:gd name="connsiteX84" fmla="*/ 1819275 w 1867569"/>
                <a:gd name="connsiteY84" fmla="*/ 1133475 h 1311275"/>
                <a:gd name="connsiteX85" fmla="*/ 1831975 w 1867569"/>
                <a:gd name="connsiteY85" fmla="*/ 1114425 h 1311275"/>
                <a:gd name="connsiteX86" fmla="*/ 1847850 w 1867569"/>
                <a:gd name="connsiteY86" fmla="*/ 1095375 h 1311275"/>
                <a:gd name="connsiteX87" fmla="*/ 1851025 w 1867569"/>
                <a:gd name="connsiteY87" fmla="*/ 1085850 h 1311275"/>
                <a:gd name="connsiteX88" fmla="*/ 1847850 w 1867569"/>
                <a:gd name="connsiteY88" fmla="*/ 1054100 h 1311275"/>
                <a:gd name="connsiteX89" fmla="*/ 1825625 w 1867569"/>
                <a:gd name="connsiteY89" fmla="*/ 1028700 h 1311275"/>
                <a:gd name="connsiteX90" fmla="*/ 1816100 w 1867569"/>
                <a:gd name="connsiteY90" fmla="*/ 1019175 h 1311275"/>
                <a:gd name="connsiteX91" fmla="*/ 1806575 w 1867569"/>
                <a:gd name="connsiteY91" fmla="*/ 1012825 h 1311275"/>
                <a:gd name="connsiteX92" fmla="*/ 1787525 w 1867569"/>
                <a:gd name="connsiteY92" fmla="*/ 990600 h 1311275"/>
                <a:gd name="connsiteX93" fmla="*/ 1787525 w 1867569"/>
                <a:gd name="connsiteY93" fmla="*/ 942975 h 1311275"/>
                <a:gd name="connsiteX94" fmla="*/ 1790700 w 1867569"/>
                <a:gd name="connsiteY94" fmla="*/ 933450 h 1311275"/>
                <a:gd name="connsiteX95" fmla="*/ 1809750 w 1867569"/>
                <a:gd name="connsiteY95" fmla="*/ 917575 h 1311275"/>
                <a:gd name="connsiteX96" fmla="*/ 1816100 w 1867569"/>
                <a:gd name="connsiteY96" fmla="*/ 908050 h 1311275"/>
                <a:gd name="connsiteX97" fmla="*/ 1809750 w 1867569"/>
                <a:gd name="connsiteY97" fmla="*/ 898525 h 1311275"/>
                <a:gd name="connsiteX98" fmla="*/ 1787525 w 1867569"/>
                <a:gd name="connsiteY98" fmla="*/ 869950 h 1311275"/>
                <a:gd name="connsiteX99" fmla="*/ 1778000 w 1867569"/>
                <a:gd name="connsiteY99" fmla="*/ 841375 h 1311275"/>
                <a:gd name="connsiteX100" fmla="*/ 1774825 w 1867569"/>
                <a:gd name="connsiteY100" fmla="*/ 831850 h 1311275"/>
                <a:gd name="connsiteX101" fmla="*/ 1758950 w 1867569"/>
                <a:gd name="connsiteY101" fmla="*/ 803275 h 1311275"/>
                <a:gd name="connsiteX102" fmla="*/ 1765300 w 1867569"/>
                <a:gd name="connsiteY102" fmla="*/ 679450 h 1311275"/>
                <a:gd name="connsiteX103" fmla="*/ 1784350 w 1867569"/>
                <a:gd name="connsiteY103" fmla="*/ 673100 h 1311275"/>
                <a:gd name="connsiteX104" fmla="*/ 1793875 w 1867569"/>
                <a:gd name="connsiteY104" fmla="*/ 669925 h 1311275"/>
                <a:gd name="connsiteX105" fmla="*/ 1806575 w 1867569"/>
                <a:gd name="connsiteY105" fmla="*/ 660400 h 1311275"/>
                <a:gd name="connsiteX106" fmla="*/ 1812925 w 1867569"/>
                <a:gd name="connsiteY106" fmla="*/ 625475 h 1311275"/>
                <a:gd name="connsiteX107" fmla="*/ 1812925 w 1867569"/>
                <a:gd name="connsiteY107" fmla="*/ 488950 h 1311275"/>
                <a:gd name="connsiteX108" fmla="*/ 1806575 w 1867569"/>
                <a:gd name="connsiteY108" fmla="*/ 469900 h 1311275"/>
                <a:gd name="connsiteX109" fmla="*/ 1793875 w 1867569"/>
                <a:gd name="connsiteY109" fmla="*/ 454025 h 1311275"/>
                <a:gd name="connsiteX110" fmla="*/ 1790700 w 1867569"/>
                <a:gd name="connsiteY110" fmla="*/ 406400 h 1311275"/>
                <a:gd name="connsiteX111" fmla="*/ 1768475 w 1867569"/>
                <a:gd name="connsiteY111" fmla="*/ 403225 h 1311275"/>
                <a:gd name="connsiteX112" fmla="*/ 1771650 w 1867569"/>
                <a:gd name="connsiteY112" fmla="*/ 393700 h 1311275"/>
                <a:gd name="connsiteX113" fmla="*/ 1778000 w 1867569"/>
                <a:gd name="connsiteY113" fmla="*/ 384175 h 1311275"/>
                <a:gd name="connsiteX114" fmla="*/ 1749425 w 1867569"/>
                <a:gd name="connsiteY114" fmla="*/ 371475 h 1311275"/>
                <a:gd name="connsiteX115" fmla="*/ 1739900 w 1867569"/>
                <a:gd name="connsiteY115" fmla="*/ 365125 h 1311275"/>
                <a:gd name="connsiteX116" fmla="*/ 1730375 w 1867569"/>
                <a:gd name="connsiteY116" fmla="*/ 361950 h 1311275"/>
                <a:gd name="connsiteX117" fmla="*/ 1736725 w 1867569"/>
                <a:gd name="connsiteY117" fmla="*/ 336550 h 1311275"/>
                <a:gd name="connsiteX118" fmla="*/ 1749425 w 1867569"/>
                <a:gd name="connsiteY118" fmla="*/ 330200 h 1311275"/>
                <a:gd name="connsiteX119" fmla="*/ 1758950 w 1867569"/>
                <a:gd name="connsiteY119" fmla="*/ 327025 h 1311275"/>
                <a:gd name="connsiteX120" fmla="*/ 1778000 w 1867569"/>
                <a:gd name="connsiteY120" fmla="*/ 317500 h 1311275"/>
                <a:gd name="connsiteX121" fmla="*/ 1774825 w 1867569"/>
                <a:gd name="connsiteY121" fmla="*/ 307975 h 1311275"/>
                <a:gd name="connsiteX122" fmla="*/ 1765300 w 1867569"/>
                <a:gd name="connsiteY122" fmla="*/ 301625 h 1311275"/>
                <a:gd name="connsiteX123" fmla="*/ 1743075 w 1867569"/>
                <a:gd name="connsiteY123" fmla="*/ 295275 h 1311275"/>
                <a:gd name="connsiteX124" fmla="*/ 1758950 w 1867569"/>
                <a:gd name="connsiteY124" fmla="*/ 266700 h 1311275"/>
                <a:gd name="connsiteX125" fmla="*/ 1768475 w 1867569"/>
                <a:gd name="connsiteY125" fmla="*/ 263525 h 1311275"/>
                <a:gd name="connsiteX126" fmla="*/ 1816100 w 1867569"/>
                <a:gd name="connsiteY126" fmla="*/ 266700 h 1311275"/>
                <a:gd name="connsiteX127" fmla="*/ 1854200 w 1867569"/>
                <a:gd name="connsiteY127" fmla="*/ 273050 h 1311275"/>
                <a:gd name="connsiteX128" fmla="*/ 1866900 w 1867569"/>
                <a:gd name="connsiteY128" fmla="*/ 269875 h 1311275"/>
                <a:gd name="connsiteX129" fmla="*/ 1857375 w 1867569"/>
                <a:gd name="connsiteY129" fmla="*/ 247650 h 1311275"/>
                <a:gd name="connsiteX130" fmla="*/ 1851025 w 1867569"/>
                <a:gd name="connsiteY130" fmla="*/ 234950 h 1311275"/>
                <a:gd name="connsiteX131" fmla="*/ 1720850 w 1867569"/>
                <a:gd name="connsiteY131" fmla="*/ 133350 h 1311275"/>
                <a:gd name="connsiteX132" fmla="*/ 1695450 w 1867569"/>
                <a:gd name="connsiteY132" fmla="*/ 146050 h 1311275"/>
                <a:gd name="connsiteX133" fmla="*/ 1676400 w 1867569"/>
                <a:gd name="connsiteY133" fmla="*/ 152400 h 1311275"/>
                <a:gd name="connsiteX134" fmla="*/ 1631950 w 1867569"/>
                <a:gd name="connsiteY134" fmla="*/ 190500 h 1311275"/>
                <a:gd name="connsiteX135" fmla="*/ 1625600 w 1867569"/>
                <a:gd name="connsiteY135" fmla="*/ 200025 h 1311275"/>
                <a:gd name="connsiteX136" fmla="*/ 1584325 w 1867569"/>
                <a:gd name="connsiteY136" fmla="*/ 193675 h 1311275"/>
                <a:gd name="connsiteX137" fmla="*/ 1571625 w 1867569"/>
                <a:gd name="connsiteY137" fmla="*/ 174625 h 1311275"/>
                <a:gd name="connsiteX138" fmla="*/ 1552575 w 1867569"/>
                <a:gd name="connsiteY138" fmla="*/ 193675 h 1311275"/>
                <a:gd name="connsiteX139" fmla="*/ 1530350 w 1867569"/>
                <a:gd name="connsiteY139" fmla="*/ 203200 h 1311275"/>
                <a:gd name="connsiteX140" fmla="*/ 1511300 w 1867569"/>
                <a:gd name="connsiteY140" fmla="*/ 206375 h 1311275"/>
                <a:gd name="connsiteX141" fmla="*/ 1498600 w 1867569"/>
                <a:gd name="connsiteY141" fmla="*/ 209550 h 1311275"/>
                <a:gd name="connsiteX142" fmla="*/ 1482725 w 1867569"/>
                <a:gd name="connsiteY142" fmla="*/ 219075 h 1311275"/>
                <a:gd name="connsiteX143" fmla="*/ 1482725 w 1867569"/>
                <a:gd name="connsiteY143" fmla="*/ 142875 h 1311275"/>
                <a:gd name="connsiteX144" fmla="*/ 1457325 w 1867569"/>
                <a:gd name="connsiteY144" fmla="*/ 117475 h 1311275"/>
                <a:gd name="connsiteX145" fmla="*/ 1438275 w 1867569"/>
                <a:gd name="connsiteY145" fmla="*/ 114300 h 1311275"/>
                <a:gd name="connsiteX146" fmla="*/ 1409700 w 1867569"/>
                <a:gd name="connsiteY146" fmla="*/ 117475 h 1311275"/>
                <a:gd name="connsiteX147" fmla="*/ 1371600 w 1867569"/>
                <a:gd name="connsiteY147" fmla="*/ 120650 h 1311275"/>
                <a:gd name="connsiteX148" fmla="*/ 1358900 w 1867569"/>
                <a:gd name="connsiteY148" fmla="*/ 139700 h 1311275"/>
                <a:gd name="connsiteX149" fmla="*/ 1343025 w 1867569"/>
                <a:gd name="connsiteY149" fmla="*/ 165100 h 1311275"/>
                <a:gd name="connsiteX150" fmla="*/ 1320800 w 1867569"/>
                <a:gd name="connsiteY150" fmla="*/ 187325 h 1311275"/>
                <a:gd name="connsiteX151" fmla="*/ 1285875 w 1867569"/>
                <a:gd name="connsiteY151" fmla="*/ 196850 h 1311275"/>
                <a:gd name="connsiteX152" fmla="*/ 1250950 w 1867569"/>
                <a:gd name="connsiteY152" fmla="*/ 206375 h 1311275"/>
                <a:gd name="connsiteX153" fmla="*/ 1235075 w 1867569"/>
                <a:gd name="connsiteY153" fmla="*/ 203200 h 1311275"/>
                <a:gd name="connsiteX154" fmla="*/ 1225550 w 1867569"/>
                <a:gd name="connsiteY154" fmla="*/ 200025 h 1311275"/>
                <a:gd name="connsiteX155" fmla="*/ 1190625 w 1867569"/>
                <a:gd name="connsiteY155" fmla="*/ 200025 h 1311275"/>
                <a:gd name="connsiteX156" fmla="*/ 1079500 w 1867569"/>
                <a:gd name="connsiteY156" fmla="*/ 234950 h 1311275"/>
                <a:gd name="connsiteX157" fmla="*/ 1063625 w 1867569"/>
                <a:gd name="connsiteY157" fmla="*/ 212725 h 1311275"/>
                <a:gd name="connsiteX158" fmla="*/ 1060450 w 1867569"/>
                <a:gd name="connsiteY158" fmla="*/ 203200 h 1311275"/>
                <a:gd name="connsiteX159" fmla="*/ 1044575 w 1867569"/>
                <a:gd name="connsiteY159" fmla="*/ 200025 h 1311275"/>
                <a:gd name="connsiteX160" fmla="*/ 1025525 w 1867569"/>
                <a:gd name="connsiteY160" fmla="*/ 193675 h 1311275"/>
                <a:gd name="connsiteX161" fmla="*/ 1016000 w 1867569"/>
                <a:gd name="connsiteY161" fmla="*/ 190500 h 1311275"/>
                <a:gd name="connsiteX162" fmla="*/ 971550 w 1867569"/>
                <a:gd name="connsiteY162" fmla="*/ 104775 h 1311275"/>
                <a:gd name="connsiteX163" fmla="*/ 933450 w 1867569"/>
                <a:gd name="connsiteY163" fmla="*/ 92075 h 1311275"/>
                <a:gd name="connsiteX164" fmla="*/ 911225 w 1867569"/>
                <a:gd name="connsiteY164" fmla="*/ 88900 h 1311275"/>
                <a:gd name="connsiteX165" fmla="*/ 895350 w 1867569"/>
                <a:gd name="connsiteY165" fmla="*/ 85725 h 1311275"/>
                <a:gd name="connsiteX166" fmla="*/ 825500 w 1867569"/>
                <a:gd name="connsiteY166" fmla="*/ 73025 h 1311275"/>
                <a:gd name="connsiteX167" fmla="*/ 787400 w 1867569"/>
                <a:gd name="connsiteY167" fmla="*/ 0 h 1311275"/>
                <a:gd name="connsiteX168" fmla="*/ 571500 w 1867569"/>
                <a:gd name="connsiteY168" fmla="*/ 352425 h 1311275"/>
                <a:gd name="connsiteX169" fmla="*/ 555625 w 1867569"/>
                <a:gd name="connsiteY169" fmla="*/ 311150 h 1311275"/>
                <a:gd name="connsiteX170" fmla="*/ 552450 w 1867569"/>
                <a:gd name="connsiteY170" fmla="*/ 301625 h 1311275"/>
                <a:gd name="connsiteX171" fmla="*/ 546100 w 1867569"/>
                <a:gd name="connsiteY171" fmla="*/ 285750 h 1311275"/>
                <a:gd name="connsiteX172" fmla="*/ 542925 w 1867569"/>
                <a:gd name="connsiteY172" fmla="*/ 276225 h 1311275"/>
                <a:gd name="connsiteX173" fmla="*/ 533400 w 1867569"/>
                <a:gd name="connsiteY173" fmla="*/ 266700 h 1311275"/>
                <a:gd name="connsiteX174" fmla="*/ 530225 w 1867569"/>
                <a:gd name="connsiteY174" fmla="*/ 257175 h 1311275"/>
                <a:gd name="connsiteX175" fmla="*/ 520700 w 1867569"/>
                <a:gd name="connsiteY175" fmla="*/ 254000 h 1311275"/>
                <a:gd name="connsiteX176" fmla="*/ 508000 w 1867569"/>
                <a:gd name="connsiteY176" fmla="*/ 244475 h 1311275"/>
                <a:gd name="connsiteX177" fmla="*/ 498475 w 1867569"/>
                <a:gd name="connsiteY177" fmla="*/ 225425 h 1311275"/>
                <a:gd name="connsiteX178" fmla="*/ 479425 w 1867569"/>
                <a:gd name="connsiteY178" fmla="*/ 212725 h 1311275"/>
                <a:gd name="connsiteX179" fmla="*/ 438150 w 1867569"/>
                <a:gd name="connsiteY179" fmla="*/ 219075 h 1311275"/>
                <a:gd name="connsiteX180" fmla="*/ 422275 w 1867569"/>
                <a:gd name="connsiteY180" fmla="*/ 225425 h 1311275"/>
                <a:gd name="connsiteX181" fmla="*/ 393700 w 1867569"/>
                <a:gd name="connsiteY181" fmla="*/ 238125 h 1311275"/>
                <a:gd name="connsiteX182" fmla="*/ 374650 w 1867569"/>
                <a:gd name="connsiteY182" fmla="*/ 260350 h 1311275"/>
                <a:gd name="connsiteX183" fmla="*/ 368300 w 1867569"/>
                <a:gd name="connsiteY183" fmla="*/ 269875 h 1311275"/>
                <a:gd name="connsiteX184" fmla="*/ 352425 w 1867569"/>
                <a:gd name="connsiteY184" fmla="*/ 292100 h 1311275"/>
                <a:gd name="connsiteX185" fmla="*/ 339725 w 1867569"/>
                <a:gd name="connsiteY185" fmla="*/ 311150 h 1311275"/>
                <a:gd name="connsiteX186" fmla="*/ 327025 w 1867569"/>
                <a:gd name="connsiteY186" fmla="*/ 317500 h 1311275"/>
                <a:gd name="connsiteX187" fmla="*/ 317500 w 1867569"/>
                <a:gd name="connsiteY187" fmla="*/ 327025 h 1311275"/>
                <a:gd name="connsiteX188" fmla="*/ 228600 w 1867569"/>
                <a:gd name="connsiteY188" fmla="*/ 292100 h 1311275"/>
                <a:gd name="connsiteX189" fmla="*/ 139700 w 1867569"/>
                <a:gd name="connsiteY189" fmla="*/ 276225 h 1311275"/>
                <a:gd name="connsiteX190" fmla="*/ 117475 w 1867569"/>
                <a:gd name="connsiteY190" fmla="*/ 295275 h 1311275"/>
                <a:gd name="connsiteX191" fmla="*/ 107950 w 1867569"/>
                <a:gd name="connsiteY191" fmla="*/ 301625 h 1311275"/>
                <a:gd name="connsiteX192" fmla="*/ 92075 w 1867569"/>
                <a:gd name="connsiteY192" fmla="*/ 314325 h 1311275"/>
                <a:gd name="connsiteX193" fmla="*/ 85725 w 1867569"/>
                <a:gd name="connsiteY193" fmla="*/ 327025 h 1311275"/>
                <a:gd name="connsiteX194" fmla="*/ 79375 w 1867569"/>
                <a:gd name="connsiteY194" fmla="*/ 336550 h 1311275"/>
                <a:gd name="connsiteX195" fmla="*/ 76200 w 1867569"/>
                <a:gd name="connsiteY195" fmla="*/ 352425 h 1311275"/>
                <a:gd name="connsiteX196" fmla="*/ 69850 w 1867569"/>
                <a:gd name="connsiteY196" fmla="*/ 371475 h 1311275"/>
                <a:gd name="connsiteX197" fmla="*/ 66675 w 1867569"/>
                <a:gd name="connsiteY197" fmla="*/ 381000 h 1311275"/>
                <a:gd name="connsiteX198" fmla="*/ 34925 w 1867569"/>
                <a:gd name="connsiteY198" fmla="*/ 406400 h 1311275"/>
                <a:gd name="connsiteX199" fmla="*/ 28575 w 1867569"/>
                <a:gd name="connsiteY199" fmla="*/ 415925 h 1311275"/>
                <a:gd name="connsiteX200" fmla="*/ 19050 w 1867569"/>
                <a:gd name="connsiteY200" fmla="*/ 422275 h 1311275"/>
                <a:gd name="connsiteX201" fmla="*/ 6350 w 1867569"/>
                <a:gd name="connsiteY201" fmla="*/ 431800 h 1311275"/>
                <a:gd name="connsiteX202" fmla="*/ 0 w 1867569"/>
                <a:gd name="connsiteY202" fmla="*/ 441325 h 1311275"/>
                <a:gd name="connsiteX203" fmla="*/ 9525 w 1867569"/>
                <a:gd name="connsiteY203" fmla="*/ 469900 h 1311275"/>
                <a:gd name="connsiteX204" fmla="*/ 12700 w 1867569"/>
                <a:gd name="connsiteY204" fmla="*/ 479425 h 1311275"/>
                <a:gd name="connsiteX205" fmla="*/ 22225 w 1867569"/>
                <a:gd name="connsiteY205" fmla="*/ 485775 h 1311275"/>
                <a:gd name="connsiteX206" fmla="*/ 28575 w 1867569"/>
                <a:gd name="connsiteY206" fmla="*/ 495300 h 1311275"/>
                <a:gd name="connsiteX207" fmla="*/ 34925 w 1867569"/>
                <a:gd name="connsiteY207" fmla="*/ 514350 h 1311275"/>
                <a:gd name="connsiteX208" fmla="*/ 28575 w 1867569"/>
                <a:gd name="connsiteY208" fmla="*/ 546100 h 1311275"/>
                <a:gd name="connsiteX209" fmla="*/ 6350 w 1867569"/>
                <a:gd name="connsiteY209" fmla="*/ 552450 h 1311275"/>
                <a:gd name="connsiteX0" fmla="*/ 6350 w 1867569"/>
                <a:gd name="connsiteY0" fmla="*/ 552450 h 1311275"/>
                <a:gd name="connsiteX1" fmla="*/ 6350 w 1867569"/>
                <a:gd name="connsiteY1" fmla="*/ 552450 h 1311275"/>
                <a:gd name="connsiteX2" fmla="*/ 25400 w 1867569"/>
                <a:gd name="connsiteY2" fmla="*/ 577850 h 1311275"/>
                <a:gd name="connsiteX3" fmla="*/ 31750 w 1867569"/>
                <a:gd name="connsiteY3" fmla="*/ 587375 h 1311275"/>
                <a:gd name="connsiteX4" fmla="*/ 34925 w 1867569"/>
                <a:gd name="connsiteY4" fmla="*/ 631825 h 1311275"/>
                <a:gd name="connsiteX5" fmla="*/ 44450 w 1867569"/>
                <a:gd name="connsiteY5" fmla="*/ 657225 h 1311275"/>
                <a:gd name="connsiteX6" fmla="*/ 146050 w 1867569"/>
                <a:gd name="connsiteY6" fmla="*/ 676275 h 1311275"/>
                <a:gd name="connsiteX7" fmla="*/ 168275 w 1867569"/>
                <a:gd name="connsiteY7" fmla="*/ 692150 h 1311275"/>
                <a:gd name="connsiteX8" fmla="*/ 177800 w 1867569"/>
                <a:gd name="connsiteY8" fmla="*/ 695325 h 1311275"/>
                <a:gd name="connsiteX9" fmla="*/ 196850 w 1867569"/>
                <a:gd name="connsiteY9" fmla="*/ 711200 h 1311275"/>
                <a:gd name="connsiteX10" fmla="*/ 212725 w 1867569"/>
                <a:gd name="connsiteY10" fmla="*/ 733425 h 1311275"/>
                <a:gd name="connsiteX11" fmla="*/ 215900 w 1867569"/>
                <a:gd name="connsiteY11" fmla="*/ 742950 h 1311275"/>
                <a:gd name="connsiteX12" fmla="*/ 241300 w 1867569"/>
                <a:gd name="connsiteY12" fmla="*/ 758825 h 1311275"/>
                <a:gd name="connsiteX13" fmla="*/ 317500 w 1867569"/>
                <a:gd name="connsiteY13" fmla="*/ 777875 h 1311275"/>
                <a:gd name="connsiteX14" fmla="*/ 346075 w 1867569"/>
                <a:gd name="connsiteY14" fmla="*/ 755650 h 1311275"/>
                <a:gd name="connsiteX15" fmla="*/ 368300 w 1867569"/>
                <a:gd name="connsiteY15" fmla="*/ 739775 h 1311275"/>
                <a:gd name="connsiteX16" fmla="*/ 377825 w 1867569"/>
                <a:gd name="connsiteY16" fmla="*/ 733425 h 1311275"/>
                <a:gd name="connsiteX17" fmla="*/ 400050 w 1867569"/>
                <a:gd name="connsiteY17" fmla="*/ 730250 h 1311275"/>
                <a:gd name="connsiteX18" fmla="*/ 415925 w 1867569"/>
                <a:gd name="connsiteY18" fmla="*/ 723900 h 1311275"/>
                <a:gd name="connsiteX19" fmla="*/ 482600 w 1867569"/>
                <a:gd name="connsiteY19" fmla="*/ 777875 h 1311275"/>
                <a:gd name="connsiteX20" fmla="*/ 574675 w 1867569"/>
                <a:gd name="connsiteY20" fmla="*/ 774700 h 1311275"/>
                <a:gd name="connsiteX21" fmla="*/ 666750 w 1867569"/>
                <a:gd name="connsiteY21" fmla="*/ 727075 h 1311275"/>
                <a:gd name="connsiteX22" fmla="*/ 714375 w 1867569"/>
                <a:gd name="connsiteY22" fmla="*/ 631825 h 1311275"/>
                <a:gd name="connsiteX23" fmla="*/ 762000 w 1867569"/>
                <a:gd name="connsiteY23" fmla="*/ 679450 h 1311275"/>
                <a:gd name="connsiteX24" fmla="*/ 847725 w 1867569"/>
                <a:gd name="connsiteY24" fmla="*/ 701675 h 1311275"/>
                <a:gd name="connsiteX25" fmla="*/ 977900 w 1867569"/>
                <a:gd name="connsiteY25" fmla="*/ 701675 h 1311275"/>
                <a:gd name="connsiteX26" fmla="*/ 1085850 w 1867569"/>
                <a:gd name="connsiteY26" fmla="*/ 654050 h 1311275"/>
                <a:gd name="connsiteX27" fmla="*/ 1114425 w 1867569"/>
                <a:gd name="connsiteY27" fmla="*/ 660400 h 1311275"/>
                <a:gd name="connsiteX28" fmla="*/ 1127125 w 1867569"/>
                <a:gd name="connsiteY28" fmla="*/ 679450 h 1311275"/>
                <a:gd name="connsiteX29" fmla="*/ 1120775 w 1867569"/>
                <a:gd name="connsiteY29" fmla="*/ 698500 h 1311275"/>
                <a:gd name="connsiteX30" fmla="*/ 1111250 w 1867569"/>
                <a:gd name="connsiteY30" fmla="*/ 711200 h 1311275"/>
                <a:gd name="connsiteX31" fmla="*/ 1190625 w 1867569"/>
                <a:gd name="connsiteY31" fmla="*/ 701675 h 1311275"/>
                <a:gd name="connsiteX32" fmla="*/ 1212850 w 1867569"/>
                <a:gd name="connsiteY32" fmla="*/ 717550 h 1311275"/>
                <a:gd name="connsiteX33" fmla="*/ 1216025 w 1867569"/>
                <a:gd name="connsiteY33" fmla="*/ 752475 h 1311275"/>
                <a:gd name="connsiteX34" fmla="*/ 1222375 w 1867569"/>
                <a:gd name="connsiteY34" fmla="*/ 774700 h 1311275"/>
                <a:gd name="connsiteX35" fmla="*/ 1228725 w 1867569"/>
                <a:gd name="connsiteY35" fmla="*/ 787400 h 1311275"/>
                <a:gd name="connsiteX36" fmla="*/ 1235075 w 1867569"/>
                <a:gd name="connsiteY36" fmla="*/ 796925 h 1311275"/>
                <a:gd name="connsiteX37" fmla="*/ 1235075 w 1867569"/>
                <a:gd name="connsiteY37" fmla="*/ 806450 h 1311275"/>
                <a:gd name="connsiteX38" fmla="*/ 1304925 w 1867569"/>
                <a:gd name="connsiteY38" fmla="*/ 831850 h 1311275"/>
                <a:gd name="connsiteX39" fmla="*/ 1333500 w 1867569"/>
                <a:gd name="connsiteY39" fmla="*/ 825500 h 1311275"/>
                <a:gd name="connsiteX40" fmla="*/ 1349375 w 1867569"/>
                <a:gd name="connsiteY40" fmla="*/ 831850 h 1311275"/>
                <a:gd name="connsiteX41" fmla="*/ 1365250 w 1867569"/>
                <a:gd name="connsiteY41" fmla="*/ 850900 h 1311275"/>
                <a:gd name="connsiteX42" fmla="*/ 1390650 w 1867569"/>
                <a:gd name="connsiteY42" fmla="*/ 854075 h 1311275"/>
                <a:gd name="connsiteX43" fmla="*/ 1390650 w 1867569"/>
                <a:gd name="connsiteY43" fmla="*/ 901700 h 1311275"/>
                <a:gd name="connsiteX44" fmla="*/ 1384300 w 1867569"/>
                <a:gd name="connsiteY44" fmla="*/ 914400 h 1311275"/>
                <a:gd name="connsiteX45" fmla="*/ 1419225 w 1867569"/>
                <a:gd name="connsiteY45" fmla="*/ 952500 h 1311275"/>
                <a:gd name="connsiteX46" fmla="*/ 1447800 w 1867569"/>
                <a:gd name="connsiteY46" fmla="*/ 942975 h 1311275"/>
                <a:gd name="connsiteX47" fmla="*/ 1457325 w 1867569"/>
                <a:gd name="connsiteY47" fmla="*/ 936625 h 1311275"/>
                <a:gd name="connsiteX48" fmla="*/ 1466850 w 1867569"/>
                <a:gd name="connsiteY48" fmla="*/ 933450 h 1311275"/>
                <a:gd name="connsiteX49" fmla="*/ 1504950 w 1867569"/>
                <a:gd name="connsiteY49" fmla="*/ 936625 h 1311275"/>
                <a:gd name="connsiteX50" fmla="*/ 1508125 w 1867569"/>
                <a:gd name="connsiteY50" fmla="*/ 968375 h 1311275"/>
                <a:gd name="connsiteX51" fmla="*/ 1517650 w 1867569"/>
                <a:gd name="connsiteY51" fmla="*/ 1000125 h 1311275"/>
                <a:gd name="connsiteX52" fmla="*/ 1520825 w 1867569"/>
                <a:gd name="connsiteY52" fmla="*/ 1009650 h 1311275"/>
                <a:gd name="connsiteX53" fmla="*/ 1524000 w 1867569"/>
                <a:gd name="connsiteY53" fmla="*/ 1019175 h 1311275"/>
                <a:gd name="connsiteX54" fmla="*/ 1530350 w 1867569"/>
                <a:gd name="connsiteY54" fmla="*/ 1050925 h 1311275"/>
                <a:gd name="connsiteX55" fmla="*/ 1527175 w 1867569"/>
                <a:gd name="connsiteY55" fmla="*/ 1089025 h 1311275"/>
                <a:gd name="connsiteX56" fmla="*/ 1498600 w 1867569"/>
                <a:gd name="connsiteY56" fmla="*/ 1104900 h 1311275"/>
                <a:gd name="connsiteX57" fmla="*/ 1485900 w 1867569"/>
                <a:gd name="connsiteY57" fmla="*/ 1114425 h 1311275"/>
                <a:gd name="connsiteX58" fmla="*/ 1482725 w 1867569"/>
                <a:gd name="connsiteY58" fmla="*/ 1139825 h 1311275"/>
                <a:gd name="connsiteX59" fmla="*/ 1492250 w 1867569"/>
                <a:gd name="connsiteY59" fmla="*/ 1165225 h 1311275"/>
                <a:gd name="connsiteX60" fmla="*/ 1498600 w 1867569"/>
                <a:gd name="connsiteY60" fmla="*/ 1174750 h 1311275"/>
                <a:gd name="connsiteX61" fmla="*/ 1504950 w 1867569"/>
                <a:gd name="connsiteY61" fmla="*/ 1200150 h 1311275"/>
                <a:gd name="connsiteX62" fmla="*/ 1508125 w 1867569"/>
                <a:gd name="connsiteY62" fmla="*/ 1276350 h 1311275"/>
                <a:gd name="connsiteX63" fmla="*/ 1511300 w 1867569"/>
                <a:gd name="connsiteY63" fmla="*/ 1285875 h 1311275"/>
                <a:gd name="connsiteX64" fmla="*/ 1530350 w 1867569"/>
                <a:gd name="connsiteY64" fmla="*/ 1298575 h 1311275"/>
                <a:gd name="connsiteX65" fmla="*/ 1549400 w 1867569"/>
                <a:gd name="connsiteY65" fmla="*/ 1295400 h 1311275"/>
                <a:gd name="connsiteX66" fmla="*/ 1558925 w 1867569"/>
                <a:gd name="connsiteY66" fmla="*/ 1289050 h 1311275"/>
                <a:gd name="connsiteX67" fmla="*/ 1571625 w 1867569"/>
                <a:gd name="connsiteY67" fmla="*/ 1282700 h 1311275"/>
                <a:gd name="connsiteX68" fmla="*/ 1581150 w 1867569"/>
                <a:gd name="connsiteY68" fmla="*/ 1276350 h 1311275"/>
                <a:gd name="connsiteX69" fmla="*/ 1600200 w 1867569"/>
                <a:gd name="connsiteY69" fmla="*/ 1270000 h 1311275"/>
                <a:gd name="connsiteX70" fmla="*/ 1647825 w 1867569"/>
                <a:gd name="connsiteY70" fmla="*/ 1273175 h 1311275"/>
                <a:gd name="connsiteX71" fmla="*/ 1651000 w 1867569"/>
                <a:gd name="connsiteY71" fmla="*/ 1289050 h 1311275"/>
                <a:gd name="connsiteX72" fmla="*/ 1660525 w 1867569"/>
                <a:gd name="connsiteY72" fmla="*/ 1308100 h 1311275"/>
                <a:gd name="connsiteX73" fmla="*/ 1685925 w 1867569"/>
                <a:gd name="connsiteY73" fmla="*/ 1311275 h 1311275"/>
                <a:gd name="connsiteX74" fmla="*/ 1717675 w 1867569"/>
                <a:gd name="connsiteY74" fmla="*/ 1295400 h 1311275"/>
                <a:gd name="connsiteX75" fmla="*/ 1727200 w 1867569"/>
                <a:gd name="connsiteY75" fmla="*/ 1292225 h 1311275"/>
                <a:gd name="connsiteX76" fmla="*/ 1755775 w 1867569"/>
                <a:gd name="connsiteY76" fmla="*/ 1279525 h 1311275"/>
                <a:gd name="connsiteX77" fmla="*/ 1765300 w 1867569"/>
                <a:gd name="connsiteY77" fmla="*/ 1276350 h 1311275"/>
                <a:gd name="connsiteX78" fmla="*/ 1790700 w 1867569"/>
                <a:gd name="connsiteY78" fmla="*/ 1276350 h 1311275"/>
                <a:gd name="connsiteX79" fmla="*/ 1809750 w 1867569"/>
                <a:gd name="connsiteY79" fmla="*/ 1238250 h 1311275"/>
                <a:gd name="connsiteX80" fmla="*/ 1790700 w 1867569"/>
                <a:gd name="connsiteY80" fmla="*/ 1187450 h 1311275"/>
                <a:gd name="connsiteX81" fmla="*/ 1793875 w 1867569"/>
                <a:gd name="connsiteY81" fmla="*/ 1158875 h 1311275"/>
                <a:gd name="connsiteX82" fmla="*/ 1797050 w 1867569"/>
                <a:gd name="connsiteY82" fmla="*/ 1149350 h 1311275"/>
                <a:gd name="connsiteX83" fmla="*/ 1806575 w 1867569"/>
                <a:gd name="connsiteY83" fmla="*/ 1143000 h 1311275"/>
                <a:gd name="connsiteX84" fmla="*/ 1819275 w 1867569"/>
                <a:gd name="connsiteY84" fmla="*/ 1133475 h 1311275"/>
                <a:gd name="connsiteX85" fmla="*/ 1831975 w 1867569"/>
                <a:gd name="connsiteY85" fmla="*/ 1114425 h 1311275"/>
                <a:gd name="connsiteX86" fmla="*/ 1847850 w 1867569"/>
                <a:gd name="connsiteY86" fmla="*/ 1095375 h 1311275"/>
                <a:gd name="connsiteX87" fmla="*/ 1851025 w 1867569"/>
                <a:gd name="connsiteY87" fmla="*/ 1085850 h 1311275"/>
                <a:gd name="connsiteX88" fmla="*/ 1847850 w 1867569"/>
                <a:gd name="connsiteY88" fmla="*/ 1054100 h 1311275"/>
                <a:gd name="connsiteX89" fmla="*/ 1825625 w 1867569"/>
                <a:gd name="connsiteY89" fmla="*/ 1028700 h 1311275"/>
                <a:gd name="connsiteX90" fmla="*/ 1816100 w 1867569"/>
                <a:gd name="connsiteY90" fmla="*/ 1019175 h 1311275"/>
                <a:gd name="connsiteX91" fmla="*/ 1806575 w 1867569"/>
                <a:gd name="connsiteY91" fmla="*/ 1012825 h 1311275"/>
                <a:gd name="connsiteX92" fmla="*/ 1787525 w 1867569"/>
                <a:gd name="connsiteY92" fmla="*/ 990600 h 1311275"/>
                <a:gd name="connsiteX93" fmla="*/ 1787525 w 1867569"/>
                <a:gd name="connsiteY93" fmla="*/ 942975 h 1311275"/>
                <a:gd name="connsiteX94" fmla="*/ 1790700 w 1867569"/>
                <a:gd name="connsiteY94" fmla="*/ 933450 h 1311275"/>
                <a:gd name="connsiteX95" fmla="*/ 1809750 w 1867569"/>
                <a:gd name="connsiteY95" fmla="*/ 917575 h 1311275"/>
                <a:gd name="connsiteX96" fmla="*/ 1816100 w 1867569"/>
                <a:gd name="connsiteY96" fmla="*/ 908050 h 1311275"/>
                <a:gd name="connsiteX97" fmla="*/ 1809750 w 1867569"/>
                <a:gd name="connsiteY97" fmla="*/ 898525 h 1311275"/>
                <a:gd name="connsiteX98" fmla="*/ 1787525 w 1867569"/>
                <a:gd name="connsiteY98" fmla="*/ 869950 h 1311275"/>
                <a:gd name="connsiteX99" fmla="*/ 1778000 w 1867569"/>
                <a:gd name="connsiteY99" fmla="*/ 841375 h 1311275"/>
                <a:gd name="connsiteX100" fmla="*/ 1774825 w 1867569"/>
                <a:gd name="connsiteY100" fmla="*/ 831850 h 1311275"/>
                <a:gd name="connsiteX101" fmla="*/ 1758950 w 1867569"/>
                <a:gd name="connsiteY101" fmla="*/ 803275 h 1311275"/>
                <a:gd name="connsiteX102" fmla="*/ 1765300 w 1867569"/>
                <a:gd name="connsiteY102" fmla="*/ 679450 h 1311275"/>
                <a:gd name="connsiteX103" fmla="*/ 1784350 w 1867569"/>
                <a:gd name="connsiteY103" fmla="*/ 673100 h 1311275"/>
                <a:gd name="connsiteX104" fmla="*/ 1793875 w 1867569"/>
                <a:gd name="connsiteY104" fmla="*/ 669925 h 1311275"/>
                <a:gd name="connsiteX105" fmla="*/ 1806575 w 1867569"/>
                <a:gd name="connsiteY105" fmla="*/ 660400 h 1311275"/>
                <a:gd name="connsiteX106" fmla="*/ 1812925 w 1867569"/>
                <a:gd name="connsiteY106" fmla="*/ 625475 h 1311275"/>
                <a:gd name="connsiteX107" fmla="*/ 1812925 w 1867569"/>
                <a:gd name="connsiteY107" fmla="*/ 488950 h 1311275"/>
                <a:gd name="connsiteX108" fmla="*/ 1806575 w 1867569"/>
                <a:gd name="connsiteY108" fmla="*/ 469900 h 1311275"/>
                <a:gd name="connsiteX109" fmla="*/ 1793875 w 1867569"/>
                <a:gd name="connsiteY109" fmla="*/ 454025 h 1311275"/>
                <a:gd name="connsiteX110" fmla="*/ 1790700 w 1867569"/>
                <a:gd name="connsiteY110" fmla="*/ 406400 h 1311275"/>
                <a:gd name="connsiteX111" fmla="*/ 1768475 w 1867569"/>
                <a:gd name="connsiteY111" fmla="*/ 403225 h 1311275"/>
                <a:gd name="connsiteX112" fmla="*/ 1771650 w 1867569"/>
                <a:gd name="connsiteY112" fmla="*/ 393700 h 1311275"/>
                <a:gd name="connsiteX113" fmla="*/ 1778000 w 1867569"/>
                <a:gd name="connsiteY113" fmla="*/ 384175 h 1311275"/>
                <a:gd name="connsiteX114" fmla="*/ 1749425 w 1867569"/>
                <a:gd name="connsiteY114" fmla="*/ 371475 h 1311275"/>
                <a:gd name="connsiteX115" fmla="*/ 1739900 w 1867569"/>
                <a:gd name="connsiteY115" fmla="*/ 365125 h 1311275"/>
                <a:gd name="connsiteX116" fmla="*/ 1730375 w 1867569"/>
                <a:gd name="connsiteY116" fmla="*/ 361950 h 1311275"/>
                <a:gd name="connsiteX117" fmla="*/ 1736725 w 1867569"/>
                <a:gd name="connsiteY117" fmla="*/ 336550 h 1311275"/>
                <a:gd name="connsiteX118" fmla="*/ 1749425 w 1867569"/>
                <a:gd name="connsiteY118" fmla="*/ 330200 h 1311275"/>
                <a:gd name="connsiteX119" fmla="*/ 1758950 w 1867569"/>
                <a:gd name="connsiteY119" fmla="*/ 327025 h 1311275"/>
                <a:gd name="connsiteX120" fmla="*/ 1778000 w 1867569"/>
                <a:gd name="connsiteY120" fmla="*/ 317500 h 1311275"/>
                <a:gd name="connsiteX121" fmla="*/ 1774825 w 1867569"/>
                <a:gd name="connsiteY121" fmla="*/ 307975 h 1311275"/>
                <a:gd name="connsiteX122" fmla="*/ 1765300 w 1867569"/>
                <a:gd name="connsiteY122" fmla="*/ 301625 h 1311275"/>
                <a:gd name="connsiteX123" fmla="*/ 1743075 w 1867569"/>
                <a:gd name="connsiteY123" fmla="*/ 295275 h 1311275"/>
                <a:gd name="connsiteX124" fmla="*/ 1758950 w 1867569"/>
                <a:gd name="connsiteY124" fmla="*/ 266700 h 1311275"/>
                <a:gd name="connsiteX125" fmla="*/ 1768475 w 1867569"/>
                <a:gd name="connsiteY125" fmla="*/ 263525 h 1311275"/>
                <a:gd name="connsiteX126" fmla="*/ 1816100 w 1867569"/>
                <a:gd name="connsiteY126" fmla="*/ 266700 h 1311275"/>
                <a:gd name="connsiteX127" fmla="*/ 1854200 w 1867569"/>
                <a:gd name="connsiteY127" fmla="*/ 273050 h 1311275"/>
                <a:gd name="connsiteX128" fmla="*/ 1866900 w 1867569"/>
                <a:gd name="connsiteY128" fmla="*/ 269875 h 1311275"/>
                <a:gd name="connsiteX129" fmla="*/ 1857375 w 1867569"/>
                <a:gd name="connsiteY129" fmla="*/ 247650 h 1311275"/>
                <a:gd name="connsiteX130" fmla="*/ 1851025 w 1867569"/>
                <a:gd name="connsiteY130" fmla="*/ 234950 h 1311275"/>
                <a:gd name="connsiteX131" fmla="*/ 1720850 w 1867569"/>
                <a:gd name="connsiteY131" fmla="*/ 133350 h 1311275"/>
                <a:gd name="connsiteX132" fmla="*/ 1695450 w 1867569"/>
                <a:gd name="connsiteY132" fmla="*/ 146050 h 1311275"/>
                <a:gd name="connsiteX133" fmla="*/ 1676400 w 1867569"/>
                <a:gd name="connsiteY133" fmla="*/ 152400 h 1311275"/>
                <a:gd name="connsiteX134" fmla="*/ 1631950 w 1867569"/>
                <a:gd name="connsiteY134" fmla="*/ 190500 h 1311275"/>
                <a:gd name="connsiteX135" fmla="*/ 1584325 w 1867569"/>
                <a:gd name="connsiteY135" fmla="*/ 193675 h 1311275"/>
                <a:gd name="connsiteX136" fmla="*/ 1571625 w 1867569"/>
                <a:gd name="connsiteY136" fmla="*/ 174625 h 1311275"/>
                <a:gd name="connsiteX137" fmla="*/ 1552575 w 1867569"/>
                <a:gd name="connsiteY137" fmla="*/ 193675 h 1311275"/>
                <a:gd name="connsiteX138" fmla="*/ 1530350 w 1867569"/>
                <a:gd name="connsiteY138" fmla="*/ 203200 h 1311275"/>
                <a:gd name="connsiteX139" fmla="*/ 1511300 w 1867569"/>
                <a:gd name="connsiteY139" fmla="*/ 206375 h 1311275"/>
                <a:gd name="connsiteX140" fmla="*/ 1498600 w 1867569"/>
                <a:gd name="connsiteY140" fmla="*/ 209550 h 1311275"/>
                <a:gd name="connsiteX141" fmla="*/ 1482725 w 1867569"/>
                <a:gd name="connsiteY141" fmla="*/ 219075 h 1311275"/>
                <a:gd name="connsiteX142" fmla="*/ 1482725 w 1867569"/>
                <a:gd name="connsiteY142" fmla="*/ 142875 h 1311275"/>
                <a:gd name="connsiteX143" fmla="*/ 1457325 w 1867569"/>
                <a:gd name="connsiteY143" fmla="*/ 117475 h 1311275"/>
                <a:gd name="connsiteX144" fmla="*/ 1438275 w 1867569"/>
                <a:gd name="connsiteY144" fmla="*/ 114300 h 1311275"/>
                <a:gd name="connsiteX145" fmla="*/ 1409700 w 1867569"/>
                <a:gd name="connsiteY145" fmla="*/ 117475 h 1311275"/>
                <a:gd name="connsiteX146" fmla="*/ 1371600 w 1867569"/>
                <a:gd name="connsiteY146" fmla="*/ 120650 h 1311275"/>
                <a:gd name="connsiteX147" fmla="*/ 1358900 w 1867569"/>
                <a:gd name="connsiteY147" fmla="*/ 139700 h 1311275"/>
                <a:gd name="connsiteX148" fmla="*/ 1343025 w 1867569"/>
                <a:gd name="connsiteY148" fmla="*/ 165100 h 1311275"/>
                <a:gd name="connsiteX149" fmla="*/ 1320800 w 1867569"/>
                <a:gd name="connsiteY149" fmla="*/ 187325 h 1311275"/>
                <a:gd name="connsiteX150" fmla="*/ 1285875 w 1867569"/>
                <a:gd name="connsiteY150" fmla="*/ 196850 h 1311275"/>
                <a:gd name="connsiteX151" fmla="*/ 1250950 w 1867569"/>
                <a:gd name="connsiteY151" fmla="*/ 206375 h 1311275"/>
                <a:gd name="connsiteX152" fmla="*/ 1235075 w 1867569"/>
                <a:gd name="connsiteY152" fmla="*/ 203200 h 1311275"/>
                <a:gd name="connsiteX153" fmla="*/ 1225550 w 1867569"/>
                <a:gd name="connsiteY153" fmla="*/ 200025 h 1311275"/>
                <a:gd name="connsiteX154" fmla="*/ 1190625 w 1867569"/>
                <a:gd name="connsiteY154" fmla="*/ 200025 h 1311275"/>
                <a:gd name="connsiteX155" fmla="*/ 1079500 w 1867569"/>
                <a:gd name="connsiteY155" fmla="*/ 234950 h 1311275"/>
                <a:gd name="connsiteX156" fmla="*/ 1063625 w 1867569"/>
                <a:gd name="connsiteY156" fmla="*/ 212725 h 1311275"/>
                <a:gd name="connsiteX157" fmla="*/ 1060450 w 1867569"/>
                <a:gd name="connsiteY157" fmla="*/ 203200 h 1311275"/>
                <a:gd name="connsiteX158" fmla="*/ 1044575 w 1867569"/>
                <a:gd name="connsiteY158" fmla="*/ 200025 h 1311275"/>
                <a:gd name="connsiteX159" fmla="*/ 1025525 w 1867569"/>
                <a:gd name="connsiteY159" fmla="*/ 193675 h 1311275"/>
                <a:gd name="connsiteX160" fmla="*/ 1016000 w 1867569"/>
                <a:gd name="connsiteY160" fmla="*/ 190500 h 1311275"/>
                <a:gd name="connsiteX161" fmla="*/ 971550 w 1867569"/>
                <a:gd name="connsiteY161" fmla="*/ 104775 h 1311275"/>
                <a:gd name="connsiteX162" fmla="*/ 933450 w 1867569"/>
                <a:gd name="connsiteY162" fmla="*/ 92075 h 1311275"/>
                <a:gd name="connsiteX163" fmla="*/ 911225 w 1867569"/>
                <a:gd name="connsiteY163" fmla="*/ 88900 h 1311275"/>
                <a:gd name="connsiteX164" fmla="*/ 895350 w 1867569"/>
                <a:gd name="connsiteY164" fmla="*/ 85725 h 1311275"/>
                <a:gd name="connsiteX165" fmla="*/ 825500 w 1867569"/>
                <a:gd name="connsiteY165" fmla="*/ 73025 h 1311275"/>
                <a:gd name="connsiteX166" fmla="*/ 787400 w 1867569"/>
                <a:gd name="connsiteY166" fmla="*/ 0 h 1311275"/>
                <a:gd name="connsiteX167" fmla="*/ 571500 w 1867569"/>
                <a:gd name="connsiteY167" fmla="*/ 352425 h 1311275"/>
                <a:gd name="connsiteX168" fmla="*/ 555625 w 1867569"/>
                <a:gd name="connsiteY168" fmla="*/ 311150 h 1311275"/>
                <a:gd name="connsiteX169" fmla="*/ 552450 w 1867569"/>
                <a:gd name="connsiteY169" fmla="*/ 301625 h 1311275"/>
                <a:gd name="connsiteX170" fmla="*/ 546100 w 1867569"/>
                <a:gd name="connsiteY170" fmla="*/ 285750 h 1311275"/>
                <a:gd name="connsiteX171" fmla="*/ 542925 w 1867569"/>
                <a:gd name="connsiteY171" fmla="*/ 276225 h 1311275"/>
                <a:gd name="connsiteX172" fmla="*/ 533400 w 1867569"/>
                <a:gd name="connsiteY172" fmla="*/ 266700 h 1311275"/>
                <a:gd name="connsiteX173" fmla="*/ 530225 w 1867569"/>
                <a:gd name="connsiteY173" fmla="*/ 257175 h 1311275"/>
                <a:gd name="connsiteX174" fmla="*/ 520700 w 1867569"/>
                <a:gd name="connsiteY174" fmla="*/ 254000 h 1311275"/>
                <a:gd name="connsiteX175" fmla="*/ 508000 w 1867569"/>
                <a:gd name="connsiteY175" fmla="*/ 244475 h 1311275"/>
                <a:gd name="connsiteX176" fmla="*/ 498475 w 1867569"/>
                <a:gd name="connsiteY176" fmla="*/ 225425 h 1311275"/>
                <a:gd name="connsiteX177" fmla="*/ 479425 w 1867569"/>
                <a:gd name="connsiteY177" fmla="*/ 212725 h 1311275"/>
                <a:gd name="connsiteX178" fmla="*/ 438150 w 1867569"/>
                <a:gd name="connsiteY178" fmla="*/ 219075 h 1311275"/>
                <a:gd name="connsiteX179" fmla="*/ 422275 w 1867569"/>
                <a:gd name="connsiteY179" fmla="*/ 225425 h 1311275"/>
                <a:gd name="connsiteX180" fmla="*/ 393700 w 1867569"/>
                <a:gd name="connsiteY180" fmla="*/ 238125 h 1311275"/>
                <a:gd name="connsiteX181" fmla="*/ 374650 w 1867569"/>
                <a:gd name="connsiteY181" fmla="*/ 260350 h 1311275"/>
                <a:gd name="connsiteX182" fmla="*/ 368300 w 1867569"/>
                <a:gd name="connsiteY182" fmla="*/ 269875 h 1311275"/>
                <a:gd name="connsiteX183" fmla="*/ 352425 w 1867569"/>
                <a:gd name="connsiteY183" fmla="*/ 292100 h 1311275"/>
                <a:gd name="connsiteX184" fmla="*/ 339725 w 1867569"/>
                <a:gd name="connsiteY184" fmla="*/ 311150 h 1311275"/>
                <a:gd name="connsiteX185" fmla="*/ 327025 w 1867569"/>
                <a:gd name="connsiteY185" fmla="*/ 317500 h 1311275"/>
                <a:gd name="connsiteX186" fmla="*/ 317500 w 1867569"/>
                <a:gd name="connsiteY186" fmla="*/ 327025 h 1311275"/>
                <a:gd name="connsiteX187" fmla="*/ 228600 w 1867569"/>
                <a:gd name="connsiteY187" fmla="*/ 292100 h 1311275"/>
                <a:gd name="connsiteX188" fmla="*/ 139700 w 1867569"/>
                <a:gd name="connsiteY188" fmla="*/ 276225 h 1311275"/>
                <a:gd name="connsiteX189" fmla="*/ 117475 w 1867569"/>
                <a:gd name="connsiteY189" fmla="*/ 295275 h 1311275"/>
                <a:gd name="connsiteX190" fmla="*/ 107950 w 1867569"/>
                <a:gd name="connsiteY190" fmla="*/ 301625 h 1311275"/>
                <a:gd name="connsiteX191" fmla="*/ 92075 w 1867569"/>
                <a:gd name="connsiteY191" fmla="*/ 314325 h 1311275"/>
                <a:gd name="connsiteX192" fmla="*/ 85725 w 1867569"/>
                <a:gd name="connsiteY192" fmla="*/ 327025 h 1311275"/>
                <a:gd name="connsiteX193" fmla="*/ 79375 w 1867569"/>
                <a:gd name="connsiteY193" fmla="*/ 336550 h 1311275"/>
                <a:gd name="connsiteX194" fmla="*/ 76200 w 1867569"/>
                <a:gd name="connsiteY194" fmla="*/ 352425 h 1311275"/>
                <a:gd name="connsiteX195" fmla="*/ 69850 w 1867569"/>
                <a:gd name="connsiteY195" fmla="*/ 371475 h 1311275"/>
                <a:gd name="connsiteX196" fmla="*/ 66675 w 1867569"/>
                <a:gd name="connsiteY196" fmla="*/ 381000 h 1311275"/>
                <a:gd name="connsiteX197" fmla="*/ 34925 w 1867569"/>
                <a:gd name="connsiteY197" fmla="*/ 406400 h 1311275"/>
                <a:gd name="connsiteX198" fmla="*/ 28575 w 1867569"/>
                <a:gd name="connsiteY198" fmla="*/ 415925 h 1311275"/>
                <a:gd name="connsiteX199" fmla="*/ 19050 w 1867569"/>
                <a:gd name="connsiteY199" fmla="*/ 422275 h 1311275"/>
                <a:gd name="connsiteX200" fmla="*/ 6350 w 1867569"/>
                <a:gd name="connsiteY200" fmla="*/ 431800 h 1311275"/>
                <a:gd name="connsiteX201" fmla="*/ 0 w 1867569"/>
                <a:gd name="connsiteY201" fmla="*/ 441325 h 1311275"/>
                <a:gd name="connsiteX202" fmla="*/ 9525 w 1867569"/>
                <a:gd name="connsiteY202" fmla="*/ 469900 h 1311275"/>
                <a:gd name="connsiteX203" fmla="*/ 12700 w 1867569"/>
                <a:gd name="connsiteY203" fmla="*/ 479425 h 1311275"/>
                <a:gd name="connsiteX204" fmla="*/ 22225 w 1867569"/>
                <a:gd name="connsiteY204" fmla="*/ 485775 h 1311275"/>
                <a:gd name="connsiteX205" fmla="*/ 28575 w 1867569"/>
                <a:gd name="connsiteY205" fmla="*/ 495300 h 1311275"/>
                <a:gd name="connsiteX206" fmla="*/ 34925 w 1867569"/>
                <a:gd name="connsiteY206" fmla="*/ 514350 h 1311275"/>
                <a:gd name="connsiteX207" fmla="*/ 28575 w 1867569"/>
                <a:gd name="connsiteY207" fmla="*/ 546100 h 1311275"/>
                <a:gd name="connsiteX208" fmla="*/ 6350 w 1867569"/>
                <a:gd name="connsiteY208" fmla="*/ 552450 h 1311275"/>
                <a:gd name="connsiteX0" fmla="*/ 6350 w 1867569"/>
                <a:gd name="connsiteY0" fmla="*/ 552450 h 1311275"/>
                <a:gd name="connsiteX1" fmla="*/ 6350 w 1867569"/>
                <a:gd name="connsiteY1" fmla="*/ 552450 h 1311275"/>
                <a:gd name="connsiteX2" fmla="*/ 25400 w 1867569"/>
                <a:gd name="connsiteY2" fmla="*/ 577850 h 1311275"/>
                <a:gd name="connsiteX3" fmla="*/ 31750 w 1867569"/>
                <a:gd name="connsiteY3" fmla="*/ 587375 h 1311275"/>
                <a:gd name="connsiteX4" fmla="*/ 34925 w 1867569"/>
                <a:gd name="connsiteY4" fmla="*/ 631825 h 1311275"/>
                <a:gd name="connsiteX5" fmla="*/ 44450 w 1867569"/>
                <a:gd name="connsiteY5" fmla="*/ 657225 h 1311275"/>
                <a:gd name="connsiteX6" fmla="*/ 146050 w 1867569"/>
                <a:gd name="connsiteY6" fmla="*/ 676275 h 1311275"/>
                <a:gd name="connsiteX7" fmla="*/ 168275 w 1867569"/>
                <a:gd name="connsiteY7" fmla="*/ 692150 h 1311275"/>
                <a:gd name="connsiteX8" fmla="*/ 177800 w 1867569"/>
                <a:gd name="connsiteY8" fmla="*/ 695325 h 1311275"/>
                <a:gd name="connsiteX9" fmla="*/ 196850 w 1867569"/>
                <a:gd name="connsiteY9" fmla="*/ 711200 h 1311275"/>
                <a:gd name="connsiteX10" fmla="*/ 212725 w 1867569"/>
                <a:gd name="connsiteY10" fmla="*/ 733425 h 1311275"/>
                <a:gd name="connsiteX11" fmla="*/ 215900 w 1867569"/>
                <a:gd name="connsiteY11" fmla="*/ 742950 h 1311275"/>
                <a:gd name="connsiteX12" fmla="*/ 241300 w 1867569"/>
                <a:gd name="connsiteY12" fmla="*/ 758825 h 1311275"/>
                <a:gd name="connsiteX13" fmla="*/ 317500 w 1867569"/>
                <a:gd name="connsiteY13" fmla="*/ 777875 h 1311275"/>
                <a:gd name="connsiteX14" fmla="*/ 346075 w 1867569"/>
                <a:gd name="connsiteY14" fmla="*/ 755650 h 1311275"/>
                <a:gd name="connsiteX15" fmla="*/ 368300 w 1867569"/>
                <a:gd name="connsiteY15" fmla="*/ 739775 h 1311275"/>
                <a:gd name="connsiteX16" fmla="*/ 377825 w 1867569"/>
                <a:gd name="connsiteY16" fmla="*/ 733425 h 1311275"/>
                <a:gd name="connsiteX17" fmla="*/ 400050 w 1867569"/>
                <a:gd name="connsiteY17" fmla="*/ 730250 h 1311275"/>
                <a:gd name="connsiteX18" fmla="*/ 415925 w 1867569"/>
                <a:gd name="connsiteY18" fmla="*/ 723900 h 1311275"/>
                <a:gd name="connsiteX19" fmla="*/ 482600 w 1867569"/>
                <a:gd name="connsiteY19" fmla="*/ 777875 h 1311275"/>
                <a:gd name="connsiteX20" fmla="*/ 574675 w 1867569"/>
                <a:gd name="connsiteY20" fmla="*/ 774700 h 1311275"/>
                <a:gd name="connsiteX21" fmla="*/ 666750 w 1867569"/>
                <a:gd name="connsiteY21" fmla="*/ 727075 h 1311275"/>
                <a:gd name="connsiteX22" fmla="*/ 714375 w 1867569"/>
                <a:gd name="connsiteY22" fmla="*/ 631825 h 1311275"/>
                <a:gd name="connsiteX23" fmla="*/ 762000 w 1867569"/>
                <a:gd name="connsiteY23" fmla="*/ 679450 h 1311275"/>
                <a:gd name="connsiteX24" fmla="*/ 847725 w 1867569"/>
                <a:gd name="connsiteY24" fmla="*/ 701675 h 1311275"/>
                <a:gd name="connsiteX25" fmla="*/ 977900 w 1867569"/>
                <a:gd name="connsiteY25" fmla="*/ 701675 h 1311275"/>
                <a:gd name="connsiteX26" fmla="*/ 1085850 w 1867569"/>
                <a:gd name="connsiteY26" fmla="*/ 654050 h 1311275"/>
                <a:gd name="connsiteX27" fmla="*/ 1114425 w 1867569"/>
                <a:gd name="connsiteY27" fmla="*/ 660400 h 1311275"/>
                <a:gd name="connsiteX28" fmla="*/ 1127125 w 1867569"/>
                <a:gd name="connsiteY28" fmla="*/ 679450 h 1311275"/>
                <a:gd name="connsiteX29" fmla="*/ 1120775 w 1867569"/>
                <a:gd name="connsiteY29" fmla="*/ 698500 h 1311275"/>
                <a:gd name="connsiteX30" fmla="*/ 1111250 w 1867569"/>
                <a:gd name="connsiteY30" fmla="*/ 711200 h 1311275"/>
                <a:gd name="connsiteX31" fmla="*/ 1190625 w 1867569"/>
                <a:gd name="connsiteY31" fmla="*/ 701675 h 1311275"/>
                <a:gd name="connsiteX32" fmla="*/ 1212850 w 1867569"/>
                <a:gd name="connsiteY32" fmla="*/ 717550 h 1311275"/>
                <a:gd name="connsiteX33" fmla="*/ 1216025 w 1867569"/>
                <a:gd name="connsiteY33" fmla="*/ 752475 h 1311275"/>
                <a:gd name="connsiteX34" fmla="*/ 1222375 w 1867569"/>
                <a:gd name="connsiteY34" fmla="*/ 774700 h 1311275"/>
                <a:gd name="connsiteX35" fmla="*/ 1228725 w 1867569"/>
                <a:gd name="connsiteY35" fmla="*/ 787400 h 1311275"/>
                <a:gd name="connsiteX36" fmla="*/ 1235075 w 1867569"/>
                <a:gd name="connsiteY36" fmla="*/ 796925 h 1311275"/>
                <a:gd name="connsiteX37" fmla="*/ 1235075 w 1867569"/>
                <a:gd name="connsiteY37" fmla="*/ 806450 h 1311275"/>
                <a:gd name="connsiteX38" fmla="*/ 1304925 w 1867569"/>
                <a:gd name="connsiteY38" fmla="*/ 831850 h 1311275"/>
                <a:gd name="connsiteX39" fmla="*/ 1333500 w 1867569"/>
                <a:gd name="connsiteY39" fmla="*/ 825500 h 1311275"/>
                <a:gd name="connsiteX40" fmla="*/ 1349375 w 1867569"/>
                <a:gd name="connsiteY40" fmla="*/ 831850 h 1311275"/>
                <a:gd name="connsiteX41" fmla="*/ 1365250 w 1867569"/>
                <a:gd name="connsiteY41" fmla="*/ 850900 h 1311275"/>
                <a:gd name="connsiteX42" fmla="*/ 1390650 w 1867569"/>
                <a:gd name="connsiteY42" fmla="*/ 854075 h 1311275"/>
                <a:gd name="connsiteX43" fmla="*/ 1390650 w 1867569"/>
                <a:gd name="connsiteY43" fmla="*/ 901700 h 1311275"/>
                <a:gd name="connsiteX44" fmla="*/ 1384300 w 1867569"/>
                <a:gd name="connsiteY44" fmla="*/ 914400 h 1311275"/>
                <a:gd name="connsiteX45" fmla="*/ 1419225 w 1867569"/>
                <a:gd name="connsiteY45" fmla="*/ 952500 h 1311275"/>
                <a:gd name="connsiteX46" fmla="*/ 1447800 w 1867569"/>
                <a:gd name="connsiteY46" fmla="*/ 942975 h 1311275"/>
                <a:gd name="connsiteX47" fmla="*/ 1457325 w 1867569"/>
                <a:gd name="connsiteY47" fmla="*/ 936625 h 1311275"/>
                <a:gd name="connsiteX48" fmla="*/ 1466850 w 1867569"/>
                <a:gd name="connsiteY48" fmla="*/ 933450 h 1311275"/>
                <a:gd name="connsiteX49" fmla="*/ 1504950 w 1867569"/>
                <a:gd name="connsiteY49" fmla="*/ 936625 h 1311275"/>
                <a:gd name="connsiteX50" fmla="*/ 1508125 w 1867569"/>
                <a:gd name="connsiteY50" fmla="*/ 968375 h 1311275"/>
                <a:gd name="connsiteX51" fmla="*/ 1517650 w 1867569"/>
                <a:gd name="connsiteY51" fmla="*/ 1000125 h 1311275"/>
                <a:gd name="connsiteX52" fmla="*/ 1520825 w 1867569"/>
                <a:gd name="connsiteY52" fmla="*/ 1009650 h 1311275"/>
                <a:gd name="connsiteX53" fmla="*/ 1524000 w 1867569"/>
                <a:gd name="connsiteY53" fmla="*/ 1019175 h 1311275"/>
                <a:gd name="connsiteX54" fmla="*/ 1530350 w 1867569"/>
                <a:gd name="connsiteY54" fmla="*/ 1050925 h 1311275"/>
                <a:gd name="connsiteX55" fmla="*/ 1527175 w 1867569"/>
                <a:gd name="connsiteY55" fmla="*/ 1089025 h 1311275"/>
                <a:gd name="connsiteX56" fmla="*/ 1498600 w 1867569"/>
                <a:gd name="connsiteY56" fmla="*/ 1104900 h 1311275"/>
                <a:gd name="connsiteX57" fmla="*/ 1485900 w 1867569"/>
                <a:gd name="connsiteY57" fmla="*/ 1114425 h 1311275"/>
                <a:gd name="connsiteX58" fmla="*/ 1482725 w 1867569"/>
                <a:gd name="connsiteY58" fmla="*/ 1139825 h 1311275"/>
                <a:gd name="connsiteX59" fmla="*/ 1492250 w 1867569"/>
                <a:gd name="connsiteY59" fmla="*/ 1165225 h 1311275"/>
                <a:gd name="connsiteX60" fmla="*/ 1498600 w 1867569"/>
                <a:gd name="connsiteY60" fmla="*/ 1174750 h 1311275"/>
                <a:gd name="connsiteX61" fmla="*/ 1504950 w 1867569"/>
                <a:gd name="connsiteY61" fmla="*/ 1200150 h 1311275"/>
                <a:gd name="connsiteX62" fmla="*/ 1508125 w 1867569"/>
                <a:gd name="connsiteY62" fmla="*/ 1276350 h 1311275"/>
                <a:gd name="connsiteX63" fmla="*/ 1511300 w 1867569"/>
                <a:gd name="connsiteY63" fmla="*/ 1285875 h 1311275"/>
                <a:gd name="connsiteX64" fmla="*/ 1530350 w 1867569"/>
                <a:gd name="connsiteY64" fmla="*/ 1298575 h 1311275"/>
                <a:gd name="connsiteX65" fmla="*/ 1549400 w 1867569"/>
                <a:gd name="connsiteY65" fmla="*/ 1295400 h 1311275"/>
                <a:gd name="connsiteX66" fmla="*/ 1558925 w 1867569"/>
                <a:gd name="connsiteY66" fmla="*/ 1289050 h 1311275"/>
                <a:gd name="connsiteX67" fmla="*/ 1571625 w 1867569"/>
                <a:gd name="connsiteY67" fmla="*/ 1282700 h 1311275"/>
                <a:gd name="connsiteX68" fmla="*/ 1581150 w 1867569"/>
                <a:gd name="connsiteY68" fmla="*/ 1276350 h 1311275"/>
                <a:gd name="connsiteX69" fmla="*/ 1600200 w 1867569"/>
                <a:gd name="connsiteY69" fmla="*/ 1270000 h 1311275"/>
                <a:gd name="connsiteX70" fmla="*/ 1647825 w 1867569"/>
                <a:gd name="connsiteY70" fmla="*/ 1273175 h 1311275"/>
                <a:gd name="connsiteX71" fmla="*/ 1651000 w 1867569"/>
                <a:gd name="connsiteY71" fmla="*/ 1289050 h 1311275"/>
                <a:gd name="connsiteX72" fmla="*/ 1660525 w 1867569"/>
                <a:gd name="connsiteY72" fmla="*/ 1308100 h 1311275"/>
                <a:gd name="connsiteX73" fmla="*/ 1685925 w 1867569"/>
                <a:gd name="connsiteY73" fmla="*/ 1311275 h 1311275"/>
                <a:gd name="connsiteX74" fmla="*/ 1717675 w 1867569"/>
                <a:gd name="connsiteY74" fmla="*/ 1295400 h 1311275"/>
                <a:gd name="connsiteX75" fmla="*/ 1727200 w 1867569"/>
                <a:gd name="connsiteY75" fmla="*/ 1292225 h 1311275"/>
                <a:gd name="connsiteX76" fmla="*/ 1755775 w 1867569"/>
                <a:gd name="connsiteY76" fmla="*/ 1279525 h 1311275"/>
                <a:gd name="connsiteX77" fmla="*/ 1765300 w 1867569"/>
                <a:gd name="connsiteY77" fmla="*/ 1276350 h 1311275"/>
                <a:gd name="connsiteX78" fmla="*/ 1790700 w 1867569"/>
                <a:gd name="connsiteY78" fmla="*/ 1276350 h 1311275"/>
                <a:gd name="connsiteX79" fmla="*/ 1809750 w 1867569"/>
                <a:gd name="connsiteY79" fmla="*/ 1238250 h 1311275"/>
                <a:gd name="connsiteX80" fmla="*/ 1790700 w 1867569"/>
                <a:gd name="connsiteY80" fmla="*/ 1187450 h 1311275"/>
                <a:gd name="connsiteX81" fmla="*/ 1793875 w 1867569"/>
                <a:gd name="connsiteY81" fmla="*/ 1158875 h 1311275"/>
                <a:gd name="connsiteX82" fmla="*/ 1797050 w 1867569"/>
                <a:gd name="connsiteY82" fmla="*/ 1149350 h 1311275"/>
                <a:gd name="connsiteX83" fmla="*/ 1806575 w 1867569"/>
                <a:gd name="connsiteY83" fmla="*/ 1143000 h 1311275"/>
                <a:gd name="connsiteX84" fmla="*/ 1819275 w 1867569"/>
                <a:gd name="connsiteY84" fmla="*/ 1133475 h 1311275"/>
                <a:gd name="connsiteX85" fmla="*/ 1831975 w 1867569"/>
                <a:gd name="connsiteY85" fmla="*/ 1114425 h 1311275"/>
                <a:gd name="connsiteX86" fmla="*/ 1847850 w 1867569"/>
                <a:gd name="connsiteY86" fmla="*/ 1095375 h 1311275"/>
                <a:gd name="connsiteX87" fmla="*/ 1851025 w 1867569"/>
                <a:gd name="connsiteY87" fmla="*/ 1085850 h 1311275"/>
                <a:gd name="connsiteX88" fmla="*/ 1847850 w 1867569"/>
                <a:gd name="connsiteY88" fmla="*/ 1054100 h 1311275"/>
                <a:gd name="connsiteX89" fmla="*/ 1825625 w 1867569"/>
                <a:gd name="connsiteY89" fmla="*/ 1028700 h 1311275"/>
                <a:gd name="connsiteX90" fmla="*/ 1816100 w 1867569"/>
                <a:gd name="connsiteY90" fmla="*/ 1019175 h 1311275"/>
                <a:gd name="connsiteX91" fmla="*/ 1806575 w 1867569"/>
                <a:gd name="connsiteY91" fmla="*/ 1012825 h 1311275"/>
                <a:gd name="connsiteX92" fmla="*/ 1787525 w 1867569"/>
                <a:gd name="connsiteY92" fmla="*/ 990600 h 1311275"/>
                <a:gd name="connsiteX93" fmla="*/ 1787525 w 1867569"/>
                <a:gd name="connsiteY93" fmla="*/ 942975 h 1311275"/>
                <a:gd name="connsiteX94" fmla="*/ 1790700 w 1867569"/>
                <a:gd name="connsiteY94" fmla="*/ 933450 h 1311275"/>
                <a:gd name="connsiteX95" fmla="*/ 1809750 w 1867569"/>
                <a:gd name="connsiteY95" fmla="*/ 917575 h 1311275"/>
                <a:gd name="connsiteX96" fmla="*/ 1816100 w 1867569"/>
                <a:gd name="connsiteY96" fmla="*/ 908050 h 1311275"/>
                <a:gd name="connsiteX97" fmla="*/ 1809750 w 1867569"/>
                <a:gd name="connsiteY97" fmla="*/ 898525 h 1311275"/>
                <a:gd name="connsiteX98" fmla="*/ 1787525 w 1867569"/>
                <a:gd name="connsiteY98" fmla="*/ 869950 h 1311275"/>
                <a:gd name="connsiteX99" fmla="*/ 1778000 w 1867569"/>
                <a:gd name="connsiteY99" fmla="*/ 841375 h 1311275"/>
                <a:gd name="connsiteX100" fmla="*/ 1774825 w 1867569"/>
                <a:gd name="connsiteY100" fmla="*/ 831850 h 1311275"/>
                <a:gd name="connsiteX101" fmla="*/ 1758950 w 1867569"/>
                <a:gd name="connsiteY101" fmla="*/ 803275 h 1311275"/>
                <a:gd name="connsiteX102" fmla="*/ 1765300 w 1867569"/>
                <a:gd name="connsiteY102" fmla="*/ 679450 h 1311275"/>
                <a:gd name="connsiteX103" fmla="*/ 1784350 w 1867569"/>
                <a:gd name="connsiteY103" fmla="*/ 673100 h 1311275"/>
                <a:gd name="connsiteX104" fmla="*/ 1793875 w 1867569"/>
                <a:gd name="connsiteY104" fmla="*/ 669925 h 1311275"/>
                <a:gd name="connsiteX105" fmla="*/ 1806575 w 1867569"/>
                <a:gd name="connsiteY105" fmla="*/ 660400 h 1311275"/>
                <a:gd name="connsiteX106" fmla="*/ 1812925 w 1867569"/>
                <a:gd name="connsiteY106" fmla="*/ 625475 h 1311275"/>
                <a:gd name="connsiteX107" fmla="*/ 1812925 w 1867569"/>
                <a:gd name="connsiteY107" fmla="*/ 488950 h 1311275"/>
                <a:gd name="connsiteX108" fmla="*/ 1806575 w 1867569"/>
                <a:gd name="connsiteY108" fmla="*/ 469900 h 1311275"/>
                <a:gd name="connsiteX109" fmla="*/ 1793875 w 1867569"/>
                <a:gd name="connsiteY109" fmla="*/ 454025 h 1311275"/>
                <a:gd name="connsiteX110" fmla="*/ 1790700 w 1867569"/>
                <a:gd name="connsiteY110" fmla="*/ 406400 h 1311275"/>
                <a:gd name="connsiteX111" fmla="*/ 1768475 w 1867569"/>
                <a:gd name="connsiteY111" fmla="*/ 403225 h 1311275"/>
                <a:gd name="connsiteX112" fmla="*/ 1771650 w 1867569"/>
                <a:gd name="connsiteY112" fmla="*/ 393700 h 1311275"/>
                <a:gd name="connsiteX113" fmla="*/ 1778000 w 1867569"/>
                <a:gd name="connsiteY113" fmla="*/ 384175 h 1311275"/>
                <a:gd name="connsiteX114" fmla="*/ 1749425 w 1867569"/>
                <a:gd name="connsiteY114" fmla="*/ 371475 h 1311275"/>
                <a:gd name="connsiteX115" fmla="*/ 1739900 w 1867569"/>
                <a:gd name="connsiteY115" fmla="*/ 365125 h 1311275"/>
                <a:gd name="connsiteX116" fmla="*/ 1730375 w 1867569"/>
                <a:gd name="connsiteY116" fmla="*/ 361950 h 1311275"/>
                <a:gd name="connsiteX117" fmla="*/ 1736725 w 1867569"/>
                <a:gd name="connsiteY117" fmla="*/ 336550 h 1311275"/>
                <a:gd name="connsiteX118" fmla="*/ 1749425 w 1867569"/>
                <a:gd name="connsiteY118" fmla="*/ 330200 h 1311275"/>
                <a:gd name="connsiteX119" fmla="*/ 1758950 w 1867569"/>
                <a:gd name="connsiteY119" fmla="*/ 327025 h 1311275"/>
                <a:gd name="connsiteX120" fmla="*/ 1778000 w 1867569"/>
                <a:gd name="connsiteY120" fmla="*/ 317500 h 1311275"/>
                <a:gd name="connsiteX121" fmla="*/ 1774825 w 1867569"/>
                <a:gd name="connsiteY121" fmla="*/ 307975 h 1311275"/>
                <a:gd name="connsiteX122" fmla="*/ 1765300 w 1867569"/>
                <a:gd name="connsiteY122" fmla="*/ 301625 h 1311275"/>
                <a:gd name="connsiteX123" fmla="*/ 1743075 w 1867569"/>
                <a:gd name="connsiteY123" fmla="*/ 295275 h 1311275"/>
                <a:gd name="connsiteX124" fmla="*/ 1758950 w 1867569"/>
                <a:gd name="connsiteY124" fmla="*/ 266700 h 1311275"/>
                <a:gd name="connsiteX125" fmla="*/ 1768475 w 1867569"/>
                <a:gd name="connsiteY125" fmla="*/ 263525 h 1311275"/>
                <a:gd name="connsiteX126" fmla="*/ 1816100 w 1867569"/>
                <a:gd name="connsiteY126" fmla="*/ 266700 h 1311275"/>
                <a:gd name="connsiteX127" fmla="*/ 1854200 w 1867569"/>
                <a:gd name="connsiteY127" fmla="*/ 273050 h 1311275"/>
                <a:gd name="connsiteX128" fmla="*/ 1866900 w 1867569"/>
                <a:gd name="connsiteY128" fmla="*/ 269875 h 1311275"/>
                <a:gd name="connsiteX129" fmla="*/ 1857375 w 1867569"/>
                <a:gd name="connsiteY129" fmla="*/ 247650 h 1311275"/>
                <a:gd name="connsiteX130" fmla="*/ 1851025 w 1867569"/>
                <a:gd name="connsiteY130" fmla="*/ 234950 h 1311275"/>
                <a:gd name="connsiteX131" fmla="*/ 1720850 w 1867569"/>
                <a:gd name="connsiteY131" fmla="*/ 133350 h 1311275"/>
                <a:gd name="connsiteX132" fmla="*/ 1695450 w 1867569"/>
                <a:gd name="connsiteY132" fmla="*/ 146050 h 1311275"/>
                <a:gd name="connsiteX133" fmla="*/ 1676400 w 1867569"/>
                <a:gd name="connsiteY133" fmla="*/ 152400 h 1311275"/>
                <a:gd name="connsiteX134" fmla="*/ 1584325 w 1867569"/>
                <a:gd name="connsiteY134" fmla="*/ 193675 h 1311275"/>
                <a:gd name="connsiteX135" fmla="*/ 1571625 w 1867569"/>
                <a:gd name="connsiteY135" fmla="*/ 174625 h 1311275"/>
                <a:gd name="connsiteX136" fmla="*/ 1552575 w 1867569"/>
                <a:gd name="connsiteY136" fmla="*/ 193675 h 1311275"/>
                <a:gd name="connsiteX137" fmla="*/ 1530350 w 1867569"/>
                <a:gd name="connsiteY137" fmla="*/ 203200 h 1311275"/>
                <a:gd name="connsiteX138" fmla="*/ 1511300 w 1867569"/>
                <a:gd name="connsiteY138" fmla="*/ 206375 h 1311275"/>
                <a:gd name="connsiteX139" fmla="*/ 1498600 w 1867569"/>
                <a:gd name="connsiteY139" fmla="*/ 209550 h 1311275"/>
                <a:gd name="connsiteX140" fmla="*/ 1482725 w 1867569"/>
                <a:gd name="connsiteY140" fmla="*/ 219075 h 1311275"/>
                <a:gd name="connsiteX141" fmla="*/ 1482725 w 1867569"/>
                <a:gd name="connsiteY141" fmla="*/ 142875 h 1311275"/>
                <a:gd name="connsiteX142" fmla="*/ 1457325 w 1867569"/>
                <a:gd name="connsiteY142" fmla="*/ 117475 h 1311275"/>
                <a:gd name="connsiteX143" fmla="*/ 1438275 w 1867569"/>
                <a:gd name="connsiteY143" fmla="*/ 114300 h 1311275"/>
                <a:gd name="connsiteX144" fmla="*/ 1409700 w 1867569"/>
                <a:gd name="connsiteY144" fmla="*/ 117475 h 1311275"/>
                <a:gd name="connsiteX145" fmla="*/ 1371600 w 1867569"/>
                <a:gd name="connsiteY145" fmla="*/ 120650 h 1311275"/>
                <a:gd name="connsiteX146" fmla="*/ 1358900 w 1867569"/>
                <a:gd name="connsiteY146" fmla="*/ 139700 h 1311275"/>
                <a:gd name="connsiteX147" fmla="*/ 1343025 w 1867569"/>
                <a:gd name="connsiteY147" fmla="*/ 165100 h 1311275"/>
                <a:gd name="connsiteX148" fmla="*/ 1320800 w 1867569"/>
                <a:gd name="connsiteY148" fmla="*/ 187325 h 1311275"/>
                <a:gd name="connsiteX149" fmla="*/ 1285875 w 1867569"/>
                <a:gd name="connsiteY149" fmla="*/ 196850 h 1311275"/>
                <a:gd name="connsiteX150" fmla="*/ 1250950 w 1867569"/>
                <a:gd name="connsiteY150" fmla="*/ 206375 h 1311275"/>
                <a:gd name="connsiteX151" fmla="*/ 1235075 w 1867569"/>
                <a:gd name="connsiteY151" fmla="*/ 203200 h 1311275"/>
                <a:gd name="connsiteX152" fmla="*/ 1225550 w 1867569"/>
                <a:gd name="connsiteY152" fmla="*/ 200025 h 1311275"/>
                <a:gd name="connsiteX153" fmla="*/ 1190625 w 1867569"/>
                <a:gd name="connsiteY153" fmla="*/ 200025 h 1311275"/>
                <a:gd name="connsiteX154" fmla="*/ 1079500 w 1867569"/>
                <a:gd name="connsiteY154" fmla="*/ 234950 h 1311275"/>
                <a:gd name="connsiteX155" fmla="*/ 1063625 w 1867569"/>
                <a:gd name="connsiteY155" fmla="*/ 212725 h 1311275"/>
                <a:gd name="connsiteX156" fmla="*/ 1060450 w 1867569"/>
                <a:gd name="connsiteY156" fmla="*/ 203200 h 1311275"/>
                <a:gd name="connsiteX157" fmla="*/ 1044575 w 1867569"/>
                <a:gd name="connsiteY157" fmla="*/ 200025 h 1311275"/>
                <a:gd name="connsiteX158" fmla="*/ 1025525 w 1867569"/>
                <a:gd name="connsiteY158" fmla="*/ 193675 h 1311275"/>
                <a:gd name="connsiteX159" fmla="*/ 1016000 w 1867569"/>
                <a:gd name="connsiteY159" fmla="*/ 190500 h 1311275"/>
                <a:gd name="connsiteX160" fmla="*/ 971550 w 1867569"/>
                <a:gd name="connsiteY160" fmla="*/ 104775 h 1311275"/>
                <a:gd name="connsiteX161" fmla="*/ 933450 w 1867569"/>
                <a:gd name="connsiteY161" fmla="*/ 92075 h 1311275"/>
                <a:gd name="connsiteX162" fmla="*/ 911225 w 1867569"/>
                <a:gd name="connsiteY162" fmla="*/ 88900 h 1311275"/>
                <a:gd name="connsiteX163" fmla="*/ 895350 w 1867569"/>
                <a:gd name="connsiteY163" fmla="*/ 85725 h 1311275"/>
                <a:gd name="connsiteX164" fmla="*/ 825500 w 1867569"/>
                <a:gd name="connsiteY164" fmla="*/ 73025 h 1311275"/>
                <a:gd name="connsiteX165" fmla="*/ 787400 w 1867569"/>
                <a:gd name="connsiteY165" fmla="*/ 0 h 1311275"/>
                <a:gd name="connsiteX166" fmla="*/ 571500 w 1867569"/>
                <a:gd name="connsiteY166" fmla="*/ 352425 h 1311275"/>
                <a:gd name="connsiteX167" fmla="*/ 555625 w 1867569"/>
                <a:gd name="connsiteY167" fmla="*/ 311150 h 1311275"/>
                <a:gd name="connsiteX168" fmla="*/ 552450 w 1867569"/>
                <a:gd name="connsiteY168" fmla="*/ 301625 h 1311275"/>
                <a:gd name="connsiteX169" fmla="*/ 546100 w 1867569"/>
                <a:gd name="connsiteY169" fmla="*/ 285750 h 1311275"/>
                <a:gd name="connsiteX170" fmla="*/ 542925 w 1867569"/>
                <a:gd name="connsiteY170" fmla="*/ 276225 h 1311275"/>
                <a:gd name="connsiteX171" fmla="*/ 533400 w 1867569"/>
                <a:gd name="connsiteY171" fmla="*/ 266700 h 1311275"/>
                <a:gd name="connsiteX172" fmla="*/ 530225 w 1867569"/>
                <a:gd name="connsiteY172" fmla="*/ 257175 h 1311275"/>
                <a:gd name="connsiteX173" fmla="*/ 520700 w 1867569"/>
                <a:gd name="connsiteY173" fmla="*/ 254000 h 1311275"/>
                <a:gd name="connsiteX174" fmla="*/ 508000 w 1867569"/>
                <a:gd name="connsiteY174" fmla="*/ 244475 h 1311275"/>
                <a:gd name="connsiteX175" fmla="*/ 498475 w 1867569"/>
                <a:gd name="connsiteY175" fmla="*/ 225425 h 1311275"/>
                <a:gd name="connsiteX176" fmla="*/ 479425 w 1867569"/>
                <a:gd name="connsiteY176" fmla="*/ 212725 h 1311275"/>
                <a:gd name="connsiteX177" fmla="*/ 438150 w 1867569"/>
                <a:gd name="connsiteY177" fmla="*/ 219075 h 1311275"/>
                <a:gd name="connsiteX178" fmla="*/ 422275 w 1867569"/>
                <a:gd name="connsiteY178" fmla="*/ 225425 h 1311275"/>
                <a:gd name="connsiteX179" fmla="*/ 393700 w 1867569"/>
                <a:gd name="connsiteY179" fmla="*/ 238125 h 1311275"/>
                <a:gd name="connsiteX180" fmla="*/ 374650 w 1867569"/>
                <a:gd name="connsiteY180" fmla="*/ 260350 h 1311275"/>
                <a:gd name="connsiteX181" fmla="*/ 368300 w 1867569"/>
                <a:gd name="connsiteY181" fmla="*/ 269875 h 1311275"/>
                <a:gd name="connsiteX182" fmla="*/ 352425 w 1867569"/>
                <a:gd name="connsiteY182" fmla="*/ 292100 h 1311275"/>
                <a:gd name="connsiteX183" fmla="*/ 339725 w 1867569"/>
                <a:gd name="connsiteY183" fmla="*/ 311150 h 1311275"/>
                <a:gd name="connsiteX184" fmla="*/ 327025 w 1867569"/>
                <a:gd name="connsiteY184" fmla="*/ 317500 h 1311275"/>
                <a:gd name="connsiteX185" fmla="*/ 317500 w 1867569"/>
                <a:gd name="connsiteY185" fmla="*/ 327025 h 1311275"/>
                <a:gd name="connsiteX186" fmla="*/ 228600 w 1867569"/>
                <a:gd name="connsiteY186" fmla="*/ 292100 h 1311275"/>
                <a:gd name="connsiteX187" fmla="*/ 139700 w 1867569"/>
                <a:gd name="connsiteY187" fmla="*/ 276225 h 1311275"/>
                <a:gd name="connsiteX188" fmla="*/ 117475 w 1867569"/>
                <a:gd name="connsiteY188" fmla="*/ 295275 h 1311275"/>
                <a:gd name="connsiteX189" fmla="*/ 107950 w 1867569"/>
                <a:gd name="connsiteY189" fmla="*/ 301625 h 1311275"/>
                <a:gd name="connsiteX190" fmla="*/ 92075 w 1867569"/>
                <a:gd name="connsiteY190" fmla="*/ 314325 h 1311275"/>
                <a:gd name="connsiteX191" fmla="*/ 85725 w 1867569"/>
                <a:gd name="connsiteY191" fmla="*/ 327025 h 1311275"/>
                <a:gd name="connsiteX192" fmla="*/ 79375 w 1867569"/>
                <a:gd name="connsiteY192" fmla="*/ 336550 h 1311275"/>
                <a:gd name="connsiteX193" fmla="*/ 76200 w 1867569"/>
                <a:gd name="connsiteY193" fmla="*/ 352425 h 1311275"/>
                <a:gd name="connsiteX194" fmla="*/ 69850 w 1867569"/>
                <a:gd name="connsiteY194" fmla="*/ 371475 h 1311275"/>
                <a:gd name="connsiteX195" fmla="*/ 66675 w 1867569"/>
                <a:gd name="connsiteY195" fmla="*/ 381000 h 1311275"/>
                <a:gd name="connsiteX196" fmla="*/ 34925 w 1867569"/>
                <a:gd name="connsiteY196" fmla="*/ 406400 h 1311275"/>
                <a:gd name="connsiteX197" fmla="*/ 28575 w 1867569"/>
                <a:gd name="connsiteY197" fmla="*/ 415925 h 1311275"/>
                <a:gd name="connsiteX198" fmla="*/ 19050 w 1867569"/>
                <a:gd name="connsiteY198" fmla="*/ 422275 h 1311275"/>
                <a:gd name="connsiteX199" fmla="*/ 6350 w 1867569"/>
                <a:gd name="connsiteY199" fmla="*/ 431800 h 1311275"/>
                <a:gd name="connsiteX200" fmla="*/ 0 w 1867569"/>
                <a:gd name="connsiteY200" fmla="*/ 441325 h 1311275"/>
                <a:gd name="connsiteX201" fmla="*/ 9525 w 1867569"/>
                <a:gd name="connsiteY201" fmla="*/ 469900 h 1311275"/>
                <a:gd name="connsiteX202" fmla="*/ 12700 w 1867569"/>
                <a:gd name="connsiteY202" fmla="*/ 479425 h 1311275"/>
                <a:gd name="connsiteX203" fmla="*/ 22225 w 1867569"/>
                <a:gd name="connsiteY203" fmla="*/ 485775 h 1311275"/>
                <a:gd name="connsiteX204" fmla="*/ 28575 w 1867569"/>
                <a:gd name="connsiteY204" fmla="*/ 495300 h 1311275"/>
                <a:gd name="connsiteX205" fmla="*/ 34925 w 1867569"/>
                <a:gd name="connsiteY205" fmla="*/ 514350 h 1311275"/>
                <a:gd name="connsiteX206" fmla="*/ 28575 w 1867569"/>
                <a:gd name="connsiteY206" fmla="*/ 546100 h 1311275"/>
                <a:gd name="connsiteX207" fmla="*/ 6350 w 1867569"/>
                <a:gd name="connsiteY207" fmla="*/ 552450 h 1311275"/>
                <a:gd name="connsiteX0" fmla="*/ 6350 w 1867569"/>
                <a:gd name="connsiteY0" fmla="*/ 552450 h 1311275"/>
                <a:gd name="connsiteX1" fmla="*/ 6350 w 1867569"/>
                <a:gd name="connsiteY1" fmla="*/ 552450 h 1311275"/>
                <a:gd name="connsiteX2" fmla="*/ 25400 w 1867569"/>
                <a:gd name="connsiteY2" fmla="*/ 577850 h 1311275"/>
                <a:gd name="connsiteX3" fmla="*/ 31750 w 1867569"/>
                <a:gd name="connsiteY3" fmla="*/ 587375 h 1311275"/>
                <a:gd name="connsiteX4" fmla="*/ 34925 w 1867569"/>
                <a:gd name="connsiteY4" fmla="*/ 631825 h 1311275"/>
                <a:gd name="connsiteX5" fmla="*/ 44450 w 1867569"/>
                <a:gd name="connsiteY5" fmla="*/ 657225 h 1311275"/>
                <a:gd name="connsiteX6" fmla="*/ 146050 w 1867569"/>
                <a:gd name="connsiteY6" fmla="*/ 676275 h 1311275"/>
                <a:gd name="connsiteX7" fmla="*/ 168275 w 1867569"/>
                <a:gd name="connsiteY7" fmla="*/ 692150 h 1311275"/>
                <a:gd name="connsiteX8" fmla="*/ 177800 w 1867569"/>
                <a:gd name="connsiteY8" fmla="*/ 695325 h 1311275"/>
                <a:gd name="connsiteX9" fmla="*/ 196850 w 1867569"/>
                <a:gd name="connsiteY9" fmla="*/ 711200 h 1311275"/>
                <a:gd name="connsiteX10" fmla="*/ 212725 w 1867569"/>
                <a:gd name="connsiteY10" fmla="*/ 733425 h 1311275"/>
                <a:gd name="connsiteX11" fmla="*/ 215900 w 1867569"/>
                <a:gd name="connsiteY11" fmla="*/ 742950 h 1311275"/>
                <a:gd name="connsiteX12" fmla="*/ 241300 w 1867569"/>
                <a:gd name="connsiteY12" fmla="*/ 758825 h 1311275"/>
                <a:gd name="connsiteX13" fmla="*/ 317500 w 1867569"/>
                <a:gd name="connsiteY13" fmla="*/ 777875 h 1311275"/>
                <a:gd name="connsiteX14" fmla="*/ 346075 w 1867569"/>
                <a:gd name="connsiteY14" fmla="*/ 755650 h 1311275"/>
                <a:gd name="connsiteX15" fmla="*/ 368300 w 1867569"/>
                <a:gd name="connsiteY15" fmla="*/ 739775 h 1311275"/>
                <a:gd name="connsiteX16" fmla="*/ 377825 w 1867569"/>
                <a:gd name="connsiteY16" fmla="*/ 733425 h 1311275"/>
                <a:gd name="connsiteX17" fmla="*/ 400050 w 1867569"/>
                <a:gd name="connsiteY17" fmla="*/ 730250 h 1311275"/>
                <a:gd name="connsiteX18" fmla="*/ 415925 w 1867569"/>
                <a:gd name="connsiteY18" fmla="*/ 723900 h 1311275"/>
                <a:gd name="connsiteX19" fmla="*/ 482600 w 1867569"/>
                <a:gd name="connsiteY19" fmla="*/ 777875 h 1311275"/>
                <a:gd name="connsiteX20" fmla="*/ 574675 w 1867569"/>
                <a:gd name="connsiteY20" fmla="*/ 774700 h 1311275"/>
                <a:gd name="connsiteX21" fmla="*/ 666750 w 1867569"/>
                <a:gd name="connsiteY21" fmla="*/ 727075 h 1311275"/>
                <a:gd name="connsiteX22" fmla="*/ 714375 w 1867569"/>
                <a:gd name="connsiteY22" fmla="*/ 631825 h 1311275"/>
                <a:gd name="connsiteX23" fmla="*/ 762000 w 1867569"/>
                <a:gd name="connsiteY23" fmla="*/ 679450 h 1311275"/>
                <a:gd name="connsiteX24" fmla="*/ 847725 w 1867569"/>
                <a:gd name="connsiteY24" fmla="*/ 701675 h 1311275"/>
                <a:gd name="connsiteX25" fmla="*/ 977900 w 1867569"/>
                <a:gd name="connsiteY25" fmla="*/ 701675 h 1311275"/>
                <a:gd name="connsiteX26" fmla="*/ 1085850 w 1867569"/>
                <a:gd name="connsiteY26" fmla="*/ 654050 h 1311275"/>
                <a:gd name="connsiteX27" fmla="*/ 1114425 w 1867569"/>
                <a:gd name="connsiteY27" fmla="*/ 660400 h 1311275"/>
                <a:gd name="connsiteX28" fmla="*/ 1127125 w 1867569"/>
                <a:gd name="connsiteY28" fmla="*/ 679450 h 1311275"/>
                <a:gd name="connsiteX29" fmla="*/ 1120775 w 1867569"/>
                <a:gd name="connsiteY29" fmla="*/ 698500 h 1311275"/>
                <a:gd name="connsiteX30" fmla="*/ 1111250 w 1867569"/>
                <a:gd name="connsiteY30" fmla="*/ 711200 h 1311275"/>
                <a:gd name="connsiteX31" fmla="*/ 1190625 w 1867569"/>
                <a:gd name="connsiteY31" fmla="*/ 701675 h 1311275"/>
                <a:gd name="connsiteX32" fmla="*/ 1212850 w 1867569"/>
                <a:gd name="connsiteY32" fmla="*/ 717550 h 1311275"/>
                <a:gd name="connsiteX33" fmla="*/ 1216025 w 1867569"/>
                <a:gd name="connsiteY33" fmla="*/ 752475 h 1311275"/>
                <a:gd name="connsiteX34" fmla="*/ 1222375 w 1867569"/>
                <a:gd name="connsiteY34" fmla="*/ 774700 h 1311275"/>
                <a:gd name="connsiteX35" fmla="*/ 1228725 w 1867569"/>
                <a:gd name="connsiteY35" fmla="*/ 787400 h 1311275"/>
                <a:gd name="connsiteX36" fmla="*/ 1235075 w 1867569"/>
                <a:gd name="connsiteY36" fmla="*/ 796925 h 1311275"/>
                <a:gd name="connsiteX37" fmla="*/ 1235075 w 1867569"/>
                <a:gd name="connsiteY37" fmla="*/ 806450 h 1311275"/>
                <a:gd name="connsiteX38" fmla="*/ 1304925 w 1867569"/>
                <a:gd name="connsiteY38" fmla="*/ 831850 h 1311275"/>
                <a:gd name="connsiteX39" fmla="*/ 1333500 w 1867569"/>
                <a:gd name="connsiteY39" fmla="*/ 825500 h 1311275"/>
                <a:gd name="connsiteX40" fmla="*/ 1349375 w 1867569"/>
                <a:gd name="connsiteY40" fmla="*/ 831850 h 1311275"/>
                <a:gd name="connsiteX41" fmla="*/ 1365250 w 1867569"/>
                <a:gd name="connsiteY41" fmla="*/ 850900 h 1311275"/>
                <a:gd name="connsiteX42" fmla="*/ 1390650 w 1867569"/>
                <a:gd name="connsiteY42" fmla="*/ 854075 h 1311275"/>
                <a:gd name="connsiteX43" fmla="*/ 1390650 w 1867569"/>
                <a:gd name="connsiteY43" fmla="*/ 901700 h 1311275"/>
                <a:gd name="connsiteX44" fmla="*/ 1384300 w 1867569"/>
                <a:gd name="connsiteY44" fmla="*/ 914400 h 1311275"/>
                <a:gd name="connsiteX45" fmla="*/ 1419225 w 1867569"/>
                <a:gd name="connsiteY45" fmla="*/ 952500 h 1311275"/>
                <a:gd name="connsiteX46" fmla="*/ 1447800 w 1867569"/>
                <a:gd name="connsiteY46" fmla="*/ 942975 h 1311275"/>
                <a:gd name="connsiteX47" fmla="*/ 1457325 w 1867569"/>
                <a:gd name="connsiteY47" fmla="*/ 936625 h 1311275"/>
                <a:gd name="connsiteX48" fmla="*/ 1466850 w 1867569"/>
                <a:gd name="connsiteY48" fmla="*/ 933450 h 1311275"/>
                <a:gd name="connsiteX49" fmla="*/ 1504950 w 1867569"/>
                <a:gd name="connsiteY49" fmla="*/ 936625 h 1311275"/>
                <a:gd name="connsiteX50" fmla="*/ 1508125 w 1867569"/>
                <a:gd name="connsiteY50" fmla="*/ 968375 h 1311275"/>
                <a:gd name="connsiteX51" fmla="*/ 1517650 w 1867569"/>
                <a:gd name="connsiteY51" fmla="*/ 1000125 h 1311275"/>
                <a:gd name="connsiteX52" fmla="*/ 1520825 w 1867569"/>
                <a:gd name="connsiteY52" fmla="*/ 1009650 h 1311275"/>
                <a:gd name="connsiteX53" fmla="*/ 1524000 w 1867569"/>
                <a:gd name="connsiteY53" fmla="*/ 1019175 h 1311275"/>
                <a:gd name="connsiteX54" fmla="*/ 1530350 w 1867569"/>
                <a:gd name="connsiteY54" fmla="*/ 1050925 h 1311275"/>
                <a:gd name="connsiteX55" fmla="*/ 1527175 w 1867569"/>
                <a:gd name="connsiteY55" fmla="*/ 1089025 h 1311275"/>
                <a:gd name="connsiteX56" fmla="*/ 1498600 w 1867569"/>
                <a:gd name="connsiteY56" fmla="*/ 1104900 h 1311275"/>
                <a:gd name="connsiteX57" fmla="*/ 1485900 w 1867569"/>
                <a:gd name="connsiteY57" fmla="*/ 1114425 h 1311275"/>
                <a:gd name="connsiteX58" fmla="*/ 1482725 w 1867569"/>
                <a:gd name="connsiteY58" fmla="*/ 1139825 h 1311275"/>
                <a:gd name="connsiteX59" fmla="*/ 1492250 w 1867569"/>
                <a:gd name="connsiteY59" fmla="*/ 1165225 h 1311275"/>
                <a:gd name="connsiteX60" fmla="*/ 1498600 w 1867569"/>
                <a:gd name="connsiteY60" fmla="*/ 1174750 h 1311275"/>
                <a:gd name="connsiteX61" fmla="*/ 1504950 w 1867569"/>
                <a:gd name="connsiteY61" fmla="*/ 1200150 h 1311275"/>
                <a:gd name="connsiteX62" fmla="*/ 1508125 w 1867569"/>
                <a:gd name="connsiteY62" fmla="*/ 1276350 h 1311275"/>
                <a:gd name="connsiteX63" fmla="*/ 1511300 w 1867569"/>
                <a:gd name="connsiteY63" fmla="*/ 1285875 h 1311275"/>
                <a:gd name="connsiteX64" fmla="*/ 1530350 w 1867569"/>
                <a:gd name="connsiteY64" fmla="*/ 1298575 h 1311275"/>
                <a:gd name="connsiteX65" fmla="*/ 1549400 w 1867569"/>
                <a:gd name="connsiteY65" fmla="*/ 1295400 h 1311275"/>
                <a:gd name="connsiteX66" fmla="*/ 1558925 w 1867569"/>
                <a:gd name="connsiteY66" fmla="*/ 1289050 h 1311275"/>
                <a:gd name="connsiteX67" fmla="*/ 1571625 w 1867569"/>
                <a:gd name="connsiteY67" fmla="*/ 1282700 h 1311275"/>
                <a:gd name="connsiteX68" fmla="*/ 1581150 w 1867569"/>
                <a:gd name="connsiteY68" fmla="*/ 1276350 h 1311275"/>
                <a:gd name="connsiteX69" fmla="*/ 1600200 w 1867569"/>
                <a:gd name="connsiteY69" fmla="*/ 1270000 h 1311275"/>
                <a:gd name="connsiteX70" fmla="*/ 1647825 w 1867569"/>
                <a:gd name="connsiteY70" fmla="*/ 1273175 h 1311275"/>
                <a:gd name="connsiteX71" fmla="*/ 1651000 w 1867569"/>
                <a:gd name="connsiteY71" fmla="*/ 1289050 h 1311275"/>
                <a:gd name="connsiteX72" fmla="*/ 1660525 w 1867569"/>
                <a:gd name="connsiteY72" fmla="*/ 1308100 h 1311275"/>
                <a:gd name="connsiteX73" fmla="*/ 1685925 w 1867569"/>
                <a:gd name="connsiteY73" fmla="*/ 1311275 h 1311275"/>
                <a:gd name="connsiteX74" fmla="*/ 1717675 w 1867569"/>
                <a:gd name="connsiteY74" fmla="*/ 1295400 h 1311275"/>
                <a:gd name="connsiteX75" fmla="*/ 1727200 w 1867569"/>
                <a:gd name="connsiteY75" fmla="*/ 1292225 h 1311275"/>
                <a:gd name="connsiteX76" fmla="*/ 1755775 w 1867569"/>
                <a:gd name="connsiteY76" fmla="*/ 1279525 h 1311275"/>
                <a:gd name="connsiteX77" fmla="*/ 1765300 w 1867569"/>
                <a:gd name="connsiteY77" fmla="*/ 1276350 h 1311275"/>
                <a:gd name="connsiteX78" fmla="*/ 1790700 w 1867569"/>
                <a:gd name="connsiteY78" fmla="*/ 1276350 h 1311275"/>
                <a:gd name="connsiteX79" fmla="*/ 1809750 w 1867569"/>
                <a:gd name="connsiteY79" fmla="*/ 1238250 h 1311275"/>
                <a:gd name="connsiteX80" fmla="*/ 1790700 w 1867569"/>
                <a:gd name="connsiteY80" fmla="*/ 1187450 h 1311275"/>
                <a:gd name="connsiteX81" fmla="*/ 1793875 w 1867569"/>
                <a:gd name="connsiteY81" fmla="*/ 1158875 h 1311275"/>
                <a:gd name="connsiteX82" fmla="*/ 1797050 w 1867569"/>
                <a:gd name="connsiteY82" fmla="*/ 1149350 h 1311275"/>
                <a:gd name="connsiteX83" fmla="*/ 1806575 w 1867569"/>
                <a:gd name="connsiteY83" fmla="*/ 1143000 h 1311275"/>
                <a:gd name="connsiteX84" fmla="*/ 1819275 w 1867569"/>
                <a:gd name="connsiteY84" fmla="*/ 1133475 h 1311275"/>
                <a:gd name="connsiteX85" fmla="*/ 1831975 w 1867569"/>
                <a:gd name="connsiteY85" fmla="*/ 1114425 h 1311275"/>
                <a:gd name="connsiteX86" fmla="*/ 1847850 w 1867569"/>
                <a:gd name="connsiteY86" fmla="*/ 1095375 h 1311275"/>
                <a:gd name="connsiteX87" fmla="*/ 1851025 w 1867569"/>
                <a:gd name="connsiteY87" fmla="*/ 1085850 h 1311275"/>
                <a:gd name="connsiteX88" fmla="*/ 1847850 w 1867569"/>
                <a:gd name="connsiteY88" fmla="*/ 1054100 h 1311275"/>
                <a:gd name="connsiteX89" fmla="*/ 1825625 w 1867569"/>
                <a:gd name="connsiteY89" fmla="*/ 1028700 h 1311275"/>
                <a:gd name="connsiteX90" fmla="*/ 1816100 w 1867569"/>
                <a:gd name="connsiteY90" fmla="*/ 1019175 h 1311275"/>
                <a:gd name="connsiteX91" fmla="*/ 1806575 w 1867569"/>
                <a:gd name="connsiteY91" fmla="*/ 1012825 h 1311275"/>
                <a:gd name="connsiteX92" fmla="*/ 1787525 w 1867569"/>
                <a:gd name="connsiteY92" fmla="*/ 990600 h 1311275"/>
                <a:gd name="connsiteX93" fmla="*/ 1787525 w 1867569"/>
                <a:gd name="connsiteY93" fmla="*/ 942975 h 1311275"/>
                <a:gd name="connsiteX94" fmla="*/ 1790700 w 1867569"/>
                <a:gd name="connsiteY94" fmla="*/ 933450 h 1311275"/>
                <a:gd name="connsiteX95" fmla="*/ 1809750 w 1867569"/>
                <a:gd name="connsiteY95" fmla="*/ 917575 h 1311275"/>
                <a:gd name="connsiteX96" fmla="*/ 1816100 w 1867569"/>
                <a:gd name="connsiteY96" fmla="*/ 908050 h 1311275"/>
                <a:gd name="connsiteX97" fmla="*/ 1809750 w 1867569"/>
                <a:gd name="connsiteY97" fmla="*/ 898525 h 1311275"/>
                <a:gd name="connsiteX98" fmla="*/ 1787525 w 1867569"/>
                <a:gd name="connsiteY98" fmla="*/ 869950 h 1311275"/>
                <a:gd name="connsiteX99" fmla="*/ 1778000 w 1867569"/>
                <a:gd name="connsiteY99" fmla="*/ 841375 h 1311275"/>
                <a:gd name="connsiteX100" fmla="*/ 1774825 w 1867569"/>
                <a:gd name="connsiteY100" fmla="*/ 831850 h 1311275"/>
                <a:gd name="connsiteX101" fmla="*/ 1758950 w 1867569"/>
                <a:gd name="connsiteY101" fmla="*/ 803275 h 1311275"/>
                <a:gd name="connsiteX102" fmla="*/ 1765300 w 1867569"/>
                <a:gd name="connsiteY102" fmla="*/ 679450 h 1311275"/>
                <a:gd name="connsiteX103" fmla="*/ 1784350 w 1867569"/>
                <a:gd name="connsiteY103" fmla="*/ 673100 h 1311275"/>
                <a:gd name="connsiteX104" fmla="*/ 1793875 w 1867569"/>
                <a:gd name="connsiteY104" fmla="*/ 669925 h 1311275"/>
                <a:gd name="connsiteX105" fmla="*/ 1806575 w 1867569"/>
                <a:gd name="connsiteY105" fmla="*/ 660400 h 1311275"/>
                <a:gd name="connsiteX106" fmla="*/ 1812925 w 1867569"/>
                <a:gd name="connsiteY106" fmla="*/ 625475 h 1311275"/>
                <a:gd name="connsiteX107" fmla="*/ 1812925 w 1867569"/>
                <a:gd name="connsiteY107" fmla="*/ 488950 h 1311275"/>
                <a:gd name="connsiteX108" fmla="*/ 1806575 w 1867569"/>
                <a:gd name="connsiteY108" fmla="*/ 469900 h 1311275"/>
                <a:gd name="connsiteX109" fmla="*/ 1793875 w 1867569"/>
                <a:gd name="connsiteY109" fmla="*/ 454025 h 1311275"/>
                <a:gd name="connsiteX110" fmla="*/ 1790700 w 1867569"/>
                <a:gd name="connsiteY110" fmla="*/ 406400 h 1311275"/>
                <a:gd name="connsiteX111" fmla="*/ 1768475 w 1867569"/>
                <a:gd name="connsiteY111" fmla="*/ 403225 h 1311275"/>
                <a:gd name="connsiteX112" fmla="*/ 1771650 w 1867569"/>
                <a:gd name="connsiteY112" fmla="*/ 393700 h 1311275"/>
                <a:gd name="connsiteX113" fmla="*/ 1778000 w 1867569"/>
                <a:gd name="connsiteY113" fmla="*/ 384175 h 1311275"/>
                <a:gd name="connsiteX114" fmla="*/ 1749425 w 1867569"/>
                <a:gd name="connsiteY114" fmla="*/ 371475 h 1311275"/>
                <a:gd name="connsiteX115" fmla="*/ 1739900 w 1867569"/>
                <a:gd name="connsiteY115" fmla="*/ 365125 h 1311275"/>
                <a:gd name="connsiteX116" fmla="*/ 1730375 w 1867569"/>
                <a:gd name="connsiteY116" fmla="*/ 361950 h 1311275"/>
                <a:gd name="connsiteX117" fmla="*/ 1736725 w 1867569"/>
                <a:gd name="connsiteY117" fmla="*/ 336550 h 1311275"/>
                <a:gd name="connsiteX118" fmla="*/ 1749425 w 1867569"/>
                <a:gd name="connsiteY118" fmla="*/ 330200 h 1311275"/>
                <a:gd name="connsiteX119" fmla="*/ 1758950 w 1867569"/>
                <a:gd name="connsiteY119" fmla="*/ 327025 h 1311275"/>
                <a:gd name="connsiteX120" fmla="*/ 1778000 w 1867569"/>
                <a:gd name="connsiteY120" fmla="*/ 317500 h 1311275"/>
                <a:gd name="connsiteX121" fmla="*/ 1774825 w 1867569"/>
                <a:gd name="connsiteY121" fmla="*/ 307975 h 1311275"/>
                <a:gd name="connsiteX122" fmla="*/ 1765300 w 1867569"/>
                <a:gd name="connsiteY122" fmla="*/ 301625 h 1311275"/>
                <a:gd name="connsiteX123" fmla="*/ 1743075 w 1867569"/>
                <a:gd name="connsiteY123" fmla="*/ 295275 h 1311275"/>
                <a:gd name="connsiteX124" fmla="*/ 1758950 w 1867569"/>
                <a:gd name="connsiteY124" fmla="*/ 266700 h 1311275"/>
                <a:gd name="connsiteX125" fmla="*/ 1768475 w 1867569"/>
                <a:gd name="connsiteY125" fmla="*/ 263525 h 1311275"/>
                <a:gd name="connsiteX126" fmla="*/ 1816100 w 1867569"/>
                <a:gd name="connsiteY126" fmla="*/ 266700 h 1311275"/>
                <a:gd name="connsiteX127" fmla="*/ 1854200 w 1867569"/>
                <a:gd name="connsiteY127" fmla="*/ 273050 h 1311275"/>
                <a:gd name="connsiteX128" fmla="*/ 1866900 w 1867569"/>
                <a:gd name="connsiteY128" fmla="*/ 269875 h 1311275"/>
                <a:gd name="connsiteX129" fmla="*/ 1857375 w 1867569"/>
                <a:gd name="connsiteY129" fmla="*/ 247650 h 1311275"/>
                <a:gd name="connsiteX130" fmla="*/ 1851025 w 1867569"/>
                <a:gd name="connsiteY130" fmla="*/ 234950 h 1311275"/>
                <a:gd name="connsiteX131" fmla="*/ 1720850 w 1867569"/>
                <a:gd name="connsiteY131" fmla="*/ 133350 h 1311275"/>
                <a:gd name="connsiteX132" fmla="*/ 1695450 w 1867569"/>
                <a:gd name="connsiteY132" fmla="*/ 146050 h 1311275"/>
                <a:gd name="connsiteX133" fmla="*/ 1676400 w 1867569"/>
                <a:gd name="connsiteY133" fmla="*/ 152400 h 1311275"/>
                <a:gd name="connsiteX134" fmla="*/ 1636713 w 1867569"/>
                <a:gd name="connsiteY134" fmla="*/ 173831 h 1311275"/>
                <a:gd name="connsiteX135" fmla="*/ 1584325 w 1867569"/>
                <a:gd name="connsiteY135" fmla="*/ 193675 h 1311275"/>
                <a:gd name="connsiteX136" fmla="*/ 1571625 w 1867569"/>
                <a:gd name="connsiteY136" fmla="*/ 174625 h 1311275"/>
                <a:gd name="connsiteX137" fmla="*/ 1552575 w 1867569"/>
                <a:gd name="connsiteY137" fmla="*/ 193675 h 1311275"/>
                <a:gd name="connsiteX138" fmla="*/ 1530350 w 1867569"/>
                <a:gd name="connsiteY138" fmla="*/ 203200 h 1311275"/>
                <a:gd name="connsiteX139" fmla="*/ 1511300 w 1867569"/>
                <a:gd name="connsiteY139" fmla="*/ 206375 h 1311275"/>
                <a:gd name="connsiteX140" fmla="*/ 1498600 w 1867569"/>
                <a:gd name="connsiteY140" fmla="*/ 209550 h 1311275"/>
                <a:gd name="connsiteX141" fmla="*/ 1482725 w 1867569"/>
                <a:gd name="connsiteY141" fmla="*/ 219075 h 1311275"/>
                <a:gd name="connsiteX142" fmla="*/ 1482725 w 1867569"/>
                <a:gd name="connsiteY142" fmla="*/ 142875 h 1311275"/>
                <a:gd name="connsiteX143" fmla="*/ 1457325 w 1867569"/>
                <a:gd name="connsiteY143" fmla="*/ 117475 h 1311275"/>
                <a:gd name="connsiteX144" fmla="*/ 1438275 w 1867569"/>
                <a:gd name="connsiteY144" fmla="*/ 114300 h 1311275"/>
                <a:gd name="connsiteX145" fmla="*/ 1409700 w 1867569"/>
                <a:gd name="connsiteY145" fmla="*/ 117475 h 1311275"/>
                <a:gd name="connsiteX146" fmla="*/ 1371600 w 1867569"/>
                <a:gd name="connsiteY146" fmla="*/ 120650 h 1311275"/>
                <a:gd name="connsiteX147" fmla="*/ 1358900 w 1867569"/>
                <a:gd name="connsiteY147" fmla="*/ 139700 h 1311275"/>
                <a:gd name="connsiteX148" fmla="*/ 1343025 w 1867569"/>
                <a:gd name="connsiteY148" fmla="*/ 165100 h 1311275"/>
                <a:gd name="connsiteX149" fmla="*/ 1320800 w 1867569"/>
                <a:gd name="connsiteY149" fmla="*/ 187325 h 1311275"/>
                <a:gd name="connsiteX150" fmla="*/ 1285875 w 1867569"/>
                <a:gd name="connsiteY150" fmla="*/ 196850 h 1311275"/>
                <a:gd name="connsiteX151" fmla="*/ 1250950 w 1867569"/>
                <a:gd name="connsiteY151" fmla="*/ 206375 h 1311275"/>
                <a:gd name="connsiteX152" fmla="*/ 1235075 w 1867569"/>
                <a:gd name="connsiteY152" fmla="*/ 203200 h 1311275"/>
                <a:gd name="connsiteX153" fmla="*/ 1225550 w 1867569"/>
                <a:gd name="connsiteY153" fmla="*/ 200025 h 1311275"/>
                <a:gd name="connsiteX154" fmla="*/ 1190625 w 1867569"/>
                <a:gd name="connsiteY154" fmla="*/ 200025 h 1311275"/>
                <a:gd name="connsiteX155" fmla="*/ 1079500 w 1867569"/>
                <a:gd name="connsiteY155" fmla="*/ 234950 h 1311275"/>
                <a:gd name="connsiteX156" fmla="*/ 1063625 w 1867569"/>
                <a:gd name="connsiteY156" fmla="*/ 212725 h 1311275"/>
                <a:gd name="connsiteX157" fmla="*/ 1060450 w 1867569"/>
                <a:gd name="connsiteY157" fmla="*/ 203200 h 1311275"/>
                <a:gd name="connsiteX158" fmla="*/ 1044575 w 1867569"/>
                <a:gd name="connsiteY158" fmla="*/ 200025 h 1311275"/>
                <a:gd name="connsiteX159" fmla="*/ 1025525 w 1867569"/>
                <a:gd name="connsiteY159" fmla="*/ 193675 h 1311275"/>
                <a:gd name="connsiteX160" fmla="*/ 1016000 w 1867569"/>
                <a:gd name="connsiteY160" fmla="*/ 190500 h 1311275"/>
                <a:gd name="connsiteX161" fmla="*/ 971550 w 1867569"/>
                <a:gd name="connsiteY161" fmla="*/ 104775 h 1311275"/>
                <a:gd name="connsiteX162" fmla="*/ 933450 w 1867569"/>
                <a:gd name="connsiteY162" fmla="*/ 92075 h 1311275"/>
                <a:gd name="connsiteX163" fmla="*/ 911225 w 1867569"/>
                <a:gd name="connsiteY163" fmla="*/ 88900 h 1311275"/>
                <a:gd name="connsiteX164" fmla="*/ 895350 w 1867569"/>
                <a:gd name="connsiteY164" fmla="*/ 85725 h 1311275"/>
                <a:gd name="connsiteX165" fmla="*/ 825500 w 1867569"/>
                <a:gd name="connsiteY165" fmla="*/ 73025 h 1311275"/>
                <a:gd name="connsiteX166" fmla="*/ 787400 w 1867569"/>
                <a:gd name="connsiteY166" fmla="*/ 0 h 1311275"/>
                <a:gd name="connsiteX167" fmla="*/ 571500 w 1867569"/>
                <a:gd name="connsiteY167" fmla="*/ 352425 h 1311275"/>
                <a:gd name="connsiteX168" fmla="*/ 555625 w 1867569"/>
                <a:gd name="connsiteY168" fmla="*/ 311150 h 1311275"/>
                <a:gd name="connsiteX169" fmla="*/ 552450 w 1867569"/>
                <a:gd name="connsiteY169" fmla="*/ 301625 h 1311275"/>
                <a:gd name="connsiteX170" fmla="*/ 546100 w 1867569"/>
                <a:gd name="connsiteY170" fmla="*/ 285750 h 1311275"/>
                <a:gd name="connsiteX171" fmla="*/ 542925 w 1867569"/>
                <a:gd name="connsiteY171" fmla="*/ 276225 h 1311275"/>
                <a:gd name="connsiteX172" fmla="*/ 533400 w 1867569"/>
                <a:gd name="connsiteY172" fmla="*/ 266700 h 1311275"/>
                <a:gd name="connsiteX173" fmla="*/ 530225 w 1867569"/>
                <a:gd name="connsiteY173" fmla="*/ 257175 h 1311275"/>
                <a:gd name="connsiteX174" fmla="*/ 520700 w 1867569"/>
                <a:gd name="connsiteY174" fmla="*/ 254000 h 1311275"/>
                <a:gd name="connsiteX175" fmla="*/ 508000 w 1867569"/>
                <a:gd name="connsiteY175" fmla="*/ 244475 h 1311275"/>
                <a:gd name="connsiteX176" fmla="*/ 498475 w 1867569"/>
                <a:gd name="connsiteY176" fmla="*/ 225425 h 1311275"/>
                <a:gd name="connsiteX177" fmla="*/ 479425 w 1867569"/>
                <a:gd name="connsiteY177" fmla="*/ 212725 h 1311275"/>
                <a:gd name="connsiteX178" fmla="*/ 438150 w 1867569"/>
                <a:gd name="connsiteY178" fmla="*/ 219075 h 1311275"/>
                <a:gd name="connsiteX179" fmla="*/ 422275 w 1867569"/>
                <a:gd name="connsiteY179" fmla="*/ 225425 h 1311275"/>
                <a:gd name="connsiteX180" fmla="*/ 393700 w 1867569"/>
                <a:gd name="connsiteY180" fmla="*/ 238125 h 1311275"/>
                <a:gd name="connsiteX181" fmla="*/ 374650 w 1867569"/>
                <a:gd name="connsiteY181" fmla="*/ 260350 h 1311275"/>
                <a:gd name="connsiteX182" fmla="*/ 368300 w 1867569"/>
                <a:gd name="connsiteY182" fmla="*/ 269875 h 1311275"/>
                <a:gd name="connsiteX183" fmla="*/ 352425 w 1867569"/>
                <a:gd name="connsiteY183" fmla="*/ 292100 h 1311275"/>
                <a:gd name="connsiteX184" fmla="*/ 339725 w 1867569"/>
                <a:gd name="connsiteY184" fmla="*/ 311150 h 1311275"/>
                <a:gd name="connsiteX185" fmla="*/ 327025 w 1867569"/>
                <a:gd name="connsiteY185" fmla="*/ 317500 h 1311275"/>
                <a:gd name="connsiteX186" fmla="*/ 317500 w 1867569"/>
                <a:gd name="connsiteY186" fmla="*/ 327025 h 1311275"/>
                <a:gd name="connsiteX187" fmla="*/ 228600 w 1867569"/>
                <a:gd name="connsiteY187" fmla="*/ 292100 h 1311275"/>
                <a:gd name="connsiteX188" fmla="*/ 139700 w 1867569"/>
                <a:gd name="connsiteY188" fmla="*/ 276225 h 1311275"/>
                <a:gd name="connsiteX189" fmla="*/ 117475 w 1867569"/>
                <a:gd name="connsiteY189" fmla="*/ 295275 h 1311275"/>
                <a:gd name="connsiteX190" fmla="*/ 107950 w 1867569"/>
                <a:gd name="connsiteY190" fmla="*/ 301625 h 1311275"/>
                <a:gd name="connsiteX191" fmla="*/ 92075 w 1867569"/>
                <a:gd name="connsiteY191" fmla="*/ 314325 h 1311275"/>
                <a:gd name="connsiteX192" fmla="*/ 85725 w 1867569"/>
                <a:gd name="connsiteY192" fmla="*/ 327025 h 1311275"/>
                <a:gd name="connsiteX193" fmla="*/ 79375 w 1867569"/>
                <a:gd name="connsiteY193" fmla="*/ 336550 h 1311275"/>
                <a:gd name="connsiteX194" fmla="*/ 76200 w 1867569"/>
                <a:gd name="connsiteY194" fmla="*/ 352425 h 1311275"/>
                <a:gd name="connsiteX195" fmla="*/ 69850 w 1867569"/>
                <a:gd name="connsiteY195" fmla="*/ 371475 h 1311275"/>
                <a:gd name="connsiteX196" fmla="*/ 66675 w 1867569"/>
                <a:gd name="connsiteY196" fmla="*/ 381000 h 1311275"/>
                <a:gd name="connsiteX197" fmla="*/ 34925 w 1867569"/>
                <a:gd name="connsiteY197" fmla="*/ 406400 h 1311275"/>
                <a:gd name="connsiteX198" fmla="*/ 28575 w 1867569"/>
                <a:gd name="connsiteY198" fmla="*/ 415925 h 1311275"/>
                <a:gd name="connsiteX199" fmla="*/ 19050 w 1867569"/>
                <a:gd name="connsiteY199" fmla="*/ 422275 h 1311275"/>
                <a:gd name="connsiteX200" fmla="*/ 6350 w 1867569"/>
                <a:gd name="connsiteY200" fmla="*/ 431800 h 1311275"/>
                <a:gd name="connsiteX201" fmla="*/ 0 w 1867569"/>
                <a:gd name="connsiteY201" fmla="*/ 441325 h 1311275"/>
                <a:gd name="connsiteX202" fmla="*/ 9525 w 1867569"/>
                <a:gd name="connsiteY202" fmla="*/ 469900 h 1311275"/>
                <a:gd name="connsiteX203" fmla="*/ 12700 w 1867569"/>
                <a:gd name="connsiteY203" fmla="*/ 479425 h 1311275"/>
                <a:gd name="connsiteX204" fmla="*/ 22225 w 1867569"/>
                <a:gd name="connsiteY204" fmla="*/ 485775 h 1311275"/>
                <a:gd name="connsiteX205" fmla="*/ 28575 w 1867569"/>
                <a:gd name="connsiteY205" fmla="*/ 495300 h 1311275"/>
                <a:gd name="connsiteX206" fmla="*/ 34925 w 1867569"/>
                <a:gd name="connsiteY206" fmla="*/ 514350 h 1311275"/>
                <a:gd name="connsiteX207" fmla="*/ 28575 w 1867569"/>
                <a:gd name="connsiteY207" fmla="*/ 546100 h 1311275"/>
                <a:gd name="connsiteX208" fmla="*/ 6350 w 1867569"/>
                <a:gd name="connsiteY208" fmla="*/ 552450 h 1311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Lst>
              <a:rect l="l" t="t" r="r" b="b"/>
              <a:pathLst>
                <a:path w="1867569" h="1311275">
                  <a:moveTo>
                    <a:pt x="6350" y="552450"/>
                  </a:moveTo>
                  <a:lnTo>
                    <a:pt x="6350" y="552450"/>
                  </a:lnTo>
                  <a:cubicBezTo>
                    <a:pt x="12700" y="560917"/>
                    <a:pt x="19175" y="569291"/>
                    <a:pt x="25400" y="577850"/>
                  </a:cubicBezTo>
                  <a:cubicBezTo>
                    <a:pt x="27644" y="580936"/>
                    <a:pt x="31087" y="583617"/>
                    <a:pt x="31750" y="587375"/>
                  </a:cubicBezTo>
                  <a:cubicBezTo>
                    <a:pt x="34331" y="602003"/>
                    <a:pt x="32721" y="617135"/>
                    <a:pt x="34925" y="631825"/>
                  </a:cubicBezTo>
                  <a:cubicBezTo>
                    <a:pt x="36446" y="641966"/>
                    <a:pt x="40253" y="648832"/>
                    <a:pt x="44450" y="657225"/>
                  </a:cubicBezTo>
                  <a:lnTo>
                    <a:pt x="146050" y="676275"/>
                  </a:lnTo>
                  <a:cubicBezTo>
                    <a:pt x="153458" y="681567"/>
                    <a:pt x="160468" y="687466"/>
                    <a:pt x="168275" y="692150"/>
                  </a:cubicBezTo>
                  <a:cubicBezTo>
                    <a:pt x="171145" y="693872"/>
                    <a:pt x="174807" y="693828"/>
                    <a:pt x="177800" y="695325"/>
                  </a:cubicBezTo>
                  <a:cubicBezTo>
                    <a:pt x="185149" y="698999"/>
                    <a:pt x="191584" y="705056"/>
                    <a:pt x="196850" y="711200"/>
                  </a:cubicBezTo>
                  <a:cubicBezTo>
                    <a:pt x="198576" y="713213"/>
                    <a:pt x="210715" y="729405"/>
                    <a:pt x="212725" y="733425"/>
                  </a:cubicBezTo>
                  <a:cubicBezTo>
                    <a:pt x="214222" y="736418"/>
                    <a:pt x="213533" y="740583"/>
                    <a:pt x="215900" y="742950"/>
                  </a:cubicBezTo>
                  <a:cubicBezTo>
                    <a:pt x="222906" y="749956"/>
                    <a:pt x="232469" y="754410"/>
                    <a:pt x="241300" y="758825"/>
                  </a:cubicBezTo>
                  <a:lnTo>
                    <a:pt x="317500" y="777875"/>
                  </a:lnTo>
                  <a:cubicBezTo>
                    <a:pt x="327025" y="770467"/>
                    <a:pt x="337180" y="763804"/>
                    <a:pt x="346075" y="755650"/>
                  </a:cubicBezTo>
                  <a:cubicBezTo>
                    <a:pt x="365808" y="737562"/>
                    <a:pt x="344208" y="745798"/>
                    <a:pt x="368300" y="739775"/>
                  </a:cubicBezTo>
                  <a:cubicBezTo>
                    <a:pt x="371475" y="737658"/>
                    <a:pt x="374170" y="734521"/>
                    <a:pt x="377825" y="733425"/>
                  </a:cubicBezTo>
                  <a:cubicBezTo>
                    <a:pt x="384993" y="731275"/>
                    <a:pt x="392712" y="731718"/>
                    <a:pt x="400050" y="730250"/>
                  </a:cubicBezTo>
                  <a:cubicBezTo>
                    <a:pt x="406589" y="728942"/>
                    <a:pt x="410281" y="726722"/>
                    <a:pt x="415925" y="723900"/>
                  </a:cubicBezTo>
                  <a:lnTo>
                    <a:pt x="482600" y="777875"/>
                  </a:lnTo>
                  <a:lnTo>
                    <a:pt x="574675" y="774700"/>
                  </a:lnTo>
                  <a:lnTo>
                    <a:pt x="666750" y="727075"/>
                  </a:lnTo>
                  <a:lnTo>
                    <a:pt x="714375" y="631825"/>
                  </a:lnTo>
                  <a:lnTo>
                    <a:pt x="762000" y="679450"/>
                  </a:lnTo>
                  <a:lnTo>
                    <a:pt x="847725" y="701675"/>
                  </a:lnTo>
                  <a:lnTo>
                    <a:pt x="977900" y="701675"/>
                  </a:lnTo>
                  <a:lnTo>
                    <a:pt x="1085850" y="654050"/>
                  </a:lnTo>
                  <a:cubicBezTo>
                    <a:pt x="1095375" y="656167"/>
                    <a:pt x="1106115" y="655286"/>
                    <a:pt x="1114425" y="660400"/>
                  </a:cubicBezTo>
                  <a:cubicBezTo>
                    <a:pt x="1120925" y="664400"/>
                    <a:pt x="1127125" y="679450"/>
                    <a:pt x="1127125" y="679450"/>
                  </a:cubicBezTo>
                  <a:cubicBezTo>
                    <a:pt x="1125008" y="685800"/>
                    <a:pt x="1126344" y="694787"/>
                    <a:pt x="1120775" y="698500"/>
                  </a:cubicBezTo>
                  <a:cubicBezTo>
                    <a:pt x="1109489" y="706024"/>
                    <a:pt x="1111250" y="701034"/>
                    <a:pt x="1111250" y="711200"/>
                  </a:cubicBezTo>
                  <a:lnTo>
                    <a:pt x="1190625" y="701675"/>
                  </a:lnTo>
                  <a:cubicBezTo>
                    <a:pt x="1198033" y="706967"/>
                    <a:pt x="1208779" y="709407"/>
                    <a:pt x="1212850" y="717550"/>
                  </a:cubicBezTo>
                  <a:cubicBezTo>
                    <a:pt x="1218078" y="728006"/>
                    <a:pt x="1214480" y="740888"/>
                    <a:pt x="1216025" y="752475"/>
                  </a:cubicBezTo>
                  <a:cubicBezTo>
                    <a:pt x="1216545" y="756373"/>
                    <a:pt x="1220479" y="770276"/>
                    <a:pt x="1222375" y="774700"/>
                  </a:cubicBezTo>
                  <a:cubicBezTo>
                    <a:pt x="1224239" y="779050"/>
                    <a:pt x="1226377" y="783291"/>
                    <a:pt x="1228725" y="787400"/>
                  </a:cubicBezTo>
                  <a:cubicBezTo>
                    <a:pt x="1230618" y="790713"/>
                    <a:pt x="1233868" y="793305"/>
                    <a:pt x="1235075" y="796925"/>
                  </a:cubicBezTo>
                  <a:cubicBezTo>
                    <a:pt x="1236079" y="799937"/>
                    <a:pt x="1235075" y="803275"/>
                    <a:pt x="1235075" y="806450"/>
                  </a:cubicBezTo>
                  <a:lnTo>
                    <a:pt x="1304925" y="831850"/>
                  </a:lnTo>
                  <a:cubicBezTo>
                    <a:pt x="1314450" y="829733"/>
                    <a:pt x="1323743" y="825500"/>
                    <a:pt x="1333500" y="825500"/>
                  </a:cubicBezTo>
                  <a:cubicBezTo>
                    <a:pt x="1339199" y="825500"/>
                    <a:pt x="1344737" y="828537"/>
                    <a:pt x="1349375" y="831850"/>
                  </a:cubicBezTo>
                  <a:cubicBezTo>
                    <a:pt x="1359173" y="838849"/>
                    <a:pt x="1351900" y="846045"/>
                    <a:pt x="1365250" y="850900"/>
                  </a:cubicBezTo>
                  <a:cubicBezTo>
                    <a:pt x="1373269" y="853816"/>
                    <a:pt x="1382183" y="853017"/>
                    <a:pt x="1390650" y="854075"/>
                  </a:cubicBezTo>
                  <a:cubicBezTo>
                    <a:pt x="1397062" y="873310"/>
                    <a:pt x="1397124" y="869329"/>
                    <a:pt x="1390650" y="901700"/>
                  </a:cubicBezTo>
                  <a:cubicBezTo>
                    <a:pt x="1383713" y="936385"/>
                    <a:pt x="1384300" y="900675"/>
                    <a:pt x="1384300" y="914400"/>
                  </a:cubicBezTo>
                  <a:lnTo>
                    <a:pt x="1419225" y="952500"/>
                  </a:lnTo>
                  <a:cubicBezTo>
                    <a:pt x="1428750" y="949325"/>
                    <a:pt x="1438532" y="946837"/>
                    <a:pt x="1447800" y="942975"/>
                  </a:cubicBezTo>
                  <a:cubicBezTo>
                    <a:pt x="1451322" y="941507"/>
                    <a:pt x="1453912" y="938332"/>
                    <a:pt x="1457325" y="936625"/>
                  </a:cubicBezTo>
                  <a:cubicBezTo>
                    <a:pt x="1460318" y="935128"/>
                    <a:pt x="1463675" y="934508"/>
                    <a:pt x="1466850" y="933450"/>
                  </a:cubicBezTo>
                  <a:cubicBezTo>
                    <a:pt x="1479550" y="934508"/>
                    <a:pt x="1495221" y="928393"/>
                    <a:pt x="1504950" y="936625"/>
                  </a:cubicBezTo>
                  <a:cubicBezTo>
                    <a:pt x="1513069" y="943495"/>
                    <a:pt x="1506621" y="957846"/>
                    <a:pt x="1508125" y="968375"/>
                  </a:cubicBezTo>
                  <a:cubicBezTo>
                    <a:pt x="1509325" y="976772"/>
                    <a:pt x="1515440" y="993496"/>
                    <a:pt x="1517650" y="1000125"/>
                  </a:cubicBezTo>
                  <a:lnTo>
                    <a:pt x="1520825" y="1009650"/>
                  </a:lnTo>
                  <a:cubicBezTo>
                    <a:pt x="1521883" y="1012825"/>
                    <a:pt x="1523344" y="1015893"/>
                    <a:pt x="1524000" y="1019175"/>
                  </a:cubicBezTo>
                  <a:lnTo>
                    <a:pt x="1530350" y="1050925"/>
                  </a:lnTo>
                  <a:cubicBezTo>
                    <a:pt x="1529292" y="1063625"/>
                    <a:pt x="1532283" y="1077349"/>
                    <a:pt x="1527175" y="1089025"/>
                  </a:cubicBezTo>
                  <a:cubicBezTo>
                    <a:pt x="1521569" y="1101839"/>
                    <a:pt x="1508248" y="1100076"/>
                    <a:pt x="1498600" y="1104900"/>
                  </a:cubicBezTo>
                  <a:cubicBezTo>
                    <a:pt x="1491420" y="1108490"/>
                    <a:pt x="1490365" y="1109960"/>
                    <a:pt x="1485900" y="1114425"/>
                  </a:cubicBezTo>
                  <a:lnTo>
                    <a:pt x="1482725" y="1139825"/>
                  </a:lnTo>
                  <a:cubicBezTo>
                    <a:pt x="1485900" y="1148292"/>
                    <a:pt x="1488508" y="1156993"/>
                    <a:pt x="1492250" y="1165225"/>
                  </a:cubicBezTo>
                  <a:cubicBezTo>
                    <a:pt x="1493829" y="1168699"/>
                    <a:pt x="1496893" y="1171337"/>
                    <a:pt x="1498600" y="1174750"/>
                  </a:cubicBezTo>
                  <a:cubicBezTo>
                    <a:pt x="1501854" y="1181259"/>
                    <a:pt x="1503742" y="1194112"/>
                    <a:pt x="1504950" y="1200150"/>
                  </a:cubicBezTo>
                  <a:cubicBezTo>
                    <a:pt x="1506008" y="1225550"/>
                    <a:pt x="1506247" y="1250997"/>
                    <a:pt x="1508125" y="1276350"/>
                  </a:cubicBezTo>
                  <a:cubicBezTo>
                    <a:pt x="1508372" y="1279688"/>
                    <a:pt x="1508933" y="1283508"/>
                    <a:pt x="1511300" y="1285875"/>
                  </a:cubicBezTo>
                  <a:cubicBezTo>
                    <a:pt x="1516696" y="1291271"/>
                    <a:pt x="1530350" y="1298575"/>
                    <a:pt x="1530350" y="1298575"/>
                  </a:cubicBezTo>
                  <a:cubicBezTo>
                    <a:pt x="1536700" y="1297517"/>
                    <a:pt x="1543293" y="1297436"/>
                    <a:pt x="1549400" y="1295400"/>
                  </a:cubicBezTo>
                  <a:cubicBezTo>
                    <a:pt x="1553020" y="1294193"/>
                    <a:pt x="1555612" y="1290943"/>
                    <a:pt x="1558925" y="1289050"/>
                  </a:cubicBezTo>
                  <a:cubicBezTo>
                    <a:pt x="1563034" y="1286702"/>
                    <a:pt x="1567516" y="1285048"/>
                    <a:pt x="1571625" y="1282700"/>
                  </a:cubicBezTo>
                  <a:cubicBezTo>
                    <a:pt x="1574938" y="1280807"/>
                    <a:pt x="1577663" y="1277900"/>
                    <a:pt x="1581150" y="1276350"/>
                  </a:cubicBezTo>
                  <a:cubicBezTo>
                    <a:pt x="1587267" y="1273632"/>
                    <a:pt x="1600200" y="1270000"/>
                    <a:pt x="1600200" y="1270000"/>
                  </a:cubicBezTo>
                  <a:lnTo>
                    <a:pt x="1647825" y="1273175"/>
                  </a:lnTo>
                  <a:cubicBezTo>
                    <a:pt x="1652878" y="1275070"/>
                    <a:pt x="1649829" y="1283782"/>
                    <a:pt x="1651000" y="1289050"/>
                  </a:cubicBezTo>
                  <a:cubicBezTo>
                    <a:pt x="1654344" y="1304097"/>
                    <a:pt x="1651472" y="1299047"/>
                    <a:pt x="1660525" y="1308100"/>
                  </a:cubicBezTo>
                  <a:lnTo>
                    <a:pt x="1685925" y="1311275"/>
                  </a:lnTo>
                  <a:cubicBezTo>
                    <a:pt x="1696508" y="1305983"/>
                    <a:pt x="1706932" y="1300359"/>
                    <a:pt x="1717675" y="1295400"/>
                  </a:cubicBezTo>
                  <a:cubicBezTo>
                    <a:pt x="1720714" y="1293998"/>
                    <a:pt x="1724207" y="1293722"/>
                    <a:pt x="1727200" y="1292225"/>
                  </a:cubicBezTo>
                  <a:cubicBezTo>
                    <a:pt x="1757389" y="1277131"/>
                    <a:pt x="1706628" y="1295907"/>
                    <a:pt x="1755775" y="1279525"/>
                  </a:cubicBezTo>
                  <a:cubicBezTo>
                    <a:pt x="1758950" y="1278467"/>
                    <a:pt x="1761953" y="1276350"/>
                    <a:pt x="1765300" y="1276350"/>
                  </a:cubicBezTo>
                  <a:lnTo>
                    <a:pt x="1790700" y="1276350"/>
                  </a:lnTo>
                  <a:lnTo>
                    <a:pt x="1809750" y="1238250"/>
                  </a:lnTo>
                  <a:cubicBezTo>
                    <a:pt x="1795553" y="1195660"/>
                    <a:pt x="1803037" y="1212124"/>
                    <a:pt x="1790700" y="1187450"/>
                  </a:cubicBezTo>
                  <a:cubicBezTo>
                    <a:pt x="1791758" y="1177925"/>
                    <a:pt x="1792299" y="1168328"/>
                    <a:pt x="1793875" y="1158875"/>
                  </a:cubicBezTo>
                  <a:cubicBezTo>
                    <a:pt x="1794425" y="1155574"/>
                    <a:pt x="1794959" y="1151963"/>
                    <a:pt x="1797050" y="1149350"/>
                  </a:cubicBezTo>
                  <a:cubicBezTo>
                    <a:pt x="1799434" y="1146370"/>
                    <a:pt x="1803470" y="1145218"/>
                    <a:pt x="1806575" y="1143000"/>
                  </a:cubicBezTo>
                  <a:cubicBezTo>
                    <a:pt x="1810881" y="1139924"/>
                    <a:pt x="1815759" y="1137430"/>
                    <a:pt x="1819275" y="1133475"/>
                  </a:cubicBezTo>
                  <a:cubicBezTo>
                    <a:pt x="1824345" y="1127771"/>
                    <a:pt x="1826579" y="1119821"/>
                    <a:pt x="1831975" y="1114425"/>
                  </a:cubicBezTo>
                  <a:cubicBezTo>
                    <a:pt x="1838997" y="1107403"/>
                    <a:pt x="1843430" y="1104216"/>
                    <a:pt x="1847850" y="1095375"/>
                  </a:cubicBezTo>
                  <a:cubicBezTo>
                    <a:pt x="1849347" y="1092382"/>
                    <a:pt x="1849967" y="1089025"/>
                    <a:pt x="1851025" y="1085850"/>
                  </a:cubicBezTo>
                  <a:cubicBezTo>
                    <a:pt x="1849967" y="1075267"/>
                    <a:pt x="1851022" y="1064252"/>
                    <a:pt x="1847850" y="1054100"/>
                  </a:cubicBezTo>
                  <a:cubicBezTo>
                    <a:pt x="1841440" y="1033589"/>
                    <a:pt x="1837296" y="1038426"/>
                    <a:pt x="1825625" y="1028700"/>
                  </a:cubicBezTo>
                  <a:cubicBezTo>
                    <a:pt x="1822176" y="1025825"/>
                    <a:pt x="1819549" y="1022050"/>
                    <a:pt x="1816100" y="1019175"/>
                  </a:cubicBezTo>
                  <a:cubicBezTo>
                    <a:pt x="1813169" y="1016732"/>
                    <a:pt x="1809506" y="1015268"/>
                    <a:pt x="1806575" y="1012825"/>
                  </a:cubicBezTo>
                  <a:cubicBezTo>
                    <a:pt x="1797730" y="1005455"/>
                    <a:pt x="1794532" y="999943"/>
                    <a:pt x="1787525" y="990600"/>
                  </a:cubicBezTo>
                  <a:cubicBezTo>
                    <a:pt x="1781999" y="968498"/>
                    <a:pt x="1782657" y="977053"/>
                    <a:pt x="1787525" y="942975"/>
                  </a:cubicBezTo>
                  <a:cubicBezTo>
                    <a:pt x="1787998" y="939662"/>
                    <a:pt x="1788844" y="936235"/>
                    <a:pt x="1790700" y="933450"/>
                  </a:cubicBezTo>
                  <a:cubicBezTo>
                    <a:pt x="1795589" y="926116"/>
                    <a:pt x="1802722" y="922261"/>
                    <a:pt x="1809750" y="917575"/>
                  </a:cubicBezTo>
                  <a:cubicBezTo>
                    <a:pt x="1811867" y="914400"/>
                    <a:pt x="1816100" y="911866"/>
                    <a:pt x="1816100" y="908050"/>
                  </a:cubicBezTo>
                  <a:cubicBezTo>
                    <a:pt x="1816100" y="904234"/>
                    <a:pt x="1812193" y="901456"/>
                    <a:pt x="1809750" y="898525"/>
                  </a:cubicBezTo>
                  <a:cubicBezTo>
                    <a:pt x="1800618" y="887567"/>
                    <a:pt x="1792875" y="885999"/>
                    <a:pt x="1787525" y="869950"/>
                  </a:cubicBezTo>
                  <a:lnTo>
                    <a:pt x="1778000" y="841375"/>
                  </a:lnTo>
                  <a:cubicBezTo>
                    <a:pt x="1776942" y="838200"/>
                    <a:pt x="1776681" y="834635"/>
                    <a:pt x="1774825" y="831850"/>
                  </a:cubicBezTo>
                  <a:cubicBezTo>
                    <a:pt x="1760269" y="810015"/>
                    <a:pt x="1764538" y="820040"/>
                    <a:pt x="1758950" y="803275"/>
                  </a:cubicBezTo>
                  <a:cubicBezTo>
                    <a:pt x="1761067" y="762000"/>
                    <a:pt x="1757385" y="720014"/>
                    <a:pt x="1765300" y="679450"/>
                  </a:cubicBezTo>
                  <a:cubicBezTo>
                    <a:pt x="1766582" y="672880"/>
                    <a:pt x="1778000" y="675217"/>
                    <a:pt x="1784350" y="673100"/>
                  </a:cubicBezTo>
                  <a:cubicBezTo>
                    <a:pt x="1787525" y="672042"/>
                    <a:pt x="1791090" y="671781"/>
                    <a:pt x="1793875" y="669925"/>
                  </a:cubicBezTo>
                  <a:cubicBezTo>
                    <a:pt x="1804645" y="662745"/>
                    <a:pt x="1800702" y="666273"/>
                    <a:pt x="1806575" y="660400"/>
                  </a:cubicBezTo>
                  <a:lnTo>
                    <a:pt x="1812925" y="625475"/>
                  </a:lnTo>
                  <a:cubicBezTo>
                    <a:pt x="1814763" y="577690"/>
                    <a:pt x="1819046" y="535874"/>
                    <a:pt x="1812925" y="488950"/>
                  </a:cubicBezTo>
                  <a:cubicBezTo>
                    <a:pt x="1812059" y="482313"/>
                    <a:pt x="1808692" y="476250"/>
                    <a:pt x="1806575" y="469900"/>
                  </a:cubicBezTo>
                  <a:cubicBezTo>
                    <a:pt x="1802193" y="456755"/>
                    <a:pt x="1806185" y="462231"/>
                    <a:pt x="1793875" y="454025"/>
                  </a:cubicBezTo>
                  <a:cubicBezTo>
                    <a:pt x="1792817" y="438150"/>
                    <a:pt x="1797815" y="420631"/>
                    <a:pt x="1790700" y="406400"/>
                  </a:cubicBezTo>
                  <a:cubicBezTo>
                    <a:pt x="1787353" y="399707"/>
                    <a:pt x="1774702" y="407376"/>
                    <a:pt x="1768475" y="403225"/>
                  </a:cubicBezTo>
                  <a:cubicBezTo>
                    <a:pt x="1765690" y="401369"/>
                    <a:pt x="1770153" y="396693"/>
                    <a:pt x="1771650" y="393700"/>
                  </a:cubicBezTo>
                  <a:cubicBezTo>
                    <a:pt x="1773357" y="390287"/>
                    <a:pt x="1775883" y="387350"/>
                    <a:pt x="1778000" y="384175"/>
                  </a:cubicBezTo>
                  <a:cubicBezTo>
                    <a:pt x="1765763" y="365819"/>
                    <a:pt x="1778833" y="380297"/>
                    <a:pt x="1749425" y="371475"/>
                  </a:cubicBezTo>
                  <a:cubicBezTo>
                    <a:pt x="1745770" y="370379"/>
                    <a:pt x="1743313" y="366832"/>
                    <a:pt x="1739900" y="365125"/>
                  </a:cubicBezTo>
                  <a:cubicBezTo>
                    <a:pt x="1736907" y="363628"/>
                    <a:pt x="1733550" y="363008"/>
                    <a:pt x="1730375" y="361950"/>
                  </a:cubicBezTo>
                  <a:cubicBezTo>
                    <a:pt x="1732492" y="353483"/>
                    <a:pt x="1732235" y="344034"/>
                    <a:pt x="1736725" y="336550"/>
                  </a:cubicBezTo>
                  <a:cubicBezTo>
                    <a:pt x="1739160" y="332491"/>
                    <a:pt x="1745075" y="332064"/>
                    <a:pt x="1749425" y="330200"/>
                  </a:cubicBezTo>
                  <a:cubicBezTo>
                    <a:pt x="1752501" y="328882"/>
                    <a:pt x="1755957" y="328522"/>
                    <a:pt x="1758950" y="327025"/>
                  </a:cubicBezTo>
                  <a:cubicBezTo>
                    <a:pt x="1783569" y="314715"/>
                    <a:pt x="1754059" y="325480"/>
                    <a:pt x="1778000" y="317500"/>
                  </a:cubicBezTo>
                  <a:cubicBezTo>
                    <a:pt x="1776942" y="314325"/>
                    <a:pt x="1776916" y="310588"/>
                    <a:pt x="1774825" y="307975"/>
                  </a:cubicBezTo>
                  <a:cubicBezTo>
                    <a:pt x="1772441" y="304995"/>
                    <a:pt x="1768713" y="303332"/>
                    <a:pt x="1765300" y="301625"/>
                  </a:cubicBezTo>
                  <a:cubicBezTo>
                    <a:pt x="1760745" y="299348"/>
                    <a:pt x="1747144" y="296292"/>
                    <a:pt x="1743075" y="295275"/>
                  </a:cubicBezTo>
                  <a:cubicBezTo>
                    <a:pt x="1747809" y="281074"/>
                    <a:pt x="1746729" y="274847"/>
                    <a:pt x="1758950" y="266700"/>
                  </a:cubicBezTo>
                  <a:cubicBezTo>
                    <a:pt x="1761735" y="264844"/>
                    <a:pt x="1765300" y="264583"/>
                    <a:pt x="1768475" y="263525"/>
                  </a:cubicBezTo>
                  <a:cubicBezTo>
                    <a:pt x="1784350" y="264583"/>
                    <a:pt x="1800255" y="265260"/>
                    <a:pt x="1816100" y="266700"/>
                  </a:cubicBezTo>
                  <a:cubicBezTo>
                    <a:pt x="1830540" y="268013"/>
                    <a:pt x="1840453" y="270301"/>
                    <a:pt x="1854200" y="273050"/>
                  </a:cubicBezTo>
                  <a:cubicBezTo>
                    <a:pt x="1858433" y="271992"/>
                    <a:pt x="1864655" y="273617"/>
                    <a:pt x="1866900" y="269875"/>
                  </a:cubicBezTo>
                  <a:cubicBezTo>
                    <a:pt x="1870334" y="264151"/>
                    <a:pt x="1859557" y="251468"/>
                    <a:pt x="1857375" y="247650"/>
                  </a:cubicBezTo>
                  <a:cubicBezTo>
                    <a:pt x="1855027" y="243541"/>
                    <a:pt x="1851025" y="234950"/>
                    <a:pt x="1851025" y="234950"/>
                  </a:cubicBezTo>
                  <a:lnTo>
                    <a:pt x="1720850" y="133350"/>
                  </a:lnTo>
                  <a:cubicBezTo>
                    <a:pt x="1712383" y="137583"/>
                    <a:pt x="1704151" y="142321"/>
                    <a:pt x="1695450" y="146050"/>
                  </a:cubicBezTo>
                  <a:cubicBezTo>
                    <a:pt x="1689298" y="148687"/>
                    <a:pt x="1686190" y="147770"/>
                    <a:pt x="1676400" y="152400"/>
                  </a:cubicBezTo>
                  <a:cubicBezTo>
                    <a:pt x="1666611" y="157030"/>
                    <a:pt x="1652059" y="166952"/>
                    <a:pt x="1636713" y="173831"/>
                  </a:cubicBezTo>
                  <a:cubicBezTo>
                    <a:pt x="1621367" y="180710"/>
                    <a:pt x="1595173" y="193543"/>
                    <a:pt x="1584325" y="193675"/>
                  </a:cubicBezTo>
                  <a:cubicBezTo>
                    <a:pt x="1573477" y="193807"/>
                    <a:pt x="1571625" y="174625"/>
                    <a:pt x="1571625" y="174625"/>
                  </a:cubicBezTo>
                  <a:cubicBezTo>
                    <a:pt x="1565275" y="180975"/>
                    <a:pt x="1560607" y="189659"/>
                    <a:pt x="1552575" y="193675"/>
                  </a:cubicBezTo>
                  <a:cubicBezTo>
                    <a:pt x="1544810" y="197558"/>
                    <a:pt x="1538759" y="201331"/>
                    <a:pt x="1530350" y="203200"/>
                  </a:cubicBezTo>
                  <a:cubicBezTo>
                    <a:pt x="1524066" y="204597"/>
                    <a:pt x="1517613" y="205112"/>
                    <a:pt x="1511300" y="206375"/>
                  </a:cubicBezTo>
                  <a:cubicBezTo>
                    <a:pt x="1507021" y="207231"/>
                    <a:pt x="1502833" y="208492"/>
                    <a:pt x="1498600" y="209550"/>
                  </a:cubicBezTo>
                  <a:cubicBezTo>
                    <a:pt x="1487106" y="217213"/>
                    <a:pt x="1492488" y="214193"/>
                    <a:pt x="1482725" y="219075"/>
                  </a:cubicBezTo>
                  <a:lnTo>
                    <a:pt x="1482725" y="142875"/>
                  </a:lnTo>
                  <a:cubicBezTo>
                    <a:pt x="1474258" y="134408"/>
                    <a:pt x="1467397" y="123950"/>
                    <a:pt x="1457325" y="117475"/>
                  </a:cubicBezTo>
                  <a:cubicBezTo>
                    <a:pt x="1451910" y="113994"/>
                    <a:pt x="1444713" y="114300"/>
                    <a:pt x="1438275" y="114300"/>
                  </a:cubicBezTo>
                  <a:cubicBezTo>
                    <a:pt x="1428691" y="114300"/>
                    <a:pt x="1419240" y="116566"/>
                    <a:pt x="1409700" y="117475"/>
                  </a:cubicBezTo>
                  <a:cubicBezTo>
                    <a:pt x="1397013" y="118683"/>
                    <a:pt x="1384300" y="119592"/>
                    <a:pt x="1371600" y="120650"/>
                  </a:cubicBezTo>
                  <a:cubicBezTo>
                    <a:pt x="1367367" y="127000"/>
                    <a:pt x="1361313" y="132460"/>
                    <a:pt x="1358900" y="139700"/>
                  </a:cubicBezTo>
                  <a:cubicBezTo>
                    <a:pt x="1351343" y="162370"/>
                    <a:pt x="1358119" y="155037"/>
                    <a:pt x="1343025" y="165100"/>
                  </a:cubicBezTo>
                  <a:cubicBezTo>
                    <a:pt x="1335747" y="176017"/>
                    <a:pt x="1334627" y="179783"/>
                    <a:pt x="1320800" y="187325"/>
                  </a:cubicBezTo>
                  <a:cubicBezTo>
                    <a:pt x="1310201" y="193106"/>
                    <a:pt x="1297372" y="194197"/>
                    <a:pt x="1285875" y="196850"/>
                  </a:cubicBezTo>
                  <a:cubicBezTo>
                    <a:pt x="1262599" y="202221"/>
                    <a:pt x="1266695" y="201127"/>
                    <a:pt x="1250950" y="206375"/>
                  </a:cubicBezTo>
                  <a:cubicBezTo>
                    <a:pt x="1245658" y="205317"/>
                    <a:pt x="1240310" y="204509"/>
                    <a:pt x="1235075" y="203200"/>
                  </a:cubicBezTo>
                  <a:cubicBezTo>
                    <a:pt x="1231828" y="202388"/>
                    <a:pt x="1228888" y="200263"/>
                    <a:pt x="1225550" y="200025"/>
                  </a:cubicBezTo>
                  <a:cubicBezTo>
                    <a:pt x="1213938" y="199196"/>
                    <a:pt x="1202267" y="200025"/>
                    <a:pt x="1190625" y="200025"/>
                  </a:cubicBezTo>
                  <a:lnTo>
                    <a:pt x="1079500" y="234950"/>
                  </a:lnTo>
                  <a:cubicBezTo>
                    <a:pt x="1074208" y="227542"/>
                    <a:pt x="1068309" y="220532"/>
                    <a:pt x="1063625" y="212725"/>
                  </a:cubicBezTo>
                  <a:cubicBezTo>
                    <a:pt x="1061903" y="209855"/>
                    <a:pt x="1063235" y="205056"/>
                    <a:pt x="1060450" y="203200"/>
                  </a:cubicBezTo>
                  <a:cubicBezTo>
                    <a:pt x="1055960" y="200207"/>
                    <a:pt x="1049781" y="201445"/>
                    <a:pt x="1044575" y="200025"/>
                  </a:cubicBezTo>
                  <a:cubicBezTo>
                    <a:pt x="1038117" y="198264"/>
                    <a:pt x="1031875" y="195792"/>
                    <a:pt x="1025525" y="193675"/>
                  </a:cubicBezTo>
                  <a:lnTo>
                    <a:pt x="1016000" y="190500"/>
                  </a:lnTo>
                  <a:lnTo>
                    <a:pt x="971550" y="104775"/>
                  </a:lnTo>
                  <a:cubicBezTo>
                    <a:pt x="957769" y="99607"/>
                    <a:pt x="947344" y="94601"/>
                    <a:pt x="933450" y="92075"/>
                  </a:cubicBezTo>
                  <a:cubicBezTo>
                    <a:pt x="926087" y="90736"/>
                    <a:pt x="918588" y="90239"/>
                    <a:pt x="911225" y="88900"/>
                  </a:cubicBezTo>
                  <a:cubicBezTo>
                    <a:pt x="892351" y="85468"/>
                    <a:pt x="904137" y="85725"/>
                    <a:pt x="895350" y="85725"/>
                  </a:cubicBezTo>
                  <a:lnTo>
                    <a:pt x="825500" y="73025"/>
                  </a:lnTo>
                  <a:lnTo>
                    <a:pt x="787400" y="0"/>
                  </a:lnTo>
                  <a:lnTo>
                    <a:pt x="571500" y="352425"/>
                  </a:lnTo>
                  <a:cubicBezTo>
                    <a:pt x="548981" y="284867"/>
                    <a:pt x="571885" y="349090"/>
                    <a:pt x="555625" y="311150"/>
                  </a:cubicBezTo>
                  <a:cubicBezTo>
                    <a:pt x="554307" y="308074"/>
                    <a:pt x="553625" y="304759"/>
                    <a:pt x="552450" y="301625"/>
                  </a:cubicBezTo>
                  <a:cubicBezTo>
                    <a:pt x="550449" y="296289"/>
                    <a:pt x="548101" y="291086"/>
                    <a:pt x="546100" y="285750"/>
                  </a:cubicBezTo>
                  <a:cubicBezTo>
                    <a:pt x="544925" y="282616"/>
                    <a:pt x="544781" y="279010"/>
                    <a:pt x="542925" y="276225"/>
                  </a:cubicBezTo>
                  <a:cubicBezTo>
                    <a:pt x="540434" y="272489"/>
                    <a:pt x="536575" y="269875"/>
                    <a:pt x="533400" y="266700"/>
                  </a:cubicBezTo>
                  <a:cubicBezTo>
                    <a:pt x="532342" y="263525"/>
                    <a:pt x="532592" y="259542"/>
                    <a:pt x="530225" y="257175"/>
                  </a:cubicBezTo>
                  <a:cubicBezTo>
                    <a:pt x="527858" y="254808"/>
                    <a:pt x="523606" y="255660"/>
                    <a:pt x="520700" y="254000"/>
                  </a:cubicBezTo>
                  <a:cubicBezTo>
                    <a:pt x="516106" y="251375"/>
                    <a:pt x="512233" y="247650"/>
                    <a:pt x="508000" y="244475"/>
                  </a:cubicBezTo>
                  <a:cubicBezTo>
                    <a:pt x="505735" y="237681"/>
                    <a:pt x="504268" y="230494"/>
                    <a:pt x="498475" y="225425"/>
                  </a:cubicBezTo>
                  <a:cubicBezTo>
                    <a:pt x="492732" y="220399"/>
                    <a:pt x="479425" y="212725"/>
                    <a:pt x="479425" y="212725"/>
                  </a:cubicBezTo>
                  <a:cubicBezTo>
                    <a:pt x="464630" y="214369"/>
                    <a:pt x="451898" y="214492"/>
                    <a:pt x="438150" y="219075"/>
                  </a:cubicBezTo>
                  <a:cubicBezTo>
                    <a:pt x="432743" y="220877"/>
                    <a:pt x="427631" y="223477"/>
                    <a:pt x="422275" y="225425"/>
                  </a:cubicBezTo>
                  <a:cubicBezTo>
                    <a:pt x="407537" y="230784"/>
                    <a:pt x="404272" y="229315"/>
                    <a:pt x="393700" y="238125"/>
                  </a:cubicBezTo>
                  <a:cubicBezTo>
                    <a:pt x="385555" y="244912"/>
                    <a:pt x="380833" y="251694"/>
                    <a:pt x="374650" y="260350"/>
                  </a:cubicBezTo>
                  <a:cubicBezTo>
                    <a:pt x="372432" y="263455"/>
                    <a:pt x="370518" y="266770"/>
                    <a:pt x="368300" y="269875"/>
                  </a:cubicBezTo>
                  <a:cubicBezTo>
                    <a:pt x="365903" y="273231"/>
                    <a:pt x="354919" y="287112"/>
                    <a:pt x="352425" y="292100"/>
                  </a:cubicBezTo>
                  <a:cubicBezTo>
                    <a:pt x="346226" y="304498"/>
                    <a:pt x="353769" y="301119"/>
                    <a:pt x="339725" y="311150"/>
                  </a:cubicBezTo>
                  <a:cubicBezTo>
                    <a:pt x="335874" y="313901"/>
                    <a:pt x="330876" y="314749"/>
                    <a:pt x="327025" y="317500"/>
                  </a:cubicBezTo>
                  <a:cubicBezTo>
                    <a:pt x="323371" y="320110"/>
                    <a:pt x="317500" y="327025"/>
                    <a:pt x="317500" y="327025"/>
                  </a:cubicBezTo>
                  <a:lnTo>
                    <a:pt x="228600" y="292100"/>
                  </a:lnTo>
                  <a:lnTo>
                    <a:pt x="139700" y="276225"/>
                  </a:lnTo>
                  <a:cubicBezTo>
                    <a:pt x="132292" y="282575"/>
                    <a:pt x="125094" y="289180"/>
                    <a:pt x="117475" y="295275"/>
                  </a:cubicBezTo>
                  <a:cubicBezTo>
                    <a:pt x="114495" y="297659"/>
                    <a:pt x="110648" y="298927"/>
                    <a:pt x="107950" y="301625"/>
                  </a:cubicBezTo>
                  <a:cubicBezTo>
                    <a:pt x="93589" y="315986"/>
                    <a:pt x="110618" y="308144"/>
                    <a:pt x="92075" y="314325"/>
                  </a:cubicBezTo>
                  <a:cubicBezTo>
                    <a:pt x="89958" y="318558"/>
                    <a:pt x="88073" y="322916"/>
                    <a:pt x="85725" y="327025"/>
                  </a:cubicBezTo>
                  <a:cubicBezTo>
                    <a:pt x="83832" y="330338"/>
                    <a:pt x="80715" y="332977"/>
                    <a:pt x="79375" y="336550"/>
                  </a:cubicBezTo>
                  <a:cubicBezTo>
                    <a:pt x="77480" y="341603"/>
                    <a:pt x="77620" y="347219"/>
                    <a:pt x="76200" y="352425"/>
                  </a:cubicBezTo>
                  <a:cubicBezTo>
                    <a:pt x="74439" y="358883"/>
                    <a:pt x="71967" y="365125"/>
                    <a:pt x="69850" y="371475"/>
                  </a:cubicBezTo>
                  <a:cubicBezTo>
                    <a:pt x="68792" y="374650"/>
                    <a:pt x="69668" y="379503"/>
                    <a:pt x="66675" y="381000"/>
                  </a:cubicBezTo>
                  <a:cubicBezTo>
                    <a:pt x="51845" y="388415"/>
                    <a:pt x="46123" y="389602"/>
                    <a:pt x="34925" y="406400"/>
                  </a:cubicBezTo>
                  <a:cubicBezTo>
                    <a:pt x="32808" y="409575"/>
                    <a:pt x="31273" y="413227"/>
                    <a:pt x="28575" y="415925"/>
                  </a:cubicBezTo>
                  <a:cubicBezTo>
                    <a:pt x="25877" y="418623"/>
                    <a:pt x="22155" y="420057"/>
                    <a:pt x="19050" y="422275"/>
                  </a:cubicBezTo>
                  <a:cubicBezTo>
                    <a:pt x="14744" y="425351"/>
                    <a:pt x="10092" y="428058"/>
                    <a:pt x="6350" y="431800"/>
                  </a:cubicBezTo>
                  <a:cubicBezTo>
                    <a:pt x="3652" y="434498"/>
                    <a:pt x="2117" y="438150"/>
                    <a:pt x="0" y="441325"/>
                  </a:cubicBezTo>
                  <a:cubicBezTo>
                    <a:pt x="5894" y="476692"/>
                    <a:pt x="-1636" y="447578"/>
                    <a:pt x="9525" y="469900"/>
                  </a:cubicBezTo>
                  <a:cubicBezTo>
                    <a:pt x="11022" y="472893"/>
                    <a:pt x="10609" y="476812"/>
                    <a:pt x="12700" y="479425"/>
                  </a:cubicBezTo>
                  <a:cubicBezTo>
                    <a:pt x="15084" y="482405"/>
                    <a:pt x="19050" y="483658"/>
                    <a:pt x="22225" y="485775"/>
                  </a:cubicBezTo>
                  <a:cubicBezTo>
                    <a:pt x="24342" y="488950"/>
                    <a:pt x="27025" y="491813"/>
                    <a:pt x="28575" y="495300"/>
                  </a:cubicBezTo>
                  <a:cubicBezTo>
                    <a:pt x="31293" y="501417"/>
                    <a:pt x="34925" y="514350"/>
                    <a:pt x="34925" y="514350"/>
                  </a:cubicBezTo>
                  <a:cubicBezTo>
                    <a:pt x="33755" y="522540"/>
                    <a:pt x="33008" y="537234"/>
                    <a:pt x="28575" y="546100"/>
                  </a:cubicBezTo>
                  <a:cubicBezTo>
                    <a:pt x="26868" y="549513"/>
                    <a:pt x="10054" y="551392"/>
                    <a:pt x="6350" y="552450"/>
                  </a:cubicBezTo>
                  <a:close/>
                </a:path>
              </a:pathLst>
            </a:custGeom>
            <a:solidFill>
              <a:schemeClr val="accent4"/>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sym typeface="Arial"/>
              </a:endParaRPr>
            </a:p>
          </p:txBody>
        </p:sp>
        <p:sp>
          <p:nvSpPr>
            <p:cNvPr id="5" name="Freeform 4"/>
            <p:cNvSpPr/>
            <p:nvPr/>
          </p:nvSpPr>
          <p:spPr bwMode="gray">
            <a:xfrm>
              <a:off x="1238250" y="2400300"/>
              <a:ext cx="1590685" cy="1428750"/>
            </a:xfrm>
            <a:custGeom>
              <a:avLst/>
              <a:gdLst>
                <a:gd name="connsiteX0" fmla="*/ 985838 w 1590685"/>
                <a:gd name="connsiteY0" fmla="*/ 0 h 1428750"/>
                <a:gd name="connsiteX1" fmla="*/ 1076325 w 1590685"/>
                <a:gd name="connsiteY1" fmla="*/ 90488 h 1428750"/>
                <a:gd name="connsiteX2" fmla="*/ 1104900 w 1590685"/>
                <a:gd name="connsiteY2" fmla="*/ 180975 h 1428750"/>
                <a:gd name="connsiteX3" fmla="*/ 1204913 w 1590685"/>
                <a:gd name="connsiteY3" fmla="*/ 100013 h 1428750"/>
                <a:gd name="connsiteX4" fmla="*/ 1214438 w 1590685"/>
                <a:gd name="connsiteY4" fmla="*/ 180975 h 1428750"/>
                <a:gd name="connsiteX5" fmla="*/ 1219200 w 1590685"/>
                <a:gd name="connsiteY5" fmla="*/ 195263 h 1428750"/>
                <a:gd name="connsiteX6" fmla="*/ 1238250 w 1590685"/>
                <a:gd name="connsiteY6" fmla="*/ 223838 h 1428750"/>
                <a:gd name="connsiteX7" fmla="*/ 1247775 w 1590685"/>
                <a:gd name="connsiteY7" fmla="*/ 242888 h 1428750"/>
                <a:gd name="connsiteX8" fmla="*/ 1252538 w 1590685"/>
                <a:gd name="connsiteY8" fmla="*/ 290513 h 1428750"/>
                <a:gd name="connsiteX9" fmla="*/ 1262063 w 1590685"/>
                <a:gd name="connsiteY9" fmla="*/ 304800 h 1428750"/>
                <a:gd name="connsiteX10" fmla="*/ 1304925 w 1590685"/>
                <a:gd name="connsiteY10" fmla="*/ 285750 h 1428750"/>
                <a:gd name="connsiteX11" fmla="*/ 1314450 w 1590685"/>
                <a:gd name="connsiteY11" fmla="*/ 300038 h 1428750"/>
                <a:gd name="connsiteX12" fmla="*/ 1314450 w 1590685"/>
                <a:gd name="connsiteY12" fmla="*/ 357188 h 1428750"/>
                <a:gd name="connsiteX13" fmla="*/ 1285875 w 1590685"/>
                <a:gd name="connsiteY13" fmla="*/ 376238 h 1428750"/>
                <a:gd name="connsiteX14" fmla="*/ 1276350 w 1590685"/>
                <a:gd name="connsiteY14" fmla="*/ 390525 h 1428750"/>
                <a:gd name="connsiteX15" fmla="*/ 1281113 w 1590685"/>
                <a:gd name="connsiteY15" fmla="*/ 404813 h 1428750"/>
                <a:gd name="connsiteX16" fmla="*/ 1309688 w 1590685"/>
                <a:gd name="connsiteY16" fmla="*/ 419100 h 1428750"/>
                <a:gd name="connsiteX17" fmla="*/ 1304925 w 1590685"/>
                <a:gd name="connsiteY17" fmla="*/ 457200 h 1428750"/>
                <a:gd name="connsiteX18" fmla="*/ 1276350 w 1590685"/>
                <a:gd name="connsiteY18" fmla="*/ 481013 h 1428750"/>
                <a:gd name="connsiteX19" fmla="*/ 1262063 w 1590685"/>
                <a:gd name="connsiteY19" fmla="*/ 500063 h 1428750"/>
                <a:gd name="connsiteX20" fmla="*/ 1228725 w 1590685"/>
                <a:gd name="connsiteY20" fmla="*/ 523875 h 1428750"/>
                <a:gd name="connsiteX21" fmla="*/ 1209675 w 1590685"/>
                <a:gd name="connsiteY21" fmla="*/ 552450 h 1428750"/>
                <a:gd name="connsiteX22" fmla="*/ 1204913 w 1590685"/>
                <a:gd name="connsiteY22" fmla="*/ 566738 h 1428750"/>
                <a:gd name="connsiteX23" fmla="*/ 1185863 w 1590685"/>
                <a:gd name="connsiteY23" fmla="*/ 600075 h 1428750"/>
                <a:gd name="connsiteX24" fmla="*/ 1209675 w 1590685"/>
                <a:gd name="connsiteY24" fmla="*/ 609600 h 1428750"/>
                <a:gd name="connsiteX25" fmla="*/ 1223963 w 1590685"/>
                <a:gd name="connsiteY25" fmla="*/ 614363 h 1428750"/>
                <a:gd name="connsiteX26" fmla="*/ 1209675 w 1590685"/>
                <a:gd name="connsiteY26" fmla="*/ 652463 h 1428750"/>
                <a:gd name="connsiteX27" fmla="*/ 1190625 w 1590685"/>
                <a:gd name="connsiteY27" fmla="*/ 666750 h 1428750"/>
                <a:gd name="connsiteX28" fmla="*/ 1176338 w 1590685"/>
                <a:gd name="connsiteY28" fmla="*/ 681038 h 1428750"/>
                <a:gd name="connsiteX29" fmla="*/ 1247775 w 1590685"/>
                <a:gd name="connsiteY29" fmla="*/ 776288 h 1428750"/>
                <a:gd name="connsiteX30" fmla="*/ 1300163 w 1590685"/>
                <a:gd name="connsiteY30" fmla="*/ 762000 h 1428750"/>
                <a:gd name="connsiteX31" fmla="*/ 1329175 w 1590685"/>
                <a:gd name="connsiteY31" fmla="*/ 796592 h 1428750"/>
                <a:gd name="connsiteX32" fmla="*/ 1330980 w 1590685"/>
                <a:gd name="connsiteY32" fmla="*/ 798977 h 1428750"/>
                <a:gd name="connsiteX33" fmla="*/ 1331506 w 1590685"/>
                <a:gd name="connsiteY33" fmla="*/ 799958 h 1428750"/>
                <a:gd name="connsiteX34" fmla="*/ 1332318 w 1590685"/>
                <a:gd name="connsiteY34" fmla="*/ 800743 h 1428750"/>
                <a:gd name="connsiteX35" fmla="*/ 1330980 w 1590685"/>
                <a:gd name="connsiteY35" fmla="*/ 798977 h 1428750"/>
                <a:gd name="connsiteX36" fmla="*/ 1328881 w 1590685"/>
                <a:gd name="connsiteY36" fmla="*/ 795060 h 1428750"/>
                <a:gd name="connsiteX37" fmla="*/ 1343025 w 1590685"/>
                <a:gd name="connsiteY37" fmla="*/ 804863 h 1428750"/>
                <a:gd name="connsiteX38" fmla="*/ 1371600 w 1590685"/>
                <a:gd name="connsiteY38" fmla="*/ 823913 h 1428750"/>
                <a:gd name="connsiteX39" fmla="*/ 1385888 w 1590685"/>
                <a:gd name="connsiteY39" fmla="*/ 819150 h 1428750"/>
                <a:gd name="connsiteX40" fmla="*/ 1409700 w 1590685"/>
                <a:gd name="connsiteY40" fmla="*/ 809625 h 1428750"/>
                <a:gd name="connsiteX41" fmla="*/ 1590630 w 1590685"/>
                <a:gd name="connsiteY41" fmla="*/ 854858 h 1428750"/>
                <a:gd name="connsiteX42" fmla="*/ 1590675 w 1590685"/>
                <a:gd name="connsiteY42" fmla="*/ 857250 h 1428750"/>
                <a:gd name="connsiteX43" fmla="*/ 1581150 w 1590685"/>
                <a:gd name="connsiteY43" fmla="*/ 864394 h 1428750"/>
                <a:gd name="connsiteX44" fmla="*/ 1559719 w 1590685"/>
                <a:gd name="connsiteY44" fmla="*/ 881063 h 1428750"/>
                <a:gd name="connsiteX45" fmla="*/ 1550194 w 1590685"/>
                <a:gd name="connsiteY45" fmla="*/ 883444 h 1428750"/>
                <a:gd name="connsiteX46" fmla="*/ 1533525 w 1590685"/>
                <a:gd name="connsiteY46" fmla="*/ 892969 h 1428750"/>
                <a:gd name="connsiteX47" fmla="*/ 1504950 w 1590685"/>
                <a:gd name="connsiteY47" fmla="*/ 900113 h 1428750"/>
                <a:gd name="connsiteX48" fmla="*/ 1493044 w 1590685"/>
                <a:gd name="connsiteY48" fmla="*/ 895350 h 1428750"/>
                <a:gd name="connsiteX49" fmla="*/ 1466850 w 1590685"/>
                <a:gd name="connsiteY49" fmla="*/ 873919 h 1428750"/>
                <a:gd name="connsiteX50" fmla="*/ 1459706 w 1590685"/>
                <a:gd name="connsiteY50" fmla="*/ 866775 h 1428750"/>
                <a:gd name="connsiteX51" fmla="*/ 1443038 w 1590685"/>
                <a:gd name="connsiteY51" fmla="*/ 850106 h 1428750"/>
                <a:gd name="connsiteX52" fmla="*/ 1428750 w 1590685"/>
                <a:gd name="connsiteY52" fmla="*/ 847725 h 1428750"/>
                <a:gd name="connsiteX53" fmla="*/ 1402556 w 1590685"/>
                <a:gd name="connsiteY53" fmla="*/ 854869 h 1428750"/>
                <a:gd name="connsiteX54" fmla="*/ 1395413 w 1590685"/>
                <a:gd name="connsiteY54" fmla="*/ 859631 h 1428750"/>
                <a:gd name="connsiteX55" fmla="*/ 1381125 w 1590685"/>
                <a:gd name="connsiteY55" fmla="*/ 869156 h 1428750"/>
                <a:gd name="connsiteX56" fmla="*/ 1373981 w 1590685"/>
                <a:gd name="connsiteY56" fmla="*/ 878681 h 1428750"/>
                <a:gd name="connsiteX57" fmla="*/ 1335881 w 1590685"/>
                <a:gd name="connsiteY57" fmla="*/ 902494 h 1428750"/>
                <a:gd name="connsiteX58" fmla="*/ 1328738 w 1590685"/>
                <a:gd name="connsiteY58" fmla="*/ 897731 h 1428750"/>
                <a:gd name="connsiteX59" fmla="*/ 1326356 w 1590685"/>
                <a:gd name="connsiteY59" fmla="*/ 881063 h 1428750"/>
                <a:gd name="connsiteX60" fmla="*/ 1323975 w 1590685"/>
                <a:gd name="connsiteY60" fmla="*/ 854869 h 1428750"/>
                <a:gd name="connsiteX61" fmla="*/ 1321594 w 1590685"/>
                <a:gd name="connsiteY61" fmla="*/ 835819 h 1428750"/>
                <a:gd name="connsiteX62" fmla="*/ 1312069 w 1590685"/>
                <a:gd name="connsiteY62" fmla="*/ 833438 h 1428750"/>
                <a:gd name="connsiteX63" fmla="*/ 1297781 w 1590685"/>
                <a:gd name="connsiteY63" fmla="*/ 842963 h 1428750"/>
                <a:gd name="connsiteX64" fmla="*/ 1269206 w 1590685"/>
                <a:gd name="connsiteY64" fmla="*/ 857250 h 1428750"/>
                <a:gd name="connsiteX65" fmla="*/ 1240631 w 1590685"/>
                <a:gd name="connsiteY65" fmla="*/ 876300 h 1428750"/>
                <a:gd name="connsiteX66" fmla="*/ 1219200 w 1590685"/>
                <a:gd name="connsiteY66" fmla="*/ 890588 h 1428750"/>
                <a:gd name="connsiteX67" fmla="*/ 1202531 w 1590685"/>
                <a:gd name="connsiteY67" fmla="*/ 897731 h 1428750"/>
                <a:gd name="connsiteX68" fmla="*/ 1193006 w 1590685"/>
                <a:gd name="connsiteY68" fmla="*/ 902494 h 1428750"/>
                <a:gd name="connsiteX69" fmla="*/ 1176338 w 1590685"/>
                <a:gd name="connsiteY69" fmla="*/ 907256 h 1428750"/>
                <a:gd name="connsiteX70" fmla="*/ 1166813 w 1590685"/>
                <a:gd name="connsiteY70" fmla="*/ 912019 h 1428750"/>
                <a:gd name="connsiteX71" fmla="*/ 1152525 w 1590685"/>
                <a:gd name="connsiteY71" fmla="*/ 919163 h 1428750"/>
                <a:gd name="connsiteX72" fmla="*/ 1126331 w 1590685"/>
                <a:gd name="connsiteY72" fmla="*/ 931069 h 1428750"/>
                <a:gd name="connsiteX73" fmla="*/ 1119188 w 1590685"/>
                <a:gd name="connsiteY73" fmla="*/ 935831 h 1428750"/>
                <a:gd name="connsiteX74" fmla="*/ 1112044 w 1590685"/>
                <a:gd name="connsiteY74" fmla="*/ 938213 h 1428750"/>
                <a:gd name="connsiteX75" fmla="*/ 1107281 w 1590685"/>
                <a:gd name="connsiteY75" fmla="*/ 945356 h 1428750"/>
                <a:gd name="connsiteX76" fmla="*/ 1097756 w 1590685"/>
                <a:gd name="connsiteY76" fmla="*/ 957263 h 1428750"/>
                <a:gd name="connsiteX77" fmla="*/ 1095375 w 1590685"/>
                <a:gd name="connsiteY77" fmla="*/ 964406 h 1428750"/>
                <a:gd name="connsiteX78" fmla="*/ 1092994 w 1590685"/>
                <a:gd name="connsiteY78" fmla="*/ 1014413 h 1428750"/>
                <a:gd name="connsiteX79" fmla="*/ 1097756 w 1590685"/>
                <a:gd name="connsiteY79" fmla="*/ 1052513 h 1428750"/>
                <a:gd name="connsiteX80" fmla="*/ 1100138 w 1590685"/>
                <a:gd name="connsiteY80" fmla="*/ 1062038 h 1428750"/>
                <a:gd name="connsiteX81" fmla="*/ 1107281 w 1590685"/>
                <a:gd name="connsiteY81" fmla="*/ 1102519 h 1428750"/>
                <a:gd name="connsiteX82" fmla="*/ 1100138 w 1590685"/>
                <a:gd name="connsiteY82" fmla="*/ 1126331 h 1428750"/>
                <a:gd name="connsiteX83" fmla="*/ 1095375 w 1590685"/>
                <a:gd name="connsiteY83" fmla="*/ 1133475 h 1428750"/>
                <a:gd name="connsiteX84" fmla="*/ 1083469 w 1590685"/>
                <a:gd name="connsiteY84" fmla="*/ 1159669 h 1428750"/>
                <a:gd name="connsiteX85" fmla="*/ 1090613 w 1590685"/>
                <a:gd name="connsiteY85" fmla="*/ 1162050 h 1428750"/>
                <a:gd name="connsiteX86" fmla="*/ 1097756 w 1590685"/>
                <a:gd name="connsiteY86" fmla="*/ 1166813 h 1428750"/>
                <a:gd name="connsiteX87" fmla="*/ 1126331 w 1590685"/>
                <a:gd name="connsiteY87" fmla="*/ 1178719 h 1428750"/>
                <a:gd name="connsiteX88" fmla="*/ 1143000 w 1590685"/>
                <a:gd name="connsiteY88" fmla="*/ 1185863 h 1428750"/>
                <a:gd name="connsiteX89" fmla="*/ 1157288 w 1590685"/>
                <a:gd name="connsiteY89" fmla="*/ 1195388 h 1428750"/>
                <a:gd name="connsiteX90" fmla="*/ 1173956 w 1590685"/>
                <a:gd name="connsiteY90" fmla="*/ 1207294 h 1428750"/>
                <a:gd name="connsiteX91" fmla="*/ 1183481 w 1590685"/>
                <a:gd name="connsiteY91" fmla="*/ 1221581 h 1428750"/>
                <a:gd name="connsiteX92" fmla="*/ 1188244 w 1590685"/>
                <a:gd name="connsiteY92" fmla="*/ 1235869 h 1428750"/>
                <a:gd name="connsiteX93" fmla="*/ 1193006 w 1590685"/>
                <a:gd name="connsiteY93" fmla="*/ 1276350 h 1428750"/>
                <a:gd name="connsiteX94" fmla="*/ 1195388 w 1590685"/>
                <a:gd name="connsiteY94" fmla="*/ 1302544 h 1428750"/>
                <a:gd name="connsiteX95" fmla="*/ 1193006 w 1590685"/>
                <a:gd name="connsiteY95" fmla="*/ 1309688 h 1428750"/>
                <a:gd name="connsiteX96" fmla="*/ 1183481 w 1590685"/>
                <a:gd name="connsiteY96" fmla="*/ 1312069 h 1428750"/>
                <a:gd name="connsiteX97" fmla="*/ 1169194 w 1590685"/>
                <a:gd name="connsiteY97" fmla="*/ 1307306 h 1428750"/>
                <a:gd name="connsiteX98" fmla="*/ 1150144 w 1590685"/>
                <a:gd name="connsiteY98" fmla="*/ 1304925 h 1428750"/>
                <a:gd name="connsiteX99" fmla="*/ 1128713 w 1590685"/>
                <a:gd name="connsiteY99" fmla="*/ 1312069 h 1428750"/>
                <a:gd name="connsiteX100" fmla="*/ 1119188 w 1590685"/>
                <a:gd name="connsiteY100" fmla="*/ 1319213 h 1428750"/>
                <a:gd name="connsiteX101" fmla="*/ 1114425 w 1590685"/>
                <a:gd name="connsiteY101" fmla="*/ 1350169 h 1428750"/>
                <a:gd name="connsiteX102" fmla="*/ 1128713 w 1590685"/>
                <a:gd name="connsiteY102" fmla="*/ 1359694 h 1428750"/>
                <a:gd name="connsiteX103" fmla="*/ 1140619 w 1590685"/>
                <a:gd name="connsiteY103" fmla="*/ 1364456 h 1428750"/>
                <a:gd name="connsiteX104" fmla="*/ 1159669 w 1590685"/>
                <a:gd name="connsiteY104" fmla="*/ 1376363 h 1428750"/>
                <a:gd name="connsiteX105" fmla="*/ 1162050 w 1590685"/>
                <a:gd name="connsiteY105" fmla="*/ 1383506 h 1428750"/>
                <a:gd name="connsiteX106" fmla="*/ 1154906 w 1590685"/>
                <a:gd name="connsiteY106" fmla="*/ 1395413 h 1428750"/>
                <a:gd name="connsiteX107" fmla="*/ 1126331 w 1590685"/>
                <a:gd name="connsiteY107" fmla="*/ 1414463 h 1428750"/>
                <a:gd name="connsiteX108" fmla="*/ 1116806 w 1590685"/>
                <a:gd name="connsiteY108" fmla="*/ 1419225 h 1428750"/>
                <a:gd name="connsiteX109" fmla="*/ 1107281 w 1590685"/>
                <a:gd name="connsiteY109" fmla="*/ 1426369 h 1428750"/>
                <a:gd name="connsiteX110" fmla="*/ 1083469 w 1590685"/>
                <a:gd name="connsiteY110" fmla="*/ 1428750 h 1428750"/>
                <a:gd name="connsiteX111" fmla="*/ 1069181 w 1590685"/>
                <a:gd name="connsiteY111" fmla="*/ 1419225 h 1428750"/>
                <a:gd name="connsiteX112" fmla="*/ 1054894 w 1590685"/>
                <a:gd name="connsiteY112" fmla="*/ 1404938 h 1428750"/>
                <a:gd name="connsiteX113" fmla="*/ 1050131 w 1590685"/>
                <a:gd name="connsiteY113" fmla="*/ 1397794 h 1428750"/>
                <a:gd name="connsiteX114" fmla="*/ 1040606 w 1590685"/>
                <a:gd name="connsiteY114" fmla="*/ 1383506 h 1428750"/>
                <a:gd name="connsiteX115" fmla="*/ 1033463 w 1590685"/>
                <a:gd name="connsiteY115" fmla="*/ 1369219 h 1428750"/>
                <a:gd name="connsiteX116" fmla="*/ 1012031 w 1590685"/>
                <a:gd name="connsiteY116" fmla="*/ 1350169 h 1428750"/>
                <a:gd name="connsiteX117" fmla="*/ 997744 w 1590685"/>
                <a:gd name="connsiteY117" fmla="*/ 1340644 h 1428750"/>
                <a:gd name="connsiteX118" fmla="*/ 966788 w 1590685"/>
                <a:gd name="connsiteY118" fmla="*/ 1314450 h 1428750"/>
                <a:gd name="connsiteX119" fmla="*/ 897731 w 1590685"/>
                <a:gd name="connsiteY119" fmla="*/ 1326356 h 1428750"/>
                <a:gd name="connsiteX120" fmla="*/ 900113 w 1590685"/>
                <a:gd name="connsiteY120" fmla="*/ 1247775 h 1428750"/>
                <a:gd name="connsiteX121" fmla="*/ 890588 w 1590685"/>
                <a:gd name="connsiteY121" fmla="*/ 1238250 h 1428750"/>
                <a:gd name="connsiteX122" fmla="*/ 883444 w 1590685"/>
                <a:gd name="connsiteY122" fmla="*/ 1233488 h 1428750"/>
                <a:gd name="connsiteX123" fmla="*/ 869156 w 1590685"/>
                <a:gd name="connsiteY123" fmla="*/ 1223963 h 1428750"/>
                <a:gd name="connsiteX124" fmla="*/ 857250 w 1590685"/>
                <a:gd name="connsiteY124" fmla="*/ 1195388 h 1428750"/>
                <a:gd name="connsiteX125" fmla="*/ 852488 w 1590685"/>
                <a:gd name="connsiteY125" fmla="*/ 1188244 h 1428750"/>
                <a:gd name="connsiteX126" fmla="*/ 850106 w 1590685"/>
                <a:gd name="connsiteY126" fmla="*/ 1178719 h 1428750"/>
                <a:gd name="connsiteX127" fmla="*/ 845344 w 1590685"/>
                <a:gd name="connsiteY127" fmla="*/ 1169194 h 1428750"/>
                <a:gd name="connsiteX128" fmla="*/ 838200 w 1590685"/>
                <a:gd name="connsiteY128" fmla="*/ 1164431 h 1428750"/>
                <a:gd name="connsiteX129" fmla="*/ 814388 w 1590685"/>
                <a:gd name="connsiteY129" fmla="*/ 1152525 h 1428750"/>
                <a:gd name="connsiteX130" fmla="*/ 738188 w 1590685"/>
                <a:gd name="connsiteY130" fmla="*/ 1150144 h 1428750"/>
                <a:gd name="connsiteX131" fmla="*/ 716756 w 1590685"/>
                <a:gd name="connsiteY131" fmla="*/ 1140619 h 1428750"/>
                <a:gd name="connsiteX132" fmla="*/ 714375 w 1590685"/>
                <a:gd name="connsiteY132" fmla="*/ 1133475 h 1428750"/>
                <a:gd name="connsiteX133" fmla="*/ 702469 w 1590685"/>
                <a:gd name="connsiteY133" fmla="*/ 1116806 h 1428750"/>
                <a:gd name="connsiteX134" fmla="*/ 700088 w 1590685"/>
                <a:gd name="connsiteY134" fmla="*/ 1109663 h 1428750"/>
                <a:gd name="connsiteX135" fmla="*/ 688181 w 1590685"/>
                <a:gd name="connsiteY135" fmla="*/ 1088231 h 1428750"/>
                <a:gd name="connsiteX136" fmla="*/ 671513 w 1590685"/>
                <a:gd name="connsiteY136" fmla="*/ 1062038 h 1428750"/>
                <a:gd name="connsiteX137" fmla="*/ 650081 w 1590685"/>
                <a:gd name="connsiteY137" fmla="*/ 1045369 h 1428750"/>
                <a:gd name="connsiteX138" fmla="*/ 561975 w 1590685"/>
                <a:gd name="connsiteY138" fmla="*/ 1019175 h 1428750"/>
                <a:gd name="connsiteX139" fmla="*/ 509588 w 1590685"/>
                <a:gd name="connsiteY139" fmla="*/ 1035844 h 1428750"/>
                <a:gd name="connsiteX140" fmla="*/ 509588 w 1590685"/>
                <a:gd name="connsiteY140" fmla="*/ 1023938 h 1428750"/>
                <a:gd name="connsiteX141" fmla="*/ 504825 w 1590685"/>
                <a:gd name="connsiteY141" fmla="*/ 1007269 h 1428750"/>
                <a:gd name="connsiteX142" fmla="*/ 502444 w 1590685"/>
                <a:gd name="connsiteY142" fmla="*/ 995363 h 1428750"/>
                <a:gd name="connsiteX143" fmla="*/ 492919 w 1590685"/>
                <a:gd name="connsiteY143" fmla="*/ 973931 h 1428750"/>
                <a:gd name="connsiteX144" fmla="*/ 485775 w 1590685"/>
                <a:gd name="connsiteY144" fmla="*/ 976313 h 1428750"/>
                <a:gd name="connsiteX145" fmla="*/ 471488 w 1590685"/>
                <a:gd name="connsiteY145" fmla="*/ 981075 h 1428750"/>
                <a:gd name="connsiteX146" fmla="*/ 433388 w 1590685"/>
                <a:gd name="connsiteY146" fmla="*/ 983456 h 1428750"/>
                <a:gd name="connsiteX147" fmla="*/ 426244 w 1590685"/>
                <a:gd name="connsiteY147" fmla="*/ 988219 h 1428750"/>
                <a:gd name="connsiteX148" fmla="*/ 428625 w 1590685"/>
                <a:gd name="connsiteY148" fmla="*/ 1014413 h 1428750"/>
                <a:gd name="connsiteX149" fmla="*/ 426244 w 1590685"/>
                <a:gd name="connsiteY149" fmla="*/ 1023938 h 1428750"/>
                <a:gd name="connsiteX150" fmla="*/ 423863 w 1590685"/>
                <a:gd name="connsiteY150" fmla="*/ 1031081 h 1428750"/>
                <a:gd name="connsiteX151" fmla="*/ 421481 w 1590685"/>
                <a:gd name="connsiteY151" fmla="*/ 1045369 h 1428750"/>
                <a:gd name="connsiteX152" fmla="*/ 416719 w 1590685"/>
                <a:gd name="connsiteY152" fmla="*/ 1054894 h 1428750"/>
                <a:gd name="connsiteX153" fmla="*/ 414338 w 1590685"/>
                <a:gd name="connsiteY153" fmla="*/ 1064419 h 1428750"/>
                <a:gd name="connsiteX154" fmla="*/ 407194 w 1590685"/>
                <a:gd name="connsiteY154" fmla="*/ 1071563 h 1428750"/>
                <a:gd name="connsiteX155" fmla="*/ 392906 w 1590685"/>
                <a:gd name="connsiteY155" fmla="*/ 1095375 h 1428750"/>
                <a:gd name="connsiteX156" fmla="*/ 378619 w 1590685"/>
                <a:gd name="connsiteY156" fmla="*/ 1116806 h 1428750"/>
                <a:gd name="connsiteX157" fmla="*/ 383381 w 1590685"/>
                <a:gd name="connsiteY157" fmla="*/ 1133475 h 1428750"/>
                <a:gd name="connsiteX158" fmla="*/ 385763 w 1590685"/>
                <a:gd name="connsiteY158" fmla="*/ 1145381 h 1428750"/>
                <a:gd name="connsiteX159" fmla="*/ 390525 w 1590685"/>
                <a:gd name="connsiteY159" fmla="*/ 1190625 h 1428750"/>
                <a:gd name="connsiteX160" fmla="*/ 383381 w 1590685"/>
                <a:gd name="connsiteY160" fmla="*/ 1200150 h 1428750"/>
                <a:gd name="connsiteX161" fmla="*/ 364331 w 1590685"/>
                <a:gd name="connsiteY161" fmla="*/ 1214438 h 1428750"/>
                <a:gd name="connsiteX162" fmla="*/ 307181 w 1590685"/>
                <a:gd name="connsiteY162" fmla="*/ 1183481 h 1428750"/>
                <a:gd name="connsiteX163" fmla="*/ 250031 w 1590685"/>
                <a:gd name="connsiteY163" fmla="*/ 1154906 h 1428750"/>
                <a:gd name="connsiteX164" fmla="*/ 190500 w 1590685"/>
                <a:gd name="connsiteY164" fmla="*/ 1164431 h 1428750"/>
                <a:gd name="connsiteX165" fmla="*/ 195263 w 1590685"/>
                <a:gd name="connsiteY165" fmla="*/ 1166813 h 1428750"/>
                <a:gd name="connsiteX166" fmla="*/ 207169 w 1590685"/>
                <a:gd name="connsiteY166" fmla="*/ 1181100 h 1428750"/>
                <a:gd name="connsiteX167" fmla="*/ 211931 w 1590685"/>
                <a:gd name="connsiteY167" fmla="*/ 1197769 h 1428750"/>
                <a:gd name="connsiteX168" fmla="*/ 214313 w 1590685"/>
                <a:gd name="connsiteY168" fmla="*/ 1247775 h 1428750"/>
                <a:gd name="connsiteX169" fmla="*/ 207169 w 1590685"/>
                <a:gd name="connsiteY169" fmla="*/ 1254919 h 1428750"/>
                <a:gd name="connsiteX170" fmla="*/ 200025 w 1590685"/>
                <a:gd name="connsiteY170" fmla="*/ 1257300 h 1428750"/>
                <a:gd name="connsiteX171" fmla="*/ 190500 w 1590685"/>
                <a:gd name="connsiteY171" fmla="*/ 1259681 h 1428750"/>
                <a:gd name="connsiteX172" fmla="*/ 169069 w 1590685"/>
                <a:gd name="connsiteY172" fmla="*/ 1269206 h 1428750"/>
                <a:gd name="connsiteX173" fmla="*/ 176213 w 1590685"/>
                <a:gd name="connsiteY173" fmla="*/ 1273969 h 1428750"/>
                <a:gd name="connsiteX174" fmla="*/ 188119 w 1590685"/>
                <a:gd name="connsiteY174" fmla="*/ 1288256 h 1428750"/>
                <a:gd name="connsiteX175" fmla="*/ 195263 w 1590685"/>
                <a:gd name="connsiteY175" fmla="*/ 1290638 h 1428750"/>
                <a:gd name="connsiteX176" fmla="*/ 202406 w 1590685"/>
                <a:gd name="connsiteY176" fmla="*/ 1295400 h 1428750"/>
                <a:gd name="connsiteX177" fmla="*/ 211931 w 1590685"/>
                <a:gd name="connsiteY177" fmla="*/ 1297781 h 1428750"/>
                <a:gd name="connsiteX178" fmla="*/ 209550 w 1590685"/>
                <a:gd name="connsiteY178" fmla="*/ 1319213 h 1428750"/>
                <a:gd name="connsiteX179" fmla="*/ 207169 w 1590685"/>
                <a:gd name="connsiteY179" fmla="*/ 1326356 h 1428750"/>
                <a:gd name="connsiteX180" fmla="*/ 195263 w 1590685"/>
                <a:gd name="connsiteY180" fmla="*/ 1338263 h 1428750"/>
                <a:gd name="connsiteX181" fmla="*/ 190500 w 1590685"/>
                <a:gd name="connsiteY181" fmla="*/ 1345406 h 1428750"/>
                <a:gd name="connsiteX182" fmla="*/ 176213 w 1590685"/>
                <a:gd name="connsiteY182" fmla="*/ 1362075 h 1428750"/>
                <a:gd name="connsiteX183" fmla="*/ 161925 w 1590685"/>
                <a:gd name="connsiteY183" fmla="*/ 1371600 h 1428750"/>
                <a:gd name="connsiteX184" fmla="*/ 152400 w 1590685"/>
                <a:gd name="connsiteY184" fmla="*/ 1376363 h 1428750"/>
                <a:gd name="connsiteX185" fmla="*/ 145256 w 1590685"/>
                <a:gd name="connsiteY185" fmla="*/ 1383506 h 1428750"/>
                <a:gd name="connsiteX186" fmla="*/ 126206 w 1590685"/>
                <a:gd name="connsiteY186" fmla="*/ 1395413 h 1428750"/>
                <a:gd name="connsiteX187" fmla="*/ 111919 w 1590685"/>
                <a:gd name="connsiteY187" fmla="*/ 1409700 h 1428750"/>
                <a:gd name="connsiteX188" fmla="*/ 90488 w 1590685"/>
                <a:gd name="connsiteY188" fmla="*/ 1419225 h 1428750"/>
                <a:gd name="connsiteX189" fmla="*/ 66675 w 1590685"/>
                <a:gd name="connsiteY189" fmla="*/ 1412081 h 1428750"/>
                <a:gd name="connsiteX190" fmla="*/ 40481 w 1590685"/>
                <a:gd name="connsiteY190" fmla="*/ 1409700 h 1428750"/>
                <a:gd name="connsiteX191" fmla="*/ 19050 w 1590685"/>
                <a:gd name="connsiteY191" fmla="*/ 1404938 h 1428750"/>
                <a:gd name="connsiteX192" fmla="*/ 0 w 1590685"/>
                <a:gd name="connsiteY192" fmla="*/ 1238250 h 1428750"/>
                <a:gd name="connsiteX193" fmla="*/ 47625 w 1590685"/>
                <a:gd name="connsiteY193" fmla="*/ 1131094 h 1428750"/>
                <a:gd name="connsiteX194" fmla="*/ 69056 w 1590685"/>
                <a:gd name="connsiteY194" fmla="*/ 1007269 h 1428750"/>
                <a:gd name="connsiteX195" fmla="*/ 126206 w 1590685"/>
                <a:gd name="connsiteY195" fmla="*/ 954881 h 1428750"/>
                <a:gd name="connsiteX196" fmla="*/ 133350 w 1590685"/>
                <a:gd name="connsiteY196" fmla="*/ 926306 h 1428750"/>
                <a:gd name="connsiteX197" fmla="*/ 133350 w 1590685"/>
                <a:gd name="connsiteY197" fmla="*/ 892969 h 1428750"/>
                <a:gd name="connsiteX198" fmla="*/ 130969 w 1590685"/>
                <a:gd name="connsiteY198" fmla="*/ 883444 h 1428750"/>
                <a:gd name="connsiteX199" fmla="*/ 116681 w 1590685"/>
                <a:gd name="connsiteY199" fmla="*/ 859631 h 1428750"/>
                <a:gd name="connsiteX200" fmla="*/ 109538 w 1590685"/>
                <a:gd name="connsiteY200" fmla="*/ 852488 h 1428750"/>
                <a:gd name="connsiteX201" fmla="*/ 107156 w 1590685"/>
                <a:gd name="connsiteY201" fmla="*/ 845344 h 1428750"/>
                <a:gd name="connsiteX202" fmla="*/ 102394 w 1590685"/>
                <a:gd name="connsiteY202" fmla="*/ 816769 h 1428750"/>
                <a:gd name="connsiteX203" fmla="*/ 107156 w 1590685"/>
                <a:gd name="connsiteY203" fmla="*/ 807244 h 1428750"/>
                <a:gd name="connsiteX204" fmla="*/ 111919 w 1590685"/>
                <a:gd name="connsiteY204" fmla="*/ 792956 h 1428750"/>
                <a:gd name="connsiteX205" fmla="*/ 116681 w 1590685"/>
                <a:gd name="connsiteY205" fmla="*/ 785813 h 1428750"/>
                <a:gd name="connsiteX206" fmla="*/ 119063 w 1590685"/>
                <a:gd name="connsiteY206" fmla="*/ 766763 h 1428750"/>
                <a:gd name="connsiteX207" fmla="*/ 111919 w 1590685"/>
                <a:gd name="connsiteY207" fmla="*/ 759619 h 1428750"/>
                <a:gd name="connsiteX208" fmla="*/ 114300 w 1590685"/>
                <a:gd name="connsiteY208" fmla="*/ 723900 h 1428750"/>
                <a:gd name="connsiteX209" fmla="*/ 159544 w 1590685"/>
                <a:gd name="connsiteY209" fmla="*/ 683419 h 1428750"/>
                <a:gd name="connsiteX210" fmla="*/ 207169 w 1590685"/>
                <a:gd name="connsiteY210" fmla="*/ 611981 h 1428750"/>
                <a:gd name="connsiteX211" fmla="*/ 273844 w 1590685"/>
                <a:gd name="connsiteY211" fmla="*/ 561975 h 1428750"/>
                <a:gd name="connsiteX212" fmla="*/ 278606 w 1590685"/>
                <a:gd name="connsiteY212" fmla="*/ 561975 h 1428750"/>
                <a:gd name="connsiteX213" fmla="*/ 295275 w 1590685"/>
                <a:gd name="connsiteY213" fmla="*/ 569119 h 1428750"/>
                <a:gd name="connsiteX214" fmla="*/ 302419 w 1590685"/>
                <a:gd name="connsiteY214" fmla="*/ 576263 h 1428750"/>
                <a:gd name="connsiteX215" fmla="*/ 321469 w 1590685"/>
                <a:gd name="connsiteY215" fmla="*/ 595313 h 1428750"/>
                <a:gd name="connsiteX216" fmla="*/ 333375 w 1590685"/>
                <a:gd name="connsiteY216" fmla="*/ 607219 h 1428750"/>
                <a:gd name="connsiteX217" fmla="*/ 350044 w 1590685"/>
                <a:gd name="connsiteY217" fmla="*/ 623888 h 1428750"/>
                <a:gd name="connsiteX218" fmla="*/ 357188 w 1590685"/>
                <a:gd name="connsiteY218" fmla="*/ 640556 h 1428750"/>
                <a:gd name="connsiteX219" fmla="*/ 364331 w 1590685"/>
                <a:gd name="connsiteY219" fmla="*/ 647700 h 1428750"/>
                <a:gd name="connsiteX220" fmla="*/ 388144 w 1590685"/>
                <a:gd name="connsiteY220" fmla="*/ 657225 h 1428750"/>
                <a:gd name="connsiteX221" fmla="*/ 464344 w 1590685"/>
                <a:gd name="connsiteY221" fmla="*/ 573881 h 1428750"/>
                <a:gd name="connsiteX222" fmla="*/ 459581 w 1590685"/>
                <a:gd name="connsiteY222" fmla="*/ 564356 h 1428750"/>
                <a:gd name="connsiteX223" fmla="*/ 457200 w 1590685"/>
                <a:gd name="connsiteY223" fmla="*/ 523875 h 1428750"/>
                <a:gd name="connsiteX224" fmla="*/ 461963 w 1590685"/>
                <a:gd name="connsiteY224" fmla="*/ 516731 h 1428750"/>
                <a:gd name="connsiteX225" fmla="*/ 464344 w 1590685"/>
                <a:gd name="connsiteY225" fmla="*/ 500063 h 1428750"/>
                <a:gd name="connsiteX226" fmla="*/ 466725 w 1590685"/>
                <a:gd name="connsiteY226" fmla="*/ 485775 h 1428750"/>
                <a:gd name="connsiteX227" fmla="*/ 469106 w 1590685"/>
                <a:gd name="connsiteY227" fmla="*/ 478631 h 1428750"/>
                <a:gd name="connsiteX228" fmla="*/ 473869 w 1590685"/>
                <a:gd name="connsiteY228" fmla="*/ 469106 h 1428750"/>
                <a:gd name="connsiteX229" fmla="*/ 476250 w 1590685"/>
                <a:gd name="connsiteY229" fmla="*/ 445294 h 1428750"/>
                <a:gd name="connsiteX230" fmla="*/ 478631 w 1590685"/>
                <a:gd name="connsiteY230" fmla="*/ 438150 h 1428750"/>
                <a:gd name="connsiteX231" fmla="*/ 483394 w 1590685"/>
                <a:gd name="connsiteY231" fmla="*/ 366713 h 1428750"/>
                <a:gd name="connsiteX232" fmla="*/ 490538 w 1590685"/>
                <a:gd name="connsiteY232" fmla="*/ 359569 h 1428750"/>
                <a:gd name="connsiteX233" fmla="*/ 492919 w 1590685"/>
                <a:gd name="connsiteY233" fmla="*/ 352425 h 1428750"/>
                <a:gd name="connsiteX234" fmla="*/ 500063 w 1590685"/>
                <a:gd name="connsiteY234" fmla="*/ 330994 h 1428750"/>
                <a:gd name="connsiteX235" fmla="*/ 511969 w 1590685"/>
                <a:gd name="connsiteY235" fmla="*/ 311944 h 1428750"/>
                <a:gd name="connsiteX236" fmla="*/ 526256 w 1590685"/>
                <a:gd name="connsiteY236" fmla="*/ 295275 h 1428750"/>
                <a:gd name="connsiteX237" fmla="*/ 528638 w 1590685"/>
                <a:gd name="connsiteY237" fmla="*/ 197644 h 1428750"/>
                <a:gd name="connsiteX238" fmla="*/ 526256 w 1590685"/>
                <a:gd name="connsiteY238" fmla="*/ 188119 h 1428750"/>
                <a:gd name="connsiteX239" fmla="*/ 509588 w 1590685"/>
                <a:gd name="connsiteY239" fmla="*/ 173831 h 1428750"/>
                <a:gd name="connsiteX240" fmla="*/ 507206 w 1590685"/>
                <a:gd name="connsiteY240" fmla="*/ 159544 h 1428750"/>
                <a:gd name="connsiteX241" fmla="*/ 511969 w 1590685"/>
                <a:gd name="connsiteY241" fmla="*/ 138113 h 1428750"/>
                <a:gd name="connsiteX242" fmla="*/ 631031 w 1590685"/>
                <a:gd name="connsiteY242" fmla="*/ 52388 h 1428750"/>
                <a:gd name="connsiteX243" fmla="*/ 644599 w 1590685"/>
                <a:gd name="connsiteY243" fmla="*/ 45814 h 1428750"/>
                <a:gd name="connsiteX244" fmla="*/ 643838 w 1590685"/>
                <a:gd name="connsiteY244" fmla="*/ 50047 h 1428750"/>
                <a:gd name="connsiteX245" fmla="*/ 642938 w 1590685"/>
                <a:gd name="connsiteY245" fmla="*/ 71438 h 1428750"/>
                <a:gd name="connsiteX246" fmla="*/ 657225 w 1590685"/>
                <a:gd name="connsiteY246" fmla="*/ 85725 h 1428750"/>
                <a:gd name="connsiteX247" fmla="*/ 666750 w 1590685"/>
                <a:gd name="connsiteY247" fmla="*/ 123825 h 1428750"/>
                <a:gd name="connsiteX248" fmla="*/ 738188 w 1590685"/>
                <a:gd name="connsiteY248" fmla="*/ 123825 h 1428750"/>
                <a:gd name="connsiteX249" fmla="*/ 847725 w 1590685"/>
                <a:gd name="connsiteY249" fmla="*/ 57150 h 1428750"/>
                <a:gd name="connsiteX250" fmla="*/ 904875 w 1590685"/>
                <a:gd name="connsiteY250" fmla="*/ 9525 h 142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Lst>
              <a:rect l="l" t="t" r="r" b="b"/>
              <a:pathLst>
                <a:path w="1590685" h="1428750">
                  <a:moveTo>
                    <a:pt x="985838" y="0"/>
                  </a:moveTo>
                  <a:lnTo>
                    <a:pt x="1076325" y="90488"/>
                  </a:lnTo>
                  <a:lnTo>
                    <a:pt x="1104900" y="180975"/>
                  </a:lnTo>
                  <a:lnTo>
                    <a:pt x="1204913" y="100013"/>
                  </a:lnTo>
                  <a:cubicBezTo>
                    <a:pt x="1207347" y="126792"/>
                    <a:pt x="1208555" y="154503"/>
                    <a:pt x="1214438" y="180975"/>
                  </a:cubicBezTo>
                  <a:cubicBezTo>
                    <a:pt x="1215527" y="185876"/>
                    <a:pt x="1216762" y="190875"/>
                    <a:pt x="1219200" y="195263"/>
                  </a:cubicBezTo>
                  <a:cubicBezTo>
                    <a:pt x="1224759" y="205270"/>
                    <a:pt x="1233130" y="213599"/>
                    <a:pt x="1238250" y="223838"/>
                  </a:cubicBezTo>
                  <a:lnTo>
                    <a:pt x="1247775" y="242888"/>
                  </a:lnTo>
                  <a:cubicBezTo>
                    <a:pt x="1249363" y="258763"/>
                    <a:pt x="1248950" y="274967"/>
                    <a:pt x="1252538" y="290513"/>
                  </a:cubicBezTo>
                  <a:cubicBezTo>
                    <a:pt x="1253825" y="296090"/>
                    <a:pt x="1256384" y="304090"/>
                    <a:pt x="1262063" y="304800"/>
                  </a:cubicBezTo>
                  <a:cubicBezTo>
                    <a:pt x="1276382" y="306590"/>
                    <a:pt x="1293507" y="293362"/>
                    <a:pt x="1304925" y="285750"/>
                  </a:cubicBezTo>
                  <a:cubicBezTo>
                    <a:pt x="1308100" y="290513"/>
                    <a:pt x="1311890" y="294918"/>
                    <a:pt x="1314450" y="300038"/>
                  </a:cubicBezTo>
                  <a:cubicBezTo>
                    <a:pt x="1322734" y="316605"/>
                    <a:pt x="1322704" y="341859"/>
                    <a:pt x="1314450" y="357188"/>
                  </a:cubicBezTo>
                  <a:cubicBezTo>
                    <a:pt x="1309023" y="367267"/>
                    <a:pt x="1285875" y="376238"/>
                    <a:pt x="1285875" y="376238"/>
                  </a:cubicBezTo>
                  <a:cubicBezTo>
                    <a:pt x="1282700" y="381000"/>
                    <a:pt x="1277291" y="384879"/>
                    <a:pt x="1276350" y="390525"/>
                  </a:cubicBezTo>
                  <a:cubicBezTo>
                    <a:pt x="1275525" y="395477"/>
                    <a:pt x="1277977" y="400893"/>
                    <a:pt x="1281113" y="404813"/>
                  </a:cubicBezTo>
                  <a:cubicBezTo>
                    <a:pt x="1287828" y="413207"/>
                    <a:pt x="1300275" y="415963"/>
                    <a:pt x="1309688" y="419100"/>
                  </a:cubicBezTo>
                  <a:cubicBezTo>
                    <a:pt x="1308100" y="431800"/>
                    <a:pt x="1309299" y="445172"/>
                    <a:pt x="1304925" y="457200"/>
                  </a:cubicBezTo>
                  <a:cubicBezTo>
                    <a:pt x="1301991" y="465269"/>
                    <a:pt x="1283154" y="476477"/>
                    <a:pt x="1276350" y="481013"/>
                  </a:cubicBezTo>
                  <a:cubicBezTo>
                    <a:pt x="1271588" y="487363"/>
                    <a:pt x="1268089" y="494897"/>
                    <a:pt x="1262063" y="500063"/>
                  </a:cubicBezTo>
                  <a:cubicBezTo>
                    <a:pt x="1229662" y="527835"/>
                    <a:pt x="1254984" y="490115"/>
                    <a:pt x="1228725" y="523875"/>
                  </a:cubicBezTo>
                  <a:cubicBezTo>
                    <a:pt x="1221697" y="532911"/>
                    <a:pt x="1209675" y="552450"/>
                    <a:pt x="1209675" y="552450"/>
                  </a:cubicBezTo>
                  <a:cubicBezTo>
                    <a:pt x="1208088" y="557213"/>
                    <a:pt x="1207404" y="562379"/>
                    <a:pt x="1204913" y="566738"/>
                  </a:cubicBezTo>
                  <a:cubicBezTo>
                    <a:pt x="1181846" y="607106"/>
                    <a:pt x="1196782" y="567316"/>
                    <a:pt x="1185863" y="600075"/>
                  </a:cubicBezTo>
                  <a:cubicBezTo>
                    <a:pt x="1194223" y="625160"/>
                    <a:pt x="1183761" y="609600"/>
                    <a:pt x="1209675" y="609600"/>
                  </a:cubicBezTo>
                  <a:cubicBezTo>
                    <a:pt x="1214695" y="609600"/>
                    <a:pt x="1219200" y="612775"/>
                    <a:pt x="1223963" y="614363"/>
                  </a:cubicBezTo>
                  <a:cubicBezTo>
                    <a:pt x="1220555" y="631399"/>
                    <a:pt x="1221938" y="640200"/>
                    <a:pt x="1209675" y="652463"/>
                  </a:cubicBezTo>
                  <a:cubicBezTo>
                    <a:pt x="1204062" y="658076"/>
                    <a:pt x="1196651" y="661584"/>
                    <a:pt x="1190625" y="666750"/>
                  </a:cubicBezTo>
                  <a:cubicBezTo>
                    <a:pt x="1185511" y="671133"/>
                    <a:pt x="1176338" y="681038"/>
                    <a:pt x="1176338" y="681038"/>
                  </a:cubicBezTo>
                  <a:lnTo>
                    <a:pt x="1247775" y="776288"/>
                  </a:lnTo>
                  <a:lnTo>
                    <a:pt x="1300163" y="762000"/>
                  </a:lnTo>
                  <a:cubicBezTo>
                    <a:pt x="1316694" y="781287"/>
                    <a:pt x="1325158" y="791542"/>
                    <a:pt x="1329175" y="796592"/>
                  </a:cubicBezTo>
                  <a:lnTo>
                    <a:pt x="1330980" y="798977"/>
                  </a:lnTo>
                  <a:lnTo>
                    <a:pt x="1331506" y="799958"/>
                  </a:lnTo>
                  <a:cubicBezTo>
                    <a:pt x="1332134" y="800723"/>
                    <a:pt x="1332556" y="801145"/>
                    <a:pt x="1332318" y="800743"/>
                  </a:cubicBezTo>
                  <a:lnTo>
                    <a:pt x="1330980" y="798977"/>
                  </a:lnTo>
                  <a:lnTo>
                    <a:pt x="1328881" y="795060"/>
                  </a:lnTo>
                  <a:cubicBezTo>
                    <a:pt x="1329594" y="794602"/>
                    <a:pt x="1333102" y="796594"/>
                    <a:pt x="1343025" y="804863"/>
                  </a:cubicBezTo>
                  <a:cubicBezTo>
                    <a:pt x="1366808" y="824681"/>
                    <a:pt x="1346493" y="815543"/>
                    <a:pt x="1371600" y="823913"/>
                  </a:cubicBezTo>
                  <a:cubicBezTo>
                    <a:pt x="1376363" y="822325"/>
                    <a:pt x="1381398" y="821395"/>
                    <a:pt x="1385888" y="819150"/>
                  </a:cubicBezTo>
                  <a:cubicBezTo>
                    <a:pt x="1408460" y="807864"/>
                    <a:pt x="1391321" y="809625"/>
                    <a:pt x="1409700" y="809625"/>
                  </a:cubicBezTo>
                  <a:lnTo>
                    <a:pt x="1590630" y="854858"/>
                  </a:lnTo>
                  <a:lnTo>
                    <a:pt x="1590675" y="857250"/>
                  </a:lnTo>
                  <a:cubicBezTo>
                    <a:pt x="1590675" y="863344"/>
                    <a:pt x="1591385" y="858546"/>
                    <a:pt x="1581150" y="864394"/>
                  </a:cubicBezTo>
                  <a:cubicBezTo>
                    <a:pt x="1573316" y="868871"/>
                    <a:pt x="1566526" y="875390"/>
                    <a:pt x="1559719" y="881063"/>
                  </a:cubicBezTo>
                  <a:cubicBezTo>
                    <a:pt x="1556544" y="881857"/>
                    <a:pt x="1553202" y="882155"/>
                    <a:pt x="1550194" y="883444"/>
                  </a:cubicBezTo>
                  <a:cubicBezTo>
                    <a:pt x="1535124" y="889902"/>
                    <a:pt x="1551777" y="887265"/>
                    <a:pt x="1533525" y="892969"/>
                  </a:cubicBezTo>
                  <a:cubicBezTo>
                    <a:pt x="1524154" y="895898"/>
                    <a:pt x="1514475" y="897732"/>
                    <a:pt x="1504950" y="900113"/>
                  </a:cubicBezTo>
                  <a:cubicBezTo>
                    <a:pt x="1500981" y="898525"/>
                    <a:pt x="1496867" y="897262"/>
                    <a:pt x="1493044" y="895350"/>
                  </a:cubicBezTo>
                  <a:cubicBezTo>
                    <a:pt x="1485246" y="891451"/>
                    <a:pt x="1469283" y="876130"/>
                    <a:pt x="1466850" y="873919"/>
                  </a:cubicBezTo>
                  <a:cubicBezTo>
                    <a:pt x="1464358" y="871654"/>
                    <a:pt x="1461898" y="869332"/>
                    <a:pt x="1459706" y="866775"/>
                  </a:cubicBezTo>
                  <a:cubicBezTo>
                    <a:pt x="1453908" y="860010"/>
                    <a:pt x="1452011" y="853695"/>
                    <a:pt x="1443038" y="850106"/>
                  </a:cubicBezTo>
                  <a:cubicBezTo>
                    <a:pt x="1438555" y="848313"/>
                    <a:pt x="1433513" y="848519"/>
                    <a:pt x="1428750" y="847725"/>
                  </a:cubicBezTo>
                  <a:cubicBezTo>
                    <a:pt x="1411921" y="851090"/>
                    <a:pt x="1420684" y="848826"/>
                    <a:pt x="1402556" y="854869"/>
                  </a:cubicBezTo>
                  <a:cubicBezTo>
                    <a:pt x="1399841" y="855774"/>
                    <a:pt x="1397794" y="858044"/>
                    <a:pt x="1395413" y="859631"/>
                  </a:cubicBezTo>
                  <a:cubicBezTo>
                    <a:pt x="1390650" y="862806"/>
                    <a:pt x="1385403" y="865353"/>
                    <a:pt x="1381125" y="869156"/>
                  </a:cubicBezTo>
                  <a:cubicBezTo>
                    <a:pt x="1378159" y="871793"/>
                    <a:pt x="1376994" y="876098"/>
                    <a:pt x="1373981" y="878681"/>
                  </a:cubicBezTo>
                  <a:cubicBezTo>
                    <a:pt x="1352754" y="896876"/>
                    <a:pt x="1354477" y="895055"/>
                    <a:pt x="1335881" y="902494"/>
                  </a:cubicBezTo>
                  <a:cubicBezTo>
                    <a:pt x="1333500" y="900906"/>
                    <a:pt x="1329900" y="900346"/>
                    <a:pt x="1328738" y="897731"/>
                  </a:cubicBezTo>
                  <a:cubicBezTo>
                    <a:pt x="1326459" y="892602"/>
                    <a:pt x="1326976" y="886641"/>
                    <a:pt x="1326356" y="881063"/>
                  </a:cubicBezTo>
                  <a:cubicBezTo>
                    <a:pt x="1325388" y="872349"/>
                    <a:pt x="1324893" y="863588"/>
                    <a:pt x="1323975" y="854869"/>
                  </a:cubicBezTo>
                  <a:cubicBezTo>
                    <a:pt x="1323305" y="848505"/>
                    <a:pt x="1324702" y="841413"/>
                    <a:pt x="1321594" y="835819"/>
                  </a:cubicBezTo>
                  <a:cubicBezTo>
                    <a:pt x="1320005" y="832958"/>
                    <a:pt x="1315244" y="834232"/>
                    <a:pt x="1312069" y="833438"/>
                  </a:cubicBezTo>
                  <a:lnTo>
                    <a:pt x="1297781" y="842963"/>
                  </a:lnTo>
                  <a:cubicBezTo>
                    <a:pt x="1288920" y="848870"/>
                    <a:pt x="1278731" y="852488"/>
                    <a:pt x="1269206" y="857250"/>
                  </a:cubicBezTo>
                  <a:cubicBezTo>
                    <a:pt x="1257997" y="862854"/>
                    <a:pt x="1250207" y="869118"/>
                    <a:pt x="1240631" y="876300"/>
                  </a:cubicBezTo>
                  <a:cubicBezTo>
                    <a:pt x="1233762" y="881452"/>
                    <a:pt x="1226683" y="886379"/>
                    <a:pt x="1219200" y="890588"/>
                  </a:cubicBezTo>
                  <a:cubicBezTo>
                    <a:pt x="1213931" y="893552"/>
                    <a:pt x="1208034" y="895230"/>
                    <a:pt x="1202531" y="897731"/>
                  </a:cubicBezTo>
                  <a:cubicBezTo>
                    <a:pt x="1199299" y="899200"/>
                    <a:pt x="1196181" y="900906"/>
                    <a:pt x="1193006" y="902494"/>
                  </a:cubicBezTo>
                  <a:cubicBezTo>
                    <a:pt x="1188173" y="903702"/>
                    <a:pt x="1181120" y="905206"/>
                    <a:pt x="1176338" y="907256"/>
                  </a:cubicBezTo>
                  <a:cubicBezTo>
                    <a:pt x="1173075" y="908654"/>
                    <a:pt x="1170076" y="910621"/>
                    <a:pt x="1166813" y="912019"/>
                  </a:cubicBezTo>
                  <a:cubicBezTo>
                    <a:pt x="1153008" y="917935"/>
                    <a:pt x="1166256" y="910008"/>
                    <a:pt x="1152525" y="919163"/>
                  </a:cubicBezTo>
                  <a:cubicBezTo>
                    <a:pt x="1113281" y="945327"/>
                    <a:pt x="1146556" y="920957"/>
                    <a:pt x="1126331" y="931069"/>
                  </a:cubicBezTo>
                  <a:cubicBezTo>
                    <a:pt x="1123771" y="932349"/>
                    <a:pt x="1121747" y="934551"/>
                    <a:pt x="1119188" y="935831"/>
                  </a:cubicBezTo>
                  <a:cubicBezTo>
                    <a:pt x="1116943" y="936954"/>
                    <a:pt x="1114004" y="936645"/>
                    <a:pt x="1112044" y="938213"/>
                  </a:cubicBezTo>
                  <a:cubicBezTo>
                    <a:pt x="1109809" y="940001"/>
                    <a:pt x="1108998" y="943067"/>
                    <a:pt x="1107281" y="945356"/>
                  </a:cubicBezTo>
                  <a:cubicBezTo>
                    <a:pt x="1104231" y="949422"/>
                    <a:pt x="1100450" y="952953"/>
                    <a:pt x="1097756" y="957263"/>
                  </a:cubicBezTo>
                  <a:cubicBezTo>
                    <a:pt x="1096426" y="959391"/>
                    <a:pt x="1095583" y="961905"/>
                    <a:pt x="1095375" y="964406"/>
                  </a:cubicBezTo>
                  <a:cubicBezTo>
                    <a:pt x="1093989" y="981036"/>
                    <a:pt x="1093788" y="997744"/>
                    <a:pt x="1092994" y="1014413"/>
                  </a:cubicBezTo>
                  <a:cubicBezTo>
                    <a:pt x="1094129" y="1024631"/>
                    <a:pt x="1095815" y="1041841"/>
                    <a:pt x="1097756" y="1052513"/>
                  </a:cubicBezTo>
                  <a:cubicBezTo>
                    <a:pt x="1098342" y="1055733"/>
                    <a:pt x="1099344" y="1058863"/>
                    <a:pt x="1100138" y="1062038"/>
                  </a:cubicBezTo>
                  <a:cubicBezTo>
                    <a:pt x="1104045" y="1077659"/>
                    <a:pt x="1105112" y="1087333"/>
                    <a:pt x="1107281" y="1102519"/>
                  </a:cubicBezTo>
                  <a:cubicBezTo>
                    <a:pt x="1105051" y="1113671"/>
                    <a:pt x="1105359" y="1115890"/>
                    <a:pt x="1100138" y="1126331"/>
                  </a:cubicBezTo>
                  <a:cubicBezTo>
                    <a:pt x="1098858" y="1128891"/>
                    <a:pt x="1096963" y="1131094"/>
                    <a:pt x="1095375" y="1133475"/>
                  </a:cubicBezTo>
                  <a:cubicBezTo>
                    <a:pt x="1085004" y="1140389"/>
                    <a:pt x="1081534" y="1140323"/>
                    <a:pt x="1083469" y="1159669"/>
                  </a:cubicBezTo>
                  <a:cubicBezTo>
                    <a:pt x="1083719" y="1162167"/>
                    <a:pt x="1088368" y="1160927"/>
                    <a:pt x="1090613" y="1162050"/>
                  </a:cubicBezTo>
                  <a:cubicBezTo>
                    <a:pt x="1093173" y="1163330"/>
                    <a:pt x="1095375" y="1165225"/>
                    <a:pt x="1097756" y="1166813"/>
                  </a:cubicBezTo>
                  <a:cubicBezTo>
                    <a:pt x="1116899" y="1170641"/>
                    <a:pt x="1104630" y="1166882"/>
                    <a:pt x="1126331" y="1178719"/>
                  </a:cubicBezTo>
                  <a:cubicBezTo>
                    <a:pt x="1135575" y="1183761"/>
                    <a:pt x="1134275" y="1182954"/>
                    <a:pt x="1143000" y="1185863"/>
                  </a:cubicBezTo>
                  <a:cubicBezTo>
                    <a:pt x="1148430" y="1187674"/>
                    <a:pt x="1152599" y="1192106"/>
                    <a:pt x="1157288" y="1195388"/>
                  </a:cubicBezTo>
                  <a:cubicBezTo>
                    <a:pt x="1186912" y="1216124"/>
                    <a:pt x="1150668" y="1191766"/>
                    <a:pt x="1173956" y="1207294"/>
                  </a:cubicBezTo>
                  <a:cubicBezTo>
                    <a:pt x="1178718" y="1210469"/>
                    <a:pt x="1180306" y="1216819"/>
                    <a:pt x="1183481" y="1221581"/>
                  </a:cubicBezTo>
                  <a:cubicBezTo>
                    <a:pt x="1186266" y="1225758"/>
                    <a:pt x="1186801" y="1231060"/>
                    <a:pt x="1188244" y="1235869"/>
                  </a:cubicBezTo>
                  <a:cubicBezTo>
                    <a:pt x="1192855" y="1251237"/>
                    <a:pt x="1191260" y="1255403"/>
                    <a:pt x="1193006" y="1276350"/>
                  </a:cubicBezTo>
                  <a:cubicBezTo>
                    <a:pt x="1193734" y="1285087"/>
                    <a:pt x="1195388" y="1293777"/>
                    <a:pt x="1195388" y="1302544"/>
                  </a:cubicBezTo>
                  <a:cubicBezTo>
                    <a:pt x="1195388" y="1305054"/>
                    <a:pt x="1194966" y="1308120"/>
                    <a:pt x="1193006" y="1309688"/>
                  </a:cubicBezTo>
                  <a:cubicBezTo>
                    <a:pt x="1190450" y="1311732"/>
                    <a:pt x="1186656" y="1311275"/>
                    <a:pt x="1183481" y="1312069"/>
                  </a:cubicBezTo>
                  <a:cubicBezTo>
                    <a:pt x="1183481" y="1312069"/>
                    <a:pt x="1174103" y="1308358"/>
                    <a:pt x="1169194" y="1307306"/>
                  </a:cubicBezTo>
                  <a:cubicBezTo>
                    <a:pt x="1162937" y="1305965"/>
                    <a:pt x="1156494" y="1305719"/>
                    <a:pt x="1150144" y="1304925"/>
                  </a:cubicBezTo>
                  <a:cubicBezTo>
                    <a:pt x="1150144" y="1304925"/>
                    <a:pt x="1135550" y="1308913"/>
                    <a:pt x="1128713" y="1312069"/>
                  </a:cubicBezTo>
                  <a:cubicBezTo>
                    <a:pt x="1125110" y="1313732"/>
                    <a:pt x="1120582" y="1315497"/>
                    <a:pt x="1119188" y="1319213"/>
                  </a:cubicBezTo>
                  <a:cubicBezTo>
                    <a:pt x="1115522" y="1328988"/>
                    <a:pt x="1116013" y="1339850"/>
                    <a:pt x="1114425" y="1350169"/>
                  </a:cubicBezTo>
                  <a:cubicBezTo>
                    <a:pt x="1114425" y="1350169"/>
                    <a:pt x="1123688" y="1356953"/>
                    <a:pt x="1128713" y="1359694"/>
                  </a:cubicBezTo>
                  <a:cubicBezTo>
                    <a:pt x="1132465" y="1361741"/>
                    <a:pt x="1136564" y="1363104"/>
                    <a:pt x="1140619" y="1364456"/>
                  </a:cubicBezTo>
                  <a:cubicBezTo>
                    <a:pt x="1152348" y="1368366"/>
                    <a:pt x="1150783" y="1363922"/>
                    <a:pt x="1159669" y="1376363"/>
                  </a:cubicBezTo>
                  <a:cubicBezTo>
                    <a:pt x="1161128" y="1378405"/>
                    <a:pt x="1162659" y="1381071"/>
                    <a:pt x="1162050" y="1383506"/>
                  </a:cubicBezTo>
                  <a:cubicBezTo>
                    <a:pt x="1160927" y="1387996"/>
                    <a:pt x="1157287" y="1391444"/>
                    <a:pt x="1154906" y="1395413"/>
                  </a:cubicBezTo>
                  <a:cubicBezTo>
                    <a:pt x="1137631" y="1401171"/>
                    <a:pt x="1155320" y="1394395"/>
                    <a:pt x="1126331" y="1414463"/>
                  </a:cubicBezTo>
                  <a:cubicBezTo>
                    <a:pt x="1123412" y="1416483"/>
                    <a:pt x="1119816" y="1417344"/>
                    <a:pt x="1116806" y="1419225"/>
                  </a:cubicBezTo>
                  <a:cubicBezTo>
                    <a:pt x="1113440" y="1421328"/>
                    <a:pt x="1111097" y="1425279"/>
                    <a:pt x="1107281" y="1426369"/>
                  </a:cubicBezTo>
                  <a:cubicBezTo>
                    <a:pt x="1099611" y="1428560"/>
                    <a:pt x="1091406" y="1427956"/>
                    <a:pt x="1083469" y="1428750"/>
                  </a:cubicBezTo>
                  <a:cubicBezTo>
                    <a:pt x="1073130" y="1425304"/>
                    <a:pt x="1078100" y="1428144"/>
                    <a:pt x="1069181" y="1419225"/>
                  </a:cubicBezTo>
                  <a:lnTo>
                    <a:pt x="1054894" y="1404938"/>
                  </a:lnTo>
                  <a:cubicBezTo>
                    <a:pt x="1052870" y="1402914"/>
                    <a:pt x="1051719" y="1400175"/>
                    <a:pt x="1050131" y="1397794"/>
                  </a:cubicBezTo>
                  <a:cubicBezTo>
                    <a:pt x="1046956" y="1393031"/>
                    <a:pt x="1043386" y="1388510"/>
                    <a:pt x="1040606" y="1383506"/>
                  </a:cubicBezTo>
                  <a:cubicBezTo>
                    <a:pt x="1033936" y="1371499"/>
                    <a:pt x="1043476" y="1380902"/>
                    <a:pt x="1033463" y="1369219"/>
                  </a:cubicBezTo>
                  <a:cubicBezTo>
                    <a:pt x="1027573" y="1362347"/>
                    <a:pt x="1019261" y="1355427"/>
                    <a:pt x="1012031" y="1350169"/>
                  </a:cubicBezTo>
                  <a:cubicBezTo>
                    <a:pt x="1007402" y="1346803"/>
                    <a:pt x="1002236" y="1344191"/>
                    <a:pt x="997744" y="1340644"/>
                  </a:cubicBezTo>
                  <a:cubicBezTo>
                    <a:pt x="987135" y="1332268"/>
                    <a:pt x="977107" y="1323181"/>
                    <a:pt x="966788" y="1314450"/>
                  </a:cubicBezTo>
                  <a:lnTo>
                    <a:pt x="897731" y="1326356"/>
                  </a:lnTo>
                  <a:cubicBezTo>
                    <a:pt x="897731" y="1271561"/>
                    <a:pt x="896780" y="1297750"/>
                    <a:pt x="900113" y="1247775"/>
                  </a:cubicBezTo>
                  <a:lnTo>
                    <a:pt x="890588" y="1238250"/>
                  </a:lnTo>
                  <a:cubicBezTo>
                    <a:pt x="888564" y="1236226"/>
                    <a:pt x="885825" y="1235075"/>
                    <a:pt x="883444" y="1233488"/>
                  </a:cubicBezTo>
                  <a:cubicBezTo>
                    <a:pt x="878681" y="1230313"/>
                    <a:pt x="873464" y="1227732"/>
                    <a:pt x="869156" y="1223963"/>
                  </a:cubicBezTo>
                  <a:cubicBezTo>
                    <a:pt x="862679" y="1218295"/>
                    <a:pt x="858823" y="1199164"/>
                    <a:pt x="857250" y="1195388"/>
                  </a:cubicBezTo>
                  <a:cubicBezTo>
                    <a:pt x="856149" y="1192746"/>
                    <a:pt x="853615" y="1190874"/>
                    <a:pt x="852488" y="1188244"/>
                  </a:cubicBezTo>
                  <a:cubicBezTo>
                    <a:pt x="851199" y="1185236"/>
                    <a:pt x="851255" y="1181783"/>
                    <a:pt x="850106" y="1178719"/>
                  </a:cubicBezTo>
                  <a:cubicBezTo>
                    <a:pt x="848860" y="1175395"/>
                    <a:pt x="846931" y="1172369"/>
                    <a:pt x="845344" y="1169194"/>
                  </a:cubicBezTo>
                  <a:lnTo>
                    <a:pt x="838200" y="1164431"/>
                  </a:lnTo>
                  <a:cubicBezTo>
                    <a:pt x="821190" y="1153091"/>
                    <a:pt x="829466" y="1156294"/>
                    <a:pt x="814388" y="1152525"/>
                  </a:cubicBezTo>
                  <a:lnTo>
                    <a:pt x="738188" y="1150144"/>
                  </a:lnTo>
                  <a:cubicBezTo>
                    <a:pt x="734907" y="1150041"/>
                    <a:pt x="720255" y="1144993"/>
                    <a:pt x="716756" y="1140619"/>
                  </a:cubicBezTo>
                  <a:cubicBezTo>
                    <a:pt x="715188" y="1138659"/>
                    <a:pt x="715169" y="1135856"/>
                    <a:pt x="714375" y="1133475"/>
                  </a:cubicBezTo>
                  <a:cubicBezTo>
                    <a:pt x="712753" y="1131313"/>
                    <a:pt x="704212" y="1120292"/>
                    <a:pt x="702469" y="1116806"/>
                  </a:cubicBezTo>
                  <a:cubicBezTo>
                    <a:pt x="701347" y="1114561"/>
                    <a:pt x="701418" y="1111791"/>
                    <a:pt x="700088" y="1109663"/>
                  </a:cubicBezTo>
                  <a:cubicBezTo>
                    <a:pt x="686831" y="1088451"/>
                    <a:pt x="692883" y="1107033"/>
                    <a:pt x="688181" y="1088231"/>
                  </a:cubicBezTo>
                  <a:cubicBezTo>
                    <a:pt x="685545" y="1083618"/>
                    <a:pt x="677002" y="1067069"/>
                    <a:pt x="671513" y="1062038"/>
                  </a:cubicBezTo>
                  <a:cubicBezTo>
                    <a:pt x="664841" y="1055922"/>
                    <a:pt x="657225" y="1050925"/>
                    <a:pt x="650081" y="1045369"/>
                  </a:cubicBezTo>
                  <a:lnTo>
                    <a:pt x="561975" y="1019175"/>
                  </a:lnTo>
                  <a:lnTo>
                    <a:pt x="509588" y="1035844"/>
                  </a:lnTo>
                  <a:cubicBezTo>
                    <a:pt x="509588" y="1031875"/>
                    <a:pt x="510026" y="1027882"/>
                    <a:pt x="509588" y="1023938"/>
                  </a:cubicBezTo>
                  <a:cubicBezTo>
                    <a:pt x="508698" y="1015928"/>
                    <a:pt x="506630" y="1014489"/>
                    <a:pt x="504825" y="1007269"/>
                  </a:cubicBezTo>
                  <a:cubicBezTo>
                    <a:pt x="503843" y="1003343"/>
                    <a:pt x="503607" y="999240"/>
                    <a:pt x="502444" y="995363"/>
                  </a:cubicBezTo>
                  <a:cubicBezTo>
                    <a:pt x="500164" y="987765"/>
                    <a:pt x="496436" y="980965"/>
                    <a:pt x="492919" y="973931"/>
                  </a:cubicBezTo>
                  <a:lnTo>
                    <a:pt x="485775" y="976313"/>
                  </a:lnTo>
                  <a:lnTo>
                    <a:pt x="471488" y="981075"/>
                  </a:lnTo>
                  <a:cubicBezTo>
                    <a:pt x="458788" y="981869"/>
                    <a:pt x="445957" y="981471"/>
                    <a:pt x="433388" y="983456"/>
                  </a:cubicBezTo>
                  <a:cubicBezTo>
                    <a:pt x="430561" y="983902"/>
                    <a:pt x="426679" y="985390"/>
                    <a:pt x="426244" y="988219"/>
                  </a:cubicBezTo>
                  <a:cubicBezTo>
                    <a:pt x="424911" y="996884"/>
                    <a:pt x="427831" y="1005682"/>
                    <a:pt x="428625" y="1014413"/>
                  </a:cubicBezTo>
                  <a:cubicBezTo>
                    <a:pt x="427831" y="1017588"/>
                    <a:pt x="427143" y="1020791"/>
                    <a:pt x="426244" y="1023938"/>
                  </a:cubicBezTo>
                  <a:cubicBezTo>
                    <a:pt x="425555" y="1026351"/>
                    <a:pt x="424408" y="1028631"/>
                    <a:pt x="423863" y="1031081"/>
                  </a:cubicBezTo>
                  <a:cubicBezTo>
                    <a:pt x="422815" y="1035794"/>
                    <a:pt x="422868" y="1040744"/>
                    <a:pt x="421481" y="1045369"/>
                  </a:cubicBezTo>
                  <a:cubicBezTo>
                    <a:pt x="420461" y="1048769"/>
                    <a:pt x="417965" y="1051570"/>
                    <a:pt x="416719" y="1054894"/>
                  </a:cubicBezTo>
                  <a:cubicBezTo>
                    <a:pt x="415570" y="1057958"/>
                    <a:pt x="415132" y="1061244"/>
                    <a:pt x="414338" y="1064419"/>
                  </a:cubicBezTo>
                  <a:cubicBezTo>
                    <a:pt x="411957" y="1066800"/>
                    <a:pt x="409152" y="1068823"/>
                    <a:pt x="407194" y="1071563"/>
                  </a:cubicBezTo>
                  <a:cubicBezTo>
                    <a:pt x="386296" y="1100819"/>
                    <a:pt x="426289" y="1054575"/>
                    <a:pt x="392906" y="1095375"/>
                  </a:cubicBezTo>
                  <a:cubicBezTo>
                    <a:pt x="377549" y="1114145"/>
                    <a:pt x="383024" y="1099183"/>
                    <a:pt x="378619" y="1116806"/>
                  </a:cubicBezTo>
                  <a:cubicBezTo>
                    <a:pt x="381271" y="1124764"/>
                    <a:pt x="381387" y="1124501"/>
                    <a:pt x="383381" y="1133475"/>
                  </a:cubicBezTo>
                  <a:cubicBezTo>
                    <a:pt x="384259" y="1137426"/>
                    <a:pt x="384781" y="1141455"/>
                    <a:pt x="385763" y="1145381"/>
                  </a:cubicBezTo>
                  <a:cubicBezTo>
                    <a:pt x="390781" y="1165449"/>
                    <a:pt x="395018" y="1145700"/>
                    <a:pt x="390525" y="1190625"/>
                  </a:cubicBezTo>
                  <a:cubicBezTo>
                    <a:pt x="390130" y="1194574"/>
                    <a:pt x="386318" y="1197480"/>
                    <a:pt x="383381" y="1200150"/>
                  </a:cubicBezTo>
                  <a:cubicBezTo>
                    <a:pt x="377508" y="1205489"/>
                    <a:pt x="370681" y="1209675"/>
                    <a:pt x="364331" y="1214438"/>
                  </a:cubicBezTo>
                  <a:lnTo>
                    <a:pt x="307181" y="1183481"/>
                  </a:lnTo>
                  <a:lnTo>
                    <a:pt x="250031" y="1154906"/>
                  </a:lnTo>
                  <a:lnTo>
                    <a:pt x="190500" y="1164431"/>
                  </a:lnTo>
                  <a:cubicBezTo>
                    <a:pt x="192088" y="1165225"/>
                    <a:pt x="193877" y="1165704"/>
                    <a:pt x="195263" y="1166813"/>
                  </a:cubicBezTo>
                  <a:cubicBezTo>
                    <a:pt x="198762" y="1169612"/>
                    <a:pt x="205356" y="1176567"/>
                    <a:pt x="207169" y="1181100"/>
                  </a:cubicBezTo>
                  <a:cubicBezTo>
                    <a:pt x="209315" y="1186465"/>
                    <a:pt x="210798" y="1192103"/>
                    <a:pt x="211931" y="1197769"/>
                  </a:cubicBezTo>
                  <a:cubicBezTo>
                    <a:pt x="214714" y="1211684"/>
                    <a:pt x="219799" y="1232688"/>
                    <a:pt x="214313" y="1247775"/>
                  </a:cubicBezTo>
                  <a:cubicBezTo>
                    <a:pt x="213162" y="1250940"/>
                    <a:pt x="209550" y="1252538"/>
                    <a:pt x="207169" y="1254919"/>
                  </a:cubicBezTo>
                  <a:cubicBezTo>
                    <a:pt x="204788" y="1255713"/>
                    <a:pt x="202439" y="1256610"/>
                    <a:pt x="200025" y="1257300"/>
                  </a:cubicBezTo>
                  <a:cubicBezTo>
                    <a:pt x="196878" y="1258199"/>
                    <a:pt x="193605" y="1258646"/>
                    <a:pt x="190500" y="1259681"/>
                  </a:cubicBezTo>
                  <a:cubicBezTo>
                    <a:pt x="181385" y="1262720"/>
                    <a:pt x="177363" y="1265059"/>
                    <a:pt x="169069" y="1269206"/>
                  </a:cubicBezTo>
                  <a:cubicBezTo>
                    <a:pt x="171450" y="1270794"/>
                    <a:pt x="174189" y="1271945"/>
                    <a:pt x="176213" y="1273969"/>
                  </a:cubicBezTo>
                  <a:cubicBezTo>
                    <a:pt x="185001" y="1282757"/>
                    <a:pt x="176412" y="1280452"/>
                    <a:pt x="188119" y="1288256"/>
                  </a:cubicBezTo>
                  <a:cubicBezTo>
                    <a:pt x="190208" y="1289648"/>
                    <a:pt x="193018" y="1289515"/>
                    <a:pt x="195263" y="1290638"/>
                  </a:cubicBezTo>
                  <a:cubicBezTo>
                    <a:pt x="197822" y="1291918"/>
                    <a:pt x="200025" y="1293813"/>
                    <a:pt x="202406" y="1295400"/>
                  </a:cubicBezTo>
                  <a:cubicBezTo>
                    <a:pt x="205581" y="1296194"/>
                    <a:pt x="210029" y="1295118"/>
                    <a:pt x="211931" y="1297781"/>
                  </a:cubicBezTo>
                  <a:cubicBezTo>
                    <a:pt x="220488" y="1309760"/>
                    <a:pt x="213610" y="1311093"/>
                    <a:pt x="209550" y="1319213"/>
                  </a:cubicBezTo>
                  <a:cubicBezTo>
                    <a:pt x="208428" y="1321458"/>
                    <a:pt x="207963" y="1323975"/>
                    <a:pt x="207169" y="1326356"/>
                  </a:cubicBezTo>
                  <a:cubicBezTo>
                    <a:pt x="203200" y="1330325"/>
                    <a:pt x="198959" y="1334039"/>
                    <a:pt x="195263" y="1338263"/>
                  </a:cubicBezTo>
                  <a:cubicBezTo>
                    <a:pt x="193378" y="1340417"/>
                    <a:pt x="192363" y="1343233"/>
                    <a:pt x="190500" y="1345406"/>
                  </a:cubicBezTo>
                  <a:cubicBezTo>
                    <a:pt x="173185" y="1365605"/>
                    <a:pt x="187140" y="1345682"/>
                    <a:pt x="176213" y="1362075"/>
                  </a:cubicBezTo>
                  <a:cubicBezTo>
                    <a:pt x="176213" y="1362075"/>
                    <a:pt x="166833" y="1368655"/>
                    <a:pt x="161925" y="1371600"/>
                  </a:cubicBezTo>
                  <a:cubicBezTo>
                    <a:pt x="158881" y="1373426"/>
                    <a:pt x="155289" y="1374300"/>
                    <a:pt x="152400" y="1376363"/>
                  </a:cubicBezTo>
                  <a:cubicBezTo>
                    <a:pt x="149660" y="1378320"/>
                    <a:pt x="147979" y="1381525"/>
                    <a:pt x="145256" y="1383506"/>
                  </a:cubicBezTo>
                  <a:cubicBezTo>
                    <a:pt x="139200" y="1387910"/>
                    <a:pt x="132094" y="1390786"/>
                    <a:pt x="126206" y="1395413"/>
                  </a:cubicBezTo>
                  <a:cubicBezTo>
                    <a:pt x="120910" y="1399574"/>
                    <a:pt x="117307" y="1405659"/>
                    <a:pt x="111919" y="1409700"/>
                  </a:cubicBezTo>
                  <a:cubicBezTo>
                    <a:pt x="105306" y="1414660"/>
                    <a:pt x="98007" y="1416719"/>
                    <a:pt x="90488" y="1419225"/>
                  </a:cubicBezTo>
                  <a:cubicBezTo>
                    <a:pt x="83785" y="1416991"/>
                    <a:pt x="72121" y="1412989"/>
                    <a:pt x="66675" y="1412081"/>
                  </a:cubicBezTo>
                  <a:cubicBezTo>
                    <a:pt x="58027" y="1410640"/>
                    <a:pt x="49151" y="1411000"/>
                    <a:pt x="40481" y="1409700"/>
                  </a:cubicBezTo>
                  <a:cubicBezTo>
                    <a:pt x="33244" y="1408615"/>
                    <a:pt x="26194" y="1406525"/>
                    <a:pt x="19050" y="1404938"/>
                  </a:cubicBezTo>
                  <a:lnTo>
                    <a:pt x="0" y="1238250"/>
                  </a:lnTo>
                  <a:lnTo>
                    <a:pt x="47625" y="1131094"/>
                  </a:lnTo>
                  <a:lnTo>
                    <a:pt x="69056" y="1007269"/>
                  </a:lnTo>
                  <a:lnTo>
                    <a:pt x="126206" y="954881"/>
                  </a:lnTo>
                  <a:lnTo>
                    <a:pt x="133350" y="926306"/>
                  </a:lnTo>
                  <a:lnTo>
                    <a:pt x="133350" y="892969"/>
                  </a:lnTo>
                  <a:cubicBezTo>
                    <a:pt x="133350" y="888633"/>
                    <a:pt x="133601" y="889585"/>
                    <a:pt x="130969" y="883444"/>
                  </a:cubicBezTo>
                  <a:cubicBezTo>
                    <a:pt x="127436" y="875200"/>
                    <a:pt x="122064" y="866553"/>
                    <a:pt x="116681" y="859631"/>
                  </a:cubicBezTo>
                  <a:cubicBezTo>
                    <a:pt x="114614" y="856973"/>
                    <a:pt x="111406" y="855290"/>
                    <a:pt x="109538" y="852488"/>
                  </a:cubicBezTo>
                  <a:cubicBezTo>
                    <a:pt x="108146" y="850399"/>
                    <a:pt x="107648" y="847805"/>
                    <a:pt x="107156" y="845344"/>
                  </a:cubicBezTo>
                  <a:cubicBezTo>
                    <a:pt x="105262" y="835875"/>
                    <a:pt x="103981" y="826294"/>
                    <a:pt x="102394" y="816769"/>
                  </a:cubicBezTo>
                  <a:lnTo>
                    <a:pt x="107156" y="807244"/>
                  </a:lnTo>
                  <a:cubicBezTo>
                    <a:pt x="109401" y="802754"/>
                    <a:pt x="109880" y="797544"/>
                    <a:pt x="111919" y="792956"/>
                  </a:cubicBezTo>
                  <a:cubicBezTo>
                    <a:pt x="113081" y="790341"/>
                    <a:pt x="115094" y="788194"/>
                    <a:pt x="116681" y="785813"/>
                  </a:cubicBezTo>
                  <a:cubicBezTo>
                    <a:pt x="128002" y="778265"/>
                    <a:pt x="124730" y="783765"/>
                    <a:pt x="119063" y="766763"/>
                  </a:cubicBezTo>
                  <a:cubicBezTo>
                    <a:pt x="116682" y="764382"/>
                    <a:pt x="113590" y="762543"/>
                    <a:pt x="111919" y="759619"/>
                  </a:cubicBezTo>
                  <a:cubicBezTo>
                    <a:pt x="105979" y="749224"/>
                    <a:pt x="112768" y="732328"/>
                    <a:pt x="114300" y="723900"/>
                  </a:cubicBezTo>
                  <a:lnTo>
                    <a:pt x="159544" y="683419"/>
                  </a:lnTo>
                  <a:lnTo>
                    <a:pt x="207169" y="611981"/>
                  </a:lnTo>
                  <a:lnTo>
                    <a:pt x="273844" y="561975"/>
                  </a:lnTo>
                  <a:cubicBezTo>
                    <a:pt x="275431" y="561975"/>
                    <a:pt x="277049" y="561664"/>
                    <a:pt x="278606" y="561975"/>
                  </a:cubicBezTo>
                  <a:cubicBezTo>
                    <a:pt x="282926" y="562839"/>
                    <a:pt x="292261" y="566966"/>
                    <a:pt x="295275" y="569119"/>
                  </a:cubicBezTo>
                  <a:cubicBezTo>
                    <a:pt x="298015" y="571077"/>
                    <a:pt x="299885" y="574045"/>
                    <a:pt x="302419" y="576263"/>
                  </a:cubicBezTo>
                  <a:cubicBezTo>
                    <a:pt x="319880" y="591541"/>
                    <a:pt x="309358" y="579165"/>
                    <a:pt x="321469" y="595313"/>
                  </a:cubicBezTo>
                  <a:cubicBezTo>
                    <a:pt x="324837" y="599803"/>
                    <a:pt x="329406" y="603250"/>
                    <a:pt x="333375" y="607219"/>
                  </a:cubicBezTo>
                  <a:cubicBezTo>
                    <a:pt x="338931" y="612775"/>
                    <a:pt x="345068" y="617806"/>
                    <a:pt x="350044" y="623888"/>
                  </a:cubicBezTo>
                  <a:cubicBezTo>
                    <a:pt x="366197" y="643631"/>
                    <a:pt x="346422" y="624408"/>
                    <a:pt x="357188" y="640556"/>
                  </a:cubicBezTo>
                  <a:cubicBezTo>
                    <a:pt x="359056" y="643358"/>
                    <a:pt x="361366" y="646103"/>
                    <a:pt x="364331" y="647700"/>
                  </a:cubicBezTo>
                  <a:cubicBezTo>
                    <a:pt x="371858" y="651753"/>
                    <a:pt x="380206" y="654050"/>
                    <a:pt x="388144" y="657225"/>
                  </a:cubicBezTo>
                  <a:lnTo>
                    <a:pt x="464344" y="573881"/>
                  </a:lnTo>
                  <a:cubicBezTo>
                    <a:pt x="459077" y="573881"/>
                    <a:pt x="460562" y="574651"/>
                    <a:pt x="459581" y="564356"/>
                  </a:cubicBezTo>
                  <a:cubicBezTo>
                    <a:pt x="458299" y="550900"/>
                    <a:pt x="457994" y="537369"/>
                    <a:pt x="457200" y="523875"/>
                  </a:cubicBezTo>
                  <a:cubicBezTo>
                    <a:pt x="458788" y="521494"/>
                    <a:pt x="461141" y="519472"/>
                    <a:pt x="461963" y="516731"/>
                  </a:cubicBezTo>
                  <a:cubicBezTo>
                    <a:pt x="463576" y="511355"/>
                    <a:pt x="463491" y="505610"/>
                    <a:pt x="464344" y="500063"/>
                  </a:cubicBezTo>
                  <a:cubicBezTo>
                    <a:pt x="465078" y="495291"/>
                    <a:pt x="465678" y="490488"/>
                    <a:pt x="466725" y="485775"/>
                  </a:cubicBezTo>
                  <a:cubicBezTo>
                    <a:pt x="467269" y="483325"/>
                    <a:pt x="468117" y="480938"/>
                    <a:pt x="469106" y="478631"/>
                  </a:cubicBezTo>
                  <a:cubicBezTo>
                    <a:pt x="470504" y="475368"/>
                    <a:pt x="473125" y="472577"/>
                    <a:pt x="473869" y="469106"/>
                  </a:cubicBezTo>
                  <a:cubicBezTo>
                    <a:pt x="475540" y="461306"/>
                    <a:pt x="475037" y="453178"/>
                    <a:pt x="476250" y="445294"/>
                  </a:cubicBezTo>
                  <a:cubicBezTo>
                    <a:pt x="476632" y="442813"/>
                    <a:pt x="478404" y="440650"/>
                    <a:pt x="478631" y="438150"/>
                  </a:cubicBezTo>
                  <a:cubicBezTo>
                    <a:pt x="480792" y="414383"/>
                    <a:pt x="481806" y="390525"/>
                    <a:pt x="483394" y="366713"/>
                  </a:cubicBezTo>
                  <a:cubicBezTo>
                    <a:pt x="485775" y="364332"/>
                    <a:pt x="488670" y="362371"/>
                    <a:pt x="490538" y="359569"/>
                  </a:cubicBezTo>
                  <a:cubicBezTo>
                    <a:pt x="491930" y="357480"/>
                    <a:pt x="492229" y="354839"/>
                    <a:pt x="492919" y="352425"/>
                  </a:cubicBezTo>
                  <a:cubicBezTo>
                    <a:pt x="495587" y="343087"/>
                    <a:pt x="495064" y="340278"/>
                    <a:pt x="500063" y="330994"/>
                  </a:cubicBezTo>
                  <a:cubicBezTo>
                    <a:pt x="503613" y="324401"/>
                    <a:pt x="507476" y="317935"/>
                    <a:pt x="511969" y="311944"/>
                  </a:cubicBezTo>
                  <a:cubicBezTo>
                    <a:pt x="512570" y="311142"/>
                    <a:pt x="525981" y="299305"/>
                    <a:pt x="526256" y="295275"/>
                  </a:cubicBezTo>
                  <a:cubicBezTo>
                    <a:pt x="528470" y="262797"/>
                    <a:pt x="528638" y="230197"/>
                    <a:pt x="528638" y="197644"/>
                  </a:cubicBezTo>
                  <a:cubicBezTo>
                    <a:pt x="528638" y="194371"/>
                    <a:pt x="527050" y="191294"/>
                    <a:pt x="526256" y="188119"/>
                  </a:cubicBezTo>
                  <a:cubicBezTo>
                    <a:pt x="523808" y="186283"/>
                    <a:pt x="511247" y="177564"/>
                    <a:pt x="509588" y="173831"/>
                  </a:cubicBezTo>
                  <a:cubicBezTo>
                    <a:pt x="507627" y="169419"/>
                    <a:pt x="506885" y="164361"/>
                    <a:pt x="507206" y="159544"/>
                  </a:cubicBezTo>
                  <a:cubicBezTo>
                    <a:pt x="507693" y="152242"/>
                    <a:pt x="510381" y="145257"/>
                    <a:pt x="511969" y="138113"/>
                  </a:cubicBezTo>
                  <a:lnTo>
                    <a:pt x="631031" y="52388"/>
                  </a:lnTo>
                  <a:lnTo>
                    <a:pt x="644599" y="45814"/>
                  </a:lnTo>
                  <a:lnTo>
                    <a:pt x="643838" y="50047"/>
                  </a:lnTo>
                  <a:cubicBezTo>
                    <a:pt x="642550" y="57204"/>
                    <a:pt x="641757" y="64348"/>
                    <a:pt x="642938" y="71438"/>
                  </a:cubicBezTo>
                  <a:cubicBezTo>
                    <a:pt x="644045" y="78081"/>
                    <a:pt x="653310" y="80245"/>
                    <a:pt x="657225" y="85725"/>
                  </a:cubicBezTo>
                  <a:cubicBezTo>
                    <a:pt x="669590" y="103036"/>
                    <a:pt x="666750" y="104311"/>
                    <a:pt x="666750" y="123825"/>
                  </a:cubicBezTo>
                  <a:lnTo>
                    <a:pt x="738188" y="123825"/>
                  </a:lnTo>
                  <a:lnTo>
                    <a:pt x="847725" y="57150"/>
                  </a:lnTo>
                  <a:lnTo>
                    <a:pt x="904875" y="9525"/>
                  </a:lnTo>
                  <a:close/>
                </a:path>
              </a:pathLst>
            </a:custGeom>
            <a:grp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sym typeface="Arial"/>
              </a:endParaRPr>
            </a:p>
          </p:txBody>
        </p:sp>
        <p:sp>
          <p:nvSpPr>
            <p:cNvPr id="6" name="Freeform 5"/>
            <p:cNvSpPr/>
            <p:nvPr/>
          </p:nvSpPr>
          <p:spPr bwMode="gray">
            <a:xfrm>
              <a:off x="1880611" y="1538096"/>
              <a:ext cx="2610427" cy="2476692"/>
            </a:xfrm>
            <a:custGeom>
              <a:avLst/>
              <a:gdLst>
                <a:gd name="connsiteX0" fmla="*/ 621543 w 2672340"/>
                <a:gd name="connsiteY0" fmla="*/ 0 h 2476692"/>
                <a:gd name="connsiteX1" fmla="*/ 637165 w 2672340"/>
                <a:gd name="connsiteY1" fmla="*/ 20829 h 2476692"/>
                <a:gd name="connsiteX2" fmla="*/ 643515 w 2672340"/>
                <a:gd name="connsiteY2" fmla="*/ 30354 h 2476692"/>
                <a:gd name="connsiteX3" fmla="*/ 646690 w 2672340"/>
                <a:gd name="connsiteY3" fmla="*/ 74804 h 2476692"/>
                <a:gd name="connsiteX4" fmla="*/ 656215 w 2672340"/>
                <a:gd name="connsiteY4" fmla="*/ 100204 h 2476692"/>
                <a:gd name="connsiteX5" fmla="*/ 757815 w 2672340"/>
                <a:gd name="connsiteY5" fmla="*/ 119254 h 2476692"/>
                <a:gd name="connsiteX6" fmla="*/ 780040 w 2672340"/>
                <a:gd name="connsiteY6" fmla="*/ 135129 h 2476692"/>
                <a:gd name="connsiteX7" fmla="*/ 789565 w 2672340"/>
                <a:gd name="connsiteY7" fmla="*/ 138304 h 2476692"/>
                <a:gd name="connsiteX8" fmla="*/ 808615 w 2672340"/>
                <a:gd name="connsiteY8" fmla="*/ 154179 h 2476692"/>
                <a:gd name="connsiteX9" fmla="*/ 824490 w 2672340"/>
                <a:gd name="connsiteY9" fmla="*/ 176404 h 2476692"/>
                <a:gd name="connsiteX10" fmla="*/ 827665 w 2672340"/>
                <a:gd name="connsiteY10" fmla="*/ 185929 h 2476692"/>
                <a:gd name="connsiteX11" fmla="*/ 853065 w 2672340"/>
                <a:gd name="connsiteY11" fmla="*/ 201804 h 2476692"/>
                <a:gd name="connsiteX12" fmla="*/ 929265 w 2672340"/>
                <a:gd name="connsiteY12" fmla="*/ 220854 h 2476692"/>
                <a:gd name="connsiteX13" fmla="*/ 957840 w 2672340"/>
                <a:gd name="connsiteY13" fmla="*/ 198629 h 2476692"/>
                <a:gd name="connsiteX14" fmla="*/ 980065 w 2672340"/>
                <a:gd name="connsiteY14" fmla="*/ 182754 h 2476692"/>
                <a:gd name="connsiteX15" fmla="*/ 989590 w 2672340"/>
                <a:gd name="connsiteY15" fmla="*/ 176404 h 2476692"/>
                <a:gd name="connsiteX16" fmla="*/ 1011815 w 2672340"/>
                <a:gd name="connsiteY16" fmla="*/ 173229 h 2476692"/>
                <a:gd name="connsiteX17" fmla="*/ 1027690 w 2672340"/>
                <a:gd name="connsiteY17" fmla="*/ 166879 h 2476692"/>
                <a:gd name="connsiteX18" fmla="*/ 1094365 w 2672340"/>
                <a:gd name="connsiteY18" fmla="*/ 220854 h 2476692"/>
                <a:gd name="connsiteX19" fmla="*/ 1186440 w 2672340"/>
                <a:gd name="connsiteY19" fmla="*/ 217679 h 2476692"/>
                <a:gd name="connsiteX20" fmla="*/ 1278515 w 2672340"/>
                <a:gd name="connsiteY20" fmla="*/ 170054 h 2476692"/>
                <a:gd name="connsiteX21" fmla="*/ 1326140 w 2672340"/>
                <a:gd name="connsiteY21" fmla="*/ 74804 h 2476692"/>
                <a:gd name="connsiteX22" fmla="*/ 1373765 w 2672340"/>
                <a:gd name="connsiteY22" fmla="*/ 122429 h 2476692"/>
                <a:gd name="connsiteX23" fmla="*/ 1459490 w 2672340"/>
                <a:gd name="connsiteY23" fmla="*/ 144654 h 2476692"/>
                <a:gd name="connsiteX24" fmla="*/ 1589665 w 2672340"/>
                <a:gd name="connsiteY24" fmla="*/ 144654 h 2476692"/>
                <a:gd name="connsiteX25" fmla="*/ 1697615 w 2672340"/>
                <a:gd name="connsiteY25" fmla="*/ 97029 h 2476692"/>
                <a:gd name="connsiteX26" fmla="*/ 1726190 w 2672340"/>
                <a:gd name="connsiteY26" fmla="*/ 103379 h 2476692"/>
                <a:gd name="connsiteX27" fmla="*/ 1738890 w 2672340"/>
                <a:gd name="connsiteY27" fmla="*/ 122429 h 2476692"/>
                <a:gd name="connsiteX28" fmla="*/ 1732540 w 2672340"/>
                <a:gd name="connsiteY28" fmla="*/ 141479 h 2476692"/>
                <a:gd name="connsiteX29" fmla="*/ 1723015 w 2672340"/>
                <a:gd name="connsiteY29" fmla="*/ 154179 h 2476692"/>
                <a:gd name="connsiteX30" fmla="*/ 1802390 w 2672340"/>
                <a:gd name="connsiteY30" fmla="*/ 144654 h 2476692"/>
                <a:gd name="connsiteX31" fmla="*/ 1824615 w 2672340"/>
                <a:gd name="connsiteY31" fmla="*/ 160529 h 2476692"/>
                <a:gd name="connsiteX32" fmla="*/ 1827790 w 2672340"/>
                <a:gd name="connsiteY32" fmla="*/ 195454 h 2476692"/>
                <a:gd name="connsiteX33" fmla="*/ 1834140 w 2672340"/>
                <a:gd name="connsiteY33" fmla="*/ 217679 h 2476692"/>
                <a:gd name="connsiteX34" fmla="*/ 1840490 w 2672340"/>
                <a:gd name="connsiteY34" fmla="*/ 230379 h 2476692"/>
                <a:gd name="connsiteX35" fmla="*/ 1846840 w 2672340"/>
                <a:gd name="connsiteY35" fmla="*/ 239904 h 2476692"/>
                <a:gd name="connsiteX36" fmla="*/ 1846840 w 2672340"/>
                <a:gd name="connsiteY36" fmla="*/ 249429 h 2476692"/>
                <a:gd name="connsiteX37" fmla="*/ 1916690 w 2672340"/>
                <a:gd name="connsiteY37" fmla="*/ 274829 h 2476692"/>
                <a:gd name="connsiteX38" fmla="*/ 1945265 w 2672340"/>
                <a:gd name="connsiteY38" fmla="*/ 268479 h 2476692"/>
                <a:gd name="connsiteX39" fmla="*/ 1961140 w 2672340"/>
                <a:gd name="connsiteY39" fmla="*/ 274829 h 2476692"/>
                <a:gd name="connsiteX40" fmla="*/ 1977015 w 2672340"/>
                <a:gd name="connsiteY40" fmla="*/ 293879 h 2476692"/>
                <a:gd name="connsiteX41" fmla="*/ 2002415 w 2672340"/>
                <a:gd name="connsiteY41" fmla="*/ 297054 h 2476692"/>
                <a:gd name="connsiteX42" fmla="*/ 2002415 w 2672340"/>
                <a:gd name="connsiteY42" fmla="*/ 344679 h 2476692"/>
                <a:gd name="connsiteX43" fmla="*/ 1998496 w 2672340"/>
                <a:gd name="connsiteY43" fmla="*/ 359366 h 2476692"/>
                <a:gd name="connsiteX44" fmla="*/ 1997699 w 2672340"/>
                <a:gd name="connsiteY44" fmla="*/ 359161 h 2476692"/>
                <a:gd name="connsiteX45" fmla="*/ 1996509 w 2672340"/>
                <a:gd name="connsiteY45" fmla="*/ 357863 h 2476692"/>
                <a:gd name="connsiteX46" fmla="*/ 1996082 w 2672340"/>
                <a:gd name="connsiteY46" fmla="*/ 354482 h 2476692"/>
                <a:gd name="connsiteX47" fmla="*/ 1996065 w 2672340"/>
                <a:gd name="connsiteY47" fmla="*/ 357379 h 2476692"/>
                <a:gd name="connsiteX48" fmla="*/ 1996509 w 2672340"/>
                <a:gd name="connsiteY48" fmla="*/ 357863 h 2476692"/>
                <a:gd name="connsiteX49" fmla="*/ 1996639 w 2672340"/>
                <a:gd name="connsiteY49" fmla="*/ 358889 h 2476692"/>
                <a:gd name="connsiteX50" fmla="*/ 1997699 w 2672340"/>
                <a:gd name="connsiteY50" fmla="*/ 359161 h 2476692"/>
                <a:gd name="connsiteX51" fmla="*/ 2030990 w 2672340"/>
                <a:gd name="connsiteY51" fmla="*/ 395479 h 2476692"/>
                <a:gd name="connsiteX52" fmla="*/ 2059565 w 2672340"/>
                <a:gd name="connsiteY52" fmla="*/ 385954 h 2476692"/>
                <a:gd name="connsiteX53" fmla="*/ 2069090 w 2672340"/>
                <a:gd name="connsiteY53" fmla="*/ 379604 h 2476692"/>
                <a:gd name="connsiteX54" fmla="*/ 2078615 w 2672340"/>
                <a:gd name="connsiteY54" fmla="*/ 376429 h 2476692"/>
                <a:gd name="connsiteX55" fmla="*/ 2116715 w 2672340"/>
                <a:gd name="connsiteY55" fmla="*/ 379604 h 2476692"/>
                <a:gd name="connsiteX56" fmla="*/ 2119890 w 2672340"/>
                <a:gd name="connsiteY56" fmla="*/ 411354 h 2476692"/>
                <a:gd name="connsiteX57" fmla="*/ 2129415 w 2672340"/>
                <a:gd name="connsiteY57" fmla="*/ 443104 h 2476692"/>
                <a:gd name="connsiteX58" fmla="*/ 2132590 w 2672340"/>
                <a:gd name="connsiteY58" fmla="*/ 452629 h 2476692"/>
                <a:gd name="connsiteX59" fmla="*/ 2135765 w 2672340"/>
                <a:gd name="connsiteY59" fmla="*/ 462154 h 2476692"/>
                <a:gd name="connsiteX60" fmla="*/ 2142115 w 2672340"/>
                <a:gd name="connsiteY60" fmla="*/ 493904 h 2476692"/>
                <a:gd name="connsiteX61" fmla="*/ 2138940 w 2672340"/>
                <a:gd name="connsiteY61" fmla="*/ 532004 h 2476692"/>
                <a:gd name="connsiteX62" fmla="*/ 2110365 w 2672340"/>
                <a:gd name="connsiteY62" fmla="*/ 547879 h 2476692"/>
                <a:gd name="connsiteX63" fmla="*/ 2097665 w 2672340"/>
                <a:gd name="connsiteY63" fmla="*/ 557404 h 2476692"/>
                <a:gd name="connsiteX64" fmla="*/ 2094490 w 2672340"/>
                <a:gd name="connsiteY64" fmla="*/ 582804 h 2476692"/>
                <a:gd name="connsiteX65" fmla="*/ 2104015 w 2672340"/>
                <a:gd name="connsiteY65" fmla="*/ 608204 h 2476692"/>
                <a:gd name="connsiteX66" fmla="*/ 2110365 w 2672340"/>
                <a:gd name="connsiteY66" fmla="*/ 617729 h 2476692"/>
                <a:gd name="connsiteX67" fmla="*/ 2116715 w 2672340"/>
                <a:gd name="connsiteY67" fmla="*/ 643129 h 2476692"/>
                <a:gd name="connsiteX68" fmla="*/ 2119890 w 2672340"/>
                <a:gd name="connsiteY68" fmla="*/ 719329 h 2476692"/>
                <a:gd name="connsiteX69" fmla="*/ 2123065 w 2672340"/>
                <a:gd name="connsiteY69" fmla="*/ 728854 h 2476692"/>
                <a:gd name="connsiteX70" fmla="*/ 2142115 w 2672340"/>
                <a:gd name="connsiteY70" fmla="*/ 741554 h 2476692"/>
                <a:gd name="connsiteX71" fmla="*/ 2161165 w 2672340"/>
                <a:gd name="connsiteY71" fmla="*/ 738379 h 2476692"/>
                <a:gd name="connsiteX72" fmla="*/ 2170690 w 2672340"/>
                <a:gd name="connsiteY72" fmla="*/ 732029 h 2476692"/>
                <a:gd name="connsiteX73" fmla="*/ 2183390 w 2672340"/>
                <a:gd name="connsiteY73" fmla="*/ 725679 h 2476692"/>
                <a:gd name="connsiteX74" fmla="*/ 2192915 w 2672340"/>
                <a:gd name="connsiteY74" fmla="*/ 719329 h 2476692"/>
                <a:gd name="connsiteX75" fmla="*/ 2211965 w 2672340"/>
                <a:gd name="connsiteY75" fmla="*/ 712979 h 2476692"/>
                <a:gd name="connsiteX76" fmla="*/ 2259590 w 2672340"/>
                <a:gd name="connsiteY76" fmla="*/ 716154 h 2476692"/>
                <a:gd name="connsiteX77" fmla="*/ 2262765 w 2672340"/>
                <a:gd name="connsiteY77" fmla="*/ 732029 h 2476692"/>
                <a:gd name="connsiteX78" fmla="*/ 2272290 w 2672340"/>
                <a:gd name="connsiteY78" fmla="*/ 751079 h 2476692"/>
                <a:gd name="connsiteX79" fmla="*/ 2297690 w 2672340"/>
                <a:gd name="connsiteY79" fmla="*/ 754254 h 2476692"/>
                <a:gd name="connsiteX80" fmla="*/ 2329440 w 2672340"/>
                <a:gd name="connsiteY80" fmla="*/ 738379 h 2476692"/>
                <a:gd name="connsiteX81" fmla="*/ 2338965 w 2672340"/>
                <a:gd name="connsiteY81" fmla="*/ 735204 h 2476692"/>
                <a:gd name="connsiteX82" fmla="*/ 2367540 w 2672340"/>
                <a:gd name="connsiteY82" fmla="*/ 722504 h 2476692"/>
                <a:gd name="connsiteX83" fmla="*/ 2377065 w 2672340"/>
                <a:gd name="connsiteY83" fmla="*/ 719329 h 2476692"/>
                <a:gd name="connsiteX84" fmla="*/ 2391809 w 2672340"/>
                <a:gd name="connsiteY84" fmla="*/ 719329 h 2476692"/>
                <a:gd name="connsiteX85" fmla="*/ 2672340 w 2672340"/>
                <a:gd name="connsiteY85" fmla="*/ 1724217 h 2476692"/>
                <a:gd name="connsiteX86" fmla="*/ 2515178 w 2672340"/>
                <a:gd name="connsiteY86" fmla="*/ 2229042 h 2476692"/>
                <a:gd name="connsiteX87" fmla="*/ 2410403 w 2672340"/>
                <a:gd name="connsiteY87" fmla="*/ 2262379 h 2476692"/>
                <a:gd name="connsiteX88" fmla="*/ 2405640 w 2672340"/>
                <a:gd name="connsiteY88" fmla="*/ 2381442 h 2476692"/>
                <a:gd name="connsiteX89" fmla="*/ 2391353 w 2672340"/>
                <a:gd name="connsiteY89" fmla="*/ 2414779 h 2476692"/>
                <a:gd name="connsiteX90" fmla="*/ 2334203 w 2672340"/>
                <a:gd name="connsiteY90" fmla="*/ 2433829 h 2476692"/>
                <a:gd name="connsiteX91" fmla="*/ 2305628 w 2672340"/>
                <a:gd name="connsiteY91" fmla="*/ 2443354 h 2476692"/>
                <a:gd name="connsiteX92" fmla="*/ 2296103 w 2672340"/>
                <a:gd name="connsiteY92" fmla="*/ 2457642 h 2476692"/>
                <a:gd name="connsiteX93" fmla="*/ 2262765 w 2672340"/>
                <a:gd name="connsiteY93" fmla="*/ 2462404 h 2476692"/>
                <a:gd name="connsiteX94" fmla="*/ 2229428 w 2672340"/>
                <a:gd name="connsiteY94" fmla="*/ 2438592 h 2476692"/>
                <a:gd name="connsiteX95" fmla="*/ 2215140 w 2672340"/>
                <a:gd name="connsiteY95" fmla="*/ 2433829 h 2476692"/>
                <a:gd name="connsiteX96" fmla="*/ 2205615 w 2672340"/>
                <a:gd name="connsiteY96" fmla="*/ 2457642 h 2476692"/>
                <a:gd name="connsiteX97" fmla="*/ 2191328 w 2672340"/>
                <a:gd name="connsiteY97" fmla="*/ 2467167 h 2476692"/>
                <a:gd name="connsiteX98" fmla="*/ 2153228 w 2672340"/>
                <a:gd name="connsiteY98" fmla="*/ 2476692 h 2476692"/>
                <a:gd name="connsiteX99" fmla="*/ 2134178 w 2672340"/>
                <a:gd name="connsiteY99" fmla="*/ 2448117 h 2476692"/>
                <a:gd name="connsiteX100" fmla="*/ 2124653 w 2672340"/>
                <a:gd name="connsiteY100" fmla="*/ 2433829 h 2476692"/>
                <a:gd name="connsiteX101" fmla="*/ 2119890 w 2672340"/>
                <a:gd name="connsiteY101" fmla="*/ 2352867 h 2476692"/>
                <a:gd name="connsiteX102" fmla="*/ 2124653 w 2672340"/>
                <a:gd name="connsiteY102" fmla="*/ 2338579 h 2476692"/>
                <a:gd name="connsiteX103" fmla="*/ 2167515 w 2672340"/>
                <a:gd name="connsiteY103" fmla="*/ 2290954 h 2476692"/>
                <a:gd name="connsiteX104" fmla="*/ 2177040 w 2672340"/>
                <a:gd name="connsiteY104" fmla="*/ 2276667 h 2476692"/>
                <a:gd name="connsiteX105" fmla="*/ 2153228 w 2672340"/>
                <a:gd name="connsiteY105" fmla="*/ 2248092 h 2476692"/>
                <a:gd name="connsiteX106" fmla="*/ 2134178 w 2672340"/>
                <a:gd name="connsiteY106" fmla="*/ 2238567 h 2476692"/>
                <a:gd name="connsiteX107" fmla="*/ 2129415 w 2672340"/>
                <a:gd name="connsiteY107" fmla="*/ 2214754 h 2476692"/>
                <a:gd name="connsiteX108" fmla="*/ 2148465 w 2672340"/>
                <a:gd name="connsiteY108" fmla="*/ 2186179 h 2476692"/>
                <a:gd name="connsiteX109" fmla="*/ 2167515 w 2672340"/>
                <a:gd name="connsiteY109" fmla="*/ 2190942 h 2476692"/>
                <a:gd name="connsiteX110" fmla="*/ 2229428 w 2672340"/>
                <a:gd name="connsiteY110" fmla="*/ 2186179 h 2476692"/>
                <a:gd name="connsiteX111" fmla="*/ 2234190 w 2672340"/>
                <a:gd name="connsiteY111" fmla="*/ 2171892 h 2476692"/>
                <a:gd name="connsiteX112" fmla="*/ 2224665 w 2672340"/>
                <a:gd name="connsiteY112" fmla="*/ 2143317 h 2476692"/>
                <a:gd name="connsiteX113" fmla="*/ 2210378 w 2672340"/>
                <a:gd name="connsiteY113" fmla="*/ 2129029 h 2476692"/>
                <a:gd name="connsiteX114" fmla="*/ 2191328 w 2672340"/>
                <a:gd name="connsiteY114" fmla="*/ 2119504 h 2476692"/>
                <a:gd name="connsiteX115" fmla="*/ 2162753 w 2672340"/>
                <a:gd name="connsiteY115" fmla="*/ 2114742 h 2476692"/>
                <a:gd name="connsiteX116" fmla="*/ 2157990 w 2672340"/>
                <a:gd name="connsiteY116" fmla="*/ 2095692 h 2476692"/>
                <a:gd name="connsiteX117" fmla="*/ 2181803 w 2672340"/>
                <a:gd name="connsiteY117" fmla="*/ 2062354 h 2476692"/>
                <a:gd name="connsiteX118" fmla="*/ 2191328 w 2672340"/>
                <a:gd name="connsiteY118" fmla="*/ 2048067 h 2476692"/>
                <a:gd name="connsiteX119" fmla="*/ 2196090 w 2672340"/>
                <a:gd name="connsiteY119" fmla="*/ 1986154 h 2476692"/>
                <a:gd name="connsiteX120" fmla="*/ 2186565 w 2672340"/>
                <a:gd name="connsiteY120" fmla="*/ 1957579 h 2476692"/>
                <a:gd name="connsiteX121" fmla="*/ 2162753 w 2672340"/>
                <a:gd name="connsiteY121" fmla="*/ 1952817 h 2476692"/>
                <a:gd name="connsiteX122" fmla="*/ 2134178 w 2672340"/>
                <a:gd name="connsiteY122" fmla="*/ 1971867 h 2476692"/>
                <a:gd name="connsiteX123" fmla="*/ 2124653 w 2672340"/>
                <a:gd name="connsiteY123" fmla="*/ 1986154 h 2476692"/>
                <a:gd name="connsiteX124" fmla="*/ 2105603 w 2672340"/>
                <a:gd name="connsiteY124" fmla="*/ 2005204 h 2476692"/>
                <a:gd name="connsiteX125" fmla="*/ 2072265 w 2672340"/>
                <a:gd name="connsiteY125" fmla="*/ 2038542 h 2476692"/>
                <a:gd name="connsiteX126" fmla="*/ 2057978 w 2672340"/>
                <a:gd name="connsiteY126" fmla="*/ 2048067 h 2476692"/>
                <a:gd name="connsiteX127" fmla="*/ 2029403 w 2672340"/>
                <a:gd name="connsiteY127" fmla="*/ 2052829 h 2476692"/>
                <a:gd name="connsiteX128" fmla="*/ 2019878 w 2672340"/>
                <a:gd name="connsiteY128" fmla="*/ 2009967 h 2476692"/>
                <a:gd name="connsiteX129" fmla="*/ 1991303 w 2672340"/>
                <a:gd name="connsiteY129" fmla="*/ 1986154 h 2476692"/>
                <a:gd name="connsiteX130" fmla="*/ 1962728 w 2672340"/>
                <a:gd name="connsiteY130" fmla="*/ 1976629 h 2476692"/>
                <a:gd name="connsiteX131" fmla="*/ 1948440 w 2672340"/>
                <a:gd name="connsiteY131" fmla="*/ 1990917 h 2476692"/>
                <a:gd name="connsiteX132" fmla="*/ 1910340 w 2672340"/>
                <a:gd name="connsiteY132" fmla="*/ 2000442 h 2476692"/>
                <a:gd name="connsiteX133" fmla="*/ 1891290 w 2672340"/>
                <a:gd name="connsiteY133" fmla="*/ 1971867 h 2476692"/>
                <a:gd name="connsiteX134" fmla="*/ 1886528 w 2672340"/>
                <a:gd name="connsiteY134" fmla="*/ 1952817 h 2476692"/>
                <a:gd name="connsiteX135" fmla="*/ 1881765 w 2672340"/>
                <a:gd name="connsiteY135" fmla="*/ 1929004 h 2476692"/>
                <a:gd name="connsiteX136" fmla="*/ 1877003 w 2672340"/>
                <a:gd name="connsiteY136" fmla="*/ 1886142 h 2476692"/>
                <a:gd name="connsiteX137" fmla="*/ 1862715 w 2672340"/>
                <a:gd name="connsiteY137" fmla="*/ 1871854 h 2476692"/>
                <a:gd name="connsiteX138" fmla="*/ 1853190 w 2672340"/>
                <a:gd name="connsiteY138" fmla="*/ 1857567 h 2476692"/>
                <a:gd name="connsiteX139" fmla="*/ 1824615 w 2672340"/>
                <a:gd name="connsiteY139" fmla="*/ 1838517 h 2476692"/>
                <a:gd name="connsiteX140" fmla="*/ 1819853 w 2672340"/>
                <a:gd name="connsiteY140" fmla="*/ 1819467 h 2476692"/>
                <a:gd name="connsiteX141" fmla="*/ 1834140 w 2672340"/>
                <a:gd name="connsiteY141" fmla="*/ 1814704 h 2476692"/>
                <a:gd name="connsiteX142" fmla="*/ 1848428 w 2672340"/>
                <a:gd name="connsiteY142" fmla="*/ 1809942 h 2476692"/>
                <a:gd name="connsiteX143" fmla="*/ 1862715 w 2672340"/>
                <a:gd name="connsiteY143" fmla="*/ 1805179 h 2476692"/>
                <a:gd name="connsiteX144" fmla="*/ 1891290 w 2672340"/>
                <a:gd name="connsiteY144" fmla="*/ 1795654 h 2476692"/>
                <a:gd name="connsiteX145" fmla="*/ 1896053 w 2672340"/>
                <a:gd name="connsiteY145" fmla="*/ 1781367 h 2476692"/>
                <a:gd name="connsiteX146" fmla="*/ 1900815 w 2672340"/>
                <a:gd name="connsiteY146" fmla="*/ 1762317 h 2476692"/>
                <a:gd name="connsiteX147" fmla="*/ 1891290 w 2672340"/>
                <a:gd name="connsiteY147" fmla="*/ 1676592 h 2476692"/>
                <a:gd name="connsiteX148" fmla="*/ 1719840 w 2672340"/>
                <a:gd name="connsiteY148" fmla="*/ 1671829 h 2476692"/>
                <a:gd name="connsiteX149" fmla="*/ 1710315 w 2672340"/>
                <a:gd name="connsiteY149" fmla="*/ 1690879 h 2476692"/>
                <a:gd name="connsiteX150" fmla="*/ 1696028 w 2672340"/>
                <a:gd name="connsiteY150" fmla="*/ 1709929 h 2476692"/>
                <a:gd name="connsiteX151" fmla="*/ 1681740 w 2672340"/>
                <a:gd name="connsiteY151" fmla="*/ 1724217 h 2476692"/>
                <a:gd name="connsiteX152" fmla="*/ 1676978 w 2672340"/>
                <a:gd name="connsiteY152" fmla="*/ 1738504 h 2476692"/>
                <a:gd name="connsiteX153" fmla="*/ 1667453 w 2672340"/>
                <a:gd name="connsiteY153" fmla="*/ 1762317 h 2476692"/>
                <a:gd name="connsiteX154" fmla="*/ 1643640 w 2672340"/>
                <a:gd name="connsiteY154" fmla="*/ 1795654 h 2476692"/>
                <a:gd name="connsiteX155" fmla="*/ 1291215 w 2672340"/>
                <a:gd name="connsiteY155" fmla="*/ 1938529 h 2476692"/>
                <a:gd name="connsiteX156" fmla="*/ 1162628 w 2672340"/>
                <a:gd name="connsiteY156" fmla="*/ 1833754 h 2476692"/>
                <a:gd name="connsiteX157" fmla="*/ 1091190 w 2672340"/>
                <a:gd name="connsiteY157" fmla="*/ 1843279 h 2476692"/>
                <a:gd name="connsiteX158" fmla="*/ 1014990 w 2672340"/>
                <a:gd name="connsiteY158" fmla="*/ 1786129 h 2476692"/>
                <a:gd name="connsiteX159" fmla="*/ 1024515 w 2672340"/>
                <a:gd name="connsiteY159" fmla="*/ 1733742 h 2476692"/>
                <a:gd name="connsiteX160" fmla="*/ 957840 w 2672340"/>
                <a:gd name="connsiteY160" fmla="*/ 1719454 h 2476692"/>
                <a:gd name="connsiteX161" fmla="*/ 767340 w 2672340"/>
                <a:gd name="connsiteY161" fmla="*/ 1671829 h 2476692"/>
                <a:gd name="connsiteX162" fmla="*/ 743528 w 2672340"/>
                <a:gd name="connsiteY162" fmla="*/ 1681354 h 2476692"/>
                <a:gd name="connsiteX163" fmla="*/ 729240 w 2672340"/>
                <a:gd name="connsiteY163" fmla="*/ 1686117 h 2476692"/>
                <a:gd name="connsiteX164" fmla="*/ 700665 w 2672340"/>
                <a:gd name="connsiteY164" fmla="*/ 1667067 h 2476692"/>
                <a:gd name="connsiteX165" fmla="*/ 657803 w 2672340"/>
                <a:gd name="connsiteY165" fmla="*/ 1624204 h 2476692"/>
                <a:gd name="connsiteX166" fmla="*/ 605415 w 2672340"/>
                <a:gd name="connsiteY166" fmla="*/ 1638492 h 2476692"/>
                <a:gd name="connsiteX167" fmla="*/ 533978 w 2672340"/>
                <a:gd name="connsiteY167" fmla="*/ 1543242 h 2476692"/>
                <a:gd name="connsiteX168" fmla="*/ 548265 w 2672340"/>
                <a:gd name="connsiteY168" fmla="*/ 1528954 h 2476692"/>
                <a:gd name="connsiteX169" fmla="*/ 567315 w 2672340"/>
                <a:gd name="connsiteY169" fmla="*/ 1514667 h 2476692"/>
                <a:gd name="connsiteX170" fmla="*/ 581603 w 2672340"/>
                <a:gd name="connsiteY170" fmla="*/ 1476567 h 2476692"/>
                <a:gd name="connsiteX171" fmla="*/ 567315 w 2672340"/>
                <a:gd name="connsiteY171" fmla="*/ 1471804 h 2476692"/>
                <a:gd name="connsiteX172" fmla="*/ 543503 w 2672340"/>
                <a:gd name="connsiteY172" fmla="*/ 1462279 h 2476692"/>
                <a:gd name="connsiteX173" fmla="*/ 562553 w 2672340"/>
                <a:gd name="connsiteY173" fmla="*/ 1428942 h 2476692"/>
                <a:gd name="connsiteX174" fmla="*/ 567315 w 2672340"/>
                <a:gd name="connsiteY174" fmla="*/ 1414654 h 2476692"/>
                <a:gd name="connsiteX175" fmla="*/ 586365 w 2672340"/>
                <a:gd name="connsiteY175" fmla="*/ 1386079 h 2476692"/>
                <a:gd name="connsiteX176" fmla="*/ 619703 w 2672340"/>
                <a:gd name="connsiteY176" fmla="*/ 1362267 h 2476692"/>
                <a:gd name="connsiteX177" fmla="*/ 633990 w 2672340"/>
                <a:gd name="connsiteY177" fmla="*/ 1343217 h 2476692"/>
                <a:gd name="connsiteX178" fmla="*/ 662565 w 2672340"/>
                <a:gd name="connsiteY178" fmla="*/ 1319404 h 2476692"/>
                <a:gd name="connsiteX179" fmla="*/ 667328 w 2672340"/>
                <a:gd name="connsiteY179" fmla="*/ 1281304 h 2476692"/>
                <a:gd name="connsiteX180" fmla="*/ 638753 w 2672340"/>
                <a:gd name="connsiteY180" fmla="*/ 1267017 h 2476692"/>
                <a:gd name="connsiteX181" fmla="*/ 633990 w 2672340"/>
                <a:gd name="connsiteY181" fmla="*/ 1252729 h 2476692"/>
                <a:gd name="connsiteX182" fmla="*/ 643515 w 2672340"/>
                <a:gd name="connsiteY182" fmla="*/ 1238442 h 2476692"/>
                <a:gd name="connsiteX183" fmla="*/ 672090 w 2672340"/>
                <a:gd name="connsiteY183" fmla="*/ 1219392 h 2476692"/>
                <a:gd name="connsiteX184" fmla="*/ 672090 w 2672340"/>
                <a:gd name="connsiteY184" fmla="*/ 1162242 h 2476692"/>
                <a:gd name="connsiteX185" fmla="*/ 662565 w 2672340"/>
                <a:gd name="connsiteY185" fmla="*/ 1147954 h 2476692"/>
                <a:gd name="connsiteX186" fmla="*/ 619703 w 2672340"/>
                <a:gd name="connsiteY186" fmla="*/ 1167004 h 2476692"/>
                <a:gd name="connsiteX187" fmla="*/ 610178 w 2672340"/>
                <a:gd name="connsiteY187" fmla="*/ 1152717 h 2476692"/>
                <a:gd name="connsiteX188" fmla="*/ 605415 w 2672340"/>
                <a:gd name="connsiteY188" fmla="*/ 1105092 h 2476692"/>
                <a:gd name="connsiteX189" fmla="*/ 595890 w 2672340"/>
                <a:gd name="connsiteY189" fmla="*/ 1086042 h 2476692"/>
                <a:gd name="connsiteX190" fmla="*/ 576840 w 2672340"/>
                <a:gd name="connsiteY190" fmla="*/ 1057467 h 2476692"/>
                <a:gd name="connsiteX191" fmla="*/ 572078 w 2672340"/>
                <a:gd name="connsiteY191" fmla="*/ 1043179 h 2476692"/>
                <a:gd name="connsiteX192" fmla="*/ 562553 w 2672340"/>
                <a:gd name="connsiteY192" fmla="*/ 962217 h 2476692"/>
                <a:gd name="connsiteX193" fmla="*/ 462540 w 2672340"/>
                <a:gd name="connsiteY193" fmla="*/ 1043179 h 2476692"/>
                <a:gd name="connsiteX194" fmla="*/ 433965 w 2672340"/>
                <a:gd name="connsiteY194" fmla="*/ 952692 h 2476692"/>
                <a:gd name="connsiteX195" fmla="*/ 343478 w 2672340"/>
                <a:gd name="connsiteY195" fmla="*/ 862204 h 2476692"/>
                <a:gd name="connsiteX196" fmla="*/ 262515 w 2672340"/>
                <a:gd name="connsiteY196" fmla="*/ 871729 h 2476692"/>
                <a:gd name="connsiteX197" fmla="*/ 205365 w 2672340"/>
                <a:gd name="connsiteY197" fmla="*/ 919354 h 2476692"/>
                <a:gd name="connsiteX198" fmla="*/ 95828 w 2672340"/>
                <a:gd name="connsiteY198" fmla="*/ 986029 h 2476692"/>
                <a:gd name="connsiteX199" fmla="*/ 24390 w 2672340"/>
                <a:gd name="connsiteY199" fmla="*/ 986029 h 2476692"/>
                <a:gd name="connsiteX200" fmla="*/ 14865 w 2672340"/>
                <a:gd name="connsiteY200" fmla="*/ 947929 h 2476692"/>
                <a:gd name="connsiteX201" fmla="*/ 578 w 2672340"/>
                <a:gd name="connsiteY201" fmla="*/ 933642 h 2476692"/>
                <a:gd name="connsiteX202" fmla="*/ 5340 w 2672340"/>
                <a:gd name="connsiteY202" fmla="*/ 890779 h 2476692"/>
                <a:gd name="connsiteX203" fmla="*/ 57728 w 2672340"/>
                <a:gd name="connsiteY203" fmla="*/ 781242 h 2476692"/>
                <a:gd name="connsiteX204" fmla="*/ 238703 w 2672340"/>
                <a:gd name="connsiteY204" fmla="*/ 543117 h 2476692"/>
                <a:gd name="connsiteX205" fmla="*/ 333953 w 2672340"/>
                <a:gd name="connsiteY205" fmla="*/ 543117 h 2476692"/>
                <a:gd name="connsiteX206" fmla="*/ 429203 w 2672340"/>
                <a:gd name="connsiteY206" fmla="*/ 524067 h 2476692"/>
                <a:gd name="connsiteX207" fmla="*/ 467303 w 2672340"/>
                <a:gd name="connsiteY207" fmla="*/ 538354 h 2476692"/>
                <a:gd name="connsiteX208" fmla="*/ 481590 w 2672340"/>
                <a:gd name="connsiteY208" fmla="*/ 528829 h 2476692"/>
                <a:gd name="connsiteX209" fmla="*/ 486353 w 2672340"/>
                <a:gd name="connsiteY209" fmla="*/ 514542 h 2476692"/>
                <a:gd name="connsiteX210" fmla="*/ 491115 w 2672340"/>
                <a:gd name="connsiteY210" fmla="*/ 466917 h 2476692"/>
                <a:gd name="connsiteX211" fmla="*/ 481590 w 2672340"/>
                <a:gd name="connsiteY211" fmla="*/ 438342 h 2476692"/>
                <a:gd name="connsiteX212" fmla="*/ 462540 w 2672340"/>
                <a:gd name="connsiteY212" fmla="*/ 409767 h 2476692"/>
                <a:gd name="connsiteX213" fmla="*/ 472065 w 2672340"/>
                <a:gd name="connsiteY213" fmla="*/ 347854 h 2476692"/>
                <a:gd name="connsiteX214" fmla="*/ 505403 w 2672340"/>
                <a:gd name="connsiteY214" fmla="*/ 295467 h 2476692"/>
                <a:gd name="connsiteX215" fmla="*/ 514928 w 2672340"/>
                <a:gd name="connsiteY215" fmla="*/ 281179 h 2476692"/>
                <a:gd name="connsiteX216" fmla="*/ 519690 w 2672340"/>
                <a:gd name="connsiteY216" fmla="*/ 257367 h 2476692"/>
                <a:gd name="connsiteX217" fmla="*/ 529215 w 2672340"/>
                <a:gd name="connsiteY217" fmla="*/ 243079 h 2476692"/>
                <a:gd name="connsiteX218" fmla="*/ 538740 w 2672340"/>
                <a:gd name="connsiteY218" fmla="*/ 204979 h 2476692"/>
                <a:gd name="connsiteX219" fmla="*/ 548265 w 2672340"/>
                <a:gd name="connsiteY219" fmla="*/ 185929 h 2476692"/>
                <a:gd name="connsiteX220" fmla="*/ 553028 w 2672340"/>
                <a:gd name="connsiteY220" fmla="*/ 171642 h 2476692"/>
                <a:gd name="connsiteX221" fmla="*/ 562553 w 2672340"/>
                <a:gd name="connsiteY221" fmla="*/ 157354 h 2476692"/>
                <a:gd name="connsiteX222" fmla="*/ 567315 w 2672340"/>
                <a:gd name="connsiteY222" fmla="*/ 133542 h 2476692"/>
                <a:gd name="connsiteX223" fmla="*/ 576840 w 2672340"/>
                <a:gd name="connsiteY223" fmla="*/ 100204 h 2476692"/>
                <a:gd name="connsiteX224" fmla="*/ 581603 w 2672340"/>
                <a:gd name="connsiteY224" fmla="*/ 81154 h 2476692"/>
                <a:gd name="connsiteX225" fmla="*/ 595890 w 2672340"/>
                <a:gd name="connsiteY225" fmla="*/ 33529 h 2476692"/>
                <a:gd name="connsiteX226" fmla="*/ 619703 w 2672340"/>
                <a:gd name="connsiteY226" fmla="*/ 192 h 2476692"/>
                <a:gd name="connsiteX0" fmla="*/ 621543 w 2672340"/>
                <a:gd name="connsiteY0" fmla="*/ 0 h 2476692"/>
                <a:gd name="connsiteX1" fmla="*/ 637165 w 2672340"/>
                <a:gd name="connsiteY1" fmla="*/ 20829 h 2476692"/>
                <a:gd name="connsiteX2" fmla="*/ 643515 w 2672340"/>
                <a:gd name="connsiteY2" fmla="*/ 30354 h 2476692"/>
                <a:gd name="connsiteX3" fmla="*/ 646690 w 2672340"/>
                <a:gd name="connsiteY3" fmla="*/ 74804 h 2476692"/>
                <a:gd name="connsiteX4" fmla="*/ 656215 w 2672340"/>
                <a:gd name="connsiteY4" fmla="*/ 100204 h 2476692"/>
                <a:gd name="connsiteX5" fmla="*/ 757815 w 2672340"/>
                <a:gd name="connsiteY5" fmla="*/ 119254 h 2476692"/>
                <a:gd name="connsiteX6" fmla="*/ 780040 w 2672340"/>
                <a:gd name="connsiteY6" fmla="*/ 135129 h 2476692"/>
                <a:gd name="connsiteX7" fmla="*/ 789565 w 2672340"/>
                <a:gd name="connsiteY7" fmla="*/ 138304 h 2476692"/>
                <a:gd name="connsiteX8" fmla="*/ 808615 w 2672340"/>
                <a:gd name="connsiteY8" fmla="*/ 154179 h 2476692"/>
                <a:gd name="connsiteX9" fmla="*/ 824490 w 2672340"/>
                <a:gd name="connsiteY9" fmla="*/ 176404 h 2476692"/>
                <a:gd name="connsiteX10" fmla="*/ 827665 w 2672340"/>
                <a:gd name="connsiteY10" fmla="*/ 185929 h 2476692"/>
                <a:gd name="connsiteX11" fmla="*/ 853065 w 2672340"/>
                <a:gd name="connsiteY11" fmla="*/ 201804 h 2476692"/>
                <a:gd name="connsiteX12" fmla="*/ 929265 w 2672340"/>
                <a:gd name="connsiteY12" fmla="*/ 220854 h 2476692"/>
                <a:gd name="connsiteX13" fmla="*/ 957840 w 2672340"/>
                <a:gd name="connsiteY13" fmla="*/ 198629 h 2476692"/>
                <a:gd name="connsiteX14" fmla="*/ 980065 w 2672340"/>
                <a:gd name="connsiteY14" fmla="*/ 182754 h 2476692"/>
                <a:gd name="connsiteX15" fmla="*/ 989590 w 2672340"/>
                <a:gd name="connsiteY15" fmla="*/ 176404 h 2476692"/>
                <a:gd name="connsiteX16" fmla="*/ 1011815 w 2672340"/>
                <a:gd name="connsiteY16" fmla="*/ 173229 h 2476692"/>
                <a:gd name="connsiteX17" fmla="*/ 1027690 w 2672340"/>
                <a:gd name="connsiteY17" fmla="*/ 166879 h 2476692"/>
                <a:gd name="connsiteX18" fmla="*/ 1094365 w 2672340"/>
                <a:gd name="connsiteY18" fmla="*/ 220854 h 2476692"/>
                <a:gd name="connsiteX19" fmla="*/ 1186440 w 2672340"/>
                <a:gd name="connsiteY19" fmla="*/ 217679 h 2476692"/>
                <a:gd name="connsiteX20" fmla="*/ 1278515 w 2672340"/>
                <a:gd name="connsiteY20" fmla="*/ 170054 h 2476692"/>
                <a:gd name="connsiteX21" fmla="*/ 1326140 w 2672340"/>
                <a:gd name="connsiteY21" fmla="*/ 74804 h 2476692"/>
                <a:gd name="connsiteX22" fmla="*/ 1373765 w 2672340"/>
                <a:gd name="connsiteY22" fmla="*/ 122429 h 2476692"/>
                <a:gd name="connsiteX23" fmla="*/ 1459490 w 2672340"/>
                <a:gd name="connsiteY23" fmla="*/ 144654 h 2476692"/>
                <a:gd name="connsiteX24" fmla="*/ 1589665 w 2672340"/>
                <a:gd name="connsiteY24" fmla="*/ 144654 h 2476692"/>
                <a:gd name="connsiteX25" fmla="*/ 1697615 w 2672340"/>
                <a:gd name="connsiteY25" fmla="*/ 97029 h 2476692"/>
                <a:gd name="connsiteX26" fmla="*/ 1726190 w 2672340"/>
                <a:gd name="connsiteY26" fmla="*/ 103379 h 2476692"/>
                <a:gd name="connsiteX27" fmla="*/ 1738890 w 2672340"/>
                <a:gd name="connsiteY27" fmla="*/ 122429 h 2476692"/>
                <a:gd name="connsiteX28" fmla="*/ 1732540 w 2672340"/>
                <a:gd name="connsiteY28" fmla="*/ 141479 h 2476692"/>
                <a:gd name="connsiteX29" fmla="*/ 1723015 w 2672340"/>
                <a:gd name="connsiteY29" fmla="*/ 154179 h 2476692"/>
                <a:gd name="connsiteX30" fmla="*/ 1802390 w 2672340"/>
                <a:gd name="connsiteY30" fmla="*/ 144654 h 2476692"/>
                <a:gd name="connsiteX31" fmla="*/ 1824615 w 2672340"/>
                <a:gd name="connsiteY31" fmla="*/ 160529 h 2476692"/>
                <a:gd name="connsiteX32" fmla="*/ 1827790 w 2672340"/>
                <a:gd name="connsiteY32" fmla="*/ 195454 h 2476692"/>
                <a:gd name="connsiteX33" fmla="*/ 1834140 w 2672340"/>
                <a:gd name="connsiteY33" fmla="*/ 217679 h 2476692"/>
                <a:gd name="connsiteX34" fmla="*/ 1840490 w 2672340"/>
                <a:gd name="connsiteY34" fmla="*/ 230379 h 2476692"/>
                <a:gd name="connsiteX35" fmla="*/ 1846840 w 2672340"/>
                <a:gd name="connsiteY35" fmla="*/ 239904 h 2476692"/>
                <a:gd name="connsiteX36" fmla="*/ 1846840 w 2672340"/>
                <a:gd name="connsiteY36" fmla="*/ 249429 h 2476692"/>
                <a:gd name="connsiteX37" fmla="*/ 1916690 w 2672340"/>
                <a:gd name="connsiteY37" fmla="*/ 274829 h 2476692"/>
                <a:gd name="connsiteX38" fmla="*/ 1945265 w 2672340"/>
                <a:gd name="connsiteY38" fmla="*/ 268479 h 2476692"/>
                <a:gd name="connsiteX39" fmla="*/ 1961140 w 2672340"/>
                <a:gd name="connsiteY39" fmla="*/ 274829 h 2476692"/>
                <a:gd name="connsiteX40" fmla="*/ 1977015 w 2672340"/>
                <a:gd name="connsiteY40" fmla="*/ 293879 h 2476692"/>
                <a:gd name="connsiteX41" fmla="*/ 2002415 w 2672340"/>
                <a:gd name="connsiteY41" fmla="*/ 297054 h 2476692"/>
                <a:gd name="connsiteX42" fmla="*/ 2002415 w 2672340"/>
                <a:gd name="connsiteY42" fmla="*/ 344679 h 2476692"/>
                <a:gd name="connsiteX43" fmla="*/ 1998496 w 2672340"/>
                <a:gd name="connsiteY43" fmla="*/ 359366 h 2476692"/>
                <a:gd name="connsiteX44" fmla="*/ 1997699 w 2672340"/>
                <a:gd name="connsiteY44" fmla="*/ 359161 h 2476692"/>
                <a:gd name="connsiteX45" fmla="*/ 1996509 w 2672340"/>
                <a:gd name="connsiteY45" fmla="*/ 357863 h 2476692"/>
                <a:gd name="connsiteX46" fmla="*/ 1996082 w 2672340"/>
                <a:gd name="connsiteY46" fmla="*/ 354482 h 2476692"/>
                <a:gd name="connsiteX47" fmla="*/ 1996065 w 2672340"/>
                <a:gd name="connsiteY47" fmla="*/ 357379 h 2476692"/>
                <a:gd name="connsiteX48" fmla="*/ 1996509 w 2672340"/>
                <a:gd name="connsiteY48" fmla="*/ 357863 h 2476692"/>
                <a:gd name="connsiteX49" fmla="*/ 1996639 w 2672340"/>
                <a:gd name="connsiteY49" fmla="*/ 358889 h 2476692"/>
                <a:gd name="connsiteX50" fmla="*/ 1997699 w 2672340"/>
                <a:gd name="connsiteY50" fmla="*/ 359161 h 2476692"/>
                <a:gd name="connsiteX51" fmla="*/ 2030990 w 2672340"/>
                <a:gd name="connsiteY51" fmla="*/ 395479 h 2476692"/>
                <a:gd name="connsiteX52" fmla="*/ 2059565 w 2672340"/>
                <a:gd name="connsiteY52" fmla="*/ 385954 h 2476692"/>
                <a:gd name="connsiteX53" fmla="*/ 2069090 w 2672340"/>
                <a:gd name="connsiteY53" fmla="*/ 379604 h 2476692"/>
                <a:gd name="connsiteX54" fmla="*/ 2078615 w 2672340"/>
                <a:gd name="connsiteY54" fmla="*/ 376429 h 2476692"/>
                <a:gd name="connsiteX55" fmla="*/ 2116715 w 2672340"/>
                <a:gd name="connsiteY55" fmla="*/ 379604 h 2476692"/>
                <a:gd name="connsiteX56" fmla="*/ 2119890 w 2672340"/>
                <a:gd name="connsiteY56" fmla="*/ 411354 h 2476692"/>
                <a:gd name="connsiteX57" fmla="*/ 2129415 w 2672340"/>
                <a:gd name="connsiteY57" fmla="*/ 443104 h 2476692"/>
                <a:gd name="connsiteX58" fmla="*/ 2132590 w 2672340"/>
                <a:gd name="connsiteY58" fmla="*/ 452629 h 2476692"/>
                <a:gd name="connsiteX59" fmla="*/ 2135765 w 2672340"/>
                <a:gd name="connsiteY59" fmla="*/ 462154 h 2476692"/>
                <a:gd name="connsiteX60" fmla="*/ 2142115 w 2672340"/>
                <a:gd name="connsiteY60" fmla="*/ 493904 h 2476692"/>
                <a:gd name="connsiteX61" fmla="*/ 2138940 w 2672340"/>
                <a:gd name="connsiteY61" fmla="*/ 532004 h 2476692"/>
                <a:gd name="connsiteX62" fmla="*/ 2110365 w 2672340"/>
                <a:gd name="connsiteY62" fmla="*/ 547879 h 2476692"/>
                <a:gd name="connsiteX63" fmla="*/ 2097665 w 2672340"/>
                <a:gd name="connsiteY63" fmla="*/ 557404 h 2476692"/>
                <a:gd name="connsiteX64" fmla="*/ 2094490 w 2672340"/>
                <a:gd name="connsiteY64" fmla="*/ 582804 h 2476692"/>
                <a:gd name="connsiteX65" fmla="*/ 2104015 w 2672340"/>
                <a:gd name="connsiteY65" fmla="*/ 608204 h 2476692"/>
                <a:gd name="connsiteX66" fmla="*/ 2110365 w 2672340"/>
                <a:gd name="connsiteY66" fmla="*/ 617729 h 2476692"/>
                <a:gd name="connsiteX67" fmla="*/ 2116715 w 2672340"/>
                <a:gd name="connsiteY67" fmla="*/ 643129 h 2476692"/>
                <a:gd name="connsiteX68" fmla="*/ 2119890 w 2672340"/>
                <a:gd name="connsiteY68" fmla="*/ 719329 h 2476692"/>
                <a:gd name="connsiteX69" fmla="*/ 2123065 w 2672340"/>
                <a:gd name="connsiteY69" fmla="*/ 728854 h 2476692"/>
                <a:gd name="connsiteX70" fmla="*/ 2142115 w 2672340"/>
                <a:gd name="connsiteY70" fmla="*/ 741554 h 2476692"/>
                <a:gd name="connsiteX71" fmla="*/ 2161165 w 2672340"/>
                <a:gd name="connsiteY71" fmla="*/ 738379 h 2476692"/>
                <a:gd name="connsiteX72" fmla="*/ 2170690 w 2672340"/>
                <a:gd name="connsiteY72" fmla="*/ 732029 h 2476692"/>
                <a:gd name="connsiteX73" fmla="*/ 2183390 w 2672340"/>
                <a:gd name="connsiteY73" fmla="*/ 725679 h 2476692"/>
                <a:gd name="connsiteX74" fmla="*/ 2192915 w 2672340"/>
                <a:gd name="connsiteY74" fmla="*/ 719329 h 2476692"/>
                <a:gd name="connsiteX75" fmla="*/ 2211965 w 2672340"/>
                <a:gd name="connsiteY75" fmla="*/ 712979 h 2476692"/>
                <a:gd name="connsiteX76" fmla="*/ 2259590 w 2672340"/>
                <a:gd name="connsiteY76" fmla="*/ 716154 h 2476692"/>
                <a:gd name="connsiteX77" fmla="*/ 2262765 w 2672340"/>
                <a:gd name="connsiteY77" fmla="*/ 732029 h 2476692"/>
                <a:gd name="connsiteX78" fmla="*/ 2272290 w 2672340"/>
                <a:gd name="connsiteY78" fmla="*/ 751079 h 2476692"/>
                <a:gd name="connsiteX79" fmla="*/ 2297690 w 2672340"/>
                <a:gd name="connsiteY79" fmla="*/ 754254 h 2476692"/>
                <a:gd name="connsiteX80" fmla="*/ 2329440 w 2672340"/>
                <a:gd name="connsiteY80" fmla="*/ 738379 h 2476692"/>
                <a:gd name="connsiteX81" fmla="*/ 2338965 w 2672340"/>
                <a:gd name="connsiteY81" fmla="*/ 735204 h 2476692"/>
                <a:gd name="connsiteX82" fmla="*/ 2367540 w 2672340"/>
                <a:gd name="connsiteY82" fmla="*/ 722504 h 2476692"/>
                <a:gd name="connsiteX83" fmla="*/ 2377065 w 2672340"/>
                <a:gd name="connsiteY83" fmla="*/ 719329 h 2476692"/>
                <a:gd name="connsiteX84" fmla="*/ 2391809 w 2672340"/>
                <a:gd name="connsiteY84" fmla="*/ 719329 h 2476692"/>
                <a:gd name="connsiteX85" fmla="*/ 2672340 w 2672340"/>
                <a:gd name="connsiteY85" fmla="*/ 1724217 h 2476692"/>
                <a:gd name="connsiteX86" fmla="*/ 2515178 w 2672340"/>
                <a:gd name="connsiteY86" fmla="*/ 2229042 h 2476692"/>
                <a:gd name="connsiteX87" fmla="*/ 2410403 w 2672340"/>
                <a:gd name="connsiteY87" fmla="*/ 2262379 h 2476692"/>
                <a:gd name="connsiteX88" fmla="*/ 2388971 w 2672340"/>
                <a:gd name="connsiteY88" fmla="*/ 2331435 h 2476692"/>
                <a:gd name="connsiteX89" fmla="*/ 2405640 w 2672340"/>
                <a:gd name="connsiteY89" fmla="*/ 2381442 h 2476692"/>
                <a:gd name="connsiteX90" fmla="*/ 2391353 w 2672340"/>
                <a:gd name="connsiteY90" fmla="*/ 2414779 h 2476692"/>
                <a:gd name="connsiteX91" fmla="*/ 2334203 w 2672340"/>
                <a:gd name="connsiteY91" fmla="*/ 2433829 h 2476692"/>
                <a:gd name="connsiteX92" fmla="*/ 2305628 w 2672340"/>
                <a:gd name="connsiteY92" fmla="*/ 2443354 h 2476692"/>
                <a:gd name="connsiteX93" fmla="*/ 2296103 w 2672340"/>
                <a:gd name="connsiteY93" fmla="*/ 2457642 h 2476692"/>
                <a:gd name="connsiteX94" fmla="*/ 2262765 w 2672340"/>
                <a:gd name="connsiteY94" fmla="*/ 2462404 h 2476692"/>
                <a:gd name="connsiteX95" fmla="*/ 2229428 w 2672340"/>
                <a:gd name="connsiteY95" fmla="*/ 2438592 h 2476692"/>
                <a:gd name="connsiteX96" fmla="*/ 2215140 w 2672340"/>
                <a:gd name="connsiteY96" fmla="*/ 2433829 h 2476692"/>
                <a:gd name="connsiteX97" fmla="*/ 2205615 w 2672340"/>
                <a:gd name="connsiteY97" fmla="*/ 2457642 h 2476692"/>
                <a:gd name="connsiteX98" fmla="*/ 2191328 w 2672340"/>
                <a:gd name="connsiteY98" fmla="*/ 2467167 h 2476692"/>
                <a:gd name="connsiteX99" fmla="*/ 2153228 w 2672340"/>
                <a:gd name="connsiteY99" fmla="*/ 2476692 h 2476692"/>
                <a:gd name="connsiteX100" fmla="*/ 2134178 w 2672340"/>
                <a:gd name="connsiteY100" fmla="*/ 2448117 h 2476692"/>
                <a:gd name="connsiteX101" fmla="*/ 2124653 w 2672340"/>
                <a:gd name="connsiteY101" fmla="*/ 2433829 h 2476692"/>
                <a:gd name="connsiteX102" fmla="*/ 2119890 w 2672340"/>
                <a:gd name="connsiteY102" fmla="*/ 2352867 h 2476692"/>
                <a:gd name="connsiteX103" fmla="*/ 2124653 w 2672340"/>
                <a:gd name="connsiteY103" fmla="*/ 2338579 h 2476692"/>
                <a:gd name="connsiteX104" fmla="*/ 2167515 w 2672340"/>
                <a:gd name="connsiteY104" fmla="*/ 2290954 h 2476692"/>
                <a:gd name="connsiteX105" fmla="*/ 2177040 w 2672340"/>
                <a:gd name="connsiteY105" fmla="*/ 2276667 h 2476692"/>
                <a:gd name="connsiteX106" fmla="*/ 2153228 w 2672340"/>
                <a:gd name="connsiteY106" fmla="*/ 2248092 h 2476692"/>
                <a:gd name="connsiteX107" fmla="*/ 2134178 w 2672340"/>
                <a:gd name="connsiteY107" fmla="*/ 2238567 h 2476692"/>
                <a:gd name="connsiteX108" fmla="*/ 2129415 w 2672340"/>
                <a:gd name="connsiteY108" fmla="*/ 2214754 h 2476692"/>
                <a:gd name="connsiteX109" fmla="*/ 2148465 w 2672340"/>
                <a:gd name="connsiteY109" fmla="*/ 2186179 h 2476692"/>
                <a:gd name="connsiteX110" fmla="*/ 2167515 w 2672340"/>
                <a:gd name="connsiteY110" fmla="*/ 2190942 h 2476692"/>
                <a:gd name="connsiteX111" fmla="*/ 2229428 w 2672340"/>
                <a:gd name="connsiteY111" fmla="*/ 2186179 h 2476692"/>
                <a:gd name="connsiteX112" fmla="*/ 2234190 w 2672340"/>
                <a:gd name="connsiteY112" fmla="*/ 2171892 h 2476692"/>
                <a:gd name="connsiteX113" fmla="*/ 2224665 w 2672340"/>
                <a:gd name="connsiteY113" fmla="*/ 2143317 h 2476692"/>
                <a:gd name="connsiteX114" fmla="*/ 2210378 w 2672340"/>
                <a:gd name="connsiteY114" fmla="*/ 2129029 h 2476692"/>
                <a:gd name="connsiteX115" fmla="*/ 2191328 w 2672340"/>
                <a:gd name="connsiteY115" fmla="*/ 2119504 h 2476692"/>
                <a:gd name="connsiteX116" fmla="*/ 2162753 w 2672340"/>
                <a:gd name="connsiteY116" fmla="*/ 2114742 h 2476692"/>
                <a:gd name="connsiteX117" fmla="*/ 2157990 w 2672340"/>
                <a:gd name="connsiteY117" fmla="*/ 2095692 h 2476692"/>
                <a:gd name="connsiteX118" fmla="*/ 2181803 w 2672340"/>
                <a:gd name="connsiteY118" fmla="*/ 2062354 h 2476692"/>
                <a:gd name="connsiteX119" fmla="*/ 2191328 w 2672340"/>
                <a:gd name="connsiteY119" fmla="*/ 2048067 h 2476692"/>
                <a:gd name="connsiteX120" fmla="*/ 2196090 w 2672340"/>
                <a:gd name="connsiteY120" fmla="*/ 1986154 h 2476692"/>
                <a:gd name="connsiteX121" fmla="*/ 2186565 w 2672340"/>
                <a:gd name="connsiteY121" fmla="*/ 1957579 h 2476692"/>
                <a:gd name="connsiteX122" fmla="*/ 2162753 w 2672340"/>
                <a:gd name="connsiteY122" fmla="*/ 1952817 h 2476692"/>
                <a:gd name="connsiteX123" fmla="*/ 2134178 w 2672340"/>
                <a:gd name="connsiteY123" fmla="*/ 1971867 h 2476692"/>
                <a:gd name="connsiteX124" fmla="*/ 2124653 w 2672340"/>
                <a:gd name="connsiteY124" fmla="*/ 1986154 h 2476692"/>
                <a:gd name="connsiteX125" fmla="*/ 2105603 w 2672340"/>
                <a:gd name="connsiteY125" fmla="*/ 2005204 h 2476692"/>
                <a:gd name="connsiteX126" fmla="*/ 2072265 w 2672340"/>
                <a:gd name="connsiteY126" fmla="*/ 2038542 h 2476692"/>
                <a:gd name="connsiteX127" fmla="*/ 2057978 w 2672340"/>
                <a:gd name="connsiteY127" fmla="*/ 2048067 h 2476692"/>
                <a:gd name="connsiteX128" fmla="*/ 2029403 w 2672340"/>
                <a:gd name="connsiteY128" fmla="*/ 2052829 h 2476692"/>
                <a:gd name="connsiteX129" fmla="*/ 2019878 w 2672340"/>
                <a:gd name="connsiteY129" fmla="*/ 2009967 h 2476692"/>
                <a:gd name="connsiteX130" fmla="*/ 1991303 w 2672340"/>
                <a:gd name="connsiteY130" fmla="*/ 1986154 h 2476692"/>
                <a:gd name="connsiteX131" fmla="*/ 1962728 w 2672340"/>
                <a:gd name="connsiteY131" fmla="*/ 1976629 h 2476692"/>
                <a:gd name="connsiteX132" fmla="*/ 1948440 w 2672340"/>
                <a:gd name="connsiteY132" fmla="*/ 1990917 h 2476692"/>
                <a:gd name="connsiteX133" fmla="*/ 1910340 w 2672340"/>
                <a:gd name="connsiteY133" fmla="*/ 2000442 h 2476692"/>
                <a:gd name="connsiteX134" fmla="*/ 1891290 w 2672340"/>
                <a:gd name="connsiteY134" fmla="*/ 1971867 h 2476692"/>
                <a:gd name="connsiteX135" fmla="*/ 1886528 w 2672340"/>
                <a:gd name="connsiteY135" fmla="*/ 1952817 h 2476692"/>
                <a:gd name="connsiteX136" fmla="*/ 1881765 w 2672340"/>
                <a:gd name="connsiteY136" fmla="*/ 1929004 h 2476692"/>
                <a:gd name="connsiteX137" fmla="*/ 1877003 w 2672340"/>
                <a:gd name="connsiteY137" fmla="*/ 1886142 h 2476692"/>
                <a:gd name="connsiteX138" fmla="*/ 1862715 w 2672340"/>
                <a:gd name="connsiteY138" fmla="*/ 1871854 h 2476692"/>
                <a:gd name="connsiteX139" fmla="*/ 1853190 w 2672340"/>
                <a:gd name="connsiteY139" fmla="*/ 1857567 h 2476692"/>
                <a:gd name="connsiteX140" fmla="*/ 1824615 w 2672340"/>
                <a:gd name="connsiteY140" fmla="*/ 1838517 h 2476692"/>
                <a:gd name="connsiteX141" fmla="*/ 1819853 w 2672340"/>
                <a:gd name="connsiteY141" fmla="*/ 1819467 h 2476692"/>
                <a:gd name="connsiteX142" fmla="*/ 1834140 w 2672340"/>
                <a:gd name="connsiteY142" fmla="*/ 1814704 h 2476692"/>
                <a:gd name="connsiteX143" fmla="*/ 1848428 w 2672340"/>
                <a:gd name="connsiteY143" fmla="*/ 1809942 h 2476692"/>
                <a:gd name="connsiteX144" fmla="*/ 1862715 w 2672340"/>
                <a:gd name="connsiteY144" fmla="*/ 1805179 h 2476692"/>
                <a:gd name="connsiteX145" fmla="*/ 1891290 w 2672340"/>
                <a:gd name="connsiteY145" fmla="*/ 1795654 h 2476692"/>
                <a:gd name="connsiteX146" fmla="*/ 1896053 w 2672340"/>
                <a:gd name="connsiteY146" fmla="*/ 1781367 h 2476692"/>
                <a:gd name="connsiteX147" fmla="*/ 1900815 w 2672340"/>
                <a:gd name="connsiteY147" fmla="*/ 1762317 h 2476692"/>
                <a:gd name="connsiteX148" fmla="*/ 1891290 w 2672340"/>
                <a:gd name="connsiteY148" fmla="*/ 1676592 h 2476692"/>
                <a:gd name="connsiteX149" fmla="*/ 1719840 w 2672340"/>
                <a:gd name="connsiteY149" fmla="*/ 1671829 h 2476692"/>
                <a:gd name="connsiteX150" fmla="*/ 1710315 w 2672340"/>
                <a:gd name="connsiteY150" fmla="*/ 1690879 h 2476692"/>
                <a:gd name="connsiteX151" fmla="*/ 1696028 w 2672340"/>
                <a:gd name="connsiteY151" fmla="*/ 1709929 h 2476692"/>
                <a:gd name="connsiteX152" fmla="*/ 1681740 w 2672340"/>
                <a:gd name="connsiteY152" fmla="*/ 1724217 h 2476692"/>
                <a:gd name="connsiteX153" fmla="*/ 1676978 w 2672340"/>
                <a:gd name="connsiteY153" fmla="*/ 1738504 h 2476692"/>
                <a:gd name="connsiteX154" fmla="*/ 1667453 w 2672340"/>
                <a:gd name="connsiteY154" fmla="*/ 1762317 h 2476692"/>
                <a:gd name="connsiteX155" fmla="*/ 1643640 w 2672340"/>
                <a:gd name="connsiteY155" fmla="*/ 1795654 h 2476692"/>
                <a:gd name="connsiteX156" fmla="*/ 1291215 w 2672340"/>
                <a:gd name="connsiteY156" fmla="*/ 1938529 h 2476692"/>
                <a:gd name="connsiteX157" fmla="*/ 1162628 w 2672340"/>
                <a:gd name="connsiteY157" fmla="*/ 1833754 h 2476692"/>
                <a:gd name="connsiteX158" fmla="*/ 1091190 w 2672340"/>
                <a:gd name="connsiteY158" fmla="*/ 1843279 h 2476692"/>
                <a:gd name="connsiteX159" fmla="*/ 1014990 w 2672340"/>
                <a:gd name="connsiteY159" fmla="*/ 1786129 h 2476692"/>
                <a:gd name="connsiteX160" fmla="*/ 1024515 w 2672340"/>
                <a:gd name="connsiteY160" fmla="*/ 1733742 h 2476692"/>
                <a:gd name="connsiteX161" fmla="*/ 957840 w 2672340"/>
                <a:gd name="connsiteY161" fmla="*/ 1719454 h 2476692"/>
                <a:gd name="connsiteX162" fmla="*/ 767340 w 2672340"/>
                <a:gd name="connsiteY162" fmla="*/ 1671829 h 2476692"/>
                <a:gd name="connsiteX163" fmla="*/ 743528 w 2672340"/>
                <a:gd name="connsiteY163" fmla="*/ 1681354 h 2476692"/>
                <a:gd name="connsiteX164" fmla="*/ 729240 w 2672340"/>
                <a:gd name="connsiteY164" fmla="*/ 1686117 h 2476692"/>
                <a:gd name="connsiteX165" fmla="*/ 700665 w 2672340"/>
                <a:gd name="connsiteY165" fmla="*/ 1667067 h 2476692"/>
                <a:gd name="connsiteX166" fmla="*/ 657803 w 2672340"/>
                <a:gd name="connsiteY166" fmla="*/ 1624204 h 2476692"/>
                <a:gd name="connsiteX167" fmla="*/ 605415 w 2672340"/>
                <a:gd name="connsiteY167" fmla="*/ 1638492 h 2476692"/>
                <a:gd name="connsiteX168" fmla="*/ 533978 w 2672340"/>
                <a:gd name="connsiteY168" fmla="*/ 1543242 h 2476692"/>
                <a:gd name="connsiteX169" fmla="*/ 548265 w 2672340"/>
                <a:gd name="connsiteY169" fmla="*/ 1528954 h 2476692"/>
                <a:gd name="connsiteX170" fmla="*/ 567315 w 2672340"/>
                <a:gd name="connsiteY170" fmla="*/ 1514667 h 2476692"/>
                <a:gd name="connsiteX171" fmla="*/ 581603 w 2672340"/>
                <a:gd name="connsiteY171" fmla="*/ 1476567 h 2476692"/>
                <a:gd name="connsiteX172" fmla="*/ 567315 w 2672340"/>
                <a:gd name="connsiteY172" fmla="*/ 1471804 h 2476692"/>
                <a:gd name="connsiteX173" fmla="*/ 543503 w 2672340"/>
                <a:gd name="connsiteY173" fmla="*/ 1462279 h 2476692"/>
                <a:gd name="connsiteX174" fmla="*/ 562553 w 2672340"/>
                <a:gd name="connsiteY174" fmla="*/ 1428942 h 2476692"/>
                <a:gd name="connsiteX175" fmla="*/ 567315 w 2672340"/>
                <a:gd name="connsiteY175" fmla="*/ 1414654 h 2476692"/>
                <a:gd name="connsiteX176" fmla="*/ 586365 w 2672340"/>
                <a:gd name="connsiteY176" fmla="*/ 1386079 h 2476692"/>
                <a:gd name="connsiteX177" fmla="*/ 619703 w 2672340"/>
                <a:gd name="connsiteY177" fmla="*/ 1362267 h 2476692"/>
                <a:gd name="connsiteX178" fmla="*/ 633990 w 2672340"/>
                <a:gd name="connsiteY178" fmla="*/ 1343217 h 2476692"/>
                <a:gd name="connsiteX179" fmla="*/ 662565 w 2672340"/>
                <a:gd name="connsiteY179" fmla="*/ 1319404 h 2476692"/>
                <a:gd name="connsiteX180" fmla="*/ 667328 w 2672340"/>
                <a:gd name="connsiteY180" fmla="*/ 1281304 h 2476692"/>
                <a:gd name="connsiteX181" fmla="*/ 638753 w 2672340"/>
                <a:gd name="connsiteY181" fmla="*/ 1267017 h 2476692"/>
                <a:gd name="connsiteX182" fmla="*/ 633990 w 2672340"/>
                <a:gd name="connsiteY182" fmla="*/ 1252729 h 2476692"/>
                <a:gd name="connsiteX183" fmla="*/ 643515 w 2672340"/>
                <a:gd name="connsiteY183" fmla="*/ 1238442 h 2476692"/>
                <a:gd name="connsiteX184" fmla="*/ 672090 w 2672340"/>
                <a:gd name="connsiteY184" fmla="*/ 1219392 h 2476692"/>
                <a:gd name="connsiteX185" fmla="*/ 672090 w 2672340"/>
                <a:gd name="connsiteY185" fmla="*/ 1162242 h 2476692"/>
                <a:gd name="connsiteX186" fmla="*/ 662565 w 2672340"/>
                <a:gd name="connsiteY186" fmla="*/ 1147954 h 2476692"/>
                <a:gd name="connsiteX187" fmla="*/ 619703 w 2672340"/>
                <a:gd name="connsiteY187" fmla="*/ 1167004 h 2476692"/>
                <a:gd name="connsiteX188" fmla="*/ 610178 w 2672340"/>
                <a:gd name="connsiteY188" fmla="*/ 1152717 h 2476692"/>
                <a:gd name="connsiteX189" fmla="*/ 605415 w 2672340"/>
                <a:gd name="connsiteY189" fmla="*/ 1105092 h 2476692"/>
                <a:gd name="connsiteX190" fmla="*/ 595890 w 2672340"/>
                <a:gd name="connsiteY190" fmla="*/ 1086042 h 2476692"/>
                <a:gd name="connsiteX191" fmla="*/ 576840 w 2672340"/>
                <a:gd name="connsiteY191" fmla="*/ 1057467 h 2476692"/>
                <a:gd name="connsiteX192" fmla="*/ 572078 w 2672340"/>
                <a:gd name="connsiteY192" fmla="*/ 1043179 h 2476692"/>
                <a:gd name="connsiteX193" fmla="*/ 562553 w 2672340"/>
                <a:gd name="connsiteY193" fmla="*/ 962217 h 2476692"/>
                <a:gd name="connsiteX194" fmla="*/ 462540 w 2672340"/>
                <a:gd name="connsiteY194" fmla="*/ 1043179 h 2476692"/>
                <a:gd name="connsiteX195" fmla="*/ 433965 w 2672340"/>
                <a:gd name="connsiteY195" fmla="*/ 952692 h 2476692"/>
                <a:gd name="connsiteX196" fmla="*/ 343478 w 2672340"/>
                <a:gd name="connsiteY196" fmla="*/ 862204 h 2476692"/>
                <a:gd name="connsiteX197" fmla="*/ 262515 w 2672340"/>
                <a:gd name="connsiteY197" fmla="*/ 871729 h 2476692"/>
                <a:gd name="connsiteX198" fmla="*/ 205365 w 2672340"/>
                <a:gd name="connsiteY198" fmla="*/ 919354 h 2476692"/>
                <a:gd name="connsiteX199" fmla="*/ 95828 w 2672340"/>
                <a:gd name="connsiteY199" fmla="*/ 986029 h 2476692"/>
                <a:gd name="connsiteX200" fmla="*/ 24390 w 2672340"/>
                <a:gd name="connsiteY200" fmla="*/ 986029 h 2476692"/>
                <a:gd name="connsiteX201" fmla="*/ 14865 w 2672340"/>
                <a:gd name="connsiteY201" fmla="*/ 947929 h 2476692"/>
                <a:gd name="connsiteX202" fmla="*/ 578 w 2672340"/>
                <a:gd name="connsiteY202" fmla="*/ 933642 h 2476692"/>
                <a:gd name="connsiteX203" fmla="*/ 5340 w 2672340"/>
                <a:gd name="connsiteY203" fmla="*/ 890779 h 2476692"/>
                <a:gd name="connsiteX204" fmla="*/ 57728 w 2672340"/>
                <a:gd name="connsiteY204" fmla="*/ 781242 h 2476692"/>
                <a:gd name="connsiteX205" fmla="*/ 238703 w 2672340"/>
                <a:gd name="connsiteY205" fmla="*/ 543117 h 2476692"/>
                <a:gd name="connsiteX206" fmla="*/ 333953 w 2672340"/>
                <a:gd name="connsiteY206" fmla="*/ 543117 h 2476692"/>
                <a:gd name="connsiteX207" fmla="*/ 429203 w 2672340"/>
                <a:gd name="connsiteY207" fmla="*/ 524067 h 2476692"/>
                <a:gd name="connsiteX208" fmla="*/ 467303 w 2672340"/>
                <a:gd name="connsiteY208" fmla="*/ 538354 h 2476692"/>
                <a:gd name="connsiteX209" fmla="*/ 481590 w 2672340"/>
                <a:gd name="connsiteY209" fmla="*/ 528829 h 2476692"/>
                <a:gd name="connsiteX210" fmla="*/ 486353 w 2672340"/>
                <a:gd name="connsiteY210" fmla="*/ 514542 h 2476692"/>
                <a:gd name="connsiteX211" fmla="*/ 491115 w 2672340"/>
                <a:gd name="connsiteY211" fmla="*/ 466917 h 2476692"/>
                <a:gd name="connsiteX212" fmla="*/ 481590 w 2672340"/>
                <a:gd name="connsiteY212" fmla="*/ 438342 h 2476692"/>
                <a:gd name="connsiteX213" fmla="*/ 462540 w 2672340"/>
                <a:gd name="connsiteY213" fmla="*/ 409767 h 2476692"/>
                <a:gd name="connsiteX214" fmla="*/ 472065 w 2672340"/>
                <a:gd name="connsiteY214" fmla="*/ 347854 h 2476692"/>
                <a:gd name="connsiteX215" fmla="*/ 505403 w 2672340"/>
                <a:gd name="connsiteY215" fmla="*/ 295467 h 2476692"/>
                <a:gd name="connsiteX216" fmla="*/ 514928 w 2672340"/>
                <a:gd name="connsiteY216" fmla="*/ 281179 h 2476692"/>
                <a:gd name="connsiteX217" fmla="*/ 519690 w 2672340"/>
                <a:gd name="connsiteY217" fmla="*/ 257367 h 2476692"/>
                <a:gd name="connsiteX218" fmla="*/ 529215 w 2672340"/>
                <a:gd name="connsiteY218" fmla="*/ 243079 h 2476692"/>
                <a:gd name="connsiteX219" fmla="*/ 538740 w 2672340"/>
                <a:gd name="connsiteY219" fmla="*/ 204979 h 2476692"/>
                <a:gd name="connsiteX220" fmla="*/ 548265 w 2672340"/>
                <a:gd name="connsiteY220" fmla="*/ 185929 h 2476692"/>
                <a:gd name="connsiteX221" fmla="*/ 553028 w 2672340"/>
                <a:gd name="connsiteY221" fmla="*/ 171642 h 2476692"/>
                <a:gd name="connsiteX222" fmla="*/ 562553 w 2672340"/>
                <a:gd name="connsiteY222" fmla="*/ 157354 h 2476692"/>
                <a:gd name="connsiteX223" fmla="*/ 567315 w 2672340"/>
                <a:gd name="connsiteY223" fmla="*/ 133542 h 2476692"/>
                <a:gd name="connsiteX224" fmla="*/ 576840 w 2672340"/>
                <a:gd name="connsiteY224" fmla="*/ 100204 h 2476692"/>
                <a:gd name="connsiteX225" fmla="*/ 581603 w 2672340"/>
                <a:gd name="connsiteY225" fmla="*/ 81154 h 2476692"/>
                <a:gd name="connsiteX226" fmla="*/ 595890 w 2672340"/>
                <a:gd name="connsiteY226" fmla="*/ 33529 h 2476692"/>
                <a:gd name="connsiteX227" fmla="*/ 619703 w 2672340"/>
                <a:gd name="connsiteY227" fmla="*/ 192 h 2476692"/>
                <a:gd name="connsiteX228" fmla="*/ 621543 w 2672340"/>
                <a:gd name="connsiteY228" fmla="*/ 0 h 2476692"/>
                <a:gd name="connsiteX0" fmla="*/ 621543 w 2672340"/>
                <a:gd name="connsiteY0" fmla="*/ 0 h 2476692"/>
                <a:gd name="connsiteX1" fmla="*/ 637165 w 2672340"/>
                <a:gd name="connsiteY1" fmla="*/ 20829 h 2476692"/>
                <a:gd name="connsiteX2" fmla="*/ 643515 w 2672340"/>
                <a:gd name="connsiteY2" fmla="*/ 30354 h 2476692"/>
                <a:gd name="connsiteX3" fmla="*/ 646690 w 2672340"/>
                <a:gd name="connsiteY3" fmla="*/ 74804 h 2476692"/>
                <a:gd name="connsiteX4" fmla="*/ 656215 w 2672340"/>
                <a:gd name="connsiteY4" fmla="*/ 100204 h 2476692"/>
                <a:gd name="connsiteX5" fmla="*/ 757815 w 2672340"/>
                <a:gd name="connsiteY5" fmla="*/ 119254 h 2476692"/>
                <a:gd name="connsiteX6" fmla="*/ 780040 w 2672340"/>
                <a:gd name="connsiteY6" fmla="*/ 135129 h 2476692"/>
                <a:gd name="connsiteX7" fmla="*/ 789565 w 2672340"/>
                <a:gd name="connsiteY7" fmla="*/ 138304 h 2476692"/>
                <a:gd name="connsiteX8" fmla="*/ 808615 w 2672340"/>
                <a:gd name="connsiteY8" fmla="*/ 154179 h 2476692"/>
                <a:gd name="connsiteX9" fmla="*/ 824490 w 2672340"/>
                <a:gd name="connsiteY9" fmla="*/ 176404 h 2476692"/>
                <a:gd name="connsiteX10" fmla="*/ 827665 w 2672340"/>
                <a:gd name="connsiteY10" fmla="*/ 185929 h 2476692"/>
                <a:gd name="connsiteX11" fmla="*/ 853065 w 2672340"/>
                <a:gd name="connsiteY11" fmla="*/ 201804 h 2476692"/>
                <a:gd name="connsiteX12" fmla="*/ 929265 w 2672340"/>
                <a:gd name="connsiteY12" fmla="*/ 220854 h 2476692"/>
                <a:gd name="connsiteX13" fmla="*/ 957840 w 2672340"/>
                <a:gd name="connsiteY13" fmla="*/ 198629 h 2476692"/>
                <a:gd name="connsiteX14" fmla="*/ 980065 w 2672340"/>
                <a:gd name="connsiteY14" fmla="*/ 182754 h 2476692"/>
                <a:gd name="connsiteX15" fmla="*/ 989590 w 2672340"/>
                <a:gd name="connsiteY15" fmla="*/ 176404 h 2476692"/>
                <a:gd name="connsiteX16" fmla="*/ 1011815 w 2672340"/>
                <a:gd name="connsiteY16" fmla="*/ 173229 h 2476692"/>
                <a:gd name="connsiteX17" fmla="*/ 1027690 w 2672340"/>
                <a:gd name="connsiteY17" fmla="*/ 166879 h 2476692"/>
                <a:gd name="connsiteX18" fmla="*/ 1094365 w 2672340"/>
                <a:gd name="connsiteY18" fmla="*/ 220854 h 2476692"/>
                <a:gd name="connsiteX19" fmla="*/ 1186440 w 2672340"/>
                <a:gd name="connsiteY19" fmla="*/ 217679 h 2476692"/>
                <a:gd name="connsiteX20" fmla="*/ 1278515 w 2672340"/>
                <a:gd name="connsiteY20" fmla="*/ 170054 h 2476692"/>
                <a:gd name="connsiteX21" fmla="*/ 1326140 w 2672340"/>
                <a:gd name="connsiteY21" fmla="*/ 74804 h 2476692"/>
                <a:gd name="connsiteX22" fmla="*/ 1373765 w 2672340"/>
                <a:gd name="connsiteY22" fmla="*/ 122429 h 2476692"/>
                <a:gd name="connsiteX23" fmla="*/ 1459490 w 2672340"/>
                <a:gd name="connsiteY23" fmla="*/ 144654 h 2476692"/>
                <a:gd name="connsiteX24" fmla="*/ 1589665 w 2672340"/>
                <a:gd name="connsiteY24" fmla="*/ 144654 h 2476692"/>
                <a:gd name="connsiteX25" fmla="*/ 1697615 w 2672340"/>
                <a:gd name="connsiteY25" fmla="*/ 97029 h 2476692"/>
                <a:gd name="connsiteX26" fmla="*/ 1726190 w 2672340"/>
                <a:gd name="connsiteY26" fmla="*/ 103379 h 2476692"/>
                <a:gd name="connsiteX27" fmla="*/ 1738890 w 2672340"/>
                <a:gd name="connsiteY27" fmla="*/ 122429 h 2476692"/>
                <a:gd name="connsiteX28" fmla="*/ 1732540 w 2672340"/>
                <a:gd name="connsiteY28" fmla="*/ 141479 h 2476692"/>
                <a:gd name="connsiteX29" fmla="*/ 1723015 w 2672340"/>
                <a:gd name="connsiteY29" fmla="*/ 154179 h 2476692"/>
                <a:gd name="connsiteX30" fmla="*/ 1802390 w 2672340"/>
                <a:gd name="connsiteY30" fmla="*/ 144654 h 2476692"/>
                <a:gd name="connsiteX31" fmla="*/ 1824615 w 2672340"/>
                <a:gd name="connsiteY31" fmla="*/ 160529 h 2476692"/>
                <a:gd name="connsiteX32" fmla="*/ 1827790 w 2672340"/>
                <a:gd name="connsiteY32" fmla="*/ 195454 h 2476692"/>
                <a:gd name="connsiteX33" fmla="*/ 1834140 w 2672340"/>
                <a:gd name="connsiteY33" fmla="*/ 217679 h 2476692"/>
                <a:gd name="connsiteX34" fmla="*/ 1840490 w 2672340"/>
                <a:gd name="connsiteY34" fmla="*/ 230379 h 2476692"/>
                <a:gd name="connsiteX35" fmla="*/ 1846840 w 2672340"/>
                <a:gd name="connsiteY35" fmla="*/ 239904 h 2476692"/>
                <a:gd name="connsiteX36" fmla="*/ 1846840 w 2672340"/>
                <a:gd name="connsiteY36" fmla="*/ 249429 h 2476692"/>
                <a:gd name="connsiteX37" fmla="*/ 1916690 w 2672340"/>
                <a:gd name="connsiteY37" fmla="*/ 274829 h 2476692"/>
                <a:gd name="connsiteX38" fmla="*/ 1945265 w 2672340"/>
                <a:gd name="connsiteY38" fmla="*/ 268479 h 2476692"/>
                <a:gd name="connsiteX39" fmla="*/ 1961140 w 2672340"/>
                <a:gd name="connsiteY39" fmla="*/ 274829 h 2476692"/>
                <a:gd name="connsiteX40" fmla="*/ 1977015 w 2672340"/>
                <a:gd name="connsiteY40" fmla="*/ 293879 h 2476692"/>
                <a:gd name="connsiteX41" fmla="*/ 2002415 w 2672340"/>
                <a:gd name="connsiteY41" fmla="*/ 297054 h 2476692"/>
                <a:gd name="connsiteX42" fmla="*/ 2002415 w 2672340"/>
                <a:gd name="connsiteY42" fmla="*/ 344679 h 2476692"/>
                <a:gd name="connsiteX43" fmla="*/ 1998496 w 2672340"/>
                <a:gd name="connsiteY43" fmla="*/ 359366 h 2476692"/>
                <a:gd name="connsiteX44" fmla="*/ 1997699 w 2672340"/>
                <a:gd name="connsiteY44" fmla="*/ 359161 h 2476692"/>
                <a:gd name="connsiteX45" fmla="*/ 1996509 w 2672340"/>
                <a:gd name="connsiteY45" fmla="*/ 357863 h 2476692"/>
                <a:gd name="connsiteX46" fmla="*/ 1996082 w 2672340"/>
                <a:gd name="connsiteY46" fmla="*/ 354482 h 2476692"/>
                <a:gd name="connsiteX47" fmla="*/ 1996065 w 2672340"/>
                <a:gd name="connsiteY47" fmla="*/ 357379 h 2476692"/>
                <a:gd name="connsiteX48" fmla="*/ 1996509 w 2672340"/>
                <a:gd name="connsiteY48" fmla="*/ 357863 h 2476692"/>
                <a:gd name="connsiteX49" fmla="*/ 1996639 w 2672340"/>
                <a:gd name="connsiteY49" fmla="*/ 358889 h 2476692"/>
                <a:gd name="connsiteX50" fmla="*/ 1997699 w 2672340"/>
                <a:gd name="connsiteY50" fmla="*/ 359161 h 2476692"/>
                <a:gd name="connsiteX51" fmla="*/ 2030990 w 2672340"/>
                <a:gd name="connsiteY51" fmla="*/ 395479 h 2476692"/>
                <a:gd name="connsiteX52" fmla="*/ 2059565 w 2672340"/>
                <a:gd name="connsiteY52" fmla="*/ 385954 h 2476692"/>
                <a:gd name="connsiteX53" fmla="*/ 2069090 w 2672340"/>
                <a:gd name="connsiteY53" fmla="*/ 379604 h 2476692"/>
                <a:gd name="connsiteX54" fmla="*/ 2078615 w 2672340"/>
                <a:gd name="connsiteY54" fmla="*/ 376429 h 2476692"/>
                <a:gd name="connsiteX55" fmla="*/ 2116715 w 2672340"/>
                <a:gd name="connsiteY55" fmla="*/ 379604 h 2476692"/>
                <a:gd name="connsiteX56" fmla="*/ 2119890 w 2672340"/>
                <a:gd name="connsiteY56" fmla="*/ 411354 h 2476692"/>
                <a:gd name="connsiteX57" fmla="*/ 2129415 w 2672340"/>
                <a:gd name="connsiteY57" fmla="*/ 443104 h 2476692"/>
                <a:gd name="connsiteX58" fmla="*/ 2132590 w 2672340"/>
                <a:gd name="connsiteY58" fmla="*/ 452629 h 2476692"/>
                <a:gd name="connsiteX59" fmla="*/ 2135765 w 2672340"/>
                <a:gd name="connsiteY59" fmla="*/ 462154 h 2476692"/>
                <a:gd name="connsiteX60" fmla="*/ 2142115 w 2672340"/>
                <a:gd name="connsiteY60" fmla="*/ 493904 h 2476692"/>
                <a:gd name="connsiteX61" fmla="*/ 2138940 w 2672340"/>
                <a:gd name="connsiteY61" fmla="*/ 532004 h 2476692"/>
                <a:gd name="connsiteX62" fmla="*/ 2110365 w 2672340"/>
                <a:gd name="connsiteY62" fmla="*/ 547879 h 2476692"/>
                <a:gd name="connsiteX63" fmla="*/ 2097665 w 2672340"/>
                <a:gd name="connsiteY63" fmla="*/ 557404 h 2476692"/>
                <a:gd name="connsiteX64" fmla="*/ 2094490 w 2672340"/>
                <a:gd name="connsiteY64" fmla="*/ 582804 h 2476692"/>
                <a:gd name="connsiteX65" fmla="*/ 2104015 w 2672340"/>
                <a:gd name="connsiteY65" fmla="*/ 608204 h 2476692"/>
                <a:gd name="connsiteX66" fmla="*/ 2110365 w 2672340"/>
                <a:gd name="connsiteY66" fmla="*/ 617729 h 2476692"/>
                <a:gd name="connsiteX67" fmla="*/ 2116715 w 2672340"/>
                <a:gd name="connsiteY67" fmla="*/ 643129 h 2476692"/>
                <a:gd name="connsiteX68" fmla="*/ 2119890 w 2672340"/>
                <a:gd name="connsiteY68" fmla="*/ 719329 h 2476692"/>
                <a:gd name="connsiteX69" fmla="*/ 2123065 w 2672340"/>
                <a:gd name="connsiteY69" fmla="*/ 728854 h 2476692"/>
                <a:gd name="connsiteX70" fmla="*/ 2142115 w 2672340"/>
                <a:gd name="connsiteY70" fmla="*/ 741554 h 2476692"/>
                <a:gd name="connsiteX71" fmla="*/ 2161165 w 2672340"/>
                <a:gd name="connsiteY71" fmla="*/ 738379 h 2476692"/>
                <a:gd name="connsiteX72" fmla="*/ 2170690 w 2672340"/>
                <a:gd name="connsiteY72" fmla="*/ 732029 h 2476692"/>
                <a:gd name="connsiteX73" fmla="*/ 2183390 w 2672340"/>
                <a:gd name="connsiteY73" fmla="*/ 725679 h 2476692"/>
                <a:gd name="connsiteX74" fmla="*/ 2192915 w 2672340"/>
                <a:gd name="connsiteY74" fmla="*/ 719329 h 2476692"/>
                <a:gd name="connsiteX75" fmla="*/ 2211965 w 2672340"/>
                <a:gd name="connsiteY75" fmla="*/ 712979 h 2476692"/>
                <a:gd name="connsiteX76" fmla="*/ 2259590 w 2672340"/>
                <a:gd name="connsiteY76" fmla="*/ 716154 h 2476692"/>
                <a:gd name="connsiteX77" fmla="*/ 2262765 w 2672340"/>
                <a:gd name="connsiteY77" fmla="*/ 732029 h 2476692"/>
                <a:gd name="connsiteX78" fmla="*/ 2272290 w 2672340"/>
                <a:gd name="connsiteY78" fmla="*/ 751079 h 2476692"/>
                <a:gd name="connsiteX79" fmla="*/ 2297690 w 2672340"/>
                <a:gd name="connsiteY79" fmla="*/ 754254 h 2476692"/>
                <a:gd name="connsiteX80" fmla="*/ 2329440 w 2672340"/>
                <a:gd name="connsiteY80" fmla="*/ 738379 h 2476692"/>
                <a:gd name="connsiteX81" fmla="*/ 2338965 w 2672340"/>
                <a:gd name="connsiteY81" fmla="*/ 735204 h 2476692"/>
                <a:gd name="connsiteX82" fmla="*/ 2367540 w 2672340"/>
                <a:gd name="connsiteY82" fmla="*/ 722504 h 2476692"/>
                <a:gd name="connsiteX83" fmla="*/ 2377065 w 2672340"/>
                <a:gd name="connsiteY83" fmla="*/ 719329 h 2476692"/>
                <a:gd name="connsiteX84" fmla="*/ 2391809 w 2672340"/>
                <a:gd name="connsiteY84" fmla="*/ 719329 h 2476692"/>
                <a:gd name="connsiteX85" fmla="*/ 2672340 w 2672340"/>
                <a:gd name="connsiteY85" fmla="*/ 1724217 h 2476692"/>
                <a:gd name="connsiteX86" fmla="*/ 2515178 w 2672340"/>
                <a:gd name="connsiteY86" fmla="*/ 2229042 h 2476692"/>
                <a:gd name="connsiteX87" fmla="*/ 2448503 w 2672340"/>
                <a:gd name="connsiteY87" fmla="*/ 2226660 h 2476692"/>
                <a:gd name="connsiteX88" fmla="*/ 2410403 w 2672340"/>
                <a:gd name="connsiteY88" fmla="*/ 2262379 h 2476692"/>
                <a:gd name="connsiteX89" fmla="*/ 2388971 w 2672340"/>
                <a:gd name="connsiteY89" fmla="*/ 2331435 h 2476692"/>
                <a:gd name="connsiteX90" fmla="*/ 2405640 w 2672340"/>
                <a:gd name="connsiteY90" fmla="*/ 2381442 h 2476692"/>
                <a:gd name="connsiteX91" fmla="*/ 2391353 w 2672340"/>
                <a:gd name="connsiteY91" fmla="*/ 2414779 h 2476692"/>
                <a:gd name="connsiteX92" fmla="*/ 2334203 w 2672340"/>
                <a:gd name="connsiteY92" fmla="*/ 2433829 h 2476692"/>
                <a:gd name="connsiteX93" fmla="*/ 2305628 w 2672340"/>
                <a:gd name="connsiteY93" fmla="*/ 2443354 h 2476692"/>
                <a:gd name="connsiteX94" fmla="*/ 2296103 w 2672340"/>
                <a:gd name="connsiteY94" fmla="*/ 2457642 h 2476692"/>
                <a:gd name="connsiteX95" fmla="*/ 2262765 w 2672340"/>
                <a:gd name="connsiteY95" fmla="*/ 2462404 h 2476692"/>
                <a:gd name="connsiteX96" fmla="*/ 2229428 w 2672340"/>
                <a:gd name="connsiteY96" fmla="*/ 2438592 h 2476692"/>
                <a:gd name="connsiteX97" fmla="*/ 2215140 w 2672340"/>
                <a:gd name="connsiteY97" fmla="*/ 2433829 h 2476692"/>
                <a:gd name="connsiteX98" fmla="*/ 2205615 w 2672340"/>
                <a:gd name="connsiteY98" fmla="*/ 2457642 h 2476692"/>
                <a:gd name="connsiteX99" fmla="*/ 2191328 w 2672340"/>
                <a:gd name="connsiteY99" fmla="*/ 2467167 h 2476692"/>
                <a:gd name="connsiteX100" fmla="*/ 2153228 w 2672340"/>
                <a:gd name="connsiteY100" fmla="*/ 2476692 h 2476692"/>
                <a:gd name="connsiteX101" fmla="*/ 2134178 w 2672340"/>
                <a:gd name="connsiteY101" fmla="*/ 2448117 h 2476692"/>
                <a:gd name="connsiteX102" fmla="*/ 2124653 w 2672340"/>
                <a:gd name="connsiteY102" fmla="*/ 2433829 h 2476692"/>
                <a:gd name="connsiteX103" fmla="*/ 2119890 w 2672340"/>
                <a:gd name="connsiteY103" fmla="*/ 2352867 h 2476692"/>
                <a:gd name="connsiteX104" fmla="*/ 2124653 w 2672340"/>
                <a:gd name="connsiteY104" fmla="*/ 2338579 h 2476692"/>
                <a:gd name="connsiteX105" fmla="*/ 2167515 w 2672340"/>
                <a:gd name="connsiteY105" fmla="*/ 2290954 h 2476692"/>
                <a:gd name="connsiteX106" fmla="*/ 2177040 w 2672340"/>
                <a:gd name="connsiteY106" fmla="*/ 2276667 h 2476692"/>
                <a:gd name="connsiteX107" fmla="*/ 2153228 w 2672340"/>
                <a:gd name="connsiteY107" fmla="*/ 2248092 h 2476692"/>
                <a:gd name="connsiteX108" fmla="*/ 2134178 w 2672340"/>
                <a:gd name="connsiteY108" fmla="*/ 2238567 h 2476692"/>
                <a:gd name="connsiteX109" fmla="*/ 2129415 w 2672340"/>
                <a:gd name="connsiteY109" fmla="*/ 2214754 h 2476692"/>
                <a:gd name="connsiteX110" fmla="*/ 2148465 w 2672340"/>
                <a:gd name="connsiteY110" fmla="*/ 2186179 h 2476692"/>
                <a:gd name="connsiteX111" fmla="*/ 2167515 w 2672340"/>
                <a:gd name="connsiteY111" fmla="*/ 2190942 h 2476692"/>
                <a:gd name="connsiteX112" fmla="*/ 2229428 w 2672340"/>
                <a:gd name="connsiteY112" fmla="*/ 2186179 h 2476692"/>
                <a:gd name="connsiteX113" fmla="*/ 2234190 w 2672340"/>
                <a:gd name="connsiteY113" fmla="*/ 2171892 h 2476692"/>
                <a:gd name="connsiteX114" fmla="*/ 2224665 w 2672340"/>
                <a:gd name="connsiteY114" fmla="*/ 2143317 h 2476692"/>
                <a:gd name="connsiteX115" fmla="*/ 2210378 w 2672340"/>
                <a:gd name="connsiteY115" fmla="*/ 2129029 h 2476692"/>
                <a:gd name="connsiteX116" fmla="*/ 2191328 w 2672340"/>
                <a:gd name="connsiteY116" fmla="*/ 2119504 h 2476692"/>
                <a:gd name="connsiteX117" fmla="*/ 2162753 w 2672340"/>
                <a:gd name="connsiteY117" fmla="*/ 2114742 h 2476692"/>
                <a:gd name="connsiteX118" fmla="*/ 2157990 w 2672340"/>
                <a:gd name="connsiteY118" fmla="*/ 2095692 h 2476692"/>
                <a:gd name="connsiteX119" fmla="*/ 2181803 w 2672340"/>
                <a:gd name="connsiteY119" fmla="*/ 2062354 h 2476692"/>
                <a:gd name="connsiteX120" fmla="*/ 2191328 w 2672340"/>
                <a:gd name="connsiteY120" fmla="*/ 2048067 h 2476692"/>
                <a:gd name="connsiteX121" fmla="*/ 2196090 w 2672340"/>
                <a:gd name="connsiteY121" fmla="*/ 1986154 h 2476692"/>
                <a:gd name="connsiteX122" fmla="*/ 2186565 w 2672340"/>
                <a:gd name="connsiteY122" fmla="*/ 1957579 h 2476692"/>
                <a:gd name="connsiteX123" fmla="*/ 2162753 w 2672340"/>
                <a:gd name="connsiteY123" fmla="*/ 1952817 h 2476692"/>
                <a:gd name="connsiteX124" fmla="*/ 2134178 w 2672340"/>
                <a:gd name="connsiteY124" fmla="*/ 1971867 h 2476692"/>
                <a:gd name="connsiteX125" fmla="*/ 2124653 w 2672340"/>
                <a:gd name="connsiteY125" fmla="*/ 1986154 h 2476692"/>
                <a:gd name="connsiteX126" fmla="*/ 2105603 w 2672340"/>
                <a:gd name="connsiteY126" fmla="*/ 2005204 h 2476692"/>
                <a:gd name="connsiteX127" fmla="*/ 2072265 w 2672340"/>
                <a:gd name="connsiteY127" fmla="*/ 2038542 h 2476692"/>
                <a:gd name="connsiteX128" fmla="*/ 2057978 w 2672340"/>
                <a:gd name="connsiteY128" fmla="*/ 2048067 h 2476692"/>
                <a:gd name="connsiteX129" fmla="*/ 2029403 w 2672340"/>
                <a:gd name="connsiteY129" fmla="*/ 2052829 h 2476692"/>
                <a:gd name="connsiteX130" fmla="*/ 2019878 w 2672340"/>
                <a:gd name="connsiteY130" fmla="*/ 2009967 h 2476692"/>
                <a:gd name="connsiteX131" fmla="*/ 1991303 w 2672340"/>
                <a:gd name="connsiteY131" fmla="*/ 1986154 h 2476692"/>
                <a:gd name="connsiteX132" fmla="*/ 1962728 w 2672340"/>
                <a:gd name="connsiteY132" fmla="*/ 1976629 h 2476692"/>
                <a:gd name="connsiteX133" fmla="*/ 1948440 w 2672340"/>
                <a:gd name="connsiteY133" fmla="*/ 1990917 h 2476692"/>
                <a:gd name="connsiteX134" fmla="*/ 1910340 w 2672340"/>
                <a:gd name="connsiteY134" fmla="*/ 2000442 h 2476692"/>
                <a:gd name="connsiteX135" fmla="*/ 1891290 w 2672340"/>
                <a:gd name="connsiteY135" fmla="*/ 1971867 h 2476692"/>
                <a:gd name="connsiteX136" fmla="*/ 1886528 w 2672340"/>
                <a:gd name="connsiteY136" fmla="*/ 1952817 h 2476692"/>
                <a:gd name="connsiteX137" fmla="*/ 1881765 w 2672340"/>
                <a:gd name="connsiteY137" fmla="*/ 1929004 h 2476692"/>
                <a:gd name="connsiteX138" fmla="*/ 1877003 w 2672340"/>
                <a:gd name="connsiteY138" fmla="*/ 1886142 h 2476692"/>
                <a:gd name="connsiteX139" fmla="*/ 1862715 w 2672340"/>
                <a:gd name="connsiteY139" fmla="*/ 1871854 h 2476692"/>
                <a:gd name="connsiteX140" fmla="*/ 1853190 w 2672340"/>
                <a:gd name="connsiteY140" fmla="*/ 1857567 h 2476692"/>
                <a:gd name="connsiteX141" fmla="*/ 1824615 w 2672340"/>
                <a:gd name="connsiteY141" fmla="*/ 1838517 h 2476692"/>
                <a:gd name="connsiteX142" fmla="*/ 1819853 w 2672340"/>
                <a:gd name="connsiteY142" fmla="*/ 1819467 h 2476692"/>
                <a:gd name="connsiteX143" fmla="*/ 1834140 w 2672340"/>
                <a:gd name="connsiteY143" fmla="*/ 1814704 h 2476692"/>
                <a:gd name="connsiteX144" fmla="*/ 1848428 w 2672340"/>
                <a:gd name="connsiteY144" fmla="*/ 1809942 h 2476692"/>
                <a:gd name="connsiteX145" fmla="*/ 1862715 w 2672340"/>
                <a:gd name="connsiteY145" fmla="*/ 1805179 h 2476692"/>
                <a:gd name="connsiteX146" fmla="*/ 1891290 w 2672340"/>
                <a:gd name="connsiteY146" fmla="*/ 1795654 h 2476692"/>
                <a:gd name="connsiteX147" fmla="*/ 1896053 w 2672340"/>
                <a:gd name="connsiteY147" fmla="*/ 1781367 h 2476692"/>
                <a:gd name="connsiteX148" fmla="*/ 1900815 w 2672340"/>
                <a:gd name="connsiteY148" fmla="*/ 1762317 h 2476692"/>
                <a:gd name="connsiteX149" fmla="*/ 1891290 w 2672340"/>
                <a:gd name="connsiteY149" fmla="*/ 1676592 h 2476692"/>
                <a:gd name="connsiteX150" fmla="*/ 1719840 w 2672340"/>
                <a:gd name="connsiteY150" fmla="*/ 1671829 h 2476692"/>
                <a:gd name="connsiteX151" fmla="*/ 1710315 w 2672340"/>
                <a:gd name="connsiteY151" fmla="*/ 1690879 h 2476692"/>
                <a:gd name="connsiteX152" fmla="*/ 1696028 w 2672340"/>
                <a:gd name="connsiteY152" fmla="*/ 1709929 h 2476692"/>
                <a:gd name="connsiteX153" fmla="*/ 1681740 w 2672340"/>
                <a:gd name="connsiteY153" fmla="*/ 1724217 h 2476692"/>
                <a:gd name="connsiteX154" fmla="*/ 1676978 w 2672340"/>
                <a:gd name="connsiteY154" fmla="*/ 1738504 h 2476692"/>
                <a:gd name="connsiteX155" fmla="*/ 1667453 w 2672340"/>
                <a:gd name="connsiteY155" fmla="*/ 1762317 h 2476692"/>
                <a:gd name="connsiteX156" fmla="*/ 1643640 w 2672340"/>
                <a:gd name="connsiteY156" fmla="*/ 1795654 h 2476692"/>
                <a:gd name="connsiteX157" fmla="*/ 1291215 w 2672340"/>
                <a:gd name="connsiteY157" fmla="*/ 1938529 h 2476692"/>
                <a:gd name="connsiteX158" fmla="*/ 1162628 w 2672340"/>
                <a:gd name="connsiteY158" fmla="*/ 1833754 h 2476692"/>
                <a:gd name="connsiteX159" fmla="*/ 1091190 w 2672340"/>
                <a:gd name="connsiteY159" fmla="*/ 1843279 h 2476692"/>
                <a:gd name="connsiteX160" fmla="*/ 1014990 w 2672340"/>
                <a:gd name="connsiteY160" fmla="*/ 1786129 h 2476692"/>
                <a:gd name="connsiteX161" fmla="*/ 1024515 w 2672340"/>
                <a:gd name="connsiteY161" fmla="*/ 1733742 h 2476692"/>
                <a:gd name="connsiteX162" fmla="*/ 957840 w 2672340"/>
                <a:gd name="connsiteY162" fmla="*/ 1719454 h 2476692"/>
                <a:gd name="connsiteX163" fmla="*/ 767340 w 2672340"/>
                <a:gd name="connsiteY163" fmla="*/ 1671829 h 2476692"/>
                <a:gd name="connsiteX164" fmla="*/ 743528 w 2672340"/>
                <a:gd name="connsiteY164" fmla="*/ 1681354 h 2476692"/>
                <a:gd name="connsiteX165" fmla="*/ 729240 w 2672340"/>
                <a:gd name="connsiteY165" fmla="*/ 1686117 h 2476692"/>
                <a:gd name="connsiteX166" fmla="*/ 700665 w 2672340"/>
                <a:gd name="connsiteY166" fmla="*/ 1667067 h 2476692"/>
                <a:gd name="connsiteX167" fmla="*/ 657803 w 2672340"/>
                <a:gd name="connsiteY167" fmla="*/ 1624204 h 2476692"/>
                <a:gd name="connsiteX168" fmla="*/ 605415 w 2672340"/>
                <a:gd name="connsiteY168" fmla="*/ 1638492 h 2476692"/>
                <a:gd name="connsiteX169" fmla="*/ 533978 w 2672340"/>
                <a:gd name="connsiteY169" fmla="*/ 1543242 h 2476692"/>
                <a:gd name="connsiteX170" fmla="*/ 548265 w 2672340"/>
                <a:gd name="connsiteY170" fmla="*/ 1528954 h 2476692"/>
                <a:gd name="connsiteX171" fmla="*/ 567315 w 2672340"/>
                <a:gd name="connsiteY171" fmla="*/ 1514667 h 2476692"/>
                <a:gd name="connsiteX172" fmla="*/ 581603 w 2672340"/>
                <a:gd name="connsiteY172" fmla="*/ 1476567 h 2476692"/>
                <a:gd name="connsiteX173" fmla="*/ 567315 w 2672340"/>
                <a:gd name="connsiteY173" fmla="*/ 1471804 h 2476692"/>
                <a:gd name="connsiteX174" fmla="*/ 543503 w 2672340"/>
                <a:gd name="connsiteY174" fmla="*/ 1462279 h 2476692"/>
                <a:gd name="connsiteX175" fmla="*/ 562553 w 2672340"/>
                <a:gd name="connsiteY175" fmla="*/ 1428942 h 2476692"/>
                <a:gd name="connsiteX176" fmla="*/ 567315 w 2672340"/>
                <a:gd name="connsiteY176" fmla="*/ 1414654 h 2476692"/>
                <a:gd name="connsiteX177" fmla="*/ 586365 w 2672340"/>
                <a:gd name="connsiteY177" fmla="*/ 1386079 h 2476692"/>
                <a:gd name="connsiteX178" fmla="*/ 619703 w 2672340"/>
                <a:gd name="connsiteY178" fmla="*/ 1362267 h 2476692"/>
                <a:gd name="connsiteX179" fmla="*/ 633990 w 2672340"/>
                <a:gd name="connsiteY179" fmla="*/ 1343217 h 2476692"/>
                <a:gd name="connsiteX180" fmla="*/ 662565 w 2672340"/>
                <a:gd name="connsiteY180" fmla="*/ 1319404 h 2476692"/>
                <a:gd name="connsiteX181" fmla="*/ 667328 w 2672340"/>
                <a:gd name="connsiteY181" fmla="*/ 1281304 h 2476692"/>
                <a:gd name="connsiteX182" fmla="*/ 638753 w 2672340"/>
                <a:gd name="connsiteY182" fmla="*/ 1267017 h 2476692"/>
                <a:gd name="connsiteX183" fmla="*/ 633990 w 2672340"/>
                <a:gd name="connsiteY183" fmla="*/ 1252729 h 2476692"/>
                <a:gd name="connsiteX184" fmla="*/ 643515 w 2672340"/>
                <a:gd name="connsiteY184" fmla="*/ 1238442 h 2476692"/>
                <a:gd name="connsiteX185" fmla="*/ 672090 w 2672340"/>
                <a:gd name="connsiteY185" fmla="*/ 1219392 h 2476692"/>
                <a:gd name="connsiteX186" fmla="*/ 672090 w 2672340"/>
                <a:gd name="connsiteY186" fmla="*/ 1162242 h 2476692"/>
                <a:gd name="connsiteX187" fmla="*/ 662565 w 2672340"/>
                <a:gd name="connsiteY187" fmla="*/ 1147954 h 2476692"/>
                <a:gd name="connsiteX188" fmla="*/ 619703 w 2672340"/>
                <a:gd name="connsiteY188" fmla="*/ 1167004 h 2476692"/>
                <a:gd name="connsiteX189" fmla="*/ 610178 w 2672340"/>
                <a:gd name="connsiteY189" fmla="*/ 1152717 h 2476692"/>
                <a:gd name="connsiteX190" fmla="*/ 605415 w 2672340"/>
                <a:gd name="connsiteY190" fmla="*/ 1105092 h 2476692"/>
                <a:gd name="connsiteX191" fmla="*/ 595890 w 2672340"/>
                <a:gd name="connsiteY191" fmla="*/ 1086042 h 2476692"/>
                <a:gd name="connsiteX192" fmla="*/ 576840 w 2672340"/>
                <a:gd name="connsiteY192" fmla="*/ 1057467 h 2476692"/>
                <a:gd name="connsiteX193" fmla="*/ 572078 w 2672340"/>
                <a:gd name="connsiteY193" fmla="*/ 1043179 h 2476692"/>
                <a:gd name="connsiteX194" fmla="*/ 562553 w 2672340"/>
                <a:gd name="connsiteY194" fmla="*/ 962217 h 2476692"/>
                <a:gd name="connsiteX195" fmla="*/ 462540 w 2672340"/>
                <a:gd name="connsiteY195" fmla="*/ 1043179 h 2476692"/>
                <a:gd name="connsiteX196" fmla="*/ 433965 w 2672340"/>
                <a:gd name="connsiteY196" fmla="*/ 952692 h 2476692"/>
                <a:gd name="connsiteX197" fmla="*/ 343478 w 2672340"/>
                <a:gd name="connsiteY197" fmla="*/ 862204 h 2476692"/>
                <a:gd name="connsiteX198" fmla="*/ 262515 w 2672340"/>
                <a:gd name="connsiteY198" fmla="*/ 871729 h 2476692"/>
                <a:gd name="connsiteX199" fmla="*/ 205365 w 2672340"/>
                <a:gd name="connsiteY199" fmla="*/ 919354 h 2476692"/>
                <a:gd name="connsiteX200" fmla="*/ 95828 w 2672340"/>
                <a:gd name="connsiteY200" fmla="*/ 986029 h 2476692"/>
                <a:gd name="connsiteX201" fmla="*/ 24390 w 2672340"/>
                <a:gd name="connsiteY201" fmla="*/ 986029 h 2476692"/>
                <a:gd name="connsiteX202" fmla="*/ 14865 w 2672340"/>
                <a:gd name="connsiteY202" fmla="*/ 947929 h 2476692"/>
                <a:gd name="connsiteX203" fmla="*/ 578 w 2672340"/>
                <a:gd name="connsiteY203" fmla="*/ 933642 h 2476692"/>
                <a:gd name="connsiteX204" fmla="*/ 5340 w 2672340"/>
                <a:gd name="connsiteY204" fmla="*/ 890779 h 2476692"/>
                <a:gd name="connsiteX205" fmla="*/ 57728 w 2672340"/>
                <a:gd name="connsiteY205" fmla="*/ 781242 h 2476692"/>
                <a:gd name="connsiteX206" fmla="*/ 238703 w 2672340"/>
                <a:gd name="connsiteY206" fmla="*/ 543117 h 2476692"/>
                <a:gd name="connsiteX207" fmla="*/ 333953 w 2672340"/>
                <a:gd name="connsiteY207" fmla="*/ 543117 h 2476692"/>
                <a:gd name="connsiteX208" fmla="*/ 429203 w 2672340"/>
                <a:gd name="connsiteY208" fmla="*/ 524067 h 2476692"/>
                <a:gd name="connsiteX209" fmla="*/ 467303 w 2672340"/>
                <a:gd name="connsiteY209" fmla="*/ 538354 h 2476692"/>
                <a:gd name="connsiteX210" fmla="*/ 481590 w 2672340"/>
                <a:gd name="connsiteY210" fmla="*/ 528829 h 2476692"/>
                <a:gd name="connsiteX211" fmla="*/ 486353 w 2672340"/>
                <a:gd name="connsiteY211" fmla="*/ 514542 h 2476692"/>
                <a:gd name="connsiteX212" fmla="*/ 491115 w 2672340"/>
                <a:gd name="connsiteY212" fmla="*/ 466917 h 2476692"/>
                <a:gd name="connsiteX213" fmla="*/ 481590 w 2672340"/>
                <a:gd name="connsiteY213" fmla="*/ 438342 h 2476692"/>
                <a:gd name="connsiteX214" fmla="*/ 462540 w 2672340"/>
                <a:gd name="connsiteY214" fmla="*/ 409767 h 2476692"/>
                <a:gd name="connsiteX215" fmla="*/ 472065 w 2672340"/>
                <a:gd name="connsiteY215" fmla="*/ 347854 h 2476692"/>
                <a:gd name="connsiteX216" fmla="*/ 505403 w 2672340"/>
                <a:gd name="connsiteY216" fmla="*/ 295467 h 2476692"/>
                <a:gd name="connsiteX217" fmla="*/ 514928 w 2672340"/>
                <a:gd name="connsiteY217" fmla="*/ 281179 h 2476692"/>
                <a:gd name="connsiteX218" fmla="*/ 519690 w 2672340"/>
                <a:gd name="connsiteY218" fmla="*/ 257367 h 2476692"/>
                <a:gd name="connsiteX219" fmla="*/ 529215 w 2672340"/>
                <a:gd name="connsiteY219" fmla="*/ 243079 h 2476692"/>
                <a:gd name="connsiteX220" fmla="*/ 538740 w 2672340"/>
                <a:gd name="connsiteY220" fmla="*/ 204979 h 2476692"/>
                <a:gd name="connsiteX221" fmla="*/ 548265 w 2672340"/>
                <a:gd name="connsiteY221" fmla="*/ 185929 h 2476692"/>
                <a:gd name="connsiteX222" fmla="*/ 553028 w 2672340"/>
                <a:gd name="connsiteY222" fmla="*/ 171642 h 2476692"/>
                <a:gd name="connsiteX223" fmla="*/ 562553 w 2672340"/>
                <a:gd name="connsiteY223" fmla="*/ 157354 h 2476692"/>
                <a:gd name="connsiteX224" fmla="*/ 567315 w 2672340"/>
                <a:gd name="connsiteY224" fmla="*/ 133542 h 2476692"/>
                <a:gd name="connsiteX225" fmla="*/ 576840 w 2672340"/>
                <a:gd name="connsiteY225" fmla="*/ 100204 h 2476692"/>
                <a:gd name="connsiteX226" fmla="*/ 581603 w 2672340"/>
                <a:gd name="connsiteY226" fmla="*/ 81154 h 2476692"/>
                <a:gd name="connsiteX227" fmla="*/ 595890 w 2672340"/>
                <a:gd name="connsiteY227" fmla="*/ 33529 h 2476692"/>
                <a:gd name="connsiteX228" fmla="*/ 619703 w 2672340"/>
                <a:gd name="connsiteY228" fmla="*/ 192 h 2476692"/>
                <a:gd name="connsiteX229" fmla="*/ 621543 w 2672340"/>
                <a:gd name="connsiteY229" fmla="*/ 0 h 2476692"/>
                <a:gd name="connsiteX0" fmla="*/ 621543 w 2672340"/>
                <a:gd name="connsiteY0" fmla="*/ 0 h 2476692"/>
                <a:gd name="connsiteX1" fmla="*/ 637165 w 2672340"/>
                <a:gd name="connsiteY1" fmla="*/ 20829 h 2476692"/>
                <a:gd name="connsiteX2" fmla="*/ 643515 w 2672340"/>
                <a:gd name="connsiteY2" fmla="*/ 30354 h 2476692"/>
                <a:gd name="connsiteX3" fmla="*/ 646690 w 2672340"/>
                <a:gd name="connsiteY3" fmla="*/ 74804 h 2476692"/>
                <a:gd name="connsiteX4" fmla="*/ 656215 w 2672340"/>
                <a:gd name="connsiteY4" fmla="*/ 100204 h 2476692"/>
                <a:gd name="connsiteX5" fmla="*/ 757815 w 2672340"/>
                <a:gd name="connsiteY5" fmla="*/ 119254 h 2476692"/>
                <a:gd name="connsiteX6" fmla="*/ 780040 w 2672340"/>
                <a:gd name="connsiteY6" fmla="*/ 135129 h 2476692"/>
                <a:gd name="connsiteX7" fmla="*/ 789565 w 2672340"/>
                <a:gd name="connsiteY7" fmla="*/ 138304 h 2476692"/>
                <a:gd name="connsiteX8" fmla="*/ 808615 w 2672340"/>
                <a:gd name="connsiteY8" fmla="*/ 154179 h 2476692"/>
                <a:gd name="connsiteX9" fmla="*/ 824490 w 2672340"/>
                <a:gd name="connsiteY9" fmla="*/ 176404 h 2476692"/>
                <a:gd name="connsiteX10" fmla="*/ 827665 w 2672340"/>
                <a:gd name="connsiteY10" fmla="*/ 185929 h 2476692"/>
                <a:gd name="connsiteX11" fmla="*/ 853065 w 2672340"/>
                <a:gd name="connsiteY11" fmla="*/ 201804 h 2476692"/>
                <a:gd name="connsiteX12" fmla="*/ 929265 w 2672340"/>
                <a:gd name="connsiteY12" fmla="*/ 220854 h 2476692"/>
                <a:gd name="connsiteX13" fmla="*/ 957840 w 2672340"/>
                <a:gd name="connsiteY13" fmla="*/ 198629 h 2476692"/>
                <a:gd name="connsiteX14" fmla="*/ 980065 w 2672340"/>
                <a:gd name="connsiteY14" fmla="*/ 182754 h 2476692"/>
                <a:gd name="connsiteX15" fmla="*/ 989590 w 2672340"/>
                <a:gd name="connsiteY15" fmla="*/ 176404 h 2476692"/>
                <a:gd name="connsiteX16" fmla="*/ 1011815 w 2672340"/>
                <a:gd name="connsiteY16" fmla="*/ 173229 h 2476692"/>
                <a:gd name="connsiteX17" fmla="*/ 1027690 w 2672340"/>
                <a:gd name="connsiteY17" fmla="*/ 166879 h 2476692"/>
                <a:gd name="connsiteX18" fmla="*/ 1094365 w 2672340"/>
                <a:gd name="connsiteY18" fmla="*/ 220854 h 2476692"/>
                <a:gd name="connsiteX19" fmla="*/ 1186440 w 2672340"/>
                <a:gd name="connsiteY19" fmla="*/ 217679 h 2476692"/>
                <a:gd name="connsiteX20" fmla="*/ 1278515 w 2672340"/>
                <a:gd name="connsiteY20" fmla="*/ 170054 h 2476692"/>
                <a:gd name="connsiteX21" fmla="*/ 1326140 w 2672340"/>
                <a:gd name="connsiteY21" fmla="*/ 74804 h 2476692"/>
                <a:gd name="connsiteX22" fmla="*/ 1373765 w 2672340"/>
                <a:gd name="connsiteY22" fmla="*/ 122429 h 2476692"/>
                <a:gd name="connsiteX23" fmla="*/ 1459490 w 2672340"/>
                <a:gd name="connsiteY23" fmla="*/ 144654 h 2476692"/>
                <a:gd name="connsiteX24" fmla="*/ 1589665 w 2672340"/>
                <a:gd name="connsiteY24" fmla="*/ 144654 h 2476692"/>
                <a:gd name="connsiteX25" fmla="*/ 1697615 w 2672340"/>
                <a:gd name="connsiteY25" fmla="*/ 97029 h 2476692"/>
                <a:gd name="connsiteX26" fmla="*/ 1726190 w 2672340"/>
                <a:gd name="connsiteY26" fmla="*/ 103379 h 2476692"/>
                <a:gd name="connsiteX27" fmla="*/ 1738890 w 2672340"/>
                <a:gd name="connsiteY27" fmla="*/ 122429 h 2476692"/>
                <a:gd name="connsiteX28" fmla="*/ 1732540 w 2672340"/>
                <a:gd name="connsiteY28" fmla="*/ 141479 h 2476692"/>
                <a:gd name="connsiteX29" fmla="*/ 1723015 w 2672340"/>
                <a:gd name="connsiteY29" fmla="*/ 154179 h 2476692"/>
                <a:gd name="connsiteX30" fmla="*/ 1802390 w 2672340"/>
                <a:gd name="connsiteY30" fmla="*/ 144654 h 2476692"/>
                <a:gd name="connsiteX31" fmla="*/ 1824615 w 2672340"/>
                <a:gd name="connsiteY31" fmla="*/ 160529 h 2476692"/>
                <a:gd name="connsiteX32" fmla="*/ 1827790 w 2672340"/>
                <a:gd name="connsiteY32" fmla="*/ 195454 h 2476692"/>
                <a:gd name="connsiteX33" fmla="*/ 1834140 w 2672340"/>
                <a:gd name="connsiteY33" fmla="*/ 217679 h 2476692"/>
                <a:gd name="connsiteX34" fmla="*/ 1840490 w 2672340"/>
                <a:gd name="connsiteY34" fmla="*/ 230379 h 2476692"/>
                <a:gd name="connsiteX35" fmla="*/ 1846840 w 2672340"/>
                <a:gd name="connsiteY35" fmla="*/ 239904 h 2476692"/>
                <a:gd name="connsiteX36" fmla="*/ 1846840 w 2672340"/>
                <a:gd name="connsiteY36" fmla="*/ 249429 h 2476692"/>
                <a:gd name="connsiteX37" fmla="*/ 1916690 w 2672340"/>
                <a:gd name="connsiteY37" fmla="*/ 274829 h 2476692"/>
                <a:gd name="connsiteX38" fmla="*/ 1945265 w 2672340"/>
                <a:gd name="connsiteY38" fmla="*/ 268479 h 2476692"/>
                <a:gd name="connsiteX39" fmla="*/ 1961140 w 2672340"/>
                <a:gd name="connsiteY39" fmla="*/ 274829 h 2476692"/>
                <a:gd name="connsiteX40" fmla="*/ 1977015 w 2672340"/>
                <a:gd name="connsiteY40" fmla="*/ 293879 h 2476692"/>
                <a:gd name="connsiteX41" fmla="*/ 2002415 w 2672340"/>
                <a:gd name="connsiteY41" fmla="*/ 297054 h 2476692"/>
                <a:gd name="connsiteX42" fmla="*/ 2002415 w 2672340"/>
                <a:gd name="connsiteY42" fmla="*/ 344679 h 2476692"/>
                <a:gd name="connsiteX43" fmla="*/ 1998496 w 2672340"/>
                <a:gd name="connsiteY43" fmla="*/ 359366 h 2476692"/>
                <a:gd name="connsiteX44" fmla="*/ 1997699 w 2672340"/>
                <a:gd name="connsiteY44" fmla="*/ 359161 h 2476692"/>
                <a:gd name="connsiteX45" fmla="*/ 1996509 w 2672340"/>
                <a:gd name="connsiteY45" fmla="*/ 357863 h 2476692"/>
                <a:gd name="connsiteX46" fmla="*/ 1996082 w 2672340"/>
                <a:gd name="connsiteY46" fmla="*/ 354482 h 2476692"/>
                <a:gd name="connsiteX47" fmla="*/ 1996065 w 2672340"/>
                <a:gd name="connsiteY47" fmla="*/ 357379 h 2476692"/>
                <a:gd name="connsiteX48" fmla="*/ 1996509 w 2672340"/>
                <a:gd name="connsiteY48" fmla="*/ 357863 h 2476692"/>
                <a:gd name="connsiteX49" fmla="*/ 1996639 w 2672340"/>
                <a:gd name="connsiteY49" fmla="*/ 358889 h 2476692"/>
                <a:gd name="connsiteX50" fmla="*/ 1997699 w 2672340"/>
                <a:gd name="connsiteY50" fmla="*/ 359161 h 2476692"/>
                <a:gd name="connsiteX51" fmla="*/ 2030990 w 2672340"/>
                <a:gd name="connsiteY51" fmla="*/ 395479 h 2476692"/>
                <a:gd name="connsiteX52" fmla="*/ 2059565 w 2672340"/>
                <a:gd name="connsiteY52" fmla="*/ 385954 h 2476692"/>
                <a:gd name="connsiteX53" fmla="*/ 2069090 w 2672340"/>
                <a:gd name="connsiteY53" fmla="*/ 379604 h 2476692"/>
                <a:gd name="connsiteX54" fmla="*/ 2078615 w 2672340"/>
                <a:gd name="connsiteY54" fmla="*/ 376429 h 2476692"/>
                <a:gd name="connsiteX55" fmla="*/ 2116715 w 2672340"/>
                <a:gd name="connsiteY55" fmla="*/ 379604 h 2476692"/>
                <a:gd name="connsiteX56" fmla="*/ 2119890 w 2672340"/>
                <a:gd name="connsiteY56" fmla="*/ 411354 h 2476692"/>
                <a:gd name="connsiteX57" fmla="*/ 2129415 w 2672340"/>
                <a:gd name="connsiteY57" fmla="*/ 443104 h 2476692"/>
                <a:gd name="connsiteX58" fmla="*/ 2132590 w 2672340"/>
                <a:gd name="connsiteY58" fmla="*/ 452629 h 2476692"/>
                <a:gd name="connsiteX59" fmla="*/ 2135765 w 2672340"/>
                <a:gd name="connsiteY59" fmla="*/ 462154 h 2476692"/>
                <a:gd name="connsiteX60" fmla="*/ 2142115 w 2672340"/>
                <a:gd name="connsiteY60" fmla="*/ 493904 h 2476692"/>
                <a:gd name="connsiteX61" fmla="*/ 2138940 w 2672340"/>
                <a:gd name="connsiteY61" fmla="*/ 532004 h 2476692"/>
                <a:gd name="connsiteX62" fmla="*/ 2110365 w 2672340"/>
                <a:gd name="connsiteY62" fmla="*/ 547879 h 2476692"/>
                <a:gd name="connsiteX63" fmla="*/ 2097665 w 2672340"/>
                <a:gd name="connsiteY63" fmla="*/ 557404 h 2476692"/>
                <a:gd name="connsiteX64" fmla="*/ 2094490 w 2672340"/>
                <a:gd name="connsiteY64" fmla="*/ 582804 h 2476692"/>
                <a:gd name="connsiteX65" fmla="*/ 2104015 w 2672340"/>
                <a:gd name="connsiteY65" fmla="*/ 608204 h 2476692"/>
                <a:gd name="connsiteX66" fmla="*/ 2110365 w 2672340"/>
                <a:gd name="connsiteY66" fmla="*/ 617729 h 2476692"/>
                <a:gd name="connsiteX67" fmla="*/ 2116715 w 2672340"/>
                <a:gd name="connsiteY67" fmla="*/ 643129 h 2476692"/>
                <a:gd name="connsiteX68" fmla="*/ 2119890 w 2672340"/>
                <a:gd name="connsiteY68" fmla="*/ 719329 h 2476692"/>
                <a:gd name="connsiteX69" fmla="*/ 2123065 w 2672340"/>
                <a:gd name="connsiteY69" fmla="*/ 728854 h 2476692"/>
                <a:gd name="connsiteX70" fmla="*/ 2142115 w 2672340"/>
                <a:gd name="connsiteY70" fmla="*/ 741554 h 2476692"/>
                <a:gd name="connsiteX71" fmla="*/ 2161165 w 2672340"/>
                <a:gd name="connsiteY71" fmla="*/ 738379 h 2476692"/>
                <a:gd name="connsiteX72" fmla="*/ 2170690 w 2672340"/>
                <a:gd name="connsiteY72" fmla="*/ 732029 h 2476692"/>
                <a:gd name="connsiteX73" fmla="*/ 2183390 w 2672340"/>
                <a:gd name="connsiteY73" fmla="*/ 725679 h 2476692"/>
                <a:gd name="connsiteX74" fmla="*/ 2192915 w 2672340"/>
                <a:gd name="connsiteY74" fmla="*/ 719329 h 2476692"/>
                <a:gd name="connsiteX75" fmla="*/ 2211965 w 2672340"/>
                <a:gd name="connsiteY75" fmla="*/ 712979 h 2476692"/>
                <a:gd name="connsiteX76" fmla="*/ 2259590 w 2672340"/>
                <a:gd name="connsiteY76" fmla="*/ 716154 h 2476692"/>
                <a:gd name="connsiteX77" fmla="*/ 2262765 w 2672340"/>
                <a:gd name="connsiteY77" fmla="*/ 732029 h 2476692"/>
                <a:gd name="connsiteX78" fmla="*/ 2272290 w 2672340"/>
                <a:gd name="connsiteY78" fmla="*/ 751079 h 2476692"/>
                <a:gd name="connsiteX79" fmla="*/ 2297690 w 2672340"/>
                <a:gd name="connsiteY79" fmla="*/ 754254 h 2476692"/>
                <a:gd name="connsiteX80" fmla="*/ 2329440 w 2672340"/>
                <a:gd name="connsiteY80" fmla="*/ 738379 h 2476692"/>
                <a:gd name="connsiteX81" fmla="*/ 2338965 w 2672340"/>
                <a:gd name="connsiteY81" fmla="*/ 735204 h 2476692"/>
                <a:gd name="connsiteX82" fmla="*/ 2367540 w 2672340"/>
                <a:gd name="connsiteY82" fmla="*/ 722504 h 2476692"/>
                <a:gd name="connsiteX83" fmla="*/ 2377065 w 2672340"/>
                <a:gd name="connsiteY83" fmla="*/ 719329 h 2476692"/>
                <a:gd name="connsiteX84" fmla="*/ 2391809 w 2672340"/>
                <a:gd name="connsiteY84" fmla="*/ 719329 h 2476692"/>
                <a:gd name="connsiteX85" fmla="*/ 2672340 w 2672340"/>
                <a:gd name="connsiteY85" fmla="*/ 1724217 h 2476692"/>
                <a:gd name="connsiteX86" fmla="*/ 2458028 w 2672340"/>
                <a:gd name="connsiteY86" fmla="*/ 2186180 h 2476692"/>
                <a:gd name="connsiteX87" fmla="*/ 2448503 w 2672340"/>
                <a:gd name="connsiteY87" fmla="*/ 2226660 h 2476692"/>
                <a:gd name="connsiteX88" fmla="*/ 2410403 w 2672340"/>
                <a:gd name="connsiteY88" fmla="*/ 2262379 h 2476692"/>
                <a:gd name="connsiteX89" fmla="*/ 2388971 w 2672340"/>
                <a:gd name="connsiteY89" fmla="*/ 2331435 h 2476692"/>
                <a:gd name="connsiteX90" fmla="*/ 2405640 w 2672340"/>
                <a:gd name="connsiteY90" fmla="*/ 2381442 h 2476692"/>
                <a:gd name="connsiteX91" fmla="*/ 2391353 w 2672340"/>
                <a:gd name="connsiteY91" fmla="*/ 2414779 h 2476692"/>
                <a:gd name="connsiteX92" fmla="*/ 2334203 w 2672340"/>
                <a:gd name="connsiteY92" fmla="*/ 2433829 h 2476692"/>
                <a:gd name="connsiteX93" fmla="*/ 2305628 w 2672340"/>
                <a:gd name="connsiteY93" fmla="*/ 2443354 h 2476692"/>
                <a:gd name="connsiteX94" fmla="*/ 2296103 w 2672340"/>
                <a:gd name="connsiteY94" fmla="*/ 2457642 h 2476692"/>
                <a:gd name="connsiteX95" fmla="*/ 2262765 w 2672340"/>
                <a:gd name="connsiteY95" fmla="*/ 2462404 h 2476692"/>
                <a:gd name="connsiteX96" fmla="*/ 2229428 w 2672340"/>
                <a:gd name="connsiteY96" fmla="*/ 2438592 h 2476692"/>
                <a:gd name="connsiteX97" fmla="*/ 2215140 w 2672340"/>
                <a:gd name="connsiteY97" fmla="*/ 2433829 h 2476692"/>
                <a:gd name="connsiteX98" fmla="*/ 2205615 w 2672340"/>
                <a:gd name="connsiteY98" fmla="*/ 2457642 h 2476692"/>
                <a:gd name="connsiteX99" fmla="*/ 2191328 w 2672340"/>
                <a:gd name="connsiteY99" fmla="*/ 2467167 h 2476692"/>
                <a:gd name="connsiteX100" fmla="*/ 2153228 w 2672340"/>
                <a:gd name="connsiteY100" fmla="*/ 2476692 h 2476692"/>
                <a:gd name="connsiteX101" fmla="*/ 2134178 w 2672340"/>
                <a:gd name="connsiteY101" fmla="*/ 2448117 h 2476692"/>
                <a:gd name="connsiteX102" fmla="*/ 2124653 w 2672340"/>
                <a:gd name="connsiteY102" fmla="*/ 2433829 h 2476692"/>
                <a:gd name="connsiteX103" fmla="*/ 2119890 w 2672340"/>
                <a:gd name="connsiteY103" fmla="*/ 2352867 h 2476692"/>
                <a:gd name="connsiteX104" fmla="*/ 2124653 w 2672340"/>
                <a:gd name="connsiteY104" fmla="*/ 2338579 h 2476692"/>
                <a:gd name="connsiteX105" fmla="*/ 2167515 w 2672340"/>
                <a:gd name="connsiteY105" fmla="*/ 2290954 h 2476692"/>
                <a:gd name="connsiteX106" fmla="*/ 2177040 w 2672340"/>
                <a:gd name="connsiteY106" fmla="*/ 2276667 h 2476692"/>
                <a:gd name="connsiteX107" fmla="*/ 2153228 w 2672340"/>
                <a:gd name="connsiteY107" fmla="*/ 2248092 h 2476692"/>
                <a:gd name="connsiteX108" fmla="*/ 2134178 w 2672340"/>
                <a:gd name="connsiteY108" fmla="*/ 2238567 h 2476692"/>
                <a:gd name="connsiteX109" fmla="*/ 2129415 w 2672340"/>
                <a:gd name="connsiteY109" fmla="*/ 2214754 h 2476692"/>
                <a:gd name="connsiteX110" fmla="*/ 2148465 w 2672340"/>
                <a:gd name="connsiteY110" fmla="*/ 2186179 h 2476692"/>
                <a:gd name="connsiteX111" fmla="*/ 2167515 w 2672340"/>
                <a:gd name="connsiteY111" fmla="*/ 2190942 h 2476692"/>
                <a:gd name="connsiteX112" fmla="*/ 2229428 w 2672340"/>
                <a:gd name="connsiteY112" fmla="*/ 2186179 h 2476692"/>
                <a:gd name="connsiteX113" fmla="*/ 2234190 w 2672340"/>
                <a:gd name="connsiteY113" fmla="*/ 2171892 h 2476692"/>
                <a:gd name="connsiteX114" fmla="*/ 2224665 w 2672340"/>
                <a:gd name="connsiteY114" fmla="*/ 2143317 h 2476692"/>
                <a:gd name="connsiteX115" fmla="*/ 2210378 w 2672340"/>
                <a:gd name="connsiteY115" fmla="*/ 2129029 h 2476692"/>
                <a:gd name="connsiteX116" fmla="*/ 2191328 w 2672340"/>
                <a:gd name="connsiteY116" fmla="*/ 2119504 h 2476692"/>
                <a:gd name="connsiteX117" fmla="*/ 2162753 w 2672340"/>
                <a:gd name="connsiteY117" fmla="*/ 2114742 h 2476692"/>
                <a:gd name="connsiteX118" fmla="*/ 2157990 w 2672340"/>
                <a:gd name="connsiteY118" fmla="*/ 2095692 h 2476692"/>
                <a:gd name="connsiteX119" fmla="*/ 2181803 w 2672340"/>
                <a:gd name="connsiteY119" fmla="*/ 2062354 h 2476692"/>
                <a:gd name="connsiteX120" fmla="*/ 2191328 w 2672340"/>
                <a:gd name="connsiteY120" fmla="*/ 2048067 h 2476692"/>
                <a:gd name="connsiteX121" fmla="*/ 2196090 w 2672340"/>
                <a:gd name="connsiteY121" fmla="*/ 1986154 h 2476692"/>
                <a:gd name="connsiteX122" fmla="*/ 2186565 w 2672340"/>
                <a:gd name="connsiteY122" fmla="*/ 1957579 h 2476692"/>
                <a:gd name="connsiteX123" fmla="*/ 2162753 w 2672340"/>
                <a:gd name="connsiteY123" fmla="*/ 1952817 h 2476692"/>
                <a:gd name="connsiteX124" fmla="*/ 2134178 w 2672340"/>
                <a:gd name="connsiteY124" fmla="*/ 1971867 h 2476692"/>
                <a:gd name="connsiteX125" fmla="*/ 2124653 w 2672340"/>
                <a:gd name="connsiteY125" fmla="*/ 1986154 h 2476692"/>
                <a:gd name="connsiteX126" fmla="*/ 2105603 w 2672340"/>
                <a:gd name="connsiteY126" fmla="*/ 2005204 h 2476692"/>
                <a:gd name="connsiteX127" fmla="*/ 2072265 w 2672340"/>
                <a:gd name="connsiteY127" fmla="*/ 2038542 h 2476692"/>
                <a:gd name="connsiteX128" fmla="*/ 2057978 w 2672340"/>
                <a:gd name="connsiteY128" fmla="*/ 2048067 h 2476692"/>
                <a:gd name="connsiteX129" fmla="*/ 2029403 w 2672340"/>
                <a:gd name="connsiteY129" fmla="*/ 2052829 h 2476692"/>
                <a:gd name="connsiteX130" fmla="*/ 2019878 w 2672340"/>
                <a:gd name="connsiteY130" fmla="*/ 2009967 h 2476692"/>
                <a:gd name="connsiteX131" fmla="*/ 1991303 w 2672340"/>
                <a:gd name="connsiteY131" fmla="*/ 1986154 h 2476692"/>
                <a:gd name="connsiteX132" fmla="*/ 1962728 w 2672340"/>
                <a:gd name="connsiteY132" fmla="*/ 1976629 h 2476692"/>
                <a:gd name="connsiteX133" fmla="*/ 1948440 w 2672340"/>
                <a:gd name="connsiteY133" fmla="*/ 1990917 h 2476692"/>
                <a:gd name="connsiteX134" fmla="*/ 1910340 w 2672340"/>
                <a:gd name="connsiteY134" fmla="*/ 2000442 h 2476692"/>
                <a:gd name="connsiteX135" fmla="*/ 1891290 w 2672340"/>
                <a:gd name="connsiteY135" fmla="*/ 1971867 h 2476692"/>
                <a:gd name="connsiteX136" fmla="*/ 1886528 w 2672340"/>
                <a:gd name="connsiteY136" fmla="*/ 1952817 h 2476692"/>
                <a:gd name="connsiteX137" fmla="*/ 1881765 w 2672340"/>
                <a:gd name="connsiteY137" fmla="*/ 1929004 h 2476692"/>
                <a:gd name="connsiteX138" fmla="*/ 1877003 w 2672340"/>
                <a:gd name="connsiteY138" fmla="*/ 1886142 h 2476692"/>
                <a:gd name="connsiteX139" fmla="*/ 1862715 w 2672340"/>
                <a:gd name="connsiteY139" fmla="*/ 1871854 h 2476692"/>
                <a:gd name="connsiteX140" fmla="*/ 1853190 w 2672340"/>
                <a:gd name="connsiteY140" fmla="*/ 1857567 h 2476692"/>
                <a:gd name="connsiteX141" fmla="*/ 1824615 w 2672340"/>
                <a:gd name="connsiteY141" fmla="*/ 1838517 h 2476692"/>
                <a:gd name="connsiteX142" fmla="*/ 1819853 w 2672340"/>
                <a:gd name="connsiteY142" fmla="*/ 1819467 h 2476692"/>
                <a:gd name="connsiteX143" fmla="*/ 1834140 w 2672340"/>
                <a:gd name="connsiteY143" fmla="*/ 1814704 h 2476692"/>
                <a:gd name="connsiteX144" fmla="*/ 1848428 w 2672340"/>
                <a:gd name="connsiteY144" fmla="*/ 1809942 h 2476692"/>
                <a:gd name="connsiteX145" fmla="*/ 1862715 w 2672340"/>
                <a:gd name="connsiteY145" fmla="*/ 1805179 h 2476692"/>
                <a:gd name="connsiteX146" fmla="*/ 1891290 w 2672340"/>
                <a:gd name="connsiteY146" fmla="*/ 1795654 h 2476692"/>
                <a:gd name="connsiteX147" fmla="*/ 1896053 w 2672340"/>
                <a:gd name="connsiteY147" fmla="*/ 1781367 h 2476692"/>
                <a:gd name="connsiteX148" fmla="*/ 1900815 w 2672340"/>
                <a:gd name="connsiteY148" fmla="*/ 1762317 h 2476692"/>
                <a:gd name="connsiteX149" fmla="*/ 1891290 w 2672340"/>
                <a:gd name="connsiteY149" fmla="*/ 1676592 h 2476692"/>
                <a:gd name="connsiteX150" fmla="*/ 1719840 w 2672340"/>
                <a:gd name="connsiteY150" fmla="*/ 1671829 h 2476692"/>
                <a:gd name="connsiteX151" fmla="*/ 1710315 w 2672340"/>
                <a:gd name="connsiteY151" fmla="*/ 1690879 h 2476692"/>
                <a:gd name="connsiteX152" fmla="*/ 1696028 w 2672340"/>
                <a:gd name="connsiteY152" fmla="*/ 1709929 h 2476692"/>
                <a:gd name="connsiteX153" fmla="*/ 1681740 w 2672340"/>
                <a:gd name="connsiteY153" fmla="*/ 1724217 h 2476692"/>
                <a:gd name="connsiteX154" fmla="*/ 1676978 w 2672340"/>
                <a:gd name="connsiteY154" fmla="*/ 1738504 h 2476692"/>
                <a:gd name="connsiteX155" fmla="*/ 1667453 w 2672340"/>
                <a:gd name="connsiteY155" fmla="*/ 1762317 h 2476692"/>
                <a:gd name="connsiteX156" fmla="*/ 1643640 w 2672340"/>
                <a:gd name="connsiteY156" fmla="*/ 1795654 h 2476692"/>
                <a:gd name="connsiteX157" fmla="*/ 1291215 w 2672340"/>
                <a:gd name="connsiteY157" fmla="*/ 1938529 h 2476692"/>
                <a:gd name="connsiteX158" fmla="*/ 1162628 w 2672340"/>
                <a:gd name="connsiteY158" fmla="*/ 1833754 h 2476692"/>
                <a:gd name="connsiteX159" fmla="*/ 1091190 w 2672340"/>
                <a:gd name="connsiteY159" fmla="*/ 1843279 h 2476692"/>
                <a:gd name="connsiteX160" fmla="*/ 1014990 w 2672340"/>
                <a:gd name="connsiteY160" fmla="*/ 1786129 h 2476692"/>
                <a:gd name="connsiteX161" fmla="*/ 1024515 w 2672340"/>
                <a:gd name="connsiteY161" fmla="*/ 1733742 h 2476692"/>
                <a:gd name="connsiteX162" fmla="*/ 957840 w 2672340"/>
                <a:gd name="connsiteY162" fmla="*/ 1719454 h 2476692"/>
                <a:gd name="connsiteX163" fmla="*/ 767340 w 2672340"/>
                <a:gd name="connsiteY163" fmla="*/ 1671829 h 2476692"/>
                <a:gd name="connsiteX164" fmla="*/ 743528 w 2672340"/>
                <a:gd name="connsiteY164" fmla="*/ 1681354 h 2476692"/>
                <a:gd name="connsiteX165" fmla="*/ 729240 w 2672340"/>
                <a:gd name="connsiteY165" fmla="*/ 1686117 h 2476692"/>
                <a:gd name="connsiteX166" fmla="*/ 700665 w 2672340"/>
                <a:gd name="connsiteY166" fmla="*/ 1667067 h 2476692"/>
                <a:gd name="connsiteX167" fmla="*/ 657803 w 2672340"/>
                <a:gd name="connsiteY167" fmla="*/ 1624204 h 2476692"/>
                <a:gd name="connsiteX168" fmla="*/ 605415 w 2672340"/>
                <a:gd name="connsiteY168" fmla="*/ 1638492 h 2476692"/>
                <a:gd name="connsiteX169" fmla="*/ 533978 w 2672340"/>
                <a:gd name="connsiteY169" fmla="*/ 1543242 h 2476692"/>
                <a:gd name="connsiteX170" fmla="*/ 548265 w 2672340"/>
                <a:gd name="connsiteY170" fmla="*/ 1528954 h 2476692"/>
                <a:gd name="connsiteX171" fmla="*/ 567315 w 2672340"/>
                <a:gd name="connsiteY171" fmla="*/ 1514667 h 2476692"/>
                <a:gd name="connsiteX172" fmla="*/ 581603 w 2672340"/>
                <a:gd name="connsiteY172" fmla="*/ 1476567 h 2476692"/>
                <a:gd name="connsiteX173" fmla="*/ 567315 w 2672340"/>
                <a:gd name="connsiteY173" fmla="*/ 1471804 h 2476692"/>
                <a:gd name="connsiteX174" fmla="*/ 543503 w 2672340"/>
                <a:gd name="connsiteY174" fmla="*/ 1462279 h 2476692"/>
                <a:gd name="connsiteX175" fmla="*/ 562553 w 2672340"/>
                <a:gd name="connsiteY175" fmla="*/ 1428942 h 2476692"/>
                <a:gd name="connsiteX176" fmla="*/ 567315 w 2672340"/>
                <a:gd name="connsiteY176" fmla="*/ 1414654 h 2476692"/>
                <a:gd name="connsiteX177" fmla="*/ 586365 w 2672340"/>
                <a:gd name="connsiteY177" fmla="*/ 1386079 h 2476692"/>
                <a:gd name="connsiteX178" fmla="*/ 619703 w 2672340"/>
                <a:gd name="connsiteY178" fmla="*/ 1362267 h 2476692"/>
                <a:gd name="connsiteX179" fmla="*/ 633990 w 2672340"/>
                <a:gd name="connsiteY179" fmla="*/ 1343217 h 2476692"/>
                <a:gd name="connsiteX180" fmla="*/ 662565 w 2672340"/>
                <a:gd name="connsiteY180" fmla="*/ 1319404 h 2476692"/>
                <a:gd name="connsiteX181" fmla="*/ 667328 w 2672340"/>
                <a:gd name="connsiteY181" fmla="*/ 1281304 h 2476692"/>
                <a:gd name="connsiteX182" fmla="*/ 638753 w 2672340"/>
                <a:gd name="connsiteY182" fmla="*/ 1267017 h 2476692"/>
                <a:gd name="connsiteX183" fmla="*/ 633990 w 2672340"/>
                <a:gd name="connsiteY183" fmla="*/ 1252729 h 2476692"/>
                <a:gd name="connsiteX184" fmla="*/ 643515 w 2672340"/>
                <a:gd name="connsiteY184" fmla="*/ 1238442 h 2476692"/>
                <a:gd name="connsiteX185" fmla="*/ 672090 w 2672340"/>
                <a:gd name="connsiteY185" fmla="*/ 1219392 h 2476692"/>
                <a:gd name="connsiteX186" fmla="*/ 672090 w 2672340"/>
                <a:gd name="connsiteY186" fmla="*/ 1162242 h 2476692"/>
                <a:gd name="connsiteX187" fmla="*/ 662565 w 2672340"/>
                <a:gd name="connsiteY187" fmla="*/ 1147954 h 2476692"/>
                <a:gd name="connsiteX188" fmla="*/ 619703 w 2672340"/>
                <a:gd name="connsiteY188" fmla="*/ 1167004 h 2476692"/>
                <a:gd name="connsiteX189" fmla="*/ 610178 w 2672340"/>
                <a:gd name="connsiteY189" fmla="*/ 1152717 h 2476692"/>
                <a:gd name="connsiteX190" fmla="*/ 605415 w 2672340"/>
                <a:gd name="connsiteY190" fmla="*/ 1105092 h 2476692"/>
                <a:gd name="connsiteX191" fmla="*/ 595890 w 2672340"/>
                <a:gd name="connsiteY191" fmla="*/ 1086042 h 2476692"/>
                <a:gd name="connsiteX192" fmla="*/ 576840 w 2672340"/>
                <a:gd name="connsiteY192" fmla="*/ 1057467 h 2476692"/>
                <a:gd name="connsiteX193" fmla="*/ 572078 w 2672340"/>
                <a:gd name="connsiteY193" fmla="*/ 1043179 h 2476692"/>
                <a:gd name="connsiteX194" fmla="*/ 562553 w 2672340"/>
                <a:gd name="connsiteY194" fmla="*/ 962217 h 2476692"/>
                <a:gd name="connsiteX195" fmla="*/ 462540 w 2672340"/>
                <a:gd name="connsiteY195" fmla="*/ 1043179 h 2476692"/>
                <a:gd name="connsiteX196" fmla="*/ 433965 w 2672340"/>
                <a:gd name="connsiteY196" fmla="*/ 952692 h 2476692"/>
                <a:gd name="connsiteX197" fmla="*/ 343478 w 2672340"/>
                <a:gd name="connsiteY197" fmla="*/ 862204 h 2476692"/>
                <a:gd name="connsiteX198" fmla="*/ 262515 w 2672340"/>
                <a:gd name="connsiteY198" fmla="*/ 871729 h 2476692"/>
                <a:gd name="connsiteX199" fmla="*/ 205365 w 2672340"/>
                <a:gd name="connsiteY199" fmla="*/ 919354 h 2476692"/>
                <a:gd name="connsiteX200" fmla="*/ 95828 w 2672340"/>
                <a:gd name="connsiteY200" fmla="*/ 986029 h 2476692"/>
                <a:gd name="connsiteX201" fmla="*/ 24390 w 2672340"/>
                <a:gd name="connsiteY201" fmla="*/ 986029 h 2476692"/>
                <a:gd name="connsiteX202" fmla="*/ 14865 w 2672340"/>
                <a:gd name="connsiteY202" fmla="*/ 947929 h 2476692"/>
                <a:gd name="connsiteX203" fmla="*/ 578 w 2672340"/>
                <a:gd name="connsiteY203" fmla="*/ 933642 h 2476692"/>
                <a:gd name="connsiteX204" fmla="*/ 5340 w 2672340"/>
                <a:gd name="connsiteY204" fmla="*/ 890779 h 2476692"/>
                <a:gd name="connsiteX205" fmla="*/ 57728 w 2672340"/>
                <a:gd name="connsiteY205" fmla="*/ 781242 h 2476692"/>
                <a:gd name="connsiteX206" fmla="*/ 238703 w 2672340"/>
                <a:gd name="connsiteY206" fmla="*/ 543117 h 2476692"/>
                <a:gd name="connsiteX207" fmla="*/ 333953 w 2672340"/>
                <a:gd name="connsiteY207" fmla="*/ 543117 h 2476692"/>
                <a:gd name="connsiteX208" fmla="*/ 429203 w 2672340"/>
                <a:gd name="connsiteY208" fmla="*/ 524067 h 2476692"/>
                <a:gd name="connsiteX209" fmla="*/ 467303 w 2672340"/>
                <a:gd name="connsiteY209" fmla="*/ 538354 h 2476692"/>
                <a:gd name="connsiteX210" fmla="*/ 481590 w 2672340"/>
                <a:gd name="connsiteY210" fmla="*/ 528829 h 2476692"/>
                <a:gd name="connsiteX211" fmla="*/ 486353 w 2672340"/>
                <a:gd name="connsiteY211" fmla="*/ 514542 h 2476692"/>
                <a:gd name="connsiteX212" fmla="*/ 491115 w 2672340"/>
                <a:gd name="connsiteY212" fmla="*/ 466917 h 2476692"/>
                <a:gd name="connsiteX213" fmla="*/ 481590 w 2672340"/>
                <a:gd name="connsiteY213" fmla="*/ 438342 h 2476692"/>
                <a:gd name="connsiteX214" fmla="*/ 462540 w 2672340"/>
                <a:gd name="connsiteY214" fmla="*/ 409767 h 2476692"/>
                <a:gd name="connsiteX215" fmla="*/ 472065 w 2672340"/>
                <a:gd name="connsiteY215" fmla="*/ 347854 h 2476692"/>
                <a:gd name="connsiteX216" fmla="*/ 505403 w 2672340"/>
                <a:gd name="connsiteY216" fmla="*/ 295467 h 2476692"/>
                <a:gd name="connsiteX217" fmla="*/ 514928 w 2672340"/>
                <a:gd name="connsiteY217" fmla="*/ 281179 h 2476692"/>
                <a:gd name="connsiteX218" fmla="*/ 519690 w 2672340"/>
                <a:gd name="connsiteY218" fmla="*/ 257367 h 2476692"/>
                <a:gd name="connsiteX219" fmla="*/ 529215 w 2672340"/>
                <a:gd name="connsiteY219" fmla="*/ 243079 h 2476692"/>
                <a:gd name="connsiteX220" fmla="*/ 538740 w 2672340"/>
                <a:gd name="connsiteY220" fmla="*/ 204979 h 2476692"/>
                <a:gd name="connsiteX221" fmla="*/ 548265 w 2672340"/>
                <a:gd name="connsiteY221" fmla="*/ 185929 h 2476692"/>
                <a:gd name="connsiteX222" fmla="*/ 553028 w 2672340"/>
                <a:gd name="connsiteY222" fmla="*/ 171642 h 2476692"/>
                <a:gd name="connsiteX223" fmla="*/ 562553 w 2672340"/>
                <a:gd name="connsiteY223" fmla="*/ 157354 h 2476692"/>
                <a:gd name="connsiteX224" fmla="*/ 567315 w 2672340"/>
                <a:gd name="connsiteY224" fmla="*/ 133542 h 2476692"/>
                <a:gd name="connsiteX225" fmla="*/ 576840 w 2672340"/>
                <a:gd name="connsiteY225" fmla="*/ 100204 h 2476692"/>
                <a:gd name="connsiteX226" fmla="*/ 581603 w 2672340"/>
                <a:gd name="connsiteY226" fmla="*/ 81154 h 2476692"/>
                <a:gd name="connsiteX227" fmla="*/ 595890 w 2672340"/>
                <a:gd name="connsiteY227" fmla="*/ 33529 h 2476692"/>
                <a:gd name="connsiteX228" fmla="*/ 619703 w 2672340"/>
                <a:gd name="connsiteY228" fmla="*/ 192 h 2476692"/>
                <a:gd name="connsiteX229" fmla="*/ 621543 w 2672340"/>
                <a:gd name="connsiteY229" fmla="*/ 0 h 2476692"/>
                <a:gd name="connsiteX0" fmla="*/ 621543 w 2672340"/>
                <a:gd name="connsiteY0" fmla="*/ 0 h 2476692"/>
                <a:gd name="connsiteX1" fmla="*/ 637165 w 2672340"/>
                <a:gd name="connsiteY1" fmla="*/ 20829 h 2476692"/>
                <a:gd name="connsiteX2" fmla="*/ 643515 w 2672340"/>
                <a:gd name="connsiteY2" fmla="*/ 30354 h 2476692"/>
                <a:gd name="connsiteX3" fmla="*/ 646690 w 2672340"/>
                <a:gd name="connsiteY3" fmla="*/ 74804 h 2476692"/>
                <a:gd name="connsiteX4" fmla="*/ 656215 w 2672340"/>
                <a:gd name="connsiteY4" fmla="*/ 100204 h 2476692"/>
                <a:gd name="connsiteX5" fmla="*/ 757815 w 2672340"/>
                <a:gd name="connsiteY5" fmla="*/ 119254 h 2476692"/>
                <a:gd name="connsiteX6" fmla="*/ 780040 w 2672340"/>
                <a:gd name="connsiteY6" fmla="*/ 135129 h 2476692"/>
                <a:gd name="connsiteX7" fmla="*/ 789565 w 2672340"/>
                <a:gd name="connsiteY7" fmla="*/ 138304 h 2476692"/>
                <a:gd name="connsiteX8" fmla="*/ 808615 w 2672340"/>
                <a:gd name="connsiteY8" fmla="*/ 154179 h 2476692"/>
                <a:gd name="connsiteX9" fmla="*/ 824490 w 2672340"/>
                <a:gd name="connsiteY9" fmla="*/ 176404 h 2476692"/>
                <a:gd name="connsiteX10" fmla="*/ 827665 w 2672340"/>
                <a:gd name="connsiteY10" fmla="*/ 185929 h 2476692"/>
                <a:gd name="connsiteX11" fmla="*/ 853065 w 2672340"/>
                <a:gd name="connsiteY11" fmla="*/ 201804 h 2476692"/>
                <a:gd name="connsiteX12" fmla="*/ 929265 w 2672340"/>
                <a:gd name="connsiteY12" fmla="*/ 220854 h 2476692"/>
                <a:gd name="connsiteX13" fmla="*/ 957840 w 2672340"/>
                <a:gd name="connsiteY13" fmla="*/ 198629 h 2476692"/>
                <a:gd name="connsiteX14" fmla="*/ 980065 w 2672340"/>
                <a:gd name="connsiteY14" fmla="*/ 182754 h 2476692"/>
                <a:gd name="connsiteX15" fmla="*/ 989590 w 2672340"/>
                <a:gd name="connsiteY15" fmla="*/ 176404 h 2476692"/>
                <a:gd name="connsiteX16" fmla="*/ 1011815 w 2672340"/>
                <a:gd name="connsiteY16" fmla="*/ 173229 h 2476692"/>
                <a:gd name="connsiteX17" fmla="*/ 1027690 w 2672340"/>
                <a:gd name="connsiteY17" fmla="*/ 166879 h 2476692"/>
                <a:gd name="connsiteX18" fmla="*/ 1094365 w 2672340"/>
                <a:gd name="connsiteY18" fmla="*/ 220854 h 2476692"/>
                <a:gd name="connsiteX19" fmla="*/ 1186440 w 2672340"/>
                <a:gd name="connsiteY19" fmla="*/ 217679 h 2476692"/>
                <a:gd name="connsiteX20" fmla="*/ 1278515 w 2672340"/>
                <a:gd name="connsiteY20" fmla="*/ 170054 h 2476692"/>
                <a:gd name="connsiteX21" fmla="*/ 1326140 w 2672340"/>
                <a:gd name="connsiteY21" fmla="*/ 74804 h 2476692"/>
                <a:gd name="connsiteX22" fmla="*/ 1373765 w 2672340"/>
                <a:gd name="connsiteY22" fmla="*/ 122429 h 2476692"/>
                <a:gd name="connsiteX23" fmla="*/ 1459490 w 2672340"/>
                <a:gd name="connsiteY23" fmla="*/ 144654 h 2476692"/>
                <a:gd name="connsiteX24" fmla="*/ 1589665 w 2672340"/>
                <a:gd name="connsiteY24" fmla="*/ 144654 h 2476692"/>
                <a:gd name="connsiteX25" fmla="*/ 1697615 w 2672340"/>
                <a:gd name="connsiteY25" fmla="*/ 97029 h 2476692"/>
                <a:gd name="connsiteX26" fmla="*/ 1726190 w 2672340"/>
                <a:gd name="connsiteY26" fmla="*/ 103379 h 2476692"/>
                <a:gd name="connsiteX27" fmla="*/ 1738890 w 2672340"/>
                <a:gd name="connsiteY27" fmla="*/ 122429 h 2476692"/>
                <a:gd name="connsiteX28" fmla="*/ 1732540 w 2672340"/>
                <a:gd name="connsiteY28" fmla="*/ 141479 h 2476692"/>
                <a:gd name="connsiteX29" fmla="*/ 1723015 w 2672340"/>
                <a:gd name="connsiteY29" fmla="*/ 154179 h 2476692"/>
                <a:gd name="connsiteX30" fmla="*/ 1802390 w 2672340"/>
                <a:gd name="connsiteY30" fmla="*/ 144654 h 2476692"/>
                <a:gd name="connsiteX31" fmla="*/ 1824615 w 2672340"/>
                <a:gd name="connsiteY31" fmla="*/ 160529 h 2476692"/>
                <a:gd name="connsiteX32" fmla="*/ 1827790 w 2672340"/>
                <a:gd name="connsiteY32" fmla="*/ 195454 h 2476692"/>
                <a:gd name="connsiteX33" fmla="*/ 1834140 w 2672340"/>
                <a:gd name="connsiteY33" fmla="*/ 217679 h 2476692"/>
                <a:gd name="connsiteX34" fmla="*/ 1840490 w 2672340"/>
                <a:gd name="connsiteY34" fmla="*/ 230379 h 2476692"/>
                <a:gd name="connsiteX35" fmla="*/ 1846840 w 2672340"/>
                <a:gd name="connsiteY35" fmla="*/ 239904 h 2476692"/>
                <a:gd name="connsiteX36" fmla="*/ 1846840 w 2672340"/>
                <a:gd name="connsiteY36" fmla="*/ 249429 h 2476692"/>
                <a:gd name="connsiteX37" fmla="*/ 1916690 w 2672340"/>
                <a:gd name="connsiteY37" fmla="*/ 274829 h 2476692"/>
                <a:gd name="connsiteX38" fmla="*/ 1945265 w 2672340"/>
                <a:gd name="connsiteY38" fmla="*/ 268479 h 2476692"/>
                <a:gd name="connsiteX39" fmla="*/ 1961140 w 2672340"/>
                <a:gd name="connsiteY39" fmla="*/ 274829 h 2476692"/>
                <a:gd name="connsiteX40" fmla="*/ 1977015 w 2672340"/>
                <a:gd name="connsiteY40" fmla="*/ 293879 h 2476692"/>
                <a:gd name="connsiteX41" fmla="*/ 2002415 w 2672340"/>
                <a:gd name="connsiteY41" fmla="*/ 297054 h 2476692"/>
                <a:gd name="connsiteX42" fmla="*/ 2002415 w 2672340"/>
                <a:gd name="connsiteY42" fmla="*/ 344679 h 2476692"/>
                <a:gd name="connsiteX43" fmla="*/ 1998496 w 2672340"/>
                <a:gd name="connsiteY43" fmla="*/ 359366 h 2476692"/>
                <a:gd name="connsiteX44" fmla="*/ 1997699 w 2672340"/>
                <a:gd name="connsiteY44" fmla="*/ 359161 h 2476692"/>
                <a:gd name="connsiteX45" fmla="*/ 1996509 w 2672340"/>
                <a:gd name="connsiteY45" fmla="*/ 357863 h 2476692"/>
                <a:gd name="connsiteX46" fmla="*/ 1996082 w 2672340"/>
                <a:gd name="connsiteY46" fmla="*/ 354482 h 2476692"/>
                <a:gd name="connsiteX47" fmla="*/ 1996065 w 2672340"/>
                <a:gd name="connsiteY47" fmla="*/ 357379 h 2476692"/>
                <a:gd name="connsiteX48" fmla="*/ 1996509 w 2672340"/>
                <a:gd name="connsiteY48" fmla="*/ 357863 h 2476692"/>
                <a:gd name="connsiteX49" fmla="*/ 1996639 w 2672340"/>
                <a:gd name="connsiteY49" fmla="*/ 358889 h 2476692"/>
                <a:gd name="connsiteX50" fmla="*/ 1997699 w 2672340"/>
                <a:gd name="connsiteY50" fmla="*/ 359161 h 2476692"/>
                <a:gd name="connsiteX51" fmla="*/ 2030990 w 2672340"/>
                <a:gd name="connsiteY51" fmla="*/ 395479 h 2476692"/>
                <a:gd name="connsiteX52" fmla="*/ 2059565 w 2672340"/>
                <a:gd name="connsiteY52" fmla="*/ 385954 h 2476692"/>
                <a:gd name="connsiteX53" fmla="*/ 2069090 w 2672340"/>
                <a:gd name="connsiteY53" fmla="*/ 379604 h 2476692"/>
                <a:gd name="connsiteX54" fmla="*/ 2078615 w 2672340"/>
                <a:gd name="connsiteY54" fmla="*/ 376429 h 2476692"/>
                <a:gd name="connsiteX55" fmla="*/ 2116715 w 2672340"/>
                <a:gd name="connsiteY55" fmla="*/ 379604 h 2476692"/>
                <a:gd name="connsiteX56" fmla="*/ 2119890 w 2672340"/>
                <a:gd name="connsiteY56" fmla="*/ 411354 h 2476692"/>
                <a:gd name="connsiteX57" fmla="*/ 2129415 w 2672340"/>
                <a:gd name="connsiteY57" fmla="*/ 443104 h 2476692"/>
                <a:gd name="connsiteX58" fmla="*/ 2132590 w 2672340"/>
                <a:gd name="connsiteY58" fmla="*/ 452629 h 2476692"/>
                <a:gd name="connsiteX59" fmla="*/ 2135765 w 2672340"/>
                <a:gd name="connsiteY59" fmla="*/ 462154 h 2476692"/>
                <a:gd name="connsiteX60" fmla="*/ 2142115 w 2672340"/>
                <a:gd name="connsiteY60" fmla="*/ 493904 h 2476692"/>
                <a:gd name="connsiteX61" fmla="*/ 2138940 w 2672340"/>
                <a:gd name="connsiteY61" fmla="*/ 532004 h 2476692"/>
                <a:gd name="connsiteX62" fmla="*/ 2110365 w 2672340"/>
                <a:gd name="connsiteY62" fmla="*/ 547879 h 2476692"/>
                <a:gd name="connsiteX63" fmla="*/ 2097665 w 2672340"/>
                <a:gd name="connsiteY63" fmla="*/ 557404 h 2476692"/>
                <a:gd name="connsiteX64" fmla="*/ 2094490 w 2672340"/>
                <a:gd name="connsiteY64" fmla="*/ 582804 h 2476692"/>
                <a:gd name="connsiteX65" fmla="*/ 2104015 w 2672340"/>
                <a:gd name="connsiteY65" fmla="*/ 608204 h 2476692"/>
                <a:gd name="connsiteX66" fmla="*/ 2110365 w 2672340"/>
                <a:gd name="connsiteY66" fmla="*/ 617729 h 2476692"/>
                <a:gd name="connsiteX67" fmla="*/ 2116715 w 2672340"/>
                <a:gd name="connsiteY67" fmla="*/ 643129 h 2476692"/>
                <a:gd name="connsiteX68" fmla="*/ 2119890 w 2672340"/>
                <a:gd name="connsiteY68" fmla="*/ 719329 h 2476692"/>
                <a:gd name="connsiteX69" fmla="*/ 2123065 w 2672340"/>
                <a:gd name="connsiteY69" fmla="*/ 728854 h 2476692"/>
                <a:gd name="connsiteX70" fmla="*/ 2142115 w 2672340"/>
                <a:gd name="connsiteY70" fmla="*/ 741554 h 2476692"/>
                <a:gd name="connsiteX71" fmla="*/ 2161165 w 2672340"/>
                <a:gd name="connsiteY71" fmla="*/ 738379 h 2476692"/>
                <a:gd name="connsiteX72" fmla="*/ 2170690 w 2672340"/>
                <a:gd name="connsiteY72" fmla="*/ 732029 h 2476692"/>
                <a:gd name="connsiteX73" fmla="*/ 2183390 w 2672340"/>
                <a:gd name="connsiteY73" fmla="*/ 725679 h 2476692"/>
                <a:gd name="connsiteX74" fmla="*/ 2192915 w 2672340"/>
                <a:gd name="connsiteY74" fmla="*/ 719329 h 2476692"/>
                <a:gd name="connsiteX75" fmla="*/ 2211965 w 2672340"/>
                <a:gd name="connsiteY75" fmla="*/ 712979 h 2476692"/>
                <a:gd name="connsiteX76" fmla="*/ 2259590 w 2672340"/>
                <a:gd name="connsiteY76" fmla="*/ 716154 h 2476692"/>
                <a:gd name="connsiteX77" fmla="*/ 2262765 w 2672340"/>
                <a:gd name="connsiteY77" fmla="*/ 732029 h 2476692"/>
                <a:gd name="connsiteX78" fmla="*/ 2272290 w 2672340"/>
                <a:gd name="connsiteY78" fmla="*/ 751079 h 2476692"/>
                <a:gd name="connsiteX79" fmla="*/ 2297690 w 2672340"/>
                <a:gd name="connsiteY79" fmla="*/ 754254 h 2476692"/>
                <a:gd name="connsiteX80" fmla="*/ 2329440 w 2672340"/>
                <a:gd name="connsiteY80" fmla="*/ 738379 h 2476692"/>
                <a:gd name="connsiteX81" fmla="*/ 2338965 w 2672340"/>
                <a:gd name="connsiteY81" fmla="*/ 735204 h 2476692"/>
                <a:gd name="connsiteX82" fmla="*/ 2367540 w 2672340"/>
                <a:gd name="connsiteY82" fmla="*/ 722504 h 2476692"/>
                <a:gd name="connsiteX83" fmla="*/ 2377065 w 2672340"/>
                <a:gd name="connsiteY83" fmla="*/ 719329 h 2476692"/>
                <a:gd name="connsiteX84" fmla="*/ 2391809 w 2672340"/>
                <a:gd name="connsiteY84" fmla="*/ 719329 h 2476692"/>
                <a:gd name="connsiteX85" fmla="*/ 2672340 w 2672340"/>
                <a:gd name="connsiteY85" fmla="*/ 1724217 h 2476692"/>
                <a:gd name="connsiteX86" fmla="*/ 2410403 w 2672340"/>
                <a:gd name="connsiteY86" fmla="*/ 2152842 h 2476692"/>
                <a:gd name="connsiteX87" fmla="*/ 2458028 w 2672340"/>
                <a:gd name="connsiteY87" fmla="*/ 2186180 h 2476692"/>
                <a:gd name="connsiteX88" fmla="*/ 2448503 w 2672340"/>
                <a:gd name="connsiteY88" fmla="*/ 2226660 h 2476692"/>
                <a:gd name="connsiteX89" fmla="*/ 2410403 w 2672340"/>
                <a:gd name="connsiteY89" fmla="*/ 2262379 h 2476692"/>
                <a:gd name="connsiteX90" fmla="*/ 2388971 w 2672340"/>
                <a:gd name="connsiteY90" fmla="*/ 2331435 h 2476692"/>
                <a:gd name="connsiteX91" fmla="*/ 2405640 w 2672340"/>
                <a:gd name="connsiteY91" fmla="*/ 2381442 h 2476692"/>
                <a:gd name="connsiteX92" fmla="*/ 2391353 w 2672340"/>
                <a:gd name="connsiteY92" fmla="*/ 2414779 h 2476692"/>
                <a:gd name="connsiteX93" fmla="*/ 2334203 w 2672340"/>
                <a:gd name="connsiteY93" fmla="*/ 2433829 h 2476692"/>
                <a:gd name="connsiteX94" fmla="*/ 2305628 w 2672340"/>
                <a:gd name="connsiteY94" fmla="*/ 2443354 h 2476692"/>
                <a:gd name="connsiteX95" fmla="*/ 2296103 w 2672340"/>
                <a:gd name="connsiteY95" fmla="*/ 2457642 h 2476692"/>
                <a:gd name="connsiteX96" fmla="*/ 2262765 w 2672340"/>
                <a:gd name="connsiteY96" fmla="*/ 2462404 h 2476692"/>
                <a:gd name="connsiteX97" fmla="*/ 2229428 w 2672340"/>
                <a:gd name="connsiteY97" fmla="*/ 2438592 h 2476692"/>
                <a:gd name="connsiteX98" fmla="*/ 2215140 w 2672340"/>
                <a:gd name="connsiteY98" fmla="*/ 2433829 h 2476692"/>
                <a:gd name="connsiteX99" fmla="*/ 2205615 w 2672340"/>
                <a:gd name="connsiteY99" fmla="*/ 2457642 h 2476692"/>
                <a:gd name="connsiteX100" fmla="*/ 2191328 w 2672340"/>
                <a:gd name="connsiteY100" fmla="*/ 2467167 h 2476692"/>
                <a:gd name="connsiteX101" fmla="*/ 2153228 w 2672340"/>
                <a:gd name="connsiteY101" fmla="*/ 2476692 h 2476692"/>
                <a:gd name="connsiteX102" fmla="*/ 2134178 w 2672340"/>
                <a:gd name="connsiteY102" fmla="*/ 2448117 h 2476692"/>
                <a:gd name="connsiteX103" fmla="*/ 2124653 w 2672340"/>
                <a:gd name="connsiteY103" fmla="*/ 2433829 h 2476692"/>
                <a:gd name="connsiteX104" fmla="*/ 2119890 w 2672340"/>
                <a:gd name="connsiteY104" fmla="*/ 2352867 h 2476692"/>
                <a:gd name="connsiteX105" fmla="*/ 2124653 w 2672340"/>
                <a:gd name="connsiteY105" fmla="*/ 2338579 h 2476692"/>
                <a:gd name="connsiteX106" fmla="*/ 2167515 w 2672340"/>
                <a:gd name="connsiteY106" fmla="*/ 2290954 h 2476692"/>
                <a:gd name="connsiteX107" fmla="*/ 2177040 w 2672340"/>
                <a:gd name="connsiteY107" fmla="*/ 2276667 h 2476692"/>
                <a:gd name="connsiteX108" fmla="*/ 2153228 w 2672340"/>
                <a:gd name="connsiteY108" fmla="*/ 2248092 h 2476692"/>
                <a:gd name="connsiteX109" fmla="*/ 2134178 w 2672340"/>
                <a:gd name="connsiteY109" fmla="*/ 2238567 h 2476692"/>
                <a:gd name="connsiteX110" fmla="*/ 2129415 w 2672340"/>
                <a:gd name="connsiteY110" fmla="*/ 2214754 h 2476692"/>
                <a:gd name="connsiteX111" fmla="*/ 2148465 w 2672340"/>
                <a:gd name="connsiteY111" fmla="*/ 2186179 h 2476692"/>
                <a:gd name="connsiteX112" fmla="*/ 2167515 w 2672340"/>
                <a:gd name="connsiteY112" fmla="*/ 2190942 h 2476692"/>
                <a:gd name="connsiteX113" fmla="*/ 2229428 w 2672340"/>
                <a:gd name="connsiteY113" fmla="*/ 2186179 h 2476692"/>
                <a:gd name="connsiteX114" fmla="*/ 2234190 w 2672340"/>
                <a:gd name="connsiteY114" fmla="*/ 2171892 h 2476692"/>
                <a:gd name="connsiteX115" fmla="*/ 2224665 w 2672340"/>
                <a:gd name="connsiteY115" fmla="*/ 2143317 h 2476692"/>
                <a:gd name="connsiteX116" fmla="*/ 2210378 w 2672340"/>
                <a:gd name="connsiteY116" fmla="*/ 2129029 h 2476692"/>
                <a:gd name="connsiteX117" fmla="*/ 2191328 w 2672340"/>
                <a:gd name="connsiteY117" fmla="*/ 2119504 h 2476692"/>
                <a:gd name="connsiteX118" fmla="*/ 2162753 w 2672340"/>
                <a:gd name="connsiteY118" fmla="*/ 2114742 h 2476692"/>
                <a:gd name="connsiteX119" fmla="*/ 2157990 w 2672340"/>
                <a:gd name="connsiteY119" fmla="*/ 2095692 h 2476692"/>
                <a:gd name="connsiteX120" fmla="*/ 2181803 w 2672340"/>
                <a:gd name="connsiteY120" fmla="*/ 2062354 h 2476692"/>
                <a:gd name="connsiteX121" fmla="*/ 2191328 w 2672340"/>
                <a:gd name="connsiteY121" fmla="*/ 2048067 h 2476692"/>
                <a:gd name="connsiteX122" fmla="*/ 2196090 w 2672340"/>
                <a:gd name="connsiteY122" fmla="*/ 1986154 h 2476692"/>
                <a:gd name="connsiteX123" fmla="*/ 2186565 w 2672340"/>
                <a:gd name="connsiteY123" fmla="*/ 1957579 h 2476692"/>
                <a:gd name="connsiteX124" fmla="*/ 2162753 w 2672340"/>
                <a:gd name="connsiteY124" fmla="*/ 1952817 h 2476692"/>
                <a:gd name="connsiteX125" fmla="*/ 2134178 w 2672340"/>
                <a:gd name="connsiteY125" fmla="*/ 1971867 h 2476692"/>
                <a:gd name="connsiteX126" fmla="*/ 2124653 w 2672340"/>
                <a:gd name="connsiteY126" fmla="*/ 1986154 h 2476692"/>
                <a:gd name="connsiteX127" fmla="*/ 2105603 w 2672340"/>
                <a:gd name="connsiteY127" fmla="*/ 2005204 h 2476692"/>
                <a:gd name="connsiteX128" fmla="*/ 2072265 w 2672340"/>
                <a:gd name="connsiteY128" fmla="*/ 2038542 h 2476692"/>
                <a:gd name="connsiteX129" fmla="*/ 2057978 w 2672340"/>
                <a:gd name="connsiteY129" fmla="*/ 2048067 h 2476692"/>
                <a:gd name="connsiteX130" fmla="*/ 2029403 w 2672340"/>
                <a:gd name="connsiteY130" fmla="*/ 2052829 h 2476692"/>
                <a:gd name="connsiteX131" fmla="*/ 2019878 w 2672340"/>
                <a:gd name="connsiteY131" fmla="*/ 2009967 h 2476692"/>
                <a:gd name="connsiteX132" fmla="*/ 1991303 w 2672340"/>
                <a:gd name="connsiteY132" fmla="*/ 1986154 h 2476692"/>
                <a:gd name="connsiteX133" fmla="*/ 1962728 w 2672340"/>
                <a:gd name="connsiteY133" fmla="*/ 1976629 h 2476692"/>
                <a:gd name="connsiteX134" fmla="*/ 1948440 w 2672340"/>
                <a:gd name="connsiteY134" fmla="*/ 1990917 h 2476692"/>
                <a:gd name="connsiteX135" fmla="*/ 1910340 w 2672340"/>
                <a:gd name="connsiteY135" fmla="*/ 2000442 h 2476692"/>
                <a:gd name="connsiteX136" fmla="*/ 1891290 w 2672340"/>
                <a:gd name="connsiteY136" fmla="*/ 1971867 h 2476692"/>
                <a:gd name="connsiteX137" fmla="*/ 1886528 w 2672340"/>
                <a:gd name="connsiteY137" fmla="*/ 1952817 h 2476692"/>
                <a:gd name="connsiteX138" fmla="*/ 1881765 w 2672340"/>
                <a:gd name="connsiteY138" fmla="*/ 1929004 h 2476692"/>
                <a:gd name="connsiteX139" fmla="*/ 1877003 w 2672340"/>
                <a:gd name="connsiteY139" fmla="*/ 1886142 h 2476692"/>
                <a:gd name="connsiteX140" fmla="*/ 1862715 w 2672340"/>
                <a:gd name="connsiteY140" fmla="*/ 1871854 h 2476692"/>
                <a:gd name="connsiteX141" fmla="*/ 1853190 w 2672340"/>
                <a:gd name="connsiteY141" fmla="*/ 1857567 h 2476692"/>
                <a:gd name="connsiteX142" fmla="*/ 1824615 w 2672340"/>
                <a:gd name="connsiteY142" fmla="*/ 1838517 h 2476692"/>
                <a:gd name="connsiteX143" fmla="*/ 1819853 w 2672340"/>
                <a:gd name="connsiteY143" fmla="*/ 1819467 h 2476692"/>
                <a:gd name="connsiteX144" fmla="*/ 1834140 w 2672340"/>
                <a:gd name="connsiteY144" fmla="*/ 1814704 h 2476692"/>
                <a:gd name="connsiteX145" fmla="*/ 1848428 w 2672340"/>
                <a:gd name="connsiteY145" fmla="*/ 1809942 h 2476692"/>
                <a:gd name="connsiteX146" fmla="*/ 1862715 w 2672340"/>
                <a:gd name="connsiteY146" fmla="*/ 1805179 h 2476692"/>
                <a:gd name="connsiteX147" fmla="*/ 1891290 w 2672340"/>
                <a:gd name="connsiteY147" fmla="*/ 1795654 h 2476692"/>
                <a:gd name="connsiteX148" fmla="*/ 1896053 w 2672340"/>
                <a:gd name="connsiteY148" fmla="*/ 1781367 h 2476692"/>
                <a:gd name="connsiteX149" fmla="*/ 1900815 w 2672340"/>
                <a:gd name="connsiteY149" fmla="*/ 1762317 h 2476692"/>
                <a:gd name="connsiteX150" fmla="*/ 1891290 w 2672340"/>
                <a:gd name="connsiteY150" fmla="*/ 1676592 h 2476692"/>
                <a:gd name="connsiteX151" fmla="*/ 1719840 w 2672340"/>
                <a:gd name="connsiteY151" fmla="*/ 1671829 h 2476692"/>
                <a:gd name="connsiteX152" fmla="*/ 1710315 w 2672340"/>
                <a:gd name="connsiteY152" fmla="*/ 1690879 h 2476692"/>
                <a:gd name="connsiteX153" fmla="*/ 1696028 w 2672340"/>
                <a:gd name="connsiteY153" fmla="*/ 1709929 h 2476692"/>
                <a:gd name="connsiteX154" fmla="*/ 1681740 w 2672340"/>
                <a:gd name="connsiteY154" fmla="*/ 1724217 h 2476692"/>
                <a:gd name="connsiteX155" fmla="*/ 1676978 w 2672340"/>
                <a:gd name="connsiteY155" fmla="*/ 1738504 h 2476692"/>
                <a:gd name="connsiteX156" fmla="*/ 1667453 w 2672340"/>
                <a:gd name="connsiteY156" fmla="*/ 1762317 h 2476692"/>
                <a:gd name="connsiteX157" fmla="*/ 1643640 w 2672340"/>
                <a:gd name="connsiteY157" fmla="*/ 1795654 h 2476692"/>
                <a:gd name="connsiteX158" fmla="*/ 1291215 w 2672340"/>
                <a:gd name="connsiteY158" fmla="*/ 1938529 h 2476692"/>
                <a:gd name="connsiteX159" fmla="*/ 1162628 w 2672340"/>
                <a:gd name="connsiteY159" fmla="*/ 1833754 h 2476692"/>
                <a:gd name="connsiteX160" fmla="*/ 1091190 w 2672340"/>
                <a:gd name="connsiteY160" fmla="*/ 1843279 h 2476692"/>
                <a:gd name="connsiteX161" fmla="*/ 1014990 w 2672340"/>
                <a:gd name="connsiteY161" fmla="*/ 1786129 h 2476692"/>
                <a:gd name="connsiteX162" fmla="*/ 1024515 w 2672340"/>
                <a:gd name="connsiteY162" fmla="*/ 1733742 h 2476692"/>
                <a:gd name="connsiteX163" fmla="*/ 957840 w 2672340"/>
                <a:gd name="connsiteY163" fmla="*/ 1719454 h 2476692"/>
                <a:gd name="connsiteX164" fmla="*/ 767340 w 2672340"/>
                <a:gd name="connsiteY164" fmla="*/ 1671829 h 2476692"/>
                <a:gd name="connsiteX165" fmla="*/ 743528 w 2672340"/>
                <a:gd name="connsiteY165" fmla="*/ 1681354 h 2476692"/>
                <a:gd name="connsiteX166" fmla="*/ 729240 w 2672340"/>
                <a:gd name="connsiteY166" fmla="*/ 1686117 h 2476692"/>
                <a:gd name="connsiteX167" fmla="*/ 700665 w 2672340"/>
                <a:gd name="connsiteY167" fmla="*/ 1667067 h 2476692"/>
                <a:gd name="connsiteX168" fmla="*/ 657803 w 2672340"/>
                <a:gd name="connsiteY168" fmla="*/ 1624204 h 2476692"/>
                <a:gd name="connsiteX169" fmla="*/ 605415 w 2672340"/>
                <a:gd name="connsiteY169" fmla="*/ 1638492 h 2476692"/>
                <a:gd name="connsiteX170" fmla="*/ 533978 w 2672340"/>
                <a:gd name="connsiteY170" fmla="*/ 1543242 h 2476692"/>
                <a:gd name="connsiteX171" fmla="*/ 548265 w 2672340"/>
                <a:gd name="connsiteY171" fmla="*/ 1528954 h 2476692"/>
                <a:gd name="connsiteX172" fmla="*/ 567315 w 2672340"/>
                <a:gd name="connsiteY172" fmla="*/ 1514667 h 2476692"/>
                <a:gd name="connsiteX173" fmla="*/ 581603 w 2672340"/>
                <a:gd name="connsiteY173" fmla="*/ 1476567 h 2476692"/>
                <a:gd name="connsiteX174" fmla="*/ 567315 w 2672340"/>
                <a:gd name="connsiteY174" fmla="*/ 1471804 h 2476692"/>
                <a:gd name="connsiteX175" fmla="*/ 543503 w 2672340"/>
                <a:gd name="connsiteY175" fmla="*/ 1462279 h 2476692"/>
                <a:gd name="connsiteX176" fmla="*/ 562553 w 2672340"/>
                <a:gd name="connsiteY176" fmla="*/ 1428942 h 2476692"/>
                <a:gd name="connsiteX177" fmla="*/ 567315 w 2672340"/>
                <a:gd name="connsiteY177" fmla="*/ 1414654 h 2476692"/>
                <a:gd name="connsiteX178" fmla="*/ 586365 w 2672340"/>
                <a:gd name="connsiteY178" fmla="*/ 1386079 h 2476692"/>
                <a:gd name="connsiteX179" fmla="*/ 619703 w 2672340"/>
                <a:gd name="connsiteY179" fmla="*/ 1362267 h 2476692"/>
                <a:gd name="connsiteX180" fmla="*/ 633990 w 2672340"/>
                <a:gd name="connsiteY180" fmla="*/ 1343217 h 2476692"/>
                <a:gd name="connsiteX181" fmla="*/ 662565 w 2672340"/>
                <a:gd name="connsiteY181" fmla="*/ 1319404 h 2476692"/>
                <a:gd name="connsiteX182" fmla="*/ 667328 w 2672340"/>
                <a:gd name="connsiteY182" fmla="*/ 1281304 h 2476692"/>
                <a:gd name="connsiteX183" fmla="*/ 638753 w 2672340"/>
                <a:gd name="connsiteY183" fmla="*/ 1267017 h 2476692"/>
                <a:gd name="connsiteX184" fmla="*/ 633990 w 2672340"/>
                <a:gd name="connsiteY184" fmla="*/ 1252729 h 2476692"/>
                <a:gd name="connsiteX185" fmla="*/ 643515 w 2672340"/>
                <a:gd name="connsiteY185" fmla="*/ 1238442 h 2476692"/>
                <a:gd name="connsiteX186" fmla="*/ 672090 w 2672340"/>
                <a:gd name="connsiteY186" fmla="*/ 1219392 h 2476692"/>
                <a:gd name="connsiteX187" fmla="*/ 672090 w 2672340"/>
                <a:gd name="connsiteY187" fmla="*/ 1162242 h 2476692"/>
                <a:gd name="connsiteX188" fmla="*/ 662565 w 2672340"/>
                <a:gd name="connsiteY188" fmla="*/ 1147954 h 2476692"/>
                <a:gd name="connsiteX189" fmla="*/ 619703 w 2672340"/>
                <a:gd name="connsiteY189" fmla="*/ 1167004 h 2476692"/>
                <a:gd name="connsiteX190" fmla="*/ 610178 w 2672340"/>
                <a:gd name="connsiteY190" fmla="*/ 1152717 h 2476692"/>
                <a:gd name="connsiteX191" fmla="*/ 605415 w 2672340"/>
                <a:gd name="connsiteY191" fmla="*/ 1105092 h 2476692"/>
                <a:gd name="connsiteX192" fmla="*/ 595890 w 2672340"/>
                <a:gd name="connsiteY192" fmla="*/ 1086042 h 2476692"/>
                <a:gd name="connsiteX193" fmla="*/ 576840 w 2672340"/>
                <a:gd name="connsiteY193" fmla="*/ 1057467 h 2476692"/>
                <a:gd name="connsiteX194" fmla="*/ 572078 w 2672340"/>
                <a:gd name="connsiteY194" fmla="*/ 1043179 h 2476692"/>
                <a:gd name="connsiteX195" fmla="*/ 562553 w 2672340"/>
                <a:gd name="connsiteY195" fmla="*/ 962217 h 2476692"/>
                <a:gd name="connsiteX196" fmla="*/ 462540 w 2672340"/>
                <a:gd name="connsiteY196" fmla="*/ 1043179 h 2476692"/>
                <a:gd name="connsiteX197" fmla="*/ 433965 w 2672340"/>
                <a:gd name="connsiteY197" fmla="*/ 952692 h 2476692"/>
                <a:gd name="connsiteX198" fmla="*/ 343478 w 2672340"/>
                <a:gd name="connsiteY198" fmla="*/ 862204 h 2476692"/>
                <a:gd name="connsiteX199" fmla="*/ 262515 w 2672340"/>
                <a:gd name="connsiteY199" fmla="*/ 871729 h 2476692"/>
                <a:gd name="connsiteX200" fmla="*/ 205365 w 2672340"/>
                <a:gd name="connsiteY200" fmla="*/ 919354 h 2476692"/>
                <a:gd name="connsiteX201" fmla="*/ 95828 w 2672340"/>
                <a:gd name="connsiteY201" fmla="*/ 986029 h 2476692"/>
                <a:gd name="connsiteX202" fmla="*/ 24390 w 2672340"/>
                <a:gd name="connsiteY202" fmla="*/ 986029 h 2476692"/>
                <a:gd name="connsiteX203" fmla="*/ 14865 w 2672340"/>
                <a:gd name="connsiteY203" fmla="*/ 947929 h 2476692"/>
                <a:gd name="connsiteX204" fmla="*/ 578 w 2672340"/>
                <a:gd name="connsiteY204" fmla="*/ 933642 h 2476692"/>
                <a:gd name="connsiteX205" fmla="*/ 5340 w 2672340"/>
                <a:gd name="connsiteY205" fmla="*/ 890779 h 2476692"/>
                <a:gd name="connsiteX206" fmla="*/ 57728 w 2672340"/>
                <a:gd name="connsiteY206" fmla="*/ 781242 h 2476692"/>
                <a:gd name="connsiteX207" fmla="*/ 238703 w 2672340"/>
                <a:gd name="connsiteY207" fmla="*/ 543117 h 2476692"/>
                <a:gd name="connsiteX208" fmla="*/ 333953 w 2672340"/>
                <a:gd name="connsiteY208" fmla="*/ 543117 h 2476692"/>
                <a:gd name="connsiteX209" fmla="*/ 429203 w 2672340"/>
                <a:gd name="connsiteY209" fmla="*/ 524067 h 2476692"/>
                <a:gd name="connsiteX210" fmla="*/ 467303 w 2672340"/>
                <a:gd name="connsiteY210" fmla="*/ 538354 h 2476692"/>
                <a:gd name="connsiteX211" fmla="*/ 481590 w 2672340"/>
                <a:gd name="connsiteY211" fmla="*/ 528829 h 2476692"/>
                <a:gd name="connsiteX212" fmla="*/ 486353 w 2672340"/>
                <a:gd name="connsiteY212" fmla="*/ 514542 h 2476692"/>
                <a:gd name="connsiteX213" fmla="*/ 491115 w 2672340"/>
                <a:gd name="connsiteY213" fmla="*/ 466917 h 2476692"/>
                <a:gd name="connsiteX214" fmla="*/ 481590 w 2672340"/>
                <a:gd name="connsiteY214" fmla="*/ 438342 h 2476692"/>
                <a:gd name="connsiteX215" fmla="*/ 462540 w 2672340"/>
                <a:gd name="connsiteY215" fmla="*/ 409767 h 2476692"/>
                <a:gd name="connsiteX216" fmla="*/ 472065 w 2672340"/>
                <a:gd name="connsiteY216" fmla="*/ 347854 h 2476692"/>
                <a:gd name="connsiteX217" fmla="*/ 505403 w 2672340"/>
                <a:gd name="connsiteY217" fmla="*/ 295467 h 2476692"/>
                <a:gd name="connsiteX218" fmla="*/ 514928 w 2672340"/>
                <a:gd name="connsiteY218" fmla="*/ 281179 h 2476692"/>
                <a:gd name="connsiteX219" fmla="*/ 519690 w 2672340"/>
                <a:gd name="connsiteY219" fmla="*/ 257367 h 2476692"/>
                <a:gd name="connsiteX220" fmla="*/ 529215 w 2672340"/>
                <a:gd name="connsiteY220" fmla="*/ 243079 h 2476692"/>
                <a:gd name="connsiteX221" fmla="*/ 538740 w 2672340"/>
                <a:gd name="connsiteY221" fmla="*/ 204979 h 2476692"/>
                <a:gd name="connsiteX222" fmla="*/ 548265 w 2672340"/>
                <a:gd name="connsiteY222" fmla="*/ 185929 h 2476692"/>
                <a:gd name="connsiteX223" fmla="*/ 553028 w 2672340"/>
                <a:gd name="connsiteY223" fmla="*/ 171642 h 2476692"/>
                <a:gd name="connsiteX224" fmla="*/ 562553 w 2672340"/>
                <a:gd name="connsiteY224" fmla="*/ 157354 h 2476692"/>
                <a:gd name="connsiteX225" fmla="*/ 567315 w 2672340"/>
                <a:gd name="connsiteY225" fmla="*/ 133542 h 2476692"/>
                <a:gd name="connsiteX226" fmla="*/ 576840 w 2672340"/>
                <a:gd name="connsiteY226" fmla="*/ 100204 h 2476692"/>
                <a:gd name="connsiteX227" fmla="*/ 581603 w 2672340"/>
                <a:gd name="connsiteY227" fmla="*/ 81154 h 2476692"/>
                <a:gd name="connsiteX228" fmla="*/ 595890 w 2672340"/>
                <a:gd name="connsiteY228" fmla="*/ 33529 h 2476692"/>
                <a:gd name="connsiteX229" fmla="*/ 619703 w 2672340"/>
                <a:gd name="connsiteY229" fmla="*/ 192 h 2476692"/>
                <a:gd name="connsiteX230" fmla="*/ 621543 w 2672340"/>
                <a:gd name="connsiteY230" fmla="*/ 0 h 2476692"/>
                <a:gd name="connsiteX0" fmla="*/ 621543 w 2672588"/>
                <a:gd name="connsiteY0" fmla="*/ 0 h 2476692"/>
                <a:gd name="connsiteX1" fmla="*/ 637165 w 2672588"/>
                <a:gd name="connsiteY1" fmla="*/ 20829 h 2476692"/>
                <a:gd name="connsiteX2" fmla="*/ 643515 w 2672588"/>
                <a:gd name="connsiteY2" fmla="*/ 30354 h 2476692"/>
                <a:gd name="connsiteX3" fmla="*/ 646690 w 2672588"/>
                <a:gd name="connsiteY3" fmla="*/ 74804 h 2476692"/>
                <a:gd name="connsiteX4" fmla="*/ 656215 w 2672588"/>
                <a:gd name="connsiteY4" fmla="*/ 100204 h 2476692"/>
                <a:gd name="connsiteX5" fmla="*/ 757815 w 2672588"/>
                <a:gd name="connsiteY5" fmla="*/ 119254 h 2476692"/>
                <a:gd name="connsiteX6" fmla="*/ 780040 w 2672588"/>
                <a:gd name="connsiteY6" fmla="*/ 135129 h 2476692"/>
                <a:gd name="connsiteX7" fmla="*/ 789565 w 2672588"/>
                <a:gd name="connsiteY7" fmla="*/ 138304 h 2476692"/>
                <a:gd name="connsiteX8" fmla="*/ 808615 w 2672588"/>
                <a:gd name="connsiteY8" fmla="*/ 154179 h 2476692"/>
                <a:gd name="connsiteX9" fmla="*/ 824490 w 2672588"/>
                <a:gd name="connsiteY9" fmla="*/ 176404 h 2476692"/>
                <a:gd name="connsiteX10" fmla="*/ 827665 w 2672588"/>
                <a:gd name="connsiteY10" fmla="*/ 185929 h 2476692"/>
                <a:gd name="connsiteX11" fmla="*/ 853065 w 2672588"/>
                <a:gd name="connsiteY11" fmla="*/ 201804 h 2476692"/>
                <a:gd name="connsiteX12" fmla="*/ 929265 w 2672588"/>
                <a:gd name="connsiteY12" fmla="*/ 220854 h 2476692"/>
                <a:gd name="connsiteX13" fmla="*/ 957840 w 2672588"/>
                <a:gd name="connsiteY13" fmla="*/ 198629 h 2476692"/>
                <a:gd name="connsiteX14" fmla="*/ 980065 w 2672588"/>
                <a:gd name="connsiteY14" fmla="*/ 182754 h 2476692"/>
                <a:gd name="connsiteX15" fmla="*/ 989590 w 2672588"/>
                <a:gd name="connsiteY15" fmla="*/ 176404 h 2476692"/>
                <a:gd name="connsiteX16" fmla="*/ 1011815 w 2672588"/>
                <a:gd name="connsiteY16" fmla="*/ 173229 h 2476692"/>
                <a:gd name="connsiteX17" fmla="*/ 1027690 w 2672588"/>
                <a:gd name="connsiteY17" fmla="*/ 166879 h 2476692"/>
                <a:gd name="connsiteX18" fmla="*/ 1094365 w 2672588"/>
                <a:gd name="connsiteY18" fmla="*/ 220854 h 2476692"/>
                <a:gd name="connsiteX19" fmla="*/ 1186440 w 2672588"/>
                <a:gd name="connsiteY19" fmla="*/ 217679 h 2476692"/>
                <a:gd name="connsiteX20" fmla="*/ 1278515 w 2672588"/>
                <a:gd name="connsiteY20" fmla="*/ 170054 h 2476692"/>
                <a:gd name="connsiteX21" fmla="*/ 1326140 w 2672588"/>
                <a:gd name="connsiteY21" fmla="*/ 74804 h 2476692"/>
                <a:gd name="connsiteX22" fmla="*/ 1373765 w 2672588"/>
                <a:gd name="connsiteY22" fmla="*/ 122429 h 2476692"/>
                <a:gd name="connsiteX23" fmla="*/ 1459490 w 2672588"/>
                <a:gd name="connsiteY23" fmla="*/ 144654 h 2476692"/>
                <a:gd name="connsiteX24" fmla="*/ 1589665 w 2672588"/>
                <a:gd name="connsiteY24" fmla="*/ 144654 h 2476692"/>
                <a:gd name="connsiteX25" fmla="*/ 1697615 w 2672588"/>
                <a:gd name="connsiteY25" fmla="*/ 97029 h 2476692"/>
                <a:gd name="connsiteX26" fmla="*/ 1726190 w 2672588"/>
                <a:gd name="connsiteY26" fmla="*/ 103379 h 2476692"/>
                <a:gd name="connsiteX27" fmla="*/ 1738890 w 2672588"/>
                <a:gd name="connsiteY27" fmla="*/ 122429 h 2476692"/>
                <a:gd name="connsiteX28" fmla="*/ 1732540 w 2672588"/>
                <a:gd name="connsiteY28" fmla="*/ 141479 h 2476692"/>
                <a:gd name="connsiteX29" fmla="*/ 1723015 w 2672588"/>
                <a:gd name="connsiteY29" fmla="*/ 154179 h 2476692"/>
                <a:gd name="connsiteX30" fmla="*/ 1802390 w 2672588"/>
                <a:gd name="connsiteY30" fmla="*/ 144654 h 2476692"/>
                <a:gd name="connsiteX31" fmla="*/ 1824615 w 2672588"/>
                <a:gd name="connsiteY31" fmla="*/ 160529 h 2476692"/>
                <a:gd name="connsiteX32" fmla="*/ 1827790 w 2672588"/>
                <a:gd name="connsiteY32" fmla="*/ 195454 h 2476692"/>
                <a:gd name="connsiteX33" fmla="*/ 1834140 w 2672588"/>
                <a:gd name="connsiteY33" fmla="*/ 217679 h 2476692"/>
                <a:gd name="connsiteX34" fmla="*/ 1840490 w 2672588"/>
                <a:gd name="connsiteY34" fmla="*/ 230379 h 2476692"/>
                <a:gd name="connsiteX35" fmla="*/ 1846840 w 2672588"/>
                <a:gd name="connsiteY35" fmla="*/ 239904 h 2476692"/>
                <a:gd name="connsiteX36" fmla="*/ 1846840 w 2672588"/>
                <a:gd name="connsiteY36" fmla="*/ 249429 h 2476692"/>
                <a:gd name="connsiteX37" fmla="*/ 1916690 w 2672588"/>
                <a:gd name="connsiteY37" fmla="*/ 274829 h 2476692"/>
                <a:gd name="connsiteX38" fmla="*/ 1945265 w 2672588"/>
                <a:gd name="connsiteY38" fmla="*/ 268479 h 2476692"/>
                <a:gd name="connsiteX39" fmla="*/ 1961140 w 2672588"/>
                <a:gd name="connsiteY39" fmla="*/ 274829 h 2476692"/>
                <a:gd name="connsiteX40" fmla="*/ 1977015 w 2672588"/>
                <a:gd name="connsiteY40" fmla="*/ 293879 h 2476692"/>
                <a:gd name="connsiteX41" fmla="*/ 2002415 w 2672588"/>
                <a:gd name="connsiteY41" fmla="*/ 297054 h 2476692"/>
                <a:gd name="connsiteX42" fmla="*/ 2002415 w 2672588"/>
                <a:gd name="connsiteY42" fmla="*/ 344679 h 2476692"/>
                <a:gd name="connsiteX43" fmla="*/ 1998496 w 2672588"/>
                <a:gd name="connsiteY43" fmla="*/ 359366 h 2476692"/>
                <a:gd name="connsiteX44" fmla="*/ 1997699 w 2672588"/>
                <a:gd name="connsiteY44" fmla="*/ 359161 h 2476692"/>
                <a:gd name="connsiteX45" fmla="*/ 1996509 w 2672588"/>
                <a:gd name="connsiteY45" fmla="*/ 357863 h 2476692"/>
                <a:gd name="connsiteX46" fmla="*/ 1996082 w 2672588"/>
                <a:gd name="connsiteY46" fmla="*/ 354482 h 2476692"/>
                <a:gd name="connsiteX47" fmla="*/ 1996065 w 2672588"/>
                <a:gd name="connsiteY47" fmla="*/ 357379 h 2476692"/>
                <a:gd name="connsiteX48" fmla="*/ 1996509 w 2672588"/>
                <a:gd name="connsiteY48" fmla="*/ 357863 h 2476692"/>
                <a:gd name="connsiteX49" fmla="*/ 1996639 w 2672588"/>
                <a:gd name="connsiteY49" fmla="*/ 358889 h 2476692"/>
                <a:gd name="connsiteX50" fmla="*/ 1997699 w 2672588"/>
                <a:gd name="connsiteY50" fmla="*/ 359161 h 2476692"/>
                <a:gd name="connsiteX51" fmla="*/ 2030990 w 2672588"/>
                <a:gd name="connsiteY51" fmla="*/ 395479 h 2476692"/>
                <a:gd name="connsiteX52" fmla="*/ 2059565 w 2672588"/>
                <a:gd name="connsiteY52" fmla="*/ 385954 h 2476692"/>
                <a:gd name="connsiteX53" fmla="*/ 2069090 w 2672588"/>
                <a:gd name="connsiteY53" fmla="*/ 379604 h 2476692"/>
                <a:gd name="connsiteX54" fmla="*/ 2078615 w 2672588"/>
                <a:gd name="connsiteY54" fmla="*/ 376429 h 2476692"/>
                <a:gd name="connsiteX55" fmla="*/ 2116715 w 2672588"/>
                <a:gd name="connsiteY55" fmla="*/ 379604 h 2476692"/>
                <a:gd name="connsiteX56" fmla="*/ 2119890 w 2672588"/>
                <a:gd name="connsiteY56" fmla="*/ 411354 h 2476692"/>
                <a:gd name="connsiteX57" fmla="*/ 2129415 w 2672588"/>
                <a:gd name="connsiteY57" fmla="*/ 443104 h 2476692"/>
                <a:gd name="connsiteX58" fmla="*/ 2132590 w 2672588"/>
                <a:gd name="connsiteY58" fmla="*/ 452629 h 2476692"/>
                <a:gd name="connsiteX59" fmla="*/ 2135765 w 2672588"/>
                <a:gd name="connsiteY59" fmla="*/ 462154 h 2476692"/>
                <a:gd name="connsiteX60" fmla="*/ 2142115 w 2672588"/>
                <a:gd name="connsiteY60" fmla="*/ 493904 h 2476692"/>
                <a:gd name="connsiteX61" fmla="*/ 2138940 w 2672588"/>
                <a:gd name="connsiteY61" fmla="*/ 532004 h 2476692"/>
                <a:gd name="connsiteX62" fmla="*/ 2110365 w 2672588"/>
                <a:gd name="connsiteY62" fmla="*/ 547879 h 2476692"/>
                <a:gd name="connsiteX63" fmla="*/ 2097665 w 2672588"/>
                <a:gd name="connsiteY63" fmla="*/ 557404 h 2476692"/>
                <a:gd name="connsiteX64" fmla="*/ 2094490 w 2672588"/>
                <a:gd name="connsiteY64" fmla="*/ 582804 h 2476692"/>
                <a:gd name="connsiteX65" fmla="*/ 2104015 w 2672588"/>
                <a:gd name="connsiteY65" fmla="*/ 608204 h 2476692"/>
                <a:gd name="connsiteX66" fmla="*/ 2110365 w 2672588"/>
                <a:gd name="connsiteY66" fmla="*/ 617729 h 2476692"/>
                <a:gd name="connsiteX67" fmla="*/ 2116715 w 2672588"/>
                <a:gd name="connsiteY67" fmla="*/ 643129 h 2476692"/>
                <a:gd name="connsiteX68" fmla="*/ 2119890 w 2672588"/>
                <a:gd name="connsiteY68" fmla="*/ 719329 h 2476692"/>
                <a:gd name="connsiteX69" fmla="*/ 2123065 w 2672588"/>
                <a:gd name="connsiteY69" fmla="*/ 728854 h 2476692"/>
                <a:gd name="connsiteX70" fmla="*/ 2142115 w 2672588"/>
                <a:gd name="connsiteY70" fmla="*/ 741554 h 2476692"/>
                <a:gd name="connsiteX71" fmla="*/ 2161165 w 2672588"/>
                <a:gd name="connsiteY71" fmla="*/ 738379 h 2476692"/>
                <a:gd name="connsiteX72" fmla="*/ 2170690 w 2672588"/>
                <a:gd name="connsiteY72" fmla="*/ 732029 h 2476692"/>
                <a:gd name="connsiteX73" fmla="*/ 2183390 w 2672588"/>
                <a:gd name="connsiteY73" fmla="*/ 725679 h 2476692"/>
                <a:gd name="connsiteX74" fmla="*/ 2192915 w 2672588"/>
                <a:gd name="connsiteY74" fmla="*/ 719329 h 2476692"/>
                <a:gd name="connsiteX75" fmla="*/ 2211965 w 2672588"/>
                <a:gd name="connsiteY75" fmla="*/ 712979 h 2476692"/>
                <a:gd name="connsiteX76" fmla="*/ 2259590 w 2672588"/>
                <a:gd name="connsiteY76" fmla="*/ 716154 h 2476692"/>
                <a:gd name="connsiteX77" fmla="*/ 2262765 w 2672588"/>
                <a:gd name="connsiteY77" fmla="*/ 732029 h 2476692"/>
                <a:gd name="connsiteX78" fmla="*/ 2272290 w 2672588"/>
                <a:gd name="connsiteY78" fmla="*/ 751079 h 2476692"/>
                <a:gd name="connsiteX79" fmla="*/ 2297690 w 2672588"/>
                <a:gd name="connsiteY79" fmla="*/ 754254 h 2476692"/>
                <a:gd name="connsiteX80" fmla="*/ 2329440 w 2672588"/>
                <a:gd name="connsiteY80" fmla="*/ 738379 h 2476692"/>
                <a:gd name="connsiteX81" fmla="*/ 2338965 w 2672588"/>
                <a:gd name="connsiteY81" fmla="*/ 735204 h 2476692"/>
                <a:gd name="connsiteX82" fmla="*/ 2367540 w 2672588"/>
                <a:gd name="connsiteY82" fmla="*/ 722504 h 2476692"/>
                <a:gd name="connsiteX83" fmla="*/ 2377065 w 2672588"/>
                <a:gd name="connsiteY83" fmla="*/ 719329 h 2476692"/>
                <a:gd name="connsiteX84" fmla="*/ 2391809 w 2672588"/>
                <a:gd name="connsiteY84" fmla="*/ 719329 h 2476692"/>
                <a:gd name="connsiteX85" fmla="*/ 2672340 w 2672588"/>
                <a:gd name="connsiteY85" fmla="*/ 1724217 h 2476692"/>
                <a:gd name="connsiteX86" fmla="*/ 2455646 w 2672588"/>
                <a:gd name="connsiteY86" fmla="*/ 2121885 h 2476692"/>
                <a:gd name="connsiteX87" fmla="*/ 2410403 w 2672588"/>
                <a:gd name="connsiteY87" fmla="*/ 2152842 h 2476692"/>
                <a:gd name="connsiteX88" fmla="*/ 2458028 w 2672588"/>
                <a:gd name="connsiteY88" fmla="*/ 2186180 h 2476692"/>
                <a:gd name="connsiteX89" fmla="*/ 2448503 w 2672588"/>
                <a:gd name="connsiteY89" fmla="*/ 2226660 h 2476692"/>
                <a:gd name="connsiteX90" fmla="*/ 2410403 w 2672588"/>
                <a:gd name="connsiteY90" fmla="*/ 2262379 h 2476692"/>
                <a:gd name="connsiteX91" fmla="*/ 2388971 w 2672588"/>
                <a:gd name="connsiteY91" fmla="*/ 2331435 h 2476692"/>
                <a:gd name="connsiteX92" fmla="*/ 2405640 w 2672588"/>
                <a:gd name="connsiteY92" fmla="*/ 2381442 h 2476692"/>
                <a:gd name="connsiteX93" fmla="*/ 2391353 w 2672588"/>
                <a:gd name="connsiteY93" fmla="*/ 2414779 h 2476692"/>
                <a:gd name="connsiteX94" fmla="*/ 2334203 w 2672588"/>
                <a:gd name="connsiteY94" fmla="*/ 2433829 h 2476692"/>
                <a:gd name="connsiteX95" fmla="*/ 2305628 w 2672588"/>
                <a:gd name="connsiteY95" fmla="*/ 2443354 h 2476692"/>
                <a:gd name="connsiteX96" fmla="*/ 2296103 w 2672588"/>
                <a:gd name="connsiteY96" fmla="*/ 2457642 h 2476692"/>
                <a:gd name="connsiteX97" fmla="*/ 2262765 w 2672588"/>
                <a:gd name="connsiteY97" fmla="*/ 2462404 h 2476692"/>
                <a:gd name="connsiteX98" fmla="*/ 2229428 w 2672588"/>
                <a:gd name="connsiteY98" fmla="*/ 2438592 h 2476692"/>
                <a:gd name="connsiteX99" fmla="*/ 2215140 w 2672588"/>
                <a:gd name="connsiteY99" fmla="*/ 2433829 h 2476692"/>
                <a:gd name="connsiteX100" fmla="*/ 2205615 w 2672588"/>
                <a:gd name="connsiteY100" fmla="*/ 2457642 h 2476692"/>
                <a:gd name="connsiteX101" fmla="*/ 2191328 w 2672588"/>
                <a:gd name="connsiteY101" fmla="*/ 2467167 h 2476692"/>
                <a:gd name="connsiteX102" fmla="*/ 2153228 w 2672588"/>
                <a:gd name="connsiteY102" fmla="*/ 2476692 h 2476692"/>
                <a:gd name="connsiteX103" fmla="*/ 2134178 w 2672588"/>
                <a:gd name="connsiteY103" fmla="*/ 2448117 h 2476692"/>
                <a:gd name="connsiteX104" fmla="*/ 2124653 w 2672588"/>
                <a:gd name="connsiteY104" fmla="*/ 2433829 h 2476692"/>
                <a:gd name="connsiteX105" fmla="*/ 2119890 w 2672588"/>
                <a:gd name="connsiteY105" fmla="*/ 2352867 h 2476692"/>
                <a:gd name="connsiteX106" fmla="*/ 2124653 w 2672588"/>
                <a:gd name="connsiteY106" fmla="*/ 2338579 h 2476692"/>
                <a:gd name="connsiteX107" fmla="*/ 2167515 w 2672588"/>
                <a:gd name="connsiteY107" fmla="*/ 2290954 h 2476692"/>
                <a:gd name="connsiteX108" fmla="*/ 2177040 w 2672588"/>
                <a:gd name="connsiteY108" fmla="*/ 2276667 h 2476692"/>
                <a:gd name="connsiteX109" fmla="*/ 2153228 w 2672588"/>
                <a:gd name="connsiteY109" fmla="*/ 2248092 h 2476692"/>
                <a:gd name="connsiteX110" fmla="*/ 2134178 w 2672588"/>
                <a:gd name="connsiteY110" fmla="*/ 2238567 h 2476692"/>
                <a:gd name="connsiteX111" fmla="*/ 2129415 w 2672588"/>
                <a:gd name="connsiteY111" fmla="*/ 2214754 h 2476692"/>
                <a:gd name="connsiteX112" fmla="*/ 2148465 w 2672588"/>
                <a:gd name="connsiteY112" fmla="*/ 2186179 h 2476692"/>
                <a:gd name="connsiteX113" fmla="*/ 2167515 w 2672588"/>
                <a:gd name="connsiteY113" fmla="*/ 2190942 h 2476692"/>
                <a:gd name="connsiteX114" fmla="*/ 2229428 w 2672588"/>
                <a:gd name="connsiteY114" fmla="*/ 2186179 h 2476692"/>
                <a:gd name="connsiteX115" fmla="*/ 2234190 w 2672588"/>
                <a:gd name="connsiteY115" fmla="*/ 2171892 h 2476692"/>
                <a:gd name="connsiteX116" fmla="*/ 2224665 w 2672588"/>
                <a:gd name="connsiteY116" fmla="*/ 2143317 h 2476692"/>
                <a:gd name="connsiteX117" fmla="*/ 2210378 w 2672588"/>
                <a:gd name="connsiteY117" fmla="*/ 2129029 h 2476692"/>
                <a:gd name="connsiteX118" fmla="*/ 2191328 w 2672588"/>
                <a:gd name="connsiteY118" fmla="*/ 2119504 h 2476692"/>
                <a:gd name="connsiteX119" fmla="*/ 2162753 w 2672588"/>
                <a:gd name="connsiteY119" fmla="*/ 2114742 h 2476692"/>
                <a:gd name="connsiteX120" fmla="*/ 2157990 w 2672588"/>
                <a:gd name="connsiteY120" fmla="*/ 2095692 h 2476692"/>
                <a:gd name="connsiteX121" fmla="*/ 2181803 w 2672588"/>
                <a:gd name="connsiteY121" fmla="*/ 2062354 h 2476692"/>
                <a:gd name="connsiteX122" fmla="*/ 2191328 w 2672588"/>
                <a:gd name="connsiteY122" fmla="*/ 2048067 h 2476692"/>
                <a:gd name="connsiteX123" fmla="*/ 2196090 w 2672588"/>
                <a:gd name="connsiteY123" fmla="*/ 1986154 h 2476692"/>
                <a:gd name="connsiteX124" fmla="*/ 2186565 w 2672588"/>
                <a:gd name="connsiteY124" fmla="*/ 1957579 h 2476692"/>
                <a:gd name="connsiteX125" fmla="*/ 2162753 w 2672588"/>
                <a:gd name="connsiteY125" fmla="*/ 1952817 h 2476692"/>
                <a:gd name="connsiteX126" fmla="*/ 2134178 w 2672588"/>
                <a:gd name="connsiteY126" fmla="*/ 1971867 h 2476692"/>
                <a:gd name="connsiteX127" fmla="*/ 2124653 w 2672588"/>
                <a:gd name="connsiteY127" fmla="*/ 1986154 h 2476692"/>
                <a:gd name="connsiteX128" fmla="*/ 2105603 w 2672588"/>
                <a:gd name="connsiteY128" fmla="*/ 2005204 h 2476692"/>
                <a:gd name="connsiteX129" fmla="*/ 2072265 w 2672588"/>
                <a:gd name="connsiteY129" fmla="*/ 2038542 h 2476692"/>
                <a:gd name="connsiteX130" fmla="*/ 2057978 w 2672588"/>
                <a:gd name="connsiteY130" fmla="*/ 2048067 h 2476692"/>
                <a:gd name="connsiteX131" fmla="*/ 2029403 w 2672588"/>
                <a:gd name="connsiteY131" fmla="*/ 2052829 h 2476692"/>
                <a:gd name="connsiteX132" fmla="*/ 2019878 w 2672588"/>
                <a:gd name="connsiteY132" fmla="*/ 2009967 h 2476692"/>
                <a:gd name="connsiteX133" fmla="*/ 1991303 w 2672588"/>
                <a:gd name="connsiteY133" fmla="*/ 1986154 h 2476692"/>
                <a:gd name="connsiteX134" fmla="*/ 1962728 w 2672588"/>
                <a:gd name="connsiteY134" fmla="*/ 1976629 h 2476692"/>
                <a:gd name="connsiteX135" fmla="*/ 1948440 w 2672588"/>
                <a:gd name="connsiteY135" fmla="*/ 1990917 h 2476692"/>
                <a:gd name="connsiteX136" fmla="*/ 1910340 w 2672588"/>
                <a:gd name="connsiteY136" fmla="*/ 2000442 h 2476692"/>
                <a:gd name="connsiteX137" fmla="*/ 1891290 w 2672588"/>
                <a:gd name="connsiteY137" fmla="*/ 1971867 h 2476692"/>
                <a:gd name="connsiteX138" fmla="*/ 1886528 w 2672588"/>
                <a:gd name="connsiteY138" fmla="*/ 1952817 h 2476692"/>
                <a:gd name="connsiteX139" fmla="*/ 1881765 w 2672588"/>
                <a:gd name="connsiteY139" fmla="*/ 1929004 h 2476692"/>
                <a:gd name="connsiteX140" fmla="*/ 1877003 w 2672588"/>
                <a:gd name="connsiteY140" fmla="*/ 1886142 h 2476692"/>
                <a:gd name="connsiteX141" fmla="*/ 1862715 w 2672588"/>
                <a:gd name="connsiteY141" fmla="*/ 1871854 h 2476692"/>
                <a:gd name="connsiteX142" fmla="*/ 1853190 w 2672588"/>
                <a:gd name="connsiteY142" fmla="*/ 1857567 h 2476692"/>
                <a:gd name="connsiteX143" fmla="*/ 1824615 w 2672588"/>
                <a:gd name="connsiteY143" fmla="*/ 1838517 h 2476692"/>
                <a:gd name="connsiteX144" fmla="*/ 1819853 w 2672588"/>
                <a:gd name="connsiteY144" fmla="*/ 1819467 h 2476692"/>
                <a:gd name="connsiteX145" fmla="*/ 1834140 w 2672588"/>
                <a:gd name="connsiteY145" fmla="*/ 1814704 h 2476692"/>
                <a:gd name="connsiteX146" fmla="*/ 1848428 w 2672588"/>
                <a:gd name="connsiteY146" fmla="*/ 1809942 h 2476692"/>
                <a:gd name="connsiteX147" fmla="*/ 1862715 w 2672588"/>
                <a:gd name="connsiteY147" fmla="*/ 1805179 h 2476692"/>
                <a:gd name="connsiteX148" fmla="*/ 1891290 w 2672588"/>
                <a:gd name="connsiteY148" fmla="*/ 1795654 h 2476692"/>
                <a:gd name="connsiteX149" fmla="*/ 1896053 w 2672588"/>
                <a:gd name="connsiteY149" fmla="*/ 1781367 h 2476692"/>
                <a:gd name="connsiteX150" fmla="*/ 1900815 w 2672588"/>
                <a:gd name="connsiteY150" fmla="*/ 1762317 h 2476692"/>
                <a:gd name="connsiteX151" fmla="*/ 1891290 w 2672588"/>
                <a:gd name="connsiteY151" fmla="*/ 1676592 h 2476692"/>
                <a:gd name="connsiteX152" fmla="*/ 1719840 w 2672588"/>
                <a:gd name="connsiteY152" fmla="*/ 1671829 h 2476692"/>
                <a:gd name="connsiteX153" fmla="*/ 1710315 w 2672588"/>
                <a:gd name="connsiteY153" fmla="*/ 1690879 h 2476692"/>
                <a:gd name="connsiteX154" fmla="*/ 1696028 w 2672588"/>
                <a:gd name="connsiteY154" fmla="*/ 1709929 h 2476692"/>
                <a:gd name="connsiteX155" fmla="*/ 1681740 w 2672588"/>
                <a:gd name="connsiteY155" fmla="*/ 1724217 h 2476692"/>
                <a:gd name="connsiteX156" fmla="*/ 1676978 w 2672588"/>
                <a:gd name="connsiteY156" fmla="*/ 1738504 h 2476692"/>
                <a:gd name="connsiteX157" fmla="*/ 1667453 w 2672588"/>
                <a:gd name="connsiteY157" fmla="*/ 1762317 h 2476692"/>
                <a:gd name="connsiteX158" fmla="*/ 1643640 w 2672588"/>
                <a:gd name="connsiteY158" fmla="*/ 1795654 h 2476692"/>
                <a:gd name="connsiteX159" fmla="*/ 1291215 w 2672588"/>
                <a:gd name="connsiteY159" fmla="*/ 1938529 h 2476692"/>
                <a:gd name="connsiteX160" fmla="*/ 1162628 w 2672588"/>
                <a:gd name="connsiteY160" fmla="*/ 1833754 h 2476692"/>
                <a:gd name="connsiteX161" fmla="*/ 1091190 w 2672588"/>
                <a:gd name="connsiteY161" fmla="*/ 1843279 h 2476692"/>
                <a:gd name="connsiteX162" fmla="*/ 1014990 w 2672588"/>
                <a:gd name="connsiteY162" fmla="*/ 1786129 h 2476692"/>
                <a:gd name="connsiteX163" fmla="*/ 1024515 w 2672588"/>
                <a:gd name="connsiteY163" fmla="*/ 1733742 h 2476692"/>
                <a:gd name="connsiteX164" fmla="*/ 957840 w 2672588"/>
                <a:gd name="connsiteY164" fmla="*/ 1719454 h 2476692"/>
                <a:gd name="connsiteX165" fmla="*/ 767340 w 2672588"/>
                <a:gd name="connsiteY165" fmla="*/ 1671829 h 2476692"/>
                <a:gd name="connsiteX166" fmla="*/ 743528 w 2672588"/>
                <a:gd name="connsiteY166" fmla="*/ 1681354 h 2476692"/>
                <a:gd name="connsiteX167" fmla="*/ 729240 w 2672588"/>
                <a:gd name="connsiteY167" fmla="*/ 1686117 h 2476692"/>
                <a:gd name="connsiteX168" fmla="*/ 700665 w 2672588"/>
                <a:gd name="connsiteY168" fmla="*/ 1667067 h 2476692"/>
                <a:gd name="connsiteX169" fmla="*/ 657803 w 2672588"/>
                <a:gd name="connsiteY169" fmla="*/ 1624204 h 2476692"/>
                <a:gd name="connsiteX170" fmla="*/ 605415 w 2672588"/>
                <a:gd name="connsiteY170" fmla="*/ 1638492 h 2476692"/>
                <a:gd name="connsiteX171" fmla="*/ 533978 w 2672588"/>
                <a:gd name="connsiteY171" fmla="*/ 1543242 h 2476692"/>
                <a:gd name="connsiteX172" fmla="*/ 548265 w 2672588"/>
                <a:gd name="connsiteY172" fmla="*/ 1528954 h 2476692"/>
                <a:gd name="connsiteX173" fmla="*/ 567315 w 2672588"/>
                <a:gd name="connsiteY173" fmla="*/ 1514667 h 2476692"/>
                <a:gd name="connsiteX174" fmla="*/ 581603 w 2672588"/>
                <a:gd name="connsiteY174" fmla="*/ 1476567 h 2476692"/>
                <a:gd name="connsiteX175" fmla="*/ 567315 w 2672588"/>
                <a:gd name="connsiteY175" fmla="*/ 1471804 h 2476692"/>
                <a:gd name="connsiteX176" fmla="*/ 543503 w 2672588"/>
                <a:gd name="connsiteY176" fmla="*/ 1462279 h 2476692"/>
                <a:gd name="connsiteX177" fmla="*/ 562553 w 2672588"/>
                <a:gd name="connsiteY177" fmla="*/ 1428942 h 2476692"/>
                <a:gd name="connsiteX178" fmla="*/ 567315 w 2672588"/>
                <a:gd name="connsiteY178" fmla="*/ 1414654 h 2476692"/>
                <a:gd name="connsiteX179" fmla="*/ 586365 w 2672588"/>
                <a:gd name="connsiteY179" fmla="*/ 1386079 h 2476692"/>
                <a:gd name="connsiteX180" fmla="*/ 619703 w 2672588"/>
                <a:gd name="connsiteY180" fmla="*/ 1362267 h 2476692"/>
                <a:gd name="connsiteX181" fmla="*/ 633990 w 2672588"/>
                <a:gd name="connsiteY181" fmla="*/ 1343217 h 2476692"/>
                <a:gd name="connsiteX182" fmla="*/ 662565 w 2672588"/>
                <a:gd name="connsiteY182" fmla="*/ 1319404 h 2476692"/>
                <a:gd name="connsiteX183" fmla="*/ 667328 w 2672588"/>
                <a:gd name="connsiteY183" fmla="*/ 1281304 h 2476692"/>
                <a:gd name="connsiteX184" fmla="*/ 638753 w 2672588"/>
                <a:gd name="connsiteY184" fmla="*/ 1267017 h 2476692"/>
                <a:gd name="connsiteX185" fmla="*/ 633990 w 2672588"/>
                <a:gd name="connsiteY185" fmla="*/ 1252729 h 2476692"/>
                <a:gd name="connsiteX186" fmla="*/ 643515 w 2672588"/>
                <a:gd name="connsiteY186" fmla="*/ 1238442 h 2476692"/>
                <a:gd name="connsiteX187" fmla="*/ 672090 w 2672588"/>
                <a:gd name="connsiteY187" fmla="*/ 1219392 h 2476692"/>
                <a:gd name="connsiteX188" fmla="*/ 672090 w 2672588"/>
                <a:gd name="connsiteY188" fmla="*/ 1162242 h 2476692"/>
                <a:gd name="connsiteX189" fmla="*/ 662565 w 2672588"/>
                <a:gd name="connsiteY189" fmla="*/ 1147954 h 2476692"/>
                <a:gd name="connsiteX190" fmla="*/ 619703 w 2672588"/>
                <a:gd name="connsiteY190" fmla="*/ 1167004 h 2476692"/>
                <a:gd name="connsiteX191" fmla="*/ 610178 w 2672588"/>
                <a:gd name="connsiteY191" fmla="*/ 1152717 h 2476692"/>
                <a:gd name="connsiteX192" fmla="*/ 605415 w 2672588"/>
                <a:gd name="connsiteY192" fmla="*/ 1105092 h 2476692"/>
                <a:gd name="connsiteX193" fmla="*/ 595890 w 2672588"/>
                <a:gd name="connsiteY193" fmla="*/ 1086042 h 2476692"/>
                <a:gd name="connsiteX194" fmla="*/ 576840 w 2672588"/>
                <a:gd name="connsiteY194" fmla="*/ 1057467 h 2476692"/>
                <a:gd name="connsiteX195" fmla="*/ 572078 w 2672588"/>
                <a:gd name="connsiteY195" fmla="*/ 1043179 h 2476692"/>
                <a:gd name="connsiteX196" fmla="*/ 562553 w 2672588"/>
                <a:gd name="connsiteY196" fmla="*/ 962217 h 2476692"/>
                <a:gd name="connsiteX197" fmla="*/ 462540 w 2672588"/>
                <a:gd name="connsiteY197" fmla="*/ 1043179 h 2476692"/>
                <a:gd name="connsiteX198" fmla="*/ 433965 w 2672588"/>
                <a:gd name="connsiteY198" fmla="*/ 952692 h 2476692"/>
                <a:gd name="connsiteX199" fmla="*/ 343478 w 2672588"/>
                <a:gd name="connsiteY199" fmla="*/ 862204 h 2476692"/>
                <a:gd name="connsiteX200" fmla="*/ 262515 w 2672588"/>
                <a:gd name="connsiteY200" fmla="*/ 871729 h 2476692"/>
                <a:gd name="connsiteX201" fmla="*/ 205365 w 2672588"/>
                <a:gd name="connsiteY201" fmla="*/ 919354 h 2476692"/>
                <a:gd name="connsiteX202" fmla="*/ 95828 w 2672588"/>
                <a:gd name="connsiteY202" fmla="*/ 986029 h 2476692"/>
                <a:gd name="connsiteX203" fmla="*/ 24390 w 2672588"/>
                <a:gd name="connsiteY203" fmla="*/ 986029 h 2476692"/>
                <a:gd name="connsiteX204" fmla="*/ 14865 w 2672588"/>
                <a:gd name="connsiteY204" fmla="*/ 947929 h 2476692"/>
                <a:gd name="connsiteX205" fmla="*/ 578 w 2672588"/>
                <a:gd name="connsiteY205" fmla="*/ 933642 h 2476692"/>
                <a:gd name="connsiteX206" fmla="*/ 5340 w 2672588"/>
                <a:gd name="connsiteY206" fmla="*/ 890779 h 2476692"/>
                <a:gd name="connsiteX207" fmla="*/ 57728 w 2672588"/>
                <a:gd name="connsiteY207" fmla="*/ 781242 h 2476692"/>
                <a:gd name="connsiteX208" fmla="*/ 238703 w 2672588"/>
                <a:gd name="connsiteY208" fmla="*/ 543117 h 2476692"/>
                <a:gd name="connsiteX209" fmla="*/ 333953 w 2672588"/>
                <a:gd name="connsiteY209" fmla="*/ 543117 h 2476692"/>
                <a:gd name="connsiteX210" fmla="*/ 429203 w 2672588"/>
                <a:gd name="connsiteY210" fmla="*/ 524067 h 2476692"/>
                <a:gd name="connsiteX211" fmla="*/ 467303 w 2672588"/>
                <a:gd name="connsiteY211" fmla="*/ 538354 h 2476692"/>
                <a:gd name="connsiteX212" fmla="*/ 481590 w 2672588"/>
                <a:gd name="connsiteY212" fmla="*/ 528829 h 2476692"/>
                <a:gd name="connsiteX213" fmla="*/ 486353 w 2672588"/>
                <a:gd name="connsiteY213" fmla="*/ 514542 h 2476692"/>
                <a:gd name="connsiteX214" fmla="*/ 491115 w 2672588"/>
                <a:gd name="connsiteY214" fmla="*/ 466917 h 2476692"/>
                <a:gd name="connsiteX215" fmla="*/ 481590 w 2672588"/>
                <a:gd name="connsiteY215" fmla="*/ 438342 h 2476692"/>
                <a:gd name="connsiteX216" fmla="*/ 462540 w 2672588"/>
                <a:gd name="connsiteY216" fmla="*/ 409767 h 2476692"/>
                <a:gd name="connsiteX217" fmla="*/ 472065 w 2672588"/>
                <a:gd name="connsiteY217" fmla="*/ 347854 h 2476692"/>
                <a:gd name="connsiteX218" fmla="*/ 505403 w 2672588"/>
                <a:gd name="connsiteY218" fmla="*/ 295467 h 2476692"/>
                <a:gd name="connsiteX219" fmla="*/ 514928 w 2672588"/>
                <a:gd name="connsiteY219" fmla="*/ 281179 h 2476692"/>
                <a:gd name="connsiteX220" fmla="*/ 519690 w 2672588"/>
                <a:gd name="connsiteY220" fmla="*/ 257367 h 2476692"/>
                <a:gd name="connsiteX221" fmla="*/ 529215 w 2672588"/>
                <a:gd name="connsiteY221" fmla="*/ 243079 h 2476692"/>
                <a:gd name="connsiteX222" fmla="*/ 538740 w 2672588"/>
                <a:gd name="connsiteY222" fmla="*/ 204979 h 2476692"/>
                <a:gd name="connsiteX223" fmla="*/ 548265 w 2672588"/>
                <a:gd name="connsiteY223" fmla="*/ 185929 h 2476692"/>
                <a:gd name="connsiteX224" fmla="*/ 553028 w 2672588"/>
                <a:gd name="connsiteY224" fmla="*/ 171642 h 2476692"/>
                <a:gd name="connsiteX225" fmla="*/ 562553 w 2672588"/>
                <a:gd name="connsiteY225" fmla="*/ 157354 h 2476692"/>
                <a:gd name="connsiteX226" fmla="*/ 567315 w 2672588"/>
                <a:gd name="connsiteY226" fmla="*/ 133542 h 2476692"/>
                <a:gd name="connsiteX227" fmla="*/ 576840 w 2672588"/>
                <a:gd name="connsiteY227" fmla="*/ 100204 h 2476692"/>
                <a:gd name="connsiteX228" fmla="*/ 581603 w 2672588"/>
                <a:gd name="connsiteY228" fmla="*/ 81154 h 2476692"/>
                <a:gd name="connsiteX229" fmla="*/ 595890 w 2672588"/>
                <a:gd name="connsiteY229" fmla="*/ 33529 h 2476692"/>
                <a:gd name="connsiteX230" fmla="*/ 619703 w 2672588"/>
                <a:gd name="connsiteY230" fmla="*/ 192 h 2476692"/>
                <a:gd name="connsiteX231" fmla="*/ 621543 w 2672588"/>
                <a:gd name="connsiteY231" fmla="*/ 0 h 2476692"/>
                <a:gd name="connsiteX0" fmla="*/ 621543 w 2673330"/>
                <a:gd name="connsiteY0" fmla="*/ 0 h 2476692"/>
                <a:gd name="connsiteX1" fmla="*/ 637165 w 2673330"/>
                <a:gd name="connsiteY1" fmla="*/ 20829 h 2476692"/>
                <a:gd name="connsiteX2" fmla="*/ 643515 w 2673330"/>
                <a:gd name="connsiteY2" fmla="*/ 30354 h 2476692"/>
                <a:gd name="connsiteX3" fmla="*/ 646690 w 2673330"/>
                <a:gd name="connsiteY3" fmla="*/ 74804 h 2476692"/>
                <a:gd name="connsiteX4" fmla="*/ 656215 w 2673330"/>
                <a:gd name="connsiteY4" fmla="*/ 100204 h 2476692"/>
                <a:gd name="connsiteX5" fmla="*/ 757815 w 2673330"/>
                <a:gd name="connsiteY5" fmla="*/ 119254 h 2476692"/>
                <a:gd name="connsiteX6" fmla="*/ 780040 w 2673330"/>
                <a:gd name="connsiteY6" fmla="*/ 135129 h 2476692"/>
                <a:gd name="connsiteX7" fmla="*/ 789565 w 2673330"/>
                <a:gd name="connsiteY7" fmla="*/ 138304 h 2476692"/>
                <a:gd name="connsiteX8" fmla="*/ 808615 w 2673330"/>
                <a:gd name="connsiteY8" fmla="*/ 154179 h 2476692"/>
                <a:gd name="connsiteX9" fmla="*/ 824490 w 2673330"/>
                <a:gd name="connsiteY9" fmla="*/ 176404 h 2476692"/>
                <a:gd name="connsiteX10" fmla="*/ 827665 w 2673330"/>
                <a:gd name="connsiteY10" fmla="*/ 185929 h 2476692"/>
                <a:gd name="connsiteX11" fmla="*/ 853065 w 2673330"/>
                <a:gd name="connsiteY11" fmla="*/ 201804 h 2476692"/>
                <a:gd name="connsiteX12" fmla="*/ 929265 w 2673330"/>
                <a:gd name="connsiteY12" fmla="*/ 220854 h 2476692"/>
                <a:gd name="connsiteX13" fmla="*/ 957840 w 2673330"/>
                <a:gd name="connsiteY13" fmla="*/ 198629 h 2476692"/>
                <a:gd name="connsiteX14" fmla="*/ 980065 w 2673330"/>
                <a:gd name="connsiteY14" fmla="*/ 182754 h 2476692"/>
                <a:gd name="connsiteX15" fmla="*/ 989590 w 2673330"/>
                <a:gd name="connsiteY15" fmla="*/ 176404 h 2476692"/>
                <a:gd name="connsiteX16" fmla="*/ 1011815 w 2673330"/>
                <a:gd name="connsiteY16" fmla="*/ 173229 h 2476692"/>
                <a:gd name="connsiteX17" fmla="*/ 1027690 w 2673330"/>
                <a:gd name="connsiteY17" fmla="*/ 166879 h 2476692"/>
                <a:gd name="connsiteX18" fmla="*/ 1094365 w 2673330"/>
                <a:gd name="connsiteY18" fmla="*/ 220854 h 2476692"/>
                <a:gd name="connsiteX19" fmla="*/ 1186440 w 2673330"/>
                <a:gd name="connsiteY19" fmla="*/ 217679 h 2476692"/>
                <a:gd name="connsiteX20" fmla="*/ 1278515 w 2673330"/>
                <a:gd name="connsiteY20" fmla="*/ 170054 h 2476692"/>
                <a:gd name="connsiteX21" fmla="*/ 1326140 w 2673330"/>
                <a:gd name="connsiteY21" fmla="*/ 74804 h 2476692"/>
                <a:gd name="connsiteX22" fmla="*/ 1373765 w 2673330"/>
                <a:gd name="connsiteY22" fmla="*/ 122429 h 2476692"/>
                <a:gd name="connsiteX23" fmla="*/ 1459490 w 2673330"/>
                <a:gd name="connsiteY23" fmla="*/ 144654 h 2476692"/>
                <a:gd name="connsiteX24" fmla="*/ 1589665 w 2673330"/>
                <a:gd name="connsiteY24" fmla="*/ 144654 h 2476692"/>
                <a:gd name="connsiteX25" fmla="*/ 1697615 w 2673330"/>
                <a:gd name="connsiteY25" fmla="*/ 97029 h 2476692"/>
                <a:gd name="connsiteX26" fmla="*/ 1726190 w 2673330"/>
                <a:gd name="connsiteY26" fmla="*/ 103379 h 2476692"/>
                <a:gd name="connsiteX27" fmla="*/ 1738890 w 2673330"/>
                <a:gd name="connsiteY27" fmla="*/ 122429 h 2476692"/>
                <a:gd name="connsiteX28" fmla="*/ 1732540 w 2673330"/>
                <a:gd name="connsiteY28" fmla="*/ 141479 h 2476692"/>
                <a:gd name="connsiteX29" fmla="*/ 1723015 w 2673330"/>
                <a:gd name="connsiteY29" fmla="*/ 154179 h 2476692"/>
                <a:gd name="connsiteX30" fmla="*/ 1802390 w 2673330"/>
                <a:gd name="connsiteY30" fmla="*/ 144654 h 2476692"/>
                <a:gd name="connsiteX31" fmla="*/ 1824615 w 2673330"/>
                <a:gd name="connsiteY31" fmla="*/ 160529 h 2476692"/>
                <a:gd name="connsiteX32" fmla="*/ 1827790 w 2673330"/>
                <a:gd name="connsiteY32" fmla="*/ 195454 h 2476692"/>
                <a:gd name="connsiteX33" fmla="*/ 1834140 w 2673330"/>
                <a:gd name="connsiteY33" fmla="*/ 217679 h 2476692"/>
                <a:gd name="connsiteX34" fmla="*/ 1840490 w 2673330"/>
                <a:gd name="connsiteY34" fmla="*/ 230379 h 2476692"/>
                <a:gd name="connsiteX35" fmla="*/ 1846840 w 2673330"/>
                <a:gd name="connsiteY35" fmla="*/ 239904 h 2476692"/>
                <a:gd name="connsiteX36" fmla="*/ 1846840 w 2673330"/>
                <a:gd name="connsiteY36" fmla="*/ 249429 h 2476692"/>
                <a:gd name="connsiteX37" fmla="*/ 1916690 w 2673330"/>
                <a:gd name="connsiteY37" fmla="*/ 274829 h 2476692"/>
                <a:gd name="connsiteX38" fmla="*/ 1945265 w 2673330"/>
                <a:gd name="connsiteY38" fmla="*/ 268479 h 2476692"/>
                <a:gd name="connsiteX39" fmla="*/ 1961140 w 2673330"/>
                <a:gd name="connsiteY39" fmla="*/ 274829 h 2476692"/>
                <a:gd name="connsiteX40" fmla="*/ 1977015 w 2673330"/>
                <a:gd name="connsiteY40" fmla="*/ 293879 h 2476692"/>
                <a:gd name="connsiteX41" fmla="*/ 2002415 w 2673330"/>
                <a:gd name="connsiteY41" fmla="*/ 297054 h 2476692"/>
                <a:gd name="connsiteX42" fmla="*/ 2002415 w 2673330"/>
                <a:gd name="connsiteY42" fmla="*/ 344679 h 2476692"/>
                <a:gd name="connsiteX43" fmla="*/ 1998496 w 2673330"/>
                <a:gd name="connsiteY43" fmla="*/ 359366 h 2476692"/>
                <a:gd name="connsiteX44" fmla="*/ 1997699 w 2673330"/>
                <a:gd name="connsiteY44" fmla="*/ 359161 h 2476692"/>
                <a:gd name="connsiteX45" fmla="*/ 1996509 w 2673330"/>
                <a:gd name="connsiteY45" fmla="*/ 357863 h 2476692"/>
                <a:gd name="connsiteX46" fmla="*/ 1996082 w 2673330"/>
                <a:gd name="connsiteY46" fmla="*/ 354482 h 2476692"/>
                <a:gd name="connsiteX47" fmla="*/ 1996065 w 2673330"/>
                <a:gd name="connsiteY47" fmla="*/ 357379 h 2476692"/>
                <a:gd name="connsiteX48" fmla="*/ 1996509 w 2673330"/>
                <a:gd name="connsiteY48" fmla="*/ 357863 h 2476692"/>
                <a:gd name="connsiteX49" fmla="*/ 1996639 w 2673330"/>
                <a:gd name="connsiteY49" fmla="*/ 358889 h 2476692"/>
                <a:gd name="connsiteX50" fmla="*/ 1997699 w 2673330"/>
                <a:gd name="connsiteY50" fmla="*/ 359161 h 2476692"/>
                <a:gd name="connsiteX51" fmla="*/ 2030990 w 2673330"/>
                <a:gd name="connsiteY51" fmla="*/ 395479 h 2476692"/>
                <a:gd name="connsiteX52" fmla="*/ 2059565 w 2673330"/>
                <a:gd name="connsiteY52" fmla="*/ 385954 h 2476692"/>
                <a:gd name="connsiteX53" fmla="*/ 2069090 w 2673330"/>
                <a:gd name="connsiteY53" fmla="*/ 379604 h 2476692"/>
                <a:gd name="connsiteX54" fmla="*/ 2078615 w 2673330"/>
                <a:gd name="connsiteY54" fmla="*/ 376429 h 2476692"/>
                <a:gd name="connsiteX55" fmla="*/ 2116715 w 2673330"/>
                <a:gd name="connsiteY55" fmla="*/ 379604 h 2476692"/>
                <a:gd name="connsiteX56" fmla="*/ 2119890 w 2673330"/>
                <a:gd name="connsiteY56" fmla="*/ 411354 h 2476692"/>
                <a:gd name="connsiteX57" fmla="*/ 2129415 w 2673330"/>
                <a:gd name="connsiteY57" fmla="*/ 443104 h 2476692"/>
                <a:gd name="connsiteX58" fmla="*/ 2132590 w 2673330"/>
                <a:gd name="connsiteY58" fmla="*/ 452629 h 2476692"/>
                <a:gd name="connsiteX59" fmla="*/ 2135765 w 2673330"/>
                <a:gd name="connsiteY59" fmla="*/ 462154 h 2476692"/>
                <a:gd name="connsiteX60" fmla="*/ 2142115 w 2673330"/>
                <a:gd name="connsiteY60" fmla="*/ 493904 h 2476692"/>
                <a:gd name="connsiteX61" fmla="*/ 2138940 w 2673330"/>
                <a:gd name="connsiteY61" fmla="*/ 532004 h 2476692"/>
                <a:gd name="connsiteX62" fmla="*/ 2110365 w 2673330"/>
                <a:gd name="connsiteY62" fmla="*/ 547879 h 2476692"/>
                <a:gd name="connsiteX63" fmla="*/ 2097665 w 2673330"/>
                <a:gd name="connsiteY63" fmla="*/ 557404 h 2476692"/>
                <a:gd name="connsiteX64" fmla="*/ 2094490 w 2673330"/>
                <a:gd name="connsiteY64" fmla="*/ 582804 h 2476692"/>
                <a:gd name="connsiteX65" fmla="*/ 2104015 w 2673330"/>
                <a:gd name="connsiteY65" fmla="*/ 608204 h 2476692"/>
                <a:gd name="connsiteX66" fmla="*/ 2110365 w 2673330"/>
                <a:gd name="connsiteY66" fmla="*/ 617729 h 2476692"/>
                <a:gd name="connsiteX67" fmla="*/ 2116715 w 2673330"/>
                <a:gd name="connsiteY67" fmla="*/ 643129 h 2476692"/>
                <a:gd name="connsiteX68" fmla="*/ 2119890 w 2673330"/>
                <a:gd name="connsiteY68" fmla="*/ 719329 h 2476692"/>
                <a:gd name="connsiteX69" fmla="*/ 2123065 w 2673330"/>
                <a:gd name="connsiteY69" fmla="*/ 728854 h 2476692"/>
                <a:gd name="connsiteX70" fmla="*/ 2142115 w 2673330"/>
                <a:gd name="connsiteY70" fmla="*/ 741554 h 2476692"/>
                <a:gd name="connsiteX71" fmla="*/ 2161165 w 2673330"/>
                <a:gd name="connsiteY71" fmla="*/ 738379 h 2476692"/>
                <a:gd name="connsiteX72" fmla="*/ 2170690 w 2673330"/>
                <a:gd name="connsiteY72" fmla="*/ 732029 h 2476692"/>
                <a:gd name="connsiteX73" fmla="*/ 2183390 w 2673330"/>
                <a:gd name="connsiteY73" fmla="*/ 725679 h 2476692"/>
                <a:gd name="connsiteX74" fmla="*/ 2192915 w 2673330"/>
                <a:gd name="connsiteY74" fmla="*/ 719329 h 2476692"/>
                <a:gd name="connsiteX75" fmla="*/ 2211965 w 2673330"/>
                <a:gd name="connsiteY75" fmla="*/ 712979 h 2476692"/>
                <a:gd name="connsiteX76" fmla="*/ 2259590 w 2673330"/>
                <a:gd name="connsiteY76" fmla="*/ 716154 h 2476692"/>
                <a:gd name="connsiteX77" fmla="*/ 2262765 w 2673330"/>
                <a:gd name="connsiteY77" fmla="*/ 732029 h 2476692"/>
                <a:gd name="connsiteX78" fmla="*/ 2272290 w 2673330"/>
                <a:gd name="connsiteY78" fmla="*/ 751079 h 2476692"/>
                <a:gd name="connsiteX79" fmla="*/ 2297690 w 2673330"/>
                <a:gd name="connsiteY79" fmla="*/ 754254 h 2476692"/>
                <a:gd name="connsiteX80" fmla="*/ 2329440 w 2673330"/>
                <a:gd name="connsiteY80" fmla="*/ 738379 h 2476692"/>
                <a:gd name="connsiteX81" fmla="*/ 2338965 w 2673330"/>
                <a:gd name="connsiteY81" fmla="*/ 735204 h 2476692"/>
                <a:gd name="connsiteX82" fmla="*/ 2367540 w 2673330"/>
                <a:gd name="connsiteY82" fmla="*/ 722504 h 2476692"/>
                <a:gd name="connsiteX83" fmla="*/ 2377065 w 2673330"/>
                <a:gd name="connsiteY83" fmla="*/ 719329 h 2476692"/>
                <a:gd name="connsiteX84" fmla="*/ 2391809 w 2673330"/>
                <a:gd name="connsiteY84" fmla="*/ 719329 h 2476692"/>
                <a:gd name="connsiteX85" fmla="*/ 2672340 w 2673330"/>
                <a:gd name="connsiteY85" fmla="*/ 1724217 h 2476692"/>
                <a:gd name="connsiteX86" fmla="*/ 2465171 w 2673330"/>
                <a:gd name="connsiteY86" fmla="*/ 2057592 h 2476692"/>
                <a:gd name="connsiteX87" fmla="*/ 2455646 w 2673330"/>
                <a:gd name="connsiteY87" fmla="*/ 2121885 h 2476692"/>
                <a:gd name="connsiteX88" fmla="*/ 2410403 w 2673330"/>
                <a:gd name="connsiteY88" fmla="*/ 2152842 h 2476692"/>
                <a:gd name="connsiteX89" fmla="*/ 2458028 w 2673330"/>
                <a:gd name="connsiteY89" fmla="*/ 2186180 h 2476692"/>
                <a:gd name="connsiteX90" fmla="*/ 2448503 w 2673330"/>
                <a:gd name="connsiteY90" fmla="*/ 2226660 h 2476692"/>
                <a:gd name="connsiteX91" fmla="*/ 2410403 w 2673330"/>
                <a:gd name="connsiteY91" fmla="*/ 2262379 h 2476692"/>
                <a:gd name="connsiteX92" fmla="*/ 2388971 w 2673330"/>
                <a:gd name="connsiteY92" fmla="*/ 2331435 h 2476692"/>
                <a:gd name="connsiteX93" fmla="*/ 2405640 w 2673330"/>
                <a:gd name="connsiteY93" fmla="*/ 2381442 h 2476692"/>
                <a:gd name="connsiteX94" fmla="*/ 2391353 w 2673330"/>
                <a:gd name="connsiteY94" fmla="*/ 2414779 h 2476692"/>
                <a:gd name="connsiteX95" fmla="*/ 2334203 w 2673330"/>
                <a:gd name="connsiteY95" fmla="*/ 2433829 h 2476692"/>
                <a:gd name="connsiteX96" fmla="*/ 2305628 w 2673330"/>
                <a:gd name="connsiteY96" fmla="*/ 2443354 h 2476692"/>
                <a:gd name="connsiteX97" fmla="*/ 2296103 w 2673330"/>
                <a:gd name="connsiteY97" fmla="*/ 2457642 h 2476692"/>
                <a:gd name="connsiteX98" fmla="*/ 2262765 w 2673330"/>
                <a:gd name="connsiteY98" fmla="*/ 2462404 h 2476692"/>
                <a:gd name="connsiteX99" fmla="*/ 2229428 w 2673330"/>
                <a:gd name="connsiteY99" fmla="*/ 2438592 h 2476692"/>
                <a:gd name="connsiteX100" fmla="*/ 2215140 w 2673330"/>
                <a:gd name="connsiteY100" fmla="*/ 2433829 h 2476692"/>
                <a:gd name="connsiteX101" fmla="*/ 2205615 w 2673330"/>
                <a:gd name="connsiteY101" fmla="*/ 2457642 h 2476692"/>
                <a:gd name="connsiteX102" fmla="*/ 2191328 w 2673330"/>
                <a:gd name="connsiteY102" fmla="*/ 2467167 h 2476692"/>
                <a:gd name="connsiteX103" fmla="*/ 2153228 w 2673330"/>
                <a:gd name="connsiteY103" fmla="*/ 2476692 h 2476692"/>
                <a:gd name="connsiteX104" fmla="*/ 2134178 w 2673330"/>
                <a:gd name="connsiteY104" fmla="*/ 2448117 h 2476692"/>
                <a:gd name="connsiteX105" fmla="*/ 2124653 w 2673330"/>
                <a:gd name="connsiteY105" fmla="*/ 2433829 h 2476692"/>
                <a:gd name="connsiteX106" fmla="*/ 2119890 w 2673330"/>
                <a:gd name="connsiteY106" fmla="*/ 2352867 h 2476692"/>
                <a:gd name="connsiteX107" fmla="*/ 2124653 w 2673330"/>
                <a:gd name="connsiteY107" fmla="*/ 2338579 h 2476692"/>
                <a:gd name="connsiteX108" fmla="*/ 2167515 w 2673330"/>
                <a:gd name="connsiteY108" fmla="*/ 2290954 h 2476692"/>
                <a:gd name="connsiteX109" fmla="*/ 2177040 w 2673330"/>
                <a:gd name="connsiteY109" fmla="*/ 2276667 h 2476692"/>
                <a:gd name="connsiteX110" fmla="*/ 2153228 w 2673330"/>
                <a:gd name="connsiteY110" fmla="*/ 2248092 h 2476692"/>
                <a:gd name="connsiteX111" fmla="*/ 2134178 w 2673330"/>
                <a:gd name="connsiteY111" fmla="*/ 2238567 h 2476692"/>
                <a:gd name="connsiteX112" fmla="*/ 2129415 w 2673330"/>
                <a:gd name="connsiteY112" fmla="*/ 2214754 h 2476692"/>
                <a:gd name="connsiteX113" fmla="*/ 2148465 w 2673330"/>
                <a:gd name="connsiteY113" fmla="*/ 2186179 h 2476692"/>
                <a:gd name="connsiteX114" fmla="*/ 2167515 w 2673330"/>
                <a:gd name="connsiteY114" fmla="*/ 2190942 h 2476692"/>
                <a:gd name="connsiteX115" fmla="*/ 2229428 w 2673330"/>
                <a:gd name="connsiteY115" fmla="*/ 2186179 h 2476692"/>
                <a:gd name="connsiteX116" fmla="*/ 2234190 w 2673330"/>
                <a:gd name="connsiteY116" fmla="*/ 2171892 h 2476692"/>
                <a:gd name="connsiteX117" fmla="*/ 2224665 w 2673330"/>
                <a:gd name="connsiteY117" fmla="*/ 2143317 h 2476692"/>
                <a:gd name="connsiteX118" fmla="*/ 2210378 w 2673330"/>
                <a:gd name="connsiteY118" fmla="*/ 2129029 h 2476692"/>
                <a:gd name="connsiteX119" fmla="*/ 2191328 w 2673330"/>
                <a:gd name="connsiteY119" fmla="*/ 2119504 h 2476692"/>
                <a:gd name="connsiteX120" fmla="*/ 2162753 w 2673330"/>
                <a:gd name="connsiteY120" fmla="*/ 2114742 h 2476692"/>
                <a:gd name="connsiteX121" fmla="*/ 2157990 w 2673330"/>
                <a:gd name="connsiteY121" fmla="*/ 2095692 h 2476692"/>
                <a:gd name="connsiteX122" fmla="*/ 2181803 w 2673330"/>
                <a:gd name="connsiteY122" fmla="*/ 2062354 h 2476692"/>
                <a:gd name="connsiteX123" fmla="*/ 2191328 w 2673330"/>
                <a:gd name="connsiteY123" fmla="*/ 2048067 h 2476692"/>
                <a:gd name="connsiteX124" fmla="*/ 2196090 w 2673330"/>
                <a:gd name="connsiteY124" fmla="*/ 1986154 h 2476692"/>
                <a:gd name="connsiteX125" fmla="*/ 2186565 w 2673330"/>
                <a:gd name="connsiteY125" fmla="*/ 1957579 h 2476692"/>
                <a:gd name="connsiteX126" fmla="*/ 2162753 w 2673330"/>
                <a:gd name="connsiteY126" fmla="*/ 1952817 h 2476692"/>
                <a:gd name="connsiteX127" fmla="*/ 2134178 w 2673330"/>
                <a:gd name="connsiteY127" fmla="*/ 1971867 h 2476692"/>
                <a:gd name="connsiteX128" fmla="*/ 2124653 w 2673330"/>
                <a:gd name="connsiteY128" fmla="*/ 1986154 h 2476692"/>
                <a:gd name="connsiteX129" fmla="*/ 2105603 w 2673330"/>
                <a:gd name="connsiteY129" fmla="*/ 2005204 h 2476692"/>
                <a:gd name="connsiteX130" fmla="*/ 2072265 w 2673330"/>
                <a:gd name="connsiteY130" fmla="*/ 2038542 h 2476692"/>
                <a:gd name="connsiteX131" fmla="*/ 2057978 w 2673330"/>
                <a:gd name="connsiteY131" fmla="*/ 2048067 h 2476692"/>
                <a:gd name="connsiteX132" fmla="*/ 2029403 w 2673330"/>
                <a:gd name="connsiteY132" fmla="*/ 2052829 h 2476692"/>
                <a:gd name="connsiteX133" fmla="*/ 2019878 w 2673330"/>
                <a:gd name="connsiteY133" fmla="*/ 2009967 h 2476692"/>
                <a:gd name="connsiteX134" fmla="*/ 1991303 w 2673330"/>
                <a:gd name="connsiteY134" fmla="*/ 1986154 h 2476692"/>
                <a:gd name="connsiteX135" fmla="*/ 1962728 w 2673330"/>
                <a:gd name="connsiteY135" fmla="*/ 1976629 h 2476692"/>
                <a:gd name="connsiteX136" fmla="*/ 1948440 w 2673330"/>
                <a:gd name="connsiteY136" fmla="*/ 1990917 h 2476692"/>
                <a:gd name="connsiteX137" fmla="*/ 1910340 w 2673330"/>
                <a:gd name="connsiteY137" fmla="*/ 2000442 h 2476692"/>
                <a:gd name="connsiteX138" fmla="*/ 1891290 w 2673330"/>
                <a:gd name="connsiteY138" fmla="*/ 1971867 h 2476692"/>
                <a:gd name="connsiteX139" fmla="*/ 1886528 w 2673330"/>
                <a:gd name="connsiteY139" fmla="*/ 1952817 h 2476692"/>
                <a:gd name="connsiteX140" fmla="*/ 1881765 w 2673330"/>
                <a:gd name="connsiteY140" fmla="*/ 1929004 h 2476692"/>
                <a:gd name="connsiteX141" fmla="*/ 1877003 w 2673330"/>
                <a:gd name="connsiteY141" fmla="*/ 1886142 h 2476692"/>
                <a:gd name="connsiteX142" fmla="*/ 1862715 w 2673330"/>
                <a:gd name="connsiteY142" fmla="*/ 1871854 h 2476692"/>
                <a:gd name="connsiteX143" fmla="*/ 1853190 w 2673330"/>
                <a:gd name="connsiteY143" fmla="*/ 1857567 h 2476692"/>
                <a:gd name="connsiteX144" fmla="*/ 1824615 w 2673330"/>
                <a:gd name="connsiteY144" fmla="*/ 1838517 h 2476692"/>
                <a:gd name="connsiteX145" fmla="*/ 1819853 w 2673330"/>
                <a:gd name="connsiteY145" fmla="*/ 1819467 h 2476692"/>
                <a:gd name="connsiteX146" fmla="*/ 1834140 w 2673330"/>
                <a:gd name="connsiteY146" fmla="*/ 1814704 h 2476692"/>
                <a:gd name="connsiteX147" fmla="*/ 1848428 w 2673330"/>
                <a:gd name="connsiteY147" fmla="*/ 1809942 h 2476692"/>
                <a:gd name="connsiteX148" fmla="*/ 1862715 w 2673330"/>
                <a:gd name="connsiteY148" fmla="*/ 1805179 h 2476692"/>
                <a:gd name="connsiteX149" fmla="*/ 1891290 w 2673330"/>
                <a:gd name="connsiteY149" fmla="*/ 1795654 h 2476692"/>
                <a:gd name="connsiteX150" fmla="*/ 1896053 w 2673330"/>
                <a:gd name="connsiteY150" fmla="*/ 1781367 h 2476692"/>
                <a:gd name="connsiteX151" fmla="*/ 1900815 w 2673330"/>
                <a:gd name="connsiteY151" fmla="*/ 1762317 h 2476692"/>
                <a:gd name="connsiteX152" fmla="*/ 1891290 w 2673330"/>
                <a:gd name="connsiteY152" fmla="*/ 1676592 h 2476692"/>
                <a:gd name="connsiteX153" fmla="*/ 1719840 w 2673330"/>
                <a:gd name="connsiteY153" fmla="*/ 1671829 h 2476692"/>
                <a:gd name="connsiteX154" fmla="*/ 1710315 w 2673330"/>
                <a:gd name="connsiteY154" fmla="*/ 1690879 h 2476692"/>
                <a:gd name="connsiteX155" fmla="*/ 1696028 w 2673330"/>
                <a:gd name="connsiteY155" fmla="*/ 1709929 h 2476692"/>
                <a:gd name="connsiteX156" fmla="*/ 1681740 w 2673330"/>
                <a:gd name="connsiteY156" fmla="*/ 1724217 h 2476692"/>
                <a:gd name="connsiteX157" fmla="*/ 1676978 w 2673330"/>
                <a:gd name="connsiteY157" fmla="*/ 1738504 h 2476692"/>
                <a:gd name="connsiteX158" fmla="*/ 1667453 w 2673330"/>
                <a:gd name="connsiteY158" fmla="*/ 1762317 h 2476692"/>
                <a:gd name="connsiteX159" fmla="*/ 1643640 w 2673330"/>
                <a:gd name="connsiteY159" fmla="*/ 1795654 h 2476692"/>
                <a:gd name="connsiteX160" fmla="*/ 1291215 w 2673330"/>
                <a:gd name="connsiteY160" fmla="*/ 1938529 h 2476692"/>
                <a:gd name="connsiteX161" fmla="*/ 1162628 w 2673330"/>
                <a:gd name="connsiteY161" fmla="*/ 1833754 h 2476692"/>
                <a:gd name="connsiteX162" fmla="*/ 1091190 w 2673330"/>
                <a:gd name="connsiteY162" fmla="*/ 1843279 h 2476692"/>
                <a:gd name="connsiteX163" fmla="*/ 1014990 w 2673330"/>
                <a:gd name="connsiteY163" fmla="*/ 1786129 h 2476692"/>
                <a:gd name="connsiteX164" fmla="*/ 1024515 w 2673330"/>
                <a:gd name="connsiteY164" fmla="*/ 1733742 h 2476692"/>
                <a:gd name="connsiteX165" fmla="*/ 957840 w 2673330"/>
                <a:gd name="connsiteY165" fmla="*/ 1719454 h 2476692"/>
                <a:gd name="connsiteX166" fmla="*/ 767340 w 2673330"/>
                <a:gd name="connsiteY166" fmla="*/ 1671829 h 2476692"/>
                <a:gd name="connsiteX167" fmla="*/ 743528 w 2673330"/>
                <a:gd name="connsiteY167" fmla="*/ 1681354 h 2476692"/>
                <a:gd name="connsiteX168" fmla="*/ 729240 w 2673330"/>
                <a:gd name="connsiteY168" fmla="*/ 1686117 h 2476692"/>
                <a:gd name="connsiteX169" fmla="*/ 700665 w 2673330"/>
                <a:gd name="connsiteY169" fmla="*/ 1667067 h 2476692"/>
                <a:gd name="connsiteX170" fmla="*/ 657803 w 2673330"/>
                <a:gd name="connsiteY170" fmla="*/ 1624204 h 2476692"/>
                <a:gd name="connsiteX171" fmla="*/ 605415 w 2673330"/>
                <a:gd name="connsiteY171" fmla="*/ 1638492 h 2476692"/>
                <a:gd name="connsiteX172" fmla="*/ 533978 w 2673330"/>
                <a:gd name="connsiteY172" fmla="*/ 1543242 h 2476692"/>
                <a:gd name="connsiteX173" fmla="*/ 548265 w 2673330"/>
                <a:gd name="connsiteY173" fmla="*/ 1528954 h 2476692"/>
                <a:gd name="connsiteX174" fmla="*/ 567315 w 2673330"/>
                <a:gd name="connsiteY174" fmla="*/ 1514667 h 2476692"/>
                <a:gd name="connsiteX175" fmla="*/ 581603 w 2673330"/>
                <a:gd name="connsiteY175" fmla="*/ 1476567 h 2476692"/>
                <a:gd name="connsiteX176" fmla="*/ 567315 w 2673330"/>
                <a:gd name="connsiteY176" fmla="*/ 1471804 h 2476692"/>
                <a:gd name="connsiteX177" fmla="*/ 543503 w 2673330"/>
                <a:gd name="connsiteY177" fmla="*/ 1462279 h 2476692"/>
                <a:gd name="connsiteX178" fmla="*/ 562553 w 2673330"/>
                <a:gd name="connsiteY178" fmla="*/ 1428942 h 2476692"/>
                <a:gd name="connsiteX179" fmla="*/ 567315 w 2673330"/>
                <a:gd name="connsiteY179" fmla="*/ 1414654 h 2476692"/>
                <a:gd name="connsiteX180" fmla="*/ 586365 w 2673330"/>
                <a:gd name="connsiteY180" fmla="*/ 1386079 h 2476692"/>
                <a:gd name="connsiteX181" fmla="*/ 619703 w 2673330"/>
                <a:gd name="connsiteY181" fmla="*/ 1362267 h 2476692"/>
                <a:gd name="connsiteX182" fmla="*/ 633990 w 2673330"/>
                <a:gd name="connsiteY182" fmla="*/ 1343217 h 2476692"/>
                <a:gd name="connsiteX183" fmla="*/ 662565 w 2673330"/>
                <a:gd name="connsiteY183" fmla="*/ 1319404 h 2476692"/>
                <a:gd name="connsiteX184" fmla="*/ 667328 w 2673330"/>
                <a:gd name="connsiteY184" fmla="*/ 1281304 h 2476692"/>
                <a:gd name="connsiteX185" fmla="*/ 638753 w 2673330"/>
                <a:gd name="connsiteY185" fmla="*/ 1267017 h 2476692"/>
                <a:gd name="connsiteX186" fmla="*/ 633990 w 2673330"/>
                <a:gd name="connsiteY186" fmla="*/ 1252729 h 2476692"/>
                <a:gd name="connsiteX187" fmla="*/ 643515 w 2673330"/>
                <a:gd name="connsiteY187" fmla="*/ 1238442 h 2476692"/>
                <a:gd name="connsiteX188" fmla="*/ 672090 w 2673330"/>
                <a:gd name="connsiteY188" fmla="*/ 1219392 h 2476692"/>
                <a:gd name="connsiteX189" fmla="*/ 672090 w 2673330"/>
                <a:gd name="connsiteY189" fmla="*/ 1162242 h 2476692"/>
                <a:gd name="connsiteX190" fmla="*/ 662565 w 2673330"/>
                <a:gd name="connsiteY190" fmla="*/ 1147954 h 2476692"/>
                <a:gd name="connsiteX191" fmla="*/ 619703 w 2673330"/>
                <a:gd name="connsiteY191" fmla="*/ 1167004 h 2476692"/>
                <a:gd name="connsiteX192" fmla="*/ 610178 w 2673330"/>
                <a:gd name="connsiteY192" fmla="*/ 1152717 h 2476692"/>
                <a:gd name="connsiteX193" fmla="*/ 605415 w 2673330"/>
                <a:gd name="connsiteY193" fmla="*/ 1105092 h 2476692"/>
                <a:gd name="connsiteX194" fmla="*/ 595890 w 2673330"/>
                <a:gd name="connsiteY194" fmla="*/ 1086042 h 2476692"/>
                <a:gd name="connsiteX195" fmla="*/ 576840 w 2673330"/>
                <a:gd name="connsiteY195" fmla="*/ 1057467 h 2476692"/>
                <a:gd name="connsiteX196" fmla="*/ 572078 w 2673330"/>
                <a:gd name="connsiteY196" fmla="*/ 1043179 h 2476692"/>
                <a:gd name="connsiteX197" fmla="*/ 562553 w 2673330"/>
                <a:gd name="connsiteY197" fmla="*/ 962217 h 2476692"/>
                <a:gd name="connsiteX198" fmla="*/ 462540 w 2673330"/>
                <a:gd name="connsiteY198" fmla="*/ 1043179 h 2476692"/>
                <a:gd name="connsiteX199" fmla="*/ 433965 w 2673330"/>
                <a:gd name="connsiteY199" fmla="*/ 952692 h 2476692"/>
                <a:gd name="connsiteX200" fmla="*/ 343478 w 2673330"/>
                <a:gd name="connsiteY200" fmla="*/ 862204 h 2476692"/>
                <a:gd name="connsiteX201" fmla="*/ 262515 w 2673330"/>
                <a:gd name="connsiteY201" fmla="*/ 871729 h 2476692"/>
                <a:gd name="connsiteX202" fmla="*/ 205365 w 2673330"/>
                <a:gd name="connsiteY202" fmla="*/ 919354 h 2476692"/>
                <a:gd name="connsiteX203" fmla="*/ 95828 w 2673330"/>
                <a:gd name="connsiteY203" fmla="*/ 986029 h 2476692"/>
                <a:gd name="connsiteX204" fmla="*/ 24390 w 2673330"/>
                <a:gd name="connsiteY204" fmla="*/ 986029 h 2476692"/>
                <a:gd name="connsiteX205" fmla="*/ 14865 w 2673330"/>
                <a:gd name="connsiteY205" fmla="*/ 947929 h 2476692"/>
                <a:gd name="connsiteX206" fmla="*/ 578 w 2673330"/>
                <a:gd name="connsiteY206" fmla="*/ 933642 h 2476692"/>
                <a:gd name="connsiteX207" fmla="*/ 5340 w 2673330"/>
                <a:gd name="connsiteY207" fmla="*/ 890779 h 2476692"/>
                <a:gd name="connsiteX208" fmla="*/ 57728 w 2673330"/>
                <a:gd name="connsiteY208" fmla="*/ 781242 h 2476692"/>
                <a:gd name="connsiteX209" fmla="*/ 238703 w 2673330"/>
                <a:gd name="connsiteY209" fmla="*/ 543117 h 2476692"/>
                <a:gd name="connsiteX210" fmla="*/ 333953 w 2673330"/>
                <a:gd name="connsiteY210" fmla="*/ 543117 h 2476692"/>
                <a:gd name="connsiteX211" fmla="*/ 429203 w 2673330"/>
                <a:gd name="connsiteY211" fmla="*/ 524067 h 2476692"/>
                <a:gd name="connsiteX212" fmla="*/ 467303 w 2673330"/>
                <a:gd name="connsiteY212" fmla="*/ 538354 h 2476692"/>
                <a:gd name="connsiteX213" fmla="*/ 481590 w 2673330"/>
                <a:gd name="connsiteY213" fmla="*/ 528829 h 2476692"/>
                <a:gd name="connsiteX214" fmla="*/ 486353 w 2673330"/>
                <a:gd name="connsiteY214" fmla="*/ 514542 h 2476692"/>
                <a:gd name="connsiteX215" fmla="*/ 491115 w 2673330"/>
                <a:gd name="connsiteY215" fmla="*/ 466917 h 2476692"/>
                <a:gd name="connsiteX216" fmla="*/ 481590 w 2673330"/>
                <a:gd name="connsiteY216" fmla="*/ 438342 h 2476692"/>
                <a:gd name="connsiteX217" fmla="*/ 462540 w 2673330"/>
                <a:gd name="connsiteY217" fmla="*/ 409767 h 2476692"/>
                <a:gd name="connsiteX218" fmla="*/ 472065 w 2673330"/>
                <a:gd name="connsiteY218" fmla="*/ 347854 h 2476692"/>
                <a:gd name="connsiteX219" fmla="*/ 505403 w 2673330"/>
                <a:gd name="connsiteY219" fmla="*/ 295467 h 2476692"/>
                <a:gd name="connsiteX220" fmla="*/ 514928 w 2673330"/>
                <a:gd name="connsiteY220" fmla="*/ 281179 h 2476692"/>
                <a:gd name="connsiteX221" fmla="*/ 519690 w 2673330"/>
                <a:gd name="connsiteY221" fmla="*/ 257367 h 2476692"/>
                <a:gd name="connsiteX222" fmla="*/ 529215 w 2673330"/>
                <a:gd name="connsiteY222" fmla="*/ 243079 h 2476692"/>
                <a:gd name="connsiteX223" fmla="*/ 538740 w 2673330"/>
                <a:gd name="connsiteY223" fmla="*/ 204979 h 2476692"/>
                <a:gd name="connsiteX224" fmla="*/ 548265 w 2673330"/>
                <a:gd name="connsiteY224" fmla="*/ 185929 h 2476692"/>
                <a:gd name="connsiteX225" fmla="*/ 553028 w 2673330"/>
                <a:gd name="connsiteY225" fmla="*/ 171642 h 2476692"/>
                <a:gd name="connsiteX226" fmla="*/ 562553 w 2673330"/>
                <a:gd name="connsiteY226" fmla="*/ 157354 h 2476692"/>
                <a:gd name="connsiteX227" fmla="*/ 567315 w 2673330"/>
                <a:gd name="connsiteY227" fmla="*/ 133542 h 2476692"/>
                <a:gd name="connsiteX228" fmla="*/ 576840 w 2673330"/>
                <a:gd name="connsiteY228" fmla="*/ 100204 h 2476692"/>
                <a:gd name="connsiteX229" fmla="*/ 581603 w 2673330"/>
                <a:gd name="connsiteY229" fmla="*/ 81154 h 2476692"/>
                <a:gd name="connsiteX230" fmla="*/ 595890 w 2673330"/>
                <a:gd name="connsiteY230" fmla="*/ 33529 h 2476692"/>
                <a:gd name="connsiteX231" fmla="*/ 619703 w 2673330"/>
                <a:gd name="connsiteY231" fmla="*/ 192 h 2476692"/>
                <a:gd name="connsiteX232" fmla="*/ 621543 w 2673330"/>
                <a:gd name="connsiteY232" fmla="*/ 0 h 2476692"/>
                <a:gd name="connsiteX0" fmla="*/ 621543 w 2673200"/>
                <a:gd name="connsiteY0" fmla="*/ 0 h 2476692"/>
                <a:gd name="connsiteX1" fmla="*/ 637165 w 2673200"/>
                <a:gd name="connsiteY1" fmla="*/ 20829 h 2476692"/>
                <a:gd name="connsiteX2" fmla="*/ 643515 w 2673200"/>
                <a:gd name="connsiteY2" fmla="*/ 30354 h 2476692"/>
                <a:gd name="connsiteX3" fmla="*/ 646690 w 2673200"/>
                <a:gd name="connsiteY3" fmla="*/ 74804 h 2476692"/>
                <a:gd name="connsiteX4" fmla="*/ 656215 w 2673200"/>
                <a:gd name="connsiteY4" fmla="*/ 100204 h 2476692"/>
                <a:gd name="connsiteX5" fmla="*/ 757815 w 2673200"/>
                <a:gd name="connsiteY5" fmla="*/ 119254 h 2476692"/>
                <a:gd name="connsiteX6" fmla="*/ 780040 w 2673200"/>
                <a:gd name="connsiteY6" fmla="*/ 135129 h 2476692"/>
                <a:gd name="connsiteX7" fmla="*/ 789565 w 2673200"/>
                <a:gd name="connsiteY7" fmla="*/ 138304 h 2476692"/>
                <a:gd name="connsiteX8" fmla="*/ 808615 w 2673200"/>
                <a:gd name="connsiteY8" fmla="*/ 154179 h 2476692"/>
                <a:gd name="connsiteX9" fmla="*/ 824490 w 2673200"/>
                <a:gd name="connsiteY9" fmla="*/ 176404 h 2476692"/>
                <a:gd name="connsiteX10" fmla="*/ 827665 w 2673200"/>
                <a:gd name="connsiteY10" fmla="*/ 185929 h 2476692"/>
                <a:gd name="connsiteX11" fmla="*/ 853065 w 2673200"/>
                <a:gd name="connsiteY11" fmla="*/ 201804 h 2476692"/>
                <a:gd name="connsiteX12" fmla="*/ 929265 w 2673200"/>
                <a:gd name="connsiteY12" fmla="*/ 220854 h 2476692"/>
                <a:gd name="connsiteX13" fmla="*/ 957840 w 2673200"/>
                <a:gd name="connsiteY13" fmla="*/ 198629 h 2476692"/>
                <a:gd name="connsiteX14" fmla="*/ 980065 w 2673200"/>
                <a:gd name="connsiteY14" fmla="*/ 182754 h 2476692"/>
                <a:gd name="connsiteX15" fmla="*/ 989590 w 2673200"/>
                <a:gd name="connsiteY15" fmla="*/ 176404 h 2476692"/>
                <a:gd name="connsiteX16" fmla="*/ 1011815 w 2673200"/>
                <a:gd name="connsiteY16" fmla="*/ 173229 h 2476692"/>
                <a:gd name="connsiteX17" fmla="*/ 1027690 w 2673200"/>
                <a:gd name="connsiteY17" fmla="*/ 166879 h 2476692"/>
                <a:gd name="connsiteX18" fmla="*/ 1094365 w 2673200"/>
                <a:gd name="connsiteY18" fmla="*/ 220854 h 2476692"/>
                <a:gd name="connsiteX19" fmla="*/ 1186440 w 2673200"/>
                <a:gd name="connsiteY19" fmla="*/ 217679 h 2476692"/>
                <a:gd name="connsiteX20" fmla="*/ 1278515 w 2673200"/>
                <a:gd name="connsiteY20" fmla="*/ 170054 h 2476692"/>
                <a:gd name="connsiteX21" fmla="*/ 1326140 w 2673200"/>
                <a:gd name="connsiteY21" fmla="*/ 74804 h 2476692"/>
                <a:gd name="connsiteX22" fmla="*/ 1373765 w 2673200"/>
                <a:gd name="connsiteY22" fmla="*/ 122429 h 2476692"/>
                <a:gd name="connsiteX23" fmla="*/ 1459490 w 2673200"/>
                <a:gd name="connsiteY23" fmla="*/ 144654 h 2476692"/>
                <a:gd name="connsiteX24" fmla="*/ 1589665 w 2673200"/>
                <a:gd name="connsiteY24" fmla="*/ 144654 h 2476692"/>
                <a:gd name="connsiteX25" fmla="*/ 1697615 w 2673200"/>
                <a:gd name="connsiteY25" fmla="*/ 97029 h 2476692"/>
                <a:gd name="connsiteX26" fmla="*/ 1726190 w 2673200"/>
                <a:gd name="connsiteY26" fmla="*/ 103379 h 2476692"/>
                <a:gd name="connsiteX27" fmla="*/ 1738890 w 2673200"/>
                <a:gd name="connsiteY27" fmla="*/ 122429 h 2476692"/>
                <a:gd name="connsiteX28" fmla="*/ 1732540 w 2673200"/>
                <a:gd name="connsiteY28" fmla="*/ 141479 h 2476692"/>
                <a:gd name="connsiteX29" fmla="*/ 1723015 w 2673200"/>
                <a:gd name="connsiteY29" fmla="*/ 154179 h 2476692"/>
                <a:gd name="connsiteX30" fmla="*/ 1802390 w 2673200"/>
                <a:gd name="connsiteY30" fmla="*/ 144654 h 2476692"/>
                <a:gd name="connsiteX31" fmla="*/ 1824615 w 2673200"/>
                <a:gd name="connsiteY31" fmla="*/ 160529 h 2476692"/>
                <a:gd name="connsiteX32" fmla="*/ 1827790 w 2673200"/>
                <a:gd name="connsiteY32" fmla="*/ 195454 h 2476692"/>
                <a:gd name="connsiteX33" fmla="*/ 1834140 w 2673200"/>
                <a:gd name="connsiteY33" fmla="*/ 217679 h 2476692"/>
                <a:gd name="connsiteX34" fmla="*/ 1840490 w 2673200"/>
                <a:gd name="connsiteY34" fmla="*/ 230379 h 2476692"/>
                <a:gd name="connsiteX35" fmla="*/ 1846840 w 2673200"/>
                <a:gd name="connsiteY35" fmla="*/ 239904 h 2476692"/>
                <a:gd name="connsiteX36" fmla="*/ 1846840 w 2673200"/>
                <a:gd name="connsiteY36" fmla="*/ 249429 h 2476692"/>
                <a:gd name="connsiteX37" fmla="*/ 1916690 w 2673200"/>
                <a:gd name="connsiteY37" fmla="*/ 274829 h 2476692"/>
                <a:gd name="connsiteX38" fmla="*/ 1945265 w 2673200"/>
                <a:gd name="connsiteY38" fmla="*/ 268479 h 2476692"/>
                <a:gd name="connsiteX39" fmla="*/ 1961140 w 2673200"/>
                <a:gd name="connsiteY39" fmla="*/ 274829 h 2476692"/>
                <a:gd name="connsiteX40" fmla="*/ 1977015 w 2673200"/>
                <a:gd name="connsiteY40" fmla="*/ 293879 h 2476692"/>
                <a:gd name="connsiteX41" fmla="*/ 2002415 w 2673200"/>
                <a:gd name="connsiteY41" fmla="*/ 297054 h 2476692"/>
                <a:gd name="connsiteX42" fmla="*/ 2002415 w 2673200"/>
                <a:gd name="connsiteY42" fmla="*/ 344679 h 2476692"/>
                <a:gd name="connsiteX43" fmla="*/ 1998496 w 2673200"/>
                <a:gd name="connsiteY43" fmla="*/ 359366 h 2476692"/>
                <a:gd name="connsiteX44" fmla="*/ 1997699 w 2673200"/>
                <a:gd name="connsiteY44" fmla="*/ 359161 h 2476692"/>
                <a:gd name="connsiteX45" fmla="*/ 1996509 w 2673200"/>
                <a:gd name="connsiteY45" fmla="*/ 357863 h 2476692"/>
                <a:gd name="connsiteX46" fmla="*/ 1996082 w 2673200"/>
                <a:gd name="connsiteY46" fmla="*/ 354482 h 2476692"/>
                <a:gd name="connsiteX47" fmla="*/ 1996065 w 2673200"/>
                <a:gd name="connsiteY47" fmla="*/ 357379 h 2476692"/>
                <a:gd name="connsiteX48" fmla="*/ 1996509 w 2673200"/>
                <a:gd name="connsiteY48" fmla="*/ 357863 h 2476692"/>
                <a:gd name="connsiteX49" fmla="*/ 1996639 w 2673200"/>
                <a:gd name="connsiteY49" fmla="*/ 358889 h 2476692"/>
                <a:gd name="connsiteX50" fmla="*/ 1997699 w 2673200"/>
                <a:gd name="connsiteY50" fmla="*/ 359161 h 2476692"/>
                <a:gd name="connsiteX51" fmla="*/ 2030990 w 2673200"/>
                <a:gd name="connsiteY51" fmla="*/ 395479 h 2476692"/>
                <a:gd name="connsiteX52" fmla="*/ 2059565 w 2673200"/>
                <a:gd name="connsiteY52" fmla="*/ 385954 h 2476692"/>
                <a:gd name="connsiteX53" fmla="*/ 2069090 w 2673200"/>
                <a:gd name="connsiteY53" fmla="*/ 379604 h 2476692"/>
                <a:gd name="connsiteX54" fmla="*/ 2078615 w 2673200"/>
                <a:gd name="connsiteY54" fmla="*/ 376429 h 2476692"/>
                <a:gd name="connsiteX55" fmla="*/ 2116715 w 2673200"/>
                <a:gd name="connsiteY55" fmla="*/ 379604 h 2476692"/>
                <a:gd name="connsiteX56" fmla="*/ 2119890 w 2673200"/>
                <a:gd name="connsiteY56" fmla="*/ 411354 h 2476692"/>
                <a:gd name="connsiteX57" fmla="*/ 2129415 w 2673200"/>
                <a:gd name="connsiteY57" fmla="*/ 443104 h 2476692"/>
                <a:gd name="connsiteX58" fmla="*/ 2132590 w 2673200"/>
                <a:gd name="connsiteY58" fmla="*/ 452629 h 2476692"/>
                <a:gd name="connsiteX59" fmla="*/ 2135765 w 2673200"/>
                <a:gd name="connsiteY59" fmla="*/ 462154 h 2476692"/>
                <a:gd name="connsiteX60" fmla="*/ 2142115 w 2673200"/>
                <a:gd name="connsiteY60" fmla="*/ 493904 h 2476692"/>
                <a:gd name="connsiteX61" fmla="*/ 2138940 w 2673200"/>
                <a:gd name="connsiteY61" fmla="*/ 532004 h 2476692"/>
                <a:gd name="connsiteX62" fmla="*/ 2110365 w 2673200"/>
                <a:gd name="connsiteY62" fmla="*/ 547879 h 2476692"/>
                <a:gd name="connsiteX63" fmla="*/ 2097665 w 2673200"/>
                <a:gd name="connsiteY63" fmla="*/ 557404 h 2476692"/>
                <a:gd name="connsiteX64" fmla="*/ 2094490 w 2673200"/>
                <a:gd name="connsiteY64" fmla="*/ 582804 h 2476692"/>
                <a:gd name="connsiteX65" fmla="*/ 2104015 w 2673200"/>
                <a:gd name="connsiteY65" fmla="*/ 608204 h 2476692"/>
                <a:gd name="connsiteX66" fmla="*/ 2110365 w 2673200"/>
                <a:gd name="connsiteY66" fmla="*/ 617729 h 2476692"/>
                <a:gd name="connsiteX67" fmla="*/ 2116715 w 2673200"/>
                <a:gd name="connsiteY67" fmla="*/ 643129 h 2476692"/>
                <a:gd name="connsiteX68" fmla="*/ 2119890 w 2673200"/>
                <a:gd name="connsiteY68" fmla="*/ 719329 h 2476692"/>
                <a:gd name="connsiteX69" fmla="*/ 2123065 w 2673200"/>
                <a:gd name="connsiteY69" fmla="*/ 728854 h 2476692"/>
                <a:gd name="connsiteX70" fmla="*/ 2142115 w 2673200"/>
                <a:gd name="connsiteY70" fmla="*/ 741554 h 2476692"/>
                <a:gd name="connsiteX71" fmla="*/ 2161165 w 2673200"/>
                <a:gd name="connsiteY71" fmla="*/ 738379 h 2476692"/>
                <a:gd name="connsiteX72" fmla="*/ 2170690 w 2673200"/>
                <a:gd name="connsiteY72" fmla="*/ 732029 h 2476692"/>
                <a:gd name="connsiteX73" fmla="*/ 2183390 w 2673200"/>
                <a:gd name="connsiteY73" fmla="*/ 725679 h 2476692"/>
                <a:gd name="connsiteX74" fmla="*/ 2192915 w 2673200"/>
                <a:gd name="connsiteY74" fmla="*/ 719329 h 2476692"/>
                <a:gd name="connsiteX75" fmla="*/ 2211965 w 2673200"/>
                <a:gd name="connsiteY75" fmla="*/ 712979 h 2476692"/>
                <a:gd name="connsiteX76" fmla="*/ 2259590 w 2673200"/>
                <a:gd name="connsiteY76" fmla="*/ 716154 h 2476692"/>
                <a:gd name="connsiteX77" fmla="*/ 2262765 w 2673200"/>
                <a:gd name="connsiteY77" fmla="*/ 732029 h 2476692"/>
                <a:gd name="connsiteX78" fmla="*/ 2272290 w 2673200"/>
                <a:gd name="connsiteY78" fmla="*/ 751079 h 2476692"/>
                <a:gd name="connsiteX79" fmla="*/ 2297690 w 2673200"/>
                <a:gd name="connsiteY79" fmla="*/ 754254 h 2476692"/>
                <a:gd name="connsiteX80" fmla="*/ 2329440 w 2673200"/>
                <a:gd name="connsiteY80" fmla="*/ 738379 h 2476692"/>
                <a:gd name="connsiteX81" fmla="*/ 2338965 w 2673200"/>
                <a:gd name="connsiteY81" fmla="*/ 735204 h 2476692"/>
                <a:gd name="connsiteX82" fmla="*/ 2367540 w 2673200"/>
                <a:gd name="connsiteY82" fmla="*/ 722504 h 2476692"/>
                <a:gd name="connsiteX83" fmla="*/ 2377065 w 2673200"/>
                <a:gd name="connsiteY83" fmla="*/ 719329 h 2476692"/>
                <a:gd name="connsiteX84" fmla="*/ 2391809 w 2673200"/>
                <a:gd name="connsiteY84" fmla="*/ 719329 h 2476692"/>
                <a:gd name="connsiteX85" fmla="*/ 2672340 w 2673200"/>
                <a:gd name="connsiteY85" fmla="*/ 1724217 h 2476692"/>
                <a:gd name="connsiteX86" fmla="*/ 2436596 w 2673200"/>
                <a:gd name="connsiteY86" fmla="*/ 1986154 h 2476692"/>
                <a:gd name="connsiteX87" fmla="*/ 2465171 w 2673200"/>
                <a:gd name="connsiteY87" fmla="*/ 2057592 h 2476692"/>
                <a:gd name="connsiteX88" fmla="*/ 2455646 w 2673200"/>
                <a:gd name="connsiteY88" fmla="*/ 2121885 h 2476692"/>
                <a:gd name="connsiteX89" fmla="*/ 2410403 w 2673200"/>
                <a:gd name="connsiteY89" fmla="*/ 2152842 h 2476692"/>
                <a:gd name="connsiteX90" fmla="*/ 2458028 w 2673200"/>
                <a:gd name="connsiteY90" fmla="*/ 2186180 h 2476692"/>
                <a:gd name="connsiteX91" fmla="*/ 2448503 w 2673200"/>
                <a:gd name="connsiteY91" fmla="*/ 2226660 h 2476692"/>
                <a:gd name="connsiteX92" fmla="*/ 2410403 w 2673200"/>
                <a:gd name="connsiteY92" fmla="*/ 2262379 h 2476692"/>
                <a:gd name="connsiteX93" fmla="*/ 2388971 w 2673200"/>
                <a:gd name="connsiteY93" fmla="*/ 2331435 h 2476692"/>
                <a:gd name="connsiteX94" fmla="*/ 2405640 w 2673200"/>
                <a:gd name="connsiteY94" fmla="*/ 2381442 h 2476692"/>
                <a:gd name="connsiteX95" fmla="*/ 2391353 w 2673200"/>
                <a:gd name="connsiteY95" fmla="*/ 2414779 h 2476692"/>
                <a:gd name="connsiteX96" fmla="*/ 2334203 w 2673200"/>
                <a:gd name="connsiteY96" fmla="*/ 2433829 h 2476692"/>
                <a:gd name="connsiteX97" fmla="*/ 2305628 w 2673200"/>
                <a:gd name="connsiteY97" fmla="*/ 2443354 h 2476692"/>
                <a:gd name="connsiteX98" fmla="*/ 2296103 w 2673200"/>
                <a:gd name="connsiteY98" fmla="*/ 2457642 h 2476692"/>
                <a:gd name="connsiteX99" fmla="*/ 2262765 w 2673200"/>
                <a:gd name="connsiteY99" fmla="*/ 2462404 h 2476692"/>
                <a:gd name="connsiteX100" fmla="*/ 2229428 w 2673200"/>
                <a:gd name="connsiteY100" fmla="*/ 2438592 h 2476692"/>
                <a:gd name="connsiteX101" fmla="*/ 2215140 w 2673200"/>
                <a:gd name="connsiteY101" fmla="*/ 2433829 h 2476692"/>
                <a:gd name="connsiteX102" fmla="*/ 2205615 w 2673200"/>
                <a:gd name="connsiteY102" fmla="*/ 2457642 h 2476692"/>
                <a:gd name="connsiteX103" fmla="*/ 2191328 w 2673200"/>
                <a:gd name="connsiteY103" fmla="*/ 2467167 h 2476692"/>
                <a:gd name="connsiteX104" fmla="*/ 2153228 w 2673200"/>
                <a:gd name="connsiteY104" fmla="*/ 2476692 h 2476692"/>
                <a:gd name="connsiteX105" fmla="*/ 2134178 w 2673200"/>
                <a:gd name="connsiteY105" fmla="*/ 2448117 h 2476692"/>
                <a:gd name="connsiteX106" fmla="*/ 2124653 w 2673200"/>
                <a:gd name="connsiteY106" fmla="*/ 2433829 h 2476692"/>
                <a:gd name="connsiteX107" fmla="*/ 2119890 w 2673200"/>
                <a:gd name="connsiteY107" fmla="*/ 2352867 h 2476692"/>
                <a:gd name="connsiteX108" fmla="*/ 2124653 w 2673200"/>
                <a:gd name="connsiteY108" fmla="*/ 2338579 h 2476692"/>
                <a:gd name="connsiteX109" fmla="*/ 2167515 w 2673200"/>
                <a:gd name="connsiteY109" fmla="*/ 2290954 h 2476692"/>
                <a:gd name="connsiteX110" fmla="*/ 2177040 w 2673200"/>
                <a:gd name="connsiteY110" fmla="*/ 2276667 h 2476692"/>
                <a:gd name="connsiteX111" fmla="*/ 2153228 w 2673200"/>
                <a:gd name="connsiteY111" fmla="*/ 2248092 h 2476692"/>
                <a:gd name="connsiteX112" fmla="*/ 2134178 w 2673200"/>
                <a:gd name="connsiteY112" fmla="*/ 2238567 h 2476692"/>
                <a:gd name="connsiteX113" fmla="*/ 2129415 w 2673200"/>
                <a:gd name="connsiteY113" fmla="*/ 2214754 h 2476692"/>
                <a:gd name="connsiteX114" fmla="*/ 2148465 w 2673200"/>
                <a:gd name="connsiteY114" fmla="*/ 2186179 h 2476692"/>
                <a:gd name="connsiteX115" fmla="*/ 2167515 w 2673200"/>
                <a:gd name="connsiteY115" fmla="*/ 2190942 h 2476692"/>
                <a:gd name="connsiteX116" fmla="*/ 2229428 w 2673200"/>
                <a:gd name="connsiteY116" fmla="*/ 2186179 h 2476692"/>
                <a:gd name="connsiteX117" fmla="*/ 2234190 w 2673200"/>
                <a:gd name="connsiteY117" fmla="*/ 2171892 h 2476692"/>
                <a:gd name="connsiteX118" fmla="*/ 2224665 w 2673200"/>
                <a:gd name="connsiteY118" fmla="*/ 2143317 h 2476692"/>
                <a:gd name="connsiteX119" fmla="*/ 2210378 w 2673200"/>
                <a:gd name="connsiteY119" fmla="*/ 2129029 h 2476692"/>
                <a:gd name="connsiteX120" fmla="*/ 2191328 w 2673200"/>
                <a:gd name="connsiteY120" fmla="*/ 2119504 h 2476692"/>
                <a:gd name="connsiteX121" fmla="*/ 2162753 w 2673200"/>
                <a:gd name="connsiteY121" fmla="*/ 2114742 h 2476692"/>
                <a:gd name="connsiteX122" fmla="*/ 2157990 w 2673200"/>
                <a:gd name="connsiteY122" fmla="*/ 2095692 h 2476692"/>
                <a:gd name="connsiteX123" fmla="*/ 2181803 w 2673200"/>
                <a:gd name="connsiteY123" fmla="*/ 2062354 h 2476692"/>
                <a:gd name="connsiteX124" fmla="*/ 2191328 w 2673200"/>
                <a:gd name="connsiteY124" fmla="*/ 2048067 h 2476692"/>
                <a:gd name="connsiteX125" fmla="*/ 2196090 w 2673200"/>
                <a:gd name="connsiteY125" fmla="*/ 1986154 h 2476692"/>
                <a:gd name="connsiteX126" fmla="*/ 2186565 w 2673200"/>
                <a:gd name="connsiteY126" fmla="*/ 1957579 h 2476692"/>
                <a:gd name="connsiteX127" fmla="*/ 2162753 w 2673200"/>
                <a:gd name="connsiteY127" fmla="*/ 1952817 h 2476692"/>
                <a:gd name="connsiteX128" fmla="*/ 2134178 w 2673200"/>
                <a:gd name="connsiteY128" fmla="*/ 1971867 h 2476692"/>
                <a:gd name="connsiteX129" fmla="*/ 2124653 w 2673200"/>
                <a:gd name="connsiteY129" fmla="*/ 1986154 h 2476692"/>
                <a:gd name="connsiteX130" fmla="*/ 2105603 w 2673200"/>
                <a:gd name="connsiteY130" fmla="*/ 2005204 h 2476692"/>
                <a:gd name="connsiteX131" fmla="*/ 2072265 w 2673200"/>
                <a:gd name="connsiteY131" fmla="*/ 2038542 h 2476692"/>
                <a:gd name="connsiteX132" fmla="*/ 2057978 w 2673200"/>
                <a:gd name="connsiteY132" fmla="*/ 2048067 h 2476692"/>
                <a:gd name="connsiteX133" fmla="*/ 2029403 w 2673200"/>
                <a:gd name="connsiteY133" fmla="*/ 2052829 h 2476692"/>
                <a:gd name="connsiteX134" fmla="*/ 2019878 w 2673200"/>
                <a:gd name="connsiteY134" fmla="*/ 2009967 h 2476692"/>
                <a:gd name="connsiteX135" fmla="*/ 1991303 w 2673200"/>
                <a:gd name="connsiteY135" fmla="*/ 1986154 h 2476692"/>
                <a:gd name="connsiteX136" fmla="*/ 1962728 w 2673200"/>
                <a:gd name="connsiteY136" fmla="*/ 1976629 h 2476692"/>
                <a:gd name="connsiteX137" fmla="*/ 1948440 w 2673200"/>
                <a:gd name="connsiteY137" fmla="*/ 1990917 h 2476692"/>
                <a:gd name="connsiteX138" fmla="*/ 1910340 w 2673200"/>
                <a:gd name="connsiteY138" fmla="*/ 2000442 h 2476692"/>
                <a:gd name="connsiteX139" fmla="*/ 1891290 w 2673200"/>
                <a:gd name="connsiteY139" fmla="*/ 1971867 h 2476692"/>
                <a:gd name="connsiteX140" fmla="*/ 1886528 w 2673200"/>
                <a:gd name="connsiteY140" fmla="*/ 1952817 h 2476692"/>
                <a:gd name="connsiteX141" fmla="*/ 1881765 w 2673200"/>
                <a:gd name="connsiteY141" fmla="*/ 1929004 h 2476692"/>
                <a:gd name="connsiteX142" fmla="*/ 1877003 w 2673200"/>
                <a:gd name="connsiteY142" fmla="*/ 1886142 h 2476692"/>
                <a:gd name="connsiteX143" fmla="*/ 1862715 w 2673200"/>
                <a:gd name="connsiteY143" fmla="*/ 1871854 h 2476692"/>
                <a:gd name="connsiteX144" fmla="*/ 1853190 w 2673200"/>
                <a:gd name="connsiteY144" fmla="*/ 1857567 h 2476692"/>
                <a:gd name="connsiteX145" fmla="*/ 1824615 w 2673200"/>
                <a:gd name="connsiteY145" fmla="*/ 1838517 h 2476692"/>
                <a:gd name="connsiteX146" fmla="*/ 1819853 w 2673200"/>
                <a:gd name="connsiteY146" fmla="*/ 1819467 h 2476692"/>
                <a:gd name="connsiteX147" fmla="*/ 1834140 w 2673200"/>
                <a:gd name="connsiteY147" fmla="*/ 1814704 h 2476692"/>
                <a:gd name="connsiteX148" fmla="*/ 1848428 w 2673200"/>
                <a:gd name="connsiteY148" fmla="*/ 1809942 h 2476692"/>
                <a:gd name="connsiteX149" fmla="*/ 1862715 w 2673200"/>
                <a:gd name="connsiteY149" fmla="*/ 1805179 h 2476692"/>
                <a:gd name="connsiteX150" fmla="*/ 1891290 w 2673200"/>
                <a:gd name="connsiteY150" fmla="*/ 1795654 h 2476692"/>
                <a:gd name="connsiteX151" fmla="*/ 1896053 w 2673200"/>
                <a:gd name="connsiteY151" fmla="*/ 1781367 h 2476692"/>
                <a:gd name="connsiteX152" fmla="*/ 1900815 w 2673200"/>
                <a:gd name="connsiteY152" fmla="*/ 1762317 h 2476692"/>
                <a:gd name="connsiteX153" fmla="*/ 1891290 w 2673200"/>
                <a:gd name="connsiteY153" fmla="*/ 1676592 h 2476692"/>
                <a:gd name="connsiteX154" fmla="*/ 1719840 w 2673200"/>
                <a:gd name="connsiteY154" fmla="*/ 1671829 h 2476692"/>
                <a:gd name="connsiteX155" fmla="*/ 1710315 w 2673200"/>
                <a:gd name="connsiteY155" fmla="*/ 1690879 h 2476692"/>
                <a:gd name="connsiteX156" fmla="*/ 1696028 w 2673200"/>
                <a:gd name="connsiteY156" fmla="*/ 1709929 h 2476692"/>
                <a:gd name="connsiteX157" fmla="*/ 1681740 w 2673200"/>
                <a:gd name="connsiteY157" fmla="*/ 1724217 h 2476692"/>
                <a:gd name="connsiteX158" fmla="*/ 1676978 w 2673200"/>
                <a:gd name="connsiteY158" fmla="*/ 1738504 h 2476692"/>
                <a:gd name="connsiteX159" fmla="*/ 1667453 w 2673200"/>
                <a:gd name="connsiteY159" fmla="*/ 1762317 h 2476692"/>
                <a:gd name="connsiteX160" fmla="*/ 1643640 w 2673200"/>
                <a:gd name="connsiteY160" fmla="*/ 1795654 h 2476692"/>
                <a:gd name="connsiteX161" fmla="*/ 1291215 w 2673200"/>
                <a:gd name="connsiteY161" fmla="*/ 1938529 h 2476692"/>
                <a:gd name="connsiteX162" fmla="*/ 1162628 w 2673200"/>
                <a:gd name="connsiteY162" fmla="*/ 1833754 h 2476692"/>
                <a:gd name="connsiteX163" fmla="*/ 1091190 w 2673200"/>
                <a:gd name="connsiteY163" fmla="*/ 1843279 h 2476692"/>
                <a:gd name="connsiteX164" fmla="*/ 1014990 w 2673200"/>
                <a:gd name="connsiteY164" fmla="*/ 1786129 h 2476692"/>
                <a:gd name="connsiteX165" fmla="*/ 1024515 w 2673200"/>
                <a:gd name="connsiteY165" fmla="*/ 1733742 h 2476692"/>
                <a:gd name="connsiteX166" fmla="*/ 957840 w 2673200"/>
                <a:gd name="connsiteY166" fmla="*/ 1719454 h 2476692"/>
                <a:gd name="connsiteX167" fmla="*/ 767340 w 2673200"/>
                <a:gd name="connsiteY167" fmla="*/ 1671829 h 2476692"/>
                <a:gd name="connsiteX168" fmla="*/ 743528 w 2673200"/>
                <a:gd name="connsiteY168" fmla="*/ 1681354 h 2476692"/>
                <a:gd name="connsiteX169" fmla="*/ 729240 w 2673200"/>
                <a:gd name="connsiteY169" fmla="*/ 1686117 h 2476692"/>
                <a:gd name="connsiteX170" fmla="*/ 700665 w 2673200"/>
                <a:gd name="connsiteY170" fmla="*/ 1667067 h 2476692"/>
                <a:gd name="connsiteX171" fmla="*/ 657803 w 2673200"/>
                <a:gd name="connsiteY171" fmla="*/ 1624204 h 2476692"/>
                <a:gd name="connsiteX172" fmla="*/ 605415 w 2673200"/>
                <a:gd name="connsiteY172" fmla="*/ 1638492 h 2476692"/>
                <a:gd name="connsiteX173" fmla="*/ 533978 w 2673200"/>
                <a:gd name="connsiteY173" fmla="*/ 1543242 h 2476692"/>
                <a:gd name="connsiteX174" fmla="*/ 548265 w 2673200"/>
                <a:gd name="connsiteY174" fmla="*/ 1528954 h 2476692"/>
                <a:gd name="connsiteX175" fmla="*/ 567315 w 2673200"/>
                <a:gd name="connsiteY175" fmla="*/ 1514667 h 2476692"/>
                <a:gd name="connsiteX176" fmla="*/ 581603 w 2673200"/>
                <a:gd name="connsiteY176" fmla="*/ 1476567 h 2476692"/>
                <a:gd name="connsiteX177" fmla="*/ 567315 w 2673200"/>
                <a:gd name="connsiteY177" fmla="*/ 1471804 h 2476692"/>
                <a:gd name="connsiteX178" fmla="*/ 543503 w 2673200"/>
                <a:gd name="connsiteY178" fmla="*/ 1462279 h 2476692"/>
                <a:gd name="connsiteX179" fmla="*/ 562553 w 2673200"/>
                <a:gd name="connsiteY179" fmla="*/ 1428942 h 2476692"/>
                <a:gd name="connsiteX180" fmla="*/ 567315 w 2673200"/>
                <a:gd name="connsiteY180" fmla="*/ 1414654 h 2476692"/>
                <a:gd name="connsiteX181" fmla="*/ 586365 w 2673200"/>
                <a:gd name="connsiteY181" fmla="*/ 1386079 h 2476692"/>
                <a:gd name="connsiteX182" fmla="*/ 619703 w 2673200"/>
                <a:gd name="connsiteY182" fmla="*/ 1362267 h 2476692"/>
                <a:gd name="connsiteX183" fmla="*/ 633990 w 2673200"/>
                <a:gd name="connsiteY183" fmla="*/ 1343217 h 2476692"/>
                <a:gd name="connsiteX184" fmla="*/ 662565 w 2673200"/>
                <a:gd name="connsiteY184" fmla="*/ 1319404 h 2476692"/>
                <a:gd name="connsiteX185" fmla="*/ 667328 w 2673200"/>
                <a:gd name="connsiteY185" fmla="*/ 1281304 h 2476692"/>
                <a:gd name="connsiteX186" fmla="*/ 638753 w 2673200"/>
                <a:gd name="connsiteY186" fmla="*/ 1267017 h 2476692"/>
                <a:gd name="connsiteX187" fmla="*/ 633990 w 2673200"/>
                <a:gd name="connsiteY187" fmla="*/ 1252729 h 2476692"/>
                <a:gd name="connsiteX188" fmla="*/ 643515 w 2673200"/>
                <a:gd name="connsiteY188" fmla="*/ 1238442 h 2476692"/>
                <a:gd name="connsiteX189" fmla="*/ 672090 w 2673200"/>
                <a:gd name="connsiteY189" fmla="*/ 1219392 h 2476692"/>
                <a:gd name="connsiteX190" fmla="*/ 672090 w 2673200"/>
                <a:gd name="connsiteY190" fmla="*/ 1162242 h 2476692"/>
                <a:gd name="connsiteX191" fmla="*/ 662565 w 2673200"/>
                <a:gd name="connsiteY191" fmla="*/ 1147954 h 2476692"/>
                <a:gd name="connsiteX192" fmla="*/ 619703 w 2673200"/>
                <a:gd name="connsiteY192" fmla="*/ 1167004 h 2476692"/>
                <a:gd name="connsiteX193" fmla="*/ 610178 w 2673200"/>
                <a:gd name="connsiteY193" fmla="*/ 1152717 h 2476692"/>
                <a:gd name="connsiteX194" fmla="*/ 605415 w 2673200"/>
                <a:gd name="connsiteY194" fmla="*/ 1105092 h 2476692"/>
                <a:gd name="connsiteX195" fmla="*/ 595890 w 2673200"/>
                <a:gd name="connsiteY195" fmla="*/ 1086042 h 2476692"/>
                <a:gd name="connsiteX196" fmla="*/ 576840 w 2673200"/>
                <a:gd name="connsiteY196" fmla="*/ 1057467 h 2476692"/>
                <a:gd name="connsiteX197" fmla="*/ 572078 w 2673200"/>
                <a:gd name="connsiteY197" fmla="*/ 1043179 h 2476692"/>
                <a:gd name="connsiteX198" fmla="*/ 562553 w 2673200"/>
                <a:gd name="connsiteY198" fmla="*/ 962217 h 2476692"/>
                <a:gd name="connsiteX199" fmla="*/ 462540 w 2673200"/>
                <a:gd name="connsiteY199" fmla="*/ 1043179 h 2476692"/>
                <a:gd name="connsiteX200" fmla="*/ 433965 w 2673200"/>
                <a:gd name="connsiteY200" fmla="*/ 952692 h 2476692"/>
                <a:gd name="connsiteX201" fmla="*/ 343478 w 2673200"/>
                <a:gd name="connsiteY201" fmla="*/ 862204 h 2476692"/>
                <a:gd name="connsiteX202" fmla="*/ 262515 w 2673200"/>
                <a:gd name="connsiteY202" fmla="*/ 871729 h 2476692"/>
                <a:gd name="connsiteX203" fmla="*/ 205365 w 2673200"/>
                <a:gd name="connsiteY203" fmla="*/ 919354 h 2476692"/>
                <a:gd name="connsiteX204" fmla="*/ 95828 w 2673200"/>
                <a:gd name="connsiteY204" fmla="*/ 986029 h 2476692"/>
                <a:gd name="connsiteX205" fmla="*/ 24390 w 2673200"/>
                <a:gd name="connsiteY205" fmla="*/ 986029 h 2476692"/>
                <a:gd name="connsiteX206" fmla="*/ 14865 w 2673200"/>
                <a:gd name="connsiteY206" fmla="*/ 947929 h 2476692"/>
                <a:gd name="connsiteX207" fmla="*/ 578 w 2673200"/>
                <a:gd name="connsiteY207" fmla="*/ 933642 h 2476692"/>
                <a:gd name="connsiteX208" fmla="*/ 5340 w 2673200"/>
                <a:gd name="connsiteY208" fmla="*/ 890779 h 2476692"/>
                <a:gd name="connsiteX209" fmla="*/ 57728 w 2673200"/>
                <a:gd name="connsiteY209" fmla="*/ 781242 h 2476692"/>
                <a:gd name="connsiteX210" fmla="*/ 238703 w 2673200"/>
                <a:gd name="connsiteY210" fmla="*/ 543117 h 2476692"/>
                <a:gd name="connsiteX211" fmla="*/ 333953 w 2673200"/>
                <a:gd name="connsiteY211" fmla="*/ 543117 h 2476692"/>
                <a:gd name="connsiteX212" fmla="*/ 429203 w 2673200"/>
                <a:gd name="connsiteY212" fmla="*/ 524067 h 2476692"/>
                <a:gd name="connsiteX213" fmla="*/ 467303 w 2673200"/>
                <a:gd name="connsiteY213" fmla="*/ 538354 h 2476692"/>
                <a:gd name="connsiteX214" fmla="*/ 481590 w 2673200"/>
                <a:gd name="connsiteY214" fmla="*/ 528829 h 2476692"/>
                <a:gd name="connsiteX215" fmla="*/ 486353 w 2673200"/>
                <a:gd name="connsiteY215" fmla="*/ 514542 h 2476692"/>
                <a:gd name="connsiteX216" fmla="*/ 491115 w 2673200"/>
                <a:gd name="connsiteY216" fmla="*/ 466917 h 2476692"/>
                <a:gd name="connsiteX217" fmla="*/ 481590 w 2673200"/>
                <a:gd name="connsiteY217" fmla="*/ 438342 h 2476692"/>
                <a:gd name="connsiteX218" fmla="*/ 462540 w 2673200"/>
                <a:gd name="connsiteY218" fmla="*/ 409767 h 2476692"/>
                <a:gd name="connsiteX219" fmla="*/ 472065 w 2673200"/>
                <a:gd name="connsiteY219" fmla="*/ 347854 h 2476692"/>
                <a:gd name="connsiteX220" fmla="*/ 505403 w 2673200"/>
                <a:gd name="connsiteY220" fmla="*/ 295467 h 2476692"/>
                <a:gd name="connsiteX221" fmla="*/ 514928 w 2673200"/>
                <a:gd name="connsiteY221" fmla="*/ 281179 h 2476692"/>
                <a:gd name="connsiteX222" fmla="*/ 519690 w 2673200"/>
                <a:gd name="connsiteY222" fmla="*/ 257367 h 2476692"/>
                <a:gd name="connsiteX223" fmla="*/ 529215 w 2673200"/>
                <a:gd name="connsiteY223" fmla="*/ 243079 h 2476692"/>
                <a:gd name="connsiteX224" fmla="*/ 538740 w 2673200"/>
                <a:gd name="connsiteY224" fmla="*/ 204979 h 2476692"/>
                <a:gd name="connsiteX225" fmla="*/ 548265 w 2673200"/>
                <a:gd name="connsiteY225" fmla="*/ 185929 h 2476692"/>
                <a:gd name="connsiteX226" fmla="*/ 553028 w 2673200"/>
                <a:gd name="connsiteY226" fmla="*/ 171642 h 2476692"/>
                <a:gd name="connsiteX227" fmla="*/ 562553 w 2673200"/>
                <a:gd name="connsiteY227" fmla="*/ 157354 h 2476692"/>
                <a:gd name="connsiteX228" fmla="*/ 567315 w 2673200"/>
                <a:gd name="connsiteY228" fmla="*/ 133542 h 2476692"/>
                <a:gd name="connsiteX229" fmla="*/ 576840 w 2673200"/>
                <a:gd name="connsiteY229" fmla="*/ 100204 h 2476692"/>
                <a:gd name="connsiteX230" fmla="*/ 581603 w 2673200"/>
                <a:gd name="connsiteY230" fmla="*/ 81154 h 2476692"/>
                <a:gd name="connsiteX231" fmla="*/ 595890 w 2673200"/>
                <a:gd name="connsiteY231" fmla="*/ 33529 h 2476692"/>
                <a:gd name="connsiteX232" fmla="*/ 619703 w 2673200"/>
                <a:gd name="connsiteY232" fmla="*/ 192 h 2476692"/>
                <a:gd name="connsiteX233" fmla="*/ 621543 w 2673200"/>
                <a:gd name="connsiteY233" fmla="*/ 0 h 2476692"/>
                <a:gd name="connsiteX0" fmla="*/ 621543 w 2673200"/>
                <a:gd name="connsiteY0" fmla="*/ 0 h 2476692"/>
                <a:gd name="connsiteX1" fmla="*/ 637165 w 2673200"/>
                <a:gd name="connsiteY1" fmla="*/ 20829 h 2476692"/>
                <a:gd name="connsiteX2" fmla="*/ 643515 w 2673200"/>
                <a:gd name="connsiteY2" fmla="*/ 30354 h 2476692"/>
                <a:gd name="connsiteX3" fmla="*/ 646690 w 2673200"/>
                <a:gd name="connsiteY3" fmla="*/ 74804 h 2476692"/>
                <a:gd name="connsiteX4" fmla="*/ 656215 w 2673200"/>
                <a:gd name="connsiteY4" fmla="*/ 100204 h 2476692"/>
                <a:gd name="connsiteX5" fmla="*/ 757815 w 2673200"/>
                <a:gd name="connsiteY5" fmla="*/ 119254 h 2476692"/>
                <a:gd name="connsiteX6" fmla="*/ 780040 w 2673200"/>
                <a:gd name="connsiteY6" fmla="*/ 135129 h 2476692"/>
                <a:gd name="connsiteX7" fmla="*/ 789565 w 2673200"/>
                <a:gd name="connsiteY7" fmla="*/ 138304 h 2476692"/>
                <a:gd name="connsiteX8" fmla="*/ 808615 w 2673200"/>
                <a:gd name="connsiteY8" fmla="*/ 154179 h 2476692"/>
                <a:gd name="connsiteX9" fmla="*/ 824490 w 2673200"/>
                <a:gd name="connsiteY9" fmla="*/ 176404 h 2476692"/>
                <a:gd name="connsiteX10" fmla="*/ 827665 w 2673200"/>
                <a:gd name="connsiteY10" fmla="*/ 185929 h 2476692"/>
                <a:gd name="connsiteX11" fmla="*/ 853065 w 2673200"/>
                <a:gd name="connsiteY11" fmla="*/ 201804 h 2476692"/>
                <a:gd name="connsiteX12" fmla="*/ 929265 w 2673200"/>
                <a:gd name="connsiteY12" fmla="*/ 220854 h 2476692"/>
                <a:gd name="connsiteX13" fmla="*/ 957840 w 2673200"/>
                <a:gd name="connsiteY13" fmla="*/ 198629 h 2476692"/>
                <a:gd name="connsiteX14" fmla="*/ 980065 w 2673200"/>
                <a:gd name="connsiteY14" fmla="*/ 182754 h 2476692"/>
                <a:gd name="connsiteX15" fmla="*/ 989590 w 2673200"/>
                <a:gd name="connsiteY15" fmla="*/ 176404 h 2476692"/>
                <a:gd name="connsiteX16" fmla="*/ 1011815 w 2673200"/>
                <a:gd name="connsiteY16" fmla="*/ 173229 h 2476692"/>
                <a:gd name="connsiteX17" fmla="*/ 1027690 w 2673200"/>
                <a:gd name="connsiteY17" fmla="*/ 166879 h 2476692"/>
                <a:gd name="connsiteX18" fmla="*/ 1094365 w 2673200"/>
                <a:gd name="connsiteY18" fmla="*/ 220854 h 2476692"/>
                <a:gd name="connsiteX19" fmla="*/ 1186440 w 2673200"/>
                <a:gd name="connsiteY19" fmla="*/ 217679 h 2476692"/>
                <a:gd name="connsiteX20" fmla="*/ 1278515 w 2673200"/>
                <a:gd name="connsiteY20" fmla="*/ 170054 h 2476692"/>
                <a:gd name="connsiteX21" fmla="*/ 1326140 w 2673200"/>
                <a:gd name="connsiteY21" fmla="*/ 74804 h 2476692"/>
                <a:gd name="connsiteX22" fmla="*/ 1373765 w 2673200"/>
                <a:gd name="connsiteY22" fmla="*/ 122429 h 2476692"/>
                <a:gd name="connsiteX23" fmla="*/ 1459490 w 2673200"/>
                <a:gd name="connsiteY23" fmla="*/ 144654 h 2476692"/>
                <a:gd name="connsiteX24" fmla="*/ 1589665 w 2673200"/>
                <a:gd name="connsiteY24" fmla="*/ 144654 h 2476692"/>
                <a:gd name="connsiteX25" fmla="*/ 1697615 w 2673200"/>
                <a:gd name="connsiteY25" fmla="*/ 97029 h 2476692"/>
                <a:gd name="connsiteX26" fmla="*/ 1726190 w 2673200"/>
                <a:gd name="connsiteY26" fmla="*/ 103379 h 2476692"/>
                <a:gd name="connsiteX27" fmla="*/ 1738890 w 2673200"/>
                <a:gd name="connsiteY27" fmla="*/ 122429 h 2476692"/>
                <a:gd name="connsiteX28" fmla="*/ 1732540 w 2673200"/>
                <a:gd name="connsiteY28" fmla="*/ 141479 h 2476692"/>
                <a:gd name="connsiteX29" fmla="*/ 1723015 w 2673200"/>
                <a:gd name="connsiteY29" fmla="*/ 154179 h 2476692"/>
                <a:gd name="connsiteX30" fmla="*/ 1802390 w 2673200"/>
                <a:gd name="connsiteY30" fmla="*/ 144654 h 2476692"/>
                <a:gd name="connsiteX31" fmla="*/ 1824615 w 2673200"/>
                <a:gd name="connsiteY31" fmla="*/ 160529 h 2476692"/>
                <a:gd name="connsiteX32" fmla="*/ 1827790 w 2673200"/>
                <a:gd name="connsiteY32" fmla="*/ 195454 h 2476692"/>
                <a:gd name="connsiteX33" fmla="*/ 1834140 w 2673200"/>
                <a:gd name="connsiteY33" fmla="*/ 217679 h 2476692"/>
                <a:gd name="connsiteX34" fmla="*/ 1840490 w 2673200"/>
                <a:gd name="connsiteY34" fmla="*/ 230379 h 2476692"/>
                <a:gd name="connsiteX35" fmla="*/ 1846840 w 2673200"/>
                <a:gd name="connsiteY35" fmla="*/ 239904 h 2476692"/>
                <a:gd name="connsiteX36" fmla="*/ 1846840 w 2673200"/>
                <a:gd name="connsiteY36" fmla="*/ 249429 h 2476692"/>
                <a:gd name="connsiteX37" fmla="*/ 1916690 w 2673200"/>
                <a:gd name="connsiteY37" fmla="*/ 274829 h 2476692"/>
                <a:gd name="connsiteX38" fmla="*/ 1945265 w 2673200"/>
                <a:gd name="connsiteY38" fmla="*/ 268479 h 2476692"/>
                <a:gd name="connsiteX39" fmla="*/ 1961140 w 2673200"/>
                <a:gd name="connsiteY39" fmla="*/ 274829 h 2476692"/>
                <a:gd name="connsiteX40" fmla="*/ 1977015 w 2673200"/>
                <a:gd name="connsiteY40" fmla="*/ 293879 h 2476692"/>
                <a:gd name="connsiteX41" fmla="*/ 2002415 w 2673200"/>
                <a:gd name="connsiteY41" fmla="*/ 297054 h 2476692"/>
                <a:gd name="connsiteX42" fmla="*/ 2002415 w 2673200"/>
                <a:gd name="connsiteY42" fmla="*/ 344679 h 2476692"/>
                <a:gd name="connsiteX43" fmla="*/ 1998496 w 2673200"/>
                <a:gd name="connsiteY43" fmla="*/ 359366 h 2476692"/>
                <a:gd name="connsiteX44" fmla="*/ 1997699 w 2673200"/>
                <a:gd name="connsiteY44" fmla="*/ 359161 h 2476692"/>
                <a:gd name="connsiteX45" fmla="*/ 1996509 w 2673200"/>
                <a:gd name="connsiteY45" fmla="*/ 357863 h 2476692"/>
                <a:gd name="connsiteX46" fmla="*/ 1996082 w 2673200"/>
                <a:gd name="connsiteY46" fmla="*/ 354482 h 2476692"/>
                <a:gd name="connsiteX47" fmla="*/ 1996065 w 2673200"/>
                <a:gd name="connsiteY47" fmla="*/ 357379 h 2476692"/>
                <a:gd name="connsiteX48" fmla="*/ 1996509 w 2673200"/>
                <a:gd name="connsiteY48" fmla="*/ 357863 h 2476692"/>
                <a:gd name="connsiteX49" fmla="*/ 1996639 w 2673200"/>
                <a:gd name="connsiteY49" fmla="*/ 358889 h 2476692"/>
                <a:gd name="connsiteX50" fmla="*/ 1997699 w 2673200"/>
                <a:gd name="connsiteY50" fmla="*/ 359161 h 2476692"/>
                <a:gd name="connsiteX51" fmla="*/ 2030990 w 2673200"/>
                <a:gd name="connsiteY51" fmla="*/ 395479 h 2476692"/>
                <a:gd name="connsiteX52" fmla="*/ 2059565 w 2673200"/>
                <a:gd name="connsiteY52" fmla="*/ 385954 h 2476692"/>
                <a:gd name="connsiteX53" fmla="*/ 2069090 w 2673200"/>
                <a:gd name="connsiteY53" fmla="*/ 379604 h 2476692"/>
                <a:gd name="connsiteX54" fmla="*/ 2078615 w 2673200"/>
                <a:gd name="connsiteY54" fmla="*/ 376429 h 2476692"/>
                <a:gd name="connsiteX55" fmla="*/ 2116715 w 2673200"/>
                <a:gd name="connsiteY55" fmla="*/ 379604 h 2476692"/>
                <a:gd name="connsiteX56" fmla="*/ 2119890 w 2673200"/>
                <a:gd name="connsiteY56" fmla="*/ 411354 h 2476692"/>
                <a:gd name="connsiteX57" fmla="*/ 2129415 w 2673200"/>
                <a:gd name="connsiteY57" fmla="*/ 443104 h 2476692"/>
                <a:gd name="connsiteX58" fmla="*/ 2132590 w 2673200"/>
                <a:gd name="connsiteY58" fmla="*/ 452629 h 2476692"/>
                <a:gd name="connsiteX59" fmla="*/ 2135765 w 2673200"/>
                <a:gd name="connsiteY59" fmla="*/ 462154 h 2476692"/>
                <a:gd name="connsiteX60" fmla="*/ 2142115 w 2673200"/>
                <a:gd name="connsiteY60" fmla="*/ 493904 h 2476692"/>
                <a:gd name="connsiteX61" fmla="*/ 2138940 w 2673200"/>
                <a:gd name="connsiteY61" fmla="*/ 532004 h 2476692"/>
                <a:gd name="connsiteX62" fmla="*/ 2110365 w 2673200"/>
                <a:gd name="connsiteY62" fmla="*/ 547879 h 2476692"/>
                <a:gd name="connsiteX63" fmla="*/ 2097665 w 2673200"/>
                <a:gd name="connsiteY63" fmla="*/ 557404 h 2476692"/>
                <a:gd name="connsiteX64" fmla="*/ 2094490 w 2673200"/>
                <a:gd name="connsiteY64" fmla="*/ 582804 h 2476692"/>
                <a:gd name="connsiteX65" fmla="*/ 2104015 w 2673200"/>
                <a:gd name="connsiteY65" fmla="*/ 608204 h 2476692"/>
                <a:gd name="connsiteX66" fmla="*/ 2110365 w 2673200"/>
                <a:gd name="connsiteY66" fmla="*/ 617729 h 2476692"/>
                <a:gd name="connsiteX67" fmla="*/ 2116715 w 2673200"/>
                <a:gd name="connsiteY67" fmla="*/ 643129 h 2476692"/>
                <a:gd name="connsiteX68" fmla="*/ 2119890 w 2673200"/>
                <a:gd name="connsiteY68" fmla="*/ 719329 h 2476692"/>
                <a:gd name="connsiteX69" fmla="*/ 2123065 w 2673200"/>
                <a:gd name="connsiteY69" fmla="*/ 728854 h 2476692"/>
                <a:gd name="connsiteX70" fmla="*/ 2142115 w 2673200"/>
                <a:gd name="connsiteY70" fmla="*/ 741554 h 2476692"/>
                <a:gd name="connsiteX71" fmla="*/ 2161165 w 2673200"/>
                <a:gd name="connsiteY71" fmla="*/ 738379 h 2476692"/>
                <a:gd name="connsiteX72" fmla="*/ 2170690 w 2673200"/>
                <a:gd name="connsiteY72" fmla="*/ 732029 h 2476692"/>
                <a:gd name="connsiteX73" fmla="*/ 2183390 w 2673200"/>
                <a:gd name="connsiteY73" fmla="*/ 725679 h 2476692"/>
                <a:gd name="connsiteX74" fmla="*/ 2192915 w 2673200"/>
                <a:gd name="connsiteY74" fmla="*/ 719329 h 2476692"/>
                <a:gd name="connsiteX75" fmla="*/ 2211965 w 2673200"/>
                <a:gd name="connsiteY75" fmla="*/ 712979 h 2476692"/>
                <a:gd name="connsiteX76" fmla="*/ 2259590 w 2673200"/>
                <a:gd name="connsiteY76" fmla="*/ 716154 h 2476692"/>
                <a:gd name="connsiteX77" fmla="*/ 2262765 w 2673200"/>
                <a:gd name="connsiteY77" fmla="*/ 732029 h 2476692"/>
                <a:gd name="connsiteX78" fmla="*/ 2272290 w 2673200"/>
                <a:gd name="connsiteY78" fmla="*/ 751079 h 2476692"/>
                <a:gd name="connsiteX79" fmla="*/ 2297690 w 2673200"/>
                <a:gd name="connsiteY79" fmla="*/ 754254 h 2476692"/>
                <a:gd name="connsiteX80" fmla="*/ 2329440 w 2673200"/>
                <a:gd name="connsiteY80" fmla="*/ 738379 h 2476692"/>
                <a:gd name="connsiteX81" fmla="*/ 2338965 w 2673200"/>
                <a:gd name="connsiteY81" fmla="*/ 735204 h 2476692"/>
                <a:gd name="connsiteX82" fmla="*/ 2367540 w 2673200"/>
                <a:gd name="connsiteY82" fmla="*/ 722504 h 2476692"/>
                <a:gd name="connsiteX83" fmla="*/ 2377065 w 2673200"/>
                <a:gd name="connsiteY83" fmla="*/ 719329 h 2476692"/>
                <a:gd name="connsiteX84" fmla="*/ 2391809 w 2673200"/>
                <a:gd name="connsiteY84" fmla="*/ 719329 h 2476692"/>
                <a:gd name="connsiteX85" fmla="*/ 2672340 w 2673200"/>
                <a:gd name="connsiteY85" fmla="*/ 1724217 h 2476692"/>
                <a:gd name="connsiteX86" fmla="*/ 2436596 w 2673200"/>
                <a:gd name="connsiteY86" fmla="*/ 1986154 h 2476692"/>
                <a:gd name="connsiteX87" fmla="*/ 2450884 w 2673200"/>
                <a:gd name="connsiteY87" fmla="*/ 2017110 h 2476692"/>
                <a:gd name="connsiteX88" fmla="*/ 2465171 w 2673200"/>
                <a:gd name="connsiteY88" fmla="*/ 2057592 h 2476692"/>
                <a:gd name="connsiteX89" fmla="*/ 2455646 w 2673200"/>
                <a:gd name="connsiteY89" fmla="*/ 2121885 h 2476692"/>
                <a:gd name="connsiteX90" fmla="*/ 2410403 w 2673200"/>
                <a:gd name="connsiteY90" fmla="*/ 2152842 h 2476692"/>
                <a:gd name="connsiteX91" fmla="*/ 2458028 w 2673200"/>
                <a:gd name="connsiteY91" fmla="*/ 2186180 h 2476692"/>
                <a:gd name="connsiteX92" fmla="*/ 2448503 w 2673200"/>
                <a:gd name="connsiteY92" fmla="*/ 2226660 h 2476692"/>
                <a:gd name="connsiteX93" fmla="*/ 2410403 w 2673200"/>
                <a:gd name="connsiteY93" fmla="*/ 2262379 h 2476692"/>
                <a:gd name="connsiteX94" fmla="*/ 2388971 w 2673200"/>
                <a:gd name="connsiteY94" fmla="*/ 2331435 h 2476692"/>
                <a:gd name="connsiteX95" fmla="*/ 2405640 w 2673200"/>
                <a:gd name="connsiteY95" fmla="*/ 2381442 h 2476692"/>
                <a:gd name="connsiteX96" fmla="*/ 2391353 w 2673200"/>
                <a:gd name="connsiteY96" fmla="*/ 2414779 h 2476692"/>
                <a:gd name="connsiteX97" fmla="*/ 2334203 w 2673200"/>
                <a:gd name="connsiteY97" fmla="*/ 2433829 h 2476692"/>
                <a:gd name="connsiteX98" fmla="*/ 2305628 w 2673200"/>
                <a:gd name="connsiteY98" fmla="*/ 2443354 h 2476692"/>
                <a:gd name="connsiteX99" fmla="*/ 2296103 w 2673200"/>
                <a:gd name="connsiteY99" fmla="*/ 2457642 h 2476692"/>
                <a:gd name="connsiteX100" fmla="*/ 2262765 w 2673200"/>
                <a:gd name="connsiteY100" fmla="*/ 2462404 h 2476692"/>
                <a:gd name="connsiteX101" fmla="*/ 2229428 w 2673200"/>
                <a:gd name="connsiteY101" fmla="*/ 2438592 h 2476692"/>
                <a:gd name="connsiteX102" fmla="*/ 2215140 w 2673200"/>
                <a:gd name="connsiteY102" fmla="*/ 2433829 h 2476692"/>
                <a:gd name="connsiteX103" fmla="*/ 2205615 w 2673200"/>
                <a:gd name="connsiteY103" fmla="*/ 2457642 h 2476692"/>
                <a:gd name="connsiteX104" fmla="*/ 2191328 w 2673200"/>
                <a:gd name="connsiteY104" fmla="*/ 2467167 h 2476692"/>
                <a:gd name="connsiteX105" fmla="*/ 2153228 w 2673200"/>
                <a:gd name="connsiteY105" fmla="*/ 2476692 h 2476692"/>
                <a:gd name="connsiteX106" fmla="*/ 2134178 w 2673200"/>
                <a:gd name="connsiteY106" fmla="*/ 2448117 h 2476692"/>
                <a:gd name="connsiteX107" fmla="*/ 2124653 w 2673200"/>
                <a:gd name="connsiteY107" fmla="*/ 2433829 h 2476692"/>
                <a:gd name="connsiteX108" fmla="*/ 2119890 w 2673200"/>
                <a:gd name="connsiteY108" fmla="*/ 2352867 h 2476692"/>
                <a:gd name="connsiteX109" fmla="*/ 2124653 w 2673200"/>
                <a:gd name="connsiteY109" fmla="*/ 2338579 h 2476692"/>
                <a:gd name="connsiteX110" fmla="*/ 2167515 w 2673200"/>
                <a:gd name="connsiteY110" fmla="*/ 2290954 h 2476692"/>
                <a:gd name="connsiteX111" fmla="*/ 2177040 w 2673200"/>
                <a:gd name="connsiteY111" fmla="*/ 2276667 h 2476692"/>
                <a:gd name="connsiteX112" fmla="*/ 2153228 w 2673200"/>
                <a:gd name="connsiteY112" fmla="*/ 2248092 h 2476692"/>
                <a:gd name="connsiteX113" fmla="*/ 2134178 w 2673200"/>
                <a:gd name="connsiteY113" fmla="*/ 2238567 h 2476692"/>
                <a:gd name="connsiteX114" fmla="*/ 2129415 w 2673200"/>
                <a:gd name="connsiteY114" fmla="*/ 2214754 h 2476692"/>
                <a:gd name="connsiteX115" fmla="*/ 2148465 w 2673200"/>
                <a:gd name="connsiteY115" fmla="*/ 2186179 h 2476692"/>
                <a:gd name="connsiteX116" fmla="*/ 2167515 w 2673200"/>
                <a:gd name="connsiteY116" fmla="*/ 2190942 h 2476692"/>
                <a:gd name="connsiteX117" fmla="*/ 2229428 w 2673200"/>
                <a:gd name="connsiteY117" fmla="*/ 2186179 h 2476692"/>
                <a:gd name="connsiteX118" fmla="*/ 2234190 w 2673200"/>
                <a:gd name="connsiteY118" fmla="*/ 2171892 h 2476692"/>
                <a:gd name="connsiteX119" fmla="*/ 2224665 w 2673200"/>
                <a:gd name="connsiteY119" fmla="*/ 2143317 h 2476692"/>
                <a:gd name="connsiteX120" fmla="*/ 2210378 w 2673200"/>
                <a:gd name="connsiteY120" fmla="*/ 2129029 h 2476692"/>
                <a:gd name="connsiteX121" fmla="*/ 2191328 w 2673200"/>
                <a:gd name="connsiteY121" fmla="*/ 2119504 h 2476692"/>
                <a:gd name="connsiteX122" fmla="*/ 2162753 w 2673200"/>
                <a:gd name="connsiteY122" fmla="*/ 2114742 h 2476692"/>
                <a:gd name="connsiteX123" fmla="*/ 2157990 w 2673200"/>
                <a:gd name="connsiteY123" fmla="*/ 2095692 h 2476692"/>
                <a:gd name="connsiteX124" fmla="*/ 2181803 w 2673200"/>
                <a:gd name="connsiteY124" fmla="*/ 2062354 h 2476692"/>
                <a:gd name="connsiteX125" fmla="*/ 2191328 w 2673200"/>
                <a:gd name="connsiteY125" fmla="*/ 2048067 h 2476692"/>
                <a:gd name="connsiteX126" fmla="*/ 2196090 w 2673200"/>
                <a:gd name="connsiteY126" fmla="*/ 1986154 h 2476692"/>
                <a:gd name="connsiteX127" fmla="*/ 2186565 w 2673200"/>
                <a:gd name="connsiteY127" fmla="*/ 1957579 h 2476692"/>
                <a:gd name="connsiteX128" fmla="*/ 2162753 w 2673200"/>
                <a:gd name="connsiteY128" fmla="*/ 1952817 h 2476692"/>
                <a:gd name="connsiteX129" fmla="*/ 2134178 w 2673200"/>
                <a:gd name="connsiteY129" fmla="*/ 1971867 h 2476692"/>
                <a:gd name="connsiteX130" fmla="*/ 2124653 w 2673200"/>
                <a:gd name="connsiteY130" fmla="*/ 1986154 h 2476692"/>
                <a:gd name="connsiteX131" fmla="*/ 2105603 w 2673200"/>
                <a:gd name="connsiteY131" fmla="*/ 2005204 h 2476692"/>
                <a:gd name="connsiteX132" fmla="*/ 2072265 w 2673200"/>
                <a:gd name="connsiteY132" fmla="*/ 2038542 h 2476692"/>
                <a:gd name="connsiteX133" fmla="*/ 2057978 w 2673200"/>
                <a:gd name="connsiteY133" fmla="*/ 2048067 h 2476692"/>
                <a:gd name="connsiteX134" fmla="*/ 2029403 w 2673200"/>
                <a:gd name="connsiteY134" fmla="*/ 2052829 h 2476692"/>
                <a:gd name="connsiteX135" fmla="*/ 2019878 w 2673200"/>
                <a:gd name="connsiteY135" fmla="*/ 2009967 h 2476692"/>
                <a:gd name="connsiteX136" fmla="*/ 1991303 w 2673200"/>
                <a:gd name="connsiteY136" fmla="*/ 1986154 h 2476692"/>
                <a:gd name="connsiteX137" fmla="*/ 1962728 w 2673200"/>
                <a:gd name="connsiteY137" fmla="*/ 1976629 h 2476692"/>
                <a:gd name="connsiteX138" fmla="*/ 1948440 w 2673200"/>
                <a:gd name="connsiteY138" fmla="*/ 1990917 h 2476692"/>
                <a:gd name="connsiteX139" fmla="*/ 1910340 w 2673200"/>
                <a:gd name="connsiteY139" fmla="*/ 2000442 h 2476692"/>
                <a:gd name="connsiteX140" fmla="*/ 1891290 w 2673200"/>
                <a:gd name="connsiteY140" fmla="*/ 1971867 h 2476692"/>
                <a:gd name="connsiteX141" fmla="*/ 1886528 w 2673200"/>
                <a:gd name="connsiteY141" fmla="*/ 1952817 h 2476692"/>
                <a:gd name="connsiteX142" fmla="*/ 1881765 w 2673200"/>
                <a:gd name="connsiteY142" fmla="*/ 1929004 h 2476692"/>
                <a:gd name="connsiteX143" fmla="*/ 1877003 w 2673200"/>
                <a:gd name="connsiteY143" fmla="*/ 1886142 h 2476692"/>
                <a:gd name="connsiteX144" fmla="*/ 1862715 w 2673200"/>
                <a:gd name="connsiteY144" fmla="*/ 1871854 h 2476692"/>
                <a:gd name="connsiteX145" fmla="*/ 1853190 w 2673200"/>
                <a:gd name="connsiteY145" fmla="*/ 1857567 h 2476692"/>
                <a:gd name="connsiteX146" fmla="*/ 1824615 w 2673200"/>
                <a:gd name="connsiteY146" fmla="*/ 1838517 h 2476692"/>
                <a:gd name="connsiteX147" fmla="*/ 1819853 w 2673200"/>
                <a:gd name="connsiteY147" fmla="*/ 1819467 h 2476692"/>
                <a:gd name="connsiteX148" fmla="*/ 1834140 w 2673200"/>
                <a:gd name="connsiteY148" fmla="*/ 1814704 h 2476692"/>
                <a:gd name="connsiteX149" fmla="*/ 1848428 w 2673200"/>
                <a:gd name="connsiteY149" fmla="*/ 1809942 h 2476692"/>
                <a:gd name="connsiteX150" fmla="*/ 1862715 w 2673200"/>
                <a:gd name="connsiteY150" fmla="*/ 1805179 h 2476692"/>
                <a:gd name="connsiteX151" fmla="*/ 1891290 w 2673200"/>
                <a:gd name="connsiteY151" fmla="*/ 1795654 h 2476692"/>
                <a:gd name="connsiteX152" fmla="*/ 1896053 w 2673200"/>
                <a:gd name="connsiteY152" fmla="*/ 1781367 h 2476692"/>
                <a:gd name="connsiteX153" fmla="*/ 1900815 w 2673200"/>
                <a:gd name="connsiteY153" fmla="*/ 1762317 h 2476692"/>
                <a:gd name="connsiteX154" fmla="*/ 1891290 w 2673200"/>
                <a:gd name="connsiteY154" fmla="*/ 1676592 h 2476692"/>
                <a:gd name="connsiteX155" fmla="*/ 1719840 w 2673200"/>
                <a:gd name="connsiteY155" fmla="*/ 1671829 h 2476692"/>
                <a:gd name="connsiteX156" fmla="*/ 1710315 w 2673200"/>
                <a:gd name="connsiteY156" fmla="*/ 1690879 h 2476692"/>
                <a:gd name="connsiteX157" fmla="*/ 1696028 w 2673200"/>
                <a:gd name="connsiteY157" fmla="*/ 1709929 h 2476692"/>
                <a:gd name="connsiteX158" fmla="*/ 1681740 w 2673200"/>
                <a:gd name="connsiteY158" fmla="*/ 1724217 h 2476692"/>
                <a:gd name="connsiteX159" fmla="*/ 1676978 w 2673200"/>
                <a:gd name="connsiteY159" fmla="*/ 1738504 h 2476692"/>
                <a:gd name="connsiteX160" fmla="*/ 1667453 w 2673200"/>
                <a:gd name="connsiteY160" fmla="*/ 1762317 h 2476692"/>
                <a:gd name="connsiteX161" fmla="*/ 1643640 w 2673200"/>
                <a:gd name="connsiteY161" fmla="*/ 1795654 h 2476692"/>
                <a:gd name="connsiteX162" fmla="*/ 1291215 w 2673200"/>
                <a:gd name="connsiteY162" fmla="*/ 1938529 h 2476692"/>
                <a:gd name="connsiteX163" fmla="*/ 1162628 w 2673200"/>
                <a:gd name="connsiteY163" fmla="*/ 1833754 h 2476692"/>
                <a:gd name="connsiteX164" fmla="*/ 1091190 w 2673200"/>
                <a:gd name="connsiteY164" fmla="*/ 1843279 h 2476692"/>
                <a:gd name="connsiteX165" fmla="*/ 1014990 w 2673200"/>
                <a:gd name="connsiteY165" fmla="*/ 1786129 h 2476692"/>
                <a:gd name="connsiteX166" fmla="*/ 1024515 w 2673200"/>
                <a:gd name="connsiteY166" fmla="*/ 1733742 h 2476692"/>
                <a:gd name="connsiteX167" fmla="*/ 957840 w 2673200"/>
                <a:gd name="connsiteY167" fmla="*/ 1719454 h 2476692"/>
                <a:gd name="connsiteX168" fmla="*/ 767340 w 2673200"/>
                <a:gd name="connsiteY168" fmla="*/ 1671829 h 2476692"/>
                <a:gd name="connsiteX169" fmla="*/ 743528 w 2673200"/>
                <a:gd name="connsiteY169" fmla="*/ 1681354 h 2476692"/>
                <a:gd name="connsiteX170" fmla="*/ 729240 w 2673200"/>
                <a:gd name="connsiteY170" fmla="*/ 1686117 h 2476692"/>
                <a:gd name="connsiteX171" fmla="*/ 700665 w 2673200"/>
                <a:gd name="connsiteY171" fmla="*/ 1667067 h 2476692"/>
                <a:gd name="connsiteX172" fmla="*/ 657803 w 2673200"/>
                <a:gd name="connsiteY172" fmla="*/ 1624204 h 2476692"/>
                <a:gd name="connsiteX173" fmla="*/ 605415 w 2673200"/>
                <a:gd name="connsiteY173" fmla="*/ 1638492 h 2476692"/>
                <a:gd name="connsiteX174" fmla="*/ 533978 w 2673200"/>
                <a:gd name="connsiteY174" fmla="*/ 1543242 h 2476692"/>
                <a:gd name="connsiteX175" fmla="*/ 548265 w 2673200"/>
                <a:gd name="connsiteY175" fmla="*/ 1528954 h 2476692"/>
                <a:gd name="connsiteX176" fmla="*/ 567315 w 2673200"/>
                <a:gd name="connsiteY176" fmla="*/ 1514667 h 2476692"/>
                <a:gd name="connsiteX177" fmla="*/ 581603 w 2673200"/>
                <a:gd name="connsiteY177" fmla="*/ 1476567 h 2476692"/>
                <a:gd name="connsiteX178" fmla="*/ 567315 w 2673200"/>
                <a:gd name="connsiteY178" fmla="*/ 1471804 h 2476692"/>
                <a:gd name="connsiteX179" fmla="*/ 543503 w 2673200"/>
                <a:gd name="connsiteY179" fmla="*/ 1462279 h 2476692"/>
                <a:gd name="connsiteX180" fmla="*/ 562553 w 2673200"/>
                <a:gd name="connsiteY180" fmla="*/ 1428942 h 2476692"/>
                <a:gd name="connsiteX181" fmla="*/ 567315 w 2673200"/>
                <a:gd name="connsiteY181" fmla="*/ 1414654 h 2476692"/>
                <a:gd name="connsiteX182" fmla="*/ 586365 w 2673200"/>
                <a:gd name="connsiteY182" fmla="*/ 1386079 h 2476692"/>
                <a:gd name="connsiteX183" fmla="*/ 619703 w 2673200"/>
                <a:gd name="connsiteY183" fmla="*/ 1362267 h 2476692"/>
                <a:gd name="connsiteX184" fmla="*/ 633990 w 2673200"/>
                <a:gd name="connsiteY184" fmla="*/ 1343217 h 2476692"/>
                <a:gd name="connsiteX185" fmla="*/ 662565 w 2673200"/>
                <a:gd name="connsiteY185" fmla="*/ 1319404 h 2476692"/>
                <a:gd name="connsiteX186" fmla="*/ 667328 w 2673200"/>
                <a:gd name="connsiteY186" fmla="*/ 1281304 h 2476692"/>
                <a:gd name="connsiteX187" fmla="*/ 638753 w 2673200"/>
                <a:gd name="connsiteY187" fmla="*/ 1267017 h 2476692"/>
                <a:gd name="connsiteX188" fmla="*/ 633990 w 2673200"/>
                <a:gd name="connsiteY188" fmla="*/ 1252729 h 2476692"/>
                <a:gd name="connsiteX189" fmla="*/ 643515 w 2673200"/>
                <a:gd name="connsiteY189" fmla="*/ 1238442 h 2476692"/>
                <a:gd name="connsiteX190" fmla="*/ 672090 w 2673200"/>
                <a:gd name="connsiteY190" fmla="*/ 1219392 h 2476692"/>
                <a:gd name="connsiteX191" fmla="*/ 672090 w 2673200"/>
                <a:gd name="connsiteY191" fmla="*/ 1162242 h 2476692"/>
                <a:gd name="connsiteX192" fmla="*/ 662565 w 2673200"/>
                <a:gd name="connsiteY192" fmla="*/ 1147954 h 2476692"/>
                <a:gd name="connsiteX193" fmla="*/ 619703 w 2673200"/>
                <a:gd name="connsiteY193" fmla="*/ 1167004 h 2476692"/>
                <a:gd name="connsiteX194" fmla="*/ 610178 w 2673200"/>
                <a:gd name="connsiteY194" fmla="*/ 1152717 h 2476692"/>
                <a:gd name="connsiteX195" fmla="*/ 605415 w 2673200"/>
                <a:gd name="connsiteY195" fmla="*/ 1105092 h 2476692"/>
                <a:gd name="connsiteX196" fmla="*/ 595890 w 2673200"/>
                <a:gd name="connsiteY196" fmla="*/ 1086042 h 2476692"/>
                <a:gd name="connsiteX197" fmla="*/ 576840 w 2673200"/>
                <a:gd name="connsiteY197" fmla="*/ 1057467 h 2476692"/>
                <a:gd name="connsiteX198" fmla="*/ 572078 w 2673200"/>
                <a:gd name="connsiteY198" fmla="*/ 1043179 h 2476692"/>
                <a:gd name="connsiteX199" fmla="*/ 562553 w 2673200"/>
                <a:gd name="connsiteY199" fmla="*/ 962217 h 2476692"/>
                <a:gd name="connsiteX200" fmla="*/ 462540 w 2673200"/>
                <a:gd name="connsiteY200" fmla="*/ 1043179 h 2476692"/>
                <a:gd name="connsiteX201" fmla="*/ 433965 w 2673200"/>
                <a:gd name="connsiteY201" fmla="*/ 952692 h 2476692"/>
                <a:gd name="connsiteX202" fmla="*/ 343478 w 2673200"/>
                <a:gd name="connsiteY202" fmla="*/ 862204 h 2476692"/>
                <a:gd name="connsiteX203" fmla="*/ 262515 w 2673200"/>
                <a:gd name="connsiteY203" fmla="*/ 871729 h 2476692"/>
                <a:gd name="connsiteX204" fmla="*/ 205365 w 2673200"/>
                <a:gd name="connsiteY204" fmla="*/ 919354 h 2476692"/>
                <a:gd name="connsiteX205" fmla="*/ 95828 w 2673200"/>
                <a:gd name="connsiteY205" fmla="*/ 986029 h 2476692"/>
                <a:gd name="connsiteX206" fmla="*/ 24390 w 2673200"/>
                <a:gd name="connsiteY206" fmla="*/ 986029 h 2476692"/>
                <a:gd name="connsiteX207" fmla="*/ 14865 w 2673200"/>
                <a:gd name="connsiteY207" fmla="*/ 947929 h 2476692"/>
                <a:gd name="connsiteX208" fmla="*/ 578 w 2673200"/>
                <a:gd name="connsiteY208" fmla="*/ 933642 h 2476692"/>
                <a:gd name="connsiteX209" fmla="*/ 5340 w 2673200"/>
                <a:gd name="connsiteY209" fmla="*/ 890779 h 2476692"/>
                <a:gd name="connsiteX210" fmla="*/ 57728 w 2673200"/>
                <a:gd name="connsiteY210" fmla="*/ 781242 h 2476692"/>
                <a:gd name="connsiteX211" fmla="*/ 238703 w 2673200"/>
                <a:gd name="connsiteY211" fmla="*/ 543117 h 2476692"/>
                <a:gd name="connsiteX212" fmla="*/ 333953 w 2673200"/>
                <a:gd name="connsiteY212" fmla="*/ 543117 h 2476692"/>
                <a:gd name="connsiteX213" fmla="*/ 429203 w 2673200"/>
                <a:gd name="connsiteY213" fmla="*/ 524067 h 2476692"/>
                <a:gd name="connsiteX214" fmla="*/ 467303 w 2673200"/>
                <a:gd name="connsiteY214" fmla="*/ 538354 h 2476692"/>
                <a:gd name="connsiteX215" fmla="*/ 481590 w 2673200"/>
                <a:gd name="connsiteY215" fmla="*/ 528829 h 2476692"/>
                <a:gd name="connsiteX216" fmla="*/ 486353 w 2673200"/>
                <a:gd name="connsiteY216" fmla="*/ 514542 h 2476692"/>
                <a:gd name="connsiteX217" fmla="*/ 491115 w 2673200"/>
                <a:gd name="connsiteY217" fmla="*/ 466917 h 2476692"/>
                <a:gd name="connsiteX218" fmla="*/ 481590 w 2673200"/>
                <a:gd name="connsiteY218" fmla="*/ 438342 h 2476692"/>
                <a:gd name="connsiteX219" fmla="*/ 462540 w 2673200"/>
                <a:gd name="connsiteY219" fmla="*/ 409767 h 2476692"/>
                <a:gd name="connsiteX220" fmla="*/ 472065 w 2673200"/>
                <a:gd name="connsiteY220" fmla="*/ 347854 h 2476692"/>
                <a:gd name="connsiteX221" fmla="*/ 505403 w 2673200"/>
                <a:gd name="connsiteY221" fmla="*/ 295467 h 2476692"/>
                <a:gd name="connsiteX222" fmla="*/ 514928 w 2673200"/>
                <a:gd name="connsiteY222" fmla="*/ 281179 h 2476692"/>
                <a:gd name="connsiteX223" fmla="*/ 519690 w 2673200"/>
                <a:gd name="connsiteY223" fmla="*/ 257367 h 2476692"/>
                <a:gd name="connsiteX224" fmla="*/ 529215 w 2673200"/>
                <a:gd name="connsiteY224" fmla="*/ 243079 h 2476692"/>
                <a:gd name="connsiteX225" fmla="*/ 538740 w 2673200"/>
                <a:gd name="connsiteY225" fmla="*/ 204979 h 2476692"/>
                <a:gd name="connsiteX226" fmla="*/ 548265 w 2673200"/>
                <a:gd name="connsiteY226" fmla="*/ 185929 h 2476692"/>
                <a:gd name="connsiteX227" fmla="*/ 553028 w 2673200"/>
                <a:gd name="connsiteY227" fmla="*/ 171642 h 2476692"/>
                <a:gd name="connsiteX228" fmla="*/ 562553 w 2673200"/>
                <a:gd name="connsiteY228" fmla="*/ 157354 h 2476692"/>
                <a:gd name="connsiteX229" fmla="*/ 567315 w 2673200"/>
                <a:gd name="connsiteY229" fmla="*/ 133542 h 2476692"/>
                <a:gd name="connsiteX230" fmla="*/ 576840 w 2673200"/>
                <a:gd name="connsiteY230" fmla="*/ 100204 h 2476692"/>
                <a:gd name="connsiteX231" fmla="*/ 581603 w 2673200"/>
                <a:gd name="connsiteY231" fmla="*/ 81154 h 2476692"/>
                <a:gd name="connsiteX232" fmla="*/ 595890 w 2673200"/>
                <a:gd name="connsiteY232" fmla="*/ 33529 h 2476692"/>
                <a:gd name="connsiteX233" fmla="*/ 619703 w 2673200"/>
                <a:gd name="connsiteY233" fmla="*/ 192 h 2476692"/>
                <a:gd name="connsiteX234" fmla="*/ 621543 w 2673200"/>
                <a:gd name="connsiteY234" fmla="*/ 0 h 2476692"/>
                <a:gd name="connsiteX0" fmla="*/ 621543 w 2673432"/>
                <a:gd name="connsiteY0" fmla="*/ 0 h 2476692"/>
                <a:gd name="connsiteX1" fmla="*/ 637165 w 2673432"/>
                <a:gd name="connsiteY1" fmla="*/ 20829 h 2476692"/>
                <a:gd name="connsiteX2" fmla="*/ 643515 w 2673432"/>
                <a:gd name="connsiteY2" fmla="*/ 30354 h 2476692"/>
                <a:gd name="connsiteX3" fmla="*/ 646690 w 2673432"/>
                <a:gd name="connsiteY3" fmla="*/ 74804 h 2476692"/>
                <a:gd name="connsiteX4" fmla="*/ 656215 w 2673432"/>
                <a:gd name="connsiteY4" fmla="*/ 100204 h 2476692"/>
                <a:gd name="connsiteX5" fmla="*/ 757815 w 2673432"/>
                <a:gd name="connsiteY5" fmla="*/ 119254 h 2476692"/>
                <a:gd name="connsiteX6" fmla="*/ 780040 w 2673432"/>
                <a:gd name="connsiteY6" fmla="*/ 135129 h 2476692"/>
                <a:gd name="connsiteX7" fmla="*/ 789565 w 2673432"/>
                <a:gd name="connsiteY7" fmla="*/ 138304 h 2476692"/>
                <a:gd name="connsiteX8" fmla="*/ 808615 w 2673432"/>
                <a:gd name="connsiteY8" fmla="*/ 154179 h 2476692"/>
                <a:gd name="connsiteX9" fmla="*/ 824490 w 2673432"/>
                <a:gd name="connsiteY9" fmla="*/ 176404 h 2476692"/>
                <a:gd name="connsiteX10" fmla="*/ 827665 w 2673432"/>
                <a:gd name="connsiteY10" fmla="*/ 185929 h 2476692"/>
                <a:gd name="connsiteX11" fmla="*/ 853065 w 2673432"/>
                <a:gd name="connsiteY11" fmla="*/ 201804 h 2476692"/>
                <a:gd name="connsiteX12" fmla="*/ 929265 w 2673432"/>
                <a:gd name="connsiteY12" fmla="*/ 220854 h 2476692"/>
                <a:gd name="connsiteX13" fmla="*/ 957840 w 2673432"/>
                <a:gd name="connsiteY13" fmla="*/ 198629 h 2476692"/>
                <a:gd name="connsiteX14" fmla="*/ 980065 w 2673432"/>
                <a:gd name="connsiteY14" fmla="*/ 182754 h 2476692"/>
                <a:gd name="connsiteX15" fmla="*/ 989590 w 2673432"/>
                <a:gd name="connsiteY15" fmla="*/ 176404 h 2476692"/>
                <a:gd name="connsiteX16" fmla="*/ 1011815 w 2673432"/>
                <a:gd name="connsiteY16" fmla="*/ 173229 h 2476692"/>
                <a:gd name="connsiteX17" fmla="*/ 1027690 w 2673432"/>
                <a:gd name="connsiteY17" fmla="*/ 166879 h 2476692"/>
                <a:gd name="connsiteX18" fmla="*/ 1094365 w 2673432"/>
                <a:gd name="connsiteY18" fmla="*/ 220854 h 2476692"/>
                <a:gd name="connsiteX19" fmla="*/ 1186440 w 2673432"/>
                <a:gd name="connsiteY19" fmla="*/ 217679 h 2476692"/>
                <a:gd name="connsiteX20" fmla="*/ 1278515 w 2673432"/>
                <a:gd name="connsiteY20" fmla="*/ 170054 h 2476692"/>
                <a:gd name="connsiteX21" fmla="*/ 1326140 w 2673432"/>
                <a:gd name="connsiteY21" fmla="*/ 74804 h 2476692"/>
                <a:gd name="connsiteX22" fmla="*/ 1373765 w 2673432"/>
                <a:gd name="connsiteY22" fmla="*/ 122429 h 2476692"/>
                <a:gd name="connsiteX23" fmla="*/ 1459490 w 2673432"/>
                <a:gd name="connsiteY23" fmla="*/ 144654 h 2476692"/>
                <a:gd name="connsiteX24" fmla="*/ 1589665 w 2673432"/>
                <a:gd name="connsiteY24" fmla="*/ 144654 h 2476692"/>
                <a:gd name="connsiteX25" fmla="*/ 1697615 w 2673432"/>
                <a:gd name="connsiteY25" fmla="*/ 97029 h 2476692"/>
                <a:gd name="connsiteX26" fmla="*/ 1726190 w 2673432"/>
                <a:gd name="connsiteY26" fmla="*/ 103379 h 2476692"/>
                <a:gd name="connsiteX27" fmla="*/ 1738890 w 2673432"/>
                <a:gd name="connsiteY27" fmla="*/ 122429 h 2476692"/>
                <a:gd name="connsiteX28" fmla="*/ 1732540 w 2673432"/>
                <a:gd name="connsiteY28" fmla="*/ 141479 h 2476692"/>
                <a:gd name="connsiteX29" fmla="*/ 1723015 w 2673432"/>
                <a:gd name="connsiteY29" fmla="*/ 154179 h 2476692"/>
                <a:gd name="connsiteX30" fmla="*/ 1802390 w 2673432"/>
                <a:gd name="connsiteY30" fmla="*/ 144654 h 2476692"/>
                <a:gd name="connsiteX31" fmla="*/ 1824615 w 2673432"/>
                <a:gd name="connsiteY31" fmla="*/ 160529 h 2476692"/>
                <a:gd name="connsiteX32" fmla="*/ 1827790 w 2673432"/>
                <a:gd name="connsiteY32" fmla="*/ 195454 h 2476692"/>
                <a:gd name="connsiteX33" fmla="*/ 1834140 w 2673432"/>
                <a:gd name="connsiteY33" fmla="*/ 217679 h 2476692"/>
                <a:gd name="connsiteX34" fmla="*/ 1840490 w 2673432"/>
                <a:gd name="connsiteY34" fmla="*/ 230379 h 2476692"/>
                <a:gd name="connsiteX35" fmla="*/ 1846840 w 2673432"/>
                <a:gd name="connsiteY35" fmla="*/ 239904 h 2476692"/>
                <a:gd name="connsiteX36" fmla="*/ 1846840 w 2673432"/>
                <a:gd name="connsiteY36" fmla="*/ 249429 h 2476692"/>
                <a:gd name="connsiteX37" fmla="*/ 1916690 w 2673432"/>
                <a:gd name="connsiteY37" fmla="*/ 274829 h 2476692"/>
                <a:gd name="connsiteX38" fmla="*/ 1945265 w 2673432"/>
                <a:gd name="connsiteY38" fmla="*/ 268479 h 2476692"/>
                <a:gd name="connsiteX39" fmla="*/ 1961140 w 2673432"/>
                <a:gd name="connsiteY39" fmla="*/ 274829 h 2476692"/>
                <a:gd name="connsiteX40" fmla="*/ 1977015 w 2673432"/>
                <a:gd name="connsiteY40" fmla="*/ 293879 h 2476692"/>
                <a:gd name="connsiteX41" fmla="*/ 2002415 w 2673432"/>
                <a:gd name="connsiteY41" fmla="*/ 297054 h 2476692"/>
                <a:gd name="connsiteX42" fmla="*/ 2002415 w 2673432"/>
                <a:gd name="connsiteY42" fmla="*/ 344679 h 2476692"/>
                <a:gd name="connsiteX43" fmla="*/ 1998496 w 2673432"/>
                <a:gd name="connsiteY43" fmla="*/ 359366 h 2476692"/>
                <a:gd name="connsiteX44" fmla="*/ 1997699 w 2673432"/>
                <a:gd name="connsiteY44" fmla="*/ 359161 h 2476692"/>
                <a:gd name="connsiteX45" fmla="*/ 1996509 w 2673432"/>
                <a:gd name="connsiteY45" fmla="*/ 357863 h 2476692"/>
                <a:gd name="connsiteX46" fmla="*/ 1996082 w 2673432"/>
                <a:gd name="connsiteY46" fmla="*/ 354482 h 2476692"/>
                <a:gd name="connsiteX47" fmla="*/ 1996065 w 2673432"/>
                <a:gd name="connsiteY47" fmla="*/ 357379 h 2476692"/>
                <a:gd name="connsiteX48" fmla="*/ 1996509 w 2673432"/>
                <a:gd name="connsiteY48" fmla="*/ 357863 h 2476692"/>
                <a:gd name="connsiteX49" fmla="*/ 1996639 w 2673432"/>
                <a:gd name="connsiteY49" fmla="*/ 358889 h 2476692"/>
                <a:gd name="connsiteX50" fmla="*/ 1997699 w 2673432"/>
                <a:gd name="connsiteY50" fmla="*/ 359161 h 2476692"/>
                <a:gd name="connsiteX51" fmla="*/ 2030990 w 2673432"/>
                <a:gd name="connsiteY51" fmla="*/ 395479 h 2476692"/>
                <a:gd name="connsiteX52" fmla="*/ 2059565 w 2673432"/>
                <a:gd name="connsiteY52" fmla="*/ 385954 h 2476692"/>
                <a:gd name="connsiteX53" fmla="*/ 2069090 w 2673432"/>
                <a:gd name="connsiteY53" fmla="*/ 379604 h 2476692"/>
                <a:gd name="connsiteX54" fmla="*/ 2078615 w 2673432"/>
                <a:gd name="connsiteY54" fmla="*/ 376429 h 2476692"/>
                <a:gd name="connsiteX55" fmla="*/ 2116715 w 2673432"/>
                <a:gd name="connsiteY55" fmla="*/ 379604 h 2476692"/>
                <a:gd name="connsiteX56" fmla="*/ 2119890 w 2673432"/>
                <a:gd name="connsiteY56" fmla="*/ 411354 h 2476692"/>
                <a:gd name="connsiteX57" fmla="*/ 2129415 w 2673432"/>
                <a:gd name="connsiteY57" fmla="*/ 443104 h 2476692"/>
                <a:gd name="connsiteX58" fmla="*/ 2132590 w 2673432"/>
                <a:gd name="connsiteY58" fmla="*/ 452629 h 2476692"/>
                <a:gd name="connsiteX59" fmla="*/ 2135765 w 2673432"/>
                <a:gd name="connsiteY59" fmla="*/ 462154 h 2476692"/>
                <a:gd name="connsiteX60" fmla="*/ 2142115 w 2673432"/>
                <a:gd name="connsiteY60" fmla="*/ 493904 h 2476692"/>
                <a:gd name="connsiteX61" fmla="*/ 2138940 w 2673432"/>
                <a:gd name="connsiteY61" fmla="*/ 532004 h 2476692"/>
                <a:gd name="connsiteX62" fmla="*/ 2110365 w 2673432"/>
                <a:gd name="connsiteY62" fmla="*/ 547879 h 2476692"/>
                <a:gd name="connsiteX63" fmla="*/ 2097665 w 2673432"/>
                <a:gd name="connsiteY63" fmla="*/ 557404 h 2476692"/>
                <a:gd name="connsiteX64" fmla="*/ 2094490 w 2673432"/>
                <a:gd name="connsiteY64" fmla="*/ 582804 h 2476692"/>
                <a:gd name="connsiteX65" fmla="*/ 2104015 w 2673432"/>
                <a:gd name="connsiteY65" fmla="*/ 608204 h 2476692"/>
                <a:gd name="connsiteX66" fmla="*/ 2110365 w 2673432"/>
                <a:gd name="connsiteY66" fmla="*/ 617729 h 2476692"/>
                <a:gd name="connsiteX67" fmla="*/ 2116715 w 2673432"/>
                <a:gd name="connsiteY67" fmla="*/ 643129 h 2476692"/>
                <a:gd name="connsiteX68" fmla="*/ 2119890 w 2673432"/>
                <a:gd name="connsiteY68" fmla="*/ 719329 h 2476692"/>
                <a:gd name="connsiteX69" fmla="*/ 2123065 w 2673432"/>
                <a:gd name="connsiteY69" fmla="*/ 728854 h 2476692"/>
                <a:gd name="connsiteX70" fmla="*/ 2142115 w 2673432"/>
                <a:gd name="connsiteY70" fmla="*/ 741554 h 2476692"/>
                <a:gd name="connsiteX71" fmla="*/ 2161165 w 2673432"/>
                <a:gd name="connsiteY71" fmla="*/ 738379 h 2476692"/>
                <a:gd name="connsiteX72" fmla="*/ 2170690 w 2673432"/>
                <a:gd name="connsiteY72" fmla="*/ 732029 h 2476692"/>
                <a:gd name="connsiteX73" fmla="*/ 2183390 w 2673432"/>
                <a:gd name="connsiteY73" fmla="*/ 725679 h 2476692"/>
                <a:gd name="connsiteX74" fmla="*/ 2192915 w 2673432"/>
                <a:gd name="connsiteY74" fmla="*/ 719329 h 2476692"/>
                <a:gd name="connsiteX75" fmla="*/ 2211965 w 2673432"/>
                <a:gd name="connsiteY75" fmla="*/ 712979 h 2476692"/>
                <a:gd name="connsiteX76" fmla="*/ 2259590 w 2673432"/>
                <a:gd name="connsiteY76" fmla="*/ 716154 h 2476692"/>
                <a:gd name="connsiteX77" fmla="*/ 2262765 w 2673432"/>
                <a:gd name="connsiteY77" fmla="*/ 732029 h 2476692"/>
                <a:gd name="connsiteX78" fmla="*/ 2272290 w 2673432"/>
                <a:gd name="connsiteY78" fmla="*/ 751079 h 2476692"/>
                <a:gd name="connsiteX79" fmla="*/ 2297690 w 2673432"/>
                <a:gd name="connsiteY79" fmla="*/ 754254 h 2476692"/>
                <a:gd name="connsiteX80" fmla="*/ 2329440 w 2673432"/>
                <a:gd name="connsiteY80" fmla="*/ 738379 h 2476692"/>
                <a:gd name="connsiteX81" fmla="*/ 2338965 w 2673432"/>
                <a:gd name="connsiteY81" fmla="*/ 735204 h 2476692"/>
                <a:gd name="connsiteX82" fmla="*/ 2367540 w 2673432"/>
                <a:gd name="connsiteY82" fmla="*/ 722504 h 2476692"/>
                <a:gd name="connsiteX83" fmla="*/ 2377065 w 2673432"/>
                <a:gd name="connsiteY83" fmla="*/ 719329 h 2476692"/>
                <a:gd name="connsiteX84" fmla="*/ 2391809 w 2673432"/>
                <a:gd name="connsiteY84" fmla="*/ 719329 h 2476692"/>
                <a:gd name="connsiteX85" fmla="*/ 2672340 w 2673432"/>
                <a:gd name="connsiteY85" fmla="*/ 1724217 h 2476692"/>
                <a:gd name="connsiteX86" fmla="*/ 2472315 w 2673432"/>
                <a:gd name="connsiteY86" fmla="*/ 1971867 h 2476692"/>
                <a:gd name="connsiteX87" fmla="*/ 2436596 w 2673432"/>
                <a:gd name="connsiteY87" fmla="*/ 1986154 h 2476692"/>
                <a:gd name="connsiteX88" fmla="*/ 2450884 w 2673432"/>
                <a:gd name="connsiteY88" fmla="*/ 2017110 h 2476692"/>
                <a:gd name="connsiteX89" fmla="*/ 2465171 w 2673432"/>
                <a:gd name="connsiteY89" fmla="*/ 2057592 h 2476692"/>
                <a:gd name="connsiteX90" fmla="*/ 2455646 w 2673432"/>
                <a:gd name="connsiteY90" fmla="*/ 2121885 h 2476692"/>
                <a:gd name="connsiteX91" fmla="*/ 2410403 w 2673432"/>
                <a:gd name="connsiteY91" fmla="*/ 2152842 h 2476692"/>
                <a:gd name="connsiteX92" fmla="*/ 2458028 w 2673432"/>
                <a:gd name="connsiteY92" fmla="*/ 2186180 h 2476692"/>
                <a:gd name="connsiteX93" fmla="*/ 2448503 w 2673432"/>
                <a:gd name="connsiteY93" fmla="*/ 2226660 h 2476692"/>
                <a:gd name="connsiteX94" fmla="*/ 2410403 w 2673432"/>
                <a:gd name="connsiteY94" fmla="*/ 2262379 h 2476692"/>
                <a:gd name="connsiteX95" fmla="*/ 2388971 w 2673432"/>
                <a:gd name="connsiteY95" fmla="*/ 2331435 h 2476692"/>
                <a:gd name="connsiteX96" fmla="*/ 2405640 w 2673432"/>
                <a:gd name="connsiteY96" fmla="*/ 2381442 h 2476692"/>
                <a:gd name="connsiteX97" fmla="*/ 2391353 w 2673432"/>
                <a:gd name="connsiteY97" fmla="*/ 2414779 h 2476692"/>
                <a:gd name="connsiteX98" fmla="*/ 2334203 w 2673432"/>
                <a:gd name="connsiteY98" fmla="*/ 2433829 h 2476692"/>
                <a:gd name="connsiteX99" fmla="*/ 2305628 w 2673432"/>
                <a:gd name="connsiteY99" fmla="*/ 2443354 h 2476692"/>
                <a:gd name="connsiteX100" fmla="*/ 2296103 w 2673432"/>
                <a:gd name="connsiteY100" fmla="*/ 2457642 h 2476692"/>
                <a:gd name="connsiteX101" fmla="*/ 2262765 w 2673432"/>
                <a:gd name="connsiteY101" fmla="*/ 2462404 h 2476692"/>
                <a:gd name="connsiteX102" fmla="*/ 2229428 w 2673432"/>
                <a:gd name="connsiteY102" fmla="*/ 2438592 h 2476692"/>
                <a:gd name="connsiteX103" fmla="*/ 2215140 w 2673432"/>
                <a:gd name="connsiteY103" fmla="*/ 2433829 h 2476692"/>
                <a:gd name="connsiteX104" fmla="*/ 2205615 w 2673432"/>
                <a:gd name="connsiteY104" fmla="*/ 2457642 h 2476692"/>
                <a:gd name="connsiteX105" fmla="*/ 2191328 w 2673432"/>
                <a:gd name="connsiteY105" fmla="*/ 2467167 h 2476692"/>
                <a:gd name="connsiteX106" fmla="*/ 2153228 w 2673432"/>
                <a:gd name="connsiteY106" fmla="*/ 2476692 h 2476692"/>
                <a:gd name="connsiteX107" fmla="*/ 2134178 w 2673432"/>
                <a:gd name="connsiteY107" fmla="*/ 2448117 h 2476692"/>
                <a:gd name="connsiteX108" fmla="*/ 2124653 w 2673432"/>
                <a:gd name="connsiteY108" fmla="*/ 2433829 h 2476692"/>
                <a:gd name="connsiteX109" fmla="*/ 2119890 w 2673432"/>
                <a:gd name="connsiteY109" fmla="*/ 2352867 h 2476692"/>
                <a:gd name="connsiteX110" fmla="*/ 2124653 w 2673432"/>
                <a:gd name="connsiteY110" fmla="*/ 2338579 h 2476692"/>
                <a:gd name="connsiteX111" fmla="*/ 2167515 w 2673432"/>
                <a:gd name="connsiteY111" fmla="*/ 2290954 h 2476692"/>
                <a:gd name="connsiteX112" fmla="*/ 2177040 w 2673432"/>
                <a:gd name="connsiteY112" fmla="*/ 2276667 h 2476692"/>
                <a:gd name="connsiteX113" fmla="*/ 2153228 w 2673432"/>
                <a:gd name="connsiteY113" fmla="*/ 2248092 h 2476692"/>
                <a:gd name="connsiteX114" fmla="*/ 2134178 w 2673432"/>
                <a:gd name="connsiteY114" fmla="*/ 2238567 h 2476692"/>
                <a:gd name="connsiteX115" fmla="*/ 2129415 w 2673432"/>
                <a:gd name="connsiteY115" fmla="*/ 2214754 h 2476692"/>
                <a:gd name="connsiteX116" fmla="*/ 2148465 w 2673432"/>
                <a:gd name="connsiteY116" fmla="*/ 2186179 h 2476692"/>
                <a:gd name="connsiteX117" fmla="*/ 2167515 w 2673432"/>
                <a:gd name="connsiteY117" fmla="*/ 2190942 h 2476692"/>
                <a:gd name="connsiteX118" fmla="*/ 2229428 w 2673432"/>
                <a:gd name="connsiteY118" fmla="*/ 2186179 h 2476692"/>
                <a:gd name="connsiteX119" fmla="*/ 2234190 w 2673432"/>
                <a:gd name="connsiteY119" fmla="*/ 2171892 h 2476692"/>
                <a:gd name="connsiteX120" fmla="*/ 2224665 w 2673432"/>
                <a:gd name="connsiteY120" fmla="*/ 2143317 h 2476692"/>
                <a:gd name="connsiteX121" fmla="*/ 2210378 w 2673432"/>
                <a:gd name="connsiteY121" fmla="*/ 2129029 h 2476692"/>
                <a:gd name="connsiteX122" fmla="*/ 2191328 w 2673432"/>
                <a:gd name="connsiteY122" fmla="*/ 2119504 h 2476692"/>
                <a:gd name="connsiteX123" fmla="*/ 2162753 w 2673432"/>
                <a:gd name="connsiteY123" fmla="*/ 2114742 h 2476692"/>
                <a:gd name="connsiteX124" fmla="*/ 2157990 w 2673432"/>
                <a:gd name="connsiteY124" fmla="*/ 2095692 h 2476692"/>
                <a:gd name="connsiteX125" fmla="*/ 2181803 w 2673432"/>
                <a:gd name="connsiteY125" fmla="*/ 2062354 h 2476692"/>
                <a:gd name="connsiteX126" fmla="*/ 2191328 w 2673432"/>
                <a:gd name="connsiteY126" fmla="*/ 2048067 h 2476692"/>
                <a:gd name="connsiteX127" fmla="*/ 2196090 w 2673432"/>
                <a:gd name="connsiteY127" fmla="*/ 1986154 h 2476692"/>
                <a:gd name="connsiteX128" fmla="*/ 2186565 w 2673432"/>
                <a:gd name="connsiteY128" fmla="*/ 1957579 h 2476692"/>
                <a:gd name="connsiteX129" fmla="*/ 2162753 w 2673432"/>
                <a:gd name="connsiteY129" fmla="*/ 1952817 h 2476692"/>
                <a:gd name="connsiteX130" fmla="*/ 2134178 w 2673432"/>
                <a:gd name="connsiteY130" fmla="*/ 1971867 h 2476692"/>
                <a:gd name="connsiteX131" fmla="*/ 2124653 w 2673432"/>
                <a:gd name="connsiteY131" fmla="*/ 1986154 h 2476692"/>
                <a:gd name="connsiteX132" fmla="*/ 2105603 w 2673432"/>
                <a:gd name="connsiteY132" fmla="*/ 2005204 h 2476692"/>
                <a:gd name="connsiteX133" fmla="*/ 2072265 w 2673432"/>
                <a:gd name="connsiteY133" fmla="*/ 2038542 h 2476692"/>
                <a:gd name="connsiteX134" fmla="*/ 2057978 w 2673432"/>
                <a:gd name="connsiteY134" fmla="*/ 2048067 h 2476692"/>
                <a:gd name="connsiteX135" fmla="*/ 2029403 w 2673432"/>
                <a:gd name="connsiteY135" fmla="*/ 2052829 h 2476692"/>
                <a:gd name="connsiteX136" fmla="*/ 2019878 w 2673432"/>
                <a:gd name="connsiteY136" fmla="*/ 2009967 h 2476692"/>
                <a:gd name="connsiteX137" fmla="*/ 1991303 w 2673432"/>
                <a:gd name="connsiteY137" fmla="*/ 1986154 h 2476692"/>
                <a:gd name="connsiteX138" fmla="*/ 1962728 w 2673432"/>
                <a:gd name="connsiteY138" fmla="*/ 1976629 h 2476692"/>
                <a:gd name="connsiteX139" fmla="*/ 1948440 w 2673432"/>
                <a:gd name="connsiteY139" fmla="*/ 1990917 h 2476692"/>
                <a:gd name="connsiteX140" fmla="*/ 1910340 w 2673432"/>
                <a:gd name="connsiteY140" fmla="*/ 2000442 h 2476692"/>
                <a:gd name="connsiteX141" fmla="*/ 1891290 w 2673432"/>
                <a:gd name="connsiteY141" fmla="*/ 1971867 h 2476692"/>
                <a:gd name="connsiteX142" fmla="*/ 1886528 w 2673432"/>
                <a:gd name="connsiteY142" fmla="*/ 1952817 h 2476692"/>
                <a:gd name="connsiteX143" fmla="*/ 1881765 w 2673432"/>
                <a:gd name="connsiteY143" fmla="*/ 1929004 h 2476692"/>
                <a:gd name="connsiteX144" fmla="*/ 1877003 w 2673432"/>
                <a:gd name="connsiteY144" fmla="*/ 1886142 h 2476692"/>
                <a:gd name="connsiteX145" fmla="*/ 1862715 w 2673432"/>
                <a:gd name="connsiteY145" fmla="*/ 1871854 h 2476692"/>
                <a:gd name="connsiteX146" fmla="*/ 1853190 w 2673432"/>
                <a:gd name="connsiteY146" fmla="*/ 1857567 h 2476692"/>
                <a:gd name="connsiteX147" fmla="*/ 1824615 w 2673432"/>
                <a:gd name="connsiteY147" fmla="*/ 1838517 h 2476692"/>
                <a:gd name="connsiteX148" fmla="*/ 1819853 w 2673432"/>
                <a:gd name="connsiteY148" fmla="*/ 1819467 h 2476692"/>
                <a:gd name="connsiteX149" fmla="*/ 1834140 w 2673432"/>
                <a:gd name="connsiteY149" fmla="*/ 1814704 h 2476692"/>
                <a:gd name="connsiteX150" fmla="*/ 1848428 w 2673432"/>
                <a:gd name="connsiteY150" fmla="*/ 1809942 h 2476692"/>
                <a:gd name="connsiteX151" fmla="*/ 1862715 w 2673432"/>
                <a:gd name="connsiteY151" fmla="*/ 1805179 h 2476692"/>
                <a:gd name="connsiteX152" fmla="*/ 1891290 w 2673432"/>
                <a:gd name="connsiteY152" fmla="*/ 1795654 h 2476692"/>
                <a:gd name="connsiteX153" fmla="*/ 1896053 w 2673432"/>
                <a:gd name="connsiteY153" fmla="*/ 1781367 h 2476692"/>
                <a:gd name="connsiteX154" fmla="*/ 1900815 w 2673432"/>
                <a:gd name="connsiteY154" fmla="*/ 1762317 h 2476692"/>
                <a:gd name="connsiteX155" fmla="*/ 1891290 w 2673432"/>
                <a:gd name="connsiteY155" fmla="*/ 1676592 h 2476692"/>
                <a:gd name="connsiteX156" fmla="*/ 1719840 w 2673432"/>
                <a:gd name="connsiteY156" fmla="*/ 1671829 h 2476692"/>
                <a:gd name="connsiteX157" fmla="*/ 1710315 w 2673432"/>
                <a:gd name="connsiteY157" fmla="*/ 1690879 h 2476692"/>
                <a:gd name="connsiteX158" fmla="*/ 1696028 w 2673432"/>
                <a:gd name="connsiteY158" fmla="*/ 1709929 h 2476692"/>
                <a:gd name="connsiteX159" fmla="*/ 1681740 w 2673432"/>
                <a:gd name="connsiteY159" fmla="*/ 1724217 h 2476692"/>
                <a:gd name="connsiteX160" fmla="*/ 1676978 w 2673432"/>
                <a:gd name="connsiteY160" fmla="*/ 1738504 h 2476692"/>
                <a:gd name="connsiteX161" fmla="*/ 1667453 w 2673432"/>
                <a:gd name="connsiteY161" fmla="*/ 1762317 h 2476692"/>
                <a:gd name="connsiteX162" fmla="*/ 1643640 w 2673432"/>
                <a:gd name="connsiteY162" fmla="*/ 1795654 h 2476692"/>
                <a:gd name="connsiteX163" fmla="*/ 1291215 w 2673432"/>
                <a:gd name="connsiteY163" fmla="*/ 1938529 h 2476692"/>
                <a:gd name="connsiteX164" fmla="*/ 1162628 w 2673432"/>
                <a:gd name="connsiteY164" fmla="*/ 1833754 h 2476692"/>
                <a:gd name="connsiteX165" fmla="*/ 1091190 w 2673432"/>
                <a:gd name="connsiteY165" fmla="*/ 1843279 h 2476692"/>
                <a:gd name="connsiteX166" fmla="*/ 1014990 w 2673432"/>
                <a:gd name="connsiteY166" fmla="*/ 1786129 h 2476692"/>
                <a:gd name="connsiteX167" fmla="*/ 1024515 w 2673432"/>
                <a:gd name="connsiteY167" fmla="*/ 1733742 h 2476692"/>
                <a:gd name="connsiteX168" fmla="*/ 957840 w 2673432"/>
                <a:gd name="connsiteY168" fmla="*/ 1719454 h 2476692"/>
                <a:gd name="connsiteX169" fmla="*/ 767340 w 2673432"/>
                <a:gd name="connsiteY169" fmla="*/ 1671829 h 2476692"/>
                <a:gd name="connsiteX170" fmla="*/ 743528 w 2673432"/>
                <a:gd name="connsiteY170" fmla="*/ 1681354 h 2476692"/>
                <a:gd name="connsiteX171" fmla="*/ 729240 w 2673432"/>
                <a:gd name="connsiteY171" fmla="*/ 1686117 h 2476692"/>
                <a:gd name="connsiteX172" fmla="*/ 700665 w 2673432"/>
                <a:gd name="connsiteY172" fmla="*/ 1667067 h 2476692"/>
                <a:gd name="connsiteX173" fmla="*/ 657803 w 2673432"/>
                <a:gd name="connsiteY173" fmla="*/ 1624204 h 2476692"/>
                <a:gd name="connsiteX174" fmla="*/ 605415 w 2673432"/>
                <a:gd name="connsiteY174" fmla="*/ 1638492 h 2476692"/>
                <a:gd name="connsiteX175" fmla="*/ 533978 w 2673432"/>
                <a:gd name="connsiteY175" fmla="*/ 1543242 h 2476692"/>
                <a:gd name="connsiteX176" fmla="*/ 548265 w 2673432"/>
                <a:gd name="connsiteY176" fmla="*/ 1528954 h 2476692"/>
                <a:gd name="connsiteX177" fmla="*/ 567315 w 2673432"/>
                <a:gd name="connsiteY177" fmla="*/ 1514667 h 2476692"/>
                <a:gd name="connsiteX178" fmla="*/ 581603 w 2673432"/>
                <a:gd name="connsiteY178" fmla="*/ 1476567 h 2476692"/>
                <a:gd name="connsiteX179" fmla="*/ 567315 w 2673432"/>
                <a:gd name="connsiteY179" fmla="*/ 1471804 h 2476692"/>
                <a:gd name="connsiteX180" fmla="*/ 543503 w 2673432"/>
                <a:gd name="connsiteY180" fmla="*/ 1462279 h 2476692"/>
                <a:gd name="connsiteX181" fmla="*/ 562553 w 2673432"/>
                <a:gd name="connsiteY181" fmla="*/ 1428942 h 2476692"/>
                <a:gd name="connsiteX182" fmla="*/ 567315 w 2673432"/>
                <a:gd name="connsiteY182" fmla="*/ 1414654 h 2476692"/>
                <a:gd name="connsiteX183" fmla="*/ 586365 w 2673432"/>
                <a:gd name="connsiteY183" fmla="*/ 1386079 h 2476692"/>
                <a:gd name="connsiteX184" fmla="*/ 619703 w 2673432"/>
                <a:gd name="connsiteY184" fmla="*/ 1362267 h 2476692"/>
                <a:gd name="connsiteX185" fmla="*/ 633990 w 2673432"/>
                <a:gd name="connsiteY185" fmla="*/ 1343217 h 2476692"/>
                <a:gd name="connsiteX186" fmla="*/ 662565 w 2673432"/>
                <a:gd name="connsiteY186" fmla="*/ 1319404 h 2476692"/>
                <a:gd name="connsiteX187" fmla="*/ 667328 w 2673432"/>
                <a:gd name="connsiteY187" fmla="*/ 1281304 h 2476692"/>
                <a:gd name="connsiteX188" fmla="*/ 638753 w 2673432"/>
                <a:gd name="connsiteY188" fmla="*/ 1267017 h 2476692"/>
                <a:gd name="connsiteX189" fmla="*/ 633990 w 2673432"/>
                <a:gd name="connsiteY189" fmla="*/ 1252729 h 2476692"/>
                <a:gd name="connsiteX190" fmla="*/ 643515 w 2673432"/>
                <a:gd name="connsiteY190" fmla="*/ 1238442 h 2476692"/>
                <a:gd name="connsiteX191" fmla="*/ 672090 w 2673432"/>
                <a:gd name="connsiteY191" fmla="*/ 1219392 h 2476692"/>
                <a:gd name="connsiteX192" fmla="*/ 672090 w 2673432"/>
                <a:gd name="connsiteY192" fmla="*/ 1162242 h 2476692"/>
                <a:gd name="connsiteX193" fmla="*/ 662565 w 2673432"/>
                <a:gd name="connsiteY193" fmla="*/ 1147954 h 2476692"/>
                <a:gd name="connsiteX194" fmla="*/ 619703 w 2673432"/>
                <a:gd name="connsiteY194" fmla="*/ 1167004 h 2476692"/>
                <a:gd name="connsiteX195" fmla="*/ 610178 w 2673432"/>
                <a:gd name="connsiteY195" fmla="*/ 1152717 h 2476692"/>
                <a:gd name="connsiteX196" fmla="*/ 605415 w 2673432"/>
                <a:gd name="connsiteY196" fmla="*/ 1105092 h 2476692"/>
                <a:gd name="connsiteX197" fmla="*/ 595890 w 2673432"/>
                <a:gd name="connsiteY197" fmla="*/ 1086042 h 2476692"/>
                <a:gd name="connsiteX198" fmla="*/ 576840 w 2673432"/>
                <a:gd name="connsiteY198" fmla="*/ 1057467 h 2476692"/>
                <a:gd name="connsiteX199" fmla="*/ 572078 w 2673432"/>
                <a:gd name="connsiteY199" fmla="*/ 1043179 h 2476692"/>
                <a:gd name="connsiteX200" fmla="*/ 562553 w 2673432"/>
                <a:gd name="connsiteY200" fmla="*/ 962217 h 2476692"/>
                <a:gd name="connsiteX201" fmla="*/ 462540 w 2673432"/>
                <a:gd name="connsiteY201" fmla="*/ 1043179 h 2476692"/>
                <a:gd name="connsiteX202" fmla="*/ 433965 w 2673432"/>
                <a:gd name="connsiteY202" fmla="*/ 952692 h 2476692"/>
                <a:gd name="connsiteX203" fmla="*/ 343478 w 2673432"/>
                <a:gd name="connsiteY203" fmla="*/ 862204 h 2476692"/>
                <a:gd name="connsiteX204" fmla="*/ 262515 w 2673432"/>
                <a:gd name="connsiteY204" fmla="*/ 871729 h 2476692"/>
                <a:gd name="connsiteX205" fmla="*/ 205365 w 2673432"/>
                <a:gd name="connsiteY205" fmla="*/ 919354 h 2476692"/>
                <a:gd name="connsiteX206" fmla="*/ 95828 w 2673432"/>
                <a:gd name="connsiteY206" fmla="*/ 986029 h 2476692"/>
                <a:gd name="connsiteX207" fmla="*/ 24390 w 2673432"/>
                <a:gd name="connsiteY207" fmla="*/ 986029 h 2476692"/>
                <a:gd name="connsiteX208" fmla="*/ 14865 w 2673432"/>
                <a:gd name="connsiteY208" fmla="*/ 947929 h 2476692"/>
                <a:gd name="connsiteX209" fmla="*/ 578 w 2673432"/>
                <a:gd name="connsiteY209" fmla="*/ 933642 h 2476692"/>
                <a:gd name="connsiteX210" fmla="*/ 5340 w 2673432"/>
                <a:gd name="connsiteY210" fmla="*/ 890779 h 2476692"/>
                <a:gd name="connsiteX211" fmla="*/ 57728 w 2673432"/>
                <a:gd name="connsiteY211" fmla="*/ 781242 h 2476692"/>
                <a:gd name="connsiteX212" fmla="*/ 238703 w 2673432"/>
                <a:gd name="connsiteY212" fmla="*/ 543117 h 2476692"/>
                <a:gd name="connsiteX213" fmla="*/ 333953 w 2673432"/>
                <a:gd name="connsiteY213" fmla="*/ 543117 h 2476692"/>
                <a:gd name="connsiteX214" fmla="*/ 429203 w 2673432"/>
                <a:gd name="connsiteY214" fmla="*/ 524067 h 2476692"/>
                <a:gd name="connsiteX215" fmla="*/ 467303 w 2673432"/>
                <a:gd name="connsiteY215" fmla="*/ 538354 h 2476692"/>
                <a:gd name="connsiteX216" fmla="*/ 481590 w 2673432"/>
                <a:gd name="connsiteY216" fmla="*/ 528829 h 2476692"/>
                <a:gd name="connsiteX217" fmla="*/ 486353 w 2673432"/>
                <a:gd name="connsiteY217" fmla="*/ 514542 h 2476692"/>
                <a:gd name="connsiteX218" fmla="*/ 491115 w 2673432"/>
                <a:gd name="connsiteY218" fmla="*/ 466917 h 2476692"/>
                <a:gd name="connsiteX219" fmla="*/ 481590 w 2673432"/>
                <a:gd name="connsiteY219" fmla="*/ 438342 h 2476692"/>
                <a:gd name="connsiteX220" fmla="*/ 462540 w 2673432"/>
                <a:gd name="connsiteY220" fmla="*/ 409767 h 2476692"/>
                <a:gd name="connsiteX221" fmla="*/ 472065 w 2673432"/>
                <a:gd name="connsiteY221" fmla="*/ 347854 h 2476692"/>
                <a:gd name="connsiteX222" fmla="*/ 505403 w 2673432"/>
                <a:gd name="connsiteY222" fmla="*/ 295467 h 2476692"/>
                <a:gd name="connsiteX223" fmla="*/ 514928 w 2673432"/>
                <a:gd name="connsiteY223" fmla="*/ 281179 h 2476692"/>
                <a:gd name="connsiteX224" fmla="*/ 519690 w 2673432"/>
                <a:gd name="connsiteY224" fmla="*/ 257367 h 2476692"/>
                <a:gd name="connsiteX225" fmla="*/ 529215 w 2673432"/>
                <a:gd name="connsiteY225" fmla="*/ 243079 h 2476692"/>
                <a:gd name="connsiteX226" fmla="*/ 538740 w 2673432"/>
                <a:gd name="connsiteY226" fmla="*/ 204979 h 2476692"/>
                <a:gd name="connsiteX227" fmla="*/ 548265 w 2673432"/>
                <a:gd name="connsiteY227" fmla="*/ 185929 h 2476692"/>
                <a:gd name="connsiteX228" fmla="*/ 553028 w 2673432"/>
                <a:gd name="connsiteY228" fmla="*/ 171642 h 2476692"/>
                <a:gd name="connsiteX229" fmla="*/ 562553 w 2673432"/>
                <a:gd name="connsiteY229" fmla="*/ 157354 h 2476692"/>
                <a:gd name="connsiteX230" fmla="*/ 567315 w 2673432"/>
                <a:gd name="connsiteY230" fmla="*/ 133542 h 2476692"/>
                <a:gd name="connsiteX231" fmla="*/ 576840 w 2673432"/>
                <a:gd name="connsiteY231" fmla="*/ 100204 h 2476692"/>
                <a:gd name="connsiteX232" fmla="*/ 581603 w 2673432"/>
                <a:gd name="connsiteY232" fmla="*/ 81154 h 2476692"/>
                <a:gd name="connsiteX233" fmla="*/ 595890 w 2673432"/>
                <a:gd name="connsiteY233" fmla="*/ 33529 h 2476692"/>
                <a:gd name="connsiteX234" fmla="*/ 619703 w 2673432"/>
                <a:gd name="connsiteY234" fmla="*/ 192 h 2476692"/>
                <a:gd name="connsiteX235" fmla="*/ 621543 w 2673432"/>
                <a:gd name="connsiteY235" fmla="*/ 0 h 2476692"/>
                <a:gd name="connsiteX0" fmla="*/ 621543 w 2674132"/>
                <a:gd name="connsiteY0" fmla="*/ 0 h 2476692"/>
                <a:gd name="connsiteX1" fmla="*/ 637165 w 2674132"/>
                <a:gd name="connsiteY1" fmla="*/ 20829 h 2476692"/>
                <a:gd name="connsiteX2" fmla="*/ 643515 w 2674132"/>
                <a:gd name="connsiteY2" fmla="*/ 30354 h 2476692"/>
                <a:gd name="connsiteX3" fmla="*/ 646690 w 2674132"/>
                <a:gd name="connsiteY3" fmla="*/ 74804 h 2476692"/>
                <a:gd name="connsiteX4" fmla="*/ 656215 w 2674132"/>
                <a:gd name="connsiteY4" fmla="*/ 100204 h 2476692"/>
                <a:gd name="connsiteX5" fmla="*/ 757815 w 2674132"/>
                <a:gd name="connsiteY5" fmla="*/ 119254 h 2476692"/>
                <a:gd name="connsiteX6" fmla="*/ 780040 w 2674132"/>
                <a:gd name="connsiteY6" fmla="*/ 135129 h 2476692"/>
                <a:gd name="connsiteX7" fmla="*/ 789565 w 2674132"/>
                <a:gd name="connsiteY7" fmla="*/ 138304 h 2476692"/>
                <a:gd name="connsiteX8" fmla="*/ 808615 w 2674132"/>
                <a:gd name="connsiteY8" fmla="*/ 154179 h 2476692"/>
                <a:gd name="connsiteX9" fmla="*/ 824490 w 2674132"/>
                <a:gd name="connsiteY9" fmla="*/ 176404 h 2476692"/>
                <a:gd name="connsiteX10" fmla="*/ 827665 w 2674132"/>
                <a:gd name="connsiteY10" fmla="*/ 185929 h 2476692"/>
                <a:gd name="connsiteX11" fmla="*/ 853065 w 2674132"/>
                <a:gd name="connsiteY11" fmla="*/ 201804 h 2476692"/>
                <a:gd name="connsiteX12" fmla="*/ 929265 w 2674132"/>
                <a:gd name="connsiteY12" fmla="*/ 220854 h 2476692"/>
                <a:gd name="connsiteX13" fmla="*/ 957840 w 2674132"/>
                <a:gd name="connsiteY13" fmla="*/ 198629 h 2476692"/>
                <a:gd name="connsiteX14" fmla="*/ 980065 w 2674132"/>
                <a:gd name="connsiteY14" fmla="*/ 182754 h 2476692"/>
                <a:gd name="connsiteX15" fmla="*/ 989590 w 2674132"/>
                <a:gd name="connsiteY15" fmla="*/ 176404 h 2476692"/>
                <a:gd name="connsiteX16" fmla="*/ 1011815 w 2674132"/>
                <a:gd name="connsiteY16" fmla="*/ 173229 h 2476692"/>
                <a:gd name="connsiteX17" fmla="*/ 1027690 w 2674132"/>
                <a:gd name="connsiteY17" fmla="*/ 166879 h 2476692"/>
                <a:gd name="connsiteX18" fmla="*/ 1094365 w 2674132"/>
                <a:gd name="connsiteY18" fmla="*/ 220854 h 2476692"/>
                <a:gd name="connsiteX19" fmla="*/ 1186440 w 2674132"/>
                <a:gd name="connsiteY19" fmla="*/ 217679 h 2476692"/>
                <a:gd name="connsiteX20" fmla="*/ 1278515 w 2674132"/>
                <a:gd name="connsiteY20" fmla="*/ 170054 h 2476692"/>
                <a:gd name="connsiteX21" fmla="*/ 1326140 w 2674132"/>
                <a:gd name="connsiteY21" fmla="*/ 74804 h 2476692"/>
                <a:gd name="connsiteX22" fmla="*/ 1373765 w 2674132"/>
                <a:gd name="connsiteY22" fmla="*/ 122429 h 2476692"/>
                <a:gd name="connsiteX23" fmla="*/ 1459490 w 2674132"/>
                <a:gd name="connsiteY23" fmla="*/ 144654 h 2476692"/>
                <a:gd name="connsiteX24" fmla="*/ 1589665 w 2674132"/>
                <a:gd name="connsiteY24" fmla="*/ 144654 h 2476692"/>
                <a:gd name="connsiteX25" fmla="*/ 1697615 w 2674132"/>
                <a:gd name="connsiteY25" fmla="*/ 97029 h 2476692"/>
                <a:gd name="connsiteX26" fmla="*/ 1726190 w 2674132"/>
                <a:gd name="connsiteY26" fmla="*/ 103379 h 2476692"/>
                <a:gd name="connsiteX27" fmla="*/ 1738890 w 2674132"/>
                <a:gd name="connsiteY27" fmla="*/ 122429 h 2476692"/>
                <a:gd name="connsiteX28" fmla="*/ 1732540 w 2674132"/>
                <a:gd name="connsiteY28" fmla="*/ 141479 h 2476692"/>
                <a:gd name="connsiteX29" fmla="*/ 1723015 w 2674132"/>
                <a:gd name="connsiteY29" fmla="*/ 154179 h 2476692"/>
                <a:gd name="connsiteX30" fmla="*/ 1802390 w 2674132"/>
                <a:gd name="connsiteY30" fmla="*/ 144654 h 2476692"/>
                <a:gd name="connsiteX31" fmla="*/ 1824615 w 2674132"/>
                <a:gd name="connsiteY31" fmla="*/ 160529 h 2476692"/>
                <a:gd name="connsiteX32" fmla="*/ 1827790 w 2674132"/>
                <a:gd name="connsiteY32" fmla="*/ 195454 h 2476692"/>
                <a:gd name="connsiteX33" fmla="*/ 1834140 w 2674132"/>
                <a:gd name="connsiteY33" fmla="*/ 217679 h 2476692"/>
                <a:gd name="connsiteX34" fmla="*/ 1840490 w 2674132"/>
                <a:gd name="connsiteY34" fmla="*/ 230379 h 2476692"/>
                <a:gd name="connsiteX35" fmla="*/ 1846840 w 2674132"/>
                <a:gd name="connsiteY35" fmla="*/ 239904 h 2476692"/>
                <a:gd name="connsiteX36" fmla="*/ 1846840 w 2674132"/>
                <a:gd name="connsiteY36" fmla="*/ 249429 h 2476692"/>
                <a:gd name="connsiteX37" fmla="*/ 1916690 w 2674132"/>
                <a:gd name="connsiteY37" fmla="*/ 274829 h 2476692"/>
                <a:gd name="connsiteX38" fmla="*/ 1945265 w 2674132"/>
                <a:gd name="connsiteY38" fmla="*/ 268479 h 2476692"/>
                <a:gd name="connsiteX39" fmla="*/ 1961140 w 2674132"/>
                <a:gd name="connsiteY39" fmla="*/ 274829 h 2476692"/>
                <a:gd name="connsiteX40" fmla="*/ 1977015 w 2674132"/>
                <a:gd name="connsiteY40" fmla="*/ 293879 h 2476692"/>
                <a:gd name="connsiteX41" fmla="*/ 2002415 w 2674132"/>
                <a:gd name="connsiteY41" fmla="*/ 297054 h 2476692"/>
                <a:gd name="connsiteX42" fmla="*/ 2002415 w 2674132"/>
                <a:gd name="connsiteY42" fmla="*/ 344679 h 2476692"/>
                <a:gd name="connsiteX43" fmla="*/ 1998496 w 2674132"/>
                <a:gd name="connsiteY43" fmla="*/ 359366 h 2476692"/>
                <a:gd name="connsiteX44" fmla="*/ 1997699 w 2674132"/>
                <a:gd name="connsiteY44" fmla="*/ 359161 h 2476692"/>
                <a:gd name="connsiteX45" fmla="*/ 1996509 w 2674132"/>
                <a:gd name="connsiteY45" fmla="*/ 357863 h 2476692"/>
                <a:gd name="connsiteX46" fmla="*/ 1996082 w 2674132"/>
                <a:gd name="connsiteY46" fmla="*/ 354482 h 2476692"/>
                <a:gd name="connsiteX47" fmla="*/ 1996065 w 2674132"/>
                <a:gd name="connsiteY47" fmla="*/ 357379 h 2476692"/>
                <a:gd name="connsiteX48" fmla="*/ 1996509 w 2674132"/>
                <a:gd name="connsiteY48" fmla="*/ 357863 h 2476692"/>
                <a:gd name="connsiteX49" fmla="*/ 1996639 w 2674132"/>
                <a:gd name="connsiteY49" fmla="*/ 358889 h 2476692"/>
                <a:gd name="connsiteX50" fmla="*/ 1997699 w 2674132"/>
                <a:gd name="connsiteY50" fmla="*/ 359161 h 2476692"/>
                <a:gd name="connsiteX51" fmla="*/ 2030990 w 2674132"/>
                <a:gd name="connsiteY51" fmla="*/ 395479 h 2476692"/>
                <a:gd name="connsiteX52" fmla="*/ 2059565 w 2674132"/>
                <a:gd name="connsiteY52" fmla="*/ 385954 h 2476692"/>
                <a:gd name="connsiteX53" fmla="*/ 2069090 w 2674132"/>
                <a:gd name="connsiteY53" fmla="*/ 379604 h 2476692"/>
                <a:gd name="connsiteX54" fmla="*/ 2078615 w 2674132"/>
                <a:gd name="connsiteY54" fmla="*/ 376429 h 2476692"/>
                <a:gd name="connsiteX55" fmla="*/ 2116715 w 2674132"/>
                <a:gd name="connsiteY55" fmla="*/ 379604 h 2476692"/>
                <a:gd name="connsiteX56" fmla="*/ 2119890 w 2674132"/>
                <a:gd name="connsiteY56" fmla="*/ 411354 h 2476692"/>
                <a:gd name="connsiteX57" fmla="*/ 2129415 w 2674132"/>
                <a:gd name="connsiteY57" fmla="*/ 443104 h 2476692"/>
                <a:gd name="connsiteX58" fmla="*/ 2132590 w 2674132"/>
                <a:gd name="connsiteY58" fmla="*/ 452629 h 2476692"/>
                <a:gd name="connsiteX59" fmla="*/ 2135765 w 2674132"/>
                <a:gd name="connsiteY59" fmla="*/ 462154 h 2476692"/>
                <a:gd name="connsiteX60" fmla="*/ 2142115 w 2674132"/>
                <a:gd name="connsiteY60" fmla="*/ 493904 h 2476692"/>
                <a:gd name="connsiteX61" fmla="*/ 2138940 w 2674132"/>
                <a:gd name="connsiteY61" fmla="*/ 532004 h 2476692"/>
                <a:gd name="connsiteX62" fmla="*/ 2110365 w 2674132"/>
                <a:gd name="connsiteY62" fmla="*/ 547879 h 2476692"/>
                <a:gd name="connsiteX63" fmla="*/ 2097665 w 2674132"/>
                <a:gd name="connsiteY63" fmla="*/ 557404 h 2476692"/>
                <a:gd name="connsiteX64" fmla="*/ 2094490 w 2674132"/>
                <a:gd name="connsiteY64" fmla="*/ 582804 h 2476692"/>
                <a:gd name="connsiteX65" fmla="*/ 2104015 w 2674132"/>
                <a:gd name="connsiteY65" fmla="*/ 608204 h 2476692"/>
                <a:gd name="connsiteX66" fmla="*/ 2110365 w 2674132"/>
                <a:gd name="connsiteY66" fmla="*/ 617729 h 2476692"/>
                <a:gd name="connsiteX67" fmla="*/ 2116715 w 2674132"/>
                <a:gd name="connsiteY67" fmla="*/ 643129 h 2476692"/>
                <a:gd name="connsiteX68" fmla="*/ 2119890 w 2674132"/>
                <a:gd name="connsiteY68" fmla="*/ 719329 h 2476692"/>
                <a:gd name="connsiteX69" fmla="*/ 2123065 w 2674132"/>
                <a:gd name="connsiteY69" fmla="*/ 728854 h 2476692"/>
                <a:gd name="connsiteX70" fmla="*/ 2142115 w 2674132"/>
                <a:gd name="connsiteY70" fmla="*/ 741554 h 2476692"/>
                <a:gd name="connsiteX71" fmla="*/ 2161165 w 2674132"/>
                <a:gd name="connsiteY71" fmla="*/ 738379 h 2476692"/>
                <a:gd name="connsiteX72" fmla="*/ 2170690 w 2674132"/>
                <a:gd name="connsiteY72" fmla="*/ 732029 h 2476692"/>
                <a:gd name="connsiteX73" fmla="*/ 2183390 w 2674132"/>
                <a:gd name="connsiteY73" fmla="*/ 725679 h 2476692"/>
                <a:gd name="connsiteX74" fmla="*/ 2192915 w 2674132"/>
                <a:gd name="connsiteY74" fmla="*/ 719329 h 2476692"/>
                <a:gd name="connsiteX75" fmla="*/ 2211965 w 2674132"/>
                <a:gd name="connsiteY75" fmla="*/ 712979 h 2476692"/>
                <a:gd name="connsiteX76" fmla="*/ 2259590 w 2674132"/>
                <a:gd name="connsiteY76" fmla="*/ 716154 h 2476692"/>
                <a:gd name="connsiteX77" fmla="*/ 2262765 w 2674132"/>
                <a:gd name="connsiteY77" fmla="*/ 732029 h 2476692"/>
                <a:gd name="connsiteX78" fmla="*/ 2272290 w 2674132"/>
                <a:gd name="connsiteY78" fmla="*/ 751079 h 2476692"/>
                <a:gd name="connsiteX79" fmla="*/ 2297690 w 2674132"/>
                <a:gd name="connsiteY79" fmla="*/ 754254 h 2476692"/>
                <a:gd name="connsiteX80" fmla="*/ 2329440 w 2674132"/>
                <a:gd name="connsiteY80" fmla="*/ 738379 h 2476692"/>
                <a:gd name="connsiteX81" fmla="*/ 2338965 w 2674132"/>
                <a:gd name="connsiteY81" fmla="*/ 735204 h 2476692"/>
                <a:gd name="connsiteX82" fmla="*/ 2367540 w 2674132"/>
                <a:gd name="connsiteY82" fmla="*/ 722504 h 2476692"/>
                <a:gd name="connsiteX83" fmla="*/ 2377065 w 2674132"/>
                <a:gd name="connsiteY83" fmla="*/ 719329 h 2476692"/>
                <a:gd name="connsiteX84" fmla="*/ 2391809 w 2674132"/>
                <a:gd name="connsiteY84" fmla="*/ 719329 h 2476692"/>
                <a:gd name="connsiteX85" fmla="*/ 2672340 w 2674132"/>
                <a:gd name="connsiteY85" fmla="*/ 1724217 h 2476692"/>
                <a:gd name="connsiteX86" fmla="*/ 2503271 w 2674132"/>
                <a:gd name="connsiteY86" fmla="*/ 1986154 h 2476692"/>
                <a:gd name="connsiteX87" fmla="*/ 2472315 w 2674132"/>
                <a:gd name="connsiteY87" fmla="*/ 1971867 h 2476692"/>
                <a:gd name="connsiteX88" fmla="*/ 2436596 w 2674132"/>
                <a:gd name="connsiteY88" fmla="*/ 1986154 h 2476692"/>
                <a:gd name="connsiteX89" fmla="*/ 2450884 w 2674132"/>
                <a:gd name="connsiteY89" fmla="*/ 2017110 h 2476692"/>
                <a:gd name="connsiteX90" fmla="*/ 2465171 w 2674132"/>
                <a:gd name="connsiteY90" fmla="*/ 2057592 h 2476692"/>
                <a:gd name="connsiteX91" fmla="*/ 2455646 w 2674132"/>
                <a:gd name="connsiteY91" fmla="*/ 2121885 h 2476692"/>
                <a:gd name="connsiteX92" fmla="*/ 2410403 w 2674132"/>
                <a:gd name="connsiteY92" fmla="*/ 2152842 h 2476692"/>
                <a:gd name="connsiteX93" fmla="*/ 2458028 w 2674132"/>
                <a:gd name="connsiteY93" fmla="*/ 2186180 h 2476692"/>
                <a:gd name="connsiteX94" fmla="*/ 2448503 w 2674132"/>
                <a:gd name="connsiteY94" fmla="*/ 2226660 h 2476692"/>
                <a:gd name="connsiteX95" fmla="*/ 2410403 w 2674132"/>
                <a:gd name="connsiteY95" fmla="*/ 2262379 h 2476692"/>
                <a:gd name="connsiteX96" fmla="*/ 2388971 w 2674132"/>
                <a:gd name="connsiteY96" fmla="*/ 2331435 h 2476692"/>
                <a:gd name="connsiteX97" fmla="*/ 2405640 w 2674132"/>
                <a:gd name="connsiteY97" fmla="*/ 2381442 h 2476692"/>
                <a:gd name="connsiteX98" fmla="*/ 2391353 w 2674132"/>
                <a:gd name="connsiteY98" fmla="*/ 2414779 h 2476692"/>
                <a:gd name="connsiteX99" fmla="*/ 2334203 w 2674132"/>
                <a:gd name="connsiteY99" fmla="*/ 2433829 h 2476692"/>
                <a:gd name="connsiteX100" fmla="*/ 2305628 w 2674132"/>
                <a:gd name="connsiteY100" fmla="*/ 2443354 h 2476692"/>
                <a:gd name="connsiteX101" fmla="*/ 2296103 w 2674132"/>
                <a:gd name="connsiteY101" fmla="*/ 2457642 h 2476692"/>
                <a:gd name="connsiteX102" fmla="*/ 2262765 w 2674132"/>
                <a:gd name="connsiteY102" fmla="*/ 2462404 h 2476692"/>
                <a:gd name="connsiteX103" fmla="*/ 2229428 w 2674132"/>
                <a:gd name="connsiteY103" fmla="*/ 2438592 h 2476692"/>
                <a:gd name="connsiteX104" fmla="*/ 2215140 w 2674132"/>
                <a:gd name="connsiteY104" fmla="*/ 2433829 h 2476692"/>
                <a:gd name="connsiteX105" fmla="*/ 2205615 w 2674132"/>
                <a:gd name="connsiteY105" fmla="*/ 2457642 h 2476692"/>
                <a:gd name="connsiteX106" fmla="*/ 2191328 w 2674132"/>
                <a:gd name="connsiteY106" fmla="*/ 2467167 h 2476692"/>
                <a:gd name="connsiteX107" fmla="*/ 2153228 w 2674132"/>
                <a:gd name="connsiteY107" fmla="*/ 2476692 h 2476692"/>
                <a:gd name="connsiteX108" fmla="*/ 2134178 w 2674132"/>
                <a:gd name="connsiteY108" fmla="*/ 2448117 h 2476692"/>
                <a:gd name="connsiteX109" fmla="*/ 2124653 w 2674132"/>
                <a:gd name="connsiteY109" fmla="*/ 2433829 h 2476692"/>
                <a:gd name="connsiteX110" fmla="*/ 2119890 w 2674132"/>
                <a:gd name="connsiteY110" fmla="*/ 2352867 h 2476692"/>
                <a:gd name="connsiteX111" fmla="*/ 2124653 w 2674132"/>
                <a:gd name="connsiteY111" fmla="*/ 2338579 h 2476692"/>
                <a:gd name="connsiteX112" fmla="*/ 2167515 w 2674132"/>
                <a:gd name="connsiteY112" fmla="*/ 2290954 h 2476692"/>
                <a:gd name="connsiteX113" fmla="*/ 2177040 w 2674132"/>
                <a:gd name="connsiteY113" fmla="*/ 2276667 h 2476692"/>
                <a:gd name="connsiteX114" fmla="*/ 2153228 w 2674132"/>
                <a:gd name="connsiteY114" fmla="*/ 2248092 h 2476692"/>
                <a:gd name="connsiteX115" fmla="*/ 2134178 w 2674132"/>
                <a:gd name="connsiteY115" fmla="*/ 2238567 h 2476692"/>
                <a:gd name="connsiteX116" fmla="*/ 2129415 w 2674132"/>
                <a:gd name="connsiteY116" fmla="*/ 2214754 h 2476692"/>
                <a:gd name="connsiteX117" fmla="*/ 2148465 w 2674132"/>
                <a:gd name="connsiteY117" fmla="*/ 2186179 h 2476692"/>
                <a:gd name="connsiteX118" fmla="*/ 2167515 w 2674132"/>
                <a:gd name="connsiteY118" fmla="*/ 2190942 h 2476692"/>
                <a:gd name="connsiteX119" fmla="*/ 2229428 w 2674132"/>
                <a:gd name="connsiteY119" fmla="*/ 2186179 h 2476692"/>
                <a:gd name="connsiteX120" fmla="*/ 2234190 w 2674132"/>
                <a:gd name="connsiteY120" fmla="*/ 2171892 h 2476692"/>
                <a:gd name="connsiteX121" fmla="*/ 2224665 w 2674132"/>
                <a:gd name="connsiteY121" fmla="*/ 2143317 h 2476692"/>
                <a:gd name="connsiteX122" fmla="*/ 2210378 w 2674132"/>
                <a:gd name="connsiteY122" fmla="*/ 2129029 h 2476692"/>
                <a:gd name="connsiteX123" fmla="*/ 2191328 w 2674132"/>
                <a:gd name="connsiteY123" fmla="*/ 2119504 h 2476692"/>
                <a:gd name="connsiteX124" fmla="*/ 2162753 w 2674132"/>
                <a:gd name="connsiteY124" fmla="*/ 2114742 h 2476692"/>
                <a:gd name="connsiteX125" fmla="*/ 2157990 w 2674132"/>
                <a:gd name="connsiteY125" fmla="*/ 2095692 h 2476692"/>
                <a:gd name="connsiteX126" fmla="*/ 2181803 w 2674132"/>
                <a:gd name="connsiteY126" fmla="*/ 2062354 h 2476692"/>
                <a:gd name="connsiteX127" fmla="*/ 2191328 w 2674132"/>
                <a:gd name="connsiteY127" fmla="*/ 2048067 h 2476692"/>
                <a:gd name="connsiteX128" fmla="*/ 2196090 w 2674132"/>
                <a:gd name="connsiteY128" fmla="*/ 1986154 h 2476692"/>
                <a:gd name="connsiteX129" fmla="*/ 2186565 w 2674132"/>
                <a:gd name="connsiteY129" fmla="*/ 1957579 h 2476692"/>
                <a:gd name="connsiteX130" fmla="*/ 2162753 w 2674132"/>
                <a:gd name="connsiteY130" fmla="*/ 1952817 h 2476692"/>
                <a:gd name="connsiteX131" fmla="*/ 2134178 w 2674132"/>
                <a:gd name="connsiteY131" fmla="*/ 1971867 h 2476692"/>
                <a:gd name="connsiteX132" fmla="*/ 2124653 w 2674132"/>
                <a:gd name="connsiteY132" fmla="*/ 1986154 h 2476692"/>
                <a:gd name="connsiteX133" fmla="*/ 2105603 w 2674132"/>
                <a:gd name="connsiteY133" fmla="*/ 2005204 h 2476692"/>
                <a:gd name="connsiteX134" fmla="*/ 2072265 w 2674132"/>
                <a:gd name="connsiteY134" fmla="*/ 2038542 h 2476692"/>
                <a:gd name="connsiteX135" fmla="*/ 2057978 w 2674132"/>
                <a:gd name="connsiteY135" fmla="*/ 2048067 h 2476692"/>
                <a:gd name="connsiteX136" fmla="*/ 2029403 w 2674132"/>
                <a:gd name="connsiteY136" fmla="*/ 2052829 h 2476692"/>
                <a:gd name="connsiteX137" fmla="*/ 2019878 w 2674132"/>
                <a:gd name="connsiteY137" fmla="*/ 2009967 h 2476692"/>
                <a:gd name="connsiteX138" fmla="*/ 1991303 w 2674132"/>
                <a:gd name="connsiteY138" fmla="*/ 1986154 h 2476692"/>
                <a:gd name="connsiteX139" fmla="*/ 1962728 w 2674132"/>
                <a:gd name="connsiteY139" fmla="*/ 1976629 h 2476692"/>
                <a:gd name="connsiteX140" fmla="*/ 1948440 w 2674132"/>
                <a:gd name="connsiteY140" fmla="*/ 1990917 h 2476692"/>
                <a:gd name="connsiteX141" fmla="*/ 1910340 w 2674132"/>
                <a:gd name="connsiteY141" fmla="*/ 2000442 h 2476692"/>
                <a:gd name="connsiteX142" fmla="*/ 1891290 w 2674132"/>
                <a:gd name="connsiteY142" fmla="*/ 1971867 h 2476692"/>
                <a:gd name="connsiteX143" fmla="*/ 1886528 w 2674132"/>
                <a:gd name="connsiteY143" fmla="*/ 1952817 h 2476692"/>
                <a:gd name="connsiteX144" fmla="*/ 1881765 w 2674132"/>
                <a:gd name="connsiteY144" fmla="*/ 1929004 h 2476692"/>
                <a:gd name="connsiteX145" fmla="*/ 1877003 w 2674132"/>
                <a:gd name="connsiteY145" fmla="*/ 1886142 h 2476692"/>
                <a:gd name="connsiteX146" fmla="*/ 1862715 w 2674132"/>
                <a:gd name="connsiteY146" fmla="*/ 1871854 h 2476692"/>
                <a:gd name="connsiteX147" fmla="*/ 1853190 w 2674132"/>
                <a:gd name="connsiteY147" fmla="*/ 1857567 h 2476692"/>
                <a:gd name="connsiteX148" fmla="*/ 1824615 w 2674132"/>
                <a:gd name="connsiteY148" fmla="*/ 1838517 h 2476692"/>
                <a:gd name="connsiteX149" fmla="*/ 1819853 w 2674132"/>
                <a:gd name="connsiteY149" fmla="*/ 1819467 h 2476692"/>
                <a:gd name="connsiteX150" fmla="*/ 1834140 w 2674132"/>
                <a:gd name="connsiteY150" fmla="*/ 1814704 h 2476692"/>
                <a:gd name="connsiteX151" fmla="*/ 1848428 w 2674132"/>
                <a:gd name="connsiteY151" fmla="*/ 1809942 h 2476692"/>
                <a:gd name="connsiteX152" fmla="*/ 1862715 w 2674132"/>
                <a:gd name="connsiteY152" fmla="*/ 1805179 h 2476692"/>
                <a:gd name="connsiteX153" fmla="*/ 1891290 w 2674132"/>
                <a:gd name="connsiteY153" fmla="*/ 1795654 h 2476692"/>
                <a:gd name="connsiteX154" fmla="*/ 1896053 w 2674132"/>
                <a:gd name="connsiteY154" fmla="*/ 1781367 h 2476692"/>
                <a:gd name="connsiteX155" fmla="*/ 1900815 w 2674132"/>
                <a:gd name="connsiteY155" fmla="*/ 1762317 h 2476692"/>
                <a:gd name="connsiteX156" fmla="*/ 1891290 w 2674132"/>
                <a:gd name="connsiteY156" fmla="*/ 1676592 h 2476692"/>
                <a:gd name="connsiteX157" fmla="*/ 1719840 w 2674132"/>
                <a:gd name="connsiteY157" fmla="*/ 1671829 h 2476692"/>
                <a:gd name="connsiteX158" fmla="*/ 1710315 w 2674132"/>
                <a:gd name="connsiteY158" fmla="*/ 1690879 h 2476692"/>
                <a:gd name="connsiteX159" fmla="*/ 1696028 w 2674132"/>
                <a:gd name="connsiteY159" fmla="*/ 1709929 h 2476692"/>
                <a:gd name="connsiteX160" fmla="*/ 1681740 w 2674132"/>
                <a:gd name="connsiteY160" fmla="*/ 1724217 h 2476692"/>
                <a:gd name="connsiteX161" fmla="*/ 1676978 w 2674132"/>
                <a:gd name="connsiteY161" fmla="*/ 1738504 h 2476692"/>
                <a:gd name="connsiteX162" fmla="*/ 1667453 w 2674132"/>
                <a:gd name="connsiteY162" fmla="*/ 1762317 h 2476692"/>
                <a:gd name="connsiteX163" fmla="*/ 1643640 w 2674132"/>
                <a:gd name="connsiteY163" fmla="*/ 1795654 h 2476692"/>
                <a:gd name="connsiteX164" fmla="*/ 1291215 w 2674132"/>
                <a:gd name="connsiteY164" fmla="*/ 1938529 h 2476692"/>
                <a:gd name="connsiteX165" fmla="*/ 1162628 w 2674132"/>
                <a:gd name="connsiteY165" fmla="*/ 1833754 h 2476692"/>
                <a:gd name="connsiteX166" fmla="*/ 1091190 w 2674132"/>
                <a:gd name="connsiteY166" fmla="*/ 1843279 h 2476692"/>
                <a:gd name="connsiteX167" fmla="*/ 1014990 w 2674132"/>
                <a:gd name="connsiteY167" fmla="*/ 1786129 h 2476692"/>
                <a:gd name="connsiteX168" fmla="*/ 1024515 w 2674132"/>
                <a:gd name="connsiteY168" fmla="*/ 1733742 h 2476692"/>
                <a:gd name="connsiteX169" fmla="*/ 957840 w 2674132"/>
                <a:gd name="connsiteY169" fmla="*/ 1719454 h 2476692"/>
                <a:gd name="connsiteX170" fmla="*/ 767340 w 2674132"/>
                <a:gd name="connsiteY170" fmla="*/ 1671829 h 2476692"/>
                <a:gd name="connsiteX171" fmla="*/ 743528 w 2674132"/>
                <a:gd name="connsiteY171" fmla="*/ 1681354 h 2476692"/>
                <a:gd name="connsiteX172" fmla="*/ 729240 w 2674132"/>
                <a:gd name="connsiteY172" fmla="*/ 1686117 h 2476692"/>
                <a:gd name="connsiteX173" fmla="*/ 700665 w 2674132"/>
                <a:gd name="connsiteY173" fmla="*/ 1667067 h 2476692"/>
                <a:gd name="connsiteX174" fmla="*/ 657803 w 2674132"/>
                <a:gd name="connsiteY174" fmla="*/ 1624204 h 2476692"/>
                <a:gd name="connsiteX175" fmla="*/ 605415 w 2674132"/>
                <a:gd name="connsiteY175" fmla="*/ 1638492 h 2476692"/>
                <a:gd name="connsiteX176" fmla="*/ 533978 w 2674132"/>
                <a:gd name="connsiteY176" fmla="*/ 1543242 h 2476692"/>
                <a:gd name="connsiteX177" fmla="*/ 548265 w 2674132"/>
                <a:gd name="connsiteY177" fmla="*/ 1528954 h 2476692"/>
                <a:gd name="connsiteX178" fmla="*/ 567315 w 2674132"/>
                <a:gd name="connsiteY178" fmla="*/ 1514667 h 2476692"/>
                <a:gd name="connsiteX179" fmla="*/ 581603 w 2674132"/>
                <a:gd name="connsiteY179" fmla="*/ 1476567 h 2476692"/>
                <a:gd name="connsiteX180" fmla="*/ 567315 w 2674132"/>
                <a:gd name="connsiteY180" fmla="*/ 1471804 h 2476692"/>
                <a:gd name="connsiteX181" fmla="*/ 543503 w 2674132"/>
                <a:gd name="connsiteY181" fmla="*/ 1462279 h 2476692"/>
                <a:gd name="connsiteX182" fmla="*/ 562553 w 2674132"/>
                <a:gd name="connsiteY182" fmla="*/ 1428942 h 2476692"/>
                <a:gd name="connsiteX183" fmla="*/ 567315 w 2674132"/>
                <a:gd name="connsiteY183" fmla="*/ 1414654 h 2476692"/>
                <a:gd name="connsiteX184" fmla="*/ 586365 w 2674132"/>
                <a:gd name="connsiteY184" fmla="*/ 1386079 h 2476692"/>
                <a:gd name="connsiteX185" fmla="*/ 619703 w 2674132"/>
                <a:gd name="connsiteY185" fmla="*/ 1362267 h 2476692"/>
                <a:gd name="connsiteX186" fmla="*/ 633990 w 2674132"/>
                <a:gd name="connsiteY186" fmla="*/ 1343217 h 2476692"/>
                <a:gd name="connsiteX187" fmla="*/ 662565 w 2674132"/>
                <a:gd name="connsiteY187" fmla="*/ 1319404 h 2476692"/>
                <a:gd name="connsiteX188" fmla="*/ 667328 w 2674132"/>
                <a:gd name="connsiteY188" fmla="*/ 1281304 h 2476692"/>
                <a:gd name="connsiteX189" fmla="*/ 638753 w 2674132"/>
                <a:gd name="connsiteY189" fmla="*/ 1267017 h 2476692"/>
                <a:gd name="connsiteX190" fmla="*/ 633990 w 2674132"/>
                <a:gd name="connsiteY190" fmla="*/ 1252729 h 2476692"/>
                <a:gd name="connsiteX191" fmla="*/ 643515 w 2674132"/>
                <a:gd name="connsiteY191" fmla="*/ 1238442 h 2476692"/>
                <a:gd name="connsiteX192" fmla="*/ 672090 w 2674132"/>
                <a:gd name="connsiteY192" fmla="*/ 1219392 h 2476692"/>
                <a:gd name="connsiteX193" fmla="*/ 672090 w 2674132"/>
                <a:gd name="connsiteY193" fmla="*/ 1162242 h 2476692"/>
                <a:gd name="connsiteX194" fmla="*/ 662565 w 2674132"/>
                <a:gd name="connsiteY194" fmla="*/ 1147954 h 2476692"/>
                <a:gd name="connsiteX195" fmla="*/ 619703 w 2674132"/>
                <a:gd name="connsiteY195" fmla="*/ 1167004 h 2476692"/>
                <a:gd name="connsiteX196" fmla="*/ 610178 w 2674132"/>
                <a:gd name="connsiteY196" fmla="*/ 1152717 h 2476692"/>
                <a:gd name="connsiteX197" fmla="*/ 605415 w 2674132"/>
                <a:gd name="connsiteY197" fmla="*/ 1105092 h 2476692"/>
                <a:gd name="connsiteX198" fmla="*/ 595890 w 2674132"/>
                <a:gd name="connsiteY198" fmla="*/ 1086042 h 2476692"/>
                <a:gd name="connsiteX199" fmla="*/ 576840 w 2674132"/>
                <a:gd name="connsiteY199" fmla="*/ 1057467 h 2476692"/>
                <a:gd name="connsiteX200" fmla="*/ 572078 w 2674132"/>
                <a:gd name="connsiteY200" fmla="*/ 1043179 h 2476692"/>
                <a:gd name="connsiteX201" fmla="*/ 562553 w 2674132"/>
                <a:gd name="connsiteY201" fmla="*/ 962217 h 2476692"/>
                <a:gd name="connsiteX202" fmla="*/ 462540 w 2674132"/>
                <a:gd name="connsiteY202" fmla="*/ 1043179 h 2476692"/>
                <a:gd name="connsiteX203" fmla="*/ 433965 w 2674132"/>
                <a:gd name="connsiteY203" fmla="*/ 952692 h 2476692"/>
                <a:gd name="connsiteX204" fmla="*/ 343478 w 2674132"/>
                <a:gd name="connsiteY204" fmla="*/ 862204 h 2476692"/>
                <a:gd name="connsiteX205" fmla="*/ 262515 w 2674132"/>
                <a:gd name="connsiteY205" fmla="*/ 871729 h 2476692"/>
                <a:gd name="connsiteX206" fmla="*/ 205365 w 2674132"/>
                <a:gd name="connsiteY206" fmla="*/ 919354 h 2476692"/>
                <a:gd name="connsiteX207" fmla="*/ 95828 w 2674132"/>
                <a:gd name="connsiteY207" fmla="*/ 986029 h 2476692"/>
                <a:gd name="connsiteX208" fmla="*/ 24390 w 2674132"/>
                <a:gd name="connsiteY208" fmla="*/ 986029 h 2476692"/>
                <a:gd name="connsiteX209" fmla="*/ 14865 w 2674132"/>
                <a:gd name="connsiteY209" fmla="*/ 947929 h 2476692"/>
                <a:gd name="connsiteX210" fmla="*/ 578 w 2674132"/>
                <a:gd name="connsiteY210" fmla="*/ 933642 h 2476692"/>
                <a:gd name="connsiteX211" fmla="*/ 5340 w 2674132"/>
                <a:gd name="connsiteY211" fmla="*/ 890779 h 2476692"/>
                <a:gd name="connsiteX212" fmla="*/ 57728 w 2674132"/>
                <a:gd name="connsiteY212" fmla="*/ 781242 h 2476692"/>
                <a:gd name="connsiteX213" fmla="*/ 238703 w 2674132"/>
                <a:gd name="connsiteY213" fmla="*/ 543117 h 2476692"/>
                <a:gd name="connsiteX214" fmla="*/ 333953 w 2674132"/>
                <a:gd name="connsiteY214" fmla="*/ 543117 h 2476692"/>
                <a:gd name="connsiteX215" fmla="*/ 429203 w 2674132"/>
                <a:gd name="connsiteY215" fmla="*/ 524067 h 2476692"/>
                <a:gd name="connsiteX216" fmla="*/ 467303 w 2674132"/>
                <a:gd name="connsiteY216" fmla="*/ 538354 h 2476692"/>
                <a:gd name="connsiteX217" fmla="*/ 481590 w 2674132"/>
                <a:gd name="connsiteY217" fmla="*/ 528829 h 2476692"/>
                <a:gd name="connsiteX218" fmla="*/ 486353 w 2674132"/>
                <a:gd name="connsiteY218" fmla="*/ 514542 h 2476692"/>
                <a:gd name="connsiteX219" fmla="*/ 491115 w 2674132"/>
                <a:gd name="connsiteY219" fmla="*/ 466917 h 2476692"/>
                <a:gd name="connsiteX220" fmla="*/ 481590 w 2674132"/>
                <a:gd name="connsiteY220" fmla="*/ 438342 h 2476692"/>
                <a:gd name="connsiteX221" fmla="*/ 462540 w 2674132"/>
                <a:gd name="connsiteY221" fmla="*/ 409767 h 2476692"/>
                <a:gd name="connsiteX222" fmla="*/ 472065 w 2674132"/>
                <a:gd name="connsiteY222" fmla="*/ 347854 h 2476692"/>
                <a:gd name="connsiteX223" fmla="*/ 505403 w 2674132"/>
                <a:gd name="connsiteY223" fmla="*/ 295467 h 2476692"/>
                <a:gd name="connsiteX224" fmla="*/ 514928 w 2674132"/>
                <a:gd name="connsiteY224" fmla="*/ 281179 h 2476692"/>
                <a:gd name="connsiteX225" fmla="*/ 519690 w 2674132"/>
                <a:gd name="connsiteY225" fmla="*/ 257367 h 2476692"/>
                <a:gd name="connsiteX226" fmla="*/ 529215 w 2674132"/>
                <a:gd name="connsiteY226" fmla="*/ 243079 h 2476692"/>
                <a:gd name="connsiteX227" fmla="*/ 538740 w 2674132"/>
                <a:gd name="connsiteY227" fmla="*/ 204979 h 2476692"/>
                <a:gd name="connsiteX228" fmla="*/ 548265 w 2674132"/>
                <a:gd name="connsiteY228" fmla="*/ 185929 h 2476692"/>
                <a:gd name="connsiteX229" fmla="*/ 553028 w 2674132"/>
                <a:gd name="connsiteY229" fmla="*/ 171642 h 2476692"/>
                <a:gd name="connsiteX230" fmla="*/ 562553 w 2674132"/>
                <a:gd name="connsiteY230" fmla="*/ 157354 h 2476692"/>
                <a:gd name="connsiteX231" fmla="*/ 567315 w 2674132"/>
                <a:gd name="connsiteY231" fmla="*/ 133542 h 2476692"/>
                <a:gd name="connsiteX232" fmla="*/ 576840 w 2674132"/>
                <a:gd name="connsiteY232" fmla="*/ 100204 h 2476692"/>
                <a:gd name="connsiteX233" fmla="*/ 581603 w 2674132"/>
                <a:gd name="connsiteY233" fmla="*/ 81154 h 2476692"/>
                <a:gd name="connsiteX234" fmla="*/ 595890 w 2674132"/>
                <a:gd name="connsiteY234" fmla="*/ 33529 h 2476692"/>
                <a:gd name="connsiteX235" fmla="*/ 619703 w 2674132"/>
                <a:gd name="connsiteY235" fmla="*/ 192 h 2476692"/>
                <a:gd name="connsiteX236" fmla="*/ 621543 w 2674132"/>
                <a:gd name="connsiteY236" fmla="*/ 0 h 2476692"/>
                <a:gd name="connsiteX0" fmla="*/ 621543 w 2674716"/>
                <a:gd name="connsiteY0" fmla="*/ 0 h 2476692"/>
                <a:gd name="connsiteX1" fmla="*/ 637165 w 2674716"/>
                <a:gd name="connsiteY1" fmla="*/ 20829 h 2476692"/>
                <a:gd name="connsiteX2" fmla="*/ 643515 w 2674716"/>
                <a:gd name="connsiteY2" fmla="*/ 30354 h 2476692"/>
                <a:gd name="connsiteX3" fmla="*/ 646690 w 2674716"/>
                <a:gd name="connsiteY3" fmla="*/ 74804 h 2476692"/>
                <a:gd name="connsiteX4" fmla="*/ 656215 w 2674716"/>
                <a:gd name="connsiteY4" fmla="*/ 100204 h 2476692"/>
                <a:gd name="connsiteX5" fmla="*/ 757815 w 2674716"/>
                <a:gd name="connsiteY5" fmla="*/ 119254 h 2476692"/>
                <a:gd name="connsiteX6" fmla="*/ 780040 w 2674716"/>
                <a:gd name="connsiteY6" fmla="*/ 135129 h 2476692"/>
                <a:gd name="connsiteX7" fmla="*/ 789565 w 2674716"/>
                <a:gd name="connsiteY7" fmla="*/ 138304 h 2476692"/>
                <a:gd name="connsiteX8" fmla="*/ 808615 w 2674716"/>
                <a:gd name="connsiteY8" fmla="*/ 154179 h 2476692"/>
                <a:gd name="connsiteX9" fmla="*/ 824490 w 2674716"/>
                <a:gd name="connsiteY9" fmla="*/ 176404 h 2476692"/>
                <a:gd name="connsiteX10" fmla="*/ 827665 w 2674716"/>
                <a:gd name="connsiteY10" fmla="*/ 185929 h 2476692"/>
                <a:gd name="connsiteX11" fmla="*/ 853065 w 2674716"/>
                <a:gd name="connsiteY11" fmla="*/ 201804 h 2476692"/>
                <a:gd name="connsiteX12" fmla="*/ 929265 w 2674716"/>
                <a:gd name="connsiteY12" fmla="*/ 220854 h 2476692"/>
                <a:gd name="connsiteX13" fmla="*/ 957840 w 2674716"/>
                <a:gd name="connsiteY13" fmla="*/ 198629 h 2476692"/>
                <a:gd name="connsiteX14" fmla="*/ 980065 w 2674716"/>
                <a:gd name="connsiteY14" fmla="*/ 182754 h 2476692"/>
                <a:gd name="connsiteX15" fmla="*/ 989590 w 2674716"/>
                <a:gd name="connsiteY15" fmla="*/ 176404 h 2476692"/>
                <a:gd name="connsiteX16" fmla="*/ 1011815 w 2674716"/>
                <a:gd name="connsiteY16" fmla="*/ 173229 h 2476692"/>
                <a:gd name="connsiteX17" fmla="*/ 1027690 w 2674716"/>
                <a:gd name="connsiteY17" fmla="*/ 166879 h 2476692"/>
                <a:gd name="connsiteX18" fmla="*/ 1094365 w 2674716"/>
                <a:gd name="connsiteY18" fmla="*/ 220854 h 2476692"/>
                <a:gd name="connsiteX19" fmla="*/ 1186440 w 2674716"/>
                <a:gd name="connsiteY19" fmla="*/ 217679 h 2476692"/>
                <a:gd name="connsiteX20" fmla="*/ 1278515 w 2674716"/>
                <a:gd name="connsiteY20" fmla="*/ 170054 h 2476692"/>
                <a:gd name="connsiteX21" fmla="*/ 1326140 w 2674716"/>
                <a:gd name="connsiteY21" fmla="*/ 74804 h 2476692"/>
                <a:gd name="connsiteX22" fmla="*/ 1373765 w 2674716"/>
                <a:gd name="connsiteY22" fmla="*/ 122429 h 2476692"/>
                <a:gd name="connsiteX23" fmla="*/ 1459490 w 2674716"/>
                <a:gd name="connsiteY23" fmla="*/ 144654 h 2476692"/>
                <a:gd name="connsiteX24" fmla="*/ 1589665 w 2674716"/>
                <a:gd name="connsiteY24" fmla="*/ 144654 h 2476692"/>
                <a:gd name="connsiteX25" fmla="*/ 1697615 w 2674716"/>
                <a:gd name="connsiteY25" fmla="*/ 97029 h 2476692"/>
                <a:gd name="connsiteX26" fmla="*/ 1726190 w 2674716"/>
                <a:gd name="connsiteY26" fmla="*/ 103379 h 2476692"/>
                <a:gd name="connsiteX27" fmla="*/ 1738890 w 2674716"/>
                <a:gd name="connsiteY27" fmla="*/ 122429 h 2476692"/>
                <a:gd name="connsiteX28" fmla="*/ 1732540 w 2674716"/>
                <a:gd name="connsiteY28" fmla="*/ 141479 h 2476692"/>
                <a:gd name="connsiteX29" fmla="*/ 1723015 w 2674716"/>
                <a:gd name="connsiteY29" fmla="*/ 154179 h 2476692"/>
                <a:gd name="connsiteX30" fmla="*/ 1802390 w 2674716"/>
                <a:gd name="connsiteY30" fmla="*/ 144654 h 2476692"/>
                <a:gd name="connsiteX31" fmla="*/ 1824615 w 2674716"/>
                <a:gd name="connsiteY31" fmla="*/ 160529 h 2476692"/>
                <a:gd name="connsiteX32" fmla="*/ 1827790 w 2674716"/>
                <a:gd name="connsiteY32" fmla="*/ 195454 h 2476692"/>
                <a:gd name="connsiteX33" fmla="*/ 1834140 w 2674716"/>
                <a:gd name="connsiteY33" fmla="*/ 217679 h 2476692"/>
                <a:gd name="connsiteX34" fmla="*/ 1840490 w 2674716"/>
                <a:gd name="connsiteY34" fmla="*/ 230379 h 2476692"/>
                <a:gd name="connsiteX35" fmla="*/ 1846840 w 2674716"/>
                <a:gd name="connsiteY35" fmla="*/ 239904 h 2476692"/>
                <a:gd name="connsiteX36" fmla="*/ 1846840 w 2674716"/>
                <a:gd name="connsiteY36" fmla="*/ 249429 h 2476692"/>
                <a:gd name="connsiteX37" fmla="*/ 1916690 w 2674716"/>
                <a:gd name="connsiteY37" fmla="*/ 274829 h 2476692"/>
                <a:gd name="connsiteX38" fmla="*/ 1945265 w 2674716"/>
                <a:gd name="connsiteY38" fmla="*/ 268479 h 2476692"/>
                <a:gd name="connsiteX39" fmla="*/ 1961140 w 2674716"/>
                <a:gd name="connsiteY39" fmla="*/ 274829 h 2476692"/>
                <a:gd name="connsiteX40" fmla="*/ 1977015 w 2674716"/>
                <a:gd name="connsiteY40" fmla="*/ 293879 h 2476692"/>
                <a:gd name="connsiteX41" fmla="*/ 2002415 w 2674716"/>
                <a:gd name="connsiteY41" fmla="*/ 297054 h 2476692"/>
                <a:gd name="connsiteX42" fmla="*/ 2002415 w 2674716"/>
                <a:gd name="connsiteY42" fmla="*/ 344679 h 2476692"/>
                <a:gd name="connsiteX43" fmla="*/ 1998496 w 2674716"/>
                <a:gd name="connsiteY43" fmla="*/ 359366 h 2476692"/>
                <a:gd name="connsiteX44" fmla="*/ 1997699 w 2674716"/>
                <a:gd name="connsiteY44" fmla="*/ 359161 h 2476692"/>
                <a:gd name="connsiteX45" fmla="*/ 1996509 w 2674716"/>
                <a:gd name="connsiteY45" fmla="*/ 357863 h 2476692"/>
                <a:gd name="connsiteX46" fmla="*/ 1996082 w 2674716"/>
                <a:gd name="connsiteY46" fmla="*/ 354482 h 2476692"/>
                <a:gd name="connsiteX47" fmla="*/ 1996065 w 2674716"/>
                <a:gd name="connsiteY47" fmla="*/ 357379 h 2476692"/>
                <a:gd name="connsiteX48" fmla="*/ 1996509 w 2674716"/>
                <a:gd name="connsiteY48" fmla="*/ 357863 h 2476692"/>
                <a:gd name="connsiteX49" fmla="*/ 1996639 w 2674716"/>
                <a:gd name="connsiteY49" fmla="*/ 358889 h 2476692"/>
                <a:gd name="connsiteX50" fmla="*/ 1997699 w 2674716"/>
                <a:gd name="connsiteY50" fmla="*/ 359161 h 2476692"/>
                <a:gd name="connsiteX51" fmla="*/ 2030990 w 2674716"/>
                <a:gd name="connsiteY51" fmla="*/ 395479 h 2476692"/>
                <a:gd name="connsiteX52" fmla="*/ 2059565 w 2674716"/>
                <a:gd name="connsiteY52" fmla="*/ 385954 h 2476692"/>
                <a:gd name="connsiteX53" fmla="*/ 2069090 w 2674716"/>
                <a:gd name="connsiteY53" fmla="*/ 379604 h 2476692"/>
                <a:gd name="connsiteX54" fmla="*/ 2078615 w 2674716"/>
                <a:gd name="connsiteY54" fmla="*/ 376429 h 2476692"/>
                <a:gd name="connsiteX55" fmla="*/ 2116715 w 2674716"/>
                <a:gd name="connsiteY55" fmla="*/ 379604 h 2476692"/>
                <a:gd name="connsiteX56" fmla="*/ 2119890 w 2674716"/>
                <a:gd name="connsiteY56" fmla="*/ 411354 h 2476692"/>
                <a:gd name="connsiteX57" fmla="*/ 2129415 w 2674716"/>
                <a:gd name="connsiteY57" fmla="*/ 443104 h 2476692"/>
                <a:gd name="connsiteX58" fmla="*/ 2132590 w 2674716"/>
                <a:gd name="connsiteY58" fmla="*/ 452629 h 2476692"/>
                <a:gd name="connsiteX59" fmla="*/ 2135765 w 2674716"/>
                <a:gd name="connsiteY59" fmla="*/ 462154 h 2476692"/>
                <a:gd name="connsiteX60" fmla="*/ 2142115 w 2674716"/>
                <a:gd name="connsiteY60" fmla="*/ 493904 h 2476692"/>
                <a:gd name="connsiteX61" fmla="*/ 2138940 w 2674716"/>
                <a:gd name="connsiteY61" fmla="*/ 532004 h 2476692"/>
                <a:gd name="connsiteX62" fmla="*/ 2110365 w 2674716"/>
                <a:gd name="connsiteY62" fmla="*/ 547879 h 2476692"/>
                <a:gd name="connsiteX63" fmla="*/ 2097665 w 2674716"/>
                <a:gd name="connsiteY63" fmla="*/ 557404 h 2476692"/>
                <a:gd name="connsiteX64" fmla="*/ 2094490 w 2674716"/>
                <a:gd name="connsiteY64" fmla="*/ 582804 h 2476692"/>
                <a:gd name="connsiteX65" fmla="*/ 2104015 w 2674716"/>
                <a:gd name="connsiteY65" fmla="*/ 608204 h 2476692"/>
                <a:gd name="connsiteX66" fmla="*/ 2110365 w 2674716"/>
                <a:gd name="connsiteY66" fmla="*/ 617729 h 2476692"/>
                <a:gd name="connsiteX67" fmla="*/ 2116715 w 2674716"/>
                <a:gd name="connsiteY67" fmla="*/ 643129 h 2476692"/>
                <a:gd name="connsiteX68" fmla="*/ 2119890 w 2674716"/>
                <a:gd name="connsiteY68" fmla="*/ 719329 h 2476692"/>
                <a:gd name="connsiteX69" fmla="*/ 2123065 w 2674716"/>
                <a:gd name="connsiteY69" fmla="*/ 728854 h 2476692"/>
                <a:gd name="connsiteX70" fmla="*/ 2142115 w 2674716"/>
                <a:gd name="connsiteY70" fmla="*/ 741554 h 2476692"/>
                <a:gd name="connsiteX71" fmla="*/ 2161165 w 2674716"/>
                <a:gd name="connsiteY71" fmla="*/ 738379 h 2476692"/>
                <a:gd name="connsiteX72" fmla="*/ 2170690 w 2674716"/>
                <a:gd name="connsiteY72" fmla="*/ 732029 h 2476692"/>
                <a:gd name="connsiteX73" fmla="*/ 2183390 w 2674716"/>
                <a:gd name="connsiteY73" fmla="*/ 725679 h 2476692"/>
                <a:gd name="connsiteX74" fmla="*/ 2192915 w 2674716"/>
                <a:gd name="connsiteY74" fmla="*/ 719329 h 2476692"/>
                <a:gd name="connsiteX75" fmla="*/ 2211965 w 2674716"/>
                <a:gd name="connsiteY75" fmla="*/ 712979 h 2476692"/>
                <a:gd name="connsiteX76" fmla="*/ 2259590 w 2674716"/>
                <a:gd name="connsiteY76" fmla="*/ 716154 h 2476692"/>
                <a:gd name="connsiteX77" fmla="*/ 2262765 w 2674716"/>
                <a:gd name="connsiteY77" fmla="*/ 732029 h 2476692"/>
                <a:gd name="connsiteX78" fmla="*/ 2272290 w 2674716"/>
                <a:gd name="connsiteY78" fmla="*/ 751079 h 2476692"/>
                <a:gd name="connsiteX79" fmla="*/ 2297690 w 2674716"/>
                <a:gd name="connsiteY79" fmla="*/ 754254 h 2476692"/>
                <a:gd name="connsiteX80" fmla="*/ 2329440 w 2674716"/>
                <a:gd name="connsiteY80" fmla="*/ 738379 h 2476692"/>
                <a:gd name="connsiteX81" fmla="*/ 2338965 w 2674716"/>
                <a:gd name="connsiteY81" fmla="*/ 735204 h 2476692"/>
                <a:gd name="connsiteX82" fmla="*/ 2367540 w 2674716"/>
                <a:gd name="connsiteY82" fmla="*/ 722504 h 2476692"/>
                <a:gd name="connsiteX83" fmla="*/ 2377065 w 2674716"/>
                <a:gd name="connsiteY83" fmla="*/ 719329 h 2476692"/>
                <a:gd name="connsiteX84" fmla="*/ 2391809 w 2674716"/>
                <a:gd name="connsiteY84" fmla="*/ 719329 h 2476692"/>
                <a:gd name="connsiteX85" fmla="*/ 2672340 w 2674716"/>
                <a:gd name="connsiteY85" fmla="*/ 1724217 h 2476692"/>
                <a:gd name="connsiteX86" fmla="*/ 2527084 w 2674716"/>
                <a:gd name="connsiteY86" fmla="*/ 1995679 h 2476692"/>
                <a:gd name="connsiteX87" fmla="*/ 2503271 w 2674716"/>
                <a:gd name="connsiteY87" fmla="*/ 1986154 h 2476692"/>
                <a:gd name="connsiteX88" fmla="*/ 2472315 w 2674716"/>
                <a:gd name="connsiteY88" fmla="*/ 1971867 h 2476692"/>
                <a:gd name="connsiteX89" fmla="*/ 2436596 w 2674716"/>
                <a:gd name="connsiteY89" fmla="*/ 1986154 h 2476692"/>
                <a:gd name="connsiteX90" fmla="*/ 2450884 w 2674716"/>
                <a:gd name="connsiteY90" fmla="*/ 2017110 h 2476692"/>
                <a:gd name="connsiteX91" fmla="*/ 2465171 w 2674716"/>
                <a:gd name="connsiteY91" fmla="*/ 2057592 h 2476692"/>
                <a:gd name="connsiteX92" fmla="*/ 2455646 w 2674716"/>
                <a:gd name="connsiteY92" fmla="*/ 2121885 h 2476692"/>
                <a:gd name="connsiteX93" fmla="*/ 2410403 w 2674716"/>
                <a:gd name="connsiteY93" fmla="*/ 2152842 h 2476692"/>
                <a:gd name="connsiteX94" fmla="*/ 2458028 w 2674716"/>
                <a:gd name="connsiteY94" fmla="*/ 2186180 h 2476692"/>
                <a:gd name="connsiteX95" fmla="*/ 2448503 w 2674716"/>
                <a:gd name="connsiteY95" fmla="*/ 2226660 h 2476692"/>
                <a:gd name="connsiteX96" fmla="*/ 2410403 w 2674716"/>
                <a:gd name="connsiteY96" fmla="*/ 2262379 h 2476692"/>
                <a:gd name="connsiteX97" fmla="*/ 2388971 w 2674716"/>
                <a:gd name="connsiteY97" fmla="*/ 2331435 h 2476692"/>
                <a:gd name="connsiteX98" fmla="*/ 2405640 w 2674716"/>
                <a:gd name="connsiteY98" fmla="*/ 2381442 h 2476692"/>
                <a:gd name="connsiteX99" fmla="*/ 2391353 w 2674716"/>
                <a:gd name="connsiteY99" fmla="*/ 2414779 h 2476692"/>
                <a:gd name="connsiteX100" fmla="*/ 2334203 w 2674716"/>
                <a:gd name="connsiteY100" fmla="*/ 2433829 h 2476692"/>
                <a:gd name="connsiteX101" fmla="*/ 2305628 w 2674716"/>
                <a:gd name="connsiteY101" fmla="*/ 2443354 h 2476692"/>
                <a:gd name="connsiteX102" fmla="*/ 2296103 w 2674716"/>
                <a:gd name="connsiteY102" fmla="*/ 2457642 h 2476692"/>
                <a:gd name="connsiteX103" fmla="*/ 2262765 w 2674716"/>
                <a:gd name="connsiteY103" fmla="*/ 2462404 h 2476692"/>
                <a:gd name="connsiteX104" fmla="*/ 2229428 w 2674716"/>
                <a:gd name="connsiteY104" fmla="*/ 2438592 h 2476692"/>
                <a:gd name="connsiteX105" fmla="*/ 2215140 w 2674716"/>
                <a:gd name="connsiteY105" fmla="*/ 2433829 h 2476692"/>
                <a:gd name="connsiteX106" fmla="*/ 2205615 w 2674716"/>
                <a:gd name="connsiteY106" fmla="*/ 2457642 h 2476692"/>
                <a:gd name="connsiteX107" fmla="*/ 2191328 w 2674716"/>
                <a:gd name="connsiteY107" fmla="*/ 2467167 h 2476692"/>
                <a:gd name="connsiteX108" fmla="*/ 2153228 w 2674716"/>
                <a:gd name="connsiteY108" fmla="*/ 2476692 h 2476692"/>
                <a:gd name="connsiteX109" fmla="*/ 2134178 w 2674716"/>
                <a:gd name="connsiteY109" fmla="*/ 2448117 h 2476692"/>
                <a:gd name="connsiteX110" fmla="*/ 2124653 w 2674716"/>
                <a:gd name="connsiteY110" fmla="*/ 2433829 h 2476692"/>
                <a:gd name="connsiteX111" fmla="*/ 2119890 w 2674716"/>
                <a:gd name="connsiteY111" fmla="*/ 2352867 h 2476692"/>
                <a:gd name="connsiteX112" fmla="*/ 2124653 w 2674716"/>
                <a:gd name="connsiteY112" fmla="*/ 2338579 h 2476692"/>
                <a:gd name="connsiteX113" fmla="*/ 2167515 w 2674716"/>
                <a:gd name="connsiteY113" fmla="*/ 2290954 h 2476692"/>
                <a:gd name="connsiteX114" fmla="*/ 2177040 w 2674716"/>
                <a:gd name="connsiteY114" fmla="*/ 2276667 h 2476692"/>
                <a:gd name="connsiteX115" fmla="*/ 2153228 w 2674716"/>
                <a:gd name="connsiteY115" fmla="*/ 2248092 h 2476692"/>
                <a:gd name="connsiteX116" fmla="*/ 2134178 w 2674716"/>
                <a:gd name="connsiteY116" fmla="*/ 2238567 h 2476692"/>
                <a:gd name="connsiteX117" fmla="*/ 2129415 w 2674716"/>
                <a:gd name="connsiteY117" fmla="*/ 2214754 h 2476692"/>
                <a:gd name="connsiteX118" fmla="*/ 2148465 w 2674716"/>
                <a:gd name="connsiteY118" fmla="*/ 2186179 h 2476692"/>
                <a:gd name="connsiteX119" fmla="*/ 2167515 w 2674716"/>
                <a:gd name="connsiteY119" fmla="*/ 2190942 h 2476692"/>
                <a:gd name="connsiteX120" fmla="*/ 2229428 w 2674716"/>
                <a:gd name="connsiteY120" fmla="*/ 2186179 h 2476692"/>
                <a:gd name="connsiteX121" fmla="*/ 2234190 w 2674716"/>
                <a:gd name="connsiteY121" fmla="*/ 2171892 h 2476692"/>
                <a:gd name="connsiteX122" fmla="*/ 2224665 w 2674716"/>
                <a:gd name="connsiteY122" fmla="*/ 2143317 h 2476692"/>
                <a:gd name="connsiteX123" fmla="*/ 2210378 w 2674716"/>
                <a:gd name="connsiteY123" fmla="*/ 2129029 h 2476692"/>
                <a:gd name="connsiteX124" fmla="*/ 2191328 w 2674716"/>
                <a:gd name="connsiteY124" fmla="*/ 2119504 h 2476692"/>
                <a:gd name="connsiteX125" fmla="*/ 2162753 w 2674716"/>
                <a:gd name="connsiteY125" fmla="*/ 2114742 h 2476692"/>
                <a:gd name="connsiteX126" fmla="*/ 2157990 w 2674716"/>
                <a:gd name="connsiteY126" fmla="*/ 2095692 h 2476692"/>
                <a:gd name="connsiteX127" fmla="*/ 2181803 w 2674716"/>
                <a:gd name="connsiteY127" fmla="*/ 2062354 h 2476692"/>
                <a:gd name="connsiteX128" fmla="*/ 2191328 w 2674716"/>
                <a:gd name="connsiteY128" fmla="*/ 2048067 h 2476692"/>
                <a:gd name="connsiteX129" fmla="*/ 2196090 w 2674716"/>
                <a:gd name="connsiteY129" fmla="*/ 1986154 h 2476692"/>
                <a:gd name="connsiteX130" fmla="*/ 2186565 w 2674716"/>
                <a:gd name="connsiteY130" fmla="*/ 1957579 h 2476692"/>
                <a:gd name="connsiteX131" fmla="*/ 2162753 w 2674716"/>
                <a:gd name="connsiteY131" fmla="*/ 1952817 h 2476692"/>
                <a:gd name="connsiteX132" fmla="*/ 2134178 w 2674716"/>
                <a:gd name="connsiteY132" fmla="*/ 1971867 h 2476692"/>
                <a:gd name="connsiteX133" fmla="*/ 2124653 w 2674716"/>
                <a:gd name="connsiteY133" fmla="*/ 1986154 h 2476692"/>
                <a:gd name="connsiteX134" fmla="*/ 2105603 w 2674716"/>
                <a:gd name="connsiteY134" fmla="*/ 2005204 h 2476692"/>
                <a:gd name="connsiteX135" fmla="*/ 2072265 w 2674716"/>
                <a:gd name="connsiteY135" fmla="*/ 2038542 h 2476692"/>
                <a:gd name="connsiteX136" fmla="*/ 2057978 w 2674716"/>
                <a:gd name="connsiteY136" fmla="*/ 2048067 h 2476692"/>
                <a:gd name="connsiteX137" fmla="*/ 2029403 w 2674716"/>
                <a:gd name="connsiteY137" fmla="*/ 2052829 h 2476692"/>
                <a:gd name="connsiteX138" fmla="*/ 2019878 w 2674716"/>
                <a:gd name="connsiteY138" fmla="*/ 2009967 h 2476692"/>
                <a:gd name="connsiteX139" fmla="*/ 1991303 w 2674716"/>
                <a:gd name="connsiteY139" fmla="*/ 1986154 h 2476692"/>
                <a:gd name="connsiteX140" fmla="*/ 1962728 w 2674716"/>
                <a:gd name="connsiteY140" fmla="*/ 1976629 h 2476692"/>
                <a:gd name="connsiteX141" fmla="*/ 1948440 w 2674716"/>
                <a:gd name="connsiteY141" fmla="*/ 1990917 h 2476692"/>
                <a:gd name="connsiteX142" fmla="*/ 1910340 w 2674716"/>
                <a:gd name="connsiteY142" fmla="*/ 2000442 h 2476692"/>
                <a:gd name="connsiteX143" fmla="*/ 1891290 w 2674716"/>
                <a:gd name="connsiteY143" fmla="*/ 1971867 h 2476692"/>
                <a:gd name="connsiteX144" fmla="*/ 1886528 w 2674716"/>
                <a:gd name="connsiteY144" fmla="*/ 1952817 h 2476692"/>
                <a:gd name="connsiteX145" fmla="*/ 1881765 w 2674716"/>
                <a:gd name="connsiteY145" fmla="*/ 1929004 h 2476692"/>
                <a:gd name="connsiteX146" fmla="*/ 1877003 w 2674716"/>
                <a:gd name="connsiteY146" fmla="*/ 1886142 h 2476692"/>
                <a:gd name="connsiteX147" fmla="*/ 1862715 w 2674716"/>
                <a:gd name="connsiteY147" fmla="*/ 1871854 h 2476692"/>
                <a:gd name="connsiteX148" fmla="*/ 1853190 w 2674716"/>
                <a:gd name="connsiteY148" fmla="*/ 1857567 h 2476692"/>
                <a:gd name="connsiteX149" fmla="*/ 1824615 w 2674716"/>
                <a:gd name="connsiteY149" fmla="*/ 1838517 h 2476692"/>
                <a:gd name="connsiteX150" fmla="*/ 1819853 w 2674716"/>
                <a:gd name="connsiteY150" fmla="*/ 1819467 h 2476692"/>
                <a:gd name="connsiteX151" fmla="*/ 1834140 w 2674716"/>
                <a:gd name="connsiteY151" fmla="*/ 1814704 h 2476692"/>
                <a:gd name="connsiteX152" fmla="*/ 1848428 w 2674716"/>
                <a:gd name="connsiteY152" fmla="*/ 1809942 h 2476692"/>
                <a:gd name="connsiteX153" fmla="*/ 1862715 w 2674716"/>
                <a:gd name="connsiteY153" fmla="*/ 1805179 h 2476692"/>
                <a:gd name="connsiteX154" fmla="*/ 1891290 w 2674716"/>
                <a:gd name="connsiteY154" fmla="*/ 1795654 h 2476692"/>
                <a:gd name="connsiteX155" fmla="*/ 1896053 w 2674716"/>
                <a:gd name="connsiteY155" fmla="*/ 1781367 h 2476692"/>
                <a:gd name="connsiteX156" fmla="*/ 1900815 w 2674716"/>
                <a:gd name="connsiteY156" fmla="*/ 1762317 h 2476692"/>
                <a:gd name="connsiteX157" fmla="*/ 1891290 w 2674716"/>
                <a:gd name="connsiteY157" fmla="*/ 1676592 h 2476692"/>
                <a:gd name="connsiteX158" fmla="*/ 1719840 w 2674716"/>
                <a:gd name="connsiteY158" fmla="*/ 1671829 h 2476692"/>
                <a:gd name="connsiteX159" fmla="*/ 1710315 w 2674716"/>
                <a:gd name="connsiteY159" fmla="*/ 1690879 h 2476692"/>
                <a:gd name="connsiteX160" fmla="*/ 1696028 w 2674716"/>
                <a:gd name="connsiteY160" fmla="*/ 1709929 h 2476692"/>
                <a:gd name="connsiteX161" fmla="*/ 1681740 w 2674716"/>
                <a:gd name="connsiteY161" fmla="*/ 1724217 h 2476692"/>
                <a:gd name="connsiteX162" fmla="*/ 1676978 w 2674716"/>
                <a:gd name="connsiteY162" fmla="*/ 1738504 h 2476692"/>
                <a:gd name="connsiteX163" fmla="*/ 1667453 w 2674716"/>
                <a:gd name="connsiteY163" fmla="*/ 1762317 h 2476692"/>
                <a:gd name="connsiteX164" fmla="*/ 1643640 w 2674716"/>
                <a:gd name="connsiteY164" fmla="*/ 1795654 h 2476692"/>
                <a:gd name="connsiteX165" fmla="*/ 1291215 w 2674716"/>
                <a:gd name="connsiteY165" fmla="*/ 1938529 h 2476692"/>
                <a:gd name="connsiteX166" fmla="*/ 1162628 w 2674716"/>
                <a:gd name="connsiteY166" fmla="*/ 1833754 h 2476692"/>
                <a:gd name="connsiteX167" fmla="*/ 1091190 w 2674716"/>
                <a:gd name="connsiteY167" fmla="*/ 1843279 h 2476692"/>
                <a:gd name="connsiteX168" fmla="*/ 1014990 w 2674716"/>
                <a:gd name="connsiteY168" fmla="*/ 1786129 h 2476692"/>
                <a:gd name="connsiteX169" fmla="*/ 1024515 w 2674716"/>
                <a:gd name="connsiteY169" fmla="*/ 1733742 h 2476692"/>
                <a:gd name="connsiteX170" fmla="*/ 957840 w 2674716"/>
                <a:gd name="connsiteY170" fmla="*/ 1719454 h 2476692"/>
                <a:gd name="connsiteX171" fmla="*/ 767340 w 2674716"/>
                <a:gd name="connsiteY171" fmla="*/ 1671829 h 2476692"/>
                <a:gd name="connsiteX172" fmla="*/ 743528 w 2674716"/>
                <a:gd name="connsiteY172" fmla="*/ 1681354 h 2476692"/>
                <a:gd name="connsiteX173" fmla="*/ 729240 w 2674716"/>
                <a:gd name="connsiteY173" fmla="*/ 1686117 h 2476692"/>
                <a:gd name="connsiteX174" fmla="*/ 700665 w 2674716"/>
                <a:gd name="connsiteY174" fmla="*/ 1667067 h 2476692"/>
                <a:gd name="connsiteX175" fmla="*/ 657803 w 2674716"/>
                <a:gd name="connsiteY175" fmla="*/ 1624204 h 2476692"/>
                <a:gd name="connsiteX176" fmla="*/ 605415 w 2674716"/>
                <a:gd name="connsiteY176" fmla="*/ 1638492 h 2476692"/>
                <a:gd name="connsiteX177" fmla="*/ 533978 w 2674716"/>
                <a:gd name="connsiteY177" fmla="*/ 1543242 h 2476692"/>
                <a:gd name="connsiteX178" fmla="*/ 548265 w 2674716"/>
                <a:gd name="connsiteY178" fmla="*/ 1528954 h 2476692"/>
                <a:gd name="connsiteX179" fmla="*/ 567315 w 2674716"/>
                <a:gd name="connsiteY179" fmla="*/ 1514667 h 2476692"/>
                <a:gd name="connsiteX180" fmla="*/ 581603 w 2674716"/>
                <a:gd name="connsiteY180" fmla="*/ 1476567 h 2476692"/>
                <a:gd name="connsiteX181" fmla="*/ 567315 w 2674716"/>
                <a:gd name="connsiteY181" fmla="*/ 1471804 h 2476692"/>
                <a:gd name="connsiteX182" fmla="*/ 543503 w 2674716"/>
                <a:gd name="connsiteY182" fmla="*/ 1462279 h 2476692"/>
                <a:gd name="connsiteX183" fmla="*/ 562553 w 2674716"/>
                <a:gd name="connsiteY183" fmla="*/ 1428942 h 2476692"/>
                <a:gd name="connsiteX184" fmla="*/ 567315 w 2674716"/>
                <a:gd name="connsiteY184" fmla="*/ 1414654 h 2476692"/>
                <a:gd name="connsiteX185" fmla="*/ 586365 w 2674716"/>
                <a:gd name="connsiteY185" fmla="*/ 1386079 h 2476692"/>
                <a:gd name="connsiteX186" fmla="*/ 619703 w 2674716"/>
                <a:gd name="connsiteY186" fmla="*/ 1362267 h 2476692"/>
                <a:gd name="connsiteX187" fmla="*/ 633990 w 2674716"/>
                <a:gd name="connsiteY187" fmla="*/ 1343217 h 2476692"/>
                <a:gd name="connsiteX188" fmla="*/ 662565 w 2674716"/>
                <a:gd name="connsiteY188" fmla="*/ 1319404 h 2476692"/>
                <a:gd name="connsiteX189" fmla="*/ 667328 w 2674716"/>
                <a:gd name="connsiteY189" fmla="*/ 1281304 h 2476692"/>
                <a:gd name="connsiteX190" fmla="*/ 638753 w 2674716"/>
                <a:gd name="connsiteY190" fmla="*/ 1267017 h 2476692"/>
                <a:gd name="connsiteX191" fmla="*/ 633990 w 2674716"/>
                <a:gd name="connsiteY191" fmla="*/ 1252729 h 2476692"/>
                <a:gd name="connsiteX192" fmla="*/ 643515 w 2674716"/>
                <a:gd name="connsiteY192" fmla="*/ 1238442 h 2476692"/>
                <a:gd name="connsiteX193" fmla="*/ 672090 w 2674716"/>
                <a:gd name="connsiteY193" fmla="*/ 1219392 h 2476692"/>
                <a:gd name="connsiteX194" fmla="*/ 672090 w 2674716"/>
                <a:gd name="connsiteY194" fmla="*/ 1162242 h 2476692"/>
                <a:gd name="connsiteX195" fmla="*/ 662565 w 2674716"/>
                <a:gd name="connsiteY195" fmla="*/ 1147954 h 2476692"/>
                <a:gd name="connsiteX196" fmla="*/ 619703 w 2674716"/>
                <a:gd name="connsiteY196" fmla="*/ 1167004 h 2476692"/>
                <a:gd name="connsiteX197" fmla="*/ 610178 w 2674716"/>
                <a:gd name="connsiteY197" fmla="*/ 1152717 h 2476692"/>
                <a:gd name="connsiteX198" fmla="*/ 605415 w 2674716"/>
                <a:gd name="connsiteY198" fmla="*/ 1105092 h 2476692"/>
                <a:gd name="connsiteX199" fmla="*/ 595890 w 2674716"/>
                <a:gd name="connsiteY199" fmla="*/ 1086042 h 2476692"/>
                <a:gd name="connsiteX200" fmla="*/ 576840 w 2674716"/>
                <a:gd name="connsiteY200" fmla="*/ 1057467 h 2476692"/>
                <a:gd name="connsiteX201" fmla="*/ 572078 w 2674716"/>
                <a:gd name="connsiteY201" fmla="*/ 1043179 h 2476692"/>
                <a:gd name="connsiteX202" fmla="*/ 562553 w 2674716"/>
                <a:gd name="connsiteY202" fmla="*/ 962217 h 2476692"/>
                <a:gd name="connsiteX203" fmla="*/ 462540 w 2674716"/>
                <a:gd name="connsiteY203" fmla="*/ 1043179 h 2476692"/>
                <a:gd name="connsiteX204" fmla="*/ 433965 w 2674716"/>
                <a:gd name="connsiteY204" fmla="*/ 952692 h 2476692"/>
                <a:gd name="connsiteX205" fmla="*/ 343478 w 2674716"/>
                <a:gd name="connsiteY205" fmla="*/ 862204 h 2476692"/>
                <a:gd name="connsiteX206" fmla="*/ 262515 w 2674716"/>
                <a:gd name="connsiteY206" fmla="*/ 871729 h 2476692"/>
                <a:gd name="connsiteX207" fmla="*/ 205365 w 2674716"/>
                <a:gd name="connsiteY207" fmla="*/ 919354 h 2476692"/>
                <a:gd name="connsiteX208" fmla="*/ 95828 w 2674716"/>
                <a:gd name="connsiteY208" fmla="*/ 986029 h 2476692"/>
                <a:gd name="connsiteX209" fmla="*/ 24390 w 2674716"/>
                <a:gd name="connsiteY209" fmla="*/ 986029 h 2476692"/>
                <a:gd name="connsiteX210" fmla="*/ 14865 w 2674716"/>
                <a:gd name="connsiteY210" fmla="*/ 947929 h 2476692"/>
                <a:gd name="connsiteX211" fmla="*/ 578 w 2674716"/>
                <a:gd name="connsiteY211" fmla="*/ 933642 h 2476692"/>
                <a:gd name="connsiteX212" fmla="*/ 5340 w 2674716"/>
                <a:gd name="connsiteY212" fmla="*/ 890779 h 2476692"/>
                <a:gd name="connsiteX213" fmla="*/ 57728 w 2674716"/>
                <a:gd name="connsiteY213" fmla="*/ 781242 h 2476692"/>
                <a:gd name="connsiteX214" fmla="*/ 238703 w 2674716"/>
                <a:gd name="connsiteY214" fmla="*/ 543117 h 2476692"/>
                <a:gd name="connsiteX215" fmla="*/ 333953 w 2674716"/>
                <a:gd name="connsiteY215" fmla="*/ 543117 h 2476692"/>
                <a:gd name="connsiteX216" fmla="*/ 429203 w 2674716"/>
                <a:gd name="connsiteY216" fmla="*/ 524067 h 2476692"/>
                <a:gd name="connsiteX217" fmla="*/ 467303 w 2674716"/>
                <a:gd name="connsiteY217" fmla="*/ 538354 h 2476692"/>
                <a:gd name="connsiteX218" fmla="*/ 481590 w 2674716"/>
                <a:gd name="connsiteY218" fmla="*/ 528829 h 2476692"/>
                <a:gd name="connsiteX219" fmla="*/ 486353 w 2674716"/>
                <a:gd name="connsiteY219" fmla="*/ 514542 h 2476692"/>
                <a:gd name="connsiteX220" fmla="*/ 491115 w 2674716"/>
                <a:gd name="connsiteY220" fmla="*/ 466917 h 2476692"/>
                <a:gd name="connsiteX221" fmla="*/ 481590 w 2674716"/>
                <a:gd name="connsiteY221" fmla="*/ 438342 h 2476692"/>
                <a:gd name="connsiteX222" fmla="*/ 462540 w 2674716"/>
                <a:gd name="connsiteY222" fmla="*/ 409767 h 2476692"/>
                <a:gd name="connsiteX223" fmla="*/ 472065 w 2674716"/>
                <a:gd name="connsiteY223" fmla="*/ 347854 h 2476692"/>
                <a:gd name="connsiteX224" fmla="*/ 505403 w 2674716"/>
                <a:gd name="connsiteY224" fmla="*/ 295467 h 2476692"/>
                <a:gd name="connsiteX225" fmla="*/ 514928 w 2674716"/>
                <a:gd name="connsiteY225" fmla="*/ 281179 h 2476692"/>
                <a:gd name="connsiteX226" fmla="*/ 519690 w 2674716"/>
                <a:gd name="connsiteY226" fmla="*/ 257367 h 2476692"/>
                <a:gd name="connsiteX227" fmla="*/ 529215 w 2674716"/>
                <a:gd name="connsiteY227" fmla="*/ 243079 h 2476692"/>
                <a:gd name="connsiteX228" fmla="*/ 538740 w 2674716"/>
                <a:gd name="connsiteY228" fmla="*/ 204979 h 2476692"/>
                <a:gd name="connsiteX229" fmla="*/ 548265 w 2674716"/>
                <a:gd name="connsiteY229" fmla="*/ 185929 h 2476692"/>
                <a:gd name="connsiteX230" fmla="*/ 553028 w 2674716"/>
                <a:gd name="connsiteY230" fmla="*/ 171642 h 2476692"/>
                <a:gd name="connsiteX231" fmla="*/ 562553 w 2674716"/>
                <a:gd name="connsiteY231" fmla="*/ 157354 h 2476692"/>
                <a:gd name="connsiteX232" fmla="*/ 567315 w 2674716"/>
                <a:gd name="connsiteY232" fmla="*/ 133542 h 2476692"/>
                <a:gd name="connsiteX233" fmla="*/ 576840 w 2674716"/>
                <a:gd name="connsiteY233" fmla="*/ 100204 h 2476692"/>
                <a:gd name="connsiteX234" fmla="*/ 581603 w 2674716"/>
                <a:gd name="connsiteY234" fmla="*/ 81154 h 2476692"/>
                <a:gd name="connsiteX235" fmla="*/ 595890 w 2674716"/>
                <a:gd name="connsiteY235" fmla="*/ 33529 h 2476692"/>
                <a:gd name="connsiteX236" fmla="*/ 619703 w 2674716"/>
                <a:gd name="connsiteY236" fmla="*/ 192 h 2476692"/>
                <a:gd name="connsiteX237" fmla="*/ 621543 w 2674716"/>
                <a:gd name="connsiteY237" fmla="*/ 0 h 2476692"/>
                <a:gd name="connsiteX0" fmla="*/ 621543 w 2674380"/>
                <a:gd name="connsiteY0" fmla="*/ 0 h 2476692"/>
                <a:gd name="connsiteX1" fmla="*/ 637165 w 2674380"/>
                <a:gd name="connsiteY1" fmla="*/ 20829 h 2476692"/>
                <a:gd name="connsiteX2" fmla="*/ 643515 w 2674380"/>
                <a:gd name="connsiteY2" fmla="*/ 30354 h 2476692"/>
                <a:gd name="connsiteX3" fmla="*/ 646690 w 2674380"/>
                <a:gd name="connsiteY3" fmla="*/ 74804 h 2476692"/>
                <a:gd name="connsiteX4" fmla="*/ 656215 w 2674380"/>
                <a:gd name="connsiteY4" fmla="*/ 100204 h 2476692"/>
                <a:gd name="connsiteX5" fmla="*/ 757815 w 2674380"/>
                <a:gd name="connsiteY5" fmla="*/ 119254 h 2476692"/>
                <a:gd name="connsiteX6" fmla="*/ 780040 w 2674380"/>
                <a:gd name="connsiteY6" fmla="*/ 135129 h 2476692"/>
                <a:gd name="connsiteX7" fmla="*/ 789565 w 2674380"/>
                <a:gd name="connsiteY7" fmla="*/ 138304 h 2476692"/>
                <a:gd name="connsiteX8" fmla="*/ 808615 w 2674380"/>
                <a:gd name="connsiteY8" fmla="*/ 154179 h 2476692"/>
                <a:gd name="connsiteX9" fmla="*/ 824490 w 2674380"/>
                <a:gd name="connsiteY9" fmla="*/ 176404 h 2476692"/>
                <a:gd name="connsiteX10" fmla="*/ 827665 w 2674380"/>
                <a:gd name="connsiteY10" fmla="*/ 185929 h 2476692"/>
                <a:gd name="connsiteX11" fmla="*/ 853065 w 2674380"/>
                <a:gd name="connsiteY11" fmla="*/ 201804 h 2476692"/>
                <a:gd name="connsiteX12" fmla="*/ 929265 w 2674380"/>
                <a:gd name="connsiteY12" fmla="*/ 220854 h 2476692"/>
                <a:gd name="connsiteX13" fmla="*/ 957840 w 2674380"/>
                <a:gd name="connsiteY13" fmla="*/ 198629 h 2476692"/>
                <a:gd name="connsiteX14" fmla="*/ 980065 w 2674380"/>
                <a:gd name="connsiteY14" fmla="*/ 182754 h 2476692"/>
                <a:gd name="connsiteX15" fmla="*/ 989590 w 2674380"/>
                <a:gd name="connsiteY15" fmla="*/ 176404 h 2476692"/>
                <a:gd name="connsiteX16" fmla="*/ 1011815 w 2674380"/>
                <a:gd name="connsiteY16" fmla="*/ 173229 h 2476692"/>
                <a:gd name="connsiteX17" fmla="*/ 1027690 w 2674380"/>
                <a:gd name="connsiteY17" fmla="*/ 166879 h 2476692"/>
                <a:gd name="connsiteX18" fmla="*/ 1094365 w 2674380"/>
                <a:gd name="connsiteY18" fmla="*/ 220854 h 2476692"/>
                <a:gd name="connsiteX19" fmla="*/ 1186440 w 2674380"/>
                <a:gd name="connsiteY19" fmla="*/ 217679 h 2476692"/>
                <a:gd name="connsiteX20" fmla="*/ 1278515 w 2674380"/>
                <a:gd name="connsiteY20" fmla="*/ 170054 h 2476692"/>
                <a:gd name="connsiteX21" fmla="*/ 1326140 w 2674380"/>
                <a:gd name="connsiteY21" fmla="*/ 74804 h 2476692"/>
                <a:gd name="connsiteX22" fmla="*/ 1373765 w 2674380"/>
                <a:gd name="connsiteY22" fmla="*/ 122429 h 2476692"/>
                <a:gd name="connsiteX23" fmla="*/ 1459490 w 2674380"/>
                <a:gd name="connsiteY23" fmla="*/ 144654 h 2476692"/>
                <a:gd name="connsiteX24" fmla="*/ 1589665 w 2674380"/>
                <a:gd name="connsiteY24" fmla="*/ 144654 h 2476692"/>
                <a:gd name="connsiteX25" fmla="*/ 1697615 w 2674380"/>
                <a:gd name="connsiteY25" fmla="*/ 97029 h 2476692"/>
                <a:gd name="connsiteX26" fmla="*/ 1726190 w 2674380"/>
                <a:gd name="connsiteY26" fmla="*/ 103379 h 2476692"/>
                <a:gd name="connsiteX27" fmla="*/ 1738890 w 2674380"/>
                <a:gd name="connsiteY27" fmla="*/ 122429 h 2476692"/>
                <a:gd name="connsiteX28" fmla="*/ 1732540 w 2674380"/>
                <a:gd name="connsiteY28" fmla="*/ 141479 h 2476692"/>
                <a:gd name="connsiteX29" fmla="*/ 1723015 w 2674380"/>
                <a:gd name="connsiteY29" fmla="*/ 154179 h 2476692"/>
                <a:gd name="connsiteX30" fmla="*/ 1802390 w 2674380"/>
                <a:gd name="connsiteY30" fmla="*/ 144654 h 2476692"/>
                <a:gd name="connsiteX31" fmla="*/ 1824615 w 2674380"/>
                <a:gd name="connsiteY31" fmla="*/ 160529 h 2476692"/>
                <a:gd name="connsiteX32" fmla="*/ 1827790 w 2674380"/>
                <a:gd name="connsiteY32" fmla="*/ 195454 h 2476692"/>
                <a:gd name="connsiteX33" fmla="*/ 1834140 w 2674380"/>
                <a:gd name="connsiteY33" fmla="*/ 217679 h 2476692"/>
                <a:gd name="connsiteX34" fmla="*/ 1840490 w 2674380"/>
                <a:gd name="connsiteY34" fmla="*/ 230379 h 2476692"/>
                <a:gd name="connsiteX35" fmla="*/ 1846840 w 2674380"/>
                <a:gd name="connsiteY35" fmla="*/ 239904 h 2476692"/>
                <a:gd name="connsiteX36" fmla="*/ 1846840 w 2674380"/>
                <a:gd name="connsiteY36" fmla="*/ 249429 h 2476692"/>
                <a:gd name="connsiteX37" fmla="*/ 1916690 w 2674380"/>
                <a:gd name="connsiteY37" fmla="*/ 274829 h 2476692"/>
                <a:gd name="connsiteX38" fmla="*/ 1945265 w 2674380"/>
                <a:gd name="connsiteY38" fmla="*/ 268479 h 2476692"/>
                <a:gd name="connsiteX39" fmla="*/ 1961140 w 2674380"/>
                <a:gd name="connsiteY39" fmla="*/ 274829 h 2476692"/>
                <a:gd name="connsiteX40" fmla="*/ 1977015 w 2674380"/>
                <a:gd name="connsiteY40" fmla="*/ 293879 h 2476692"/>
                <a:gd name="connsiteX41" fmla="*/ 2002415 w 2674380"/>
                <a:gd name="connsiteY41" fmla="*/ 297054 h 2476692"/>
                <a:gd name="connsiteX42" fmla="*/ 2002415 w 2674380"/>
                <a:gd name="connsiteY42" fmla="*/ 344679 h 2476692"/>
                <a:gd name="connsiteX43" fmla="*/ 1998496 w 2674380"/>
                <a:gd name="connsiteY43" fmla="*/ 359366 h 2476692"/>
                <a:gd name="connsiteX44" fmla="*/ 1997699 w 2674380"/>
                <a:gd name="connsiteY44" fmla="*/ 359161 h 2476692"/>
                <a:gd name="connsiteX45" fmla="*/ 1996509 w 2674380"/>
                <a:gd name="connsiteY45" fmla="*/ 357863 h 2476692"/>
                <a:gd name="connsiteX46" fmla="*/ 1996082 w 2674380"/>
                <a:gd name="connsiteY46" fmla="*/ 354482 h 2476692"/>
                <a:gd name="connsiteX47" fmla="*/ 1996065 w 2674380"/>
                <a:gd name="connsiteY47" fmla="*/ 357379 h 2476692"/>
                <a:gd name="connsiteX48" fmla="*/ 1996509 w 2674380"/>
                <a:gd name="connsiteY48" fmla="*/ 357863 h 2476692"/>
                <a:gd name="connsiteX49" fmla="*/ 1996639 w 2674380"/>
                <a:gd name="connsiteY49" fmla="*/ 358889 h 2476692"/>
                <a:gd name="connsiteX50" fmla="*/ 1997699 w 2674380"/>
                <a:gd name="connsiteY50" fmla="*/ 359161 h 2476692"/>
                <a:gd name="connsiteX51" fmla="*/ 2030990 w 2674380"/>
                <a:gd name="connsiteY51" fmla="*/ 395479 h 2476692"/>
                <a:gd name="connsiteX52" fmla="*/ 2059565 w 2674380"/>
                <a:gd name="connsiteY52" fmla="*/ 385954 h 2476692"/>
                <a:gd name="connsiteX53" fmla="*/ 2069090 w 2674380"/>
                <a:gd name="connsiteY53" fmla="*/ 379604 h 2476692"/>
                <a:gd name="connsiteX54" fmla="*/ 2078615 w 2674380"/>
                <a:gd name="connsiteY54" fmla="*/ 376429 h 2476692"/>
                <a:gd name="connsiteX55" fmla="*/ 2116715 w 2674380"/>
                <a:gd name="connsiteY55" fmla="*/ 379604 h 2476692"/>
                <a:gd name="connsiteX56" fmla="*/ 2119890 w 2674380"/>
                <a:gd name="connsiteY56" fmla="*/ 411354 h 2476692"/>
                <a:gd name="connsiteX57" fmla="*/ 2129415 w 2674380"/>
                <a:gd name="connsiteY57" fmla="*/ 443104 h 2476692"/>
                <a:gd name="connsiteX58" fmla="*/ 2132590 w 2674380"/>
                <a:gd name="connsiteY58" fmla="*/ 452629 h 2476692"/>
                <a:gd name="connsiteX59" fmla="*/ 2135765 w 2674380"/>
                <a:gd name="connsiteY59" fmla="*/ 462154 h 2476692"/>
                <a:gd name="connsiteX60" fmla="*/ 2142115 w 2674380"/>
                <a:gd name="connsiteY60" fmla="*/ 493904 h 2476692"/>
                <a:gd name="connsiteX61" fmla="*/ 2138940 w 2674380"/>
                <a:gd name="connsiteY61" fmla="*/ 532004 h 2476692"/>
                <a:gd name="connsiteX62" fmla="*/ 2110365 w 2674380"/>
                <a:gd name="connsiteY62" fmla="*/ 547879 h 2476692"/>
                <a:gd name="connsiteX63" fmla="*/ 2097665 w 2674380"/>
                <a:gd name="connsiteY63" fmla="*/ 557404 h 2476692"/>
                <a:gd name="connsiteX64" fmla="*/ 2094490 w 2674380"/>
                <a:gd name="connsiteY64" fmla="*/ 582804 h 2476692"/>
                <a:gd name="connsiteX65" fmla="*/ 2104015 w 2674380"/>
                <a:gd name="connsiteY65" fmla="*/ 608204 h 2476692"/>
                <a:gd name="connsiteX66" fmla="*/ 2110365 w 2674380"/>
                <a:gd name="connsiteY66" fmla="*/ 617729 h 2476692"/>
                <a:gd name="connsiteX67" fmla="*/ 2116715 w 2674380"/>
                <a:gd name="connsiteY67" fmla="*/ 643129 h 2476692"/>
                <a:gd name="connsiteX68" fmla="*/ 2119890 w 2674380"/>
                <a:gd name="connsiteY68" fmla="*/ 719329 h 2476692"/>
                <a:gd name="connsiteX69" fmla="*/ 2123065 w 2674380"/>
                <a:gd name="connsiteY69" fmla="*/ 728854 h 2476692"/>
                <a:gd name="connsiteX70" fmla="*/ 2142115 w 2674380"/>
                <a:gd name="connsiteY70" fmla="*/ 741554 h 2476692"/>
                <a:gd name="connsiteX71" fmla="*/ 2161165 w 2674380"/>
                <a:gd name="connsiteY71" fmla="*/ 738379 h 2476692"/>
                <a:gd name="connsiteX72" fmla="*/ 2170690 w 2674380"/>
                <a:gd name="connsiteY72" fmla="*/ 732029 h 2476692"/>
                <a:gd name="connsiteX73" fmla="*/ 2183390 w 2674380"/>
                <a:gd name="connsiteY73" fmla="*/ 725679 h 2476692"/>
                <a:gd name="connsiteX74" fmla="*/ 2192915 w 2674380"/>
                <a:gd name="connsiteY74" fmla="*/ 719329 h 2476692"/>
                <a:gd name="connsiteX75" fmla="*/ 2211965 w 2674380"/>
                <a:gd name="connsiteY75" fmla="*/ 712979 h 2476692"/>
                <a:gd name="connsiteX76" fmla="*/ 2259590 w 2674380"/>
                <a:gd name="connsiteY76" fmla="*/ 716154 h 2476692"/>
                <a:gd name="connsiteX77" fmla="*/ 2262765 w 2674380"/>
                <a:gd name="connsiteY77" fmla="*/ 732029 h 2476692"/>
                <a:gd name="connsiteX78" fmla="*/ 2272290 w 2674380"/>
                <a:gd name="connsiteY78" fmla="*/ 751079 h 2476692"/>
                <a:gd name="connsiteX79" fmla="*/ 2297690 w 2674380"/>
                <a:gd name="connsiteY79" fmla="*/ 754254 h 2476692"/>
                <a:gd name="connsiteX80" fmla="*/ 2329440 w 2674380"/>
                <a:gd name="connsiteY80" fmla="*/ 738379 h 2476692"/>
                <a:gd name="connsiteX81" fmla="*/ 2338965 w 2674380"/>
                <a:gd name="connsiteY81" fmla="*/ 735204 h 2476692"/>
                <a:gd name="connsiteX82" fmla="*/ 2367540 w 2674380"/>
                <a:gd name="connsiteY82" fmla="*/ 722504 h 2476692"/>
                <a:gd name="connsiteX83" fmla="*/ 2377065 w 2674380"/>
                <a:gd name="connsiteY83" fmla="*/ 719329 h 2476692"/>
                <a:gd name="connsiteX84" fmla="*/ 2391809 w 2674380"/>
                <a:gd name="connsiteY84" fmla="*/ 719329 h 2476692"/>
                <a:gd name="connsiteX85" fmla="*/ 2672340 w 2674380"/>
                <a:gd name="connsiteY85" fmla="*/ 1724217 h 2476692"/>
                <a:gd name="connsiteX86" fmla="*/ 2527084 w 2674380"/>
                <a:gd name="connsiteY86" fmla="*/ 1995679 h 2476692"/>
                <a:gd name="connsiteX87" fmla="*/ 2503271 w 2674380"/>
                <a:gd name="connsiteY87" fmla="*/ 1986154 h 2476692"/>
                <a:gd name="connsiteX88" fmla="*/ 2472315 w 2674380"/>
                <a:gd name="connsiteY88" fmla="*/ 1971867 h 2476692"/>
                <a:gd name="connsiteX89" fmla="*/ 2436596 w 2674380"/>
                <a:gd name="connsiteY89" fmla="*/ 1986154 h 2476692"/>
                <a:gd name="connsiteX90" fmla="*/ 2450884 w 2674380"/>
                <a:gd name="connsiteY90" fmla="*/ 2017110 h 2476692"/>
                <a:gd name="connsiteX91" fmla="*/ 2465171 w 2674380"/>
                <a:gd name="connsiteY91" fmla="*/ 2057592 h 2476692"/>
                <a:gd name="connsiteX92" fmla="*/ 2455646 w 2674380"/>
                <a:gd name="connsiteY92" fmla="*/ 2121885 h 2476692"/>
                <a:gd name="connsiteX93" fmla="*/ 2410403 w 2674380"/>
                <a:gd name="connsiteY93" fmla="*/ 2152842 h 2476692"/>
                <a:gd name="connsiteX94" fmla="*/ 2458028 w 2674380"/>
                <a:gd name="connsiteY94" fmla="*/ 2186180 h 2476692"/>
                <a:gd name="connsiteX95" fmla="*/ 2448503 w 2674380"/>
                <a:gd name="connsiteY95" fmla="*/ 2226660 h 2476692"/>
                <a:gd name="connsiteX96" fmla="*/ 2410403 w 2674380"/>
                <a:gd name="connsiteY96" fmla="*/ 2262379 h 2476692"/>
                <a:gd name="connsiteX97" fmla="*/ 2388971 w 2674380"/>
                <a:gd name="connsiteY97" fmla="*/ 2331435 h 2476692"/>
                <a:gd name="connsiteX98" fmla="*/ 2405640 w 2674380"/>
                <a:gd name="connsiteY98" fmla="*/ 2381442 h 2476692"/>
                <a:gd name="connsiteX99" fmla="*/ 2391353 w 2674380"/>
                <a:gd name="connsiteY99" fmla="*/ 2414779 h 2476692"/>
                <a:gd name="connsiteX100" fmla="*/ 2334203 w 2674380"/>
                <a:gd name="connsiteY100" fmla="*/ 2433829 h 2476692"/>
                <a:gd name="connsiteX101" fmla="*/ 2305628 w 2674380"/>
                <a:gd name="connsiteY101" fmla="*/ 2443354 h 2476692"/>
                <a:gd name="connsiteX102" fmla="*/ 2296103 w 2674380"/>
                <a:gd name="connsiteY102" fmla="*/ 2457642 h 2476692"/>
                <a:gd name="connsiteX103" fmla="*/ 2262765 w 2674380"/>
                <a:gd name="connsiteY103" fmla="*/ 2462404 h 2476692"/>
                <a:gd name="connsiteX104" fmla="*/ 2229428 w 2674380"/>
                <a:gd name="connsiteY104" fmla="*/ 2438592 h 2476692"/>
                <a:gd name="connsiteX105" fmla="*/ 2215140 w 2674380"/>
                <a:gd name="connsiteY105" fmla="*/ 2433829 h 2476692"/>
                <a:gd name="connsiteX106" fmla="*/ 2205615 w 2674380"/>
                <a:gd name="connsiteY106" fmla="*/ 2457642 h 2476692"/>
                <a:gd name="connsiteX107" fmla="*/ 2191328 w 2674380"/>
                <a:gd name="connsiteY107" fmla="*/ 2467167 h 2476692"/>
                <a:gd name="connsiteX108" fmla="*/ 2153228 w 2674380"/>
                <a:gd name="connsiteY108" fmla="*/ 2476692 h 2476692"/>
                <a:gd name="connsiteX109" fmla="*/ 2134178 w 2674380"/>
                <a:gd name="connsiteY109" fmla="*/ 2448117 h 2476692"/>
                <a:gd name="connsiteX110" fmla="*/ 2124653 w 2674380"/>
                <a:gd name="connsiteY110" fmla="*/ 2433829 h 2476692"/>
                <a:gd name="connsiteX111" fmla="*/ 2119890 w 2674380"/>
                <a:gd name="connsiteY111" fmla="*/ 2352867 h 2476692"/>
                <a:gd name="connsiteX112" fmla="*/ 2124653 w 2674380"/>
                <a:gd name="connsiteY112" fmla="*/ 2338579 h 2476692"/>
                <a:gd name="connsiteX113" fmla="*/ 2167515 w 2674380"/>
                <a:gd name="connsiteY113" fmla="*/ 2290954 h 2476692"/>
                <a:gd name="connsiteX114" fmla="*/ 2177040 w 2674380"/>
                <a:gd name="connsiteY114" fmla="*/ 2276667 h 2476692"/>
                <a:gd name="connsiteX115" fmla="*/ 2153228 w 2674380"/>
                <a:gd name="connsiteY115" fmla="*/ 2248092 h 2476692"/>
                <a:gd name="connsiteX116" fmla="*/ 2134178 w 2674380"/>
                <a:gd name="connsiteY116" fmla="*/ 2238567 h 2476692"/>
                <a:gd name="connsiteX117" fmla="*/ 2129415 w 2674380"/>
                <a:gd name="connsiteY117" fmla="*/ 2214754 h 2476692"/>
                <a:gd name="connsiteX118" fmla="*/ 2148465 w 2674380"/>
                <a:gd name="connsiteY118" fmla="*/ 2186179 h 2476692"/>
                <a:gd name="connsiteX119" fmla="*/ 2167515 w 2674380"/>
                <a:gd name="connsiteY119" fmla="*/ 2190942 h 2476692"/>
                <a:gd name="connsiteX120" fmla="*/ 2229428 w 2674380"/>
                <a:gd name="connsiteY120" fmla="*/ 2186179 h 2476692"/>
                <a:gd name="connsiteX121" fmla="*/ 2234190 w 2674380"/>
                <a:gd name="connsiteY121" fmla="*/ 2171892 h 2476692"/>
                <a:gd name="connsiteX122" fmla="*/ 2224665 w 2674380"/>
                <a:gd name="connsiteY122" fmla="*/ 2143317 h 2476692"/>
                <a:gd name="connsiteX123" fmla="*/ 2210378 w 2674380"/>
                <a:gd name="connsiteY123" fmla="*/ 2129029 h 2476692"/>
                <a:gd name="connsiteX124" fmla="*/ 2191328 w 2674380"/>
                <a:gd name="connsiteY124" fmla="*/ 2119504 h 2476692"/>
                <a:gd name="connsiteX125" fmla="*/ 2162753 w 2674380"/>
                <a:gd name="connsiteY125" fmla="*/ 2114742 h 2476692"/>
                <a:gd name="connsiteX126" fmla="*/ 2157990 w 2674380"/>
                <a:gd name="connsiteY126" fmla="*/ 2095692 h 2476692"/>
                <a:gd name="connsiteX127" fmla="*/ 2181803 w 2674380"/>
                <a:gd name="connsiteY127" fmla="*/ 2062354 h 2476692"/>
                <a:gd name="connsiteX128" fmla="*/ 2191328 w 2674380"/>
                <a:gd name="connsiteY128" fmla="*/ 2048067 h 2476692"/>
                <a:gd name="connsiteX129" fmla="*/ 2196090 w 2674380"/>
                <a:gd name="connsiteY129" fmla="*/ 1986154 h 2476692"/>
                <a:gd name="connsiteX130" fmla="*/ 2186565 w 2674380"/>
                <a:gd name="connsiteY130" fmla="*/ 1957579 h 2476692"/>
                <a:gd name="connsiteX131" fmla="*/ 2162753 w 2674380"/>
                <a:gd name="connsiteY131" fmla="*/ 1952817 h 2476692"/>
                <a:gd name="connsiteX132" fmla="*/ 2134178 w 2674380"/>
                <a:gd name="connsiteY132" fmla="*/ 1971867 h 2476692"/>
                <a:gd name="connsiteX133" fmla="*/ 2124653 w 2674380"/>
                <a:gd name="connsiteY133" fmla="*/ 1986154 h 2476692"/>
                <a:gd name="connsiteX134" fmla="*/ 2105603 w 2674380"/>
                <a:gd name="connsiteY134" fmla="*/ 2005204 h 2476692"/>
                <a:gd name="connsiteX135" fmla="*/ 2072265 w 2674380"/>
                <a:gd name="connsiteY135" fmla="*/ 2038542 h 2476692"/>
                <a:gd name="connsiteX136" fmla="*/ 2057978 w 2674380"/>
                <a:gd name="connsiteY136" fmla="*/ 2048067 h 2476692"/>
                <a:gd name="connsiteX137" fmla="*/ 2029403 w 2674380"/>
                <a:gd name="connsiteY137" fmla="*/ 2052829 h 2476692"/>
                <a:gd name="connsiteX138" fmla="*/ 2019878 w 2674380"/>
                <a:gd name="connsiteY138" fmla="*/ 2009967 h 2476692"/>
                <a:gd name="connsiteX139" fmla="*/ 1991303 w 2674380"/>
                <a:gd name="connsiteY139" fmla="*/ 1986154 h 2476692"/>
                <a:gd name="connsiteX140" fmla="*/ 1962728 w 2674380"/>
                <a:gd name="connsiteY140" fmla="*/ 1976629 h 2476692"/>
                <a:gd name="connsiteX141" fmla="*/ 1948440 w 2674380"/>
                <a:gd name="connsiteY141" fmla="*/ 1990917 h 2476692"/>
                <a:gd name="connsiteX142" fmla="*/ 1910340 w 2674380"/>
                <a:gd name="connsiteY142" fmla="*/ 2000442 h 2476692"/>
                <a:gd name="connsiteX143" fmla="*/ 1891290 w 2674380"/>
                <a:gd name="connsiteY143" fmla="*/ 1971867 h 2476692"/>
                <a:gd name="connsiteX144" fmla="*/ 1886528 w 2674380"/>
                <a:gd name="connsiteY144" fmla="*/ 1952817 h 2476692"/>
                <a:gd name="connsiteX145" fmla="*/ 1881765 w 2674380"/>
                <a:gd name="connsiteY145" fmla="*/ 1929004 h 2476692"/>
                <a:gd name="connsiteX146" fmla="*/ 1877003 w 2674380"/>
                <a:gd name="connsiteY146" fmla="*/ 1886142 h 2476692"/>
                <a:gd name="connsiteX147" fmla="*/ 1862715 w 2674380"/>
                <a:gd name="connsiteY147" fmla="*/ 1871854 h 2476692"/>
                <a:gd name="connsiteX148" fmla="*/ 1853190 w 2674380"/>
                <a:gd name="connsiteY148" fmla="*/ 1857567 h 2476692"/>
                <a:gd name="connsiteX149" fmla="*/ 1824615 w 2674380"/>
                <a:gd name="connsiteY149" fmla="*/ 1838517 h 2476692"/>
                <a:gd name="connsiteX150" fmla="*/ 1819853 w 2674380"/>
                <a:gd name="connsiteY150" fmla="*/ 1819467 h 2476692"/>
                <a:gd name="connsiteX151" fmla="*/ 1834140 w 2674380"/>
                <a:gd name="connsiteY151" fmla="*/ 1814704 h 2476692"/>
                <a:gd name="connsiteX152" fmla="*/ 1848428 w 2674380"/>
                <a:gd name="connsiteY152" fmla="*/ 1809942 h 2476692"/>
                <a:gd name="connsiteX153" fmla="*/ 1862715 w 2674380"/>
                <a:gd name="connsiteY153" fmla="*/ 1805179 h 2476692"/>
                <a:gd name="connsiteX154" fmla="*/ 1891290 w 2674380"/>
                <a:gd name="connsiteY154" fmla="*/ 1795654 h 2476692"/>
                <a:gd name="connsiteX155" fmla="*/ 1896053 w 2674380"/>
                <a:gd name="connsiteY155" fmla="*/ 1781367 h 2476692"/>
                <a:gd name="connsiteX156" fmla="*/ 1900815 w 2674380"/>
                <a:gd name="connsiteY156" fmla="*/ 1762317 h 2476692"/>
                <a:gd name="connsiteX157" fmla="*/ 1891290 w 2674380"/>
                <a:gd name="connsiteY157" fmla="*/ 1676592 h 2476692"/>
                <a:gd name="connsiteX158" fmla="*/ 1719840 w 2674380"/>
                <a:gd name="connsiteY158" fmla="*/ 1671829 h 2476692"/>
                <a:gd name="connsiteX159" fmla="*/ 1710315 w 2674380"/>
                <a:gd name="connsiteY159" fmla="*/ 1690879 h 2476692"/>
                <a:gd name="connsiteX160" fmla="*/ 1696028 w 2674380"/>
                <a:gd name="connsiteY160" fmla="*/ 1709929 h 2476692"/>
                <a:gd name="connsiteX161" fmla="*/ 1681740 w 2674380"/>
                <a:gd name="connsiteY161" fmla="*/ 1724217 h 2476692"/>
                <a:gd name="connsiteX162" fmla="*/ 1676978 w 2674380"/>
                <a:gd name="connsiteY162" fmla="*/ 1738504 h 2476692"/>
                <a:gd name="connsiteX163" fmla="*/ 1667453 w 2674380"/>
                <a:gd name="connsiteY163" fmla="*/ 1762317 h 2476692"/>
                <a:gd name="connsiteX164" fmla="*/ 1643640 w 2674380"/>
                <a:gd name="connsiteY164" fmla="*/ 1795654 h 2476692"/>
                <a:gd name="connsiteX165" fmla="*/ 1291215 w 2674380"/>
                <a:gd name="connsiteY165" fmla="*/ 1938529 h 2476692"/>
                <a:gd name="connsiteX166" fmla="*/ 1162628 w 2674380"/>
                <a:gd name="connsiteY166" fmla="*/ 1833754 h 2476692"/>
                <a:gd name="connsiteX167" fmla="*/ 1091190 w 2674380"/>
                <a:gd name="connsiteY167" fmla="*/ 1843279 h 2476692"/>
                <a:gd name="connsiteX168" fmla="*/ 1014990 w 2674380"/>
                <a:gd name="connsiteY168" fmla="*/ 1786129 h 2476692"/>
                <a:gd name="connsiteX169" fmla="*/ 1024515 w 2674380"/>
                <a:gd name="connsiteY169" fmla="*/ 1733742 h 2476692"/>
                <a:gd name="connsiteX170" fmla="*/ 957840 w 2674380"/>
                <a:gd name="connsiteY170" fmla="*/ 1719454 h 2476692"/>
                <a:gd name="connsiteX171" fmla="*/ 767340 w 2674380"/>
                <a:gd name="connsiteY171" fmla="*/ 1671829 h 2476692"/>
                <a:gd name="connsiteX172" fmla="*/ 743528 w 2674380"/>
                <a:gd name="connsiteY172" fmla="*/ 1681354 h 2476692"/>
                <a:gd name="connsiteX173" fmla="*/ 729240 w 2674380"/>
                <a:gd name="connsiteY173" fmla="*/ 1686117 h 2476692"/>
                <a:gd name="connsiteX174" fmla="*/ 700665 w 2674380"/>
                <a:gd name="connsiteY174" fmla="*/ 1667067 h 2476692"/>
                <a:gd name="connsiteX175" fmla="*/ 657803 w 2674380"/>
                <a:gd name="connsiteY175" fmla="*/ 1624204 h 2476692"/>
                <a:gd name="connsiteX176" fmla="*/ 605415 w 2674380"/>
                <a:gd name="connsiteY176" fmla="*/ 1638492 h 2476692"/>
                <a:gd name="connsiteX177" fmla="*/ 533978 w 2674380"/>
                <a:gd name="connsiteY177" fmla="*/ 1543242 h 2476692"/>
                <a:gd name="connsiteX178" fmla="*/ 548265 w 2674380"/>
                <a:gd name="connsiteY178" fmla="*/ 1528954 h 2476692"/>
                <a:gd name="connsiteX179" fmla="*/ 567315 w 2674380"/>
                <a:gd name="connsiteY179" fmla="*/ 1514667 h 2476692"/>
                <a:gd name="connsiteX180" fmla="*/ 581603 w 2674380"/>
                <a:gd name="connsiteY180" fmla="*/ 1476567 h 2476692"/>
                <a:gd name="connsiteX181" fmla="*/ 567315 w 2674380"/>
                <a:gd name="connsiteY181" fmla="*/ 1471804 h 2476692"/>
                <a:gd name="connsiteX182" fmla="*/ 543503 w 2674380"/>
                <a:gd name="connsiteY182" fmla="*/ 1462279 h 2476692"/>
                <a:gd name="connsiteX183" fmla="*/ 562553 w 2674380"/>
                <a:gd name="connsiteY183" fmla="*/ 1428942 h 2476692"/>
                <a:gd name="connsiteX184" fmla="*/ 567315 w 2674380"/>
                <a:gd name="connsiteY184" fmla="*/ 1414654 h 2476692"/>
                <a:gd name="connsiteX185" fmla="*/ 586365 w 2674380"/>
                <a:gd name="connsiteY185" fmla="*/ 1386079 h 2476692"/>
                <a:gd name="connsiteX186" fmla="*/ 619703 w 2674380"/>
                <a:gd name="connsiteY186" fmla="*/ 1362267 h 2476692"/>
                <a:gd name="connsiteX187" fmla="*/ 633990 w 2674380"/>
                <a:gd name="connsiteY187" fmla="*/ 1343217 h 2476692"/>
                <a:gd name="connsiteX188" fmla="*/ 662565 w 2674380"/>
                <a:gd name="connsiteY188" fmla="*/ 1319404 h 2476692"/>
                <a:gd name="connsiteX189" fmla="*/ 667328 w 2674380"/>
                <a:gd name="connsiteY189" fmla="*/ 1281304 h 2476692"/>
                <a:gd name="connsiteX190" fmla="*/ 638753 w 2674380"/>
                <a:gd name="connsiteY190" fmla="*/ 1267017 h 2476692"/>
                <a:gd name="connsiteX191" fmla="*/ 633990 w 2674380"/>
                <a:gd name="connsiteY191" fmla="*/ 1252729 h 2476692"/>
                <a:gd name="connsiteX192" fmla="*/ 643515 w 2674380"/>
                <a:gd name="connsiteY192" fmla="*/ 1238442 h 2476692"/>
                <a:gd name="connsiteX193" fmla="*/ 672090 w 2674380"/>
                <a:gd name="connsiteY193" fmla="*/ 1219392 h 2476692"/>
                <a:gd name="connsiteX194" fmla="*/ 672090 w 2674380"/>
                <a:gd name="connsiteY194" fmla="*/ 1162242 h 2476692"/>
                <a:gd name="connsiteX195" fmla="*/ 662565 w 2674380"/>
                <a:gd name="connsiteY195" fmla="*/ 1147954 h 2476692"/>
                <a:gd name="connsiteX196" fmla="*/ 619703 w 2674380"/>
                <a:gd name="connsiteY196" fmla="*/ 1167004 h 2476692"/>
                <a:gd name="connsiteX197" fmla="*/ 610178 w 2674380"/>
                <a:gd name="connsiteY197" fmla="*/ 1152717 h 2476692"/>
                <a:gd name="connsiteX198" fmla="*/ 605415 w 2674380"/>
                <a:gd name="connsiteY198" fmla="*/ 1105092 h 2476692"/>
                <a:gd name="connsiteX199" fmla="*/ 595890 w 2674380"/>
                <a:gd name="connsiteY199" fmla="*/ 1086042 h 2476692"/>
                <a:gd name="connsiteX200" fmla="*/ 576840 w 2674380"/>
                <a:gd name="connsiteY200" fmla="*/ 1057467 h 2476692"/>
                <a:gd name="connsiteX201" fmla="*/ 572078 w 2674380"/>
                <a:gd name="connsiteY201" fmla="*/ 1043179 h 2476692"/>
                <a:gd name="connsiteX202" fmla="*/ 562553 w 2674380"/>
                <a:gd name="connsiteY202" fmla="*/ 962217 h 2476692"/>
                <a:gd name="connsiteX203" fmla="*/ 462540 w 2674380"/>
                <a:gd name="connsiteY203" fmla="*/ 1043179 h 2476692"/>
                <a:gd name="connsiteX204" fmla="*/ 433965 w 2674380"/>
                <a:gd name="connsiteY204" fmla="*/ 952692 h 2476692"/>
                <a:gd name="connsiteX205" fmla="*/ 343478 w 2674380"/>
                <a:gd name="connsiteY205" fmla="*/ 862204 h 2476692"/>
                <a:gd name="connsiteX206" fmla="*/ 262515 w 2674380"/>
                <a:gd name="connsiteY206" fmla="*/ 871729 h 2476692"/>
                <a:gd name="connsiteX207" fmla="*/ 205365 w 2674380"/>
                <a:gd name="connsiteY207" fmla="*/ 919354 h 2476692"/>
                <a:gd name="connsiteX208" fmla="*/ 95828 w 2674380"/>
                <a:gd name="connsiteY208" fmla="*/ 986029 h 2476692"/>
                <a:gd name="connsiteX209" fmla="*/ 24390 w 2674380"/>
                <a:gd name="connsiteY209" fmla="*/ 986029 h 2476692"/>
                <a:gd name="connsiteX210" fmla="*/ 14865 w 2674380"/>
                <a:gd name="connsiteY210" fmla="*/ 947929 h 2476692"/>
                <a:gd name="connsiteX211" fmla="*/ 578 w 2674380"/>
                <a:gd name="connsiteY211" fmla="*/ 933642 h 2476692"/>
                <a:gd name="connsiteX212" fmla="*/ 5340 w 2674380"/>
                <a:gd name="connsiteY212" fmla="*/ 890779 h 2476692"/>
                <a:gd name="connsiteX213" fmla="*/ 57728 w 2674380"/>
                <a:gd name="connsiteY213" fmla="*/ 781242 h 2476692"/>
                <a:gd name="connsiteX214" fmla="*/ 238703 w 2674380"/>
                <a:gd name="connsiteY214" fmla="*/ 543117 h 2476692"/>
                <a:gd name="connsiteX215" fmla="*/ 333953 w 2674380"/>
                <a:gd name="connsiteY215" fmla="*/ 543117 h 2476692"/>
                <a:gd name="connsiteX216" fmla="*/ 429203 w 2674380"/>
                <a:gd name="connsiteY216" fmla="*/ 524067 h 2476692"/>
                <a:gd name="connsiteX217" fmla="*/ 467303 w 2674380"/>
                <a:gd name="connsiteY217" fmla="*/ 538354 h 2476692"/>
                <a:gd name="connsiteX218" fmla="*/ 481590 w 2674380"/>
                <a:gd name="connsiteY218" fmla="*/ 528829 h 2476692"/>
                <a:gd name="connsiteX219" fmla="*/ 486353 w 2674380"/>
                <a:gd name="connsiteY219" fmla="*/ 514542 h 2476692"/>
                <a:gd name="connsiteX220" fmla="*/ 491115 w 2674380"/>
                <a:gd name="connsiteY220" fmla="*/ 466917 h 2476692"/>
                <a:gd name="connsiteX221" fmla="*/ 481590 w 2674380"/>
                <a:gd name="connsiteY221" fmla="*/ 438342 h 2476692"/>
                <a:gd name="connsiteX222" fmla="*/ 462540 w 2674380"/>
                <a:gd name="connsiteY222" fmla="*/ 409767 h 2476692"/>
                <a:gd name="connsiteX223" fmla="*/ 472065 w 2674380"/>
                <a:gd name="connsiteY223" fmla="*/ 347854 h 2476692"/>
                <a:gd name="connsiteX224" fmla="*/ 505403 w 2674380"/>
                <a:gd name="connsiteY224" fmla="*/ 295467 h 2476692"/>
                <a:gd name="connsiteX225" fmla="*/ 514928 w 2674380"/>
                <a:gd name="connsiteY225" fmla="*/ 281179 h 2476692"/>
                <a:gd name="connsiteX226" fmla="*/ 519690 w 2674380"/>
                <a:gd name="connsiteY226" fmla="*/ 257367 h 2476692"/>
                <a:gd name="connsiteX227" fmla="*/ 529215 w 2674380"/>
                <a:gd name="connsiteY227" fmla="*/ 243079 h 2476692"/>
                <a:gd name="connsiteX228" fmla="*/ 538740 w 2674380"/>
                <a:gd name="connsiteY228" fmla="*/ 204979 h 2476692"/>
                <a:gd name="connsiteX229" fmla="*/ 548265 w 2674380"/>
                <a:gd name="connsiteY229" fmla="*/ 185929 h 2476692"/>
                <a:gd name="connsiteX230" fmla="*/ 553028 w 2674380"/>
                <a:gd name="connsiteY230" fmla="*/ 171642 h 2476692"/>
                <a:gd name="connsiteX231" fmla="*/ 562553 w 2674380"/>
                <a:gd name="connsiteY231" fmla="*/ 157354 h 2476692"/>
                <a:gd name="connsiteX232" fmla="*/ 567315 w 2674380"/>
                <a:gd name="connsiteY232" fmla="*/ 133542 h 2476692"/>
                <a:gd name="connsiteX233" fmla="*/ 576840 w 2674380"/>
                <a:gd name="connsiteY233" fmla="*/ 100204 h 2476692"/>
                <a:gd name="connsiteX234" fmla="*/ 581603 w 2674380"/>
                <a:gd name="connsiteY234" fmla="*/ 81154 h 2476692"/>
                <a:gd name="connsiteX235" fmla="*/ 595890 w 2674380"/>
                <a:gd name="connsiteY235" fmla="*/ 33529 h 2476692"/>
                <a:gd name="connsiteX236" fmla="*/ 619703 w 2674380"/>
                <a:gd name="connsiteY236" fmla="*/ 192 h 2476692"/>
                <a:gd name="connsiteX237" fmla="*/ 621543 w 2674380"/>
                <a:gd name="connsiteY237" fmla="*/ 0 h 2476692"/>
                <a:gd name="connsiteX0" fmla="*/ 621543 w 2677903"/>
                <a:gd name="connsiteY0" fmla="*/ 0 h 2476692"/>
                <a:gd name="connsiteX1" fmla="*/ 637165 w 2677903"/>
                <a:gd name="connsiteY1" fmla="*/ 20829 h 2476692"/>
                <a:gd name="connsiteX2" fmla="*/ 643515 w 2677903"/>
                <a:gd name="connsiteY2" fmla="*/ 30354 h 2476692"/>
                <a:gd name="connsiteX3" fmla="*/ 646690 w 2677903"/>
                <a:gd name="connsiteY3" fmla="*/ 74804 h 2476692"/>
                <a:gd name="connsiteX4" fmla="*/ 656215 w 2677903"/>
                <a:gd name="connsiteY4" fmla="*/ 100204 h 2476692"/>
                <a:gd name="connsiteX5" fmla="*/ 757815 w 2677903"/>
                <a:gd name="connsiteY5" fmla="*/ 119254 h 2476692"/>
                <a:gd name="connsiteX6" fmla="*/ 780040 w 2677903"/>
                <a:gd name="connsiteY6" fmla="*/ 135129 h 2476692"/>
                <a:gd name="connsiteX7" fmla="*/ 789565 w 2677903"/>
                <a:gd name="connsiteY7" fmla="*/ 138304 h 2476692"/>
                <a:gd name="connsiteX8" fmla="*/ 808615 w 2677903"/>
                <a:gd name="connsiteY8" fmla="*/ 154179 h 2476692"/>
                <a:gd name="connsiteX9" fmla="*/ 824490 w 2677903"/>
                <a:gd name="connsiteY9" fmla="*/ 176404 h 2476692"/>
                <a:gd name="connsiteX10" fmla="*/ 827665 w 2677903"/>
                <a:gd name="connsiteY10" fmla="*/ 185929 h 2476692"/>
                <a:gd name="connsiteX11" fmla="*/ 853065 w 2677903"/>
                <a:gd name="connsiteY11" fmla="*/ 201804 h 2476692"/>
                <a:gd name="connsiteX12" fmla="*/ 929265 w 2677903"/>
                <a:gd name="connsiteY12" fmla="*/ 220854 h 2476692"/>
                <a:gd name="connsiteX13" fmla="*/ 957840 w 2677903"/>
                <a:gd name="connsiteY13" fmla="*/ 198629 h 2476692"/>
                <a:gd name="connsiteX14" fmla="*/ 980065 w 2677903"/>
                <a:gd name="connsiteY14" fmla="*/ 182754 h 2476692"/>
                <a:gd name="connsiteX15" fmla="*/ 989590 w 2677903"/>
                <a:gd name="connsiteY15" fmla="*/ 176404 h 2476692"/>
                <a:gd name="connsiteX16" fmla="*/ 1011815 w 2677903"/>
                <a:gd name="connsiteY16" fmla="*/ 173229 h 2476692"/>
                <a:gd name="connsiteX17" fmla="*/ 1027690 w 2677903"/>
                <a:gd name="connsiteY17" fmla="*/ 166879 h 2476692"/>
                <a:gd name="connsiteX18" fmla="*/ 1094365 w 2677903"/>
                <a:gd name="connsiteY18" fmla="*/ 220854 h 2476692"/>
                <a:gd name="connsiteX19" fmla="*/ 1186440 w 2677903"/>
                <a:gd name="connsiteY19" fmla="*/ 217679 h 2476692"/>
                <a:gd name="connsiteX20" fmla="*/ 1278515 w 2677903"/>
                <a:gd name="connsiteY20" fmla="*/ 170054 h 2476692"/>
                <a:gd name="connsiteX21" fmla="*/ 1326140 w 2677903"/>
                <a:gd name="connsiteY21" fmla="*/ 74804 h 2476692"/>
                <a:gd name="connsiteX22" fmla="*/ 1373765 w 2677903"/>
                <a:gd name="connsiteY22" fmla="*/ 122429 h 2476692"/>
                <a:gd name="connsiteX23" fmla="*/ 1459490 w 2677903"/>
                <a:gd name="connsiteY23" fmla="*/ 144654 h 2476692"/>
                <a:gd name="connsiteX24" fmla="*/ 1589665 w 2677903"/>
                <a:gd name="connsiteY24" fmla="*/ 144654 h 2476692"/>
                <a:gd name="connsiteX25" fmla="*/ 1697615 w 2677903"/>
                <a:gd name="connsiteY25" fmla="*/ 97029 h 2476692"/>
                <a:gd name="connsiteX26" fmla="*/ 1726190 w 2677903"/>
                <a:gd name="connsiteY26" fmla="*/ 103379 h 2476692"/>
                <a:gd name="connsiteX27" fmla="*/ 1738890 w 2677903"/>
                <a:gd name="connsiteY27" fmla="*/ 122429 h 2476692"/>
                <a:gd name="connsiteX28" fmla="*/ 1732540 w 2677903"/>
                <a:gd name="connsiteY28" fmla="*/ 141479 h 2476692"/>
                <a:gd name="connsiteX29" fmla="*/ 1723015 w 2677903"/>
                <a:gd name="connsiteY29" fmla="*/ 154179 h 2476692"/>
                <a:gd name="connsiteX30" fmla="*/ 1802390 w 2677903"/>
                <a:gd name="connsiteY30" fmla="*/ 144654 h 2476692"/>
                <a:gd name="connsiteX31" fmla="*/ 1824615 w 2677903"/>
                <a:gd name="connsiteY31" fmla="*/ 160529 h 2476692"/>
                <a:gd name="connsiteX32" fmla="*/ 1827790 w 2677903"/>
                <a:gd name="connsiteY32" fmla="*/ 195454 h 2476692"/>
                <a:gd name="connsiteX33" fmla="*/ 1834140 w 2677903"/>
                <a:gd name="connsiteY33" fmla="*/ 217679 h 2476692"/>
                <a:gd name="connsiteX34" fmla="*/ 1840490 w 2677903"/>
                <a:gd name="connsiteY34" fmla="*/ 230379 h 2476692"/>
                <a:gd name="connsiteX35" fmla="*/ 1846840 w 2677903"/>
                <a:gd name="connsiteY35" fmla="*/ 239904 h 2476692"/>
                <a:gd name="connsiteX36" fmla="*/ 1846840 w 2677903"/>
                <a:gd name="connsiteY36" fmla="*/ 249429 h 2476692"/>
                <a:gd name="connsiteX37" fmla="*/ 1916690 w 2677903"/>
                <a:gd name="connsiteY37" fmla="*/ 274829 h 2476692"/>
                <a:gd name="connsiteX38" fmla="*/ 1945265 w 2677903"/>
                <a:gd name="connsiteY38" fmla="*/ 268479 h 2476692"/>
                <a:gd name="connsiteX39" fmla="*/ 1961140 w 2677903"/>
                <a:gd name="connsiteY39" fmla="*/ 274829 h 2476692"/>
                <a:gd name="connsiteX40" fmla="*/ 1977015 w 2677903"/>
                <a:gd name="connsiteY40" fmla="*/ 293879 h 2476692"/>
                <a:gd name="connsiteX41" fmla="*/ 2002415 w 2677903"/>
                <a:gd name="connsiteY41" fmla="*/ 297054 h 2476692"/>
                <a:gd name="connsiteX42" fmla="*/ 2002415 w 2677903"/>
                <a:gd name="connsiteY42" fmla="*/ 344679 h 2476692"/>
                <a:gd name="connsiteX43" fmla="*/ 1998496 w 2677903"/>
                <a:gd name="connsiteY43" fmla="*/ 359366 h 2476692"/>
                <a:gd name="connsiteX44" fmla="*/ 1997699 w 2677903"/>
                <a:gd name="connsiteY44" fmla="*/ 359161 h 2476692"/>
                <a:gd name="connsiteX45" fmla="*/ 1996509 w 2677903"/>
                <a:gd name="connsiteY45" fmla="*/ 357863 h 2476692"/>
                <a:gd name="connsiteX46" fmla="*/ 1996082 w 2677903"/>
                <a:gd name="connsiteY46" fmla="*/ 354482 h 2476692"/>
                <a:gd name="connsiteX47" fmla="*/ 1996065 w 2677903"/>
                <a:gd name="connsiteY47" fmla="*/ 357379 h 2476692"/>
                <a:gd name="connsiteX48" fmla="*/ 1996509 w 2677903"/>
                <a:gd name="connsiteY48" fmla="*/ 357863 h 2476692"/>
                <a:gd name="connsiteX49" fmla="*/ 1996639 w 2677903"/>
                <a:gd name="connsiteY49" fmla="*/ 358889 h 2476692"/>
                <a:gd name="connsiteX50" fmla="*/ 1997699 w 2677903"/>
                <a:gd name="connsiteY50" fmla="*/ 359161 h 2476692"/>
                <a:gd name="connsiteX51" fmla="*/ 2030990 w 2677903"/>
                <a:gd name="connsiteY51" fmla="*/ 395479 h 2476692"/>
                <a:gd name="connsiteX52" fmla="*/ 2059565 w 2677903"/>
                <a:gd name="connsiteY52" fmla="*/ 385954 h 2476692"/>
                <a:gd name="connsiteX53" fmla="*/ 2069090 w 2677903"/>
                <a:gd name="connsiteY53" fmla="*/ 379604 h 2476692"/>
                <a:gd name="connsiteX54" fmla="*/ 2078615 w 2677903"/>
                <a:gd name="connsiteY54" fmla="*/ 376429 h 2476692"/>
                <a:gd name="connsiteX55" fmla="*/ 2116715 w 2677903"/>
                <a:gd name="connsiteY55" fmla="*/ 379604 h 2476692"/>
                <a:gd name="connsiteX56" fmla="*/ 2119890 w 2677903"/>
                <a:gd name="connsiteY56" fmla="*/ 411354 h 2476692"/>
                <a:gd name="connsiteX57" fmla="*/ 2129415 w 2677903"/>
                <a:gd name="connsiteY57" fmla="*/ 443104 h 2476692"/>
                <a:gd name="connsiteX58" fmla="*/ 2132590 w 2677903"/>
                <a:gd name="connsiteY58" fmla="*/ 452629 h 2476692"/>
                <a:gd name="connsiteX59" fmla="*/ 2135765 w 2677903"/>
                <a:gd name="connsiteY59" fmla="*/ 462154 h 2476692"/>
                <a:gd name="connsiteX60" fmla="*/ 2142115 w 2677903"/>
                <a:gd name="connsiteY60" fmla="*/ 493904 h 2476692"/>
                <a:gd name="connsiteX61" fmla="*/ 2138940 w 2677903"/>
                <a:gd name="connsiteY61" fmla="*/ 532004 h 2476692"/>
                <a:gd name="connsiteX62" fmla="*/ 2110365 w 2677903"/>
                <a:gd name="connsiteY62" fmla="*/ 547879 h 2476692"/>
                <a:gd name="connsiteX63" fmla="*/ 2097665 w 2677903"/>
                <a:gd name="connsiteY63" fmla="*/ 557404 h 2476692"/>
                <a:gd name="connsiteX64" fmla="*/ 2094490 w 2677903"/>
                <a:gd name="connsiteY64" fmla="*/ 582804 h 2476692"/>
                <a:gd name="connsiteX65" fmla="*/ 2104015 w 2677903"/>
                <a:gd name="connsiteY65" fmla="*/ 608204 h 2476692"/>
                <a:gd name="connsiteX66" fmla="*/ 2110365 w 2677903"/>
                <a:gd name="connsiteY66" fmla="*/ 617729 h 2476692"/>
                <a:gd name="connsiteX67" fmla="*/ 2116715 w 2677903"/>
                <a:gd name="connsiteY67" fmla="*/ 643129 h 2476692"/>
                <a:gd name="connsiteX68" fmla="*/ 2119890 w 2677903"/>
                <a:gd name="connsiteY68" fmla="*/ 719329 h 2476692"/>
                <a:gd name="connsiteX69" fmla="*/ 2123065 w 2677903"/>
                <a:gd name="connsiteY69" fmla="*/ 728854 h 2476692"/>
                <a:gd name="connsiteX70" fmla="*/ 2142115 w 2677903"/>
                <a:gd name="connsiteY70" fmla="*/ 741554 h 2476692"/>
                <a:gd name="connsiteX71" fmla="*/ 2161165 w 2677903"/>
                <a:gd name="connsiteY71" fmla="*/ 738379 h 2476692"/>
                <a:gd name="connsiteX72" fmla="*/ 2170690 w 2677903"/>
                <a:gd name="connsiteY72" fmla="*/ 732029 h 2476692"/>
                <a:gd name="connsiteX73" fmla="*/ 2183390 w 2677903"/>
                <a:gd name="connsiteY73" fmla="*/ 725679 h 2476692"/>
                <a:gd name="connsiteX74" fmla="*/ 2192915 w 2677903"/>
                <a:gd name="connsiteY74" fmla="*/ 719329 h 2476692"/>
                <a:gd name="connsiteX75" fmla="*/ 2211965 w 2677903"/>
                <a:gd name="connsiteY75" fmla="*/ 712979 h 2476692"/>
                <a:gd name="connsiteX76" fmla="*/ 2259590 w 2677903"/>
                <a:gd name="connsiteY76" fmla="*/ 716154 h 2476692"/>
                <a:gd name="connsiteX77" fmla="*/ 2262765 w 2677903"/>
                <a:gd name="connsiteY77" fmla="*/ 732029 h 2476692"/>
                <a:gd name="connsiteX78" fmla="*/ 2272290 w 2677903"/>
                <a:gd name="connsiteY78" fmla="*/ 751079 h 2476692"/>
                <a:gd name="connsiteX79" fmla="*/ 2297690 w 2677903"/>
                <a:gd name="connsiteY79" fmla="*/ 754254 h 2476692"/>
                <a:gd name="connsiteX80" fmla="*/ 2329440 w 2677903"/>
                <a:gd name="connsiteY80" fmla="*/ 738379 h 2476692"/>
                <a:gd name="connsiteX81" fmla="*/ 2338965 w 2677903"/>
                <a:gd name="connsiteY81" fmla="*/ 735204 h 2476692"/>
                <a:gd name="connsiteX82" fmla="*/ 2367540 w 2677903"/>
                <a:gd name="connsiteY82" fmla="*/ 722504 h 2476692"/>
                <a:gd name="connsiteX83" fmla="*/ 2377065 w 2677903"/>
                <a:gd name="connsiteY83" fmla="*/ 719329 h 2476692"/>
                <a:gd name="connsiteX84" fmla="*/ 2391809 w 2677903"/>
                <a:gd name="connsiteY84" fmla="*/ 719329 h 2476692"/>
                <a:gd name="connsiteX85" fmla="*/ 2672340 w 2677903"/>
                <a:gd name="connsiteY85" fmla="*/ 1724217 h 2476692"/>
                <a:gd name="connsiteX86" fmla="*/ 2555659 w 2677903"/>
                <a:gd name="connsiteY86" fmla="*/ 1909954 h 2476692"/>
                <a:gd name="connsiteX87" fmla="*/ 2527084 w 2677903"/>
                <a:gd name="connsiteY87" fmla="*/ 1995679 h 2476692"/>
                <a:gd name="connsiteX88" fmla="*/ 2503271 w 2677903"/>
                <a:gd name="connsiteY88" fmla="*/ 1986154 h 2476692"/>
                <a:gd name="connsiteX89" fmla="*/ 2472315 w 2677903"/>
                <a:gd name="connsiteY89" fmla="*/ 1971867 h 2476692"/>
                <a:gd name="connsiteX90" fmla="*/ 2436596 w 2677903"/>
                <a:gd name="connsiteY90" fmla="*/ 1986154 h 2476692"/>
                <a:gd name="connsiteX91" fmla="*/ 2450884 w 2677903"/>
                <a:gd name="connsiteY91" fmla="*/ 2017110 h 2476692"/>
                <a:gd name="connsiteX92" fmla="*/ 2465171 w 2677903"/>
                <a:gd name="connsiteY92" fmla="*/ 2057592 h 2476692"/>
                <a:gd name="connsiteX93" fmla="*/ 2455646 w 2677903"/>
                <a:gd name="connsiteY93" fmla="*/ 2121885 h 2476692"/>
                <a:gd name="connsiteX94" fmla="*/ 2410403 w 2677903"/>
                <a:gd name="connsiteY94" fmla="*/ 2152842 h 2476692"/>
                <a:gd name="connsiteX95" fmla="*/ 2458028 w 2677903"/>
                <a:gd name="connsiteY95" fmla="*/ 2186180 h 2476692"/>
                <a:gd name="connsiteX96" fmla="*/ 2448503 w 2677903"/>
                <a:gd name="connsiteY96" fmla="*/ 2226660 h 2476692"/>
                <a:gd name="connsiteX97" fmla="*/ 2410403 w 2677903"/>
                <a:gd name="connsiteY97" fmla="*/ 2262379 h 2476692"/>
                <a:gd name="connsiteX98" fmla="*/ 2388971 w 2677903"/>
                <a:gd name="connsiteY98" fmla="*/ 2331435 h 2476692"/>
                <a:gd name="connsiteX99" fmla="*/ 2405640 w 2677903"/>
                <a:gd name="connsiteY99" fmla="*/ 2381442 h 2476692"/>
                <a:gd name="connsiteX100" fmla="*/ 2391353 w 2677903"/>
                <a:gd name="connsiteY100" fmla="*/ 2414779 h 2476692"/>
                <a:gd name="connsiteX101" fmla="*/ 2334203 w 2677903"/>
                <a:gd name="connsiteY101" fmla="*/ 2433829 h 2476692"/>
                <a:gd name="connsiteX102" fmla="*/ 2305628 w 2677903"/>
                <a:gd name="connsiteY102" fmla="*/ 2443354 h 2476692"/>
                <a:gd name="connsiteX103" fmla="*/ 2296103 w 2677903"/>
                <a:gd name="connsiteY103" fmla="*/ 2457642 h 2476692"/>
                <a:gd name="connsiteX104" fmla="*/ 2262765 w 2677903"/>
                <a:gd name="connsiteY104" fmla="*/ 2462404 h 2476692"/>
                <a:gd name="connsiteX105" fmla="*/ 2229428 w 2677903"/>
                <a:gd name="connsiteY105" fmla="*/ 2438592 h 2476692"/>
                <a:gd name="connsiteX106" fmla="*/ 2215140 w 2677903"/>
                <a:gd name="connsiteY106" fmla="*/ 2433829 h 2476692"/>
                <a:gd name="connsiteX107" fmla="*/ 2205615 w 2677903"/>
                <a:gd name="connsiteY107" fmla="*/ 2457642 h 2476692"/>
                <a:gd name="connsiteX108" fmla="*/ 2191328 w 2677903"/>
                <a:gd name="connsiteY108" fmla="*/ 2467167 h 2476692"/>
                <a:gd name="connsiteX109" fmla="*/ 2153228 w 2677903"/>
                <a:gd name="connsiteY109" fmla="*/ 2476692 h 2476692"/>
                <a:gd name="connsiteX110" fmla="*/ 2134178 w 2677903"/>
                <a:gd name="connsiteY110" fmla="*/ 2448117 h 2476692"/>
                <a:gd name="connsiteX111" fmla="*/ 2124653 w 2677903"/>
                <a:gd name="connsiteY111" fmla="*/ 2433829 h 2476692"/>
                <a:gd name="connsiteX112" fmla="*/ 2119890 w 2677903"/>
                <a:gd name="connsiteY112" fmla="*/ 2352867 h 2476692"/>
                <a:gd name="connsiteX113" fmla="*/ 2124653 w 2677903"/>
                <a:gd name="connsiteY113" fmla="*/ 2338579 h 2476692"/>
                <a:gd name="connsiteX114" fmla="*/ 2167515 w 2677903"/>
                <a:gd name="connsiteY114" fmla="*/ 2290954 h 2476692"/>
                <a:gd name="connsiteX115" fmla="*/ 2177040 w 2677903"/>
                <a:gd name="connsiteY115" fmla="*/ 2276667 h 2476692"/>
                <a:gd name="connsiteX116" fmla="*/ 2153228 w 2677903"/>
                <a:gd name="connsiteY116" fmla="*/ 2248092 h 2476692"/>
                <a:gd name="connsiteX117" fmla="*/ 2134178 w 2677903"/>
                <a:gd name="connsiteY117" fmla="*/ 2238567 h 2476692"/>
                <a:gd name="connsiteX118" fmla="*/ 2129415 w 2677903"/>
                <a:gd name="connsiteY118" fmla="*/ 2214754 h 2476692"/>
                <a:gd name="connsiteX119" fmla="*/ 2148465 w 2677903"/>
                <a:gd name="connsiteY119" fmla="*/ 2186179 h 2476692"/>
                <a:gd name="connsiteX120" fmla="*/ 2167515 w 2677903"/>
                <a:gd name="connsiteY120" fmla="*/ 2190942 h 2476692"/>
                <a:gd name="connsiteX121" fmla="*/ 2229428 w 2677903"/>
                <a:gd name="connsiteY121" fmla="*/ 2186179 h 2476692"/>
                <a:gd name="connsiteX122" fmla="*/ 2234190 w 2677903"/>
                <a:gd name="connsiteY122" fmla="*/ 2171892 h 2476692"/>
                <a:gd name="connsiteX123" fmla="*/ 2224665 w 2677903"/>
                <a:gd name="connsiteY123" fmla="*/ 2143317 h 2476692"/>
                <a:gd name="connsiteX124" fmla="*/ 2210378 w 2677903"/>
                <a:gd name="connsiteY124" fmla="*/ 2129029 h 2476692"/>
                <a:gd name="connsiteX125" fmla="*/ 2191328 w 2677903"/>
                <a:gd name="connsiteY125" fmla="*/ 2119504 h 2476692"/>
                <a:gd name="connsiteX126" fmla="*/ 2162753 w 2677903"/>
                <a:gd name="connsiteY126" fmla="*/ 2114742 h 2476692"/>
                <a:gd name="connsiteX127" fmla="*/ 2157990 w 2677903"/>
                <a:gd name="connsiteY127" fmla="*/ 2095692 h 2476692"/>
                <a:gd name="connsiteX128" fmla="*/ 2181803 w 2677903"/>
                <a:gd name="connsiteY128" fmla="*/ 2062354 h 2476692"/>
                <a:gd name="connsiteX129" fmla="*/ 2191328 w 2677903"/>
                <a:gd name="connsiteY129" fmla="*/ 2048067 h 2476692"/>
                <a:gd name="connsiteX130" fmla="*/ 2196090 w 2677903"/>
                <a:gd name="connsiteY130" fmla="*/ 1986154 h 2476692"/>
                <a:gd name="connsiteX131" fmla="*/ 2186565 w 2677903"/>
                <a:gd name="connsiteY131" fmla="*/ 1957579 h 2476692"/>
                <a:gd name="connsiteX132" fmla="*/ 2162753 w 2677903"/>
                <a:gd name="connsiteY132" fmla="*/ 1952817 h 2476692"/>
                <a:gd name="connsiteX133" fmla="*/ 2134178 w 2677903"/>
                <a:gd name="connsiteY133" fmla="*/ 1971867 h 2476692"/>
                <a:gd name="connsiteX134" fmla="*/ 2124653 w 2677903"/>
                <a:gd name="connsiteY134" fmla="*/ 1986154 h 2476692"/>
                <a:gd name="connsiteX135" fmla="*/ 2105603 w 2677903"/>
                <a:gd name="connsiteY135" fmla="*/ 2005204 h 2476692"/>
                <a:gd name="connsiteX136" fmla="*/ 2072265 w 2677903"/>
                <a:gd name="connsiteY136" fmla="*/ 2038542 h 2476692"/>
                <a:gd name="connsiteX137" fmla="*/ 2057978 w 2677903"/>
                <a:gd name="connsiteY137" fmla="*/ 2048067 h 2476692"/>
                <a:gd name="connsiteX138" fmla="*/ 2029403 w 2677903"/>
                <a:gd name="connsiteY138" fmla="*/ 2052829 h 2476692"/>
                <a:gd name="connsiteX139" fmla="*/ 2019878 w 2677903"/>
                <a:gd name="connsiteY139" fmla="*/ 2009967 h 2476692"/>
                <a:gd name="connsiteX140" fmla="*/ 1991303 w 2677903"/>
                <a:gd name="connsiteY140" fmla="*/ 1986154 h 2476692"/>
                <a:gd name="connsiteX141" fmla="*/ 1962728 w 2677903"/>
                <a:gd name="connsiteY141" fmla="*/ 1976629 h 2476692"/>
                <a:gd name="connsiteX142" fmla="*/ 1948440 w 2677903"/>
                <a:gd name="connsiteY142" fmla="*/ 1990917 h 2476692"/>
                <a:gd name="connsiteX143" fmla="*/ 1910340 w 2677903"/>
                <a:gd name="connsiteY143" fmla="*/ 2000442 h 2476692"/>
                <a:gd name="connsiteX144" fmla="*/ 1891290 w 2677903"/>
                <a:gd name="connsiteY144" fmla="*/ 1971867 h 2476692"/>
                <a:gd name="connsiteX145" fmla="*/ 1886528 w 2677903"/>
                <a:gd name="connsiteY145" fmla="*/ 1952817 h 2476692"/>
                <a:gd name="connsiteX146" fmla="*/ 1881765 w 2677903"/>
                <a:gd name="connsiteY146" fmla="*/ 1929004 h 2476692"/>
                <a:gd name="connsiteX147" fmla="*/ 1877003 w 2677903"/>
                <a:gd name="connsiteY147" fmla="*/ 1886142 h 2476692"/>
                <a:gd name="connsiteX148" fmla="*/ 1862715 w 2677903"/>
                <a:gd name="connsiteY148" fmla="*/ 1871854 h 2476692"/>
                <a:gd name="connsiteX149" fmla="*/ 1853190 w 2677903"/>
                <a:gd name="connsiteY149" fmla="*/ 1857567 h 2476692"/>
                <a:gd name="connsiteX150" fmla="*/ 1824615 w 2677903"/>
                <a:gd name="connsiteY150" fmla="*/ 1838517 h 2476692"/>
                <a:gd name="connsiteX151" fmla="*/ 1819853 w 2677903"/>
                <a:gd name="connsiteY151" fmla="*/ 1819467 h 2476692"/>
                <a:gd name="connsiteX152" fmla="*/ 1834140 w 2677903"/>
                <a:gd name="connsiteY152" fmla="*/ 1814704 h 2476692"/>
                <a:gd name="connsiteX153" fmla="*/ 1848428 w 2677903"/>
                <a:gd name="connsiteY153" fmla="*/ 1809942 h 2476692"/>
                <a:gd name="connsiteX154" fmla="*/ 1862715 w 2677903"/>
                <a:gd name="connsiteY154" fmla="*/ 1805179 h 2476692"/>
                <a:gd name="connsiteX155" fmla="*/ 1891290 w 2677903"/>
                <a:gd name="connsiteY155" fmla="*/ 1795654 h 2476692"/>
                <a:gd name="connsiteX156" fmla="*/ 1896053 w 2677903"/>
                <a:gd name="connsiteY156" fmla="*/ 1781367 h 2476692"/>
                <a:gd name="connsiteX157" fmla="*/ 1900815 w 2677903"/>
                <a:gd name="connsiteY157" fmla="*/ 1762317 h 2476692"/>
                <a:gd name="connsiteX158" fmla="*/ 1891290 w 2677903"/>
                <a:gd name="connsiteY158" fmla="*/ 1676592 h 2476692"/>
                <a:gd name="connsiteX159" fmla="*/ 1719840 w 2677903"/>
                <a:gd name="connsiteY159" fmla="*/ 1671829 h 2476692"/>
                <a:gd name="connsiteX160" fmla="*/ 1710315 w 2677903"/>
                <a:gd name="connsiteY160" fmla="*/ 1690879 h 2476692"/>
                <a:gd name="connsiteX161" fmla="*/ 1696028 w 2677903"/>
                <a:gd name="connsiteY161" fmla="*/ 1709929 h 2476692"/>
                <a:gd name="connsiteX162" fmla="*/ 1681740 w 2677903"/>
                <a:gd name="connsiteY162" fmla="*/ 1724217 h 2476692"/>
                <a:gd name="connsiteX163" fmla="*/ 1676978 w 2677903"/>
                <a:gd name="connsiteY163" fmla="*/ 1738504 h 2476692"/>
                <a:gd name="connsiteX164" fmla="*/ 1667453 w 2677903"/>
                <a:gd name="connsiteY164" fmla="*/ 1762317 h 2476692"/>
                <a:gd name="connsiteX165" fmla="*/ 1643640 w 2677903"/>
                <a:gd name="connsiteY165" fmla="*/ 1795654 h 2476692"/>
                <a:gd name="connsiteX166" fmla="*/ 1291215 w 2677903"/>
                <a:gd name="connsiteY166" fmla="*/ 1938529 h 2476692"/>
                <a:gd name="connsiteX167" fmla="*/ 1162628 w 2677903"/>
                <a:gd name="connsiteY167" fmla="*/ 1833754 h 2476692"/>
                <a:gd name="connsiteX168" fmla="*/ 1091190 w 2677903"/>
                <a:gd name="connsiteY168" fmla="*/ 1843279 h 2476692"/>
                <a:gd name="connsiteX169" fmla="*/ 1014990 w 2677903"/>
                <a:gd name="connsiteY169" fmla="*/ 1786129 h 2476692"/>
                <a:gd name="connsiteX170" fmla="*/ 1024515 w 2677903"/>
                <a:gd name="connsiteY170" fmla="*/ 1733742 h 2476692"/>
                <a:gd name="connsiteX171" fmla="*/ 957840 w 2677903"/>
                <a:gd name="connsiteY171" fmla="*/ 1719454 h 2476692"/>
                <a:gd name="connsiteX172" fmla="*/ 767340 w 2677903"/>
                <a:gd name="connsiteY172" fmla="*/ 1671829 h 2476692"/>
                <a:gd name="connsiteX173" fmla="*/ 743528 w 2677903"/>
                <a:gd name="connsiteY173" fmla="*/ 1681354 h 2476692"/>
                <a:gd name="connsiteX174" fmla="*/ 729240 w 2677903"/>
                <a:gd name="connsiteY174" fmla="*/ 1686117 h 2476692"/>
                <a:gd name="connsiteX175" fmla="*/ 700665 w 2677903"/>
                <a:gd name="connsiteY175" fmla="*/ 1667067 h 2476692"/>
                <a:gd name="connsiteX176" fmla="*/ 657803 w 2677903"/>
                <a:gd name="connsiteY176" fmla="*/ 1624204 h 2476692"/>
                <a:gd name="connsiteX177" fmla="*/ 605415 w 2677903"/>
                <a:gd name="connsiteY177" fmla="*/ 1638492 h 2476692"/>
                <a:gd name="connsiteX178" fmla="*/ 533978 w 2677903"/>
                <a:gd name="connsiteY178" fmla="*/ 1543242 h 2476692"/>
                <a:gd name="connsiteX179" fmla="*/ 548265 w 2677903"/>
                <a:gd name="connsiteY179" fmla="*/ 1528954 h 2476692"/>
                <a:gd name="connsiteX180" fmla="*/ 567315 w 2677903"/>
                <a:gd name="connsiteY180" fmla="*/ 1514667 h 2476692"/>
                <a:gd name="connsiteX181" fmla="*/ 581603 w 2677903"/>
                <a:gd name="connsiteY181" fmla="*/ 1476567 h 2476692"/>
                <a:gd name="connsiteX182" fmla="*/ 567315 w 2677903"/>
                <a:gd name="connsiteY182" fmla="*/ 1471804 h 2476692"/>
                <a:gd name="connsiteX183" fmla="*/ 543503 w 2677903"/>
                <a:gd name="connsiteY183" fmla="*/ 1462279 h 2476692"/>
                <a:gd name="connsiteX184" fmla="*/ 562553 w 2677903"/>
                <a:gd name="connsiteY184" fmla="*/ 1428942 h 2476692"/>
                <a:gd name="connsiteX185" fmla="*/ 567315 w 2677903"/>
                <a:gd name="connsiteY185" fmla="*/ 1414654 h 2476692"/>
                <a:gd name="connsiteX186" fmla="*/ 586365 w 2677903"/>
                <a:gd name="connsiteY186" fmla="*/ 1386079 h 2476692"/>
                <a:gd name="connsiteX187" fmla="*/ 619703 w 2677903"/>
                <a:gd name="connsiteY187" fmla="*/ 1362267 h 2476692"/>
                <a:gd name="connsiteX188" fmla="*/ 633990 w 2677903"/>
                <a:gd name="connsiteY188" fmla="*/ 1343217 h 2476692"/>
                <a:gd name="connsiteX189" fmla="*/ 662565 w 2677903"/>
                <a:gd name="connsiteY189" fmla="*/ 1319404 h 2476692"/>
                <a:gd name="connsiteX190" fmla="*/ 667328 w 2677903"/>
                <a:gd name="connsiteY190" fmla="*/ 1281304 h 2476692"/>
                <a:gd name="connsiteX191" fmla="*/ 638753 w 2677903"/>
                <a:gd name="connsiteY191" fmla="*/ 1267017 h 2476692"/>
                <a:gd name="connsiteX192" fmla="*/ 633990 w 2677903"/>
                <a:gd name="connsiteY192" fmla="*/ 1252729 h 2476692"/>
                <a:gd name="connsiteX193" fmla="*/ 643515 w 2677903"/>
                <a:gd name="connsiteY193" fmla="*/ 1238442 h 2476692"/>
                <a:gd name="connsiteX194" fmla="*/ 672090 w 2677903"/>
                <a:gd name="connsiteY194" fmla="*/ 1219392 h 2476692"/>
                <a:gd name="connsiteX195" fmla="*/ 672090 w 2677903"/>
                <a:gd name="connsiteY195" fmla="*/ 1162242 h 2476692"/>
                <a:gd name="connsiteX196" fmla="*/ 662565 w 2677903"/>
                <a:gd name="connsiteY196" fmla="*/ 1147954 h 2476692"/>
                <a:gd name="connsiteX197" fmla="*/ 619703 w 2677903"/>
                <a:gd name="connsiteY197" fmla="*/ 1167004 h 2476692"/>
                <a:gd name="connsiteX198" fmla="*/ 610178 w 2677903"/>
                <a:gd name="connsiteY198" fmla="*/ 1152717 h 2476692"/>
                <a:gd name="connsiteX199" fmla="*/ 605415 w 2677903"/>
                <a:gd name="connsiteY199" fmla="*/ 1105092 h 2476692"/>
                <a:gd name="connsiteX200" fmla="*/ 595890 w 2677903"/>
                <a:gd name="connsiteY200" fmla="*/ 1086042 h 2476692"/>
                <a:gd name="connsiteX201" fmla="*/ 576840 w 2677903"/>
                <a:gd name="connsiteY201" fmla="*/ 1057467 h 2476692"/>
                <a:gd name="connsiteX202" fmla="*/ 572078 w 2677903"/>
                <a:gd name="connsiteY202" fmla="*/ 1043179 h 2476692"/>
                <a:gd name="connsiteX203" fmla="*/ 562553 w 2677903"/>
                <a:gd name="connsiteY203" fmla="*/ 962217 h 2476692"/>
                <a:gd name="connsiteX204" fmla="*/ 462540 w 2677903"/>
                <a:gd name="connsiteY204" fmla="*/ 1043179 h 2476692"/>
                <a:gd name="connsiteX205" fmla="*/ 433965 w 2677903"/>
                <a:gd name="connsiteY205" fmla="*/ 952692 h 2476692"/>
                <a:gd name="connsiteX206" fmla="*/ 343478 w 2677903"/>
                <a:gd name="connsiteY206" fmla="*/ 862204 h 2476692"/>
                <a:gd name="connsiteX207" fmla="*/ 262515 w 2677903"/>
                <a:gd name="connsiteY207" fmla="*/ 871729 h 2476692"/>
                <a:gd name="connsiteX208" fmla="*/ 205365 w 2677903"/>
                <a:gd name="connsiteY208" fmla="*/ 919354 h 2476692"/>
                <a:gd name="connsiteX209" fmla="*/ 95828 w 2677903"/>
                <a:gd name="connsiteY209" fmla="*/ 986029 h 2476692"/>
                <a:gd name="connsiteX210" fmla="*/ 24390 w 2677903"/>
                <a:gd name="connsiteY210" fmla="*/ 986029 h 2476692"/>
                <a:gd name="connsiteX211" fmla="*/ 14865 w 2677903"/>
                <a:gd name="connsiteY211" fmla="*/ 947929 h 2476692"/>
                <a:gd name="connsiteX212" fmla="*/ 578 w 2677903"/>
                <a:gd name="connsiteY212" fmla="*/ 933642 h 2476692"/>
                <a:gd name="connsiteX213" fmla="*/ 5340 w 2677903"/>
                <a:gd name="connsiteY213" fmla="*/ 890779 h 2476692"/>
                <a:gd name="connsiteX214" fmla="*/ 57728 w 2677903"/>
                <a:gd name="connsiteY214" fmla="*/ 781242 h 2476692"/>
                <a:gd name="connsiteX215" fmla="*/ 238703 w 2677903"/>
                <a:gd name="connsiteY215" fmla="*/ 543117 h 2476692"/>
                <a:gd name="connsiteX216" fmla="*/ 333953 w 2677903"/>
                <a:gd name="connsiteY216" fmla="*/ 543117 h 2476692"/>
                <a:gd name="connsiteX217" fmla="*/ 429203 w 2677903"/>
                <a:gd name="connsiteY217" fmla="*/ 524067 h 2476692"/>
                <a:gd name="connsiteX218" fmla="*/ 467303 w 2677903"/>
                <a:gd name="connsiteY218" fmla="*/ 538354 h 2476692"/>
                <a:gd name="connsiteX219" fmla="*/ 481590 w 2677903"/>
                <a:gd name="connsiteY219" fmla="*/ 528829 h 2476692"/>
                <a:gd name="connsiteX220" fmla="*/ 486353 w 2677903"/>
                <a:gd name="connsiteY220" fmla="*/ 514542 h 2476692"/>
                <a:gd name="connsiteX221" fmla="*/ 491115 w 2677903"/>
                <a:gd name="connsiteY221" fmla="*/ 466917 h 2476692"/>
                <a:gd name="connsiteX222" fmla="*/ 481590 w 2677903"/>
                <a:gd name="connsiteY222" fmla="*/ 438342 h 2476692"/>
                <a:gd name="connsiteX223" fmla="*/ 462540 w 2677903"/>
                <a:gd name="connsiteY223" fmla="*/ 409767 h 2476692"/>
                <a:gd name="connsiteX224" fmla="*/ 472065 w 2677903"/>
                <a:gd name="connsiteY224" fmla="*/ 347854 h 2476692"/>
                <a:gd name="connsiteX225" fmla="*/ 505403 w 2677903"/>
                <a:gd name="connsiteY225" fmla="*/ 295467 h 2476692"/>
                <a:gd name="connsiteX226" fmla="*/ 514928 w 2677903"/>
                <a:gd name="connsiteY226" fmla="*/ 281179 h 2476692"/>
                <a:gd name="connsiteX227" fmla="*/ 519690 w 2677903"/>
                <a:gd name="connsiteY227" fmla="*/ 257367 h 2476692"/>
                <a:gd name="connsiteX228" fmla="*/ 529215 w 2677903"/>
                <a:gd name="connsiteY228" fmla="*/ 243079 h 2476692"/>
                <a:gd name="connsiteX229" fmla="*/ 538740 w 2677903"/>
                <a:gd name="connsiteY229" fmla="*/ 204979 h 2476692"/>
                <a:gd name="connsiteX230" fmla="*/ 548265 w 2677903"/>
                <a:gd name="connsiteY230" fmla="*/ 185929 h 2476692"/>
                <a:gd name="connsiteX231" fmla="*/ 553028 w 2677903"/>
                <a:gd name="connsiteY231" fmla="*/ 171642 h 2476692"/>
                <a:gd name="connsiteX232" fmla="*/ 562553 w 2677903"/>
                <a:gd name="connsiteY232" fmla="*/ 157354 h 2476692"/>
                <a:gd name="connsiteX233" fmla="*/ 567315 w 2677903"/>
                <a:gd name="connsiteY233" fmla="*/ 133542 h 2476692"/>
                <a:gd name="connsiteX234" fmla="*/ 576840 w 2677903"/>
                <a:gd name="connsiteY234" fmla="*/ 100204 h 2476692"/>
                <a:gd name="connsiteX235" fmla="*/ 581603 w 2677903"/>
                <a:gd name="connsiteY235" fmla="*/ 81154 h 2476692"/>
                <a:gd name="connsiteX236" fmla="*/ 595890 w 2677903"/>
                <a:gd name="connsiteY236" fmla="*/ 33529 h 2476692"/>
                <a:gd name="connsiteX237" fmla="*/ 619703 w 2677903"/>
                <a:gd name="connsiteY237" fmla="*/ 192 h 2476692"/>
                <a:gd name="connsiteX238" fmla="*/ 621543 w 2677903"/>
                <a:gd name="connsiteY238" fmla="*/ 0 h 2476692"/>
                <a:gd name="connsiteX0" fmla="*/ 621543 w 2677368"/>
                <a:gd name="connsiteY0" fmla="*/ 0 h 2476692"/>
                <a:gd name="connsiteX1" fmla="*/ 637165 w 2677368"/>
                <a:gd name="connsiteY1" fmla="*/ 20829 h 2476692"/>
                <a:gd name="connsiteX2" fmla="*/ 643515 w 2677368"/>
                <a:gd name="connsiteY2" fmla="*/ 30354 h 2476692"/>
                <a:gd name="connsiteX3" fmla="*/ 646690 w 2677368"/>
                <a:gd name="connsiteY3" fmla="*/ 74804 h 2476692"/>
                <a:gd name="connsiteX4" fmla="*/ 656215 w 2677368"/>
                <a:gd name="connsiteY4" fmla="*/ 100204 h 2476692"/>
                <a:gd name="connsiteX5" fmla="*/ 757815 w 2677368"/>
                <a:gd name="connsiteY5" fmla="*/ 119254 h 2476692"/>
                <a:gd name="connsiteX6" fmla="*/ 780040 w 2677368"/>
                <a:gd name="connsiteY6" fmla="*/ 135129 h 2476692"/>
                <a:gd name="connsiteX7" fmla="*/ 789565 w 2677368"/>
                <a:gd name="connsiteY7" fmla="*/ 138304 h 2476692"/>
                <a:gd name="connsiteX8" fmla="*/ 808615 w 2677368"/>
                <a:gd name="connsiteY8" fmla="*/ 154179 h 2476692"/>
                <a:gd name="connsiteX9" fmla="*/ 824490 w 2677368"/>
                <a:gd name="connsiteY9" fmla="*/ 176404 h 2476692"/>
                <a:gd name="connsiteX10" fmla="*/ 827665 w 2677368"/>
                <a:gd name="connsiteY10" fmla="*/ 185929 h 2476692"/>
                <a:gd name="connsiteX11" fmla="*/ 853065 w 2677368"/>
                <a:gd name="connsiteY11" fmla="*/ 201804 h 2476692"/>
                <a:gd name="connsiteX12" fmla="*/ 929265 w 2677368"/>
                <a:gd name="connsiteY12" fmla="*/ 220854 h 2476692"/>
                <a:gd name="connsiteX13" fmla="*/ 957840 w 2677368"/>
                <a:gd name="connsiteY13" fmla="*/ 198629 h 2476692"/>
                <a:gd name="connsiteX14" fmla="*/ 980065 w 2677368"/>
                <a:gd name="connsiteY14" fmla="*/ 182754 h 2476692"/>
                <a:gd name="connsiteX15" fmla="*/ 989590 w 2677368"/>
                <a:gd name="connsiteY15" fmla="*/ 176404 h 2476692"/>
                <a:gd name="connsiteX16" fmla="*/ 1011815 w 2677368"/>
                <a:gd name="connsiteY16" fmla="*/ 173229 h 2476692"/>
                <a:gd name="connsiteX17" fmla="*/ 1027690 w 2677368"/>
                <a:gd name="connsiteY17" fmla="*/ 166879 h 2476692"/>
                <a:gd name="connsiteX18" fmla="*/ 1094365 w 2677368"/>
                <a:gd name="connsiteY18" fmla="*/ 220854 h 2476692"/>
                <a:gd name="connsiteX19" fmla="*/ 1186440 w 2677368"/>
                <a:gd name="connsiteY19" fmla="*/ 217679 h 2476692"/>
                <a:gd name="connsiteX20" fmla="*/ 1278515 w 2677368"/>
                <a:gd name="connsiteY20" fmla="*/ 170054 h 2476692"/>
                <a:gd name="connsiteX21" fmla="*/ 1326140 w 2677368"/>
                <a:gd name="connsiteY21" fmla="*/ 74804 h 2476692"/>
                <a:gd name="connsiteX22" fmla="*/ 1373765 w 2677368"/>
                <a:gd name="connsiteY22" fmla="*/ 122429 h 2476692"/>
                <a:gd name="connsiteX23" fmla="*/ 1459490 w 2677368"/>
                <a:gd name="connsiteY23" fmla="*/ 144654 h 2476692"/>
                <a:gd name="connsiteX24" fmla="*/ 1589665 w 2677368"/>
                <a:gd name="connsiteY24" fmla="*/ 144654 h 2476692"/>
                <a:gd name="connsiteX25" fmla="*/ 1697615 w 2677368"/>
                <a:gd name="connsiteY25" fmla="*/ 97029 h 2476692"/>
                <a:gd name="connsiteX26" fmla="*/ 1726190 w 2677368"/>
                <a:gd name="connsiteY26" fmla="*/ 103379 h 2476692"/>
                <a:gd name="connsiteX27" fmla="*/ 1738890 w 2677368"/>
                <a:gd name="connsiteY27" fmla="*/ 122429 h 2476692"/>
                <a:gd name="connsiteX28" fmla="*/ 1732540 w 2677368"/>
                <a:gd name="connsiteY28" fmla="*/ 141479 h 2476692"/>
                <a:gd name="connsiteX29" fmla="*/ 1723015 w 2677368"/>
                <a:gd name="connsiteY29" fmla="*/ 154179 h 2476692"/>
                <a:gd name="connsiteX30" fmla="*/ 1802390 w 2677368"/>
                <a:gd name="connsiteY30" fmla="*/ 144654 h 2476692"/>
                <a:gd name="connsiteX31" fmla="*/ 1824615 w 2677368"/>
                <a:gd name="connsiteY31" fmla="*/ 160529 h 2476692"/>
                <a:gd name="connsiteX32" fmla="*/ 1827790 w 2677368"/>
                <a:gd name="connsiteY32" fmla="*/ 195454 h 2476692"/>
                <a:gd name="connsiteX33" fmla="*/ 1834140 w 2677368"/>
                <a:gd name="connsiteY33" fmla="*/ 217679 h 2476692"/>
                <a:gd name="connsiteX34" fmla="*/ 1840490 w 2677368"/>
                <a:gd name="connsiteY34" fmla="*/ 230379 h 2476692"/>
                <a:gd name="connsiteX35" fmla="*/ 1846840 w 2677368"/>
                <a:gd name="connsiteY35" fmla="*/ 239904 h 2476692"/>
                <a:gd name="connsiteX36" fmla="*/ 1846840 w 2677368"/>
                <a:gd name="connsiteY36" fmla="*/ 249429 h 2476692"/>
                <a:gd name="connsiteX37" fmla="*/ 1916690 w 2677368"/>
                <a:gd name="connsiteY37" fmla="*/ 274829 h 2476692"/>
                <a:gd name="connsiteX38" fmla="*/ 1945265 w 2677368"/>
                <a:gd name="connsiteY38" fmla="*/ 268479 h 2476692"/>
                <a:gd name="connsiteX39" fmla="*/ 1961140 w 2677368"/>
                <a:gd name="connsiteY39" fmla="*/ 274829 h 2476692"/>
                <a:gd name="connsiteX40" fmla="*/ 1977015 w 2677368"/>
                <a:gd name="connsiteY40" fmla="*/ 293879 h 2476692"/>
                <a:gd name="connsiteX41" fmla="*/ 2002415 w 2677368"/>
                <a:gd name="connsiteY41" fmla="*/ 297054 h 2476692"/>
                <a:gd name="connsiteX42" fmla="*/ 2002415 w 2677368"/>
                <a:gd name="connsiteY42" fmla="*/ 344679 h 2476692"/>
                <a:gd name="connsiteX43" fmla="*/ 1998496 w 2677368"/>
                <a:gd name="connsiteY43" fmla="*/ 359366 h 2476692"/>
                <a:gd name="connsiteX44" fmla="*/ 1997699 w 2677368"/>
                <a:gd name="connsiteY44" fmla="*/ 359161 h 2476692"/>
                <a:gd name="connsiteX45" fmla="*/ 1996509 w 2677368"/>
                <a:gd name="connsiteY45" fmla="*/ 357863 h 2476692"/>
                <a:gd name="connsiteX46" fmla="*/ 1996082 w 2677368"/>
                <a:gd name="connsiteY46" fmla="*/ 354482 h 2476692"/>
                <a:gd name="connsiteX47" fmla="*/ 1996065 w 2677368"/>
                <a:gd name="connsiteY47" fmla="*/ 357379 h 2476692"/>
                <a:gd name="connsiteX48" fmla="*/ 1996509 w 2677368"/>
                <a:gd name="connsiteY48" fmla="*/ 357863 h 2476692"/>
                <a:gd name="connsiteX49" fmla="*/ 1996639 w 2677368"/>
                <a:gd name="connsiteY49" fmla="*/ 358889 h 2476692"/>
                <a:gd name="connsiteX50" fmla="*/ 1997699 w 2677368"/>
                <a:gd name="connsiteY50" fmla="*/ 359161 h 2476692"/>
                <a:gd name="connsiteX51" fmla="*/ 2030990 w 2677368"/>
                <a:gd name="connsiteY51" fmla="*/ 395479 h 2476692"/>
                <a:gd name="connsiteX52" fmla="*/ 2059565 w 2677368"/>
                <a:gd name="connsiteY52" fmla="*/ 385954 h 2476692"/>
                <a:gd name="connsiteX53" fmla="*/ 2069090 w 2677368"/>
                <a:gd name="connsiteY53" fmla="*/ 379604 h 2476692"/>
                <a:gd name="connsiteX54" fmla="*/ 2078615 w 2677368"/>
                <a:gd name="connsiteY54" fmla="*/ 376429 h 2476692"/>
                <a:gd name="connsiteX55" fmla="*/ 2116715 w 2677368"/>
                <a:gd name="connsiteY55" fmla="*/ 379604 h 2476692"/>
                <a:gd name="connsiteX56" fmla="*/ 2119890 w 2677368"/>
                <a:gd name="connsiteY56" fmla="*/ 411354 h 2476692"/>
                <a:gd name="connsiteX57" fmla="*/ 2129415 w 2677368"/>
                <a:gd name="connsiteY57" fmla="*/ 443104 h 2476692"/>
                <a:gd name="connsiteX58" fmla="*/ 2132590 w 2677368"/>
                <a:gd name="connsiteY58" fmla="*/ 452629 h 2476692"/>
                <a:gd name="connsiteX59" fmla="*/ 2135765 w 2677368"/>
                <a:gd name="connsiteY59" fmla="*/ 462154 h 2476692"/>
                <a:gd name="connsiteX60" fmla="*/ 2142115 w 2677368"/>
                <a:gd name="connsiteY60" fmla="*/ 493904 h 2476692"/>
                <a:gd name="connsiteX61" fmla="*/ 2138940 w 2677368"/>
                <a:gd name="connsiteY61" fmla="*/ 532004 h 2476692"/>
                <a:gd name="connsiteX62" fmla="*/ 2110365 w 2677368"/>
                <a:gd name="connsiteY62" fmla="*/ 547879 h 2476692"/>
                <a:gd name="connsiteX63" fmla="*/ 2097665 w 2677368"/>
                <a:gd name="connsiteY63" fmla="*/ 557404 h 2476692"/>
                <a:gd name="connsiteX64" fmla="*/ 2094490 w 2677368"/>
                <a:gd name="connsiteY64" fmla="*/ 582804 h 2476692"/>
                <a:gd name="connsiteX65" fmla="*/ 2104015 w 2677368"/>
                <a:gd name="connsiteY65" fmla="*/ 608204 h 2476692"/>
                <a:gd name="connsiteX66" fmla="*/ 2110365 w 2677368"/>
                <a:gd name="connsiteY66" fmla="*/ 617729 h 2476692"/>
                <a:gd name="connsiteX67" fmla="*/ 2116715 w 2677368"/>
                <a:gd name="connsiteY67" fmla="*/ 643129 h 2476692"/>
                <a:gd name="connsiteX68" fmla="*/ 2119890 w 2677368"/>
                <a:gd name="connsiteY68" fmla="*/ 719329 h 2476692"/>
                <a:gd name="connsiteX69" fmla="*/ 2123065 w 2677368"/>
                <a:gd name="connsiteY69" fmla="*/ 728854 h 2476692"/>
                <a:gd name="connsiteX70" fmla="*/ 2142115 w 2677368"/>
                <a:gd name="connsiteY70" fmla="*/ 741554 h 2476692"/>
                <a:gd name="connsiteX71" fmla="*/ 2161165 w 2677368"/>
                <a:gd name="connsiteY71" fmla="*/ 738379 h 2476692"/>
                <a:gd name="connsiteX72" fmla="*/ 2170690 w 2677368"/>
                <a:gd name="connsiteY72" fmla="*/ 732029 h 2476692"/>
                <a:gd name="connsiteX73" fmla="*/ 2183390 w 2677368"/>
                <a:gd name="connsiteY73" fmla="*/ 725679 h 2476692"/>
                <a:gd name="connsiteX74" fmla="*/ 2192915 w 2677368"/>
                <a:gd name="connsiteY74" fmla="*/ 719329 h 2476692"/>
                <a:gd name="connsiteX75" fmla="*/ 2211965 w 2677368"/>
                <a:gd name="connsiteY75" fmla="*/ 712979 h 2476692"/>
                <a:gd name="connsiteX76" fmla="*/ 2259590 w 2677368"/>
                <a:gd name="connsiteY76" fmla="*/ 716154 h 2476692"/>
                <a:gd name="connsiteX77" fmla="*/ 2262765 w 2677368"/>
                <a:gd name="connsiteY77" fmla="*/ 732029 h 2476692"/>
                <a:gd name="connsiteX78" fmla="*/ 2272290 w 2677368"/>
                <a:gd name="connsiteY78" fmla="*/ 751079 h 2476692"/>
                <a:gd name="connsiteX79" fmla="*/ 2297690 w 2677368"/>
                <a:gd name="connsiteY79" fmla="*/ 754254 h 2476692"/>
                <a:gd name="connsiteX80" fmla="*/ 2329440 w 2677368"/>
                <a:gd name="connsiteY80" fmla="*/ 738379 h 2476692"/>
                <a:gd name="connsiteX81" fmla="*/ 2338965 w 2677368"/>
                <a:gd name="connsiteY81" fmla="*/ 735204 h 2476692"/>
                <a:gd name="connsiteX82" fmla="*/ 2367540 w 2677368"/>
                <a:gd name="connsiteY82" fmla="*/ 722504 h 2476692"/>
                <a:gd name="connsiteX83" fmla="*/ 2377065 w 2677368"/>
                <a:gd name="connsiteY83" fmla="*/ 719329 h 2476692"/>
                <a:gd name="connsiteX84" fmla="*/ 2391809 w 2677368"/>
                <a:gd name="connsiteY84" fmla="*/ 719329 h 2476692"/>
                <a:gd name="connsiteX85" fmla="*/ 2672340 w 2677368"/>
                <a:gd name="connsiteY85" fmla="*/ 1724217 h 2476692"/>
                <a:gd name="connsiteX86" fmla="*/ 2512796 w 2677368"/>
                <a:gd name="connsiteY86" fmla="*/ 1824229 h 2476692"/>
                <a:gd name="connsiteX87" fmla="*/ 2555659 w 2677368"/>
                <a:gd name="connsiteY87" fmla="*/ 1909954 h 2476692"/>
                <a:gd name="connsiteX88" fmla="*/ 2527084 w 2677368"/>
                <a:gd name="connsiteY88" fmla="*/ 1995679 h 2476692"/>
                <a:gd name="connsiteX89" fmla="*/ 2503271 w 2677368"/>
                <a:gd name="connsiteY89" fmla="*/ 1986154 h 2476692"/>
                <a:gd name="connsiteX90" fmla="*/ 2472315 w 2677368"/>
                <a:gd name="connsiteY90" fmla="*/ 1971867 h 2476692"/>
                <a:gd name="connsiteX91" fmla="*/ 2436596 w 2677368"/>
                <a:gd name="connsiteY91" fmla="*/ 1986154 h 2476692"/>
                <a:gd name="connsiteX92" fmla="*/ 2450884 w 2677368"/>
                <a:gd name="connsiteY92" fmla="*/ 2017110 h 2476692"/>
                <a:gd name="connsiteX93" fmla="*/ 2465171 w 2677368"/>
                <a:gd name="connsiteY93" fmla="*/ 2057592 h 2476692"/>
                <a:gd name="connsiteX94" fmla="*/ 2455646 w 2677368"/>
                <a:gd name="connsiteY94" fmla="*/ 2121885 h 2476692"/>
                <a:gd name="connsiteX95" fmla="*/ 2410403 w 2677368"/>
                <a:gd name="connsiteY95" fmla="*/ 2152842 h 2476692"/>
                <a:gd name="connsiteX96" fmla="*/ 2458028 w 2677368"/>
                <a:gd name="connsiteY96" fmla="*/ 2186180 h 2476692"/>
                <a:gd name="connsiteX97" fmla="*/ 2448503 w 2677368"/>
                <a:gd name="connsiteY97" fmla="*/ 2226660 h 2476692"/>
                <a:gd name="connsiteX98" fmla="*/ 2410403 w 2677368"/>
                <a:gd name="connsiteY98" fmla="*/ 2262379 h 2476692"/>
                <a:gd name="connsiteX99" fmla="*/ 2388971 w 2677368"/>
                <a:gd name="connsiteY99" fmla="*/ 2331435 h 2476692"/>
                <a:gd name="connsiteX100" fmla="*/ 2405640 w 2677368"/>
                <a:gd name="connsiteY100" fmla="*/ 2381442 h 2476692"/>
                <a:gd name="connsiteX101" fmla="*/ 2391353 w 2677368"/>
                <a:gd name="connsiteY101" fmla="*/ 2414779 h 2476692"/>
                <a:gd name="connsiteX102" fmla="*/ 2334203 w 2677368"/>
                <a:gd name="connsiteY102" fmla="*/ 2433829 h 2476692"/>
                <a:gd name="connsiteX103" fmla="*/ 2305628 w 2677368"/>
                <a:gd name="connsiteY103" fmla="*/ 2443354 h 2476692"/>
                <a:gd name="connsiteX104" fmla="*/ 2296103 w 2677368"/>
                <a:gd name="connsiteY104" fmla="*/ 2457642 h 2476692"/>
                <a:gd name="connsiteX105" fmla="*/ 2262765 w 2677368"/>
                <a:gd name="connsiteY105" fmla="*/ 2462404 h 2476692"/>
                <a:gd name="connsiteX106" fmla="*/ 2229428 w 2677368"/>
                <a:gd name="connsiteY106" fmla="*/ 2438592 h 2476692"/>
                <a:gd name="connsiteX107" fmla="*/ 2215140 w 2677368"/>
                <a:gd name="connsiteY107" fmla="*/ 2433829 h 2476692"/>
                <a:gd name="connsiteX108" fmla="*/ 2205615 w 2677368"/>
                <a:gd name="connsiteY108" fmla="*/ 2457642 h 2476692"/>
                <a:gd name="connsiteX109" fmla="*/ 2191328 w 2677368"/>
                <a:gd name="connsiteY109" fmla="*/ 2467167 h 2476692"/>
                <a:gd name="connsiteX110" fmla="*/ 2153228 w 2677368"/>
                <a:gd name="connsiteY110" fmla="*/ 2476692 h 2476692"/>
                <a:gd name="connsiteX111" fmla="*/ 2134178 w 2677368"/>
                <a:gd name="connsiteY111" fmla="*/ 2448117 h 2476692"/>
                <a:gd name="connsiteX112" fmla="*/ 2124653 w 2677368"/>
                <a:gd name="connsiteY112" fmla="*/ 2433829 h 2476692"/>
                <a:gd name="connsiteX113" fmla="*/ 2119890 w 2677368"/>
                <a:gd name="connsiteY113" fmla="*/ 2352867 h 2476692"/>
                <a:gd name="connsiteX114" fmla="*/ 2124653 w 2677368"/>
                <a:gd name="connsiteY114" fmla="*/ 2338579 h 2476692"/>
                <a:gd name="connsiteX115" fmla="*/ 2167515 w 2677368"/>
                <a:gd name="connsiteY115" fmla="*/ 2290954 h 2476692"/>
                <a:gd name="connsiteX116" fmla="*/ 2177040 w 2677368"/>
                <a:gd name="connsiteY116" fmla="*/ 2276667 h 2476692"/>
                <a:gd name="connsiteX117" fmla="*/ 2153228 w 2677368"/>
                <a:gd name="connsiteY117" fmla="*/ 2248092 h 2476692"/>
                <a:gd name="connsiteX118" fmla="*/ 2134178 w 2677368"/>
                <a:gd name="connsiteY118" fmla="*/ 2238567 h 2476692"/>
                <a:gd name="connsiteX119" fmla="*/ 2129415 w 2677368"/>
                <a:gd name="connsiteY119" fmla="*/ 2214754 h 2476692"/>
                <a:gd name="connsiteX120" fmla="*/ 2148465 w 2677368"/>
                <a:gd name="connsiteY120" fmla="*/ 2186179 h 2476692"/>
                <a:gd name="connsiteX121" fmla="*/ 2167515 w 2677368"/>
                <a:gd name="connsiteY121" fmla="*/ 2190942 h 2476692"/>
                <a:gd name="connsiteX122" fmla="*/ 2229428 w 2677368"/>
                <a:gd name="connsiteY122" fmla="*/ 2186179 h 2476692"/>
                <a:gd name="connsiteX123" fmla="*/ 2234190 w 2677368"/>
                <a:gd name="connsiteY123" fmla="*/ 2171892 h 2476692"/>
                <a:gd name="connsiteX124" fmla="*/ 2224665 w 2677368"/>
                <a:gd name="connsiteY124" fmla="*/ 2143317 h 2476692"/>
                <a:gd name="connsiteX125" fmla="*/ 2210378 w 2677368"/>
                <a:gd name="connsiteY125" fmla="*/ 2129029 h 2476692"/>
                <a:gd name="connsiteX126" fmla="*/ 2191328 w 2677368"/>
                <a:gd name="connsiteY126" fmla="*/ 2119504 h 2476692"/>
                <a:gd name="connsiteX127" fmla="*/ 2162753 w 2677368"/>
                <a:gd name="connsiteY127" fmla="*/ 2114742 h 2476692"/>
                <a:gd name="connsiteX128" fmla="*/ 2157990 w 2677368"/>
                <a:gd name="connsiteY128" fmla="*/ 2095692 h 2476692"/>
                <a:gd name="connsiteX129" fmla="*/ 2181803 w 2677368"/>
                <a:gd name="connsiteY129" fmla="*/ 2062354 h 2476692"/>
                <a:gd name="connsiteX130" fmla="*/ 2191328 w 2677368"/>
                <a:gd name="connsiteY130" fmla="*/ 2048067 h 2476692"/>
                <a:gd name="connsiteX131" fmla="*/ 2196090 w 2677368"/>
                <a:gd name="connsiteY131" fmla="*/ 1986154 h 2476692"/>
                <a:gd name="connsiteX132" fmla="*/ 2186565 w 2677368"/>
                <a:gd name="connsiteY132" fmla="*/ 1957579 h 2476692"/>
                <a:gd name="connsiteX133" fmla="*/ 2162753 w 2677368"/>
                <a:gd name="connsiteY133" fmla="*/ 1952817 h 2476692"/>
                <a:gd name="connsiteX134" fmla="*/ 2134178 w 2677368"/>
                <a:gd name="connsiteY134" fmla="*/ 1971867 h 2476692"/>
                <a:gd name="connsiteX135" fmla="*/ 2124653 w 2677368"/>
                <a:gd name="connsiteY135" fmla="*/ 1986154 h 2476692"/>
                <a:gd name="connsiteX136" fmla="*/ 2105603 w 2677368"/>
                <a:gd name="connsiteY136" fmla="*/ 2005204 h 2476692"/>
                <a:gd name="connsiteX137" fmla="*/ 2072265 w 2677368"/>
                <a:gd name="connsiteY137" fmla="*/ 2038542 h 2476692"/>
                <a:gd name="connsiteX138" fmla="*/ 2057978 w 2677368"/>
                <a:gd name="connsiteY138" fmla="*/ 2048067 h 2476692"/>
                <a:gd name="connsiteX139" fmla="*/ 2029403 w 2677368"/>
                <a:gd name="connsiteY139" fmla="*/ 2052829 h 2476692"/>
                <a:gd name="connsiteX140" fmla="*/ 2019878 w 2677368"/>
                <a:gd name="connsiteY140" fmla="*/ 2009967 h 2476692"/>
                <a:gd name="connsiteX141" fmla="*/ 1991303 w 2677368"/>
                <a:gd name="connsiteY141" fmla="*/ 1986154 h 2476692"/>
                <a:gd name="connsiteX142" fmla="*/ 1962728 w 2677368"/>
                <a:gd name="connsiteY142" fmla="*/ 1976629 h 2476692"/>
                <a:gd name="connsiteX143" fmla="*/ 1948440 w 2677368"/>
                <a:gd name="connsiteY143" fmla="*/ 1990917 h 2476692"/>
                <a:gd name="connsiteX144" fmla="*/ 1910340 w 2677368"/>
                <a:gd name="connsiteY144" fmla="*/ 2000442 h 2476692"/>
                <a:gd name="connsiteX145" fmla="*/ 1891290 w 2677368"/>
                <a:gd name="connsiteY145" fmla="*/ 1971867 h 2476692"/>
                <a:gd name="connsiteX146" fmla="*/ 1886528 w 2677368"/>
                <a:gd name="connsiteY146" fmla="*/ 1952817 h 2476692"/>
                <a:gd name="connsiteX147" fmla="*/ 1881765 w 2677368"/>
                <a:gd name="connsiteY147" fmla="*/ 1929004 h 2476692"/>
                <a:gd name="connsiteX148" fmla="*/ 1877003 w 2677368"/>
                <a:gd name="connsiteY148" fmla="*/ 1886142 h 2476692"/>
                <a:gd name="connsiteX149" fmla="*/ 1862715 w 2677368"/>
                <a:gd name="connsiteY149" fmla="*/ 1871854 h 2476692"/>
                <a:gd name="connsiteX150" fmla="*/ 1853190 w 2677368"/>
                <a:gd name="connsiteY150" fmla="*/ 1857567 h 2476692"/>
                <a:gd name="connsiteX151" fmla="*/ 1824615 w 2677368"/>
                <a:gd name="connsiteY151" fmla="*/ 1838517 h 2476692"/>
                <a:gd name="connsiteX152" fmla="*/ 1819853 w 2677368"/>
                <a:gd name="connsiteY152" fmla="*/ 1819467 h 2476692"/>
                <a:gd name="connsiteX153" fmla="*/ 1834140 w 2677368"/>
                <a:gd name="connsiteY153" fmla="*/ 1814704 h 2476692"/>
                <a:gd name="connsiteX154" fmla="*/ 1848428 w 2677368"/>
                <a:gd name="connsiteY154" fmla="*/ 1809942 h 2476692"/>
                <a:gd name="connsiteX155" fmla="*/ 1862715 w 2677368"/>
                <a:gd name="connsiteY155" fmla="*/ 1805179 h 2476692"/>
                <a:gd name="connsiteX156" fmla="*/ 1891290 w 2677368"/>
                <a:gd name="connsiteY156" fmla="*/ 1795654 h 2476692"/>
                <a:gd name="connsiteX157" fmla="*/ 1896053 w 2677368"/>
                <a:gd name="connsiteY157" fmla="*/ 1781367 h 2476692"/>
                <a:gd name="connsiteX158" fmla="*/ 1900815 w 2677368"/>
                <a:gd name="connsiteY158" fmla="*/ 1762317 h 2476692"/>
                <a:gd name="connsiteX159" fmla="*/ 1891290 w 2677368"/>
                <a:gd name="connsiteY159" fmla="*/ 1676592 h 2476692"/>
                <a:gd name="connsiteX160" fmla="*/ 1719840 w 2677368"/>
                <a:gd name="connsiteY160" fmla="*/ 1671829 h 2476692"/>
                <a:gd name="connsiteX161" fmla="*/ 1710315 w 2677368"/>
                <a:gd name="connsiteY161" fmla="*/ 1690879 h 2476692"/>
                <a:gd name="connsiteX162" fmla="*/ 1696028 w 2677368"/>
                <a:gd name="connsiteY162" fmla="*/ 1709929 h 2476692"/>
                <a:gd name="connsiteX163" fmla="*/ 1681740 w 2677368"/>
                <a:gd name="connsiteY163" fmla="*/ 1724217 h 2476692"/>
                <a:gd name="connsiteX164" fmla="*/ 1676978 w 2677368"/>
                <a:gd name="connsiteY164" fmla="*/ 1738504 h 2476692"/>
                <a:gd name="connsiteX165" fmla="*/ 1667453 w 2677368"/>
                <a:gd name="connsiteY165" fmla="*/ 1762317 h 2476692"/>
                <a:gd name="connsiteX166" fmla="*/ 1643640 w 2677368"/>
                <a:gd name="connsiteY166" fmla="*/ 1795654 h 2476692"/>
                <a:gd name="connsiteX167" fmla="*/ 1291215 w 2677368"/>
                <a:gd name="connsiteY167" fmla="*/ 1938529 h 2476692"/>
                <a:gd name="connsiteX168" fmla="*/ 1162628 w 2677368"/>
                <a:gd name="connsiteY168" fmla="*/ 1833754 h 2476692"/>
                <a:gd name="connsiteX169" fmla="*/ 1091190 w 2677368"/>
                <a:gd name="connsiteY169" fmla="*/ 1843279 h 2476692"/>
                <a:gd name="connsiteX170" fmla="*/ 1014990 w 2677368"/>
                <a:gd name="connsiteY170" fmla="*/ 1786129 h 2476692"/>
                <a:gd name="connsiteX171" fmla="*/ 1024515 w 2677368"/>
                <a:gd name="connsiteY171" fmla="*/ 1733742 h 2476692"/>
                <a:gd name="connsiteX172" fmla="*/ 957840 w 2677368"/>
                <a:gd name="connsiteY172" fmla="*/ 1719454 h 2476692"/>
                <a:gd name="connsiteX173" fmla="*/ 767340 w 2677368"/>
                <a:gd name="connsiteY173" fmla="*/ 1671829 h 2476692"/>
                <a:gd name="connsiteX174" fmla="*/ 743528 w 2677368"/>
                <a:gd name="connsiteY174" fmla="*/ 1681354 h 2476692"/>
                <a:gd name="connsiteX175" fmla="*/ 729240 w 2677368"/>
                <a:gd name="connsiteY175" fmla="*/ 1686117 h 2476692"/>
                <a:gd name="connsiteX176" fmla="*/ 700665 w 2677368"/>
                <a:gd name="connsiteY176" fmla="*/ 1667067 h 2476692"/>
                <a:gd name="connsiteX177" fmla="*/ 657803 w 2677368"/>
                <a:gd name="connsiteY177" fmla="*/ 1624204 h 2476692"/>
                <a:gd name="connsiteX178" fmla="*/ 605415 w 2677368"/>
                <a:gd name="connsiteY178" fmla="*/ 1638492 h 2476692"/>
                <a:gd name="connsiteX179" fmla="*/ 533978 w 2677368"/>
                <a:gd name="connsiteY179" fmla="*/ 1543242 h 2476692"/>
                <a:gd name="connsiteX180" fmla="*/ 548265 w 2677368"/>
                <a:gd name="connsiteY180" fmla="*/ 1528954 h 2476692"/>
                <a:gd name="connsiteX181" fmla="*/ 567315 w 2677368"/>
                <a:gd name="connsiteY181" fmla="*/ 1514667 h 2476692"/>
                <a:gd name="connsiteX182" fmla="*/ 581603 w 2677368"/>
                <a:gd name="connsiteY182" fmla="*/ 1476567 h 2476692"/>
                <a:gd name="connsiteX183" fmla="*/ 567315 w 2677368"/>
                <a:gd name="connsiteY183" fmla="*/ 1471804 h 2476692"/>
                <a:gd name="connsiteX184" fmla="*/ 543503 w 2677368"/>
                <a:gd name="connsiteY184" fmla="*/ 1462279 h 2476692"/>
                <a:gd name="connsiteX185" fmla="*/ 562553 w 2677368"/>
                <a:gd name="connsiteY185" fmla="*/ 1428942 h 2476692"/>
                <a:gd name="connsiteX186" fmla="*/ 567315 w 2677368"/>
                <a:gd name="connsiteY186" fmla="*/ 1414654 h 2476692"/>
                <a:gd name="connsiteX187" fmla="*/ 586365 w 2677368"/>
                <a:gd name="connsiteY187" fmla="*/ 1386079 h 2476692"/>
                <a:gd name="connsiteX188" fmla="*/ 619703 w 2677368"/>
                <a:gd name="connsiteY188" fmla="*/ 1362267 h 2476692"/>
                <a:gd name="connsiteX189" fmla="*/ 633990 w 2677368"/>
                <a:gd name="connsiteY189" fmla="*/ 1343217 h 2476692"/>
                <a:gd name="connsiteX190" fmla="*/ 662565 w 2677368"/>
                <a:gd name="connsiteY190" fmla="*/ 1319404 h 2476692"/>
                <a:gd name="connsiteX191" fmla="*/ 667328 w 2677368"/>
                <a:gd name="connsiteY191" fmla="*/ 1281304 h 2476692"/>
                <a:gd name="connsiteX192" fmla="*/ 638753 w 2677368"/>
                <a:gd name="connsiteY192" fmla="*/ 1267017 h 2476692"/>
                <a:gd name="connsiteX193" fmla="*/ 633990 w 2677368"/>
                <a:gd name="connsiteY193" fmla="*/ 1252729 h 2476692"/>
                <a:gd name="connsiteX194" fmla="*/ 643515 w 2677368"/>
                <a:gd name="connsiteY194" fmla="*/ 1238442 h 2476692"/>
                <a:gd name="connsiteX195" fmla="*/ 672090 w 2677368"/>
                <a:gd name="connsiteY195" fmla="*/ 1219392 h 2476692"/>
                <a:gd name="connsiteX196" fmla="*/ 672090 w 2677368"/>
                <a:gd name="connsiteY196" fmla="*/ 1162242 h 2476692"/>
                <a:gd name="connsiteX197" fmla="*/ 662565 w 2677368"/>
                <a:gd name="connsiteY197" fmla="*/ 1147954 h 2476692"/>
                <a:gd name="connsiteX198" fmla="*/ 619703 w 2677368"/>
                <a:gd name="connsiteY198" fmla="*/ 1167004 h 2476692"/>
                <a:gd name="connsiteX199" fmla="*/ 610178 w 2677368"/>
                <a:gd name="connsiteY199" fmla="*/ 1152717 h 2476692"/>
                <a:gd name="connsiteX200" fmla="*/ 605415 w 2677368"/>
                <a:gd name="connsiteY200" fmla="*/ 1105092 h 2476692"/>
                <a:gd name="connsiteX201" fmla="*/ 595890 w 2677368"/>
                <a:gd name="connsiteY201" fmla="*/ 1086042 h 2476692"/>
                <a:gd name="connsiteX202" fmla="*/ 576840 w 2677368"/>
                <a:gd name="connsiteY202" fmla="*/ 1057467 h 2476692"/>
                <a:gd name="connsiteX203" fmla="*/ 572078 w 2677368"/>
                <a:gd name="connsiteY203" fmla="*/ 1043179 h 2476692"/>
                <a:gd name="connsiteX204" fmla="*/ 562553 w 2677368"/>
                <a:gd name="connsiteY204" fmla="*/ 962217 h 2476692"/>
                <a:gd name="connsiteX205" fmla="*/ 462540 w 2677368"/>
                <a:gd name="connsiteY205" fmla="*/ 1043179 h 2476692"/>
                <a:gd name="connsiteX206" fmla="*/ 433965 w 2677368"/>
                <a:gd name="connsiteY206" fmla="*/ 952692 h 2476692"/>
                <a:gd name="connsiteX207" fmla="*/ 343478 w 2677368"/>
                <a:gd name="connsiteY207" fmla="*/ 862204 h 2476692"/>
                <a:gd name="connsiteX208" fmla="*/ 262515 w 2677368"/>
                <a:gd name="connsiteY208" fmla="*/ 871729 h 2476692"/>
                <a:gd name="connsiteX209" fmla="*/ 205365 w 2677368"/>
                <a:gd name="connsiteY209" fmla="*/ 919354 h 2476692"/>
                <a:gd name="connsiteX210" fmla="*/ 95828 w 2677368"/>
                <a:gd name="connsiteY210" fmla="*/ 986029 h 2476692"/>
                <a:gd name="connsiteX211" fmla="*/ 24390 w 2677368"/>
                <a:gd name="connsiteY211" fmla="*/ 986029 h 2476692"/>
                <a:gd name="connsiteX212" fmla="*/ 14865 w 2677368"/>
                <a:gd name="connsiteY212" fmla="*/ 947929 h 2476692"/>
                <a:gd name="connsiteX213" fmla="*/ 578 w 2677368"/>
                <a:gd name="connsiteY213" fmla="*/ 933642 h 2476692"/>
                <a:gd name="connsiteX214" fmla="*/ 5340 w 2677368"/>
                <a:gd name="connsiteY214" fmla="*/ 890779 h 2476692"/>
                <a:gd name="connsiteX215" fmla="*/ 57728 w 2677368"/>
                <a:gd name="connsiteY215" fmla="*/ 781242 h 2476692"/>
                <a:gd name="connsiteX216" fmla="*/ 238703 w 2677368"/>
                <a:gd name="connsiteY216" fmla="*/ 543117 h 2476692"/>
                <a:gd name="connsiteX217" fmla="*/ 333953 w 2677368"/>
                <a:gd name="connsiteY217" fmla="*/ 543117 h 2476692"/>
                <a:gd name="connsiteX218" fmla="*/ 429203 w 2677368"/>
                <a:gd name="connsiteY218" fmla="*/ 524067 h 2476692"/>
                <a:gd name="connsiteX219" fmla="*/ 467303 w 2677368"/>
                <a:gd name="connsiteY219" fmla="*/ 538354 h 2476692"/>
                <a:gd name="connsiteX220" fmla="*/ 481590 w 2677368"/>
                <a:gd name="connsiteY220" fmla="*/ 528829 h 2476692"/>
                <a:gd name="connsiteX221" fmla="*/ 486353 w 2677368"/>
                <a:gd name="connsiteY221" fmla="*/ 514542 h 2476692"/>
                <a:gd name="connsiteX222" fmla="*/ 491115 w 2677368"/>
                <a:gd name="connsiteY222" fmla="*/ 466917 h 2476692"/>
                <a:gd name="connsiteX223" fmla="*/ 481590 w 2677368"/>
                <a:gd name="connsiteY223" fmla="*/ 438342 h 2476692"/>
                <a:gd name="connsiteX224" fmla="*/ 462540 w 2677368"/>
                <a:gd name="connsiteY224" fmla="*/ 409767 h 2476692"/>
                <a:gd name="connsiteX225" fmla="*/ 472065 w 2677368"/>
                <a:gd name="connsiteY225" fmla="*/ 347854 h 2476692"/>
                <a:gd name="connsiteX226" fmla="*/ 505403 w 2677368"/>
                <a:gd name="connsiteY226" fmla="*/ 295467 h 2476692"/>
                <a:gd name="connsiteX227" fmla="*/ 514928 w 2677368"/>
                <a:gd name="connsiteY227" fmla="*/ 281179 h 2476692"/>
                <a:gd name="connsiteX228" fmla="*/ 519690 w 2677368"/>
                <a:gd name="connsiteY228" fmla="*/ 257367 h 2476692"/>
                <a:gd name="connsiteX229" fmla="*/ 529215 w 2677368"/>
                <a:gd name="connsiteY229" fmla="*/ 243079 h 2476692"/>
                <a:gd name="connsiteX230" fmla="*/ 538740 w 2677368"/>
                <a:gd name="connsiteY230" fmla="*/ 204979 h 2476692"/>
                <a:gd name="connsiteX231" fmla="*/ 548265 w 2677368"/>
                <a:gd name="connsiteY231" fmla="*/ 185929 h 2476692"/>
                <a:gd name="connsiteX232" fmla="*/ 553028 w 2677368"/>
                <a:gd name="connsiteY232" fmla="*/ 171642 h 2476692"/>
                <a:gd name="connsiteX233" fmla="*/ 562553 w 2677368"/>
                <a:gd name="connsiteY233" fmla="*/ 157354 h 2476692"/>
                <a:gd name="connsiteX234" fmla="*/ 567315 w 2677368"/>
                <a:gd name="connsiteY234" fmla="*/ 133542 h 2476692"/>
                <a:gd name="connsiteX235" fmla="*/ 576840 w 2677368"/>
                <a:gd name="connsiteY235" fmla="*/ 100204 h 2476692"/>
                <a:gd name="connsiteX236" fmla="*/ 581603 w 2677368"/>
                <a:gd name="connsiteY236" fmla="*/ 81154 h 2476692"/>
                <a:gd name="connsiteX237" fmla="*/ 595890 w 2677368"/>
                <a:gd name="connsiteY237" fmla="*/ 33529 h 2476692"/>
                <a:gd name="connsiteX238" fmla="*/ 619703 w 2677368"/>
                <a:gd name="connsiteY238" fmla="*/ 192 h 2476692"/>
                <a:gd name="connsiteX239" fmla="*/ 621543 w 2677368"/>
                <a:gd name="connsiteY239" fmla="*/ 0 h 2476692"/>
                <a:gd name="connsiteX0" fmla="*/ 621543 w 2677368"/>
                <a:gd name="connsiteY0" fmla="*/ 0 h 2476692"/>
                <a:gd name="connsiteX1" fmla="*/ 637165 w 2677368"/>
                <a:gd name="connsiteY1" fmla="*/ 20829 h 2476692"/>
                <a:gd name="connsiteX2" fmla="*/ 643515 w 2677368"/>
                <a:gd name="connsiteY2" fmla="*/ 30354 h 2476692"/>
                <a:gd name="connsiteX3" fmla="*/ 646690 w 2677368"/>
                <a:gd name="connsiteY3" fmla="*/ 74804 h 2476692"/>
                <a:gd name="connsiteX4" fmla="*/ 656215 w 2677368"/>
                <a:gd name="connsiteY4" fmla="*/ 100204 h 2476692"/>
                <a:gd name="connsiteX5" fmla="*/ 757815 w 2677368"/>
                <a:gd name="connsiteY5" fmla="*/ 119254 h 2476692"/>
                <a:gd name="connsiteX6" fmla="*/ 780040 w 2677368"/>
                <a:gd name="connsiteY6" fmla="*/ 135129 h 2476692"/>
                <a:gd name="connsiteX7" fmla="*/ 789565 w 2677368"/>
                <a:gd name="connsiteY7" fmla="*/ 138304 h 2476692"/>
                <a:gd name="connsiteX8" fmla="*/ 808615 w 2677368"/>
                <a:gd name="connsiteY8" fmla="*/ 154179 h 2476692"/>
                <a:gd name="connsiteX9" fmla="*/ 824490 w 2677368"/>
                <a:gd name="connsiteY9" fmla="*/ 176404 h 2476692"/>
                <a:gd name="connsiteX10" fmla="*/ 827665 w 2677368"/>
                <a:gd name="connsiteY10" fmla="*/ 185929 h 2476692"/>
                <a:gd name="connsiteX11" fmla="*/ 853065 w 2677368"/>
                <a:gd name="connsiteY11" fmla="*/ 201804 h 2476692"/>
                <a:gd name="connsiteX12" fmla="*/ 929265 w 2677368"/>
                <a:gd name="connsiteY12" fmla="*/ 220854 h 2476692"/>
                <a:gd name="connsiteX13" fmla="*/ 957840 w 2677368"/>
                <a:gd name="connsiteY13" fmla="*/ 198629 h 2476692"/>
                <a:gd name="connsiteX14" fmla="*/ 980065 w 2677368"/>
                <a:gd name="connsiteY14" fmla="*/ 182754 h 2476692"/>
                <a:gd name="connsiteX15" fmla="*/ 989590 w 2677368"/>
                <a:gd name="connsiteY15" fmla="*/ 176404 h 2476692"/>
                <a:gd name="connsiteX16" fmla="*/ 1011815 w 2677368"/>
                <a:gd name="connsiteY16" fmla="*/ 173229 h 2476692"/>
                <a:gd name="connsiteX17" fmla="*/ 1027690 w 2677368"/>
                <a:gd name="connsiteY17" fmla="*/ 166879 h 2476692"/>
                <a:gd name="connsiteX18" fmla="*/ 1094365 w 2677368"/>
                <a:gd name="connsiteY18" fmla="*/ 220854 h 2476692"/>
                <a:gd name="connsiteX19" fmla="*/ 1186440 w 2677368"/>
                <a:gd name="connsiteY19" fmla="*/ 217679 h 2476692"/>
                <a:gd name="connsiteX20" fmla="*/ 1278515 w 2677368"/>
                <a:gd name="connsiteY20" fmla="*/ 170054 h 2476692"/>
                <a:gd name="connsiteX21" fmla="*/ 1326140 w 2677368"/>
                <a:gd name="connsiteY21" fmla="*/ 74804 h 2476692"/>
                <a:gd name="connsiteX22" fmla="*/ 1373765 w 2677368"/>
                <a:gd name="connsiteY22" fmla="*/ 122429 h 2476692"/>
                <a:gd name="connsiteX23" fmla="*/ 1459490 w 2677368"/>
                <a:gd name="connsiteY23" fmla="*/ 144654 h 2476692"/>
                <a:gd name="connsiteX24" fmla="*/ 1589665 w 2677368"/>
                <a:gd name="connsiteY24" fmla="*/ 144654 h 2476692"/>
                <a:gd name="connsiteX25" fmla="*/ 1697615 w 2677368"/>
                <a:gd name="connsiteY25" fmla="*/ 97029 h 2476692"/>
                <a:gd name="connsiteX26" fmla="*/ 1726190 w 2677368"/>
                <a:gd name="connsiteY26" fmla="*/ 103379 h 2476692"/>
                <a:gd name="connsiteX27" fmla="*/ 1738890 w 2677368"/>
                <a:gd name="connsiteY27" fmla="*/ 122429 h 2476692"/>
                <a:gd name="connsiteX28" fmla="*/ 1732540 w 2677368"/>
                <a:gd name="connsiteY28" fmla="*/ 141479 h 2476692"/>
                <a:gd name="connsiteX29" fmla="*/ 1723015 w 2677368"/>
                <a:gd name="connsiteY29" fmla="*/ 154179 h 2476692"/>
                <a:gd name="connsiteX30" fmla="*/ 1802390 w 2677368"/>
                <a:gd name="connsiteY30" fmla="*/ 144654 h 2476692"/>
                <a:gd name="connsiteX31" fmla="*/ 1824615 w 2677368"/>
                <a:gd name="connsiteY31" fmla="*/ 160529 h 2476692"/>
                <a:gd name="connsiteX32" fmla="*/ 1827790 w 2677368"/>
                <a:gd name="connsiteY32" fmla="*/ 195454 h 2476692"/>
                <a:gd name="connsiteX33" fmla="*/ 1834140 w 2677368"/>
                <a:gd name="connsiteY33" fmla="*/ 217679 h 2476692"/>
                <a:gd name="connsiteX34" fmla="*/ 1840490 w 2677368"/>
                <a:gd name="connsiteY34" fmla="*/ 230379 h 2476692"/>
                <a:gd name="connsiteX35" fmla="*/ 1846840 w 2677368"/>
                <a:gd name="connsiteY35" fmla="*/ 239904 h 2476692"/>
                <a:gd name="connsiteX36" fmla="*/ 1846840 w 2677368"/>
                <a:gd name="connsiteY36" fmla="*/ 249429 h 2476692"/>
                <a:gd name="connsiteX37" fmla="*/ 1916690 w 2677368"/>
                <a:gd name="connsiteY37" fmla="*/ 274829 h 2476692"/>
                <a:gd name="connsiteX38" fmla="*/ 1945265 w 2677368"/>
                <a:gd name="connsiteY38" fmla="*/ 268479 h 2476692"/>
                <a:gd name="connsiteX39" fmla="*/ 1961140 w 2677368"/>
                <a:gd name="connsiteY39" fmla="*/ 274829 h 2476692"/>
                <a:gd name="connsiteX40" fmla="*/ 1977015 w 2677368"/>
                <a:gd name="connsiteY40" fmla="*/ 293879 h 2476692"/>
                <a:gd name="connsiteX41" fmla="*/ 2002415 w 2677368"/>
                <a:gd name="connsiteY41" fmla="*/ 297054 h 2476692"/>
                <a:gd name="connsiteX42" fmla="*/ 2002415 w 2677368"/>
                <a:gd name="connsiteY42" fmla="*/ 344679 h 2476692"/>
                <a:gd name="connsiteX43" fmla="*/ 1998496 w 2677368"/>
                <a:gd name="connsiteY43" fmla="*/ 359366 h 2476692"/>
                <a:gd name="connsiteX44" fmla="*/ 1997699 w 2677368"/>
                <a:gd name="connsiteY44" fmla="*/ 359161 h 2476692"/>
                <a:gd name="connsiteX45" fmla="*/ 1996509 w 2677368"/>
                <a:gd name="connsiteY45" fmla="*/ 357863 h 2476692"/>
                <a:gd name="connsiteX46" fmla="*/ 1996082 w 2677368"/>
                <a:gd name="connsiteY46" fmla="*/ 354482 h 2476692"/>
                <a:gd name="connsiteX47" fmla="*/ 1996065 w 2677368"/>
                <a:gd name="connsiteY47" fmla="*/ 357379 h 2476692"/>
                <a:gd name="connsiteX48" fmla="*/ 1996509 w 2677368"/>
                <a:gd name="connsiteY48" fmla="*/ 357863 h 2476692"/>
                <a:gd name="connsiteX49" fmla="*/ 1996639 w 2677368"/>
                <a:gd name="connsiteY49" fmla="*/ 358889 h 2476692"/>
                <a:gd name="connsiteX50" fmla="*/ 1997699 w 2677368"/>
                <a:gd name="connsiteY50" fmla="*/ 359161 h 2476692"/>
                <a:gd name="connsiteX51" fmla="*/ 2030990 w 2677368"/>
                <a:gd name="connsiteY51" fmla="*/ 395479 h 2476692"/>
                <a:gd name="connsiteX52" fmla="*/ 2059565 w 2677368"/>
                <a:gd name="connsiteY52" fmla="*/ 385954 h 2476692"/>
                <a:gd name="connsiteX53" fmla="*/ 2069090 w 2677368"/>
                <a:gd name="connsiteY53" fmla="*/ 379604 h 2476692"/>
                <a:gd name="connsiteX54" fmla="*/ 2078615 w 2677368"/>
                <a:gd name="connsiteY54" fmla="*/ 376429 h 2476692"/>
                <a:gd name="connsiteX55" fmla="*/ 2116715 w 2677368"/>
                <a:gd name="connsiteY55" fmla="*/ 379604 h 2476692"/>
                <a:gd name="connsiteX56" fmla="*/ 2119890 w 2677368"/>
                <a:gd name="connsiteY56" fmla="*/ 411354 h 2476692"/>
                <a:gd name="connsiteX57" fmla="*/ 2129415 w 2677368"/>
                <a:gd name="connsiteY57" fmla="*/ 443104 h 2476692"/>
                <a:gd name="connsiteX58" fmla="*/ 2132590 w 2677368"/>
                <a:gd name="connsiteY58" fmla="*/ 452629 h 2476692"/>
                <a:gd name="connsiteX59" fmla="*/ 2135765 w 2677368"/>
                <a:gd name="connsiteY59" fmla="*/ 462154 h 2476692"/>
                <a:gd name="connsiteX60" fmla="*/ 2142115 w 2677368"/>
                <a:gd name="connsiteY60" fmla="*/ 493904 h 2476692"/>
                <a:gd name="connsiteX61" fmla="*/ 2138940 w 2677368"/>
                <a:gd name="connsiteY61" fmla="*/ 532004 h 2476692"/>
                <a:gd name="connsiteX62" fmla="*/ 2110365 w 2677368"/>
                <a:gd name="connsiteY62" fmla="*/ 547879 h 2476692"/>
                <a:gd name="connsiteX63" fmla="*/ 2097665 w 2677368"/>
                <a:gd name="connsiteY63" fmla="*/ 557404 h 2476692"/>
                <a:gd name="connsiteX64" fmla="*/ 2094490 w 2677368"/>
                <a:gd name="connsiteY64" fmla="*/ 582804 h 2476692"/>
                <a:gd name="connsiteX65" fmla="*/ 2104015 w 2677368"/>
                <a:gd name="connsiteY65" fmla="*/ 608204 h 2476692"/>
                <a:gd name="connsiteX66" fmla="*/ 2110365 w 2677368"/>
                <a:gd name="connsiteY66" fmla="*/ 617729 h 2476692"/>
                <a:gd name="connsiteX67" fmla="*/ 2116715 w 2677368"/>
                <a:gd name="connsiteY67" fmla="*/ 643129 h 2476692"/>
                <a:gd name="connsiteX68" fmla="*/ 2119890 w 2677368"/>
                <a:gd name="connsiteY68" fmla="*/ 719329 h 2476692"/>
                <a:gd name="connsiteX69" fmla="*/ 2123065 w 2677368"/>
                <a:gd name="connsiteY69" fmla="*/ 728854 h 2476692"/>
                <a:gd name="connsiteX70" fmla="*/ 2142115 w 2677368"/>
                <a:gd name="connsiteY70" fmla="*/ 741554 h 2476692"/>
                <a:gd name="connsiteX71" fmla="*/ 2161165 w 2677368"/>
                <a:gd name="connsiteY71" fmla="*/ 738379 h 2476692"/>
                <a:gd name="connsiteX72" fmla="*/ 2170690 w 2677368"/>
                <a:gd name="connsiteY72" fmla="*/ 732029 h 2476692"/>
                <a:gd name="connsiteX73" fmla="*/ 2183390 w 2677368"/>
                <a:gd name="connsiteY73" fmla="*/ 725679 h 2476692"/>
                <a:gd name="connsiteX74" fmla="*/ 2192915 w 2677368"/>
                <a:gd name="connsiteY74" fmla="*/ 719329 h 2476692"/>
                <a:gd name="connsiteX75" fmla="*/ 2211965 w 2677368"/>
                <a:gd name="connsiteY75" fmla="*/ 712979 h 2476692"/>
                <a:gd name="connsiteX76" fmla="*/ 2259590 w 2677368"/>
                <a:gd name="connsiteY76" fmla="*/ 716154 h 2476692"/>
                <a:gd name="connsiteX77" fmla="*/ 2262765 w 2677368"/>
                <a:gd name="connsiteY77" fmla="*/ 732029 h 2476692"/>
                <a:gd name="connsiteX78" fmla="*/ 2272290 w 2677368"/>
                <a:gd name="connsiteY78" fmla="*/ 751079 h 2476692"/>
                <a:gd name="connsiteX79" fmla="*/ 2297690 w 2677368"/>
                <a:gd name="connsiteY79" fmla="*/ 754254 h 2476692"/>
                <a:gd name="connsiteX80" fmla="*/ 2329440 w 2677368"/>
                <a:gd name="connsiteY80" fmla="*/ 738379 h 2476692"/>
                <a:gd name="connsiteX81" fmla="*/ 2338965 w 2677368"/>
                <a:gd name="connsiteY81" fmla="*/ 735204 h 2476692"/>
                <a:gd name="connsiteX82" fmla="*/ 2367540 w 2677368"/>
                <a:gd name="connsiteY82" fmla="*/ 722504 h 2476692"/>
                <a:gd name="connsiteX83" fmla="*/ 2377065 w 2677368"/>
                <a:gd name="connsiteY83" fmla="*/ 719329 h 2476692"/>
                <a:gd name="connsiteX84" fmla="*/ 2391809 w 2677368"/>
                <a:gd name="connsiteY84" fmla="*/ 719329 h 2476692"/>
                <a:gd name="connsiteX85" fmla="*/ 2672340 w 2677368"/>
                <a:gd name="connsiteY85" fmla="*/ 1724217 h 2476692"/>
                <a:gd name="connsiteX86" fmla="*/ 2512796 w 2677368"/>
                <a:gd name="connsiteY86" fmla="*/ 1824229 h 2476692"/>
                <a:gd name="connsiteX87" fmla="*/ 2558040 w 2677368"/>
                <a:gd name="connsiteY87" fmla="*/ 1883760 h 2476692"/>
                <a:gd name="connsiteX88" fmla="*/ 2555659 w 2677368"/>
                <a:gd name="connsiteY88" fmla="*/ 1909954 h 2476692"/>
                <a:gd name="connsiteX89" fmla="*/ 2527084 w 2677368"/>
                <a:gd name="connsiteY89" fmla="*/ 1995679 h 2476692"/>
                <a:gd name="connsiteX90" fmla="*/ 2503271 w 2677368"/>
                <a:gd name="connsiteY90" fmla="*/ 1986154 h 2476692"/>
                <a:gd name="connsiteX91" fmla="*/ 2472315 w 2677368"/>
                <a:gd name="connsiteY91" fmla="*/ 1971867 h 2476692"/>
                <a:gd name="connsiteX92" fmla="*/ 2436596 w 2677368"/>
                <a:gd name="connsiteY92" fmla="*/ 1986154 h 2476692"/>
                <a:gd name="connsiteX93" fmla="*/ 2450884 w 2677368"/>
                <a:gd name="connsiteY93" fmla="*/ 2017110 h 2476692"/>
                <a:gd name="connsiteX94" fmla="*/ 2465171 w 2677368"/>
                <a:gd name="connsiteY94" fmla="*/ 2057592 h 2476692"/>
                <a:gd name="connsiteX95" fmla="*/ 2455646 w 2677368"/>
                <a:gd name="connsiteY95" fmla="*/ 2121885 h 2476692"/>
                <a:gd name="connsiteX96" fmla="*/ 2410403 w 2677368"/>
                <a:gd name="connsiteY96" fmla="*/ 2152842 h 2476692"/>
                <a:gd name="connsiteX97" fmla="*/ 2458028 w 2677368"/>
                <a:gd name="connsiteY97" fmla="*/ 2186180 h 2476692"/>
                <a:gd name="connsiteX98" fmla="*/ 2448503 w 2677368"/>
                <a:gd name="connsiteY98" fmla="*/ 2226660 h 2476692"/>
                <a:gd name="connsiteX99" fmla="*/ 2410403 w 2677368"/>
                <a:gd name="connsiteY99" fmla="*/ 2262379 h 2476692"/>
                <a:gd name="connsiteX100" fmla="*/ 2388971 w 2677368"/>
                <a:gd name="connsiteY100" fmla="*/ 2331435 h 2476692"/>
                <a:gd name="connsiteX101" fmla="*/ 2405640 w 2677368"/>
                <a:gd name="connsiteY101" fmla="*/ 2381442 h 2476692"/>
                <a:gd name="connsiteX102" fmla="*/ 2391353 w 2677368"/>
                <a:gd name="connsiteY102" fmla="*/ 2414779 h 2476692"/>
                <a:gd name="connsiteX103" fmla="*/ 2334203 w 2677368"/>
                <a:gd name="connsiteY103" fmla="*/ 2433829 h 2476692"/>
                <a:gd name="connsiteX104" fmla="*/ 2305628 w 2677368"/>
                <a:gd name="connsiteY104" fmla="*/ 2443354 h 2476692"/>
                <a:gd name="connsiteX105" fmla="*/ 2296103 w 2677368"/>
                <a:gd name="connsiteY105" fmla="*/ 2457642 h 2476692"/>
                <a:gd name="connsiteX106" fmla="*/ 2262765 w 2677368"/>
                <a:gd name="connsiteY106" fmla="*/ 2462404 h 2476692"/>
                <a:gd name="connsiteX107" fmla="*/ 2229428 w 2677368"/>
                <a:gd name="connsiteY107" fmla="*/ 2438592 h 2476692"/>
                <a:gd name="connsiteX108" fmla="*/ 2215140 w 2677368"/>
                <a:gd name="connsiteY108" fmla="*/ 2433829 h 2476692"/>
                <a:gd name="connsiteX109" fmla="*/ 2205615 w 2677368"/>
                <a:gd name="connsiteY109" fmla="*/ 2457642 h 2476692"/>
                <a:gd name="connsiteX110" fmla="*/ 2191328 w 2677368"/>
                <a:gd name="connsiteY110" fmla="*/ 2467167 h 2476692"/>
                <a:gd name="connsiteX111" fmla="*/ 2153228 w 2677368"/>
                <a:gd name="connsiteY111" fmla="*/ 2476692 h 2476692"/>
                <a:gd name="connsiteX112" fmla="*/ 2134178 w 2677368"/>
                <a:gd name="connsiteY112" fmla="*/ 2448117 h 2476692"/>
                <a:gd name="connsiteX113" fmla="*/ 2124653 w 2677368"/>
                <a:gd name="connsiteY113" fmla="*/ 2433829 h 2476692"/>
                <a:gd name="connsiteX114" fmla="*/ 2119890 w 2677368"/>
                <a:gd name="connsiteY114" fmla="*/ 2352867 h 2476692"/>
                <a:gd name="connsiteX115" fmla="*/ 2124653 w 2677368"/>
                <a:gd name="connsiteY115" fmla="*/ 2338579 h 2476692"/>
                <a:gd name="connsiteX116" fmla="*/ 2167515 w 2677368"/>
                <a:gd name="connsiteY116" fmla="*/ 2290954 h 2476692"/>
                <a:gd name="connsiteX117" fmla="*/ 2177040 w 2677368"/>
                <a:gd name="connsiteY117" fmla="*/ 2276667 h 2476692"/>
                <a:gd name="connsiteX118" fmla="*/ 2153228 w 2677368"/>
                <a:gd name="connsiteY118" fmla="*/ 2248092 h 2476692"/>
                <a:gd name="connsiteX119" fmla="*/ 2134178 w 2677368"/>
                <a:gd name="connsiteY119" fmla="*/ 2238567 h 2476692"/>
                <a:gd name="connsiteX120" fmla="*/ 2129415 w 2677368"/>
                <a:gd name="connsiteY120" fmla="*/ 2214754 h 2476692"/>
                <a:gd name="connsiteX121" fmla="*/ 2148465 w 2677368"/>
                <a:gd name="connsiteY121" fmla="*/ 2186179 h 2476692"/>
                <a:gd name="connsiteX122" fmla="*/ 2167515 w 2677368"/>
                <a:gd name="connsiteY122" fmla="*/ 2190942 h 2476692"/>
                <a:gd name="connsiteX123" fmla="*/ 2229428 w 2677368"/>
                <a:gd name="connsiteY123" fmla="*/ 2186179 h 2476692"/>
                <a:gd name="connsiteX124" fmla="*/ 2234190 w 2677368"/>
                <a:gd name="connsiteY124" fmla="*/ 2171892 h 2476692"/>
                <a:gd name="connsiteX125" fmla="*/ 2224665 w 2677368"/>
                <a:gd name="connsiteY125" fmla="*/ 2143317 h 2476692"/>
                <a:gd name="connsiteX126" fmla="*/ 2210378 w 2677368"/>
                <a:gd name="connsiteY126" fmla="*/ 2129029 h 2476692"/>
                <a:gd name="connsiteX127" fmla="*/ 2191328 w 2677368"/>
                <a:gd name="connsiteY127" fmla="*/ 2119504 h 2476692"/>
                <a:gd name="connsiteX128" fmla="*/ 2162753 w 2677368"/>
                <a:gd name="connsiteY128" fmla="*/ 2114742 h 2476692"/>
                <a:gd name="connsiteX129" fmla="*/ 2157990 w 2677368"/>
                <a:gd name="connsiteY129" fmla="*/ 2095692 h 2476692"/>
                <a:gd name="connsiteX130" fmla="*/ 2181803 w 2677368"/>
                <a:gd name="connsiteY130" fmla="*/ 2062354 h 2476692"/>
                <a:gd name="connsiteX131" fmla="*/ 2191328 w 2677368"/>
                <a:gd name="connsiteY131" fmla="*/ 2048067 h 2476692"/>
                <a:gd name="connsiteX132" fmla="*/ 2196090 w 2677368"/>
                <a:gd name="connsiteY132" fmla="*/ 1986154 h 2476692"/>
                <a:gd name="connsiteX133" fmla="*/ 2186565 w 2677368"/>
                <a:gd name="connsiteY133" fmla="*/ 1957579 h 2476692"/>
                <a:gd name="connsiteX134" fmla="*/ 2162753 w 2677368"/>
                <a:gd name="connsiteY134" fmla="*/ 1952817 h 2476692"/>
                <a:gd name="connsiteX135" fmla="*/ 2134178 w 2677368"/>
                <a:gd name="connsiteY135" fmla="*/ 1971867 h 2476692"/>
                <a:gd name="connsiteX136" fmla="*/ 2124653 w 2677368"/>
                <a:gd name="connsiteY136" fmla="*/ 1986154 h 2476692"/>
                <a:gd name="connsiteX137" fmla="*/ 2105603 w 2677368"/>
                <a:gd name="connsiteY137" fmla="*/ 2005204 h 2476692"/>
                <a:gd name="connsiteX138" fmla="*/ 2072265 w 2677368"/>
                <a:gd name="connsiteY138" fmla="*/ 2038542 h 2476692"/>
                <a:gd name="connsiteX139" fmla="*/ 2057978 w 2677368"/>
                <a:gd name="connsiteY139" fmla="*/ 2048067 h 2476692"/>
                <a:gd name="connsiteX140" fmla="*/ 2029403 w 2677368"/>
                <a:gd name="connsiteY140" fmla="*/ 2052829 h 2476692"/>
                <a:gd name="connsiteX141" fmla="*/ 2019878 w 2677368"/>
                <a:gd name="connsiteY141" fmla="*/ 2009967 h 2476692"/>
                <a:gd name="connsiteX142" fmla="*/ 1991303 w 2677368"/>
                <a:gd name="connsiteY142" fmla="*/ 1986154 h 2476692"/>
                <a:gd name="connsiteX143" fmla="*/ 1962728 w 2677368"/>
                <a:gd name="connsiteY143" fmla="*/ 1976629 h 2476692"/>
                <a:gd name="connsiteX144" fmla="*/ 1948440 w 2677368"/>
                <a:gd name="connsiteY144" fmla="*/ 1990917 h 2476692"/>
                <a:gd name="connsiteX145" fmla="*/ 1910340 w 2677368"/>
                <a:gd name="connsiteY145" fmla="*/ 2000442 h 2476692"/>
                <a:gd name="connsiteX146" fmla="*/ 1891290 w 2677368"/>
                <a:gd name="connsiteY146" fmla="*/ 1971867 h 2476692"/>
                <a:gd name="connsiteX147" fmla="*/ 1886528 w 2677368"/>
                <a:gd name="connsiteY147" fmla="*/ 1952817 h 2476692"/>
                <a:gd name="connsiteX148" fmla="*/ 1881765 w 2677368"/>
                <a:gd name="connsiteY148" fmla="*/ 1929004 h 2476692"/>
                <a:gd name="connsiteX149" fmla="*/ 1877003 w 2677368"/>
                <a:gd name="connsiteY149" fmla="*/ 1886142 h 2476692"/>
                <a:gd name="connsiteX150" fmla="*/ 1862715 w 2677368"/>
                <a:gd name="connsiteY150" fmla="*/ 1871854 h 2476692"/>
                <a:gd name="connsiteX151" fmla="*/ 1853190 w 2677368"/>
                <a:gd name="connsiteY151" fmla="*/ 1857567 h 2476692"/>
                <a:gd name="connsiteX152" fmla="*/ 1824615 w 2677368"/>
                <a:gd name="connsiteY152" fmla="*/ 1838517 h 2476692"/>
                <a:gd name="connsiteX153" fmla="*/ 1819853 w 2677368"/>
                <a:gd name="connsiteY153" fmla="*/ 1819467 h 2476692"/>
                <a:gd name="connsiteX154" fmla="*/ 1834140 w 2677368"/>
                <a:gd name="connsiteY154" fmla="*/ 1814704 h 2476692"/>
                <a:gd name="connsiteX155" fmla="*/ 1848428 w 2677368"/>
                <a:gd name="connsiteY155" fmla="*/ 1809942 h 2476692"/>
                <a:gd name="connsiteX156" fmla="*/ 1862715 w 2677368"/>
                <a:gd name="connsiteY156" fmla="*/ 1805179 h 2476692"/>
                <a:gd name="connsiteX157" fmla="*/ 1891290 w 2677368"/>
                <a:gd name="connsiteY157" fmla="*/ 1795654 h 2476692"/>
                <a:gd name="connsiteX158" fmla="*/ 1896053 w 2677368"/>
                <a:gd name="connsiteY158" fmla="*/ 1781367 h 2476692"/>
                <a:gd name="connsiteX159" fmla="*/ 1900815 w 2677368"/>
                <a:gd name="connsiteY159" fmla="*/ 1762317 h 2476692"/>
                <a:gd name="connsiteX160" fmla="*/ 1891290 w 2677368"/>
                <a:gd name="connsiteY160" fmla="*/ 1676592 h 2476692"/>
                <a:gd name="connsiteX161" fmla="*/ 1719840 w 2677368"/>
                <a:gd name="connsiteY161" fmla="*/ 1671829 h 2476692"/>
                <a:gd name="connsiteX162" fmla="*/ 1710315 w 2677368"/>
                <a:gd name="connsiteY162" fmla="*/ 1690879 h 2476692"/>
                <a:gd name="connsiteX163" fmla="*/ 1696028 w 2677368"/>
                <a:gd name="connsiteY163" fmla="*/ 1709929 h 2476692"/>
                <a:gd name="connsiteX164" fmla="*/ 1681740 w 2677368"/>
                <a:gd name="connsiteY164" fmla="*/ 1724217 h 2476692"/>
                <a:gd name="connsiteX165" fmla="*/ 1676978 w 2677368"/>
                <a:gd name="connsiteY165" fmla="*/ 1738504 h 2476692"/>
                <a:gd name="connsiteX166" fmla="*/ 1667453 w 2677368"/>
                <a:gd name="connsiteY166" fmla="*/ 1762317 h 2476692"/>
                <a:gd name="connsiteX167" fmla="*/ 1643640 w 2677368"/>
                <a:gd name="connsiteY167" fmla="*/ 1795654 h 2476692"/>
                <a:gd name="connsiteX168" fmla="*/ 1291215 w 2677368"/>
                <a:gd name="connsiteY168" fmla="*/ 1938529 h 2476692"/>
                <a:gd name="connsiteX169" fmla="*/ 1162628 w 2677368"/>
                <a:gd name="connsiteY169" fmla="*/ 1833754 h 2476692"/>
                <a:gd name="connsiteX170" fmla="*/ 1091190 w 2677368"/>
                <a:gd name="connsiteY170" fmla="*/ 1843279 h 2476692"/>
                <a:gd name="connsiteX171" fmla="*/ 1014990 w 2677368"/>
                <a:gd name="connsiteY171" fmla="*/ 1786129 h 2476692"/>
                <a:gd name="connsiteX172" fmla="*/ 1024515 w 2677368"/>
                <a:gd name="connsiteY172" fmla="*/ 1733742 h 2476692"/>
                <a:gd name="connsiteX173" fmla="*/ 957840 w 2677368"/>
                <a:gd name="connsiteY173" fmla="*/ 1719454 h 2476692"/>
                <a:gd name="connsiteX174" fmla="*/ 767340 w 2677368"/>
                <a:gd name="connsiteY174" fmla="*/ 1671829 h 2476692"/>
                <a:gd name="connsiteX175" fmla="*/ 743528 w 2677368"/>
                <a:gd name="connsiteY175" fmla="*/ 1681354 h 2476692"/>
                <a:gd name="connsiteX176" fmla="*/ 729240 w 2677368"/>
                <a:gd name="connsiteY176" fmla="*/ 1686117 h 2476692"/>
                <a:gd name="connsiteX177" fmla="*/ 700665 w 2677368"/>
                <a:gd name="connsiteY177" fmla="*/ 1667067 h 2476692"/>
                <a:gd name="connsiteX178" fmla="*/ 657803 w 2677368"/>
                <a:gd name="connsiteY178" fmla="*/ 1624204 h 2476692"/>
                <a:gd name="connsiteX179" fmla="*/ 605415 w 2677368"/>
                <a:gd name="connsiteY179" fmla="*/ 1638492 h 2476692"/>
                <a:gd name="connsiteX180" fmla="*/ 533978 w 2677368"/>
                <a:gd name="connsiteY180" fmla="*/ 1543242 h 2476692"/>
                <a:gd name="connsiteX181" fmla="*/ 548265 w 2677368"/>
                <a:gd name="connsiteY181" fmla="*/ 1528954 h 2476692"/>
                <a:gd name="connsiteX182" fmla="*/ 567315 w 2677368"/>
                <a:gd name="connsiteY182" fmla="*/ 1514667 h 2476692"/>
                <a:gd name="connsiteX183" fmla="*/ 581603 w 2677368"/>
                <a:gd name="connsiteY183" fmla="*/ 1476567 h 2476692"/>
                <a:gd name="connsiteX184" fmla="*/ 567315 w 2677368"/>
                <a:gd name="connsiteY184" fmla="*/ 1471804 h 2476692"/>
                <a:gd name="connsiteX185" fmla="*/ 543503 w 2677368"/>
                <a:gd name="connsiteY185" fmla="*/ 1462279 h 2476692"/>
                <a:gd name="connsiteX186" fmla="*/ 562553 w 2677368"/>
                <a:gd name="connsiteY186" fmla="*/ 1428942 h 2476692"/>
                <a:gd name="connsiteX187" fmla="*/ 567315 w 2677368"/>
                <a:gd name="connsiteY187" fmla="*/ 1414654 h 2476692"/>
                <a:gd name="connsiteX188" fmla="*/ 586365 w 2677368"/>
                <a:gd name="connsiteY188" fmla="*/ 1386079 h 2476692"/>
                <a:gd name="connsiteX189" fmla="*/ 619703 w 2677368"/>
                <a:gd name="connsiteY189" fmla="*/ 1362267 h 2476692"/>
                <a:gd name="connsiteX190" fmla="*/ 633990 w 2677368"/>
                <a:gd name="connsiteY190" fmla="*/ 1343217 h 2476692"/>
                <a:gd name="connsiteX191" fmla="*/ 662565 w 2677368"/>
                <a:gd name="connsiteY191" fmla="*/ 1319404 h 2476692"/>
                <a:gd name="connsiteX192" fmla="*/ 667328 w 2677368"/>
                <a:gd name="connsiteY192" fmla="*/ 1281304 h 2476692"/>
                <a:gd name="connsiteX193" fmla="*/ 638753 w 2677368"/>
                <a:gd name="connsiteY193" fmla="*/ 1267017 h 2476692"/>
                <a:gd name="connsiteX194" fmla="*/ 633990 w 2677368"/>
                <a:gd name="connsiteY194" fmla="*/ 1252729 h 2476692"/>
                <a:gd name="connsiteX195" fmla="*/ 643515 w 2677368"/>
                <a:gd name="connsiteY195" fmla="*/ 1238442 h 2476692"/>
                <a:gd name="connsiteX196" fmla="*/ 672090 w 2677368"/>
                <a:gd name="connsiteY196" fmla="*/ 1219392 h 2476692"/>
                <a:gd name="connsiteX197" fmla="*/ 672090 w 2677368"/>
                <a:gd name="connsiteY197" fmla="*/ 1162242 h 2476692"/>
                <a:gd name="connsiteX198" fmla="*/ 662565 w 2677368"/>
                <a:gd name="connsiteY198" fmla="*/ 1147954 h 2476692"/>
                <a:gd name="connsiteX199" fmla="*/ 619703 w 2677368"/>
                <a:gd name="connsiteY199" fmla="*/ 1167004 h 2476692"/>
                <a:gd name="connsiteX200" fmla="*/ 610178 w 2677368"/>
                <a:gd name="connsiteY200" fmla="*/ 1152717 h 2476692"/>
                <a:gd name="connsiteX201" fmla="*/ 605415 w 2677368"/>
                <a:gd name="connsiteY201" fmla="*/ 1105092 h 2476692"/>
                <a:gd name="connsiteX202" fmla="*/ 595890 w 2677368"/>
                <a:gd name="connsiteY202" fmla="*/ 1086042 h 2476692"/>
                <a:gd name="connsiteX203" fmla="*/ 576840 w 2677368"/>
                <a:gd name="connsiteY203" fmla="*/ 1057467 h 2476692"/>
                <a:gd name="connsiteX204" fmla="*/ 572078 w 2677368"/>
                <a:gd name="connsiteY204" fmla="*/ 1043179 h 2476692"/>
                <a:gd name="connsiteX205" fmla="*/ 562553 w 2677368"/>
                <a:gd name="connsiteY205" fmla="*/ 962217 h 2476692"/>
                <a:gd name="connsiteX206" fmla="*/ 462540 w 2677368"/>
                <a:gd name="connsiteY206" fmla="*/ 1043179 h 2476692"/>
                <a:gd name="connsiteX207" fmla="*/ 433965 w 2677368"/>
                <a:gd name="connsiteY207" fmla="*/ 952692 h 2476692"/>
                <a:gd name="connsiteX208" fmla="*/ 343478 w 2677368"/>
                <a:gd name="connsiteY208" fmla="*/ 862204 h 2476692"/>
                <a:gd name="connsiteX209" fmla="*/ 262515 w 2677368"/>
                <a:gd name="connsiteY209" fmla="*/ 871729 h 2476692"/>
                <a:gd name="connsiteX210" fmla="*/ 205365 w 2677368"/>
                <a:gd name="connsiteY210" fmla="*/ 919354 h 2476692"/>
                <a:gd name="connsiteX211" fmla="*/ 95828 w 2677368"/>
                <a:gd name="connsiteY211" fmla="*/ 986029 h 2476692"/>
                <a:gd name="connsiteX212" fmla="*/ 24390 w 2677368"/>
                <a:gd name="connsiteY212" fmla="*/ 986029 h 2476692"/>
                <a:gd name="connsiteX213" fmla="*/ 14865 w 2677368"/>
                <a:gd name="connsiteY213" fmla="*/ 947929 h 2476692"/>
                <a:gd name="connsiteX214" fmla="*/ 578 w 2677368"/>
                <a:gd name="connsiteY214" fmla="*/ 933642 h 2476692"/>
                <a:gd name="connsiteX215" fmla="*/ 5340 w 2677368"/>
                <a:gd name="connsiteY215" fmla="*/ 890779 h 2476692"/>
                <a:gd name="connsiteX216" fmla="*/ 57728 w 2677368"/>
                <a:gd name="connsiteY216" fmla="*/ 781242 h 2476692"/>
                <a:gd name="connsiteX217" fmla="*/ 238703 w 2677368"/>
                <a:gd name="connsiteY217" fmla="*/ 543117 h 2476692"/>
                <a:gd name="connsiteX218" fmla="*/ 333953 w 2677368"/>
                <a:gd name="connsiteY218" fmla="*/ 543117 h 2476692"/>
                <a:gd name="connsiteX219" fmla="*/ 429203 w 2677368"/>
                <a:gd name="connsiteY219" fmla="*/ 524067 h 2476692"/>
                <a:gd name="connsiteX220" fmla="*/ 467303 w 2677368"/>
                <a:gd name="connsiteY220" fmla="*/ 538354 h 2476692"/>
                <a:gd name="connsiteX221" fmla="*/ 481590 w 2677368"/>
                <a:gd name="connsiteY221" fmla="*/ 528829 h 2476692"/>
                <a:gd name="connsiteX222" fmla="*/ 486353 w 2677368"/>
                <a:gd name="connsiteY222" fmla="*/ 514542 h 2476692"/>
                <a:gd name="connsiteX223" fmla="*/ 491115 w 2677368"/>
                <a:gd name="connsiteY223" fmla="*/ 466917 h 2476692"/>
                <a:gd name="connsiteX224" fmla="*/ 481590 w 2677368"/>
                <a:gd name="connsiteY224" fmla="*/ 438342 h 2476692"/>
                <a:gd name="connsiteX225" fmla="*/ 462540 w 2677368"/>
                <a:gd name="connsiteY225" fmla="*/ 409767 h 2476692"/>
                <a:gd name="connsiteX226" fmla="*/ 472065 w 2677368"/>
                <a:gd name="connsiteY226" fmla="*/ 347854 h 2476692"/>
                <a:gd name="connsiteX227" fmla="*/ 505403 w 2677368"/>
                <a:gd name="connsiteY227" fmla="*/ 295467 h 2476692"/>
                <a:gd name="connsiteX228" fmla="*/ 514928 w 2677368"/>
                <a:gd name="connsiteY228" fmla="*/ 281179 h 2476692"/>
                <a:gd name="connsiteX229" fmla="*/ 519690 w 2677368"/>
                <a:gd name="connsiteY229" fmla="*/ 257367 h 2476692"/>
                <a:gd name="connsiteX230" fmla="*/ 529215 w 2677368"/>
                <a:gd name="connsiteY230" fmla="*/ 243079 h 2476692"/>
                <a:gd name="connsiteX231" fmla="*/ 538740 w 2677368"/>
                <a:gd name="connsiteY231" fmla="*/ 204979 h 2476692"/>
                <a:gd name="connsiteX232" fmla="*/ 548265 w 2677368"/>
                <a:gd name="connsiteY232" fmla="*/ 185929 h 2476692"/>
                <a:gd name="connsiteX233" fmla="*/ 553028 w 2677368"/>
                <a:gd name="connsiteY233" fmla="*/ 171642 h 2476692"/>
                <a:gd name="connsiteX234" fmla="*/ 562553 w 2677368"/>
                <a:gd name="connsiteY234" fmla="*/ 157354 h 2476692"/>
                <a:gd name="connsiteX235" fmla="*/ 567315 w 2677368"/>
                <a:gd name="connsiteY235" fmla="*/ 133542 h 2476692"/>
                <a:gd name="connsiteX236" fmla="*/ 576840 w 2677368"/>
                <a:gd name="connsiteY236" fmla="*/ 100204 h 2476692"/>
                <a:gd name="connsiteX237" fmla="*/ 581603 w 2677368"/>
                <a:gd name="connsiteY237" fmla="*/ 81154 h 2476692"/>
                <a:gd name="connsiteX238" fmla="*/ 595890 w 2677368"/>
                <a:gd name="connsiteY238" fmla="*/ 33529 h 2476692"/>
                <a:gd name="connsiteX239" fmla="*/ 619703 w 2677368"/>
                <a:gd name="connsiteY239" fmla="*/ 192 h 2476692"/>
                <a:gd name="connsiteX240" fmla="*/ 621543 w 2677368"/>
                <a:gd name="connsiteY240" fmla="*/ 0 h 2476692"/>
                <a:gd name="connsiteX0" fmla="*/ 621543 w 2678100"/>
                <a:gd name="connsiteY0" fmla="*/ 0 h 2476692"/>
                <a:gd name="connsiteX1" fmla="*/ 637165 w 2678100"/>
                <a:gd name="connsiteY1" fmla="*/ 20829 h 2476692"/>
                <a:gd name="connsiteX2" fmla="*/ 643515 w 2678100"/>
                <a:gd name="connsiteY2" fmla="*/ 30354 h 2476692"/>
                <a:gd name="connsiteX3" fmla="*/ 646690 w 2678100"/>
                <a:gd name="connsiteY3" fmla="*/ 74804 h 2476692"/>
                <a:gd name="connsiteX4" fmla="*/ 656215 w 2678100"/>
                <a:gd name="connsiteY4" fmla="*/ 100204 h 2476692"/>
                <a:gd name="connsiteX5" fmla="*/ 757815 w 2678100"/>
                <a:gd name="connsiteY5" fmla="*/ 119254 h 2476692"/>
                <a:gd name="connsiteX6" fmla="*/ 780040 w 2678100"/>
                <a:gd name="connsiteY6" fmla="*/ 135129 h 2476692"/>
                <a:gd name="connsiteX7" fmla="*/ 789565 w 2678100"/>
                <a:gd name="connsiteY7" fmla="*/ 138304 h 2476692"/>
                <a:gd name="connsiteX8" fmla="*/ 808615 w 2678100"/>
                <a:gd name="connsiteY8" fmla="*/ 154179 h 2476692"/>
                <a:gd name="connsiteX9" fmla="*/ 824490 w 2678100"/>
                <a:gd name="connsiteY9" fmla="*/ 176404 h 2476692"/>
                <a:gd name="connsiteX10" fmla="*/ 827665 w 2678100"/>
                <a:gd name="connsiteY10" fmla="*/ 185929 h 2476692"/>
                <a:gd name="connsiteX11" fmla="*/ 853065 w 2678100"/>
                <a:gd name="connsiteY11" fmla="*/ 201804 h 2476692"/>
                <a:gd name="connsiteX12" fmla="*/ 929265 w 2678100"/>
                <a:gd name="connsiteY12" fmla="*/ 220854 h 2476692"/>
                <a:gd name="connsiteX13" fmla="*/ 957840 w 2678100"/>
                <a:gd name="connsiteY13" fmla="*/ 198629 h 2476692"/>
                <a:gd name="connsiteX14" fmla="*/ 980065 w 2678100"/>
                <a:gd name="connsiteY14" fmla="*/ 182754 h 2476692"/>
                <a:gd name="connsiteX15" fmla="*/ 989590 w 2678100"/>
                <a:gd name="connsiteY15" fmla="*/ 176404 h 2476692"/>
                <a:gd name="connsiteX16" fmla="*/ 1011815 w 2678100"/>
                <a:gd name="connsiteY16" fmla="*/ 173229 h 2476692"/>
                <a:gd name="connsiteX17" fmla="*/ 1027690 w 2678100"/>
                <a:gd name="connsiteY17" fmla="*/ 166879 h 2476692"/>
                <a:gd name="connsiteX18" fmla="*/ 1094365 w 2678100"/>
                <a:gd name="connsiteY18" fmla="*/ 220854 h 2476692"/>
                <a:gd name="connsiteX19" fmla="*/ 1186440 w 2678100"/>
                <a:gd name="connsiteY19" fmla="*/ 217679 h 2476692"/>
                <a:gd name="connsiteX20" fmla="*/ 1278515 w 2678100"/>
                <a:gd name="connsiteY20" fmla="*/ 170054 h 2476692"/>
                <a:gd name="connsiteX21" fmla="*/ 1326140 w 2678100"/>
                <a:gd name="connsiteY21" fmla="*/ 74804 h 2476692"/>
                <a:gd name="connsiteX22" fmla="*/ 1373765 w 2678100"/>
                <a:gd name="connsiteY22" fmla="*/ 122429 h 2476692"/>
                <a:gd name="connsiteX23" fmla="*/ 1459490 w 2678100"/>
                <a:gd name="connsiteY23" fmla="*/ 144654 h 2476692"/>
                <a:gd name="connsiteX24" fmla="*/ 1589665 w 2678100"/>
                <a:gd name="connsiteY24" fmla="*/ 144654 h 2476692"/>
                <a:gd name="connsiteX25" fmla="*/ 1697615 w 2678100"/>
                <a:gd name="connsiteY25" fmla="*/ 97029 h 2476692"/>
                <a:gd name="connsiteX26" fmla="*/ 1726190 w 2678100"/>
                <a:gd name="connsiteY26" fmla="*/ 103379 h 2476692"/>
                <a:gd name="connsiteX27" fmla="*/ 1738890 w 2678100"/>
                <a:gd name="connsiteY27" fmla="*/ 122429 h 2476692"/>
                <a:gd name="connsiteX28" fmla="*/ 1732540 w 2678100"/>
                <a:gd name="connsiteY28" fmla="*/ 141479 h 2476692"/>
                <a:gd name="connsiteX29" fmla="*/ 1723015 w 2678100"/>
                <a:gd name="connsiteY29" fmla="*/ 154179 h 2476692"/>
                <a:gd name="connsiteX30" fmla="*/ 1802390 w 2678100"/>
                <a:gd name="connsiteY30" fmla="*/ 144654 h 2476692"/>
                <a:gd name="connsiteX31" fmla="*/ 1824615 w 2678100"/>
                <a:gd name="connsiteY31" fmla="*/ 160529 h 2476692"/>
                <a:gd name="connsiteX32" fmla="*/ 1827790 w 2678100"/>
                <a:gd name="connsiteY32" fmla="*/ 195454 h 2476692"/>
                <a:gd name="connsiteX33" fmla="*/ 1834140 w 2678100"/>
                <a:gd name="connsiteY33" fmla="*/ 217679 h 2476692"/>
                <a:gd name="connsiteX34" fmla="*/ 1840490 w 2678100"/>
                <a:gd name="connsiteY34" fmla="*/ 230379 h 2476692"/>
                <a:gd name="connsiteX35" fmla="*/ 1846840 w 2678100"/>
                <a:gd name="connsiteY35" fmla="*/ 239904 h 2476692"/>
                <a:gd name="connsiteX36" fmla="*/ 1846840 w 2678100"/>
                <a:gd name="connsiteY36" fmla="*/ 249429 h 2476692"/>
                <a:gd name="connsiteX37" fmla="*/ 1916690 w 2678100"/>
                <a:gd name="connsiteY37" fmla="*/ 274829 h 2476692"/>
                <a:gd name="connsiteX38" fmla="*/ 1945265 w 2678100"/>
                <a:gd name="connsiteY38" fmla="*/ 268479 h 2476692"/>
                <a:gd name="connsiteX39" fmla="*/ 1961140 w 2678100"/>
                <a:gd name="connsiteY39" fmla="*/ 274829 h 2476692"/>
                <a:gd name="connsiteX40" fmla="*/ 1977015 w 2678100"/>
                <a:gd name="connsiteY40" fmla="*/ 293879 h 2476692"/>
                <a:gd name="connsiteX41" fmla="*/ 2002415 w 2678100"/>
                <a:gd name="connsiteY41" fmla="*/ 297054 h 2476692"/>
                <a:gd name="connsiteX42" fmla="*/ 2002415 w 2678100"/>
                <a:gd name="connsiteY42" fmla="*/ 344679 h 2476692"/>
                <a:gd name="connsiteX43" fmla="*/ 1998496 w 2678100"/>
                <a:gd name="connsiteY43" fmla="*/ 359366 h 2476692"/>
                <a:gd name="connsiteX44" fmla="*/ 1997699 w 2678100"/>
                <a:gd name="connsiteY44" fmla="*/ 359161 h 2476692"/>
                <a:gd name="connsiteX45" fmla="*/ 1996509 w 2678100"/>
                <a:gd name="connsiteY45" fmla="*/ 357863 h 2476692"/>
                <a:gd name="connsiteX46" fmla="*/ 1996082 w 2678100"/>
                <a:gd name="connsiteY46" fmla="*/ 354482 h 2476692"/>
                <a:gd name="connsiteX47" fmla="*/ 1996065 w 2678100"/>
                <a:gd name="connsiteY47" fmla="*/ 357379 h 2476692"/>
                <a:gd name="connsiteX48" fmla="*/ 1996509 w 2678100"/>
                <a:gd name="connsiteY48" fmla="*/ 357863 h 2476692"/>
                <a:gd name="connsiteX49" fmla="*/ 1996639 w 2678100"/>
                <a:gd name="connsiteY49" fmla="*/ 358889 h 2476692"/>
                <a:gd name="connsiteX50" fmla="*/ 1997699 w 2678100"/>
                <a:gd name="connsiteY50" fmla="*/ 359161 h 2476692"/>
                <a:gd name="connsiteX51" fmla="*/ 2030990 w 2678100"/>
                <a:gd name="connsiteY51" fmla="*/ 395479 h 2476692"/>
                <a:gd name="connsiteX52" fmla="*/ 2059565 w 2678100"/>
                <a:gd name="connsiteY52" fmla="*/ 385954 h 2476692"/>
                <a:gd name="connsiteX53" fmla="*/ 2069090 w 2678100"/>
                <a:gd name="connsiteY53" fmla="*/ 379604 h 2476692"/>
                <a:gd name="connsiteX54" fmla="*/ 2078615 w 2678100"/>
                <a:gd name="connsiteY54" fmla="*/ 376429 h 2476692"/>
                <a:gd name="connsiteX55" fmla="*/ 2116715 w 2678100"/>
                <a:gd name="connsiteY55" fmla="*/ 379604 h 2476692"/>
                <a:gd name="connsiteX56" fmla="*/ 2119890 w 2678100"/>
                <a:gd name="connsiteY56" fmla="*/ 411354 h 2476692"/>
                <a:gd name="connsiteX57" fmla="*/ 2129415 w 2678100"/>
                <a:gd name="connsiteY57" fmla="*/ 443104 h 2476692"/>
                <a:gd name="connsiteX58" fmla="*/ 2132590 w 2678100"/>
                <a:gd name="connsiteY58" fmla="*/ 452629 h 2476692"/>
                <a:gd name="connsiteX59" fmla="*/ 2135765 w 2678100"/>
                <a:gd name="connsiteY59" fmla="*/ 462154 h 2476692"/>
                <a:gd name="connsiteX60" fmla="*/ 2142115 w 2678100"/>
                <a:gd name="connsiteY60" fmla="*/ 493904 h 2476692"/>
                <a:gd name="connsiteX61" fmla="*/ 2138940 w 2678100"/>
                <a:gd name="connsiteY61" fmla="*/ 532004 h 2476692"/>
                <a:gd name="connsiteX62" fmla="*/ 2110365 w 2678100"/>
                <a:gd name="connsiteY62" fmla="*/ 547879 h 2476692"/>
                <a:gd name="connsiteX63" fmla="*/ 2097665 w 2678100"/>
                <a:gd name="connsiteY63" fmla="*/ 557404 h 2476692"/>
                <a:gd name="connsiteX64" fmla="*/ 2094490 w 2678100"/>
                <a:gd name="connsiteY64" fmla="*/ 582804 h 2476692"/>
                <a:gd name="connsiteX65" fmla="*/ 2104015 w 2678100"/>
                <a:gd name="connsiteY65" fmla="*/ 608204 h 2476692"/>
                <a:gd name="connsiteX66" fmla="*/ 2110365 w 2678100"/>
                <a:gd name="connsiteY66" fmla="*/ 617729 h 2476692"/>
                <a:gd name="connsiteX67" fmla="*/ 2116715 w 2678100"/>
                <a:gd name="connsiteY67" fmla="*/ 643129 h 2476692"/>
                <a:gd name="connsiteX68" fmla="*/ 2119890 w 2678100"/>
                <a:gd name="connsiteY68" fmla="*/ 719329 h 2476692"/>
                <a:gd name="connsiteX69" fmla="*/ 2123065 w 2678100"/>
                <a:gd name="connsiteY69" fmla="*/ 728854 h 2476692"/>
                <a:gd name="connsiteX70" fmla="*/ 2142115 w 2678100"/>
                <a:gd name="connsiteY70" fmla="*/ 741554 h 2476692"/>
                <a:gd name="connsiteX71" fmla="*/ 2161165 w 2678100"/>
                <a:gd name="connsiteY71" fmla="*/ 738379 h 2476692"/>
                <a:gd name="connsiteX72" fmla="*/ 2170690 w 2678100"/>
                <a:gd name="connsiteY72" fmla="*/ 732029 h 2476692"/>
                <a:gd name="connsiteX73" fmla="*/ 2183390 w 2678100"/>
                <a:gd name="connsiteY73" fmla="*/ 725679 h 2476692"/>
                <a:gd name="connsiteX74" fmla="*/ 2192915 w 2678100"/>
                <a:gd name="connsiteY74" fmla="*/ 719329 h 2476692"/>
                <a:gd name="connsiteX75" fmla="*/ 2211965 w 2678100"/>
                <a:gd name="connsiteY75" fmla="*/ 712979 h 2476692"/>
                <a:gd name="connsiteX76" fmla="*/ 2259590 w 2678100"/>
                <a:gd name="connsiteY76" fmla="*/ 716154 h 2476692"/>
                <a:gd name="connsiteX77" fmla="*/ 2262765 w 2678100"/>
                <a:gd name="connsiteY77" fmla="*/ 732029 h 2476692"/>
                <a:gd name="connsiteX78" fmla="*/ 2272290 w 2678100"/>
                <a:gd name="connsiteY78" fmla="*/ 751079 h 2476692"/>
                <a:gd name="connsiteX79" fmla="*/ 2297690 w 2678100"/>
                <a:gd name="connsiteY79" fmla="*/ 754254 h 2476692"/>
                <a:gd name="connsiteX80" fmla="*/ 2329440 w 2678100"/>
                <a:gd name="connsiteY80" fmla="*/ 738379 h 2476692"/>
                <a:gd name="connsiteX81" fmla="*/ 2338965 w 2678100"/>
                <a:gd name="connsiteY81" fmla="*/ 735204 h 2476692"/>
                <a:gd name="connsiteX82" fmla="*/ 2367540 w 2678100"/>
                <a:gd name="connsiteY82" fmla="*/ 722504 h 2476692"/>
                <a:gd name="connsiteX83" fmla="*/ 2377065 w 2678100"/>
                <a:gd name="connsiteY83" fmla="*/ 719329 h 2476692"/>
                <a:gd name="connsiteX84" fmla="*/ 2391809 w 2678100"/>
                <a:gd name="connsiteY84" fmla="*/ 719329 h 2476692"/>
                <a:gd name="connsiteX85" fmla="*/ 2672340 w 2678100"/>
                <a:gd name="connsiteY85" fmla="*/ 1724217 h 2476692"/>
                <a:gd name="connsiteX86" fmla="*/ 2577090 w 2678100"/>
                <a:gd name="connsiteY86" fmla="*/ 1802798 h 2476692"/>
                <a:gd name="connsiteX87" fmla="*/ 2512796 w 2678100"/>
                <a:gd name="connsiteY87" fmla="*/ 1824229 h 2476692"/>
                <a:gd name="connsiteX88" fmla="*/ 2558040 w 2678100"/>
                <a:gd name="connsiteY88" fmla="*/ 1883760 h 2476692"/>
                <a:gd name="connsiteX89" fmla="*/ 2555659 w 2678100"/>
                <a:gd name="connsiteY89" fmla="*/ 1909954 h 2476692"/>
                <a:gd name="connsiteX90" fmla="*/ 2527084 w 2678100"/>
                <a:gd name="connsiteY90" fmla="*/ 1995679 h 2476692"/>
                <a:gd name="connsiteX91" fmla="*/ 2503271 w 2678100"/>
                <a:gd name="connsiteY91" fmla="*/ 1986154 h 2476692"/>
                <a:gd name="connsiteX92" fmla="*/ 2472315 w 2678100"/>
                <a:gd name="connsiteY92" fmla="*/ 1971867 h 2476692"/>
                <a:gd name="connsiteX93" fmla="*/ 2436596 w 2678100"/>
                <a:gd name="connsiteY93" fmla="*/ 1986154 h 2476692"/>
                <a:gd name="connsiteX94" fmla="*/ 2450884 w 2678100"/>
                <a:gd name="connsiteY94" fmla="*/ 2017110 h 2476692"/>
                <a:gd name="connsiteX95" fmla="*/ 2465171 w 2678100"/>
                <a:gd name="connsiteY95" fmla="*/ 2057592 h 2476692"/>
                <a:gd name="connsiteX96" fmla="*/ 2455646 w 2678100"/>
                <a:gd name="connsiteY96" fmla="*/ 2121885 h 2476692"/>
                <a:gd name="connsiteX97" fmla="*/ 2410403 w 2678100"/>
                <a:gd name="connsiteY97" fmla="*/ 2152842 h 2476692"/>
                <a:gd name="connsiteX98" fmla="*/ 2458028 w 2678100"/>
                <a:gd name="connsiteY98" fmla="*/ 2186180 h 2476692"/>
                <a:gd name="connsiteX99" fmla="*/ 2448503 w 2678100"/>
                <a:gd name="connsiteY99" fmla="*/ 2226660 h 2476692"/>
                <a:gd name="connsiteX100" fmla="*/ 2410403 w 2678100"/>
                <a:gd name="connsiteY100" fmla="*/ 2262379 h 2476692"/>
                <a:gd name="connsiteX101" fmla="*/ 2388971 w 2678100"/>
                <a:gd name="connsiteY101" fmla="*/ 2331435 h 2476692"/>
                <a:gd name="connsiteX102" fmla="*/ 2405640 w 2678100"/>
                <a:gd name="connsiteY102" fmla="*/ 2381442 h 2476692"/>
                <a:gd name="connsiteX103" fmla="*/ 2391353 w 2678100"/>
                <a:gd name="connsiteY103" fmla="*/ 2414779 h 2476692"/>
                <a:gd name="connsiteX104" fmla="*/ 2334203 w 2678100"/>
                <a:gd name="connsiteY104" fmla="*/ 2433829 h 2476692"/>
                <a:gd name="connsiteX105" fmla="*/ 2305628 w 2678100"/>
                <a:gd name="connsiteY105" fmla="*/ 2443354 h 2476692"/>
                <a:gd name="connsiteX106" fmla="*/ 2296103 w 2678100"/>
                <a:gd name="connsiteY106" fmla="*/ 2457642 h 2476692"/>
                <a:gd name="connsiteX107" fmla="*/ 2262765 w 2678100"/>
                <a:gd name="connsiteY107" fmla="*/ 2462404 h 2476692"/>
                <a:gd name="connsiteX108" fmla="*/ 2229428 w 2678100"/>
                <a:gd name="connsiteY108" fmla="*/ 2438592 h 2476692"/>
                <a:gd name="connsiteX109" fmla="*/ 2215140 w 2678100"/>
                <a:gd name="connsiteY109" fmla="*/ 2433829 h 2476692"/>
                <a:gd name="connsiteX110" fmla="*/ 2205615 w 2678100"/>
                <a:gd name="connsiteY110" fmla="*/ 2457642 h 2476692"/>
                <a:gd name="connsiteX111" fmla="*/ 2191328 w 2678100"/>
                <a:gd name="connsiteY111" fmla="*/ 2467167 h 2476692"/>
                <a:gd name="connsiteX112" fmla="*/ 2153228 w 2678100"/>
                <a:gd name="connsiteY112" fmla="*/ 2476692 h 2476692"/>
                <a:gd name="connsiteX113" fmla="*/ 2134178 w 2678100"/>
                <a:gd name="connsiteY113" fmla="*/ 2448117 h 2476692"/>
                <a:gd name="connsiteX114" fmla="*/ 2124653 w 2678100"/>
                <a:gd name="connsiteY114" fmla="*/ 2433829 h 2476692"/>
                <a:gd name="connsiteX115" fmla="*/ 2119890 w 2678100"/>
                <a:gd name="connsiteY115" fmla="*/ 2352867 h 2476692"/>
                <a:gd name="connsiteX116" fmla="*/ 2124653 w 2678100"/>
                <a:gd name="connsiteY116" fmla="*/ 2338579 h 2476692"/>
                <a:gd name="connsiteX117" fmla="*/ 2167515 w 2678100"/>
                <a:gd name="connsiteY117" fmla="*/ 2290954 h 2476692"/>
                <a:gd name="connsiteX118" fmla="*/ 2177040 w 2678100"/>
                <a:gd name="connsiteY118" fmla="*/ 2276667 h 2476692"/>
                <a:gd name="connsiteX119" fmla="*/ 2153228 w 2678100"/>
                <a:gd name="connsiteY119" fmla="*/ 2248092 h 2476692"/>
                <a:gd name="connsiteX120" fmla="*/ 2134178 w 2678100"/>
                <a:gd name="connsiteY120" fmla="*/ 2238567 h 2476692"/>
                <a:gd name="connsiteX121" fmla="*/ 2129415 w 2678100"/>
                <a:gd name="connsiteY121" fmla="*/ 2214754 h 2476692"/>
                <a:gd name="connsiteX122" fmla="*/ 2148465 w 2678100"/>
                <a:gd name="connsiteY122" fmla="*/ 2186179 h 2476692"/>
                <a:gd name="connsiteX123" fmla="*/ 2167515 w 2678100"/>
                <a:gd name="connsiteY123" fmla="*/ 2190942 h 2476692"/>
                <a:gd name="connsiteX124" fmla="*/ 2229428 w 2678100"/>
                <a:gd name="connsiteY124" fmla="*/ 2186179 h 2476692"/>
                <a:gd name="connsiteX125" fmla="*/ 2234190 w 2678100"/>
                <a:gd name="connsiteY125" fmla="*/ 2171892 h 2476692"/>
                <a:gd name="connsiteX126" fmla="*/ 2224665 w 2678100"/>
                <a:gd name="connsiteY126" fmla="*/ 2143317 h 2476692"/>
                <a:gd name="connsiteX127" fmla="*/ 2210378 w 2678100"/>
                <a:gd name="connsiteY127" fmla="*/ 2129029 h 2476692"/>
                <a:gd name="connsiteX128" fmla="*/ 2191328 w 2678100"/>
                <a:gd name="connsiteY128" fmla="*/ 2119504 h 2476692"/>
                <a:gd name="connsiteX129" fmla="*/ 2162753 w 2678100"/>
                <a:gd name="connsiteY129" fmla="*/ 2114742 h 2476692"/>
                <a:gd name="connsiteX130" fmla="*/ 2157990 w 2678100"/>
                <a:gd name="connsiteY130" fmla="*/ 2095692 h 2476692"/>
                <a:gd name="connsiteX131" fmla="*/ 2181803 w 2678100"/>
                <a:gd name="connsiteY131" fmla="*/ 2062354 h 2476692"/>
                <a:gd name="connsiteX132" fmla="*/ 2191328 w 2678100"/>
                <a:gd name="connsiteY132" fmla="*/ 2048067 h 2476692"/>
                <a:gd name="connsiteX133" fmla="*/ 2196090 w 2678100"/>
                <a:gd name="connsiteY133" fmla="*/ 1986154 h 2476692"/>
                <a:gd name="connsiteX134" fmla="*/ 2186565 w 2678100"/>
                <a:gd name="connsiteY134" fmla="*/ 1957579 h 2476692"/>
                <a:gd name="connsiteX135" fmla="*/ 2162753 w 2678100"/>
                <a:gd name="connsiteY135" fmla="*/ 1952817 h 2476692"/>
                <a:gd name="connsiteX136" fmla="*/ 2134178 w 2678100"/>
                <a:gd name="connsiteY136" fmla="*/ 1971867 h 2476692"/>
                <a:gd name="connsiteX137" fmla="*/ 2124653 w 2678100"/>
                <a:gd name="connsiteY137" fmla="*/ 1986154 h 2476692"/>
                <a:gd name="connsiteX138" fmla="*/ 2105603 w 2678100"/>
                <a:gd name="connsiteY138" fmla="*/ 2005204 h 2476692"/>
                <a:gd name="connsiteX139" fmla="*/ 2072265 w 2678100"/>
                <a:gd name="connsiteY139" fmla="*/ 2038542 h 2476692"/>
                <a:gd name="connsiteX140" fmla="*/ 2057978 w 2678100"/>
                <a:gd name="connsiteY140" fmla="*/ 2048067 h 2476692"/>
                <a:gd name="connsiteX141" fmla="*/ 2029403 w 2678100"/>
                <a:gd name="connsiteY141" fmla="*/ 2052829 h 2476692"/>
                <a:gd name="connsiteX142" fmla="*/ 2019878 w 2678100"/>
                <a:gd name="connsiteY142" fmla="*/ 2009967 h 2476692"/>
                <a:gd name="connsiteX143" fmla="*/ 1991303 w 2678100"/>
                <a:gd name="connsiteY143" fmla="*/ 1986154 h 2476692"/>
                <a:gd name="connsiteX144" fmla="*/ 1962728 w 2678100"/>
                <a:gd name="connsiteY144" fmla="*/ 1976629 h 2476692"/>
                <a:gd name="connsiteX145" fmla="*/ 1948440 w 2678100"/>
                <a:gd name="connsiteY145" fmla="*/ 1990917 h 2476692"/>
                <a:gd name="connsiteX146" fmla="*/ 1910340 w 2678100"/>
                <a:gd name="connsiteY146" fmla="*/ 2000442 h 2476692"/>
                <a:gd name="connsiteX147" fmla="*/ 1891290 w 2678100"/>
                <a:gd name="connsiteY147" fmla="*/ 1971867 h 2476692"/>
                <a:gd name="connsiteX148" fmla="*/ 1886528 w 2678100"/>
                <a:gd name="connsiteY148" fmla="*/ 1952817 h 2476692"/>
                <a:gd name="connsiteX149" fmla="*/ 1881765 w 2678100"/>
                <a:gd name="connsiteY149" fmla="*/ 1929004 h 2476692"/>
                <a:gd name="connsiteX150" fmla="*/ 1877003 w 2678100"/>
                <a:gd name="connsiteY150" fmla="*/ 1886142 h 2476692"/>
                <a:gd name="connsiteX151" fmla="*/ 1862715 w 2678100"/>
                <a:gd name="connsiteY151" fmla="*/ 1871854 h 2476692"/>
                <a:gd name="connsiteX152" fmla="*/ 1853190 w 2678100"/>
                <a:gd name="connsiteY152" fmla="*/ 1857567 h 2476692"/>
                <a:gd name="connsiteX153" fmla="*/ 1824615 w 2678100"/>
                <a:gd name="connsiteY153" fmla="*/ 1838517 h 2476692"/>
                <a:gd name="connsiteX154" fmla="*/ 1819853 w 2678100"/>
                <a:gd name="connsiteY154" fmla="*/ 1819467 h 2476692"/>
                <a:gd name="connsiteX155" fmla="*/ 1834140 w 2678100"/>
                <a:gd name="connsiteY155" fmla="*/ 1814704 h 2476692"/>
                <a:gd name="connsiteX156" fmla="*/ 1848428 w 2678100"/>
                <a:gd name="connsiteY156" fmla="*/ 1809942 h 2476692"/>
                <a:gd name="connsiteX157" fmla="*/ 1862715 w 2678100"/>
                <a:gd name="connsiteY157" fmla="*/ 1805179 h 2476692"/>
                <a:gd name="connsiteX158" fmla="*/ 1891290 w 2678100"/>
                <a:gd name="connsiteY158" fmla="*/ 1795654 h 2476692"/>
                <a:gd name="connsiteX159" fmla="*/ 1896053 w 2678100"/>
                <a:gd name="connsiteY159" fmla="*/ 1781367 h 2476692"/>
                <a:gd name="connsiteX160" fmla="*/ 1900815 w 2678100"/>
                <a:gd name="connsiteY160" fmla="*/ 1762317 h 2476692"/>
                <a:gd name="connsiteX161" fmla="*/ 1891290 w 2678100"/>
                <a:gd name="connsiteY161" fmla="*/ 1676592 h 2476692"/>
                <a:gd name="connsiteX162" fmla="*/ 1719840 w 2678100"/>
                <a:gd name="connsiteY162" fmla="*/ 1671829 h 2476692"/>
                <a:gd name="connsiteX163" fmla="*/ 1710315 w 2678100"/>
                <a:gd name="connsiteY163" fmla="*/ 1690879 h 2476692"/>
                <a:gd name="connsiteX164" fmla="*/ 1696028 w 2678100"/>
                <a:gd name="connsiteY164" fmla="*/ 1709929 h 2476692"/>
                <a:gd name="connsiteX165" fmla="*/ 1681740 w 2678100"/>
                <a:gd name="connsiteY165" fmla="*/ 1724217 h 2476692"/>
                <a:gd name="connsiteX166" fmla="*/ 1676978 w 2678100"/>
                <a:gd name="connsiteY166" fmla="*/ 1738504 h 2476692"/>
                <a:gd name="connsiteX167" fmla="*/ 1667453 w 2678100"/>
                <a:gd name="connsiteY167" fmla="*/ 1762317 h 2476692"/>
                <a:gd name="connsiteX168" fmla="*/ 1643640 w 2678100"/>
                <a:gd name="connsiteY168" fmla="*/ 1795654 h 2476692"/>
                <a:gd name="connsiteX169" fmla="*/ 1291215 w 2678100"/>
                <a:gd name="connsiteY169" fmla="*/ 1938529 h 2476692"/>
                <a:gd name="connsiteX170" fmla="*/ 1162628 w 2678100"/>
                <a:gd name="connsiteY170" fmla="*/ 1833754 h 2476692"/>
                <a:gd name="connsiteX171" fmla="*/ 1091190 w 2678100"/>
                <a:gd name="connsiteY171" fmla="*/ 1843279 h 2476692"/>
                <a:gd name="connsiteX172" fmla="*/ 1014990 w 2678100"/>
                <a:gd name="connsiteY172" fmla="*/ 1786129 h 2476692"/>
                <a:gd name="connsiteX173" fmla="*/ 1024515 w 2678100"/>
                <a:gd name="connsiteY173" fmla="*/ 1733742 h 2476692"/>
                <a:gd name="connsiteX174" fmla="*/ 957840 w 2678100"/>
                <a:gd name="connsiteY174" fmla="*/ 1719454 h 2476692"/>
                <a:gd name="connsiteX175" fmla="*/ 767340 w 2678100"/>
                <a:gd name="connsiteY175" fmla="*/ 1671829 h 2476692"/>
                <a:gd name="connsiteX176" fmla="*/ 743528 w 2678100"/>
                <a:gd name="connsiteY176" fmla="*/ 1681354 h 2476692"/>
                <a:gd name="connsiteX177" fmla="*/ 729240 w 2678100"/>
                <a:gd name="connsiteY177" fmla="*/ 1686117 h 2476692"/>
                <a:gd name="connsiteX178" fmla="*/ 700665 w 2678100"/>
                <a:gd name="connsiteY178" fmla="*/ 1667067 h 2476692"/>
                <a:gd name="connsiteX179" fmla="*/ 657803 w 2678100"/>
                <a:gd name="connsiteY179" fmla="*/ 1624204 h 2476692"/>
                <a:gd name="connsiteX180" fmla="*/ 605415 w 2678100"/>
                <a:gd name="connsiteY180" fmla="*/ 1638492 h 2476692"/>
                <a:gd name="connsiteX181" fmla="*/ 533978 w 2678100"/>
                <a:gd name="connsiteY181" fmla="*/ 1543242 h 2476692"/>
                <a:gd name="connsiteX182" fmla="*/ 548265 w 2678100"/>
                <a:gd name="connsiteY182" fmla="*/ 1528954 h 2476692"/>
                <a:gd name="connsiteX183" fmla="*/ 567315 w 2678100"/>
                <a:gd name="connsiteY183" fmla="*/ 1514667 h 2476692"/>
                <a:gd name="connsiteX184" fmla="*/ 581603 w 2678100"/>
                <a:gd name="connsiteY184" fmla="*/ 1476567 h 2476692"/>
                <a:gd name="connsiteX185" fmla="*/ 567315 w 2678100"/>
                <a:gd name="connsiteY185" fmla="*/ 1471804 h 2476692"/>
                <a:gd name="connsiteX186" fmla="*/ 543503 w 2678100"/>
                <a:gd name="connsiteY186" fmla="*/ 1462279 h 2476692"/>
                <a:gd name="connsiteX187" fmla="*/ 562553 w 2678100"/>
                <a:gd name="connsiteY187" fmla="*/ 1428942 h 2476692"/>
                <a:gd name="connsiteX188" fmla="*/ 567315 w 2678100"/>
                <a:gd name="connsiteY188" fmla="*/ 1414654 h 2476692"/>
                <a:gd name="connsiteX189" fmla="*/ 586365 w 2678100"/>
                <a:gd name="connsiteY189" fmla="*/ 1386079 h 2476692"/>
                <a:gd name="connsiteX190" fmla="*/ 619703 w 2678100"/>
                <a:gd name="connsiteY190" fmla="*/ 1362267 h 2476692"/>
                <a:gd name="connsiteX191" fmla="*/ 633990 w 2678100"/>
                <a:gd name="connsiteY191" fmla="*/ 1343217 h 2476692"/>
                <a:gd name="connsiteX192" fmla="*/ 662565 w 2678100"/>
                <a:gd name="connsiteY192" fmla="*/ 1319404 h 2476692"/>
                <a:gd name="connsiteX193" fmla="*/ 667328 w 2678100"/>
                <a:gd name="connsiteY193" fmla="*/ 1281304 h 2476692"/>
                <a:gd name="connsiteX194" fmla="*/ 638753 w 2678100"/>
                <a:gd name="connsiteY194" fmla="*/ 1267017 h 2476692"/>
                <a:gd name="connsiteX195" fmla="*/ 633990 w 2678100"/>
                <a:gd name="connsiteY195" fmla="*/ 1252729 h 2476692"/>
                <a:gd name="connsiteX196" fmla="*/ 643515 w 2678100"/>
                <a:gd name="connsiteY196" fmla="*/ 1238442 h 2476692"/>
                <a:gd name="connsiteX197" fmla="*/ 672090 w 2678100"/>
                <a:gd name="connsiteY197" fmla="*/ 1219392 h 2476692"/>
                <a:gd name="connsiteX198" fmla="*/ 672090 w 2678100"/>
                <a:gd name="connsiteY198" fmla="*/ 1162242 h 2476692"/>
                <a:gd name="connsiteX199" fmla="*/ 662565 w 2678100"/>
                <a:gd name="connsiteY199" fmla="*/ 1147954 h 2476692"/>
                <a:gd name="connsiteX200" fmla="*/ 619703 w 2678100"/>
                <a:gd name="connsiteY200" fmla="*/ 1167004 h 2476692"/>
                <a:gd name="connsiteX201" fmla="*/ 610178 w 2678100"/>
                <a:gd name="connsiteY201" fmla="*/ 1152717 h 2476692"/>
                <a:gd name="connsiteX202" fmla="*/ 605415 w 2678100"/>
                <a:gd name="connsiteY202" fmla="*/ 1105092 h 2476692"/>
                <a:gd name="connsiteX203" fmla="*/ 595890 w 2678100"/>
                <a:gd name="connsiteY203" fmla="*/ 1086042 h 2476692"/>
                <a:gd name="connsiteX204" fmla="*/ 576840 w 2678100"/>
                <a:gd name="connsiteY204" fmla="*/ 1057467 h 2476692"/>
                <a:gd name="connsiteX205" fmla="*/ 572078 w 2678100"/>
                <a:gd name="connsiteY205" fmla="*/ 1043179 h 2476692"/>
                <a:gd name="connsiteX206" fmla="*/ 562553 w 2678100"/>
                <a:gd name="connsiteY206" fmla="*/ 962217 h 2476692"/>
                <a:gd name="connsiteX207" fmla="*/ 462540 w 2678100"/>
                <a:gd name="connsiteY207" fmla="*/ 1043179 h 2476692"/>
                <a:gd name="connsiteX208" fmla="*/ 433965 w 2678100"/>
                <a:gd name="connsiteY208" fmla="*/ 952692 h 2476692"/>
                <a:gd name="connsiteX209" fmla="*/ 343478 w 2678100"/>
                <a:gd name="connsiteY209" fmla="*/ 862204 h 2476692"/>
                <a:gd name="connsiteX210" fmla="*/ 262515 w 2678100"/>
                <a:gd name="connsiteY210" fmla="*/ 871729 h 2476692"/>
                <a:gd name="connsiteX211" fmla="*/ 205365 w 2678100"/>
                <a:gd name="connsiteY211" fmla="*/ 919354 h 2476692"/>
                <a:gd name="connsiteX212" fmla="*/ 95828 w 2678100"/>
                <a:gd name="connsiteY212" fmla="*/ 986029 h 2476692"/>
                <a:gd name="connsiteX213" fmla="*/ 24390 w 2678100"/>
                <a:gd name="connsiteY213" fmla="*/ 986029 h 2476692"/>
                <a:gd name="connsiteX214" fmla="*/ 14865 w 2678100"/>
                <a:gd name="connsiteY214" fmla="*/ 947929 h 2476692"/>
                <a:gd name="connsiteX215" fmla="*/ 578 w 2678100"/>
                <a:gd name="connsiteY215" fmla="*/ 933642 h 2476692"/>
                <a:gd name="connsiteX216" fmla="*/ 5340 w 2678100"/>
                <a:gd name="connsiteY216" fmla="*/ 890779 h 2476692"/>
                <a:gd name="connsiteX217" fmla="*/ 57728 w 2678100"/>
                <a:gd name="connsiteY217" fmla="*/ 781242 h 2476692"/>
                <a:gd name="connsiteX218" fmla="*/ 238703 w 2678100"/>
                <a:gd name="connsiteY218" fmla="*/ 543117 h 2476692"/>
                <a:gd name="connsiteX219" fmla="*/ 333953 w 2678100"/>
                <a:gd name="connsiteY219" fmla="*/ 543117 h 2476692"/>
                <a:gd name="connsiteX220" fmla="*/ 429203 w 2678100"/>
                <a:gd name="connsiteY220" fmla="*/ 524067 h 2476692"/>
                <a:gd name="connsiteX221" fmla="*/ 467303 w 2678100"/>
                <a:gd name="connsiteY221" fmla="*/ 538354 h 2476692"/>
                <a:gd name="connsiteX222" fmla="*/ 481590 w 2678100"/>
                <a:gd name="connsiteY222" fmla="*/ 528829 h 2476692"/>
                <a:gd name="connsiteX223" fmla="*/ 486353 w 2678100"/>
                <a:gd name="connsiteY223" fmla="*/ 514542 h 2476692"/>
                <a:gd name="connsiteX224" fmla="*/ 491115 w 2678100"/>
                <a:gd name="connsiteY224" fmla="*/ 466917 h 2476692"/>
                <a:gd name="connsiteX225" fmla="*/ 481590 w 2678100"/>
                <a:gd name="connsiteY225" fmla="*/ 438342 h 2476692"/>
                <a:gd name="connsiteX226" fmla="*/ 462540 w 2678100"/>
                <a:gd name="connsiteY226" fmla="*/ 409767 h 2476692"/>
                <a:gd name="connsiteX227" fmla="*/ 472065 w 2678100"/>
                <a:gd name="connsiteY227" fmla="*/ 347854 h 2476692"/>
                <a:gd name="connsiteX228" fmla="*/ 505403 w 2678100"/>
                <a:gd name="connsiteY228" fmla="*/ 295467 h 2476692"/>
                <a:gd name="connsiteX229" fmla="*/ 514928 w 2678100"/>
                <a:gd name="connsiteY229" fmla="*/ 281179 h 2476692"/>
                <a:gd name="connsiteX230" fmla="*/ 519690 w 2678100"/>
                <a:gd name="connsiteY230" fmla="*/ 257367 h 2476692"/>
                <a:gd name="connsiteX231" fmla="*/ 529215 w 2678100"/>
                <a:gd name="connsiteY231" fmla="*/ 243079 h 2476692"/>
                <a:gd name="connsiteX232" fmla="*/ 538740 w 2678100"/>
                <a:gd name="connsiteY232" fmla="*/ 204979 h 2476692"/>
                <a:gd name="connsiteX233" fmla="*/ 548265 w 2678100"/>
                <a:gd name="connsiteY233" fmla="*/ 185929 h 2476692"/>
                <a:gd name="connsiteX234" fmla="*/ 553028 w 2678100"/>
                <a:gd name="connsiteY234" fmla="*/ 171642 h 2476692"/>
                <a:gd name="connsiteX235" fmla="*/ 562553 w 2678100"/>
                <a:gd name="connsiteY235" fmla="*/ 157354 h 2476692"/>
                <a:gd name="connsiteX236" fmla="*/ 567315 w 2678100"/>
                <a:gd name="connsiteY236" fmla="*/ 133542 h 2476692"/>
                <a:gd name="connsiteX237" fmla="*/ 576840 w 2678100"/>
                <a:gd name="connsiteY237" fmla="*/ 100204 h 2476692"/>
                <a:gd name="connsiteX238" fmla="*/ 581603 w 2678100"/>
                <a:gd name="connsiteY238" fmla="*/ 81154 h 2476692"/>
                <a:gd name="connsiteX239" fmla="*/ 595890 w 2678100"/>
                <a:gd name="connsiteY239" fmla="*/ 33529 h 2476692"/>
                <a:gd name="connsiteX240" fmla="*/ 619703 w 2678100"/>
                <a:gd name="connsiteY240" fmla="*/ 192 h 2476692"/>
                <a:gd name="connsiteX241" fmla="*/ 621543 w 2678100"/>
                <a:gd name="connsiteY241" fmla="*/ 0 h 2476692"/>
                <a:gd name="connsiteX0" fmla="*/ 621543 w 2682892"/>
                <a:gd name="connsiteY0" fmla="*/ 0 h 2476692"/>
                <a:gd name="connsiteX1" fmla="*/ 637165 w 2682892"/>
                <a:gd name="connsiteY1" fmla="*/ 20829 h 2476692"/>
                <a:gd name="connsiteX2" fmla="*/ 643515 w 2682892"/>
                <a:gd name="connsiteY2" fmla="*/ 30354 h 2476692"/>
                <a:gd name="connsiteX3" fmla="*/ 646690 w 2682892"/>
                <a:gd name="connsiteY3" fmla="*/ 74804 h 2476692"/>
                <a:gd name="connsiteX4" fmla="*/ 656215 w 2682892"/>
                <a:gd name="connsiteY4" fmla="*/ 100204 h 2476692"/>
                <a:gd name="connsiteX5" fmla="*/ 757815 w 2682892"/>
                <a:gd name="connsiteY5" fmla="*/ 119254 h 2476692"/>
                <a:gd name="connsiteX6" fmla="*/ 780040 w 2682892"/>
                <a:gd name="connsiteY6" fmla="*/ 135129 h 2476692"/>
                <a:gd name="connsiteX7" fmla="*/ 789565 w 2682892"/>
                <a:gd name="connsiteY7" fmla="*/ 138304 h 2476692"/>
                <a:gd name="connsiteX8" fmla="*/ 808615 w 2682892"/>
                <a:gd name="connsiteY8" fmla="*/ 154179 h 2476692"/>
                <a:gd name="connsiteX9" fmla="*/ 824490 w 2682892"/>
                <a:gd name="connsiteY9" fmla="*/ 176404 h 2476692"/>
                <a:gd name="connsiteX10" fmla="*/ 827665 w 2682892"/>
                <a:gd name="connsiteY10" fmla="*/ 185929 h 2476692"/>
                <a:gd name="connsiteX11" fmla="*/ 853065 w 2682892"/>
                <a:gd name="connsiteY11" fmla="*/ 201804 h 2476692"/>
                <a:gd name="connsiteX12" fmla="*/ 929265 w 2682892"/>
                <a:gd name="connsiteY12" fmla="*/ 220854 h 2476692"/>
                <a:gd name="connsiteX13" fmla="*/ 957840 w 2682892"/>
                <a:gd name="connsiteY13" fmla="*/ 198629 h 2476692"/>
                <a:gd name="connsiteX14" fmla="*/ 980065 w 2682892"/>
                <a:gd name="connsiteY14" fmla="*/ 182754 h 2476692"/>
                <a:gd name="connsiteX15" fmla="*/ 989590 w 2682892"/>
                <a:gd name="connsiteY15" fmla="*/ 176404 h 2476692"/>
                <a:gd name="connsiteX16" fmla="*/ 1011815 w 2682892"/>
                <a:gd name="connsiteY16" fmla="*/ 173229 h 2476692"/>
                <a:gd name="connsiteX17" fmla="*/ 1027690 w 2682892"/>
                <a:gd name="connsiteY17" fmla="*/ 166879 h 2476692"/>
                <a:gd name="connsiteX18" fmla="*/ 1094365 w 2682892"/>
                <a:gd name="connsiteY18" fmla="*/ 220854 h 2476692"/>
                <a:gd name="connsiteX19" fmla="*/ 1186440 w 2682892"/>
                <a:gd name="connsiteY19" fmla="*/ 217679 h 2476692"/>
                <a:gd name="connsiteX20" fmla="*/ 1278515 w 2682892"/>
                <a:gd name="connsiteY20" fmla="*/ 170054 h 2476692"/>
                <a:gd name="connsiteX21" fmla="*/ 1326140 w 2682892"/>
                <a:gd name="connsiteY21" fmla="*/ 74804 h 2476692"/>
                <a:gd name="connsiteX22" fmla="*/ 1373765 w 2682892"/>
                <a:gd name="connsiteY22" fmla="*/ 122429 h 2476692"/>
                <a:gd name="connsiteX23" fmla="*/ 1459490 w 2682892"/>
                <a:gd name="connsiteY23" fmla="*/ 144654 h 2476692"/>
                <a:gd name="connsiteX24" fmla="*/ 1589665 w 2682892"/>
                <a:gd name="connsiteY24" fmla="*/ 144654 h 2476692"/>
                <a:gd name="connsiteX25" fmla="*/ 1697615 w 2682892"/>
                <a:gd name="connsiteY25" fmla="*/ 97029 h 2476692"/>
                <a:gd name="connsiteX26" fmla="*/ 1726190 w 2682892"/>
                <a:gd name="connsiteY26" fmla="*/ 103379 h 2476692"/>
                <a:gd name="connsiteX27" fmla="*/ 1738890 w 2682892"/>
                <a:gd name="connsiteY27" fmla="*/ 122429 h 2476692"/>
                <a:gd name="connsiteX28" fmla="*/ 1732540 w 2682892"/>
                <a:gd name="connsiteY28" fmla="*/ 141479 h 2476692"/>
                <a:gd name="connsiteX29" fmla="*/ 1723015 w 2682892"/>
                <a:gd name="connsiteY29" fmla="*/ 154179 h 2476692"/>
                <a:gd name="connsiteX30" fmla="*/ 1802390 w 2682892"/>
                <a:gd name="connsiteY30" fmla="*/ 144654 h 2476692"/>
                <a:gd name="connsiteX31" fmla="*/ 1824615 w 2682892"/>
                <a:gd name="connsiteY31" fmla="*/ 160529 h 2476692"/>
                <a:gd name="connsiteX32" fmla="*/ 1827790 w 2682892"/>
                <a:gd name="connsiteY32" fmla="*/ 195454 h 2476692"/>
                <a:gd name="connsiteX33" fmla="*/ 1834140 w 2682892"/>
                <a:gd name="connsiteY33" fmla="*/ 217679 h 2476692"/>
                <a:gd name="connsiteX34" fmla="*/ 1840490 w 2682892"/>
                <a:gd name="connsiteY34" fmla="*/ 230379 h 2476692"/>
                <a:gd name="connsiteX35" fmla="*/ 1846840 w 2682892"/>
                <a:gd name="connsiteY35" fmla="*/ 239904 h 2476692"/>
                <a:gd name="connsiteX36" fmla="*/ 1846840 w 2682892"/>
                <a:gd name="connsiteY36" fmla="*/ 249429 h 2476692"/>
                <a:gd name="connsiteX37" fmla="*/ 1916690 w 2682892"/>
                <a:gd name="connsiteY37" fmla="*/ 274829 h 2476692"/>
                <a:gd name="connsiteX38" fmla="*/ 1945265 w 2682892"/>
                <a:gd name="connsiteY38" fmla="*/ 268479 h 2476692"/>
                <a:gd name="connsiteX39" fmla="*/ 1961140 w 2682892"/>
                <a:gd name="connsiteY39" fmla="*/ 274829 h 2476692"/>
                <a:gd name="connsiteX40" fmla="*/ 1977015 w 2682892"/>
                <a:gd name="connsiteY40" fmla="*/ 293879 h 2476692"/>
                <a:gd name="connsiteX41" fmla="*/ 2002415 w 2682892"/>
                <a:gd name="connsiteY41" fmla="*/ 297054 h 2476692"/>
                <a:gd name="connsiteX42" fmla="*/ 2002415 w 2682892"/>
                <a:gd name="connsiteY42" fmla="*/ 344679 h 2476692"/>
                <a:gd name="connsiteX43" fmla="*/ 1998496 w 2682892"/>
                <a:gd name="connsiteY43" fmla="*/ 359366 h 2476692"/>
                <a:gd name="connsiteX44" fmla="*/ 1997699 w 2682892"/>
                <a:gd name="connsiteY44" fmla="*/ 359161 h 2476692"/>
                <a:gd name="connsiteX45" fmla="*/ 1996509 w 2682892"/>
                <a:gd name="connsiteY45" fmla="*/ 357863 h 2476692"/>
                <a:gd name="connsiteX46" fmla="*/ 1996082 w 2682892"/>
                <a:gd name="connsiteY46" fmla="*/ 354482 h 2476692"/>
                <a:gd name="connsiteX47" fmla="*/ 1996065 w 2682892"/>
                <a:gd name="connsiteY47" fmla="*/ 357379 h 2476692"/>
                <a:gd name="connsiteX48" fmla="*/ 1996509 w 2682892"/>
                <a:gd name="connsiteY48" fmla="*/ 357863 h 2476692"/>
                <a:gd name="connsiteX49" fmla="*/ 1996639 w 2682892"/>
                <a:gd name="connsiteY49" fmla="*/ 358889 h 2476692"/>
                <a:gd name="connsiteX50" fmla="*/ 1997699 w 2682892"/>
                <a:gd name="connsiteY50" fmla="*/ 359161 h 2476692"/>
                <a:gd name="connsiteX51" fmla="*/ 2030990 w 2682892"/>
                <a:gd name="connsiteY51" fmla="*/ 395479 h 2476692"/>
                <a:gd name="connsiteX52" fmla="*/ 2059565 w 2682892"/>
                <a:gd name="connsiteY52" fmla="*/ 385954 h 2476692"/>
                <a:gd name="connsiteX53" fmla="*/ 2069090 w 2682892"/>
                <a:gd name="connsiteY53" fmla="*/ 379604 h 2476692"/>
                <a:gd name="connsiteX54" fmla="*/ 2078615 w 2682892"/>
                <a:gd name="connsiteY54" fmla="*/ 376429 h 2476692"/>
                <a:gd name="connsiteX55" fmla="*/ 2116715 w 2682892"/>
                <a:gd name="connsiteY55" fmla="*/ 379604 h 2476692"/>
                <a:gd name="connsiteX56" fmla="*/ 2119890 w 2682892"/>
                <a:gd name="connsiteY56" fmla="*/ 411354 h 2476692"/>
                <a:gd name="connsiteX57" fmla="*/ 2129415 w 2682892"/>
                <a:gd name="connsiteY57" fmla="*/ 443104 h 2476692"/>
                <a:gd name="connsiteX58" fmla="*/ 2132590 w 2682892"/>
                <a:gd name="connsiteY58" fmla="*/ 452629 h 2476692"/>
                <a:gd name="connsiteX59" fmla="*/ 2135765 w 2682892"/>
                <a:gd name="connsiteY59" fmla="*/ 462154 h 2476692"/>
                <a:gd name="connsiteX60" fmla="*/ 2142115 w 2682892"/>
                <a:gd name="connsiteY60" fmla="*/ 493904 h 2476692"/>
                <a:gd name="connsiteX61" fmla="*/ 2138940 w 2682892"/>
                <a:gd name="connsiteY61" fmla="*/ 532004 h 2476692"/>
                <a:gd name="connsiteX62" fmla="*/ 2110365 w 2682892"/>
                <a:gd name="connsiteY62" fmla="*/ 547879 h 2476692"/>
                <a:gd name="connsiteX63" fmla="*/ 2097665 w 2682892"/>
                <a:gd name="connsiteY63" fmla="*/ 557404 h 2476692"/>
                <a:gd name="connsiteX64" fmla="*/ 2094490 w 2682892"/>
                <a:gd name="connsiteY64" fmla="*/ 582804 h 2476692"/>
                <a:gd name="connsiteX65" fmla="*/ 2104015 w 2682892"/>
                <a:gd name="connsiteY65" fmla="*/ 608204 h 2476692"/>
                <a:gd name="connsiteX66" fmla="*/ 2110365 w 2682892"/>
                <a:gd name="connsiteY66" fmla="*/ 617729 h 2476692"/>
                <a:gd name="connsiteX67" fmla="*/ 2116715 w 2682892"/>
                <a:gd name="connsiteY67" fmla="*/ 643129 h 2476692"/>
                <a:gd name="connsiteX68" fmla="*/ 2119890 w 2682892"/>
                <a:gd name="connsiteY68" fmla="*/ 719329 h 2476692"/>
                <a:gd name="connsiteX69" fmla="*/ 2123065 w 2682892"/>
                <a:gd name="connsiteY69" fmla="*/ 728854 h 2476692"/>
                <a:gd name="connsiteX70" fmla="*/ 2142115 w 2682892"/>
                <a:gd name="connsiteY70" fmla="*/ 741554 h 2476692"/>
                <a:gd name="connsiteX71" fmla="*/ 2161165 w 2682892"/>
                <a:gd name="connsiteY71" fmla="*/ 738379 h 2476692"/>
                <a:gd name="connsiteX72" fmla="*/ 2170690 w 2682892"/>
                <a:gd name="connsiteY72" fmla="*/ 732029 h 2476692"/>
                <a:gd name="connsiteX73" fmla="*/ 2183390 w 2682892"/>
                <a:gd name="connsiteY73" fmla="*/ 725679 h 2476692"/>
                <a:gd name="connsiteX74" fmla="*/ 2192915 w 2682892"/>
                <a:gd name="connsiteY74" fmla="*/ 719329 h 2476692"/>
                <a:gd name="connsiteX75" fmla="*/ 2211965 w 2682892"/>
                <a:gd name="connsiteY75" fmla="*/ 712979 h 2476692"/>
                <a:gd name="connsiteX76" fmla="*/ 2259590 w 2682892"/>
                <a:gd name="connsiteY76" fmla="*/ 716154 h 2476692"/>
                <a:gd name="connsiteX77" fmla="*/ 2262765 w 2682892"/>
                <a:gd name="connsiteY77" fmla="*/ 732029 h 2476692"/>
                <a:gd name="connsiteX78" fmla="*/ 2272290 w 2682892"/>
                <a:gd name="connsiteY78" fmla="*/ 751079 h 2476692"/>
                <a:gd name="connsiteX79" fmla="*/ 2297690 w 2682892"/>
                <a:gd name="connsiteY79" fmla="*/ 754254 h 2476692"/>
                <a:gd name="connsiteX80" fmla="*/ 2329440 w 2682892"/>
                <a:gd name="connsiteY80" fmla="*/ 738379 h 2476692"/>
                <a:gd name="connsiteX81" fmla="*/ 2338965 w 2682892"/>
                <a:gd name="connsiteY81" fmla="*/ 735204 h 2476692"/>
                <a:gd name="connsiteX82" fmla="*/ 2367540 w 2682892"/>
                <a:gd name="connsiteY82" fmla="*/ 722504 h 2476692"/>
                <a:gd name="connsiteX83" fmla="*/ 2377065 w 2682892"/>
                <a:gd name="connsiteY83" fmla="*/ 719329 h 2476692"/>
                <a:gd name="connsiteX84" fmla="*/ 2391809 w 2682892"/>
                <a:gd name="connsiteY84" fmla="*/ 719329 h 2476692"/>
                <a:gd name="connsiteX85" fmla="*/ 2672340 w 2682892"/>
                <a:gd name="connsiteY85" fmla="*/ 1724217 h 2476692"/>
                <a:gd name="connsiteX86" fmla="*/ 2593759 w 2682892"/>
                <a:gd name="connsiteY86" fmla="*/ 1712310 h 2476692"/>
                <a:gd name="connsiteX87" fmla="*/ 2577090 w 2682892"/>
                <a:gd name="connsiteY87" fmla="*/ 1802798 h 2476692"/>
                <a:gd name="connsiteX88" fmla="*/ 2512796 w 2682892"/>
                <a:gd name="connsiteY88" fmla="*/ 1824229 h 2476692"/>
                <a:gd name="connsiteX89" fmla="*/ 2558040 w 2682892"/>
                <a:gd name="connsiteY89" fmla="*/ 1883760 h 2476692"/>
                <a:gd name="connsiteX90" fmla="*/ 2555659 w 2682892"/>
                <a:gd name="connsiteY90" fmla="*/ 1909954 h 2476692"/>
                <a:gd name="connsiteX91" fmla="*/ 2527084 w 2682892"/>
                <a:gd name="connsiteY91" fmla="*/ 1995679 h 2476692"/>
                <a:gd name="connsiteX92" fmla="*/ 2503271 w 2682892"/>
                <a:gd name="connsiteY92" fmla="*/ 1986154 h 2476692"/>
                <a:gd name="connsiteX93" fmla="*/ 2472315 w 2682892"/>
                <a:gd name="connsiteY93" fmla="*/ 1971867 h 2476692"/>
                <a:gd name="connsiteX94" fmla="*/ 2436596 w 2682892"/>
                <a:gd name="connsiteY94" fmla="*/ 1986154 h 2476692"/>
                <a:gd name="connsiteX95" fmla="*/ 2450884 w 2682892"/>
                <a:gd name="connsiteY95" fmla="*/ 2017110 h 2476692"/>
                <a:gd name="connsiteX96" fmla="*/ 2465171 w 2682892"/>
                <a:gd name="connsiteY96" fmla="*/ 2057592 h 2476692"/>
                <a:gd name="connsiteX97" fmla="*/ 2455646 w 2682892"/>
                <a:gd name="connsiteY97" fmla="*/ 2121885 h 2476692"/>
                <a:gd name="connsiteX98" fmla="*/ 2410403 w 2682892"/>
                <a:gd name="connsiteY98" fmla="*/ 2152842 h 2476692"/>
                <a:gd name="connsiteX99" fmla="*/ 2458028 w 2682892"/>
                <a:gd name="connsiteY99" fmla="*/ 2186180 h 2476692"/>
                <a:gd name="connsiteX100" fmla="*/ 2448503 w 2682892"/>
                <a:gd name="connsiteY100" fmla="*/ 2226660 h 2476692"/>
                <a:gd name="connsiteX101" fmla="*/ 2410403 w 2682892"/>
                <a:gd name="connsiteY101" fmla="*/ 2262379 h 2476692"/>
                <a:gd name="connsiteX102" fmla="*/ 2388971 w 2682892"/>
                <a:gd name="connsiteY102" fmla="*/ 2331435 h 2476692"/>
                <a:gd name="connsiteX103" fmla="*/ 2405640 w 2682892"/>
                <a:gd name="connsiteY103" fmla="*/ 2381442 h 2476692"/>
                <a:gd name="connsiteX104" fmla="*/ 2391353 w 2682892"/>
                <a:gd name="connsiteY104" fmla="*/ 2414779 h 2476692"/>
                <a:gd name="connsiteX105" fmla="*/ 2334203 w 2682892"/>
                <a:gd name="connsiteY105" fmla="*/ 2433829 h 2476692"/>
                <a:gd name="connsiteX106" fmla="*/ 2305628 w 2682892"/>
                <a:gd name="connsiteY106" fmla="*/ 2443354 h 2476692"/>
                <a:gd name="connsiteX107" fmla="*/ 2296103 w 2682892"/>
                <a:gd name="connsiteY107" fmla="*/ 2457642 h 2476692"/>
                <a:gd name="connsiteX108" fmla="*/ 2262765 w 2682892"/>
                <a:gd name="connsiteY108" fmla="*/ 2462404 h 2476692"/>
                <a:gd name="connsiteX109" fmla="*/ 2229428 w 2682892"/>
                <a:gd name="connsiteY109" fmla="*/ 2438592 h 2476692"/>
                <a:gd name="connsiteX110" fmla="*/ 2215140 w 2682892"/>
                <a:gd name="connsiteY110" fmla="*/ 2433829 h 2476692"/>
                <a:gd name="connsiteX111" fmla="*/ 2205615 w 2682892"/>
                <a:gd name="connsiteY111" fmla="*/ 2457642 h 2476692"/>
                <a:gd name="connsiteX112" fmla="*/ 2191328 w 2682892"/>
                <a:gd name="connsiteY112" fmla="*/ 2467167 h 2476692"/>
                <a:gd name="connsiteX113" fmla="*/ 2153228 w 2682892"/>
                <a:gd name="connsiteY113" fmla="*/ 2476692 h 2476692"/>
                <a:gd name="connsiteX114" fmla="*/ 2134178 w 2682892"/>
                <a:gd name="connsiteY114" fmla="*/ 2448117 h 2476692"/>
                <a:gd name="connsiteX115" fmla="*/ 2124653 w 2682892"/>
                <a:gd name="connsiteY115" fmla="*/ 2433829 h 2476692"/>
                <a:gd name="connsiteX116" fmla="*/ 2119890 w 2682892"/>
                <a:gd name="connsiteY116" fmla="*/ 2352867 h 2476692"/>
                <a:gd name="connsiteX117" fmla="*/ 2124653 w 2682892"/>
                <a:gd name="connsiteY117" fmla="*/ 2338579 h 2476692"/>
                <a:gd name="connsiteX118" fmla="*/ 2167515 w 2682892"/>
                <a:gd name="connsiteY118" fmla="*/ 2290954 h 2476692"/>
                <a:gd name="connsiteX119" fmla="*/ 2177040 w 2682892"/>
                <a:gd name="connsiteY119" fmla="*/ 2276667 h 2476692"/>
                <a:gd name="connsiteX120" fmla="*/ 2153228 w 2682892"/>
                <a:gd name="connsiteY120" fmla="*/ 2248092 h 2476692"/>
                <a:gd name="connsiteX121" fmla="*/ 2134178 w 2682892"/>
                <a:gd name="connsiteY121" fmla="*/ 2238567 h 2476692"/>
                <a:gd name="connsiteX122" fmla="*/ 2129415 w 2682892"/>
                <a:gd name="connsiteY122" fmla="*/ 2214754 h 2476692"/>
                <a:gd name="connsiteX123" fmla="*/ 2148465 w 2682892"/>
                <a:gd name="connsiteY123" fmla="*/ 2186179 h 2476692"/>
                <a:gd name="connsiteX124" fmla="*/ 2167515 w 2682892"/>
                <a:gd name="connsiteY124" fmla="*/ 2190942 h 2476692"/>
                <a:gd name="connsiteX125" fmla="*/ 2229428 w 2682892"/>
                <a:gd name="connsiteY125" fmla="*/ 2186179 h 2476692"/>
                <a:gd name="connsiteX126" fmla="*/ 2234190 w 2682892"/>
                <a:gd name="connsiteY126" fmla="*/ 2171892 h 2476692"/>
                <a:gd name="connsiteX127" fmla="*/ 2224665 w 2682892"/>
                <a:gd name="connsiteY127" fmla="*/ 2143317 h 2476692"/>
                <a:gd name="connsiteX128" fmla="*/ 2210378 w 2682892"/>
                <a:gd name="connsiteY128" fmla="*/ 2129029 h 2476692"/>
                <a:gd name="connsiteX129" fmla="*/ 2191328 w 2682892"/>
                <a:gd name="connsiteY129" fmla="*/ 2119504 h 2476692"/>
                <a:gd name="connsiteX130" fmla="*/ 2162753 w 2682892"/>
                <a:gd name="connsiteY130" fmla="*/ 2114742 h 2476692"/>
                <a:gd name="connsiteX131" fmla="*/ 2157990 w 2682892"/>
                <a:gd name="connsiteY131" fmla="*/ 2095692 h 2476692"/>
                <a:gd name="connsiteX132" fmla="*/ 2181803 w 2682892"/>
                <a:gd name="connsiteY132" fmla="*/ 2062354 h 2476692"/>
                <a:gd name="connsiteX133" fmla="*/ 2191328 w 2682892"/>
                <a:gd name="connsiteY133" fmla="*/ 2048067 h 2476692"/>
                <a:gd name="connsiteX134" fmla="*/ 2196090 w 2682892"/>
                <a:gd name="connsiteY134" fmla="*/ 1986154 h 2476692"/>
                <a:gd name="connsiteX135" fmla="*/ 2186565 w 2682892"/>
                <a:gd name="connsiteY135" fmla="*/ 1957579 h 2476692"/>
                <a:gd name="connsiteX136" fmla="*/ 2162753 w 2682892"/>
                <a:gd name="connsiteY136" fmla="*/ 1952817 h 2476692"/>
                <a:gd name="connsiteX137" fmla="*/ 2134178 w 2682892"/>
                <a:gd name="connsiteY137" fmla="*/ 1971867 h 2476692"/>
                <a:gd name="connsiteX138" fmla="*/ 2124653 w 2682892"/>
                <a:gd name="connsiteY138" fmla="*/ 1986154 h 2476692"/>
                <a:gd name="connsiteX139" fmla="*/ 2105603 w 2682892"/>
                <a:gd name="connsiteY139" fmla="*/ 2005204 h 2476692"/>
                <a:gd name="connsiteX140" fmla="*/ 2072265 w 2682892"/>
                <a:gd name="connsiteY140" fmla="*/ 2038542 h 2476692"/>
                <a:gd name="connsiteX141" fmla="*/ 2057978 w 2682892"/>
                <a:gd name="connsiteY141" fmla="*/ 2048067 h 2476692"/>
                <a:gd name="connsiteX142" fmla="*/ 2029403 w 2682892"/>
                <a:gd name="connsiteY142" fmla="*/ 2052829 h 2476692"/>
                <a:gd name="connsiteX143" fmla="*/ 2019878 w 2682892"/>
                <a:gd name="connsiteY143" fmla="*/ 2009967 h 2476692"/>
                <a:gd name="connsiteX144" fmla="*/ 1991303 w 2682892"/>
                <a:gd name="connsiteY144" fmla="*/ 1986154 h 2476692"/>
                <a:gd name="connsiteX145" fmla="*/ 1962728 w 2682892"/>
                <a:gd name="connsiteY145" fmla="*/ 1976629 h 2476692"/>
                <a:gd name="connsiteX146" fmla="*/ 1948440 w 2682892"/>
                <a:gd name="connsiteY146" fmla="*/ 1990917 h 2476692"/>
                <a:gd name="connsiteX147" fmla="*/ 1910340 w 2682892"/>
                <a:gd name="connsiteY147" fmla="*/ 2000442 h 2476692"/>
                <a:gd name="connsiteX148" fmla="*/ 1891290 w 2682892"/>
                <a:gd name="connsiteY148" fmla="*/ 1971867 h 2476692"/>
                <a:gd name="connsiteX149" fmla="*/ 1886528 w 2682892"/>
                <a:gd name="connsiteY149" fmla="*/ 1952817 h 2476692"/>
                <a:gd name="connsiteX150" fmla="*/ 1881765 w 2682892"/>
                <a:gd name="connsiteY150" fmla="*/ 1929004 h 2476692"/>
                <a:gd name="connsiteX151" fmla="*/ 1877003 w 2682892"/>
                <a:gd name="connsiteY151" fmla="*/ 1886142 h 2476692"/>
                <a:gd name="connsiteX152" fmla="*/ 1862715 w 2682892"/>
                <a:gd name="connsiteY152" fmla="*/ 1871854 h 2476692"/>
                <a:gd name="connsiteX153" fmla="*/ 1853190 w 2682892"/>
                <a:gd name="connsiteY153" fmla="*/ 1857567 h 2476692"/>
                <a:gd name="connsiteX154" fmla="*/ 1824615 w 2682892"/>
                <a:gd name="connsiteY154" fmla="*/ 1838517 h 2476692"/>
                <a:gd name="connsiteX155" fmla="*/ 1819853 w 2682892"/>
                <a:gd name="connsiteY155" fmla="*/ 1819467 h 2476692"/>
                <a:gd name="connsiteX156" fmla="*/ 1834140 w 2682892"/>
                <a:gd name="connsiteY156" fmla="*/ 1814704 h 2476692"/>
                <a:gd name="connsiteX157" fmla="*/ 1848428 w 2682892"/>
                <a:gd name="connsiteY157" fmla="*/ 1809942 h 2476692"/>
                <a:gd name="connsiteX158" fmla="*/ 1862715 w 2682892"/>
                <a:gd name="connsiteY158" fmla="*/ 1805179 h 2476692"/>
                <a:gd name="connsiteX159" fmla="*/ 1891290 w 2682892"/>
                <a:gd name="connsiteY159" fmla="*/ 1795654 h 2476692"/>
                <a:gd name="connsiteX160" fmla="*/ 1896053 w 2682892"/>
                <a:gd name="connsiteY160" fmla="*/ 1781367 h 2476692"/>
                <a:gd name="connsiteX161" fmla="*/ 1900815 w 2682892"/>
                <a:gd name="connsiteY161" fmla="*/ 1762317 h 2476692"/>
                <a:gd name="connsiteX162" fmla="*/ 1891290 w 2682892"/>
                <a:gd name="connsiteY162" fmla="*/ 1676592 h 2476692"/>
                <a:gd name="connsiteX163" fmla="*/ 1719840 w 2682892"/>
                <a:gd name="connsiteY163" fmla="*/ 1671829 h 2476692"/>
                <a:gd name="connsiteX164" fmla="*/ 1710315 w 2682892"/>
                <a:gd name="connsiteY164" fmla="*/ 1690879 h 2476692"/>
                <a:gd name="connsiteX165" fmla="*/ 1696028 w 2682892"/>
                <a:gd name="connsiteY165" fmla="*/ 1709929 h 2476692"/>
                <a:gd name="connsiteX166" fmla="*/ 1681740 w 2682892"/>
                <a:gd name="connsiteY166" fmla="*/ 1724217 h 2476692"/>
                <a:gd name="connsiteX167" fmla="*/ 1676978 w 2682892"/>
                <a:gd name="connsiteY167" fmla="*/ 1738504 h 2476692"/>
                <a:gd name="connsiteX168" fmla="*/ 1667453 w 2682892"/>
                <a:gd name="connsiteY168" fmla="*/ 1762317 h 2476692"/>
                <a:gd name="connsiteX169" fmla="*/ 1643640 w 2682892"/>
                <a:gd name="connsiteY169" fmla="*/ 1795654 h 2476692"/>
                <a:gd name="connsiteX170" fmla="*/ 1291215 w 2682892"/>
                <a:gd name="connsiteY170" fmla="*/ 1938529 h 2476692"/>
                <a:gd name="connsiteX171" fmla="*/ 1162628 w 2682892"/>
                <a:gd name="connsiteY171" fmla="*/ 1833754 h 2476692"/>
                <a:gd name="connsiteX172" fmla="*/ 1091190 w 2682892"/>
                <a:gd name="connsiteY172" fmla="*/ 1843279 h 2476692"/>
                <a:gd name="connsiteX173" fmla="*/ 1014990 w 2682892"/>
                <a:gd name="connsiteY173" fmla="*/ 1786129 h 2476692"/>
                <a:gd name="connsiteX174" fmla="*/ 1024515 w 2682892"/>
                <a:gd name="connsiteY174" fmla="*/ 1733742 h 2476692"/>
                <a:gd name="connsiteX175" fmla="*/ 957840 w 2682892"/>
                <a:gd name="connsiteY175" fmla="*/ 1719454 h 2476692"/>
                <a:gd name="connsiteX176" fmla="*/ 767340 w 2682892"/>
                <a:gd name="connsiteY176" fmla="*/ 1671829 h 2476692"/>
                <a:gd name="connsiteX177" fmla="*/ 743528 w 2682892"/>
                <a:gd name="connsiteY177" fmla="*/ 1681354 h 2476692"/>
                <a:gd name="connsiteX178" fmla="*/ 729240 w 2682892"/>
                <a:gd name="connsiteY178" fmla="*/ 1686117 h 2476692"/>
                <a:gd name="connsiteX179" fmla="*/ 700665 w 2682892"/>
                <a:gd name="connsiteY179" fmla="*/ 1667067 h 2476692"/>
                <a:gd name="connsiteX180" fmla="*/ 657803 w 2682892"/>
                <a:gd name="connsiteY180" fmla="*/ 1624204 h 2476692"/>
                <a:gd name="connsiteX181" fmla="*/ 605415 w 2682892"/>
                <a:gd name="connsiteY181" fmla="*/ 1638492 h 2476692"/>
                <a:gd name="connsiteX182" fmla="*/ 533978 w 2682892"/>
                <a:gd name="connsiteY182" fmla="*/ 1543242 h 2476692"/>
                <a:gd name="connsiteX183" fmla="*/ 548265 w 2682892"/>
                <a:gd name="connsiteY183" fmla="*/ 1528954 h 2476692"/>
                <a:gd name="connsiteX184" fmla="*/ 567315 w 2682892"/>
                <a:gd name="connsiteY184" fmla="*/ 1514667 h 2476692"/>
                <a:gd name="connsiteX185" fmla="*/ 581603 w 2682892"/>
                <a:gd name="connsiteY185" fmla="*/ 1476567 h 2476692"/>
                <a:gd name="connsiteX186" fmla="*/ 567315 w 2682892"/>
                <a:gd name="connsiteY186" fmla="*/ 1471804 h 2476692"/>
                <a:gd name="connsiteX187" fmla="*/ 543503 w 2682892"/>
                <a:gd name="connsiteY187" fmla="*/ 1462279 h 2476692"/>
                <a:gd name="connsiteX188" fmla="*/ 562553 w 2682892"/>
                <a:gd name="connsiteY188" fmla="*/ 1428942 h 2476692"/>
                <a:gd name="connsiteX189" fmla="*/ 567315 w 2682892"/>
                <a:gd name="connsiteY189" fmla="*/ 1414654 h 2476692"/>
                <a:gd name="connsiteX190" fmla="*/ 586365 w 2682892"/>
                <a:gd name="connsiteY190" fmla="*/ 1386079 h 2476692"/>
                <a:gd name="connsiteX191" fmla="*/ 619703 w 2682892"/>
                <a:gd name="connsiteY191" fmla="*/ 1362267 h 2476692"/>
                <a:gd name="connsiteX192" fmla="*/ 633990 w 2682892"/>
                <a:gd name="connsiteY192" fmla="*/ 1343217 h 2476692"/>
                <a:gd name="connsiteX193" fmla="*/ 662565 w 2682892"/>
                <a:gd name="connsiteY193" fmla="*/ 1319404 h 2476692"/>
                <a:gd name="connsiteX194" fmla="*/ 667328 w 2682892"/>
                <a:gd name="connsiteY194" fmla="*/ 1281304 h 2476692"/>
                <a:gd name="connsiteX195" fmla="*/ 638753 w 2682892"/>
                <a:gd name="connsiteY195" fmla="*/ 1267017 h 2476692"/>
                <a:gd name="connsiteX196" fmla="*/ 633990 w 2682892"/>
                <a:gd name="connsiteY196" fmla="*/ 1252729 h 2476692"/>
                <a:gd name="connsiteX197" fmla="*/ 643515 w 2682892"/>
                <a:gd name="connsiteY197" fmla="*/ 1238442 h 2476692"/>
                <a:gd name="connsiteX198" fmla="*/ 672090 w 2682892"/>
                <a:gd name="connsiteY198" fmla="*/ 1219392 h 2476692"/>
                <a:gd name="connsiteX199" fmla="*/ 672090 w 2682892"/>
                <a:gd name="connsiteY199" fmla="*/ 1162242 h 2476692"/>
                <a:gd name="connsiteX200" fmla="*/ 662565 w 2682892"/>
                <a:gd name="connsiteY200" fmla="*/ 1147954 h 2476692"/>
                <a:gd name="connsiteX201" fmla="*/ 619703 w 2682892"/>
                <a:gd name="connsiteY201" fmla="*/ 1167004 h 2476692"/>
                <a:gd name="connsiteX202" fmla="*/ 610178 w 2682892"/>
                <a:gd name="connsiteY202" fmla="*/ 1152717 h 2476692"/>
                <a:gd name="connsiteX203" fmla="*/ 605415 w 2682892"/>
                <a:gd name="connsiteY203" fmla="*/ 1105092 h 2476692"/>
                <a:gd name="connsiteX204" fmla="*/ 595890 w 2682892"/>
                <a:gd name="connsiteY204" fmla="*/ 1086042 h 2476692"/>
                <a:gd name="connsiteX205" fmla="*/ 576840 w 2682892"/>
                <a:gd name="connsiteY205" fmla="*/ 1057467 h 2476692"/>
                <a:gd name="connsiteX206" fmla="*/ 572078 w 2682892"/>
                <a:gd name="connsiteY206" fmla="*/ 1043179 h 2476692"/>
                <a:gd name="connsiteX207" fmla="*/ 562553 w 2682892"/>
                <a:gd name="connsiteY207" fmla="*/ 962217 h 2476692"/>
                <a:gd name="connsiteX208" fmla="*/ 462540 w 2682892"/>
                <a:gd name="connsiteY208" fmla="*/ 1043179 h 2476692"/>
                <a:gd name="connsiteX209" fmla="*/ 433965 w 2682892"/>
                <a:gd name="connsiteY209" fmla="*/ 952692 h 2476692"/>
                <a:gd name="connsiteX210" fmla="*/ 343478 w 2682892"/>
                <a:gd name="connsiteY210" fmla="*/ 862204 h 2476692"/>
                <a:gd name="connsiteX211" fmla="*/ 262515 w 2682892"/>
                <a:gd name="connsiteY211" fmla="*/ 871729 h 2476692"/>
                <a:gd name="connsiteX212" fmla="*/ 205365 w 2682892"/>
                <a:gd name="connsiteY212" fmla="*/ 919354 h 2476692"/>
                <a:gd name="connsiteX213" fmla="*/ 95828 w 2682892"/>
                <a:gd name="connsiteY213" fmla="*/ 986029 h 2476692"/>
                <a:gd name="connsiteX214" fmla="*/ 24390 w 2682892"/>
                <a:gd name="connsiteY214" fmla="*/ 986029 h 2476692"/>
                <a:gd name="connsiteX215" fmla="*/ 14865 w 2682892"/>
                <a:gd name="connsiteY215" fmla="*/ 947929 h 2476692"/>
                <a:gd name="connsiteX216" fmla="*/ 578 w 2682892"/>
                <a:gd name="connsiteY216" fmla="*/ 933642 h 2476692"/>
                <a:gd name="connsiteX217" fmla="*/ 5340 w 2682892"/>
                <a:gd name="connsiteY217" fmla="*/ 890779 h 2476692"/>
                <a:gd name="connsiteX218" fmla="*/ 57728 w 2682892"/>
                <a:gd name="connsiteY218" fmla="*/ 781242 h 2476692"/>
                <a:gd name="connsiteX219" fmla="*/ 238703 w 2682892"/>
                <a:gd name="connsiteY219" fmla="*/ 543117 h 2476692"/>
                <a:gd name="connsiteX220" fmla="*/ 333953 w 2682892"/>
                <a:gd name="connsiteY220" fmla="*/ 543117 h 2476692"/>
                <a:gd name="connsiteX221" fmla="*/ 429203 w 2682892"/>
                <a:gd name="connsiteY221" fmla="*/ 524067 h 2476692"/>
                <a:gd name="connsiteX222" fmla="*/ 467303 w 2682892"/>
                <a:gd name="connsiteY222" fmla="*/ 538354 h 2476692"/>
                <a:gd name="connsiteX223" fmla="*/ 481590 w 2682892"/>
                <a:gd name="connsiteY223" fmla="*/ 528829 h 2476692"/>
                <a:gd name="connsiteX224" fmla="*/ 486353 w 2682892"/>
                <a:gd name="connsiteY224" fmla="*/ 514542 h 2476692"/>
                <a:gd name="connsiteX225" fmla="*/ 491115 w 2682892"/>
                <a:gd name="connsiteY225" fmla="*/ 466917 h 2476692"/>
                <a:gd name="connsiteX226" fmla="*/ 481590 w 2682892"/>
                <a:gd name="connsiteY226" fmla="*/ 438342 h 2476692"/>
                <a:gd name="connsiteX227" fmla="*/ 462540 w 2682892"/>
                <a:gd name="connsiteY227" fmla="*/ 409767 h 2476692"/>
                <a:gd name="connsiteX228" fmla="*/ 472065 w 2682892"/>
                <a:gd name="connsiteY228" fmla="*/ 347854 h 2476692"/>
                <a:gd name="connsiteX229" fmla="*/ 505403 w 2682892"/>
                <a:gd name="connsiteY229" fmla="*/ 295467 h 2476692"/>
                <a:gd name="connsiteX230" fmla="*/ 514928 w 2682892"/>
                <a:gd name="connsiteY230" fmla="*/ 281179 h 2476692"/>
                <a:gd name="connsiteX231" fmla="*/ 519690 w 2682892"/>
                <a:gd name="connsiteY231" fmla="*/ 257367 h 2476692"/>
                <a:gd name="connsiteX232" fmla="*/ 529215 w 2682892"/>
                <a:gd name="connsiteY232" fmla="*/ 243079 h 2476692"/>
                <a:gd name="connsiteX233" fmla="*/ 538740 w 2682892"/>
                <a:gd name="connsiteY233" fmla="*/ 204979 h 2476692"/>
                <a:gd name="connsiteX234" fmla="*/ 548265 w 2682892"/>
                <a:gd name="connsiteY234" fmla="*/ 185929 h 2476692"/>
                <a:gd name="connsiteX235" fmla="*/ 553028 w 2682892"/>
                <a:gd name="connsiteY235" fmla="*/ 171642 h 2476692"/>
                <a:gd name="connsiteX236" fmla="*/ 562553 w 2682892"/>
                <a:gd name="connsiteY236" fmla="*/ 157354 h 2476692"/>
                <a:gd name="connsiteX237" fmla="*/ 567315 w 2682892"/>
                <a:gd name="connsiteY237" fmla="*/ 133542 h 2476692"/>
                <a:gd name="connsiteX238" fmla="*/ 576840 w 2682892"/>
                <a:gd name="connsiteY238" fmla="*/ 100204 h 2476692"/>
                <a:gd name="connsiteX239" fmla="*/ 581603 w 2682892"/>
                <a:gd name="connsiteY239" fmla="*/ 81154 h 2476692"/>
                <a:gd name="connsiteX240" fmla="*/ 595890 w 2682892"/>
                <a:gd name="connsiteY240" fmla="*/ 33529 h 2476692"/>
                <a:gd name="connsiteX241" fmla="*/ 619703 w 2682892"/>
                <a:gd name="connsiteY241" fmla="*/ 192 h 2476692"/>
                <a:gd name="connsiteX242" fmla="*/ 621543 w 2682892"/>
                <a:gd name="connsiteY242" fmla="*/ 0 h 2476692"/>
                <a:gd name="connsiteX0" fmla="*/ 621543 w 2593759"/>
                <a:gd name="connsiteY0" fmla="*/ 0 h 2476692"/>
                <a:gd name="connsiteX1" fmla="*/ 637165 w 2593759"/>
                <a:gd name="connsiteY1" fmla="*/ 20829 h 2476692"/>
                <a:gd name="connsiteX2" fmla="*/ 643515 w 2593759"/>
                <a:gd name="connsiteY2" fmla="*/ 30354 h 2476692"/>
                <a:gd name="connsiteX3" fmla="*/ 646690 w 2593759"/>
                <a:gd name="connsiteY3" fmla="*/ 74804 h 2476692"/>
                <a:gd name="connsiteX4" fmla="*/ 656215 w 2593759"/>
                <a:gd name="connsiteY4" fmla="*/ 100204 h 2476692"/>
                <a:gd name="connsiteX5" fmla="*/ 757815 w 2593759"/>
                <a:gd name="connsiteY5" fmla="*/ 119254 h 2476692"/>
                <a:gd name="connsiteX6" fmla="*/ 780040 w 2593759"/>
                <a:gd name="connsiteY6" fmla="*/ 135129 h 2476692"/>
                <a:gd name="connsiteX7" fmla="*/ 789565 w 2593759"/>
                <a:gd name="connsiteY7" fmla="*/ 138304 h 2476692"/>
                <a:gd name="connsiteX8" fmla="*/ 808615 w 2593759"/>
                <a:gd name="connsiteY8" fmla="*/ 154179 h 2476692"/>
                <a:gd name="connsiteX9" fmla="*/ 824490 w 2593759"/>
                <a:gd name="connsiteY9" fmla="*/ 176404 h 2476692"/>
                <a:gd name="connsiteX10" fmla="*/ 827665 w 2593759"/>
                <a:gd name="connsiteY10" fmla="*/ 185929 h 2476692"/>
                <a:gd name="connsiteX11" fmla="*/ 853065 w 2593759"/>
                <a:gd name="connsiteY11" fmla="*/ 201804 h 2476692"/>
                <a:gd name="connsiteX12" fmla="*/ 929265 w 2593759"/>
                <a:gd name="connsiteY12" fmla="*/ 220854 h 2476692"/>
                <a:gd name="connsiteX13" fmla="*/ 957840 w 2593759"/>
                <a:gd name="connsiteY13" fmla="*/ 198629 h 2476692"/>
                <a:gd name="connsiteX14" fmla="*/ 980065 w 2593759"/>
                <a:gd name="connsiteY14" fmla="*/ 182754 h 2476692"/>
                <a:gd name="connsiteX15" fmla="*/ 989590 w 2593759"/>
                <a:gd name="connsiteY15" fmla="*/ 176404 h 2476692"/>
                <a:gd name="connsiteX16" fmla="*/ 1011815 w 2593759"/>
                <a:gd name="connsiteY16" fmla="*/ 173229 h 2476692"/>
                <a:gd name="connsiteX17" fmla="*/ 1027690 w 2593759"/>
                <a:gd name="connsiteY17" fmla="*/ 166879 h 2476692"/>
                <a:gd name="connsiteX18" fmla="*/ 1094365 w 2593759"/>
                <a:gd name="connsiteY18" fmla="*/ 220854 h 2476692"/>
                <a:gd name="connsiteX19" fmla="*/ 1186440 w 2593759"/>
                <a:gd name="connsiteY19" fmla="*/ 217679 h 2476692"/>
                <a:gd name="connsiteX20" fmla="*/ 1278515 w 2593759"/>
                <a:gd name="connsiteY20" fmla="*/ 170054 h 2476692"/>
                <a:gd name="connsiteX21" fmla="*/ 1326140 w 2593759"/>
                <a:gd name="connsiteY21" fmla="*/ 74804 h 2476692"/>
                <a:gd name="connsiteX22" fmla="*/ 1373765 w 2593759"/>
                <a:gd name="connsiteY22" fmla="*/ 122429 h 2476692"/>
                <a:gd name="connsiteX23" fmla="*/ 1459490 w 2593759"/>
                <a:gd name="connsiteY23" fmla="*/ 144654 h 2476692"/>
                <a:gd name="connsiteX24" fmla="*/ 1589665 w 2593759"/>
                <a:gd name="connsiteY24" fmla="*/ 144654 h 2476692"/>
                <a:gd name="connsiteX25" fmla="*/ 1697615 w 2593759"/>
                <a:gd name="connsiteY25" fmla="*/ 97029 h 2476692"/>
                <a:gd name="connsiteX26" fmla="*/ 1726190 w 2593759"/>
                <a:gd name="connsiteY26" fmla="*/ 103379 h 2476692"/>
                <a:gd name="connsiteX27" fmla="*/ 1738890 w 2593759"/>
                <a:gd name="connsiteY27" fmla="*/ 122429 h 2476692"/>
                <a:gd name="connsiteX28" fmla="*/ 1732540 w 2593759"/>
                <a:gd name="connsiteY28" fmla="*/ 141479 h 2476692"/>
                <a:gd name="connsiteX29" fmla="*/ 1723015 w 2593759"/>
                <a:gd name="connsiteY29" fmla="*/ 154179 h 2476692"/>
                <a:gd name="connsiteX30" fmla="*/ 1802390 w 2593759"/>
                <a:gd name="connsiteY30" fmla="*/ 144654 h 2476692"/>
                <a:gd name="connsiteX31" fmla="*/ 1824615 w 2593759"/>
                <a:gd name="connsiteY31" fmla="*/ 160529 h 2476692"/>
                <a:gd name="connsiteX32" fmla="*/ 1827790 w 2593759"/>
                <a:gd name="connsiteY32" fmla="*/ 195454 h 2476692"/>
                <a:gd name="connsiteX33" fmla="*/ 1834140 w 2593759"/>
                <a:gd name="connsiteY33" fmla="*/ 217679 h 2476692"/>
                <a:gd name="connsiteX34" fmla="*/ 1840490 w 2593759"/>
                <a:gd name="connsiteY34" fmla="*/ 230379 h 2476692"/>
                <a:gd name="connsiteX35" fmla="*/ 1846840 w 2593759"/>
                <a:gd name="connsiteY35" fmla="*/ 239904 h 2476692"/>
                <a:gd name="connsiteX36" fmla="*/ 1846840 w 2593759"/>
                <a:gd name="connsiteY36" fmla="*/ 249429 h 2476692"/>
                <a:gd name="connsiteX37" fmla="*/ 1916690 w 2593759"/>
                <a:gd name="connsiteY37" fmla="*/ 274829 h 2476692"/>
                <a:gd name="connsiteX38" fmla="*/ 1945265 w 2593759"/>
                <a:gd name="connsiteY38" fmla="*/ 268479 h 2476692"/>
                <a:gd name="connsiteX39" fmla="*/ 1961140 w 2593759"/>
                <a:gd name="connsiteY39" fmla="*/ 274829 h 2476692"/>
                <a:gd name="connsiteX40" fmla="*/ 1977015 w 2593759"/>
                <a:gd name="connsiteY40" fmla="*/ 293879 h 2476692"/>
                <a:gd name="connsiteX41" fmla="*/ 2002415 w 2593759"/>
                <a:gd name="connsiteY41" fmla="*/ 297054 h 2476692"/>
                <a:gd name="connsiteX42" fmla="*/ 2002415 w 2593759"/>
                <a:gd name="connsiteY42" fmla="*/ 344679 h 2476692"/>
                <a:gd name="connsiteX43" fmla="*/ 1998496 w 2593759"/>
                <a:gd name="connsiteY43" fmla="*/ 359366 h 2476692"/>
                <a:gd name="connsiteX44" fmla="*/ 1997699 w 2593759"/>
                <a:gd name="connsiteY44" fmla="*/ 359161 h 2476692"/>
                <a:gd name="connsiteX45" fmla="*/ 1996509 w 2593759"/>
                <a:gd name="connsiteY45" fmla="*/ 357863 h 2476692"/>
                <a:gd name="connsiteX46" fmla="*/ 1996082 w 2593759"/>
                <a:gd name="connsiteY46" fmla="*/ 354482 h 2476692"/>
                <a:gd name="connsiteX47" fmla="*/ 1996065 w 2593759"/>
                <a:gd name="connsiteY47" fmla="*/ 357379 h 2476692"/>
                <a:gd name="connsiteX48" fmla="*/ 1996509 w 2593759"/>
                <a:gd name="connsiteY48" fmla="*/ 357863 h 2476692"/>
                <a:gd name="connsiteX49" fmla="*/ 1996639 w 2593759"/>
                <a:gd name="connsiteY49" fmla="*/ 358889 h 2476692"/>
                <a:gd name="connsiteX50" fmla="*/ 1997699 w 2593759"/>
                <a:gd name="connsiteY50" fmla="*/ 359161 h 2476692"/>
                <a:gd name="connsiteX51" fmla="*/ 2030990 w 2593759"/>
                <a:gd name="connsiteY51" fmla="*/ 395479 h 2476692"/>
                <a:gd name="connsiteX52" fmla="*/ 2059565 w 2593759"/>
                <a:gd name="connsiteY52" fmla="*/ 385954 h 2476692"/>
                <a:gd name="connsiteX53" fmla="*/ 2069090 w 2593759"/>
                <a:gd name="connsiteY53" fmla="*/ 379604 h 2476692"/>
                <a:gd name="connsiteX54" fmla="*/ 2078615 w 2593759"/>
                <a:gd name="connsiteY54" fmla="*/ 376429 h 2476692"/>
                <a:gd name="connsiteX55" fmla="*/ 2116715 w 2593759"/>
                <a:gd name="connsiteY55" fmla="*/ 379604 h 2476692"/>
                <a:gd name="connsiteX56" fmla="*/ 2119890 w 2593759"/>
                <a:gd name="connsiteY56" fmla="*/ 411354 h 2476692"/>
                <a:gd name="connsiteX57" fmla="*/ 2129415 w 2593759"/>
                <a:gd name="connsiteY57" fmla="*/ 443104 h 2476692"/>
                <a:gd name="connsiteX58" fmla="*/ 2132590 w 2593759"/>
                <a:gd name="connsiteY58" fmla="*/ 452629 h 2476692"/>
                <a:gd name="connsiteX59" fmla="*/ 2135765 w 2593759"/>
                <a:gd name="connsiteY59" fmla="*/ 462154 h 2476692"/>
                <a:gd name="connsiteX60" fmla="*/ 2142115 w 2593759"/>
                <a:gd name="connsiteY60" fmla="*/ 493904 h 2476692"/>
                <a:gd name="connsiteX61" fmla="*/ 2138940 w 2593759"/>
                <a:gd name="connsiteY61" fmla="*/ 532004 h 2476692"/>
                <a:gd name="connsiteX62" fmla="*/ 2110365 w 2593759"/>
                <a:gd name="connsiteY62" fmla="*/ 547879 h 2476692"/>
                <a:gd name="connsiteX63" fmla="*/ 2097665 w 2593759"/>
                <a:gd name="connsiteY63" fmla="*/ 557404 h 2476692"/>
                <a:gd name="connsiteX64" fmla="*/ 2094490 w 2593759"/>
                <a:gd name="connsiteY64" fmla="*/ 582804 h 2476692"/>
                <a:gd name="connsiteX65" fmla="*/ 2104015 w 2593759"/>
                <a:gd name="connsiteY65" fmla="*/ 608204 h 2476692"/>
                <a:gd name="connsiteX66" fmla="*/ 2110365 w 2593759"/>
                <a:gd name="connsiteY66" fmla="*/ 617729 h 2476692"/>
                <a:gd name="connsiteX67" fmla="*/ 2116715 w 2593759"/>
                <a:gd name="connsiteY67" fmla="*/ 643129 h 2476692"/>
                <a:gd name="connsiteX68" fmla="*/ 2119890 w 2593759"/>
                <a:gd name="connsiteY68" fmla="*/ 719329 h 2476692"/>
                <a:gd name="connsiteX69" fmla="*/ 2123065 w 2593759"/>
                <a:gd name="connsiteY69" fmla="*/ 728854 h 2476692"/>
                <a:gd name="connsiteX70" fmla="*/ 2142115 w 2593759"/>
                <a:gd name="connsiteY70" fmla="*/ 741554 h 2476692"/>
                <a:gd name="connsiteX71" fmla="*/ 2161165 w 2593759"/>
                <a:gd name="connsiteY71" fmla="*/ 738379 h 2476692"/>
                <a:gd name="connsiteX72" fmla="*/ 2170690 w 2593759"/>
                <a:gd name="connsiteY72" fmla="*/ 732029 h 2476692"/>
                <a:gd name="connsiteX73" fmla="*/ 2183390 w 2593759"/>
                <a:gd name="connsiteY73" fmla="*/ 725679 h 2476692"/>
                <a:gd name="connsiteX74" fmla="*/ 2192915 w 2593759"/>
                <a:gd name="connsiteY74" fmla="*/ 719329 h 2476692"/>
                <a:gd name="connsiteX75" fmla="*/ 2211965 w 2593759"/>
                <a:gd name="connsiteY75" fmla="*/ 712979 h 2476692"/>
                <a:gd name="connsiteX76" fmla="*/ 2259590 w 2593759"/>
                <a:gd name="connsiteY76" fmla="*/ 716154 h 2476692"/>
                <a:gd name="connsiteX77" fmla="*/ 2262765 w 2593759"/>
                <a:gd name="connsiteY77" fmla="*/ 732029 h 2476692"/>
                <a:gd name="connsiteX78" fmla="*/ 2272290 w 2593759"/>
                <a:gd name="connsiteY78" fmla="*/ 751079 h 2476692"/>
                <a:gd name="connsiteX79" fmla="*/ 2297690 w 2593759"/>
                <a:gd name="connsiteY79" fmla="*/ 754254 h 2476692"/>
                <a:gd name="connsiteX80" fmla="*/ 2329440 w 2593759"/>
                <a:gd name="connsiteY80" fmla="*/ 738379 h 2476692"/>
                <a:gd name="connsiteX81" fmla="*/ 2338965 w 2593759"/>
                <a:gd name="connsiteY81" fmla="*/ 735204 h 2476692"/>
                <a:gd name="connsiteX82" fmla="*/ 2367540 w 2593759"/>
                <a:gd name="connsiteY82" fmla="*/ 722504 h 2476692"/>
                <a:gd name="connsiteX83" fmla="*/ 2377065 w 2593759"/>
                <a:gd name="connsiteY83" fmla="*/ 719329 h 2476692"/>
                <a:gd name="connsiteX84" fmla="*/ 2391809 w 2593759"/>
                <a:gd name="connsiteY84" fmla="*/ 719329 h 2476692"/>
                <a:gd name="connsiteX85" fmla="*/ 2593759 w 2593759"/>
                <a:gd name="connsiteY85" fmla="*/ 1712310 h 2476692"/>
                <a:gd name="connsiteX86" fmla="*/ 2577090 w 2593759"/>
                <a:gd name="connsiteY86" fmla="*/ 1802798 h 2476692"/>
                <a:gd name="connsiteX87" fmla="*/ 2512796 w 2593759"/>
                <a:gd name="connsiteY87" fmla="*/ 1824229 h 2476692"/>
                <a:gd name="connsiteX88" fmla="*/ 2558040 w 2593759"/>
                <a:gd name="connsiteY88" fmla="*/ 1883760 h 2476692"/>
                <a:gd name="connsiteX89" fmla="*/ 2555659 w 2593759"/>
                <a:gd name="connsiteY89" fmla="*/ 1909954 h 2476692"/>
                <a:gd name="connsiteX90" fmla="*/ 2527084 w 2593759"/>
                <a:gd name="connsiteY90" fmla="*/ 1995679 h 2476692"/>
                <a:gd name="connsiteX91" fmla="*/ 2503271 w 2593759"/>
                <a:gd name="connsiteY91" fmla="*/ 1986154 h 2476692"/>
                <a:gd name="connsiteX92" fmla="*/ 2472315 w 2593759"/>
                <a:gd name="connsiteY92" fmla="*/ 1971867 h 2476692"/>
                <a:gd name="connsiteX93" fmla="*/ 2436596 w 2593759"/>
                <a:gd name="connsiteY93" fmla="*/ 1986154 h 2476692"/>
                <a:gd name="connsiteX94" fmla="*/ 2450884 w 2593759"/>
                <a:gd name="connsiteY94" fmla="*/ 2017110 h 2476692"/>
                <a:gd name="connsiteX95" fmla="*/ 2465171 w 2593759"/>
                <a:gd name="connsiteY95" fmla="*/ 2057592 h 2476692"/>
                <a:gd name="connsiteX96" fmla="*/ 2455646 w 2593759"/>
                <a:gd name="connsiteY96" fmla="*/ 2121885 h 2476692"/>
                <a:gd name="connsiteX97" fmla="*/ 2410403 w 2593759"/>
                <a:gd name="connsiteY97" fmla="*/ 2152842 h 2476692"/>
                <a:gd name="connsiteX98" fmla="*/ 2458028 w 2593759"/>
                <a:gd name="connsiteY98" fmla="*/ 2186180 h 2476692"/>
                <a:gd name="connsiteX99" fmla="*/ 2448503 w 2593759"/>
                <a:gd name="connsiteY99" fmla="*/ 2226660 h 2476692"/>
                <a:gd name="connsiteX100" fmla="*/ 2410403 w 2593759"/>
                <a:gd name="connsiteY100" fmla="*/ 2262379 h 2476692"/>
                <a:gd name="connsiteX101" fmla="*/ 2388971 w 2593759"/>
                <a:gd name="connsiteY101" fmla="*/ 2331435 h 2476692"/>
                <a:gd name="connsiteX102" fmla="*/ 2405640 w 2593759"/>
                <a:gd name="connsiteY102" fmla="*/ 2381442 h 2476692"/>
                <a:gd name="connsiteX103" fmla="*/ 2391353 w 2593759"/>
                <a:gd name="connsiteY103" fmla="*/ 2414779 h 2476692"/>
                <a:gd name="connsiteX104" fmla="*/ 2334203 w 2593759"/>
                <a:gd name="connsiteY104" fmla="*/ 2433829 h 2476692"/>
                <a:gd name="connsiteX105" fmla="*/ 2305628 w 2593759"/>
                <a:gd name="connsiteY105" fmla="*/ 2443354 h 2476692"/>
                <a:gd name="connsiteX106" fmla="*/ 2296103 w 2593759"/>
                <a:gd name="connsiteY106" fmla="*/ 2457642 h 2476692"/>
                <a:gd name="connsiteX107" fmla="*/ 2262765 w 2593759"/>
                <a:gd name="connsiteY107" fmla="*/ 2462404 h 2476692"/>
                <a:gd name="connsiteX108" fmla="*/ 2229428 w 2593759"/>
                <a:gd name="connsiteY108" fmla="*/ 2438592 h 2476692"/>
                <a:gd name="connsiteX109" fmla="*/ 2215140 w 2593759"/>
                <a:gd name="connsiteY109" fmla="*/ 2433829 h 2476692"/>
                <a:gd name="connsiteX110" fmla="*/ 2205615 w 2593759"/>
                <a:gd name="connsiteY110" fmla="*/ 2457642 h 2476692"/>
                <a:gd name="connsiteX111" fmla="*/ 2191328 w 2593759"/>
                <a:gd name="connsiteY111" fmla="*/ 2467167 h 2476692"/>
                <a:gd name="connsiteX112" fmla="*/ 2153228 w 2593759"/>
                <a:gd name="connsiteY112" fmla="*/ 2476692 h 2476692"/>
                <a:gd name="connsiteX113" fmla="*/ 2134178 w 2593759"/>
                <a:gd name="connsiteY113" fmla="*/ 2448117 h 2476692"/>
                <a:gd name="connsiteX114" fmla="*/ 2124653 w 2593759"/>
                <a:gd name="connsiteY114" fmla="*/ 2433829 h 2476692"/>
                <a:gd name="connsiteX115" fmla="*/ 2119890 w 2593759"/>
                <a:gd name="connsiteY115" fmla="*/ 2352867 h 2476692"/>
                <a:gd name="connsiteX116" fmla="*/ 2124653 w 2593759"/>
                <a:gd name="connsiteY116" fmla="*/ 2338579 h 2476692"/>
                <a:gd name="connsiteX117" fmla="*/ 2167515 w 2593759"/>
                <a:gd name="connsiteY117" fmla="*/ 2290954 h 2476692"/>
                <a:gd name="connsiteX118" fmla="*/ 2177040 w 2593759"/>
                <a:gd name="connsiteY118" fmla="*/ 2276667 h 2476692"/>
                <a:gd name="connsiteX119" fmla="*/ 2153228 w 2593759"/>
                <a:gd name="connsiteY119" fmla="*/ 2248092 h 2476692"/>
                <a:gd name="connsiteX120" fmla="*/ 2134178 w 2593759"/>
                <a:gd name="connsiteY120" fmla="*/ 2238567 h 2476692"/>
                <a:gd name="connsiteX121" fmla="*/ 2129415 w 2593759"/>
                <a:gd name="connsiteY121" fmla="*/ 2214754 h 2476692"/>
                <a:gd name="connsiteX122" fmla="*/ 2148465 w 2593759"/>
                <a:gd name="connsiteY122" fmla="*/ 2186179 h 2476692"/>
                <a:gd name="connsiteX123" fmla="*/ 2167515 w 2593759"/>
                <a:gd name="connsiteY123" fmla="*/ 2190942 h 2476692"/>
                <a:gd name="connsiteX124" fmla="*/ 2229428 w 2593759"/>
                <a:gd name="connsiteY124" fmla="*/ 2186179 h 2476692"/>
                <a:gd name="connsiteX125" fmla="*/ 2234190 w 2593759"/>
                <a:gd name="connsiteY125" fmla="*/ 2171892 h 2476692"/>
                <a:gd name="connsiteX126" fmla="*/ 2224665 w 2593759"/>
                <a:gd name="connsiteY126" fmla="*/ 2143317 h 2476692"/>
                <a:gd name="connsiteX127" fmla="*/ 2210378 w 2593759"/>
                <a:gd name="connsiteY127" fmla="*/ 2129029 h 2476692"/>
                <a:gd name="connsiteX128" fmla="*/ 2191328 w 2593759"/>
                <a:gd name="connsiteY128" fmla="*/ 2119504 h 2476692"/>
                <a:gd name="connsiteX129" fmla="*/ 2162753 w 2593759"/>
                <a:gd name="connsiteY129" fmla="*/ 2114742 h 2476692"/>
                <a:gd name="connsiteX130" fmla="*/ 2157990 w 2593759"/>
                <a:gd name="connsiteY130" fmla="*/ 2095692 h 2476692"/>
                <a:gd name="connsiteX131" fmla="*/ 2181803 w 2593759"/>
                <a:gd name="connsiteY131" fmla="*/ 2062354 h 2476692"/>
                <a:gd name="connsiteX132" fmla="*/ 2191328 w 2593759"/>
                <a:gd name="connsiteY132" fmla="*/ 2048067 h 2476692"/>
                <a:gd name="connsiteX133" fmla="*/ 2196090 w 2593759"/>
                <a:gd name="connsiteY133" fmla="*/ 1986154 h 2476692"/>
                <a:gd name="connsiteX134" fmla="*/ 2186565 w 2593759"/>
                <a:gd name="connsiteY134" fmla="*/ 1957579 h 2476692"/>
                <a:gd name="connsiteX135" fmla="*/ 2162753 w 2593759"/>
                <a:gd name="connsiteY135" fmla="*/ 1952817 h 2476692"/>
                <a:gd name="connsiteX136" fmla="*/ 2134178 w 2593759"/>
                <a:gd name="connsiteY136" fmla="*/ 1971867 h 2476692"/>
                <a:gd name="connsiteX137" fmla="*/ 2124653 w 2593759"/>
                <a:gd name="connsiteY137" fmla="*/ 1986154 h 2476692"/>
                <a:gd name="connsiteX138" fmla="*/ 2105603 w 2593759"/>
                <a:gd name="connsiteY138" fmla="*/ 2005204 h 2476692"/>
                <a:gd name="connsiteX139" fmla="*/ 2072265 w 2593759"/>
                <a:gd name="connsiteY139" fmla="*/ 2038542 h 2476692"/>
                <a:gd name="connsiteX140" fmla="*/ 2057978 w 2593759"/>
                <a:gd name="connsiteY140" fmla="*/ 2048067 h 2476692"/>
                <a:gd name="connsiteX141" fmla="*/ 2029403 w 2593759"/>
                <a:gd name="connsiteY141" fmla="*/ 2052829 h 2476692"/>
                <a:gd name="connsiteX142" fmla="*/ 2019878 w 2593759"/>
                <a:gd name="connsiteY142" fmla="*/ 2009967 h 2476692"/>
                <a:gd name="connsiteX143" fmla="*/ 1991303 w 2593759"/>
                <a:gd name="connsiteY143" fmla="*/ 1986154 h 2476692"/>
                <a:gd name="connsiteX144" fmla="*/ 1962728 w 2593759"/>
                <a:gd name="connsiteY144" fmla="*/ 1976629 h 2476692"/>
                <a:gd name="connsiteX145" fmla="*/ 1948440 w 2593759"/>
                <a:gd name="connsiteY145" fmla="*/ 1990917 h 2476692"/>
                <a:gd name="connsiteX146" fmla="*/ 1910340 w 2593759"/>
                <a:gd name="connsiteY146" fmla="*/ 2000442 h 2476692"/>
                <a:gd name="connsiteX147" fmla="*/ 1891290 w 2593759"/>
                <a:gd name="connsiteY147" fmla="*/ 1971867 h 2476692"/>
                <a:gd name="connsiteX148" fmla="*/ 1886528 w 2593759"/>
                <a:gd name="connsiteY148" fmla="*/ 1952817 h 2476692"/>
                <a:gd name="connsiteX149" fmla="*/ 1881765 w 2593759"/>
                <a:gd name="connsiteY149" fmla="*/ 1929004 h 2476692"/>
                <a:gd name="connsiteX150" fmla="*/ 1877003 w 2593759"/>
                <a:gd name="connsiteY150" fmla="*/ 1886142 h 2476692"/>
                <a:gd name="connsiteX151" fmla="*/ 1862715 w 2593759"/>
                <a:gd name="connsiteY151" fmla="*/ 1871854 h 2476692"/>
                <a:gd name="connsiteX152" fmla="*/ 1853190 w 2593759"/>
                <a:gd name="connsiteY152" fmla="*/ 1857567 h 2476692"/>
                <a:gd name="connsiteX153" fmla="*/ 1824615 w 2593759"/>
                <a:gd name="connsiteY153" fmla="*/ 1838517 h 2476692"/>
                <a:gd name="connsiteX154" fmla="*/ 1819853 w 2593759"/>
                <a:gd name="connsiteY154" fmla="*/ 1819467 h 2476692"/>
                <a:gd name="connsiteX155" fmla="*/ 1834140 w 2593759"/>
                <a:gd name="connsiteY155" fmla="*/ 1814704 h 2476692"/>
                <a:gd name="connsiteX156" fmla="*/ 1848428 w 2593759"/>
                <a:gd name="connsiteY156" fmla="*/ 1809942 h 2476692"/>
                <a:gd name="connsiteX157" fmla="*/ 1862715 w 2593759"/>
                <a:gd name="connsiteY157" fmla="*/ 1805179 h 2476692"/>
                <a:gd name="connsiteX158" fmla="*/ 1891290 w 2593759"/>
                <a:gd name="connsiteY158" fmla="*/ 1795654 h 2476692"/>
                <a:gd name="connsiteX159" fmla="*/ 1896053 w 2593759"/>
                <a:gd name="connsiteY159" fmla="*/ 1781367 h 2476692"/>
                <a:gd name="connsiteX160" fmla="*/ 1900815 w 2593759"/>
                <a:gd name="connsiteY160" fmla="*/ 1762317 h 2476692"/>
                <a:gd name="connsiteX161" fmla="*/ 1891290 w 2593759"/>
                <a:gd name="connsiteY161" fmla="*/ 1676592 h 2476692"/>
                <a:gd name="connsiteX162" fmla="*/ 1719840 w 2593759"/>
                <a:gd name="connsiteY162" fmla="*/ 1671829 h 2476692"/>
                <a:gd name="connsiteX163" fmla="*/ 1710315 w 2593759"/>
                <a:gd name="connsiteY163" fmla="*/ 1690879 h 2476692"/>
                <a:gd name="connsiteX164" fmla="*/ 1696028 w 2593759"/>
                <a:gd name="connsiteY164" fmla="*/ 1709929 h 2476692"/>
                <a:gd name="connsiteX165" fmla="*/ 1681740 w 2593759"/>
                <a:gd name="connsiteY165" fmla="*/ 1724217 h 2476692"/>
                <a:gd name="connsiteX166" fmla="*/ 1676978 w 2593759"/>
                <a:gd name="connsiteY166" fmla="*/ 1738504 h 2476692"/>
                <a:gd name="connsiteX167" fmla="*/ 1667453 w 2593759"/>
                <a:gd name="connsiteY167" fmla="*/ 1762317 h 2476692"/>
                <a:gd name="connsiteX168" fmla="*/ 1643640 w 2593759"/>
                <a:gd name="connsiteY168" fmla="*/ 1795654 h 2476692"/>
                <a:gd name="connsiteX169" fmla="*/ 1291215 w 2593759"/>
                <a:gd name="connsiteY169" fmla="*/ 1938529 h 2476692"/>
                <a:gd name="connsiteX170" fmla="*/ 1162628 w 2593759"/>
                <a:gd name="connsiteY170" fmla="*/ 1833754 h 2476692"/>
                <a:gd name="connsiteX171" fmla="*/ 1091190 w 2593759"/>
                <a:gd name="connsiteY171" fmla="*/ 1843279 h 2476692"/>
                <a:gd name="connsiteX172" fmla="*/ 1014990 w 2593759"/>
                <a:gd name="connsiteY172" fmla="*/ 1786129 h 2476692"/>
                <a:gd name="connsiteX173" fmla="*/ 1024515 w 2593759"/>
                <a:gd name="connsiteY173" fmla="*/ 1733742 h 2476692"/>
                <a:gd name="connsiteX174" fmla="*/ 957840 w 2593759"/>
                <a:gd name="connsiteY174" fmla="*/ 1719454 h 2476692"/>
                <a:gd name="connsiteX175" fmla="*/ 767340 w 2593759"/>
                <a:gd name="connsiteY175" fmla="*/ 1671829 h 2476692"/>
                <a:gd name="connsiteX176" fmla="*/ 743528 w 2593759"/>
                <a:gd name="connsiteY176" fmla="*/ 1681354 h 2476692"/>
                <a:gd name="connsiteX177" fmla="*/ 729240 w 2593759"/>
                <a:gd name="connsiteY177" fmla="*/ 1686117 h 2476692"/>
                <a:gd name="connsiteX178" fmla="*/ 700665 w 2593759"/>
                <a:gd name="connsiteY178" fmla="*/ 1667067 h 2476692"/>
                <a:gd name="connsiteX179" fmla="*/ 657803 w 2593759"/>
                <a:gd name="connsiteY179" fmla="*/ 1624204 h 2476692"/>
                <a:gd name="connsiteX180" fmla="*/ 605415 w 2593759"/>
                <a:gd name="connsiteY180" fmla="*/ 1638492 h 2476692"/>
                <a:gd name="connsiteX181" fmla="*/ 533978 w 2593759"/>
                <a:gd name="connsiteY181" fmla="*/ 1543242 h 2476692"/>
                <a:gd name="connsiteX182" fmla="*/ 548265 w 2593759"/>
                <a:gd name="connsiteY182" fmla="*/ 1528954 h 2476692"/>
                <a:gd name="connsiteX183" fmla="*/ 567315 w 2593759"/>
                <a:gd name="connsiteY183" fmla="*/ 1514667 h 2476692"/>
                <a:gd name="connsiteX184" fmla="*/ 581603 w 2593759"/>
                <a:gd name="connsiteY184" fmla="*/ 1476567 h 2476692"/>
                <a:gd name="connsiteX185" fmla="*/ 567315 w 2593759"/>
                <a:gd name="connsiteY185" fmla="*/ 1471804 h 2476692"/>
                <a:gd name="connsiteX186" fmla="*/ 543503 w 2593759"/>
                <a:gd name="connsiteY186" fmla="*/ 1462279 h 2476692"/>
                <a:gd name="connsiteX187" fmla="*/ 562553 w 2593759"/>
                <a:gd name="connsiteY187" fmla="*/ 1428942 h 2476692"/>
                <a:gd name="connsiteX188" fmla="*/ 567315 w 2593759"/>
                <a:gd name="connsiteY188" fmla="*/ 1414654 h 2476692"/>
                <a:gd name="connsiteX189" fmla="*/ 586365 w 2593759"/>
                <a:gd name="connsiteY189" fmla="*/ 1386079 h 2476692"/>
                <a:gd name="connsiteX190" fmla="*/ 619703 w 2593759"/>
                <a:gd name="connsiteY190" fmla="*/ 1362267 h 2476692"/>
                <a:gd name="connsiteX191" fmla="*/ 633990 w 2593759"/>
                <a:gd name="connsiteY191" fmla="*/ 1343217 h 2476692"/>
                <a:gd name="connsiteX192" fmla="*/ 662565 w 2593759"/>
                <a:gd name="connsiteY192" fmla="*/ 1319404 h 2476692"/>
                <a:gd name="connsiteX193" fmla="*/ 667328 w 2593759"/>
                <a:gd name="connsiteY193" fmla="*/ 1281304 h 2476692"/>
                <a:gd name="connsiteX194" fmla="*/ 638753 w 2593759"/>
                <a:gd name="connsiteY194" fmla="*/ 1267017 h 2476692"/>
                <a:gd name="connsiteX195" fmla="*/ 633990 w 2593759"/>
                <a:gd name="connsiteY195" fmla="*/ 1252729 h 2476692"/>
                <a:gd name="connsiteX196" fmla="*/ 643515 w 2593759"/>
                <a:gd name="connsiteY196" fmla="*/ 1238442 h 2476692"/>
                <a:gd name="connsiteX197" fmla="*/ 672090 w 2593759"/>
                <a:gd name="connsiteY197" fmla="*/ 1219392 h 2476692"/>
                <a:gd name="connsiteX198" fmla="*/ 672090 w 2593759"/>
                <a:gd name="connsiteY198" fmla="*/ 1162242 h 2476692"/>
                <a:gd name="connsiteX199" fmla="*/ 662565 w 2593759"/>
                <a:gd name="connsiteY199" fmla="*/ 1147954 h 2476692"/>
                <a:gd name="connsiteX200" fmla="*/ 619703 w 2593759"/>
                <a:gd name="connsiteY200" fmla="*/ 1167004 h 2476692"/>
                <a:gd name="connsiteX201" fmla="*/ 610178 w 2593759"/>
                <a:gd name="connsiteY201" fmla="*/ 1152717 h 2476692"/>
                <a:gd name="connsiteX202" fmla="*/ 605415 w 2593759"/>
                <a:gd name="connsiteY202" fmla="*/ 1105092 h 2476692"/>
                <a:gd name="connsiteX203" fmla="*/ 595890 w 2593759"/>
                <a:gd name="connsiteY203" fmla="*/ 1086042 h 2476692"/>
                <a:gd name="connsiteX204" fmla="*/ 576840 w 2593759"/>
                <a:gd name="connsiteY204" fmla="*/ 1057467 h 2476692"/>
                <a:gd name="connsiteX205" fmla="*/ 572078 w 2593759"/>
                <a:gd name="connsiteY205" fmla="*/ 1043179 h 2476692"/>
                <a:gd name="connsiteX206" fmla="*/ 562553 w 2593759"/>
                <a:gd name="connsiteY206" fmla="*/ 962217 h 2476692"/>
                <a:gd name="connsiteX207" fmla="*/ 462540 w 2593759"/>
                <a:gd name="connsiteY207" fmla="*/ 1043179 h 2476692"/>
                <a:gd name="connsiteX208" fmla="*/ 433965 w 2593759"/>
                <a:gd name="connsiteY208" fmla="*/ 952692 h 2476692"/>
                <a:gd name="connsiteX209" fmla="*/ 343478 w 2593759"/>
                <a:gd name="connsiteY209" fmla="*/ 862204 h 2476692"/>
                <a:gd name="connsiteX210" fmla="*/ 262515 w 2593759"/>
                <a:gd name="connsiteY210" fmla="*/ 871729 h 2476692"/>
                <a:gd name="connsiteX211" fmla="*/ 205365 w 2593759"/>
                <a:gd name="connsiteY211" fmla="*/ 919354 h 2476692"/>
                <a:gd name="connsiteX212" fmla="*/ 95828 w 2593759"/>
                <a:gd name="connsiteY212" fmla="*/ 986029 h 2476692"/>
                <a:gd name="connsiteX213" fmla="*/ 24390 w 2593759"/>
                <a:gd name="connsiteY213" fmla="*/ 986029 h 2476692"/>
                <a:gd name="connsiteX214" fmla="*/ 14865 w 2593759"/>
                <a:gd name="connsiteY214" fmla="*/ 947929 h 2476692"/>
                <a:gd name="connsiteX215" fmla="*/ 578 w 2593759"/>
                <a:gd name="connsiteY215" fmla="*/ 933642 h 2476692"/>
                <a:gd name="connsiteX216" fmla="*/ 5340 w 2593759"/>
                <a:gd name="connsiteY216" fmla="*/ 890779 h 2476692"/>
                <a:gd name="connsiteX217" fmla="*/ 57728 w 2593759"/>
                <a:gd name="connsiteY217" fmla="*/ 781242 h 2476692"/>
                <a:gd name="connsiteX218" fmla="*/ 238703 w 2593759"/>
                <a:gd name="connsiteY218" fmla="*/ 543117 h 2476692"/>
                <a:gd name="connsiteX219" fmla="*/ 333953 w 2593759"/>
                <a:gd name="connsiteY219" fmla="*/ 543117 h 2476692"/>
                <a:gd name="connsiteX220" fmla="*/ 429203 w 2593759"/>
                <a:gd name="connsiteY220" fmla="*/ 524067 h 2476692"/>
                <a:gd name="connsiteX221" fmla="*/ 467303 w 2593759"/>
                <a:gd name="connsiteY221" fmla="*/ 538354 h 2476692"/>
                <a:gd name="connsiteX222" fmla="*/ 481590 w 2593759"/>
                <a:gd name="connsiteY222" fmla="*/ 528829 h 2476692"/>
                <a:gd name="connsiteX223" fmla="*/ 486353 w 2593759"/>
                <a:gd name="connsiteY223" fmla="*/ 514542 h 2476692"/>
                <a:gd name="connsiteX224" fmla="*/ 491115 w 2593759"/>
                <a:gd name="connsiteY224" fmla="*/ 466917 h 2476692"/>
                <a:gd name="connsiteX225" fmla="*/ 481590 w 2593759"/>
                <a:gd name="connsiteY225" fmla="*/ 438342 h 2476692"/>
                <a:gd name="connsiteX226" fmla="*/ 462540 w 2593759"/>
                <a:gd name="connsiteY226" fmla="*/ 409767 h 2476692"/>
                <a:gd name="connsiteX227" fmla="*/ 472065 w 2593759"/>
                <a:gd name="connsiteY227" fmla="*/ 347854 h 2476692"/>
                <a:gd name="connsiteX228" fmla="*/ 505403 w 2593759"/>
                <a:gd name="connsiteY228" fmla="*/ 295467 h 2476692"/>
                <a:gd name="connsiteX229" fmla="*/ 514928 w 2593759"/>
                <a:gd name="connsiteY229" fmla="*/ 281179 h 2476692"/>
                <a:gd name="connsiteX230" fmla="*/ 519690 w 2593759"/>
                <a:gd name="connsiteY230" fmla="*/ 257367 h 2476692"/>
                <a:gd name="connsiteX231" fmla="*/ 529215 w 2593759"/>
                <a:gd name="connsiteY231" fmla="*/ 243079 h 2476692"/>
                <a:gd name="connsiteX232" fmla="*/ 538740 w 2593759"/>
                <a:gd name="connsiteY232" fmla="*/ 204979 h 2476692"/>
                <a:gd name="connsiteX233" fmla="*/ 548265 w 2593759"/>
                <a:gd name="connsiteY233" fmla="*/ 185929 h 2476692"/>
                <a:gd name="connsiteX234" fmla="*/ 553028 w 2593759"/>
                <a:gd name="connsiteY234" fmla="*/ 171642 h 2476692"/>
                <a:gd name="connsiteX235" fmla="*/ 562553 w 2593759"/>
                <a:gd name="connsiteY235" fmla="*/ 157354 h 2476692"/>
                <a:gd name="connsiteX236" fmla="*/ 567315 w 2593759"/>
                <a:gd name="connsiteY236" fmla="*/ 133542 h 2476692"/>
                <a:gd name="connsiteX237" fmla="*/ 576840 w 2593759"/>
                <a:gd name="connsiteY237" fmla="*/ 100204 h 2476692"/>
                <a:gd name="connsiteX238" fmla="*/ 581603 w 2593759"/>
                <a:gd name="connsiteY238" fmla="*/ 81154 h 2476692"/>
                <a:gd name="connsiteX239" fmla="*/ 595890 w 2593759"/>
                <a:gd name="connsiteY239" fmla="*/ 33529 h 2476692"/>
                <a:gd name="connsiteX240" fmla="*/ 619703 w 2593759"/>
                <a:gd name="connsiteY240" fmla="*/ 192 h 2476692"/>
                <a:gd name="connsiteX241" fmla="*/ 621543 w 2593759"/>
                <a:gd name="connsiteY241" fmla="*/ 0 h 2476692"/>
                <a:gd name="connsiteX0" fmla="*/ 621543 w 2598522"/>
                <a:gd name="connsiteY0" fmla="*/ 0 h 2476692"/>
                <a:gd name="connsiteX1" fmla="*/ 637165 w 2598522"/>
                <a:gd name="connsiteY1" fmla="*/ 20829 h 2476692"/>
                <a:gd name="connsiteX2" fmla="*/ 643515 w 2598522"/>
                <a:gd name="connsiteY2" fmla="*/ 30354 h 2476692"/>
                <a:gd name="connsiteX3" fmla="*/ 646690 w 2598522"/>
                <a:gd name="connsiteY3" fmla="*/ 74804 h 2476692"/>
                <a:gd name="connsiteX4" fmla="*/ 656215 w 2598522"/>
                <a:gd name="connsiteY4" fmla="*/ 100204 h 2476692"/>
                <a:gd name="connsiteX5" fmla="*/ 757815 w 2598522"/>
                <a:gd name="connsiteY5" fmla="*/ 119254 h 2476692"/>
                <a:gd name="connsiteX6" fmla="*/ 780040 w 2598522"/>
                <a:gd name="connsiteY6" fmla="*/ 135129 h 2476692"/>
                <a:gd name="connsiteX7" fmla="*/ 789565 w 2598522"/>
                <a:gd name="connsiteY7" fmla="*/ 138304 h 2476692"/>
                <a:gd name="connsiteX8" fmla="*/ 808615 w 2598522"/>
                <a:gd name="connsiteY8" fmla="*/ 154179 h 2476692"/>
                <a:gd name="connsiteX9" fmla="*/ 824490 w 2598522"/>
                <a:gd name="connsiteY9" fmla="*/ 176404 h 2476692"/>
                <a:gd name="connsiteX10" fmla="*/ 827665 w 2598522"/>
                <a:gd name="connsiteY10" fmla="*/ 185929 h 2476692"/>
                <a:gd name="connsiteX11" fmla="*/ 853065 w 2598522"/>
                <a:gd name="connsiteY11" fmla="*/ 201804 h 2476692"/>
                <a:gd name="connsiteX12" fmla="*/ 929265 w 2598522"/>
                <a:gd name="connsiteY12" fmla="*/ 220854 h 2476692"/>
                <a:gd name="connsiteX13" fmla="*/ 957840 w 2598522"/>
                <a:gd name="connsiteY13" fmla="*/ 198629 h 2476692"/>
                <a:gd name="connsiteX14" fmla="*/ 980065 w 2598522"/>
                <a:gd name="connsiteY14" fmla="*/ 182754 h 2476692"/>
                <a:gd name="connsiteX15" fmla="*/ 989590 w 2598522"/>
                <a:gd name="connsiteY15" fmla="*/ 176404 h 2476692"/>
                <a:gd name="connsiteX16" fmla="*/ 1011815 w 2598522"/>
                <a:gd name="connsiteY16" fmla="*/ 173229 h 2476692"/>
                <a:gd name="connsiteX17" fmla="*/ 1027690 w 2598522"/>
                <a:gd name="connsiteY17" fmla="*/ 166879 h 2476692"/>
                <a:gd name="connsiteX18" fmla="*/ 1094365 w 2598522"/>
                <a:gd name="connsiteY18" fmla="*/ 220854 h 2476692"/>
                <a:gd name="connsiteX19" fmla="*/ 1186440 w 2598522"/>
                <a:gd name="connsiteY19" fmla="*/ 217679 h 2476692"/>
                <a:gd name="connsiteX20" fmla="*/ 1278515 w 2598522"/>
                <a:gd name="connsiteY20" fmla="*/ 170054 h 2476692"/>
                <a:gd name="connsiteX21" fmla="*/ 1326140 w 2598522"/>
                <a:gd name="connsiteY21" fmla="*/ 74804 h 2476692"/>
                <a:gd name="connsiteX22" fmla="*/ 1373765 w 2598522"/>
                <a:gd name="connsiteY22" fmla="*/ 122429 h 2476692"/>
                <a:gd name="connsiteX23" fmla="*/ 1459490 w 2598522"/>
                <a:gd name="connsiteY23" fmla="*/ 144654 h 2476692"/>
                <a:gd name="connsiteX24" fmla="*/ 1589665 w 2598522"/>
                <a:gd name="connsiteY24" fmla="*/ 144654 h 2476692"/>
                <a:gd name="connsiteX25" fmla="*/ 1697615 w 2598522"/>
                <a:gd name="connsiteY25" fmla="*/ 97029 h 2476692"/>
                <a:gd name="connsiteX26" fmla="*/ 1726190 w 2598522"/>
                <a:gd name="connsiteY26" fmla="*/ 103379 h 2476692"/>
                <a:gd name="connsiteX27" fmla="*/ 1738890 w 2598522"/>
                <a:gd name="connsiteY27" fmla="*/ 122429 h 2476692"/>
                <a:gd name="connsiteX28" fmla="*/ 1732540 w 2598522"/>
                <a:gd name="connsiteY28" fmla="*/ 141479 h 2476692"/>
                <a:gd name="connsiteX29" fmla="*/ 1723015 w 2598522"/>
                <a:gd name="connsiteY29" fmla="*/ 154179 h 2476692"/>
                <a:gd name="connsiteX30" fmla="*/ 1802390 w 2598522"/>
                <a:gd name="connsiteY30" fmla="*/ 144654 h 2476692"/>
                <a:gd name="connsiteX31" fmla="*/ 1824615 w 2598522"/>
                <a:gd name="connsiteY31" fmla="*/ 160529 h 2476692"/>
                <a:gd name="connsiteX32" fmla="*/ 1827790 w 2598522"/>
                <a:gd name="connsiteY32" fmla="*/ 195454 h 2476692"/>
                <a:gd name="connsiteX33" fmla="*/ 1834140 w 2598522"/>
                <a:gd name="connsiteY33" fmla="*/ 217679 h 2476692"/>
                <a:gd name="connsiteX34" fmla="*/ 1840490 w 2598522"/>
                <a:gd name="connsiteY34" fmla="*/ 230379 h 2476692"/>
                <a:gd name="connsiteX35" fmla="*/ 1846840 w 2598522"/>
                <a:gd name="connsiteY35" fmla="*/ 239904 h 2476692"/>
                <a:gd name="connsiteX36" fmla="*/ 1846840 w 2598522"/>
                <a:gd name="connsiteY36" fmla="*/ 249429 h 2476692"/>
                <a:gd name="connsiteX37" fmla="*/ 1916690 w 2598522"/>
                <a:gd name="connsiteY37" fmla="*/ 274829 h 2476692"/>
                <a:gd name="connsiteX38" fmla="*/ 1945265 w 2598522"/>
                <a:gd name="connsiteY38" fmla="*/ 268479 h 2476692"/>
                <a:gd name="connsiteX39" fmla="*/ 1961140 w 2598522"/>
                <a:gd name="connsiteY39" fmla="*/ 274829 h 2476692"/>
                <a:gd name="connsiteX40" fmla="*/ 1977015 w 2598522"/>
                <a:gd name="connsiteY40" fmla="*/ 293879 h 2476692"/>
                <a:gd name="connsiteX41" fmla="*/ 2002415 w 2598522"/>
                <a:gd name="connsiteY41" fmla="*/ 297054 h 2476692"/>
                <a:gd name="connsiteX42" fmla="*/ 2002415 w 2598522"/>
                <a:gd name="connsiteY42" fmla="*/ 344679 h 2476692"/>
                <a:gd name="connsiteX43" fmla="*/ 1998496 w 2598522"/>
                <a:gd name="connsiteY43" fmla="*/ 359366 h 2476692"/>
                <a:gd name="connsiteX44" fmla="*/ 1997699 w 2598522"/>
                <a:gd name="connsiteY44" fmla="*/ 359161 h 2476692"/>
                <a:gd name="connsiteX45" fmla="*/ 1996509 w 2598522"/>
                <a:gd name="connsiteY45" fmla="*/ 357863 h 2476692"/>
                <a:gd name="connsiteX46" fmla="*/ 1996082 w 2598522"/>
                <a:gd name="connsiteY46" fmla="*/ 354482 h 2476692"/>
                <a:gd name="connsiteX47" fmla="*/ 1996065 w 2598522"/>
                <a:gd name="connsiteY47" fmla="*/ 357379 h 2476692"/>
                <a:gd name="connsiteX48" fmla="*/ 1996509 w 2598522"/>
                <a:gd name="connsiteY48" fmla="*/ 357863 h 2476692"/>
                <a:gd name="connsiteX49" fmla="*/ 1996639 w 2598522"/>
                <a:gd name="connsiteY49" fmla="*/ 358889 h 2476692"/>
                <a:gd name="connsiteX50" fmla="*/ 1997699 w 2598522"/>
                <a:gd name="connsiteY50" fmla="*/ 359161 h 2476692"/>
                <a:gd name="connsiteX51" fmla="*/ 2030990 w 2598522"/>
                <a:gd name="connsiteY51" fmla="*/ 395479 h 2476692"/>
                <a:gd name="connsiteX52" fmla="*/ 2059565 w 2598522"/>
                <a:gd name="connsiteY52" fmla="*/ 385954 h 2476692"/>
                <a:gd name="connsiteX53" fmla="*/ 2069090 w 2598522"/>
                <a:gd name="connsiteY53" fmla="*/ 379604 h 2476692"/>
                <a:gd name="connsiteX54" fmla="*/ 2078615 w 2598522"/>
                <a:gd name="connsiteY54" fmla="*/ 376429 h 2476692"/>
                <a:gd name="connsiteX55" fmla="*/ 2116715 w 2598522"/>
                <a:gd name="connsiteY55" fmla="*/ 379604 h 2476692"/>
                <a:gd name="connsiteX56" fmla="*/ 2119890 w 2598522"/>
                <a:gd name="connsiteY56" fmla="*/ 411354 h 2476692"/>
                <a:gd name="connsiteX57" fmla="*/ 2129415 w 2598522"/>
                <a:gd name="connsiteY57" fmla="*/ 443104 h 2476692"/>
                <a:gd name="connsiteX58" fmla="*/ 2132590 w 2598522"/>
                <a:gd name="connsiteY58" fmla="*/ 452629 h 2476692"/>
                <a:gd name="connsiteX59" fmla="*/ 2135765 w 2598522"/>
                <a:gd name="connsiteY59" fmla="*/ 462154 h 2476692"/>
                <a:gd name="connsiteX60" fmla="*/ 2142115 w 2598522"/>
                <a:gd name="connsiteY60" fmla="*/ 493904 h 2476692"/>
                <a:gd name="connsiteX61" fmla="*/ 2138940 w 2598522"/>
                <a:gd name="connsiteY61" fmla="*/ 532004 h 2476692"/>
                <a:gd name="connsiteX62" fmla="*/ 2110365 w 2598522"/>
                <a:gd name="connsiteY62" fmla="*/ 547879 h 2476692"/>
                <a:gd name="connsiteX63" fmla="*/ 2097665 w 2598522"/>
                <a:gd name="connsiteY63" fmla="*/ 557404 h 2476692"/>
                <a:gd name="connsiteX64" fmla="*/ 2094490 w 2598522"/>
                <a:gd name="connsiteY64" fmla="*/ 582804 h 2476692"/>
                <a:gd name="connsiteX65" fmla="*/ 2104015 w 2598522"/>
                <a:gd name="connsiteY65" fmla="*/ 608204 h 2476692"/>
                <a:gd name="connsiteX66" fmla="*/ 2110365 w 2598522"/>
                <a:gd name="connsiteY66" fmla="*/ 617729 h 2476692"/>
                <a:gd name="connsiteX67" fmla="*/ 2116715 w 2598522"/>
                <a:gd name="connsiteY67" fmla="*/ 643129 h 2476692"/>
                <a:gd name="connsiteX68" fmla="*/ 2119890 w 2598522"/>
                <a:gd name="connsiteY68" fmla="*/ 719329 h 2476692"/>
                <a:gd name="connsiteX69" fmla="*/ 2123065 w 2598522"/>
                <a:gd name="connsiteY69" fmla="*/ 728854 h 2476692"/>
                <a:gd name="connsiteX70" fmla="*/ 2142115 w 2598522"/>
                <a:gd name="connsiteY70" fmla="*/ 741554 h 2476692"/>
                <a:gd name="connsiteX71" fmla="*/ 2161165 w 2598522"/>
                <a:gd name="connsiteY71" fmla="*/ 738379 h 2476692"/>
                <a:gd name="connsiteX72" fmla="*/ 2170690 w 2598522"/>
                <a:gd name="connsiteY72" fmla="*/ 732029 h 2476692"/>
                <a:gd name="connsiteX73" fmla="*/ 2183390 w 2598522"/>
                <a:gd name="connsiteY73" fmla="*/ 725679 h 2476692"/>
                <a:gd name="connsiteX74" fmla="*/ 2192915 w 2598522"/>
                <a:gd name="connsiteY74" fmla="*/ 719329 h 2476692"/>
                <a:gd name="connsiteX75" fmla="*/ 2211965 w 2598522"/>
                <a:gd name="connsiteY75" fmla="*/ 712979 h 2476692"/>
                <a:gd name="connsiteX76" fmla="*/ 2259590 w 2598522"/>
                <a:gd name="connsiteY76" fmla="*/ 716154 h 2476692"/>
                <a:gd name="connsiteX77" fmla="*/ 2262765 w 2598522"/>
                <a:gd name="connsiteY77" fmla="*/ 732029 h 2476692"/>
                <a:gd name="connsiteX78" fmla="*/ 2272290 w 2598522"/>
                <a:gd name="connsiteY78" fmla="*/ 751079 h 2476692"/>
                <a:gd name="connsiteX79" fmla="*/ 2297690 w 2598522"/>
                <a:gd name="connsiteY79" fmla="*/ 754254 h 2476692"/>
                <a:gd name="connsiteX80" fmla="*/ 2329440 w 2598522"/>
                <a:gd name="connsiteY80" fmla="*/ 738379 h 2476692"/>
                <a:gd name="connsiteX81" fmla="*/ 2338965 w 2598522"/>
                <a:gd name="connsiteY81" fmla="*/ 735204 h 2476692"/>
                <a:gd name="connsiteX82" fmla="*/ 2367540 w 2598522"/>
                <a:gd name="connsiteY82" fmla="*/ 722504 h 2476692"/>
                <a:gd name="connsiteX83" fmla="*/ 2377065 w 2598522"/>
                <a:gd name="connsiteY83" fmla="*/ 719329 h 2476692"/>
                <a:gd name="connsiteX84" fmla="*/ 2391809 w 2598522"/>
                <a:gd name="connsiteY84" fmla="*/ 719329 h 2476692"/>
                <a:gd name="connsiteX85" fmla="*/ 2598522 w 2598522"/>
                <a:gd name="connsiteY85" fmla="*/ 1619442 h 2476692"/>
                <a:gd name="connsiteX86" fmla="*/ 2593759 w 2598522"/>
                <a:gd name="connsiteY86" fmla="*/ 1712310 h 2476692"/>
                <a:gd name="connsiteX87" fmla="*/ 2577090 w 2598522"/>
                <a:gd name="connsiteY87" fmla="*/ 1802798 h 2476692"/>
                <a:gd name="connsiteX88" fmla="*/ 2512796 w 2598522"/>
                <a:gd name="connsiteY88" fmla="*/ 1824229 h 2476692"/>
                <a:gd name="connsiteX89" fmla="*/ 2558040 w 2598522"/>
                <a:gd name="connsiteY89" fmla="*/ 1883760 h 2476692"/>
                <a:gd name="connsiteX90" fmla="*/ 2555659 w 2598522"/>
                <a:gd name="connsiteY90" fmla="*/ 1909954 h 2476692"/>
                <a:gd name="connsiteX91" fmla="*/ 2527084 w 2598522"/>
                <a:gd name="connsiteY91" fmla="*/ 1995679 h 2476692"/>
                <a:gd name="connsiteX92" fmla="*/ 2503271 w 2598522"/>
                <a:gd name="connsiteY92" fmla="*/ 1986154 h 2476692"/>
                <a:gd name="connsiteX93" fmla="*/ 2472315 w 2598522"/>
                <a:gd name="connsiteY93" fmla="*/ 1971867 h 2476692"/>
                <a:gd name="connsiteX94" fmla="*/ 2436596 w 2598522"/>
                <a:gd name="connsiteY94" fmla="*/ 1986154 h 2476692"/>
                <a:gd name="connsiteX95" fmla="*/ 2450884 w 2598522"/>
                <a:gd name="connsiteY95" fmla="*/ 2017110 h 2476692"/>
                <a:gd name="connsiteX96" fmla="*/ 2465171 w 2598522"/>
                <a:gd name="connsiteY96" fmla="*/ 2057592 h 2476692"/>
                <a:gd name="connsiteX97" fmla="*/ 2455646 w 2598522"/>
                <a:gd name="connsiteY97" fmla="*/ 2121885 h 2476692"/>
                <a:gd name="connsiteX98" fmla="*/ 2410403 w 2598522"/>
                <a:gd name="connsiteY98" fmla="*/ 2152842 h 2476692"/>
                <a:gd name="connsiteX99" fmla="*/ 2458028 w 2598522"/>
                <a:gd name="connsiteY99" fmla="*/ 2186180 h 2476692"/>
                <a:gd name="connsiteX100" fmla="*/ 2448503 w 2598522"/>
                <a:gd name="connsiteY100" fmla="*/ 2226660 h 2476692"/>
                <a:gd name="connsiteX101" fmla="*/ 2410403 w 2598522"/>
                <a:gd name="connsiteY101" fmla="*/ 2262379 h 2476692"/>
                <a:gd name="connsiteX102" fmla="*/ 2388971 w 2598522"/>
                <a:gd name="connsiteY102" fmla="*/ 2331435 h 2476692"/>
                <a:gd name="connsiteX103" fmla="*/ 2405640 w 2598522"/>
                <a:gd name="connsiteY103" fmla="*/ 2381442 h 2476692"/>
                <a:gd name="connsiteX104" fmla="*/ 2391353 w 2598522"/>
                <a:gd name="connsiteY104" fmla="*/ 2414779 h 2476692"/>
                <a:gd name="connsiteX105" fmla="*/ 2334203 w 2598522"/>
                <a:gd name="connsiteY105" fmla="*/ 2433829 h 2476692"/>
                <a:gd name="connsiteX106" fmla="*/ 2305628 w 2598522"/>
                <a:gd name="connsiteY106" fmla="*/ 2443354 h 2476692"/>
                <a:gd name="connsiteX107" fmla="*/ 2296103 w 2598522"/>
                <a:gd name="connsiteY107" fmla="*/ 2457642 h 2476692"/>
                <a:gd name="connsiteX108" fmla="*/ 2262765 w 2598522"/>
                <a:gd name="connsiteY108" fmla="*/ 2462404 h 2476692"/>
                <a:gd name="connsiteX109" fmla="*/ 2229428 w 2598522"/>
                <a:gd name="connsiteY109" fmla="*/ 2438592 h 2476692"/>
                <a:gd name="connsiteX110" fmla="*/ 2215140 w 2598522"/>
                <a:gd name="connsiteY110" fmla="*/ 2433829 h 2476692"/>
                <a:gd name="connsiteX111" fmla="*/ 2205615 w 2598522"/>
                <a:gd name="connsiteY111" fmla="*/ 2457642 h 2476692"/>
                <a:gd name="connsiteX112" fmla="*/ 2191328 w 2598522"/>
                <a:gd name="connsiteY112" fmla="*/ 2467167 h 2476692"/>
                <a:gd name="connsiteX113" fmla="*/ 2153228 w 2598522"/>
                <a:gd name="connsiteY113" fmla="*/ 2476692 h 2476692"/>
                <a:gd name="connsiteX114" fmla="*/ 2134178 w 2598522"/>
                <a:gd name="connsiteY114" fmla="*/ 2448117 h 2476692"/>
                <a:gd name="connsiteX115" fmla="*/ 2124653 w 2598522"/>
                <a:gd name="connsiteY115" fmla="*/ 2433829 h 2476692"/>
                <a:gd name="connsiteX116" fmla="*/ 2119890 w 2598522"/>
                <a:gd name="connsiteY116" fmla="*/ 2352867 h 2476692"/>
                <a:gd name="connsiteX117" fmla="*/ 2124653 w 2598522"/>
                <a:gd name="connsiteY117" fmla="*/ 2338579 h 2476692"/>
                <a:gd name="connsiteX118" fmla="*/ 2167515 w 2598522"/>
                <a:gd name="connsiteY118" fmla="*/ 2290954 h 2476692"/>
                <a:gd name="connsiteX119" fmla="*/ 2177040 w 2598522"/>
                <a:gd name="connsiteY119" fmla="*/ 2276667 h 2476692"/>
                <a:gd name="connsiteX120" fmla="*/ 2153228 w 2598522"/>
                <a:gd name="connsiteY120" fmla="*/ 2248092 h 2476692"/>
                <a:gd name="connsiteX121" fmla="*/ 2134178 w 2598522"/>
                <a:gd name="connsiteY121" fmla="*/ 2238567 h 2476692"/>
                <a:gd name="connsiteX122" fmla="*/ 2129415 w 2598522"/>
                <a:gd name="connsiteY122" fmla="*/ 2214754 h 2476692"/>
                <a:gd name="connsiteX123" fmla="*/ 2148465 w 2598522"/>
                <a:gd name="connsiteY123" fmla="*/ 2186179 h 2476692"/>
                <a:gd name="connsiteX124" fmla="*/ 2167515 w 2598522"/>
                <a:gd name="connsiteY124" fmla="*/ 2190942 h 2476692"/>
                <a:gd name="connsiteX125" fmla="*/ 2229428 w 2598522"/>
                <a:gd name="connsiteY125" fmla="*/ 2186179 h 2476692"/>
                <a:gd name="connsiteX126" fmla="*/ 2234190 w 2598522"/>
                <a:gd name="connsiteY126" fmla="*/ 2171892 h 2476692"/>
                <a:gd name="connsiteX127" fmla="*/ 2224665 w 2598522"/>
                <a:gd name="connsiteY127" fmla="*/ 2143317 h 2476692"/>
                <a:gd name="connsiteX128" fmla="*/ 2210378 w 2598522"/>
                <a:gd name="connsiteY128" fmla="*/ 2129029 h 2476692"/>
                <a:gd name="connsiteX129" fmla="*/ 2191328 w 2598522"/>
                <a:gd name="connsiteY129" fmla="*/ 2119504 h 2476692"/>
                <a:gd name="connsiteX130" fmla="*/ 2162753 w 2598522"/>
                <a:gd name="connsiteY130" fmla="*/ 2114742 h 2476692"/>
                <a:gd name="connsiteX131" fmla="*/ 2157990 w 2598522"/>
                <a:gd name="connsiteY131" fmla="*/ 2095692 h 2476692"/>
                <a:gd name="connsiteX132" fmla="*/ 2181803 w 2598522"/>
                <a:gd name="connsiteY132" fmla="*/ 2062354 h 2476692"/>
                <a:gd name="connsiteX133" fmla="*/ 2191328 w 2598522"/>
                <a:gd name="connsiteY133" fmla="*/ 2048067 h 2476692"/>
                <a:gd name="connsiteX134" fmla="*/ 2196090 w 2598522"/>
                <a:gd name="connsiteY134" fmla="*/ 1986154 h 2476692"/>
                <a:gd name="connsiteX135" fmla="*/ 2186565 w 2598522"/>
                <a:gd name="connsiteY135" fmla="*/ 1957579 h 2476692"/>
                <a:gd name="connsiteX136" fmla="*/ 2162753 w 2598522"/>
                <a:gd name="connsiteY136" fmla="*/ 1952817 h 2476692"/>
                <a:gd name="connsiteX137" fmla="*/ 2134178 w 2598522"/>
                <a:gd name="connsiteY137" fmla="*/ 1971867 h 2476692"/>
                <a:gd name="connsiteX138" fmla="*/ 2124653 w 2598522"/>
                <a:gd name="connsiteY138" fmla="*/ 1986154 h 2476692"/>
                <a:gd name="connsiteX139" fmla="*/ 2105603 w 2598522"/>
                <a:gd name="connsiteY139" fmla="*/ 2005204 h 2476692"/>
                <a:gd name="connsiteX140" fmla="*/ 2072265 w 2598522"/>
                <a:gd name="connsiteY140" fmla="*/ 2038542 h 2476692"/>
                <a:gd name="connsiteX141" fmla="*/ 2057978 w 2598522"/>
                <a:gd name="connsiteY141" fmla="*/ 2048067 h 2476692"/>
                <a:gd name="connsiteX142" fmla="*/ 2029403 w 2598522"/>
                <a:gd name="connsiteY142" fmla="*/ 2052829 h 2476692"/>
                <a:gd name="connsiteX143" fmla="*/ 2019878 w 2598522"/>
                <a:gd name="connsiteY143" fmla="*/ 2009967 h 2476692"/>
                <a:gd name="connsiteX144" fmla="*/ 1991303 w 2598522"/>
                <a:gd name="connsiteY144" fmla="*/ 1986154 h 2476692"/>
                <a:gd name="connsiteX145" fmla="*/ 1962728 w 2598522"/>
                <a:gd name="connsiteY145" fmla="*/ 1976629 h 2476692"/>
                <a:gd name="connsiteX146" fmla="*/ 1948440 w 2598522"/>
                <a:gd name="connsiteY146" fmla="*/ 1990917 h 2476692"/>
                <a:gd name="connsiteX147" fmla="*/ 1910340 w 2598522"/>
                <a:gd name="connsiteY147" fmla="*/ 2000442 h 2476692"/>
                <a:gd name="connsiteX148" fmla="*/ 1891290 w 2598522"/>
                <a:gd name="connsiteY148" fmla="*/ 1971867 h 2476692"/>
                <a:gd name="connsiteX149" fmla="*/ 1886528 w 2598522"/>
                <a:gd name="connsiteY149" fmla="*/ 1952817 h 2476692"/>
                <a:gd name="connsiteX150" fmla="*/ 1881765 w 2598522"/>
                <a:gd name="connsiteY150" fmla="*/ 1929004 h 2476692"/>
                <a:gd name="connsiteX151" fmla="*/ 1877003 w 2598522"/>
                <a:gd name="connsiteY151" fmla="*/ 1886142 h 2476692"/>
                <a:gd name="connsiteX152" fmla="*/ 1862715 w 2598522"/>
                <a:gd name="connsiteY152" fmla="*/ 1871854 h 2476692"/>
                <a:gd name="connsiteX153" fmla="*/ 1853190 w 2598522"/>
                <a:gd name="connsiteY153" fmla="*/ 1857567 h 2476692"/>
                <a:gd name="connsiteX154" fmla="*/ 1824615 w 2598522"/>
                <a:gd name="connsiteY154" fmla="*/ 1838517 h 2476692"/>
                <a:gd name="connsiteX155" fmla="*/ 1819853 w 2598522"/>
                <a:gd name="connsiteY155" fmla="*/ 1819467 h 2476692"/>
                <a:gd name="connsiteX156" fmla="*/ 1834140 w 2598522"/>
                <a:gd name="connsiteY156" fmla="*/ 1814704 h 2476692"/>
                <a:gd name="connsiteX157" fmla="*/ 1848428 w 2598522"/>
                <a:gd name="connsiteY157" fmla="*/ 1809942 h 2476692"/>
                <a:gd name="connsiteX158" fmla="*/ 1862715 w 2598522"/>
                <a:gd name="connsiteY158" fmla="*/ 1805179 h 2476692"/>
                <a:gd name="connsiteX159" fmla="*/ 1891290 w 2598522"/>
                <a:gd name="connsiteY159" fmla="*/ 1795654 h 2476692"/>
                <a:gd name="connsiteX160" fmla="*/ 1896053 w 2598522"/>
                <a:gd name="connsiteY160" fmla="*/ 1781367 h 2476692"/>
                <a:gd name="connsiteX161" fmla="*/ 1900815 w 2598522"/>
                <a:gd name="connsiteY161" fmla="*/ 1762317 h 2476692"/>
                <a:gd name="connsiteX162" fmla="*/ 1891290 w 2598522"/>
                <a:gd name="connsiteY162" fmla="*/ 1676592 h 2476692"/>
                <a:gd name="connsiteX163" fmla="*/ 1719840 w 2598522"/>
                <a:gd name="connsiteY163" fmla="*/ 1671829 h 2476692"/>
                <a:gd name="connsiteX164" fmla="*/ 1710315 w 2598522"/>
                <a:gd name="connsiteY164" fmla="*/ 1690879 h 2476692"/>
                <a:gd name="connsiteX165" fmla="*/ 1696028 w 2598522"/>
                <a:gd name="connsiteY165" fmla="*/ 1709929 h 2476692"/>
                <a:gd name="connsiteX166" fmla="*/ 1681740 w 2598522"/>
                <a:gd name="connsiteY166" fmla="*/ 1724217 h 2476692"/>
                <a:gd name="connsiteX167" fmla="*/ 1676978 w 2598522"/>
                <a:gd name="connsiteY167" fmla="*/ 1738504 h 2476692"/>
                <a:gd name="connsiteX168" fmla="*/ 1667453 w 2598522"/>
                <a:gd name="connsiteY168" fmla="*/ 1762317 h 2476692"/>
                <a:gd name="connsiteX169" fmla="*/ 1643640 w 2598522"/>
                <a:gd name="connsiteY169" fmla="*/ 1795654 h 2476692"/>
                <a:gd name="connsiteX170" fmla="*/ 1291215 w 2598522"/>
                <a:gd name="connsiteY170" fmla="*/ 1938529 h 2476692"/>
                <a:gd name="connsiteX171" fmla="*/ 1162628 w 2598522"/>
                <a:gd name="connsiteY171" fmla="*/ 1833754 h 2476692"/>
                <a:gd name="connsiteX172" fmla="*/ 1091190 w 2598522"/>
                <a:gd name="connsiteY172" fmla="*/ 1843279 h 2476692"/>
                <a:gd name="connsiteX173" fmla="*/ 1014990 w 2598522"/>
                <a:gd name="connsiteY173" fmla="*/ 1786129 h 2476692"/>
                <a:gd name="connsiteX174" fmla="*/ 1024515 w 2598522"/>
                <a:gd name="connsiteY174" fmla="*/ 1733742 h 2476692"/>
                <a:gd name="connsiteX175" fmla="*/ 957840 w 2598522"/>
                <a:gd name="connsiteY175" fmla="*/ 1719454 h 2476692"/>
                <a:gd name="connsiteX176" fmla="*/ 767340 w 2598522"/>
                <a:gd name="connsiteY176" fmla="*/ 1671829 h 2476692"/>
                <a:gd name="connsiteX177" fmla="*/ 743528 w 2598522"/>
                <a:gd name="connsiteY177" fmla="*/ 1681354 h 2476692"/>
                <a:gd name="connsiteX178" fmla="*/ 729240 w 2598522"/>
                <a:gd name="connsiteY178" fmla="*/ 1686117 h 2476692"/>
                <a:gd name="connsiteX179" fmla="*/ 700665 w 2598522"/>
                <a:gd name="connsiteY179" fmla="*/ 1667067 h 2476692"/>
                <a:gd name="connsiteX180" fmla="*/ 657803 w 2598522"/>
                <a:gd name="connsiteY180" fmla="*/ 1624204 h 2476692"/>
                <a:gd name="connsiteX181" fmla="*/ 605415 w 2598522"/>
                <a:gd name="connsiteY181" fmla="*/ 1638492 h 2476692"/>
                <a:gd name="connsiteX182" fmla="*/ 533978 w 2598522"/>
                <a:gd name="connsiteY182" fmla="*/ 1543242 h 2476692"/>
                <a:gd name="connsiteX183" fmla="*/ 548265 w 2598522"/>
                <a:gd name="connsiteY183" fmla="*/ 1528954 h 2476692"/>
                <a:gd name="connsiteX184" fmla="*/ 567315 w 2598522"/>
                <a:gd name="connsiteY184" fmla="*/ 1514667 h 2476692"/>
                <a:gd name="connsiteX185" fmla="*/ 581603 w 2598522"/>
                <a:gd name="connsiteY185" fmla="*/ 1476567 h 2476692"/>
                <a:gd name="connsiteX186" fmla="*/ 567315 w 2598522"/>
                <a:gd name="connsiteY186" fmla="*/ 1471804 h 2476692"/>
                <a:gd name="connsiteX187" fmla="*/ 543503 w 2598522"/>
                <a:gd name="connsiteY187" fmla="*/ 1462279 h 2476692"/>
                <a:gd name="connsiteX188" fmla="*/ 562553 w 2598522"/>
                <a:gd name="connsiteY188" fmla="*/ 1428942 h 2476692"/>
                <a:gd name="connsiteX189" fmla="*/ 567315 w 2598522"/>
                <a:gd name="connsiteY189" fmla="*/ 1414654 h 2476692"/>
                <a:gd name="connsiteX190" fmla="*/ 586365 w 2598522"/>
                <a:gd name="connsiteY190" fmla="*/ 1386079 h 2476692"/>
                <a:gd name="connsiteX191" fmla="*/ 619703 w 2598522"/>
                <a:gd name="connsiteY191" fmla="*/ 1362267 h 2476692"/>
                <a:gd name="connsiteX192" fmla="*/ 633990 w 2598522"/>
                <a:gd name="connsiteY192" fmla="*/ 1343217 h 2476692"/>
                <a:gd name="connsiteX193" fmla="*/ 662565 w 2598522"/>
                <a:gd name="connsiteY193" fmla="*/ 1319404 h 2476692"/>
                <a:gd name="connsiteX194" fmla="*/ 667328 w 2598522"/>
                <a:gd name="connsiteY194" fmla="*/ 1281304 h 2476692"/>
                <a:gd name="connsiteX195" fmla="*/ 638753 w 2598522"/>
                <a:gd name="connsiteY195" fmla="*/ 1267017 h 2476692"/>
                <a:gd name="connsiteX196" fmla="*/ 633990 w 2598522"/>
                <a:gd name="connsiteY196" fmla="*/ 1252729 h 2476692"/>
                <a:gd name="connsiteX197" fmla="*/ 643515 w 2598522"/>
                <a:gd name="connsiteY197" fmla="*/ 1238442 h 2476692"/>
                <a:gd name="connsiteX198" fmla="*/ 672090 w 2598522"/>
                <a:gd name="connsiteY198" fmla="*/ 1219392 h 2476692"/>
                <a:gd name="connsiteX199" fmla="*/ 672090 w 2598522"/>
                <a:gd name="connsiteY199" fmla="*/ 1162242 h 2476692"/>
                <a:gd name="connsiteX200" fmla="*/ 662565 w 2598522"/>
                <a:gd name="connsiteY200" fmla="*/ 1147954 h 2476692"/>
                <a:gd name="connsiteX201" fmla="*/ 619703 w 2598522"/>
                <a:gd name="connsiteY201" fmla="*/ 1167004 h 2476692"/>
                <a:gd name="connsiteX202" fmla="*/ 610178 w 2598522"/>
                <a:gd name="connsiteY202" fmla="*/ 1152717 h 2476692"/>
                <a:gd name="connsiteX203" fmla="*/ 605415 w 2598522"/>
                <a:gd name="connsiteY203" fmla="*/ 1105092 h 2476692"/>
                <a:gd name="connsiteX204" fmla="*/ 595890 w 2598522"/>
                <a:gd name="connsiteY204" fmla="*/ 1086042 h 2476692"/>
                <a:gd name="connsiteX205" fmla="*/ 576840 w 2598522"/>
                <a:gd name="connsiteY205" fmla="*/ 1057467 h 2476692"/>
                <a:gd name="connsiteX206" fmla="*/ 572078 w 2598522"/>
                <a:gd name="connsiteY206" fmla="*/ 1043179 h 2476692"/>
                <a:gd name="connsiteX207" fmla="*/ 562553 w 2598522"/>
                <a:gd name="connsiteY207" fmla="*/ 962217 h 2476692"/>
                <a:gd name="connsiteX208" fmla="*/ 462540 w 2598522"/>
                <a:gd name="connsiteY208" fmla="*/ 1043179 h 2476692"/>
                <a:gd name="connsiteX209" fmla="*/ 433965 w 2598522"/>
                <a:gd name="connsiteY209" fmla="*/ 952692 h 2476692"/>
                <a:gd name="connsiteX210" fmla="*/ 343478 w 2598522"/>
                <a:gd name="connsiteY210" fmla="*/ 862204 h 2476692"/>
                <a:gd name="connsiteX211" fmla="*/ 262515 w 2598522"/>
                <a:gd name="connsiteY211" fmla="*/ 871729 h 2476692"/>
                <a:gd name="connsiteX212" fmla="*/ 205365 w 2598522"/>
                <a:gd name="connsiteY212" fmla="*/ 919354 h 2476692"/>
                <a:gd name="connsiteX213" fmla="*/ 95828 w 2598522"/>
                <a:gd name="connsiteY213" fmla="*/ 986029 h 2476692"/>
                <a:gd name="connsiteX214" fmla="*/ 24390 w 2598522"/>
                <a:gd name="connsiteY214" fmla="*/ 986029 h 2476692"/>
                <a:gd name="connsiteX215" fmla="*/ 14865 w 2598522"/>
                <a:gd name="connsiteY215" fmla="*/ 947929 h 2476692"/>
                <a:gd name="connsiteX216" fmla="*/ 578 w 2598522"/>
                <a:gd name="connsiteY216" fmla="*/ 933642 h 2476692"/>
                <a:gd name="connsiteX217" fmla="*/ 5340 w 2598522"/>
                <a:gd name="connsiteY217" fmla="*/ 890779 h 2476692"/>
                <a:gd name="connsiteX218" fmla="*/ 57728 w 2598522"/>
                <a:gd name="connsiteY218" fmla="*/ 781242 h 2476692"/>
                <a:gd name="connsiteX219" fmla="*/ 238703 w 2598522"/>
                <a:gd name="connsiteY219" fmla="*/ 543117 h 2476692"/>
                <a:gd name="connsiteX220" fmla="*/ 333953 w 2598522"/>
                <a:gd name="connsiteY220" fmla="*/ 543117 h 2476692"/>
                <a:gd name="connsiteX221" fmla="*/ 429203 w 2598522"/>
                <a:gd name="connsiteY221" fmla="*/ 524067 h 2476692"/>
                <a:gd name="connsiteX222" fmla="*/ 467303 w 2598522"/>
                <a:gd name="connsiteY222" fmla="*/ 538354 h 2476692"/>
                <a:gd name="connsiteX223" fmla="*/ 481590 w 2598522"/>
                <a:gd name="connsiteY223" fmla="*/ 528829 h 2476692"/>
                <a:gd name="connsiteX224" fmla="*/ 486353 w 2598522"/>
                <a:gd name="connsiteY224" fmla="*/ 514542 h 2476692"/>
                <a:gd name="connsiteX225" fmla="*/ 491115 w 2598522"/>
                <a:gd name="connsiteY225" fmla="*/ 466917 h 2476692"/>
                <a:gd name="connsiteX226" fmla="*/ 481590 w 2598522"/>
                <a:gd name="connsiteY226" fmla="*/ 438342 h 2476692"/>
                <a:gd name="connsiteX227" fmla="*/ 462540 w 2598522"/>
                <a:gd name="connsiteY227" fmla="*/ 409767 h 2476692"/>
                <a:gd name="connsiteX228" fmla="*/ 472065 w 2598522"/>
                <a:gd name="connsiteY228" fmla="*/ 347854 h 2476692"/>
                <a:gd name="connsiteX229" fmla="*/ 505403 w 2598522"/>
                <a:gd name="connsiteY229" fmla="*/ 295467 h 2476692"/>
                <a:gd name="connsiteX230" fmla="*/ 514928 w 2598522"/>
                <a:gd name="connsiteY230" fmla="*/ 281179 h 2476692"/>
                <a:gd name="connsiteX231" fmla="*/ 519690 w 2598522"/>
                <a:gd name="connsiteY231" fmla="*/ 257367 h 2476692"/>
                <a:gd name="connsiteX232" fmla="*/ 529215 w 2598522"/>
                <a:gd name="connsiteY232" fmla="*/ 243079 h 2476692"/>
                <a:gd name="connsiteX233" fmla="*/ 538740 w 2598522"/>
                <a:gd name="connsiteY233" fmla="*/ 204979 h 2476692"/>
                <a:gd name="connsiteX234" fmla="*/ 548265 w 2598522"/>
                <a:gd name="connsiteY234" fmla="*/ 185929 h 2476692"/>
                <a:gd name="connsiteX235" fmla="*/ 553028 w 2598522"/>
                <a:gd name="connsiteY235" fmla="*/ 171642 h 2476692"/>
                <a:gd name="connsiteX236" fmla="*/ 562553 w 2598522"/>
                <a:gd name="connsiteY236" fmla="*/ 157354 h 2476692"/>
                <a:gd name="connsiteX237" fmla="*/ 567315 w 2598522"/>
                <a:gd name="connsiteY237" fmla="*/ 133542 h 2476692"/>
                <a:gd name="connsiteX238" fmla="*/ 576840 w 2598522"/>
                <a:gd name="connsiteY238" fmla="*/ 100204 h 2476692"/>
                <a:gd name="connsiteX239" fmla="*/ 581603 w 2598522"/>
                <a:gd name="connsiteY239" fmla="*/ 81154 h 2476692"/>
                <a:gd name="connsiteX240" fmla="*/ 595890 w 2598522"/>
                <a:gd name="connsiteY240" fmla="*/ 33529 h 2476692"/>
                <a:gd name="connsiteX241" fmla="*/ 619703 w 2598522"/>
                <a:gd name="connsiteY241" fmla="*/ 192 h 2476692"/>
                <a:gd name="connsiteX242" fmla="*/ 621543 w 2598522"/>
                <a:gd name="connsiteY242" fmla="*/ 0 h 2476692"/>
                <a:gd name="connsiteX0" fmla="*/ 621543 w 2621226"/>
                <a:gd name="connsiteY0" fmla="*/ 0 h 2476692"/>
                <a:gd name="connsiteX1" fmla="*/ 637165 w 2621226"/>
                <a:gd name="connsiteY1" fmla="*/ 20829 h 2476692"/>
                <a:gd name="connsiteX2" fmla="*/ 643515 w 2621226"/>
                <a:gd name="connsiteY2" fmla="*/ 30354 h 2476692"/>
                <a:gd name="connsiteX3" fmla="*/ 646690 w 2621226"/>
                <a:gd name="connsiteY3" fmla="*/ 74804 h 2476692"/>
                <a:gd name="connsiteX4" fmla="*/ 656215 w 2621226"/>
                <a:gd name="connsiteY4" fmla="*/ 100204 h 2476692"/>
                <a:gd name="connsiteX5" fmla="*/ 757815 w 2621226"/>
                <a:gd name="connsiteY5" fmla="*/ 119254 h 2476692"/>
                <a:gd name="connsiteX6" fmla="*/ 780040 w 2621226"/>
                <a:gd name="connsiteY6" fmla="*/ 135129 h 2476692"/>
                <a:gd name="connsiteX7" fmla="*/ 789565 w 2621226"/>
                <a:gd name="connsiteY7" fmla="*/ 138304 h 2476692"/>
                <a:gd name="connsiteX8" fmla="*/ 808615 w 2621226"/>
                <a:gd name="connsiteY8" fmla="*/ 154179 h 2476692"/>
                <a:gd name="connsiteX9" fmla="*/ 824490 w 2621226"/>
                <a:gd name="connsiteY9" fmla="*/ 176404 h 2476692"/>
                <a:gd name="connsiteX10" fmla="*/ 827665 w 2621226"/>
                <a:gd name="connsiteY10" fmla="*/ 185929 h 2476692"/>
                <a:gd name="connsiteX11" fmla="*/ 853065 w 2621226"/>
                <a:gd name="connsiteY11" fmla="*/ 201804 h 2476692"/>
                <a:gd name="connsiteX12" fmla="*/ 929265 w 2621226"/>
                <a:gd name="connsiteY12" fmla="*/ 220854 h 2476692"/>
                <a:gd name="connsiteX13" fmla="*/ 957840 w 2621226"/>
                <a:gd name="connsiteY13" fmla="*/ 198629 h 2476692"/>
                <a:gd name="connsiteX14" fmla="*/ 980065 w 2621226"/>
                <a:gd name="connsiteY14" fmla="*/ 182754 h 2476692"/>
                <a:gd name="connsiteX15" fmla="*/ 989590 w 2621226"/>
                <a:gd name="connsiteY15" fmla="*/ 176404 h 2476692"/>
                <a:gd name="connsiteX16" fmla="*/ 1011815 w 2621226"/>
                <a:gd name="connsiteY16" fmla="*/ 173229 h 2476692"/>
                <a:gd name="connsiteX17" fmla="*/ 1027690 w 2621226"/>
                <a:gd name="connsiteY17" fmla="*/ 166879 h 2476692"/>
                <a:gd name="connsiteX18" fmla="*/ 1094365 w 2621226"/>
                <a:gd name="connsiteY18" fmla="*/ 220854 h 2476692"/>
                <a:gd name="connsiteX19" fmla="*/ 1186440 w 2621226"/>
                <a:gd name="connsiteY19" fmla="*/ 217679 h 2476692"/>
                <a:gd name="connsiteX20" fmla="*/ 1278515 w 2621226"/>
                <a:gd name="connsiteY20" fmla="*/ 170054 h 2476692"/>
                <a:gd name="connsiteX21" fmla="*/ 1326140 w 2621226"/>
                <a:gd name="connsiteY21" fmla="*/ 74804 h 2476692"/>
                <a:gd name="connsiteX22" fmla="*/ 1373765 w 2621226"/>
                <a:gd name="connsiteY22" fmla="*/ 122429 h 2476692"/>
                <a:gd name="connsiteX23" fmla="*/ 1459490 w 2621226"/>
                <a:gd name="connsiteY23" fmla="*/ 144654 h 2476692"/>
                <a:gd name="connsiteX24" fmla="*/ 1589665 w 2621226"/>
                <a:gd name="connsiteY24" fmla="*/ 144654 h 2476692"/>
                <a:gd name="connsiteX25" fmla="*/ 1697615 w 2621226"/>
                <a:gd name="connsiteY25" fmla="*/ 97029 h 2476692"/>
                <a:gd name="connsiteX26" fmla="*/ 1726190 w 2621226"/>
                <a:gd name="connsiteY26" fmla="*/ 103379 h 2476692"/>
                <a:gd name="connsiteX27" fmla="*/ 1738890 w 2621226"/>
                <a:gd name="connsiteY27" fmla="*/ 122429 h 2476692"/>
                <a:gd name="connsiteX28" fmla="*/ 1732540 w 2621226"/>
                <a:gd name="connsiteY28" fmla="*/ 141479 h 2476692"/>
                <a:gd name="connsiteX29" fmla="*/ 1723015 w 2621226"/>
                <a:gd name="connsiteY29" fmla="*/ 154179 h 2476692"/>
                <a:gd name="connsiteX30" fmla="*/ 1802390 w 2621226"/>
                <a:gd name="connsiteY30" fmla="*/ 144654 h 2476692"/>
                <a:gd name="connsiteX31" fmla="*/ 1824615 w 2621226"/>
                <a:gd name="connsiteY31" fmla="*/ 160529 h 2476692"/>
                <a:gd name="connsiteX32" fmla="*/ 1827790 w 2621226"/>
                <a:gd name="connsiteY32" fmla="*/ 195454 h 2476692"/>
                <a:gd name="connsiteX33" fmla="*/ 1834140 w 2621226"/>
                <a:gd name="connsiteY33" fmla="*/ 217679 h 2476692"/>
                <a:gd name="connsiteX34" fmla="*/ 1840490 w 2621226"/>
                <a:gd name="connsiteY34" fmla="*/ 230379 h 2476692"/>
                <a:gd name="connsiteX35" fmla="*/ 1846840 w 2621226"/>
                <a:gd name="connsiteY35" fmla="*/ 239904 h 2476692"/>
                <a:gd name="connsiteX36" fmla="*/ 1846840 w 2621226"/>
                <a:gd name="connsiteY36" fmla="*/ 249429 h 2476692"/>
                <a:gd name="connsiteX37" fmla="*/ 1916690 w 2621226"/>
                <a:gd name="connsiteY37" fmla="*/ 274829 h 2476692"/>
                <a:gd name="connsiteX38" fmla="*/ 1945265 w 2621226"/>
                <a:gd name="connsiteY38" fmla="*/ 268479 h 2476692"/>
                <a:gd name="connsiteX39" fmla="*/ 1961140 w 2621226"/>
                <a:gd name="connsiteY39" fmla="*/ 274829 h 2476692"/>
                <a:gd name="connsiteX40" fmla="*/ 1977015 w 2621226"/>
                <a:gd name="connsiteY40" fmla="*/ 293879 h 2476692"/>
                <a:gd name="connsiteX41" fmla="*/ 2002415 w 2621226"/>
                <a:gd name="connsiteY41" fmla="*/ 297054 h 2476692"/>
                <a:gd name="connsiteX42" fmla="*/ 2002415 w 2621226"/>
                <a:gd name="connsiteY42" fmla="*/ 344679 h 2476692"/>
                <a:gd name="connsiteX43" fmla="*/ 1998496 w 2621226"/>
                <a:gd name="connsiteY43" fmla="*/ 359366 h 2476692"/>
                <a:gd name="connsiteX44" fmla="*/ 1997699 w 2621226"/>
                <a:gd name="connsiteY44" fmla="*/ 359161 h 2476692"/>
                <a:gd name="connsiteX45" fmla="*/ 1996509 w 2621226"/>
                <a:gd name="connsiteY45" fmla="*/ 357863 h 2476692"/>
                <a:gd name="connsiteX46" fmla="*/ 1996082 w 2621226"/>
                <a:gd name="connsiteY46" fmla="*/ 354482 h 2476692"/>
                <a:gd name="connsiteX47" fmla="*/ 1996065 w 2621226"/>
                <a:gd name="connsiteY47" fmla="*/ 357379 h 2476692"/>
                <a:gd name="connsiteX48" fmla="*/ 1996509 w 2621226"/>
                <a:gd name="connsiteY48" fmla="*/ 357863 h 2476692"/>
                <a:gd name="connsiteX49" fmla="*/ 1996639 w 2621226"/>
                <a:gd name="connsiteY49" fmla="*/ 358889 h 2476692"/>
                <a:gd name="connsiteX50" fmla="*/ 1997699 w 2621226"/>
                <a:gd name="connsiteY50" fmla="*/ 359161 h 2476692"/>
                <a:gd name="connsiteX51" fmla="*/ 2030990 w 2621226"/>
                <a:gd name="connsiteY51" fmla="*/ 395479 h 2476692"/>
                <a:gd name="connsiteX52" fmla="*/ 2059565 w 2621226"/>
                <a:gd name="connsiteY52" fmla="*/ 385954 h 2476692"/>
                <a:gd name="connsiteX53" fmla="*/ 2069090 w 2621226"/>
                <a:gd name="connsiteY53" fmla="*/ 379604 h 2476692"/>
                <a:gd name="connsiteX54" fmla="*/ 2078615 w 2621226"/>
                <a:gd name="connsiteY54" fmla="*/ 376429 h 2476692"/>
                <a:gd name="connsiteX55" fmla="*/ 2116715 w 2621226"/>
                <a:gd name="connsiteY55" fmla="*/ 379604 h 2476692"/>
                <a:gd name="connsiteX56" fmla="*/ 2119890 w 2621226"/>
                <a:gd name="connsiteY56" fmla="*/ 411354 h 2476692"/>
                <a:gd name="connsiteX57" fmla="*/ 2129415 w 2621226"/>
                <a:gd name="connsiteY57" fmla="*/ 443104 h 2476692"/>
                <a:gd name="connsiteX58" fmla="*/ 2132590 w 2621226"/>
                <a:gd name="connsiteY58" fmla="*/ 452629 h 2476692"/>
                <a:gd name="connsiteX59" fmla="*/ 2135765 w 2621226"/>
                <a:gd name="connsiteY59" fmla="*/ 462154 h 2476692"/>
                <a:gd name="connsiteX60" fmla="*/ 2142115 w 2621226"/>
                <a:gd name="connsiteY60" fmla="*/ 493904 h 2476692"/>
                <a:gd name="connsiteX61" fmla="*/ 2138940 w 2621226"/>
                <a:gd name="connsiteY61" fmla="*/ 532004 h 2476692"/>
                <a:gd name="connsiteX62" fmla="*/ 2110365 w 2621226"/>
                <a:gd name="connsiteY62" fmla="*/ 547879 h 2476692"/>
                <a:gd name="connsiteX63" fmla="*/ 2097665 w 2621226"/>
                <a:gd name="connsiteY63" fmla="*/ 557404 h 2476692"/>
                <a:gd name="connsiteX64" fmla="*/ 2094490 w 2621226"/>
                <a:gd name="connsiteY64" fmla="*/ 582804 h 2476692"/>
                <a:gd name="connsiteX65" fmla="*/ 2104015 w 2621226"/>
                <a:gd name="connsiteY65" fmla="*/ 608204 h 2476692"/>
                <a:gd name="connsiteX66" fmla="*/ 2110365 w 2621226"/>
                <a:gd name="connsiteY66" fmla="*/ 617729 h 2476692"/>
                <a:gd name="connsiteX67" fmla="*/ 2116715 w 2621226"/>
                <a:gd name="connsiteY67" fmla="*/ 643129 h 2476692"/>
                <a:gd name="connsiteX68" fmla="*/ 2119890 w 2621226"/>
                <a:gd name="connsiteY68" fmla="*/ 719329 h 2476692"/>
                <a:gd name="connsiteX69" fmla="*/ 2123065 w 2621226"/>
                <a:gd name="connsiteY69" fmla="*/ 728854 h 2476692"/>
                <a:gd name="connsiteX70" fmla="*/ 2142115 w 2621226"/>
                <a:gd name="connsiteY70" fmla="*/ 741554 h 2476692"/>
                <a:gd name="connsiteX71" fmla="*/ 2161165 w 2621226"/>
                <a:gd name="connsiteY71" fmla="*/ 738379 h 2476692"/>
                <a:gd name="connsiteX72" fmla="*/ 2170690 w 2621226"/>
                <a:gd name="connsiteY72" fmla="*/ 732029 h 2476692"/>
                <a:gd name="connsiteX73" fmla="*/ 2183390 w 2621226"/>
                <a:gd name="connsiteY73" fmla="*/ 725679 h 2476692"/>
                <a:gd name="connsiteX74" fmla="*/ 2192915 w 2621226"/>
                <a:gd name="connsiteY74" fmla="*/ 719329 h 2476692"/>
                <a:gd name="connsiteX75" fmla="*/ 2211965 w 2621226"/>
                <a:gd name="connsiteY75" fmla="*/ 712979 h 2476692"/>
                <a:gd name="connsiteX76" fmla="*/ 2259590 w 2621226"/>
                <a:gd name="connsiteY76" fmla="*/ 716154 h 2476692"/>
                <a:gd name="connsiteX77" fmla="*/ 2262765 w 2621226"/>
                <a:gd name="connsiteY77" fmla="*/ 732029 h 2476692"/>
                <a:gd name="connsiteX78" fmla="*/ 2272290 w 2621226"/>
                <a:gd name="connsiteY78" fmla="*/ 751079 h 2476692"/>
                <a:gd name="connsiteX79" fmla="*/ 2297690 w 2621226"/>
                <a:gd name="connsiteY79" fmla="*/ 754254 h 2476692"/>
                <a:gd name="connsiteX80" fmla="*/ 2329440 w 2621226"/>
                <a:gd name="connsiteY80" fmla="*/ 738379 h 2476692"/>
                <a:gd name="connsiteX81" fmla="*/ 2338965 w 2621226"/>
                <a:gd name="connsiteY81" fmla="*/ 735204 h 2476692"/>
                <a:gd name="connsiteX82" fmla="*/ 2367540 w 2621226"/>
                <a:gd name="connsiteY82" fmla="*/ 722504 h 2476692"/>
                <a:gd name="connsiteX83" fmla="*/ 2377065 w 2621226"/>
                <a:gd name="connsiteY83" fmla="*/ 719329 h 2476692"/>
                <a:gd name="connsiteX84" fmla="*/ 2391809 w 2621226"/>
                <a:gd name="connsiteY84" fmla="*/ 719329 h 2476692"/>
                <a:gd name="connsiteX85" fmla="*/ 2608046 w 2621226"/>
                <a:gd name="connsiteY85" fmla="*/ 1586104 h 2476692"/>
                <a:gd name="connsiteX86" fmla="*/ 2598522 w 2621226"/>
                <a:gd name="connsiteY86" fmla="*/ 1619442 h 2476692"/>
                <a:gd name="connsiteX87" fmla="*/ 2593759 w 2621226"/>
                <a:gd name="connsiteY87" fmla="*/ 1712310 h 2476692"/>
                <a:gd name="connsiteX88" fmla="*/ 2577090 w 2621226"/>
                <a:gd name="connsiteY88" fmla="*/ 1802798 h 2476692"/>
                <a:gd name="connsiteX89" fmla="*/ 2512796 w 2621226"/>
                <a:gd name="connsiteY89" fmla="*/ 1824229 h 2476692"/>
                <a:gd name="connsiteX90" fmla="*/ 2558040 w 2621226"/>
                <a:gd name="connsiteY90" fmla="*/ 1883760 h 2476692"/>
                <a:gd name="connsiteX91" fmla="*/ 2555659 w 2621226"/>
                <a:gd name="connsiteY91" fmla="*/ 1909954 h 2476692"/>
                <a:gd name="connsiteX92" fmla="*/ 2527084 w 2621226"/>
                <a:gd name="connsiteY92" fmla="*/ 1995679 h 2476692"/>
                <a:gd name="connsiteX93" fmla="*/ 2503271 w 2621226"/>
                <a:gd name="connsiteY93" fmla="*/ 1986154 h 2476692"/>
                <a:gd name="connsiteX94" fmla="*/ 2472315 w 2621226"/>
                <a:gd name="connsiteY94" fmla="*/ 1971867 h 2476692"/>
                <a:gd name="connsiteX95" fmla="*/ 2436596 w 2621226"/>
                <a:gd name="connsiteY95" fmla="*/ 1986154 h 2476692"/>
                <a:gd name="connsiteX96" fmla="*/ 2450884 w 2621226"/>
                <a:gd name="connsiteY96" fmla="*/ 2017110 h 2476692"/>
                <a:gd name="connsiteX97" fmla="*/ 2465171 w 2621226"/>
                <a:gd name="connsiteY97" fmla="*/ 2057592 h 2476692"/>
                <a:gd name="connsiteX98" fmla="*/ 2455646 w 2621226"/>
                <a:gd name="connsiteY98" fmla="*/ 2121885 h 2476692"/>
                <a:gd name="connsiteX99" fmla="*/ 2410403 w 2621226"/>
                <a:gd name="connsiteY99" fmla="*/ 2152842 h 2476692"/>
                <a:gd name="connsiteX100" fmla="*/ 2458028 w 2621226"/>
                <a:gd name="connsiteY100" fmla="*/ 2186180 h 2476692"/>
                <a:gd name="connsiteX101" fmla="*/ 2448503 w 2621226"/>
                <a:gd name="connsiteY101" fmla="*/ 2226660 h 2476692"/>
                <a:gd name="connsiteX102" fmla="*/ 2410403 w 2621226"/>
                <a:gd name="connsiteY102" fmla="*/ 2262379 h 2476692"/>
                <a:gd name="connsiteX103" fmla="*/ 2388971 w 2621226"/>
                <a:gd name="connsiteY103" fmla="*/ 2331435 h 2476692"/>
                <a:gd name="connsiteX104" fmla="*/ 2405640 w 2621226"/>
                <a:gd name="connsiteY104" fmla="*/ 2381442 h 2476692"/>
                <a:gd name="connsiteX105" fmla="*/ 2391353 w 2621226"/>
                <a:gd name="connsiteY105" fmla="*/ 2414779 h 2476692"/>
                <a:gd name="connsiteX106" fmla="*/ 2334203 w 2621226"/>
                <a:gd name="connsiteY106" fmla="*/ 2433829 h 2476692"/>
                <a:gd name="connsiteX107" fmla="*/ 2305628 w 2621226"/>
                <a:gd name="connsiteY107" fmla="*/ 2443354 h 2476692"/>
                <a:gd name="connsiteX108" fmla="*/ 2296103 w 2621226"/>
                <a:gd name="connsiteY108" fmla="*/ 2457642 h 2476692"/>
                <a:gd name="connsiteX109" fmla="*/ 2262765 w 2621226"/>
                <a:gd name="connsiteY109" fmla="*/ 2462404 h 2476692"/>
                <a:gd name="connsiteX110" fmla="*/ 2229428 w 2621226"/>
                <a:gd name="connsiteY110" fmla="*/ 2438592 h 2476692"/>
                <a:gd name="connsiteX111" fmla="*/ 2215140 w 2621226"/>
                <a:gd name="connsiteY111" fmla="*/ 2433829 h 2476692"/>
                <a:gd name="connsiteX112" fmla="*/ 2205615 w 2621226"/>
                <a:gd name="connsiteY112" fmla="*/ 2457642 h 2476692"/>
                <a:gd name="connsiteX113" fmla="*/ 2191328 w 2621226"/>
                <a:gd name="connsiteY113" fmla="*/ 2467167 h 2476692"/>
                <a:gd name="connsiteX114" fmla="*/ 2153228 w 2621226"/>
                <a:gd name="connsiteY114" fmla="*/ 2476692 h 2476692"/>
                <a:gd name="connsiteX115" fmla="*/ 2134178 w 2621226"/>
                <a:gd name="connsiteY115" fmla="*/ 2448117 h 2476692"/>
                <a:gd name="connsiteX116" fmla="*/ 2124653 w 2621226"/>
                <a:gd name="connsiteY116" fmla="*/ 2433829 h 2476692"/>
                <a:gd name="connsiteX117" fmla="*/ 2119890 w 2621226"/>
                <a:gd name="connsiteY117" fmla="*/ 2352867 h 2476692"/>
                <a:gd name="connsiteX118" fmla="*/ 2124653 w 2621226"/>
                <a:gd name="connsiteY118" fmla="*/ 2338579 h 2476692"/>
                <a:gd name="connsiteX119" fmla="*/ 2167515 w 2621226"/>
                <a:gd name="connsiteY119" fmla="*/ 2290954 h 2476692"/>
                <a:gd name="connsiteX120" fmla="*/ 2177040 w 2621226"/>
                <a:gd name="connsiteY120" fmla="*/ 2276667 h 2476692"/>
                <a:gd name="connsiteX121" fmla="*/ 2153228 w 2621226"/>
                <a:gd name="connsiteY121" fmla="*/ 2248092 h 2476692"/>
                <a:gd name="connsiteX122" fmla="*/ 2134178 w 2621226"/>
                <a:gd name="connsiteY122" fmla="*/ 2238567 h 2476692"/>
                <a:gd name="connsiteX123" fmla="*/ 2129415 w 2621226"/>
                <a:gd name="connsiteY123" fmla="*/ 2214754 h 2476692"/>
                <a:gd name="connsiteX124" fmla="*/ 2148465 w 2621226"/>
                <a:gd name="connsiteY124" fmla="*/ 2186179 h 2476692"/>
                <a:gd name="connsiteX125" fmla="*/ 2167515 w 2621226"/>
                <a:gd name="connsiteY125" fmla="*/ 2190942 h 2476692"/>
                <a:gd name="connsiteX126" fmla="*/ 2229428 w 2621226"/>
                <a:gd name="connsiteY126" fmla="*/ 2186179 h 2476692"/>
                <a:gd name="connsiteX127" fmla="*/ 2234190 w 2621226"/>
                <a:gd name="connsiteY127" fmla="*/ 2171892 h 2476692"/>
                <a:gd name="connsiteX128" fmla="*/ 2224665 w 2621226"/>
                <a:gd name="connsiteY128" fmla="*/ 2143317 h 2476692"/>
                <a:gd name="connsiteX129" fmla="*/ 2210378 w 2621226"/>
                <a:gd name="connsiteY129" fmla="*/ 2129029 h 2476692"/>
                <a:gd name="connsiteX130" fmla="*/ 2191328 w 2621226"/>
                <a:gd name="connsiteY130" fmla="*/ 2119504 h 2476692"/>
                <a:gd name="connsiteX131" fmla="*/ 2162753 w 2621226"/>
                <a:gd name="connsiteY131" fmla="*/ 2114742 h 2476692"/>
                <a:gd name="connsiteX132" fmla="*/ 2157990 w 2621226"/>
                <a:gd name="connsiteY132" fmla="*/ 2095692 h 2476692"/>
                <a:gd name="connsiteX133" fmla="*/ 2181803 w 2621226"/>
                <a:gd name="connsiteY133" fmla="*/ 2062354 h 2476692"/>
                <a:gd name="connsiteX134" fmla="*/ 2191328 w 2621226"/>
                <a:gd name="connsiteY134" fmla="*/ 2048067 h 2476692"/>
                <a:gd name="connsiteX135" fmla="*/ 2196090 w 2621226"/>
                <a:gd name="connsiteY135" fmla="*/ 1986154 h 2476692"/>
                <a:gd name="connsiteX136" fmla="*/ 2186565 w 2621226"/>
                <a:gd name="connsiteY136" fmla="*/ 1957579 h 2476692"/>
                <a:gd name="connsiteX137" fmla="*/ 2162753 w 2621226"/>
                <a:gd name="connsiteY137" fmla="*/ 1952817 h 2476692"/>
                <a:gd name="connsiteX138" fmla="*/ 2134178 w 2621226"/>
                <a:gd name="connsiteY138" fmla="*/ 1971867 h 2476692"/>
                <a:gd name="connsiteX139" fmla="*/ 2124653 w 2621226"/>
                <a:gd name="connsiteY139" fmla="*/ 1986154 h 2476692"/>
                <a:gd name="connsiteX140" fmla="*/ 2105603 w 2621226"/>
                <a:gd name="connsiteY140" fmla="*/ 2005204 h 2476692"/>
                <a:gd name="connsiteX141" fmla="*/ 2072265 w 2621226"/>
                <a:gd name="connsiteY141" fmla="*/ 2038542 h 2476692"/>
                <a:gd name="connsiteX142" fmla="*/ 2057978 w 2621226"/>
                <a:gd name="connsiteY142" fmla="*/ 2048067 h 2476692"/>
                <a:gd name="connsiteX143" fmla="*/ 2029403 w 2621226"/>
                <a:gd name="connsiteY143" fmla="*/ 2052829 h 2476692"/>
                <a:gd name="connsiteX144" fmla="*/ 2019878 w 2621226"/>
                <a:gd name="connsiteY144" fmla="*/ 2009967 h 2476692"/>
                <a:gd name="connsiteX145" fmla="*/ 1991303 w 2621226"/>
                <a:gd name="connsiteY145" fmla="*/ 1986154 h 2476692"/>
                <a:gd name="connsiteX146" fmla="*/ 1962728 w 2621226"/>
                <a:gd name="connsiteY146" fmla="*/ 1976629 h 2476692"/>
                <a:gd name="connsiteX147" fmla="*/ 1948440 w 2621226"/>
                <a:gd name="connsiteY147" fmla="*/ 1990917 h 2476692"/>
                <a:gd name="connsiteX148" fmla="*/ 1910340 w 2621226"/>
                <a:gd name="connsiteY148" fmla="*/ 2000442 h 2476692"/>
                <a:gd name="connsiteX149" fmla="*/ 1891290 w 2621226"/>
                <a:gd name="connsiteY149" fmla="*/ 1971867 h 2476692"/>
                <a:gd name="connsiteX150" fmla="*/ 1886528 w 2621226"/>
                <a:gd name="connsiteY150" fmla="*/ 1952817 h 2476692"/>
                <a:gd name="connsiteX151" fmla="*/ 1881765 w 2621226"/>
                <a:gd name="connsiteY151" fmla="*/ 1929004 h 2476692"/>
                <a:gd name="connsiteX152" fmla="*/ 1877003 w 2621226"/>
                <a:gd name="connsiteY152" fmla="*/ 1886142 h 2476692"/>
                <a:gd name="connsiteX153" fmla="*/ 1862715 w 2621226"/>
                <a:gd name="connsiteY153" fmla="*/ 1871854 h 2476692"/>
                <a:gd name="connsiteX154" fmla="*/ 1853190 w 2621226"/>
                <a:gd name="connsiteY154" fmla="*/ 1857567 h 2476692"/>
                <a:gd name="connsiteX155" fmla="*/ 1824615 w 2621226"/>
                <a:gd name="connsiteY155" fmla="*/ 1838517 h 2476692"/>
                <a:gd name="connsiteX156" fmla="*/ 1819853 w 2621226"/>
                <a:gd name="connsiteY156" fmla="*/ 1819467 h 2476692"/>
                <a:gd name="connsiteX157" fmla="*/ 1834140 w 2621226"/>
                <a:gd name="connsiteY157" fmla="*/ 1814704 h 2476692"/>
                <a:gd name="connsiteX158" fmla="*/ 1848428 w 2621226"/>
                <a:gd name="connsiteY158" fmla="*/ 1809942 h 2476692"/>
                <a:gd name="connsiteX159" fmla="*/ 1862715 w 2621226"/>
                <a:gd name="connsiteY159" fmla="*/ 1805179 h 2476692"/>
                <a:gd name="connsiteX160" fmla="*/ 1891290 w 2621226"/>
                <a:gd name="connsiteY160" fmla="*/ 1795654 h 2476692"/>
                <a:gd name="connsiteX161" fmla="*/ 1896053 w 2621226"/>
                <a:gd name="connsiteY161" fmla="*/ 1781367 h 2476692"/>
                <a:gd name="connsiteX162" fmla="*/ 1900815 w 2621226"/>
                <a:gd name="connsiteY162" fmla="*/ 1762317 h 2476692"/>
                <a:gd name="connsiteX163" fmla="*/ 1891290 w 2621226"/>
                <a:gd name="connsiteY163" fmla="*/ 1676592 h 2476692"/>
                <a:gd name="connsiteX164" fmla="*/ 1719840 w 2621226"/>
                <a:gd name="connsiteY164" fmla="*/ 1671829 h 2476692"/>
                <a:gd name="connsiteX165" fmla="*/ 1710315 w 2621226"/>
                <a:gd name="connsiteY165" fmla="*/ 1690879 h 2476692"/>
                <a:gd name="connsiteX166" fmla="*/ 1696028 w 2621226"/>
                <a:gd name="connsiteY166" fmla="*/ 1709929 h 2476692"/>
                <a:gd name="connsiteX167" fmla="*/ 1681740 w 2621226"/>
                <a:gd name="connsiteY167" fmla="*/ 1724217 h 2476692"/>
                <a:gd name="connsiteX168" fmla="*/ 1676978 w 2621226"/>
                <a:gd name="connsiteY168" fmla="*/ 1738504 h 2476692"/>
                <a:gd name="connsiteX169" fmla="*/ 1667453 w 2621226"/>
                <a:gd name="connsiteY169" fmla="*/ 1762317 h 2476692"/>
                <a:gd name="connsiteX170" fmla="*/ 1643640 w 2621226"/>
                <a:gd name="connsiteY170" fmla="*/ 1795654 h 2476692"/>
                <a:gd name="connsiteX171" fmla="*/ 1291215 w 2621226"/>
                <a:gd name="connsiteY171" fmla="*/ 1938529 h 2476692"/>
                <a:gd name="connsiteX172" fmla="*/ 1162628 w 2621226"/>
                <a:gd name="connsiteY172" fmla="*/ 1833754 h 2476692"/>
                <a:gd name="connsiteX173" fmla="*/ 1091190 w 2621226"/>
                <a:gd name="connsiteY173" fmla="*/ 1843279 h 2476692"/>
                <a:gd name="connsiteX174" fmla="*/ 1014990 w 2621226"/>
                <a:gd name="connsiteY174" fmla="*/ 1786129 h 2476692"/>
                <a:gd name="connsiteX175" fmla="*/ 1024515 w 2621226"/>
                <a:gd name="connsiteY175" fmla="*/ 1733742 h 2476692"/>
                <a:gd name="connsiteX176" fmla="*/ 957840 w 2621226"/>
                <a:gd name="connsiteY176" fmla="*/ 1719454 h 2476692"/>
                <a:gd name="connsiteX177" fmla="*/ 767340 w 2621226"/>
                <a:gd name="connsiteY177" fmla="*/ 1671829 h 2476692"/>
                <a:gd name="connsiteX178" fmla="*/ 743528 w 2621226"/>
                <a:gd name="connsiteY178" fmla="*/ 1681354 h 2476692"/>
                <a:gd name="connsiteX179" fmla="*/ 729240 w 2621226"/>
                <a:gd name="connsiteY179" fmla="*/ 1686117 h 2476692"/>
                <a:gd name="connsiteX180" fmla="*/ 700665 w 2621226"/>
                <a:gd name="connsiteY180" fmla="*/ 1667067 h 2476692"/>
                <a:gd name="connsiteX181" fmla="*/ 657803 w 2621226"/>
                <a:gd name="connsiteY181" fmla="*/ 1624204 h 2476692"/>
                <a:gd name="connsiteX182" fmla="*/ 605415 w 2621226"/>
                <a:gd name="connsiteY182" fmla="*/ 1638492 h 2476692"/>
                <a:gd name="connsiteX183" fmla="*/ 533978 w 2621226"/>
                <a:gd name="connsiteY183" fmla="*/ 1543242 h 2476692"/>
                <a:gd name="connsiteX184" fmla="*/ 548265 w 2621226"/>
                <a:gd name="connsiteY184" fmla="*/ 1528954 h 2476692"/>
                <a:gd name="connsiteX185" fmla="*/ 567315 w 2621226"/>
                <a:gd name="connsiteY185" fmla="*/ 1514667 h 2476692"/>
                <a:gd name="connsiteX186" fmla="*/ 581603 w 2621226"/>
                <a:gd name="connsiteY186" fmla="*/ 1476567 h 2476692"/>
                <a:gd name="connsiteX187" fmla="*/ 567315 w 2621226"/>
                <a:gd name="connsiteY187" fmla="*/ 1471804 h 2476692"/>
                <a:gd name="connsiteX188" fmla="*/ 543503 w 2621226"/>
                <a:gd name="connsiteY188" fmla="*/ 1462279 h 2476692"/>
                <a:gd name="connsiteX189" fmla="*/ 562553 w 2621226"/>
                <a:gd name="connsiteY189" fmla="*/ 1428942 h 2476692"/>
                <a:gd name="connsiteX190" fmla="*/ 567315 w 2621226"/>
                <a:gd name="connsiteY190" fmla="*/ 1414654 h 2476692"/>
                <a:gd name="connsiteX191" fmla="*/ 586365 w 2621226"/>
                <a:gd name="connsiteY191" fmla="*/ 1386079 h 2476692"/>
                <a:gd name="connsiteX192" fmla="*/ 619703 w 2621226"/>
                <a:gd name="connsiteY192" fmla="*/ 1362267 h 2476692"/>
                <a:gd name="connsiteX193" fmla="*/ 633990 w 2621226"/>
                <a:gd name="connsiteY193" fmla="*/ 1343217 h 2476692"/>
                <a:gd name="connsiteX194" fmla="*/ 662565 w 2621226"/>
                <a:gd name="connsiteY194" fmla="*/ 1319404 h 2476692"/>
                <a:gd name="connsiteX195" fmla="*/ 667328 w 2621226"/>
                <a:gd name="connsiteY195" fmla="*/ 1281304 h 2476692"/>
                <a:gd name="connsiteX196" fmla="*/ 638753 w 2621226"/>
                <a:gd name="connsiteY196" fmla="*/ 1267017 h 2476692"/>
                <a:gd name="connsiteX197" fmla="*/ 633990 w 2621226"/>
                <a:gd name="connsiteY197" fmla="*/ 1252729 h 2476692"/>
                <a:gd name="connsiteX198" fmla="*/ 643515 w 2621226"/>
                <a:gd name="connsiteY198" fmla="*/ 1238442 h 2476692"/>
                <a:gd name="connsiteX199" fmla="*/ 672090 w 2621226"/>
                <a:gd name="connsiteY199" fmla="*/ 1219392 h 2476692"/>
                <a:gd name="connsiteX200" fmla="*/ 672090 w 2621226"/>
                <a:gd name="connsiteY200" fmla="*/ 1162242 h 2476692"/>
                <a:gd name="connsiteX201" fmla="*/ 662565 w 2621226"/>
                <a:gd name="connsiteY201" fmla="*/ 1147954 h 2476692"/>
                <a:gd name="connsiteX202" fmla="*/ 619703 w 2621226"/>
                <a:gd name="connsiteY202" fmla="*/ 1167004 h 2476692"/>
                <a:gd name="connsiteX203" fmla="*/ 610178 w 2621226"/>
                <a:gd name="connsiteY203" fmla="*/ 1152717 h 2476692"/>
                <a:gd name="connsiteX204" fmla="*/ 605415 w 2621226"/>
                <a:gd name="connsiteY204" fmla="*/ 1105092 h 2476692"/>
                <a:gd name="connsiteX205" fmla="*/ 595890 w 2621226"/>
                <a:gd name="connsiteY205" fmla="*/ 1086042 h 2476692"/>
                <a:gd name="connsiteX206" fmla="*/ 576840 w 2621226"/>
                <a:gd name="connsiteY206" fmla="*/ 1057467 h 2476692"/>
                <a:gd name="connsiteX207" fmla="*/ 572078 w 2621226"/>
                <a:gd name="connsiteY207" fmla="*/ 1043179 h 2476692"/>
                <a:gd name="connsiteX208" fmla="*/ 562553 w 2621226"/>
                <a:gd name="connsiteY208" fmla="*/ 962217 h 2476692"/>
                <a:gd name="connsiteX209" fmla="*/ 462540 w 2621226"/>
                <a:gd name="connsiteY209" fmla="*/ 1043179 h 2476692"/>
                <a:gd name="connsiteX210" fmla="*/ 433965 w 2621226"/>
                <a:gd name="connsiteY210" fmla="*/ 952692 h 2476692"/>
                <a:gd name="connsiteX211" fmla="*/ 343478 w 2621226"/>
                <a:gd name="connsiteY211" fmla="*/ 862204 h 2476692"/>
                <a:gd name="connsiteX212" fmla="*/ 262515 w 2621226"/>
                <a:gd name="connsiteY212" fmla="*/ 871729 h 2476692"/>
                <a:gd name="connsiteX213" fmla="*/ 205365 w 2621226"/>
                <a:gd name="connsiteY213" fmla="*/ 919354 h 2476692"/>
                <a:gd name="connsiteX214" fmla="*/ 95828 w 2621226"/>
                <a:gd name="connsiteY214" fmla="*/ 986029 h 2476692"/>
                <a:gd name="connsiteX215" fmla="*/ 24390 w 2621226"/>
                <a:gd name="connsiteY215" fmla="*/ 986029 h 2476692"/>
                <a:gd name="connsiteX216" fmla="*/ 14865 w 2621226"/>
                <a:gd name="connsiteY216" fmla="*/ 947929 h 2476692"/>
                <a:gd name="connsiteX217" fmla="*/ 578 w 2621226"/>
                <a:gd name="connsiteY217" fmla="*/ 933642 h 2476692"/>
                <a:gd name="connsiteX218" fmla="*/ 5340 w 2621226"/>
                <a:gd name="connsiteY218" fmla="*/ 890779 h 2476692"/>
                <a:gd name="connsiteX219" fmla="*/ 57728 w 2621226"/>
                <a:gd name="connsiteY219" fmla="*/ 781242 h 2476692"/>
                <a:gd name="connsiteX220" fmla="*/ 238703 w 2621226"/>
                <a:gd name="connsiteY220" fmla="*/ 543117 h 2476692"/>
                <a:gd name="connsiteX221" fmla="*/ 333953 w 2621226"/>
                <a:gd name="connsiteY221" fmla="*/ 543117 h 2476692"/>
                <a:gd name="connsiteX222" fmla="*/ 429203 w 2621226"/>
                <a:gd name="connsiteY222" fmla="*/ 524067 h 2476692"/>
                <a:gd name="connsiteX223" fmla="*/ 467303 w 2621226"/>
                <a:gd name="connsiteY223" fmla="*/ 538354 h 2476692"/>
                <a:gd name="connsiteX224" fmla="*/ 481590 w 2621226"/>
                <a:gd name="connsiteY224" fmla="*/ 528829 h 2476692"/>
                <a:gd name="connsiteX225" fmla="*/ 486353 w 2621226"/>
                <a:gd name="connsiteY225" fmla="*/ 514542 h 2476692"/>
                <a:gd name="connsiteX226" fmla="*/ 491115 w 2621226"/>
                <a:gd name="connsiteY226" fmla="*/ 466917 h 2476692"/>
                <a:gd name="connsiteX227" fmla="*/ 481590 w 2621226"/>
                <a:gd name="connsiteY227" fmla="*/ 438342 h 2476692"/>
                <a:gd name="connsiteX228" fmla="*/ 462540 w 2621226"/>
                <a:gd name="connsiteY228" fmla="*/ 409767 h 2476692"/>
                <a:gd name="connsiteX229" fmla="*/ 472065 w 2621226"/>
                <a:gd name="connsiteY229" fmla="*/ 347854 h 2476692"/>
                <a:gd name="connsiteX230" fmla="*/ 505403 w 2621226"/>
                <a:gd name="connsiteY230" fmla="*/ 295467 h 2476692"/>
                <a:gd name="connsiteX231" fmla="*/ 514928 w 2621226"/>
                <a:gd name="connsiteY231" fmla="*/ 281179 h 2476692"/>
                <a:gd name="connsiteX232" fmla="*/ 519690 w 2621226"/>
                <a:gd name="connsiteY232" fmla="*/ 257367 h 2476692"/>
                <a:gd name="connsiteX233" fmla="*/ 529215 w 2621226"/>
                <a:gd name="connsiteY233" fmla="*/ 243079 h 2476692"/>
                <a:gd name="connsiteX234" fmla="*/ 538740 w 2621226"/>
                <a:gd name="connsiteY234" fmla="*/ 204979 h 2476692"/>
                <a:gd name="connsiteX235" fmla="*/ 548265 w 2621226"/>
                <a:gd name="connsiteY235" fmla="*/ 185929 h 2476692"/>
                <a:gd name="connsiteX236" fmla="*/ 553028 w 2621226"/>
                <a:gd name="connsiteY236" fmla="*/ 171642 h 2476692"/>
                <a:gd name="connsiteX237" fmla="*/ 562553 w 2621226"/>
                <a:gd name="connsiteY237" fmla="*/ 157354 h 2476692"/>
                <a:gd name="connsiteX238" fmla="*/ 567315 w 2621226"/>
                <a:gd name="connsiteY238" fmla="*/ 133542 h 2476692"/>
                <a:gd name="connsiteX239" fmla="*/ 576840 w 2621226"/>
                <a:gd name="connsiteY239" fmla="*/ 100204 h 2476692"/>
                <a:gd name="connsiteX240" fmla="*/ 581603 w 2621226"/>
                <a:gd name="connsiteY240" fmla="*/ 81154 h 2476692"/>
                <a:gd name="connsiteX241" fmla="*/ 595890 w 2621226"/>
                <a:gd name="connsiteY241" fmla="*/ 33529 h 2476692"/>
                <a:gd name="connsiteX242" fmla="*/ 619703 w 2621226"/>
                <a:gd name="connsiteY242" fmla="*/ 192 h 2476692"/>
                <a:gd name="connsiteX243" fmla="*/ 621543 w 2621226"/>
                <a:gd name="connsiteY243" fmla="*/ 0 h 2476692"/>
                <a:gd name="connsiteX0" fmla="*/ 621543 w 2608360"/>
                <a:gd name="connsiteY0" fmla="*/ 0 h 2476692"/>
                <a:gd name="connsiteX1" fmla="*/ 637165 w 2608360"/>
                <a:gd name="connsiteY1" fmla="*/ 20829 h 2476692"/>
                <a:gd name="connsiteX2" fmla="*/ 643515 w 2608360"/>
                <a:gd name="connsiteY2" fmla="*/ 30354 h 2476692"/>
                <a:gd name="connsiteX3" fmla="*/ 646690 w 2608360"/>
                <a:gd name="connsiteY3" fmla="*/ 74804 h 2476692"/>
                <a:gd name="connsiteX4" fmla="*/ 656215 w 2608360"/>
                <a:gd name="connsiteY4" fmla="*/ 100204 h 2476692"/>
                <a:gd name="connsiteX5" fmla="*/ 757815 w 2608360"/>
                <a:gd name="connsiteY5" fmla="*/ 119254 h 2476692"/>
                <a:gd name="connsiteX6" fmla="*/ 780040 w 2608360"/>
                <a:gd name="connsiteY6" fmla="*/ 135129 h 2476692"/>
                <a:gd name="connsiteX7" fmla="*/ 789565 w 2608360"/>
                <a:gd name="connsiteY7" fmla="*/ 138304 h 2476692"/>
                <a:gd name="connsiteX8" fmla="*/ 808615 w 2608360"/>
                <a:gd name="connsiteY8" fmla="*/ 154179 h 2476692"/>
                <a:gd name="connsiteX9" fmla="*/ 824490 w 2608360"/>
                <a:gd name="connsiteY9" fmla="*/ 176404 h 2476692"/>
                <a:gd name="connsiteX10" fmla="*/ 827665 w 2608360"/>
                <a:gd name="connsiteY10" fmla="*/ 185929 h 2476692"/>
                <a:gd name="connsiteX11" fmla="*/ 853065 w 2608360"/>
                <a:gd name="connsiteY11" fmla="*/ 201804 h 2476692"/>
                <a:gd name="connsiteX12" fmla="*/ 929265 w 2608360"/>
                <a:gd name="connsiteY12" fmla="*/ 220854 h 2476692"/>
                <a:gd name="connsiteX13" fmla="*/ 957840 w 2608360"/>
                <a:gd name="connsiteY13" fmla="*/ 198629 h 2476692"/>
                <a:gd name="connsiteX14" fmla="*/ 980065 w 2608360"/>
                <a:gd name="connsiteY14" fmla="*/ 182754 h 2476692"/>
                <a:gd name="connsiteX15" fmla="*/ 989590 w 2608360"/>
                <a:gd name="connsiteY15" fmla="*/ 176404 h 2476692"/>
                <a:gd name="connsiteX16" fmla="*/ 1011815 w 2608360"/>
                <a:gd name="connsiteY16" fmla="*/ 173229 h 2476692"/>
                <a:gd name="connsiteX17" fmla="*/ 1027690 w 2608360"/>
                <a:gd name="connsiteY17" fmla="*/ 166879 h 2476692"/>
                <a:gd name="connsiteX18" fmla="*/ 1094365 w 2608360"/>
                <a:gd name="connsiteY18" fmla="*/ 220854 h 2476692"/>
                <a:gd name="connsiteX19" fmla="*/ 1186440 w 2608360"/>
                <a:gd name="connsiteY19" fmla="*/ 217679 h 2476692"/>
                <a:gd name="connsiteX20" fmla="*/ 1278515 w 2608360"/>
                <a:gd name="connsiteY20" fmla="*/ 170054 h 2476692"/>
                <a:gd name="connsiteX21" fmla="*/ 1326140 w 2608360"/>
                <a:gd name="connsiteY21" fmla="*/ 74804 h 2476692"/>
                <a:gd name="connsiteX22" fmla="*/ 1373765 w 2608360"/>
                <a:gd name="connsiteY22" fmla="*/ 122429 h 2476692"/>
                <a:gd name="connsiteX23" fmla="*/ 1459490 w 2608360"/>
                <a:gd name="connsiteY23" fmla="*/ 144654 h 2476692"/>
                <a:gd name="connsiteX24" fmla="*/ 1589665 w 2608360"/>
                <a:gd name="connsiteY24" fmla="*/ 144654 h 2476692"/>
                <a:gd name="connsiteX25" fmla="*/ 1697615 w 2608360"/>
                <a:gd name="connsiteY25" fmla="*/ 97029 h 2476692"/>
                <a:gd name="connsiteX26" fmla="*/ 1726190 w 2608360"/>
                <a:gd name="connsiteY26" fmla="*/ 103379 h 2476692"/>
                <a:gd name="connsiteX27" fmla="*/ 1738890 w 2608360"/>
                <a:gd name="connsiteY27" fmla="*/ 122429 h 2476692"/>
                <a:gd name="connsiteX28" fmla="*/ 1732540 w 2608360"/>
                <a:gd name="connsiteY28" fmla="*/ 141479 h 2476692"/>
                <a:gd name="connsiteX29" fmla="*/ 1723015 w 2608360"/>
                <a:gd name="connsiteY29" fmla="*/ 154179 h 2476692"/>
                <a:gd name="connsiteX30" fmla="*/ 1802390 w 2608360"/>
                <a:gd name="connsiteY30" fmla="*/ 144654 h 2476692"/>
                <a:gd name="connsiteX31" fmla="*/ 1824615 w 2608360"/>
                <a:gd name="connsiteY31" fmla="*/ 160529 h 2476692"/>
                <a:gd name="connsiteX32" fmla="*/ 1827790 w 2608360"/>
                <a:gd name="connsiteY32" fmla="*/ 195454 h 2476692"/>
                <a:gd name="connsiteX33" fmla="*/ 1834140 w 2608360"/>
                <a:gd name="connsiteY33" fmla="*/ 217679 h 2476692"/>
                <a:gd name="connsiteX34" fmla="*/ 1840490 w 2608360"/>
                <a:gd name="connsiteY34" fmla="*/ 230379 h 2476692"/>
                <a:gd name="connsiteX35" fmla="*/ 1846840 w 2608360"/>
                <a:gd name="connsiteY35" fmla="*/ 239904 h 2476692"/>
                <a:gd name="connsiteX36" fmla="*/ 1846840 w 2608360"/>
                <a:gd name="connsiteY36" fmla="*/ 249429 h 2476692"/>
                <a:gd name="connsiteX37" fmla="*/ 1916690 w 2608360"/>
                <a:gd name="connsiteY37" fmla="*/ 274829 h 2476692"/>
                <a:gd name="connsiteX38" fmla="*/ 1945265 w 2608360"/>
                <a:gd name="connsiteY38" fmla="*/ 268479 h 2476692"/>
                <a:gd name="connsiteX39" fmla="*/ 1961140 w 2608360"/>
                <a:gd name="connsiteY39" fmla="*/ 274829 h 2476692"/>
                <a:gd name="connsiteX40" fmla="*/ 1977015 w 2608360"/>
                <a:gd name="connsiteY40" fmla="*/ 293879 h 2476692"/>
                <a:gd name="connsiteX41" fmla="*/ 2002415 w 2608360"/>
                <a:gd name="connsiteY41" fmla="*/ 297054 h 2476692"/>
                <a:gd name="connsiteX42" fmla="*/ 2002415 w 2608360"/>
                <a:gd name="connsiteY42" fmla="*/ 344679 h 2476692"/>
                <a:gd name="connsiteX43" fmla="*/ 1998496 w 2608360"/>
                <a:gd name="connsiteY43" fmla="*/ 359366 h 2476692"/>
                <a:gd name="connsiteX44" fmla="*/ 1997699 w 2608360"/>
                <a:gd name="connsiteY44" fmla="*/ 359161 h 2476692"/>
                <a:gd name="connsiteX45" fmla="*/ 1996509 w 2608360"/>
                <a:gd name="connsiteY45" fmla="*/ 357863 h 2476692"/>
                <a:gd name="connsiteX46" fmla="*/ 1996082 w 2608360"/>
                <a:gd name="connsiteY46" fmla="*/ 354482 h 2476692"/>
                <a:gd name="connsiteX47" fmla="*/ 1996065 w 2608360"/>
                <a:gd name="connsiteY47" fmla="*/ 357379 h 2476692"/>
                <a:gd name="connsiteX48" fmla="*/ 1996509 w 2608360"/>
                <a:gd name="connsiteY48" fmla="*/ 357863 h 2476692"/>
                <a:gd name="connsiteX49" fmla="*/ 1996639 w 2608360"/>
                <a:gd name="connsiteY49" fmla="*/ 358889 h 2476692"/>
                <a:gd name="connsiteX50" fmla="*/ 1997699 w 2608360"/>
                <a:gd name="connsiteY50" fmla="*/ 359161 h 2476692"/>
                <a:gd name="connsiteX51" fmla="*/ 2030990 w 2608360"/>
                <a:gd name="connsiteY51" fmla="*/ 395479 h 2476692"/>
                <a:gd name="connsiteX52" fmla="*/ 2059565 w 2608360"/>
                <a:gd name="connsiteY52" fmla="*/ 385954 h 2476692"/>
                <a:gd name="connsiteX53" fmla="*/ 2069090 w 2608360"/>
                <a:gd name="connsiteY53" fmla="*/ 379604 h 2476692"/>
                <a:gd name="connsiteX54" fmla="*/ 2078615 w 2608360"/>
                <a:gd name="connsiteY54" fmla="*/ 376429 h 2476692"/>
                <a:gd name="connsiteX55" fmla="*/ 2116715 w 2608360"/>
                <a:gd name="connsiteY55" fmla="*/ 379604 h 2476692"/>
                <a:gd name="connsiteX56" fmla="*/ 2119890 w 2608360"/>
                <a:gd name="connsiteY56" fmla="*/ 411354 h 2476692"/>
                <a:gd name="connsiteX57" fmla="*/ 2129415 w 2608360"/>
                <a:gd name="connsiteY57" fmla="*/ 443104 h 2476692"/>
                <a:gd name="connsiteX58" fmla="*/ 2132590 w 2608360"/>
                <a:gd name="connsiteY58" fmla="*/ 452629 h 2476692"/>
                <a:gd name="connsiteX59" fmla="*/ 2135765 w 2608360"/>
                <a:gd name="connsiteY59" fmla="*/ 462154 h 2476692"/>
                <a:gd name="connsiteX60" fmla="*/ 2142115 w 2608360"/>
                <a:gd name="connsiteY60" fmla="*/ 493904 h 2476692"/>
                <a:gd name="connsiteX61" fmla="*/ 2138940 w 2608360"/>
                <a:gd name="connsiteY61" fmla="*/ 532004 h 2476692"/>
                <a:gd name="connsiteX62" fmla="*/ 2110365 w 2608360"/>
                <a:gd name="connsiteY62" fmla="*/ 547879 h 2476692"/>
                <a:gd name="connsiteX63" fmla="*/ 2097665 w 2608360"/>
                <a:gd name="connsiteY63" fmla="*/ 557404 h 2476692"/>
                <a:gd name="connsiteX64" fmla="*/ 2094490 w 2608360"/>
                <a:gd name="connsiteY64" fmla="*/ 582804 h 2476692"/>
                <a:gd name="connsiteX65" fmla="*/ 2104015 w 2608360"/>
                <a:gd name="connsiteY65" fmla="*/ 608204 h 2476692"/>
                <a:gd name="connsiteX66" fmla="*/ 2110365 w 2608360"/>
                <a:gd name="connsiteY66" fmla="*/ 617729 h 2476692"/>
                <a:gd name="connsiteX67" fmla="*/ 2116715 w 2608360"/>
                <a:gd name="connsiteY67" fmla="*/ 643129 h 2476692"/>
                <a:gd name="connsiteX68" fmla="*/ 2119890 w 2608360"/>
                <a:gd name="connsiteY68" fmla="*/ 719329 h 2476692"/>
                <a:gd name="connsiteX69" fmla="*/ 2123065 w 2608360"/>
                <a:gd name="connsiteY69" fmla="*/ 728854 h 2476692"/>
                <a:gd name="connsiteX70" fmla="*/ 2142115 w 2608360"/>
                <a:gd name="connsiteY70" fmla="*/ 741554 h 2476692"/>
                <a:gd name="connsiteX71" fmla="*/ 2161165 w 2608360"/>
                <a:gd name="connsiteY71" fmla="*/ 738379 h 2476692"/>
                <a:gd name="connsiteX72" fmla="*/ 2170690 w 2608360"/>
                <a:gd name="connsiteY72" fmla="*/ 732029 h 2476692"/>
                <a:gd name="connsiteX73" fmla="*/ 2183390 w 2608360"/>
                <a:gd name="connsiteY73" fmla="*/ 725679 h 2476692"/>
                <a:gd name="connsiteX74" fmla="*/ 2192915 w 2608360"/>
                <a:gd name="connsiteY74" fmla="*/ 719329 h 2476692"/>
                <a:gd name="connsiteX75" fmla="*/ 2211965 w 2608360"/>
                <a:gd name="connsiteY75" fmla="*/ 712979 h 2476692"/>
                <a:gd name="connsiteX76" fmla="*/ 2259590 w 2608360"/>
                <a:gd name="connsiteY76" fmla="*/ 716154 h 2476692"/>
                <a:gd name="connsiteX77" fmla="*/ 2262765 w 2608360"/>
                <a:gd name="connsiteY77" fmla="*/ 732029 h 2476692"/>
                <a:gd name="connsiteX78" fmla="*/ 2272290 w 2608360"/>
                <a:gd name="connsiteY78" fmla="*/ 751079 h 2476692"/>
                <a:gd name="connsiteX79" fmla="*/ 2297690 w 2608360"/>
                <a:gd name="connsiteY79" fmla="*/ 754254 h 2476692"/>
                <a:gd name="connsiteX80" fmla="*/ 2329440 w 2608360"/>
                <a:gd name="connsiteY80" fmla="*/ 738379 h 2476692"/>
                <a:gd name="connsiteX81" fmla="*/ 2338965 w 2608360"/>
                <a:gd name="connsiteY81" fmla="*/ 735204 h 2476692"/>
                <a:gd name="connsiteX82" fmla="*/ 2367540 w 2608360"/>
                <a:gd name="connsiteY82" fmla="*/ 722504 h 2476692"/>
                <a:gd name="connsiteX83" fmla="*/ 2377065 w 2608360"/>
                <a:gd name="connsiteY83" fmla="*/ 719329 h 2476692"/>
                <a:gd name="connsiteX84" fmla="*/ 2391809 w 2608360"/>
                <a:gd name="connsiteY84" fmla="*/ 719329 h 2476692"/>
                <a:gd name="connsiteX85" fmla="*/ 2574709 w 2608360"/>
                <a:gd name="connsiteY85" fmla="*/ 1486092 h 2476692"/>
                <a:gd name="connsiteX86" fmla="*/ 2608046 w 2608360"/>
                <a:gd name="connsiteY86" fmla="*/ 1586104 h 2476692"/>
                <a:gd name="connsiteX87" fmla="*/ 2598522 w 2608360"/>
                <a:gd name="connsiteY87" fmla="*/ 1619442 h 2476692"/>
                <a:gd name="connsiteX88" fmla="*/ 2593759 w 2608360"/>
                <a:gd name="connsiteY88" fmla="*/ 1712310 h 2476692"/>
                <a:gd name="connsiteX89" fmla="*/ 2577090 w 2608360"/>
                <a:gd name="connsiteY89" fmla="*/ 1802798 h 2476692"/>
                <a:gd name="connsiteX90" fmla="*/ 2512796 w 2608360"/>
                <a:gd name="connsiteY90" fmla="*/ 1824229 h 2476692"/>
                <a:gd name="connsiteX91" fmla="*/ 2558040 w 2608360"/>
                <a:gd name="connsiteY91" fmla="*/ 1883760 h 2476692"/>
                <a:gd name="connsiteX92" fmla="*/ 2555659 w 2608360"/>
                <a:gd name="connsiteY92" fmla="*/ 1909954 h 2476692"/>
                <a:gd name="connsiteX93" fmla="*/ 2527084 w 2608360"/>
                <a:gd name="connsiteY93" fmla="*/ 1995679 h 2476692"/>
                <a:gd name="connsiteX94" fmla="*/ 2503271 w 2608360"/>
                <a:gd name="connsiteY94" fmla="*/ 1986154 h 2476692"/>
                <a:gd name="connsiteX95" fmla="*/ 2472315 w 2608360"/>
                <a:gd name="connsiteY95" fmla="*/ 1971867 h 2476692"/>
                <a:gd name="connsiteX96" fmla="*/ 2436596 w 2608360"/>
                <a:gd name="connsiteY96" fmla="*/ 1986154 h 2476692"/>
                <a:gd name="connsiteX97" fmla="*/ 2450884 w 2608360"/>
                <a:gd name="connsiteY97" fmla="*/ 2017110 h 2476692"/>
                <a:gd name="connsiteX98" fmla="*/ 2465171 w 2608360"/>
                <a:gd name="connsiteY98" fmla="*/ 2057592 h 2476692"/>
                <a:gd name="connsiteX99" fmla="*/ 2455646 w 2608360"/>
                <a:gd name="connsiteY99" fmla="*/ 2121885 h 2476692"/>
                <a:gd name="connsiteX100" fmla="*/ 2410403 w 2608360"/>
                <a:gd name="connsiteY100" fmla="*/ 2152842 h 2476692"/>
                <a:gd name="connsiteX101" fmla="*/ 2458028 w 2608360"/>
                <a:gd name="connsiteY101" fmla="*/ 2186180 h 2476692"/>
                <a:gd name="connsiteX102" fmla="*/ 2448503 w 2608360"/>
                <a:gd name="connsiteY102" fmla="*/ 2226660 h 2476692"/>
                <a:gd name="connsiteX103" fmla="*/ 2410403 w 2608360"/>
                <a:gd name="connsiteY103" fmla="*/ 2262379 h 2476692"/>
                <a:gd name="connsiteX104" fmla="*/ 2388971 w 2608360"/>
                <a:gd name="connsiteY104" fmla="*/ 2331435 h 2476692"/>
                <a:gd name="connsiteX105" fmla="*/ 2405640 w 2608360"/>
                <a:gd name="connsiteY105" fmla="*/ 2381442 h 2476692"/>
                <a:gd name="connsiteX106" fmla="*/ 2391353 w 2608360"/>
                <a:gd name="connsiteY106" fmla="*/ 2414779 h 2476692"/>
                <a:gd name="connsiteX107" fmla="*/ 2334203 w 2608360"/>
                <a:gd name="connsiteY107" fmla="*/ 2433829 h 2476692"/>
                <a:gd name="connsiteX108" fmla="*/ 2305628 w 2608360"/>
                <a:gd name="connsiteY108" fmla="*/ 2443354 h 2476692"/>
                <a:gd name="connsiteX109" fmla="*/ 2296103 w 2608360"/>
                <a:gd name="connsiteY109" fmla="*/ 2457642 h 2476692"/>
                <a:gd name="connsiteX110" fmla="*/ 2262765 w 2608360"/>
                <a:gd name="connsiteY110" fmla="*/ 2462404 h 2476692"/>
                <a:gd name="connsiteX111" fmla="*/ 2229428 w 2608360"/>
                <a:gd name="connsiteY111" fmla="*/ 2438592 h 2476692"/>
                <a:gd name="connsiteX112" fmla="*/ 2215140 w 2608360"/>
                <a:gd name="connsiteY112" fmla="*/ 2433829 h 2476692"/>
                <a:gd name="connsiteX113" fmla="*/ 2205615 w 2608360"/>
                <a:gd name="connsiteY113" fmla="*/ 2457642 h 2476692"/>
                <a:gd name="connsiteX114" fmla="*/ 2191328 w 2608360"/>
                <a:gd name="connsiteY114" fmla="*/ 2467167 h 2476692"/>
                <a:gd name="connsiteX115" fmla="*/ 2153228 w 2608360"/>
                <a:gd name="connsiteY115" fmla="*/ 2476692 h 2476692"/>
                <a:gd name="connsiteX116" fmla="*/ 2134178 w 2608360"/>
                <a:gd name="connsiteY116" fmla="*/ 2448117 h 2476692"/>
                <a:gd name="connsiteX117" fmla="*/ 2124653 w 2608360"/>
                <a:gd name="connsiteY117" fmla="*/ 2433829 h 2476692"/>
                <a:gd name="connsiteX118" fmla="*/ 2119890 w 2608360"/>
                <a:gd name="connsiteY118" fmla="*/ 2352867 h 2476692"/>
                <a:gd name="connsiteX119" fmla="*/ 2124653 w 2608360"/>
                <a:gd name="connsiteY119" fmla="*/ 2338579 h 2476692"/>
                <a:gd name="connsiteX120" fmla="*/ 2167515 w 2608360"/>
                <a:gd name="connsiteY120" fmla="*/ 2290954 h 2476692"/>
                <a:gd name="connsiteX121" fmla="*/ 2177040 w 2608360"/>
                <a:gd name="connsiteY121" fmla="*/ 2276667 h 2476692"/>
                <a:gd name="connsiteX122" fmla="*/ 2153228 w 2608360"/>
                <a:gd name="connsiteY122" fmla="*/ 2248092 h 2476692"/>
                <a:gd name="connsiteX123" fmla="*/ 2134178 w 2608360"/>
                <a:gd name="connsiteY123" fmla="*/ 2238567 h 2476692"/>
                <a:gd name="connsiteX124" fmla="*/ 2129415 w 2608360"/>
                <a:gd name="connsiteY124" fmla="*/ 2214754 h 2476692"/>
                <a:gd name="connsiteX125" fmla="*/ 2148465 w 2608360"/>
                <a:gd name="connsiteY125" fmla="*/ 2186179 h 2476692"/>
                <a:gd name="connsiteX126" fmla="*/ 2167515 w 2608360"/>
                <a:gd name="connsiteY126" fmla="*/ 2190942 h 2476692"/>
                <a:gd name="connsiteX127" fmla="*/ 2229428 w 2608360"/>
                <a:gd name="connsiteY127" fmla="*/ 2186179 h 2476692"/>
                <a:gd name="connsiteX128" fmla="*/ 2234190 w 2608360"/>
                <a:gd name="connsiteY128" fmla="*/ 2171892 h 2476692"/>
                <a:gd name="connsiteX129" fmla="*/ 2224665 w 2608360"/>
                <a:gd name="connsiteY129" fmla="*/ 2143317 h 2476692"/>
                <a:gd name="connsiteX130" fmla="*/ 2210378 w 2608360"/>
                <a:gd name="connsiteY130" fmla="*/ 2129029 h 2476692"/>
                <a:gd name="connsiteX131" fmla="*/ 2191328 w 2608360"/>
                <a:gd name="connsiteY131" fmla="*/ 2119504 h 2476692"/>
                <a:gd name="connsiteX132" fmla="*/ 2162753 w 2608360"/>
                <a:gd name="connsiteY132" fmla="*/ 2114742 h 2476692"/>
                <a:gd name="connsiteX133" fmla="*/ 2157990 w 2608360"/>
                <a:gd name="connsiteY133" fmla="*/ 2095692 h 2476692"/>
                <a:gd name="connsiteX134" fmla="*/ 2181803 w 2608360"/>
                <a:gd name="connsiteY134" fmla="*/ 2062354 h 2476692"/>
                <a:gd name="connsiteX135" fmla="*/ 2191328 w 2608360"/>
                <a:gd name="connsiteY135" fmla="*/ 2048067 h 2476692"/>
                <a:gd name="connsiteX136" fmla="*/ 2196090 w 2608360"/>
                <a:gd name="connsiteY136" fmla="*/ 1986154 h 2476692"/>
                <a:gd name="connsiteX137" fmla="*/ 2186565 w 2608360"/>
                <a:gd name="connsiteY137" fmla="*/ 1957579 h 2476692"/>
                <a:gd name="connsiteX138" fmla="*/ 2162753 w 2608360"/>
                <a:gd name="connsiteY138" fmla="*/ 1952817 h 2476692"/>
                <a:gd name="connsiteX139" fmla="*/ 2134178 w 2608360"/>
                <a:gd name="connsiteY139" fmla="*/ 1971867 h 2476692"/>
                <a:gd name="connsiteX140" fmla="*/ 2124653 w 2608360"/>
                <a:gd name="connsiteY140" fmla="*/ 1986154 h 2476692"/>
                <a:gd name="connsiteX141" fmla="*/ 2105603 w 2608360"/>
                <a:gd name="connsiteY141" fmla="*/ 2005204 h 2476692"/>
                <a:gd name="connsiteX142" fmla="*/ 2072265 w 2608360"/>
                <a:gd name="connsiteY142" fmla="*/ 2038542 h 2476692"/>
                <a:gd name="connsiteX143" fmla="*/ 2057978 w 2608360"/>
                <a:gd name="connsiteY143" fmla="*/ 2048067 h 2476692"/>
                <a:gd name="connsiteX144" fmla="*/ 2029403 w 2608360"/>
                <a:gd name="connsiteY144" fmla="*/ 2052829 h 2476692"/>
                <a:gd name="connsiteX145" fmla="*/ 2019878 w 2608360"/>
                <a:gd name="connsiteY145" fmla="*/ 2009967 h 2476692"/>
                <a:gd name="connsiteX146" fmla="*/ 1991303 w 2608360"/>
                <a:gd name="connsiteY146" fmla="*/ 1986154 h 2476692"/>
                <a:gd name="connsiteX147" fmla="*/ 1962728 w 2608360"/>
                <a:gd name="connsiteY147" fmla="*/ 1976629 h 2476692"/>
                <a:gd name="connsiteX148" fmla="*/ 1948440 w 2608360"/>
                <a:gd name="connsiteY148" fmla="*/ 1990917 h 2476692"/>
                <a:gd name="connsiteX149" fmla="*/ 1910340 w 2608360"/>
                <a:gd name="connsiteY149" fmla="*/ 2000442 h 2476692"/>
                <a:gd name="connsiteX150" fmla="*/ 1891290 w 2608360"/>
                <a:gd name="connsiteY150" fmla="*/ 1971867 h 2476692"/>
                <a:gd name="connsiteX151" fmla="*/ 1886528 w 2608360"/>
                <a:gd name="connsiteY151" fmla="*/ 1952817 h 2476692"/>
                <a:gd name="connsiteX152" fmla="*/ 1881765 w 2608360"/>
                <a:gd name="connsiteY152" fmla="*/ 1929004 h 2476692"/>
                <a:gd name="connsiteX153" fmla="*/ 1877003 w 2608360"/>
                <a:gd name="connsiteY153" fmla="*/ 1886142 h 2476692"/>
                <a:gd name="connsiteX154" fmla="*/ 1862715 w 2608360"/>
                <a:gd name="connsiteY154" fmla="*/ 1871854 h 2476692"/>
                <a:gd name="connsiteX155" fmla="*/ 1853190 w 2608360"/>
                <a:gd name="connsiteY155" fmla="*/ 1857567 h 2476692"/>
                <a:gd name="connsiteX156" fmla="*/ 1824615 w 2608360"/>
                <a:gd name="connsiteY156" fmla="*/ 1838517 h 2476692"/>
                <a:gd name="connsiteX157" fmla="*/ 1819853 w 2608360"/>
                <a:gd name="connsiteY157" fmla="*/ 1819467 h 2476692"/>
                <a:gd name="connsiteX158" fmla="*/ 1834140 w 2608360"/>
                <a:gd name="connsiteY158" fmla="*/ 1814704 h 2476692"/>
                <a:gd name="connsiteX159" fmla="*/ 1848428 w 2608360"/>
                <a:gd name="connsiteY159" fmla="*/ 1809942 h 2476692"/>
                <a:gd name="connsiteX160" fmla="*/ 1862715 w 2608360"/>
                <a:gd name="connsiteY160" fmla="*/ 1805179 h 2476692"/>
                <a:gd name="connsiteX161" fmla="*/ 1891290 w 2608360"/>
                <a:gd name="connsiteY161" fmla="*/ 1795654 h 2476692"/>
                <a:gd name="connsiteX162" fmla="*/ 1896053 w 2608360"/>
                <a:gd name="connsiteY162" fmla="*/ 1781367 h 2476692"/>
                <a:gd name="connsiteX163" fmla="*/ 1900815 w 2608360"/>
                <a:gd name="connsiteY163" fmla="*/ 1762317 h 2476692"/>
                <a:gd name="connsiteX164" fmla="*/ 1891290 w 2608360"/>
                <a:gd name="connsiteY164" fmla="*/ 1676592 h 2476692"/>
                <a:gd name="connsiteX165" fmla="*/ 1719840 w 2608360"/>
                <a:gd name="connsiteY165" fmla="*/ 1671829 h 2476692"/>
                <a:gd name="connsiteX166" fmla="*/ 1710315 w 2608360"/>
                <a:gd name="connsiteY166" fmla="*/ 1690879 h 2476692"/>
                <a:gd name="connsiteX167" fmla="*/ 1696028 w 2608360"/>
                <a:gd name="connsiteY167" fmla="*/ 1709929 h 2476692"/>
                <a:gd name="connsiteX168" fmla="*/ 1681740 w 2608360"/>
                <a:gd name="connsiteY168" fmla="*/ 1724217 h 2476692"/>
                <a:gd name="connsiteX169" fmla="*/ 1676978 w 2608360"/>
                <a:gd name="connsiteY169" fmla="*/ 1738504 h 2476692"/>
                <a:gd name="connsiteX170" fmla="*/ 1667453 w 2608360"/>
                <a:gd name="connsiteY170" fmla="*/ 1762317 h 2476692"/>
                <a:gd name="connsiteX171" fmla="*/ 1643640 w 2608360"/>
                <a:gd name="connsiteY171" fmla="*/ 1795654 h 2476692"/>
                <a:gd name="connsiteX172" fmla="*/ 1291215 w 2608360"/>
                <a:gd name="connsiteY172" fmla="*/ 1938529 h 2476692"/>
                <a:gd name="connsiteX173" fmla="*/ 1162628 w 2608360"/>
                <a:gd name="connsiteY173" fmla="*/ 1833754 h 2476692"/>
                <a:gd name="connsiteX174" fmla="*/ 1091190 w 2608360"/>
                <a:gd name="connsiteY174" fmla="*/ 1843279 h 2476692"/>
                <a:gd name="connsiteX175" fmla="*/ 1014990 w 2608360"/>
                <a:gd name="connsiteY175" fmla="*/ 1786129 h 2476692"/>
                <a:gd name="connsiteX176" fmla="*/ 1024515 w 2608360"/>
                <a:gd name="connsiteY176" fmla="*/ 1733742 h 2476692"/>
                <a:gd name="connsiteX177" fmla="*/ 957840 w 2608360"/>
                <a:gd name="connsiteY177" fmla="*/ 1719454 h 2476692"/>
                <a:gd name="connsiteX178" fmla="*/ 767340 w 2608360"/>
                <a:gd name="connsiteY178" fmla="*/ 1671829 h 2476692"/>
                <a:gd name="connsiteX179" fmla="*/ 743528 w 2608360"/>
                <a:gd name="connsiteY179" fmla="*/ 1681354 h 2476692"/>
                <a:gd name="connsiteX180" fmla="*/ 729240 w 2608360"/>
                <a:gd name="connsiteY180" fmla="*/ 1686117 h 2476692"/>
                <a:gd name="connsiteX181" fmla="*/ 700665 w 2608360"/>
                <a:gd name="connsiteY181" fmla="*/ 1667067 h 2476692"/>
                <a:gd name="connsiteX182" fmla="*/ 657803 w 2608360"/>
                <a:gd name="connsiteY182" fmla="*/ 1624204 h 2476692"/>
                <a:gd name="connsiteX183" fmla="*/ 605415 w 2608360"/>
                <a:gd name="connsiteY183" fmla="*/ 1638492 h 2476692"/>
                <a:gd name="connsiteX184" fmla="*/ 533978 w 2608360"/>
                <a:gd name="connsiteY184" fmla="*/ 1543242 h 2476692"/>
                <a:gd name="connsiteX185" fmla="*/ 548265 w 2608360"/>
                <a:gd name="connsiteY185" fmla="*/ 1528954 h 2476692"/>
                <a:gd name="connsiteX186" fmla="*/ 567315 w 2608360"/>
                <a:gd name="connsiteY186" fmla="*/ 1514667 h 2476692"/>
                <a:gd name="connsiteX187" fmla="*/ 581603 w 2608360"/>
                <a:gd name="connsiteY187" fmla="*/ 1476567 h 2476692"/>
                <a:gd name="connsiteX188" fmla="*/ 567315 w 2608360"/>
                <a:gd name="connsiteY188" fmla="*/ 1471804 h 2476692"/>
                <a:gd name="connsiteX189" fmla="*/ 543503 w 2608360"/>
                <a:gd name="connsiteY189" fmla="*/ 1462279 h 2476692"/>
                <a:gd name="connsiteX190" fmla="*/ 562553 w 2608360"/>
                <a:gd name="connsiteY190" fmla="*/ 1428942 h 2476692"/>
                <a:gd name="connsiteX191" fmla="*/ 567315 w 2608360"/>
                <a:gd name="connsiteY191" fmla="*/ 1414654 h 2476692"/>
                <a:gd name="connsiteX192" fmla="*/ 586365 w 2608360"/>
                <a:gd name="connsiteY192" fmla="*/ 1386079 h 2476692"/>
                <a:gd name="connsiteX193" fmla="*/ 619703 w 2608360"/>
                <a:gd name="connsiteY193" fmla="*/ 1362267 h 2476692"/>
                <a:gd name="connsiteX194" fmla="*/ 633990 w 2608360"/>
                <a:gd name="connsiteY194" fmla="*/ 1343217 h 2476692"/>
                <a:gd name="connsiteX195" fmla="*/ 662565 w 2608360"/>
                <a:gd name="connsiteY195" fmla="*/ 1319404 h 2476692"/>
                <a:gd name="connsiteX196" fmla="*/ 667328 w 2608360"/>
                <a:gd name="connsiteY196" fmla="*/ 1281304 h 2476692"/>
                <a:gd name="connsiteX197" fmla="*/ 638753 w 2608360"/>
                <a:gd name="connsiteY197" fmla="*/ 1267017 h 2476692"/>
                <a:gd name="connsiteX198" fmla="*/ 633990 w 2608360"/>
                <a:gd name="connsiteY198" fmla="*/ 1252729 h 2476692"/>
                <a:gd name="connsiteX199" fmla="*/ 643515 w 2608360"/>
                <a:gd name="connsiteY199" fmla="*/ 1238442 h 2476692"/>
                <a:gd name="connsiteX200" fmla="*/ 672090 w 2608360"/>
                <a:gd name="connsiteY200" fmla="*/ 1219392 h 2476692"/>
                <a:gd name="connsiteX201" fmla="*/ 672090 w 2608360"/>
                <a:gd name="connsiteY201" fmla="*/ 1162242 h 2476692"/>
                <a:gd name="connsiteX202" fmla="*/ 662565 w 2608360"/>
                <a:gd name="connsiteY202" fmla="*/ 1147954 h 2476692"/>
                <a:gd name="connsiteX203" fmla="*/ 619703 w 2608360"/>
                <a:gd name="connsiteY203" fmla="*/ 1167004 h 2476692"/>
                <a:gd name="connsiteX204" fmla="*/ 610178 w 2608360"/>
                <a:gd name="connsiteY204" fmla="*/ 1152717 h 2476692"/>
                <a:gd name="connsiteX205" fmla="*/ 605415 w 2608360"/>
                <a:gd name="connsiteY205" fmla="*/ 1105092 h 2476692"/>
                <a:gd name="connsiteX206" fmla="*/ 595890 w 2608360"/>
                <a:gd name="connsiteY206" fmla="*/ 1086042 h 2476692"/>
                <a:gd name="connsiteX207" fmla="*/ 576840 w 2608360"/>
                <a:gd name="connsiteY207" fmla="*/ 1057467 h 2476692"/>
                <a:gd name="connsiteX208" fmla="*/ 572078 w 2608360"/>
                <a:gd name="connsiteY208" fmla="*/ 1043179 h 2476692"/>
                <a:gd name="connsiteX209" fmla="*/ 562553 w 2608360"/>
                <a:gd name="connsiteY209" fmla="*/ 962217 h 2476692"/>
                <a:gd name="connsiteX210" fmla="*/ 462540 w 2608360"/>
                <a:gd name="connsiteY210" fmla="*/ 1043179 h 2476692"/>
                <a:gd name="connsiteX211" fmla="*/ 433965 w 2608360"/>
                <a:gd name="connsiteY211" fmla="*/ 952692 h 2476692"/>
                <a:gd name="connsiteX212" fmla="*/ 343478 w 2608360"/>
                <a:gd name="connsiteY212" fmla="*/ 862204 h 2476692"/>
                <a:gd name="connsiteX213" fmla="*/ 262515 w 2608360"/>
                <a:gd name="connsiteY213" fmla="*/ 871729 h 2476692"/>
                <a:gd name="connsiteX214" fmla="*/ 205365 w 2608360"/>
                <a:gd name="connsiteY214" fmla="*/ 919354 h 2476692"/>
                <a:gd name="connsiteX215" fmla="*/ 95828 w 2608360"/>
                <a:gd name="connsiteY215" fmla="*/ 986029 h 2476692"/>
                <a:gd name="connsiteX216" fmla="*/ 24390 w 2608360"/>
                <a:gd name="connsiteY216" fmla="*/ 986029 h 2476692"/>
                <a:gd name="connsiteX217" fmla="*/ 14865 w 2608360"/>
                <a:gd name="connsiteY217" fmla="*/ 947929 h 2476692"/>
                <a:gd name="connsiteX218" fmla="*/ 578 w 2608360"/>
                <a:gd name="connsiteY218" fmla="*/ 933642 h 2476692"/>
                <a:gd name="connsiteX219" fmla="*/ 5340 w 2608360"/>
                <a:gd name="connsiteY219" fmla="*/ 890779 h 2476692"/>
                <a:gd name="connsiteX220" fmla="*/ 57728 w 2608360"/>
                <a:gd name="connsiteY220" fmla="*/ 781242 h 2476692"/>
                <a:gd name="connsiteX221" fmla="*/ 238703 w 2608360"/>
                <a:gd name="connsiteY221" fmla="*/ 543117 h 2476692"/>
                <a:gd name="connsiteX222" fmla="*/ 333953 w 2608360"/>
                <a:gd name="connsiteY222" fmla="*/ 543117 h 2476692"/>
                <a:gd name="connsiteX223" fmla="*/ 429203 w 2608360"/>
                <a:gd name="connsiteY223" fmla="*/ 524067 h 2476692"/>
                <a:gd name="connsiteX224" fmla="*/ 467303 w 2608360"/>
                <a:gd name="connsiteY224" fmla="*/ 538354 h 2476692"/>
                <a:gd name="connsiteX225" fmla="*/ 481590 w 2608360"/>
                <a:gd name="connsiteY225" fmla="*/ 528829 h 2476692"/>
                <a:gd name="connsiteX226" fmla="*/ 486353 w 2608360"/>
                <a:gd name="connsiteY226" fmla="*/ 514542 h 2476692"/>
                <a:gd name="connsiteX227" fmla="*/ 491115 w 2608360"/>
                <a:gd name="connsiteY227" fmla="*/ 466917 h 2476692"/>
                <a:gd name="connsiteX228" fmla="*/ 481590 w 2608360"/>
                <a:gd name="connsiteY228" fmla="*/ 438342 h 2476692"/>
                <a:gd name="connsiteX229" fmla="*/ 462540 w 2608360"/>
                <a:gd name="connsiteY229" fmla="*/ 409767 h 2476692"/>
                <a:gd name="connsiteX230" fmla="*/ 472065 w 2608360"/>
                <a:gd name="connsiteY230" fmla="*/ 347854 h 2476692"/>
                <a:gd name="connsiteX231" fmla="*/ 505403 w 2608360"/>
                <a:gd name="connsiteY231" fmla="*/ 295467 h 2476692"/>
                <a:gd name="connsiteX232" fmla="*/ 514928 w 2608360"/>
                <a:gd name="connsiteY232" fmla="*/ 281179 h 2476692"/>
                <a:gd name="connsiteX233" fmla="*/ 519690 w 2608360"/>
                <a:gd name="connsiteY233" fmla="*/ 257367 h 2476692"/>
                <a:gd name="connsiteX234" fmla="*/ 529215 w 2608360"/>
                <a:gd name="connsiteY234" fmla="*/ 243079 h 2476692"/>
                <a:gd name="connsiteX235" fmla="*/ 538740 w 2608360"/>
                <a:gd name="connsiteY235" fmla="*/ 204979 h 2476692"/>
                <a:gd name="connsiteX236" fmla="*/ 548265 w 2608360"/>
                <a:gd name="connsiteY236" fmla="*/ 185929 h 2476692"/>
                <a:gd name="connsiteX237" fmla="*/ 553028 w 2608360"/>
                <a:gd name="connsiteY237" fmla="*/ 171642 h 2476692"/>
                <a:gd name="connsiteX238" fmla="*/ 562553 w 2608360"/>
                <a:gd name="connsiteY238" fmla="*/ 157354 h 2476692"/>
                <a:gd name="connsiteX239" fmla="*/ 567315 w 2608360"/>
                <a:gd name="connsiteY239" fmla="*/ 133542 h 2476692"/>
                <a:gd name="connsiteX240" fmla="*/ 576840 w 2608360"/>
                <a:gd name="connsiteY240" fmla="*/ 100204 h 2476692"/>
                <a:gd name="connsiteX241" fmla="*/ 581603 w 2608360"/>
                <a:gd name="connsiteY241" fmla="*/ 81154 h 2476692"/>
                <a:gd name="connsiteX242" fmla="*/ 595890 w 2608360"/>
                <a:gd name="connsiteY242" fmla="*/ 33529 h 2476692"/>
                <a:gd name="connsiteX243" fmla="*/ 619703 w 2608360"/>
                <a:gd name="connsiteY243" fmla="*/ 192 h 2476692"/>
                <a:gd name="connsiteX244" fmla="*/ 621543 w 2608360"/>
                <a:gd name="connsiteY244" fmla="*/ 0 h 2476692"/>
                <a:gd name="connsiteX0" fmla="*/ 621543 w 2608360"/>
                <a:gd name="connsiteY0" fmla="*/ 0 h 2476692"/>
                <a:gd name="connsiteX1" fmla="*/ 637165 w 2608360"/>
                <a:gd name="connsiteY1" fmla="*/ 20829 h 2476692"/>
                <a:gd name="connsiteX2" fmla="*/ 643515 w 2608360"/>
                <a:gd name="connsiteY2" fmla="*/ 30354 h 2476692"/>
                <a:gd name="connsiteX3" fmla="*/ 646690 w 2608360"/>
                <a:gd name="connsiteY3" fmla="*/ 74804 h 2476692"/>
                <a:gd name="connsiteX4" fmla="*/ 656215 w 2608360"/>
                <a:gd name="connsiteY4" fmla="*/ 100204 h 2476692"/>
                <a:gd name="connsiteX5" fmla="*/ 757815 w 2608360"/>
                <a:gd name="connsiteY5" fmla="*/ 119254 h 2476692"/>
                <a:gd name="connsiteX6" fmla="*/ 780040 w 2608360"/>
                <a:gd name="connsiteY6" fmla="*/ 135129 h 2476692"/>
                <a:gd name="connsiteX7" fmla="*/ 789565 w 2608360"/>
                <a:gd name="connsiteY7" fmla="*/ 138304 h 2476692"/>
                <a:gd name="connsiteX8" fmla="*/ 808615 w 2608360"/>
                <a:gd name="connsiteY8" fmla="*/ 154179 h 2476692"/>
                <a:gd name="connsiteX9" fmla="*/ 824490 w 2608360"/>
                <a:gd name="connsiteY9" fmla="*/ 176404 h 2476692"/>
                <a:gd name="connsiteX10" fmla="*/ 827665 w 2608360"/>
                <a:gd name="connsiteY10" fmla="*/ 185929 h 2476692"/>
                <a:gd name="connsiteX11" fmla="*/ 853065 w 2608360"/>
                <a:gd name="connsiteY11" fmla="*/ 201804 h 2476692"/>
                <a:gd name="connsiteX12" fmla="*/ 929265 w 2608360"/>
                <a:gd name="connsiteY12" fmla="*/ 220854 h 2476692"/>
                <a:gd name="connsiteX13" fmla="*/ 957840 w 2608360"/>
                <a:gd name="connsiteY13" fmla="*/ 198629 h 2476692"/>
                <a:gd name="connsiteX14" fmla="*/ 980065 w 2608360"/>
                <a:gd name="connsiteY14" fmla="*/ 182754 h 2476692"/>
                <a:gd name="connsiteX15" fmla="*/ 989590 w 2608360"/>
                <a:gd name="connsiteY15" fmla="*/ 176404 h 2476692"/>
                <a:gd name="connsiteX16" fmla="*/ 1011815 w 2608360"/>
                <a:gd name="connsiteY16" fmla="*/ 173229 h 2476692"/>
                <a:gd name="connsiteX17" fmla="*/ 1027690 w 2608360"/>
                <a:gd name="connsiteY17" fmla="*/ 166879 h 2476692"/>
                <a:gd name="connsiteX18" fmla="*/ 1094365 w 2608360"/>
                <a:gd name="connsiteY18" fmla="*/ 220854 h 2476692"/>
                <a:gd name="connsiteX19" fmla="*/ 1186440 w 2608360"/>
                <a:gd name="connsiteY19" fmla="*/ 217679 h 2476692"/>
                <a:gd name="connsiteX20" fmla="*/ 1278515 w 2608360"/>
                <a:gd name="connsiteY20" fmla="*/ 170054 h 2476692"/>
                <a:gd name="connsiteX21" fmla="*/ 1326140 w 2608360"/>
                <a:gd name="connsiteY21" fmla="*/ 74804 h 2476692"/>
                <a:gd name="connsiteX22" fmla="*/ 1373765 w 2608360"/>
                <a:gd name="connsiteY22" fmla="*/ 122429 h 2476692"/>
                <a:gd name="connsiteX23" fmla="*/ 1459490 w 2608360"/>
                <a:gd name="connsiteY23" fmla="*/ 144654 h 2476692"/>
                <a:gd name="connsiteX24" fmla="*/ 1589665 w 2608360"/>
                <a:gd name="connsiteY24" fmla="*/ 144654 h 2476692"/>
                <a:gd name="connsiteX25" fmla="*/ 1697615 w 2608360"/>
                <a:gd name="connsiteY25" fmla="*/ 97029 h 2476692"/>
                <a:gd name="connsiteX26" fmla="*/ 1726190 w 2608360"/>
                <a:gd name="connsiteY26" fmla="*/ 103379 h 2476692"/>
                <a:gd name="connsiteX27" fmla="*/ 1738890 w 2608360"/>
                <a:gd name="connsiteY27" fmla="*/ 122429 h 2476692"/>
                <a:gd name="connsiteX28" fmla="*/ 1732540 w 2608360"/>
                <a:gd name="connsiteY28" fmla="*/ 141479 h 2476692"/>
                <a:gd name="connsiteX29" fmla="*/ 1723015 w 2608360"/>
                <a:gd name="connsiteY29" fmla="*/ 154179 h 2476692"/>
                <a:gd name="connsiteX30" fmla="*/ 1802390 w 2608360"/>
                <a:gd name="connsiteY30" fmla="*/ 144654 h 2476692"/>
                <a:gd name="connsiteX31" fmla="*/ 1824615 w 2608360"/>
                <a:gd name="connsiteY31" fmla="*/ 160529 h 2476692"/>
                <a:gd name="connsiteX32" fmla="*/ 1827790 w 2608360"/>
                <a:gd name="connsiteY32" fmla="*/ 195454 h 2476692"/>
                <a:gd name="connsiteX33" fmla="*/ 1834140 w 2608360"/>
                <a:gd name="connsiteY33" fmla="*/ 217679 h 2476692"/>
                <a:gd name="connsiteX34" fmla="*/ 1840490 w 2608360"/>
                <a:gd name="connsiteY34" fmla="*/ 230379 h 2476692"/>
                <a:gd name="connsiteX35" fmla="*/ 1846840 w 2608360"/>
                <a:gd name="connsiteY35" fmla="*/ 239904 h 2476692"/>
                <a:gd name="connsiteX36" fmla="*/ 1846840 w 2608360"/>
                <a:gd name="connsiteY36" fmla="*/ 249429 h 2476692"/>
                <a:gd name="connsiteX37" fmla="*/ 1916690 w 2608360"/>
                <a:gd name="connsiteY37" fmla="*/ 274829 h 2476692"/>
                <a:gd name="connsiteX38" fmla="*/ 1945265 w 2608360"/>
                <a:gd name="connsiteY38" fmla="*/ 268479 h 2476692"/>
                <a:gd name="connsiteX39" fmla="*/ 1961140 w 2608360"/>
                <a:gd name="connsiteY39" fmla="*/ 274829 h 2476692"/>
                <a:gd name="connsiteX40" fmla="*/ 1977015 w 2608360"/>
                <a:gd name="connsiteY40" fmla="*/ 293879 h 2476692"/>
                <a:gd name="connsiteX41" fmla="*/ 2002415 w 2608360"/>
                <a:gd name="connsiteY41" fmla="*/ 297054 h 2476692"/>
                <a:gd name="connsiteX42" fmla="*/ 2002415 w 2608360"/>
                <a:gd name="connsiteY42" fmla="*/ 344679 h 2476692"/>
                <a:gd name="connsiteX43" fmla="*/ 1998496 w 2608360"/>
                <a:gd name="connsiteY43" fmla="*/ 359366 h 2476692"/>
                <a:gd name="connsiteX44" fmla="*/ 1997699 w 2608360"/>
                <a:gd name="connsiteY44" fmla="*/ 359161 h 2476692"/>
                <a:gd name="connsiteX45" fmla="*/ 1996509 w 2608360"/>
                <a:gd name="connsiteY45" fmla="*/ 357863 h 2476692"/>
                <a:gd name="connsiteX46" fmla="*/ 1996082 w 2608360"/>
                <a:gd name="connsiteY46" fmla="*/ 354482 h 2476692"/>
                <a:gd name="connsiteX47" fmla="*/ 1996065 w 2608360"/>
                <a:gd name="connsiteY47" fmla="*/ 357379 h 2476692"/>
                <a:gd name="connsiteX48" fmla="*/ 1996509 w 2608360"/>
                <a:gd name="connsiteY48" fmla="*/ 357863 h 2476692"/>
                <a:gd name="connsiteX49" fmla="*/ 1996639 w 2608360"/>
                <a:gd name="connsiteY49" fmla="*/ 358889 h 2476692"/>
                <a:gd name="connsiteX50" fmla="*/ 1997699 w 2608360"/>
                <a:gd name="connsiteY50" fmla="*/ 359161 h 2476692"/>
                <a:gd name="connsiteX51" fmla="*/ 2030990 w 2608360"/>
                <a:gd name="connsiteY51" fmla="*/ 395479 h 2476692"/>
                <a:gd name="connsiteX52" fmla="*/ 2059565 w 2608360"/>
                <a:gd name="connsiteY52" fmla="*/ 385954 h 2476692"/>
                <a:gd name="connsiteX53" fmla="*/ 2069090 w 2608360"/>
                <a:gd name="connsiteY53" fmla="*/ 379604 h 2476692"/>
                <a:gd name="connsiteX54" fmla="*/ 2078615 w 2608360"/>
                <a:gd name="connsiteY54" fmla="*/ 376429 h 2476692"/>
                <a:gd name="connsiteX55" fmla="*/ 2116715 w 2608360"/>
                <a:gd name="connsiteY55" fmla="*/ 379604 h 2476692"/>
                <a:gd name="connsiteX56" fmla="*/ 2119890 w 2608360"/>
                <a:gd name="connsiteY56" fmla="*/ 411354 h 2476692"/>
                <a:gd name="connsiteX57" fmla="*/ 2129415 w 2608360"/>
                <a:gd name="connsiteY57" fmla="*/ 443104 h 2476692"/>
                <a:gd name="connsiteX58" fmla="*/ 2132590 w 2608360"/>
                <a:gd name="connsiteY58" fmla="*/ 452629 h 2476692"/>
                <a:gd name="connsiteX59" fmla="*/ 2135765 w 2608360"/>
                <a:gd name="connsiteY59" fmla="*/ 462154 h 2476692"/>
                <a:gd name="connsiteX60" fmla="*/ 2142115 w 2608360"/>
                <a:gd name="connsiteY60" fmla="*/ 493904 h 2476692"/>
                <a:gd name="connsiteX61" fmla="*/ 2138940 w 2608360"/>
                <a:gd name="connsiteY61" fmla="*/ 532004 h 2476692"/>
                <a:gd name="connsiteX62" fmla="*/ 2110365 w 2608360"/>
                <a:gd name="connsiteY62" fmla="*/ 547879 h 2476692"/>
                <a:gd name="connsiteX63" fmla="*/ 2097665 w 2608360"/>
                <a:gd name="connsiteY63" fmla="*/ 557404 h 2476692"/>
                <a:gd name="connsiteX64" fmla="*/ 2094490 w 2608360"/>
                <a:gd name="connsiteY64" fmla="*/ 582804 h 2476692"/>
                <a:gd name="connsiteX65" fmla="*/ 2104015 w 2608360"/>
                <a:gd name="connsiteY65" fmla="*/ 608204 h 2476692"/>
                <a:gd name="connsiteX66" fmla="*/ 2110365 w 2608360"/>
                <a:gd name="connsiteY66" fmla="*/ 617729 h 2476692"/>
                <a:gd name="connsiteX67" fmla="*/ 2116715 w 2608360"/>
                <a:gd name="connsiteY67" fmla="*/ 643129 h 2476692"/>
                <a:gd name="connsiteX68" fmla="*/ 2119890 w 2608360"/>
                <a:gd name="connsiteY68" fmla="*/ 719329 h 2476692"/>
                <a:gd name="connsiteX69" fmla="*/ 2123065 w 2608360"/>
                <a:gd name="connsiteY69" fmla="*/ 728854 h 2476692"/>
                <a:gd name="connsiteX70" fmla="*/ 2142115 w 2608360"/>
                <a:gd name="connsiteY70" fmla="*/ 741554 h 2476692"/>
                <a:gd name="connsiteX71" fmla="*/ 2161165 w 2608360"/>
                <a:gd name="connsiteY71" fmla="*/ 738379 h 2476692"/>
                <a:gd name="connsiteX72" fmla="*/ 2170690 w 2608360"/>
                <a:gd name="connsiteY72" fmla="*/ 732029 h 2476692"/>
                <a:gd name="connsiteX73" fmla="*/ 2183390 w 2608360"/>
                <a:gd name="connsiteY73" fmla="*/ 725679 h 2476692"/>
                <a:gd name="connsiteX74" fmla="*/ 2192915 w 2608360"/>
                <a:gd name="connsiteY74" fmla="*/ 719329 h 2476692"/>
                <a:gd name="connsiteX75" fmla="*/ 2211965 w 2608360"/>
                <a:gd name="connsiteY75" fmla="*/ 712979 h 2476692"/>
                <a:gd name="connsiteX76" fmla="*/ 2259590 w 2608360"/>
                <a:gd name="connsiteY76" fmla="*/ 716154 h 2476692"/>
                <a:gd name="connsiteX77" fmla="*/ 2262765 w 2608360"/>
                <a:gd name="connsiteY77" fmla="*/ 732029 h 2476692"/>
                <a:gd name="connsiteX78" fmla="*/ 2272290 w 2608360"/>
                <a:gd name="connsiteY78" fmla="*/ 751079 h 2476692"/>
                <a:gd name="connsiteX79" fmla="*/ 2297690 w 2608360"/>
                <a:gd name="connsiteY79" fmla="*/ 754254 h 2476692"/>
                <a:gd name="connsiteX80" fmla="*/ 2329440 w 2608360"/>
                <a:gd name="connsiteY80" fmla="*/ 738379 h 2476692"/>
                <a:gd name="connsiteX81" fmla="*/ 2338965 w 2608360"/>
                <a:gd name="connsiteY81" fmla="*/ 735204 h 2476692"/>
                <a:gd name="connsiteX82" fmla="*/ 2367540 w 2608360"/>
                <a:gd name="connsiteY82" fmla="*/ 722504 h 2476692"/>
                <a:gd name="connsiteX83" fmla="*/ 2377065 w 2608360"/>
                <a:gd name="connsiteY83" fmla="*/ 719329 h 2476692"/>
                <a:gd name="connsiteX84" fmla="*/ 2391809 w 2608360"/>
                <a:gd name="connsiteY84" fmla="*/ 719329 h 2476692"/>
                <a:gd name="connsiteX85" fmla="*/ 2591378 w 2608360"/>
                <a:gd name="connsiteY85" fmla="*/ 1438467 h 2476692"/>
                <a:gd name="connsiteX86" fmla="*/ 2574709 w 2608360"/>
                <a:gd name="connsiteY86" fmla="*/ 1486092 h 2476692"/>
                <a:gd name="connsiteX87" fmla="*/ 2608046 w 2608360"/>
                <a:gd name="connsiteY87" fmla="*/ 1586104 h 2476692"/>
                <a:gd name="connsiteX88" fmla="*/ 2598522 w 2608360"/>
                <a:gd name="connsiteY88" fmla="*/ 1619442 h 2476692"/>
                <a:gd name="connsiteX89" fmla="*/ 2593759 w 2608360"/>
                <a:gd name="connsiteY89" fmla="*/ 1712310 h 2476692"/>
                <a:gd name="connsiteX90" fmla="*/ 2577090 w 2608360"/>
                <a:gd name="connsiteY90" fmla="*/ 1802798 h 2476692"/>
                <a:gd name="connsiteX91" fmla="*/ 2512796 w 2608360"/>
                <a:gd name="connsiteY91" fmla="*/ 1824229 h 2476692"/>
                <a:gd name="connsiteX92" fmla="*/ 2558040 w 2608360"/>
                <a:gd name="connsiteY92" fmla="*/ 1883760 h 2476692"/>
                <a:gd name="connsiteX93" fmla="*/ 2555659 w 2608360"/>
                <a:gd name="connsiteY93" fmla="*/ 1909954 h 2476692"/>
                <a:gd name="connsiteX94" fmla="*/ 2527084 w 2608360"/>
                <a:gd name="connsiteY94" fmla="*/ 1995679 h 2476692"/>
                <a:gd name="connsiteX95" fmla="*/ 2503271 w 2608360"/>
                <a:gd name="connsiteY95" fmla="*/ 1986154 h 2476692"/>
                <a:gd name="connsiteX96" fmla="*/ 2472315 w 2608360"/>
                <a:gd name="connsiteY96" fmla="*/ 1971867 h 2476692"/>
                <a:gd name="connsiteX97" fmla="*/ 2436596 w 2608360"/>
                <a:gd name="connsiteY97" fmla="*/ 1986154 h 2476692"/>
                <a:gd name="connsiteX98" fmla="*/ 2450884 w 2608360"/>
                <a:gd name="connsiteY98" fmla="*/ 2017110 h 2476692"/>
                <a:gd name="connsiteX99" fmla="*/ 2465171 w 2608360"/>
                <a:gd name="connsiteY99" fmla="*/ 2057592 h 2476692"/>
                <a:gd name="connsiteX100" fmla="*/ 2455646 w 2608360"/>
                <a:gd name="connsiteY100" fmla="*/ 2121885 h 2476692"/>
                <a:gd name="connsiteX101" fmla="*/ 2410403 w 2608360"/>
                <a:gd name="connsiteY101" fmla="*/ 2152842 h 2476692"/>
                <a:gd name="connsiteX102" fmla="*/ 2458028 w 2608360"/>
                <a:gd name="connsiteY102" fmla="*/ 2186180 h 2476692"/>
                <a:gd name="connsiteX103" fmla="*/ 2448503 w 2608360"/>
                <a:gd name="connsiteY103" fmla="*/ 2226660 h 2476692"/>
                <a:gd name="connsiteX104" fmla="*/ 2410403 w 2608360"/>
                <a:gd name="connsiteY104" fmla="*/ 2262379 h 2476692"/>
                <a:gd name="connsiteX105" fmla="*/ 2388971 w 2608360"/>
                <a:gd name="connsiteY105" fmla="*/ 2331435 h 2476692"/>
                <a:gd name="connsiteX106" fmla="*/ 2405640 w 2608360"/>
                <a:gd name="connsiteY106" fmla="*/ 2381442 h 2476692"/>
                <a:gd name="connsiteX107" fmla="*/ 2391353 w 2608360"/>
                <a:gd name="connsiteY107" fmla="*/ 2414779 h 2476692"/>
                <a:gd name="connsiteX108" fmla="*/ 2334203 w 2608360"/>
                <a:gd name="connsiteY108" fmla="*/ 2433829 h 2476692"/>
                <a:gd name="connsiteX109" fmla="*/ 2305628 w 2608360"/>
                <a:gd name="connsiteY109" fmla="*/ 2443354 h 2476692"/>
                <a:gd name="connsiteX110" fmla="*/ 2296103 w 2608360"/>
                <a:gd name="connsiteY110" fmla="*/ 2457642 h 2476692"/>
                <a:gd name="connsiteX111" fmla="*/ 2262765 w 2608360"/>
                <a:gd name="connsiteY111" fmla="*/ 2462404 h 2476692"/>
                <a:gd name="connsiteX112" fmla="*/ 2229428 w 2608360"/>
                <a:gd name="connsiteY112" fmla="*/ 2438592 h 2476692"/>
                <a:gd name="connsiteX113" fmla="*/ 2215140 w 2608360"/>
                <a:gd name="connsiteY113" fmla="*/ 2433829 h 2476692"/>
                <a:gd name="connsiteX114" fmla="*/ 2205615 w 2608360"/>
                <a:gd name="connsiteY114" fmla="*/ 2457642 h 2476692"/>
                <a:gd name="connsiteX115" fmla="*/ 2191328 w 2608360"/>
                <a:gd name="connsiteY115" fmla="*/ 2467167 h 2476692"/>
                <a:gd name="connsiteX116" fmla="*/ 2153228 w 2608360"/>
                <a:gd name="connsiteY116" fmla="*/ 2476692 h 2476692"/>
                <a:gd name="connsiteX117" fmla="*/ 2134178 w 2608360"/>
                <a:gd name="connsiteY117" fmla="*/ 2448117 h 2476692"/>
                <a:gd name="connsiteX118" fmla="*/ 2124653 w 2608360"/>
                <a:gd name="connsiteY118" fmla="*/ 2433829 h 2476692"/>
                <a:gd name="connsiteX119" fmla="*/ 2119890 w 2608360"/>
                <a:gd name="connsiteY119" fmla="*/ 2352867 h 2476692"/>
                <a:gd name="connsiteX120" fmla="*/ 2124653 w 2608360"/>
                <a:gd name="connsiteY120" fmla="*/ 2338579 h 2476692"/>
                <a:gd name="connsiteX121" fmla="*/ 2167515 w 2608360"/>
                <a:gd name="connsiteY121" fmla="*/ 2290954 h 2476692"/>
                <a:gd name="connsiteX122" fmla="*/ 2177040 w 2608360"/>
                <a:gd name="connsiteY122" fmla="*/ 2276667 h 2476692"/>
                <a:gd name="connsiteX123" fmla="*/ 2153228 w 2608360"/>
                <a:gd name="connsiteY123" fmla="*/ 2248092 h 2476692"/>
                <a:gd name="connsiteX124" fmla="*/ 2134178 w 2608360"/>
                <a:gd name="connsiteY124" fmla="*/ 2238567 h 2476692"/>
                <a:gd name="connsiteX125" fmla="*/ 2129415 w 2608360"/>
                <a:gd name="connsiteY125" fmla="*/ 2214754 h 2476692"/>
                <a:gd name="connsiteX126" fmla="*/ 2148465 w 2608360"/>
                <a:gd name="connsiteY126" fmla="*/ 2186179 h 2476692"/>
                <a:gd name="connsiteX127" fmla="*/ 2167515 w 2608360"/>
                <a:gd name="connsiteY127" fmla="*/ 2190942 h 2476692"/>
                <a:gd name="connsiteX128" fmla="*/ 2229428 w 2608360"/>
                <a:gd name="connsiteY128" fmla="*/ 2186179 h 2476692"/>
                <a:gd name="connsiteX129" fmla="*/ 2234190 w 2608360"/>
                <a:gd name="connsiteY129" fmla="*/ 2171892 h 2476692"/>
                <a:gd name="connsiteX130" fmla="*/ 2224665 w 2608360"/>
                <a:gd name="connsiteY130" fmla="*/ 2143317 h 2476692"/>
                <a:gd name="connsiteX131" fmla="*/ 2210378 w 2608360"/>
                <a:gd name="connsiteY131" fmla="*/ 2129029 h 2476692"/>
                <a:gd name="connsiteX132" fmla="*/ 2191328 w 2608360"/>
                <a:gd name="connsiteY132" fmla="*/ 2119504 h 2476692"/>
                <a:gd name="connsiteX133" fmla="*/ 2162753 w 2608360"/>
                <a:gd name="connsiteY133" fmla="*/ 2114742 h 2476692"/>
                <a:gd name="connsiteX134" fmla="*/ 2157990 w 2608360"/>
                <a:gd name="connsiteY134" fmla="*/ 2095692 h 2476692"/>
                <a:gd name="connsiteX135" fmla="*/ 2181803 w 2608360"/>
                <a:gd name="connsiteY135" fmla="*/ 2062354 h 2476692"/>
                <a:gd name="connsiteX136" fmla="*/ 2191328 w 2608360"/>
                <a:gd name="connsiteY136" fmla="*/ 2048067 h 2476692"/>
                <a:gd name="connsiteX137" fmla="*/ 2196090 w 2608360"/>
                <a:gd name="connsiteY137" fmla="*/ 1986154 h 2476692"/>
                <a:gd name="connsiteX138" fmla="*/ 2186565 w 2608360"/>
                <a:gd name="connsiteY138" fmla="*/ 1957579 h 2476692"/>
                <a:gd name="connsiteX139" fmla="*/ 2162753 w 2608360"/>
                <a:gd name="connsiteY139" fmla="*/ 1952817 h 2476692"/>
                <a:gd name="connsiteX140" fmla="*/ 2134178 w 2608360"/>
                <a:gd name="connsiteY140" fmla="*/ 1971867 h 2476692"/>
                <a:gd name="connsiteX141" fmla="*/ 2124653 w 2608360"/>
                <a:gd name="connsiteY141" fmla="*/ 1986154 h 2476692"/>
                <a:gd name="connsiteX142" fmla="*/ 2105603 w 2608360"/>
                <a:gd name="connsiteY142" fmla="*/ 2005204 h 2476692"/>
                <a:gd name="connsiteX143" fmla="*/ 2072265 w 2608360"/>
                <a:gd name="connsiteY143" fmla="*/ 2038542 h 2476692"/>
                <a:gd name="connsiteX144" fmla="*/ 2057978 w 2608360"/>
                <a:gd name="connsiteY144" fmla="*/ 2048067 h 2476692"/>
                <a:gd name="connsiteX145" fmla="*/ 2029403 w 2608360"/>
                <a:gd name="connsiteY145" fmla="*/ 2052829 h 2476692"/>
                <a:gd name="connsiteX146" fmla="*/ 2019878 w 2608360"/>
                <a:gd name="connsiteY146" fmla="*/ 2009967 h 2476692"/>
                <a:gd name="connsiteX147" fmla="*/ 1991303 w 2608360"/>
                <a:gd name="connsiteY147" fmla="*/ 1986154 h 2476692"/>
                <a:gd name="connsiteX148" fmla="*/ 1962728 w 2608360"/>
                <a:gd name="connsiteY148" fmla="*/ 1976629 h 2476692"/>
                <a:gd name="connsiteX149" fmla="*/ 1948440 w 2608360"/>
                <a:gd name="connsiteY149" fmla="*/ 1990917 h 2476692"/>
                <a:gd name="connsiteX150" fmla="*/ 1910340 w 2608360"/>
                <a:gd name="connsiteY150" fmla="*/ 2000442 h 2476692"/>
                <a:gd name="connsiteX151" fmla="*/ 1891290 w 2608360"/>
                <a:gd name="connsiteY151" fmla="*/ 1971867 h 2476692"/>
                <a:gd name="connsiteX152" fmla="*/ 1886528 w 2608360"/>
                <a:gd name="connsiteY152" fmla="*/ 1952817 h 2476692"/>
                <a:gd name="connsiteX153" fmla="*/ 1881765 w 2608360"/>
                <a:gd name="connsiteY153" fmla="*/ 1929004 h 2476692"/>
                <a:gd name="connsiteX154" fmla="*/ 1877003 w 2608360"/>
                <a:gd name="connsiteY154" fmla="*/ 1886142 h 2476692"/>
                <a:gd name="connsiteX155" fmla="*/ 1862715 w 2608360"/>
                <a:gd name="connsiteY155" fmla="*/ 1871854 h 2476692"/>
                <a:gd name="connsiteX156" fmla="*/ 1853190 w 2608360"/>
                <a:gd name="connsiteY156" fmla="*/ 1857567 h 2476692"/>
                <a:gd name="connsiteX157" fmla="*/ 1824615 w 2608360"/>
                <a:gd name="connsiteY157" fmla="*/ 1838517 h 2476692"/>
                <a:gd name="connsiteX158" fmla="*/ 1819853 w 2608360"/>
                <a:gd name="connsiteY158" fmla="*/ 1819467 h 2476692"/>
                <a:gd name="connsiteX159" fmla="*/ 1834140 w 2608360"/>
                <a:gd name="connsiteY159" fmla="*/ 1814704 h 2476692"/>
                <a:gd name="connsiteX160" fmla="*/ 1848428 w 2608360"/>
                <a:gd name="connsiteY160" fmla="*/ 1809942 h 2476692"/>
                <a:gd name="connsiteX161" fmla="*/ 1862715 w 2608360"/>
                <a:gd name="connsiteY161" fmla="*/ 1805179 h 2476692"/>
                <a:gd name="connsiteX162" fmla="*/ 1891290 w 2608360"/>
                <a:gd name="connsiteY162" fmla="*/ 1795654 h 2476692"/>
                <a:gd name="connsiteX163" fmla="*/ 1896053 w 2608360"/>
                <a:gd name="connsiteY163" fmla="*/ 1781367 h 2476692"/>
                <a:gd name="connsiteX164" fmla="*/ 1900815 w 2608360"/>
                <a:gd name="connsiteY164" fmla="*/ 1762317 h 2476692"/>
                <a:gd name="connsiteX165" fmla="*/ 1891290 w 2608360"/>
                <a:gd name="connsiteY165" fmla="*/ 1676592 h 2476692"/>
                <a:gd name="connsiteX166" fmla="*/ 1719840 w 2608360"/>
                <a:gd name="connsiteY166" fmla="*/ 1671829 h 2476692"/>
                <a:gd name="connsiteX167" fmla="*/ 1710315 w 2608360"/>
                <a:gd name="connsiteY167" fmla="*/ 1690879 h 2476692"/>
                <a:gd name="connsiteX168" fmla="*/ 1696028 w 2608360"/>
                <a:gd name="connsiteY168" fmla="*/ 1709929 h 2476692"/>
                <a:gd name="connsiteX169" fmla="*/ 1681740 w 2608360"/>
                <a:gd name="connsiteY169" fmla="*/ 1724217 h 2476692"/>
                <a:gd name="connsiteX170" fmla="*/ 1676978 w 2608360"/>
                <a:gd name="connsiteY170" fmla="*/ 1738504 h 2476692"/>
                <a:gd name="connsiteX171" fmla="*/ 1667453 w 2608360"/>
                <a:gd name="connsiteY171" fmla="*/ 1762317 h 2476692"/>
                <a:gd name="connsiteX172" fmla="*/ 1643640 w 2608360"/>
                <a:gd name="connsiteY172" fmla="*/ 1795654 h 2476692"/>
                <a:gd name="connsiteX173" fmla="*/ 1291215 w 2608360"/>
                <a:gd name="connsiteY173" fmla="*/ 1938529 h 2476692"/>
                <a:gd name="connsiteX174" fmla="*/ 1162628 w 2608360"/>
                <a:gd name="connsiteY174" fmla="*/ 1833754 h 2476692"/>
                <a:gd name="connsiteX175" fmla="*/ 1091190 w 2608360"/>
                <a:gd name="connsiteY175" fmla="*/ 1843279 h 2476692"/>
                <a:gd name="connsiteX176" fmla="*/ 1014990 w 2608360"/>
                <a:gd name="connsiteY176" fmla="*/ 1786129 h 2476692"/>
                <a:gd name="connsiteX177" fmla="*/ 1024515 w 2608360"/>
                <a:gd name="connsiteY177" fmla="*/ 1733742 h 2476692"/>
                <a:gd name="connsiteX178" fmla="*/ 957840 w 2608360"/>
                <a:gd name="connsiteY178" fmla="*/ 1719454 h 2476692"/>
                <a:gd name="connsiteX179" fmla="*/ 767340 w 2608360"/>
                <a:gd name="connsiteY179" fmla="*/ 1671829 h 2476692"/>
                <a:gd name="connsiteX180" fmla="*/ 743528 w 2608360"/>
                <a:gd name="connsiteY180" fmla="*/ 1681354 h 2476692"/>
                <a:gd name="connsiteX181" fmla="*/ 729240 w 2608360"/>
                <a:gd name="connsiteY181" fmla="*/ 1686117 h 2476692"/>
                <a:gd name="connsiteX182" fmla="*/ 700665 w 2608360"/>
                <a:gd name="connsiteY182" fmla="*/ 1667067 h 2476692"/>
                <a:gd name="connsiteX183" fmla="*/ 657803 w 2608360"/>
                <a:gd name="connsiteY183" fmla="*/ 1624204 h 2476692"/>
                <a:gd name="connsiteX184" fmla="*/ 605415 w 2608360"/>
                <a:gd name="connsiteY184" fmla="*/ 1638492 h 2476692"/>
                <a:gd name="connsiteX185" fmla="*/ 533978 w 2608360"/>
                <a:gd name="connsiteY185" fmla="*/ 1543242 h 2476692"/>
                <a:gd name="connsiteX186" fmla="*/ 548265 w 2608360"/>
                <a:gd name="connsiteY186" fmla="*/ 1528954 h 2476692"/>
                <a:gd name="connsiteX187" fmla="*/ 567315 w 2608360"/>
                <a:gd name="connsiteY187" fmla="*/ 1514667 h 2476692"/>
                <a:gd name="connsiteX188" fmla="*/ 581603 w 2608360"/>
                <a:gd name="connsiteY188" fmla="*/ 1476567 h 2476692"/>
                <a:gd name="connsiteX189" fmla="*/ 567315 w 2608360"/>
                <a:gd name="connsiteY189" fmla="*/ 1471804 h 2476692"/>
                <a:gd name="connsiteX190" fmla="*/ 543503 w 2608360"/>
                <a:gd name="connsiteY190" fmla="*/ 1462279 h 2476692"/>
                <a:gd name="connsiteX191" fmla="*/ 562553 w 2608360"/>
                <a:gd name="connsiteY191" fmla="*/ 1428942 h 2476692"/>
                <a:gd name="connsiteX192" fmla="*/ 567315 w 2608360"/>
                <a:gd name="connsiteY192" fmla="*/ 1414654 h 2476692"/>
                <a:gd name="connsiteX193" fmla="*/ 586365 w 2608360"/>
                <a:gd name="connsiteY193" fmla="*/ 1386079 h 2476692"/>
                <a:gd name="connsiteX194" fmla="*/ 619703 w 2608360"/>
                <a:gd name="connsiteY194" fmla="*/ 1362267 h 2476692"/>
                <a:gd name="connsiteX195" fmla="*/ 633990 w 2608360"/>
                <a:gd name="connsiteY195" fmla="*/ 1343217 h 2476692"/>
                <a:gd name="connsiteX196" fmla="*/ 662565 w 2608360"/>
                <a:gd name="connsiteY196" fmla="*/ 1319404 h 2476692"/>
                <a:gd name="connsiteX197" fmla="*/ 667328 w 2608360"/>
                <a:gd name="connsiteY197" fmla="*/ 1281304 h 2476692"/>
                <a:gd name="connsiteX198" fmla="*/ 638753 w 2608360"/>
                <a:gd name="connsiteY198" fmla="*/ 1267017 h 2476692"/>
                <a:gd name="connsiteX199" fmla="*/ 633990 w 2608360"/>
                <a:gd name="connsiteY199" fmla="*/ 1252729 h 2476692"/>
                <a:gd name="connsiteX200" fmla="*/ 643515 w 2608360"/>
                <a:gd name="connsiteY200" fmla="*/ 1238442 h 2476692"/>
                <a:gd name="connsiteX201" fmla="*/ 672090 w 2608360"/>
                <a:gd name="connsiteY201" fmla="*/ 1219392 h 2476692"/>
                <a:gd name="connsiteX202" fmla="*/ 672090 w 2608360"/>
                <a:gd name="connsiteY202" fmla="*/ 1162242 h 2476692"/>
                <a:gd name="connsiteX203" fmla="*/ 662565 w 2608360"/>
                <a:gd name="connsiteY203" fmla="*/ 1147954 h 2476692"/>
                <a:gd name="connsiteX204" fmla="*/ 619703 w 2608360"/>
                <a:gd name="connsiteY204" fmla="*/ 1167004 h 2476692"/>
                <a:gd name="connsiteX205" fmla="*/ 610178 w 2608360"/>
                <a:gd name="connsiteY205" fmla="*/ 1152717 h 2476692"/>
                <a:gd name="connsiteX206" fmla="*/ 605415 w 2608360"/>
                <a:gd name="connsiteY206" fmla="*/ 1105092 h 2476692"/>
                <a:gd name="connsiteX207" fmla="*/ 595890 w 2608360"/>
                <a:gd name="connsiteY207" fmla="*/ 1086042 h 2476692"/>
                <a:gd name="connsiteX208" fmla="*/ 576840 w 2608360"/>
                <a:gd name="connsiteY208" fmla="*/ 1057467 h 2476692"/>
                <a:gd name="connsiteX209" fmla="*/ 572078 w 2608360"/>
                <a:gd name="connsiteY209" fmla="*/ 1043179 h 2476692"/>
                <a:gd name="connsiteX210" fmla="*/ 562553 w 2608360"/>
                <a:gd name="connsiteY210" fmla="*/ 962217 h 2476692"/>
                <a:gd name="connsiteX211" fmla="*/ 462540 w 2608360"/>
                <a:gd name="connsiteY211" fmla="*/ 1043179 h 2476692"/>
                <a:gd name="connsiteX212" fmla="*/ 433965 w 2608360"/>
                <a:gd name="connsiteY212" fmla="*/ 952692 h 2476692"/>
                <a:gd name="connsiteX213" fmla="*/ 343478 w 2608360"/>
                <a:gd name="connsiteY213" fmla="*/ 862204 h 2476692"/>
                <a:gd name="connsiteX214" fmla="*/ 262515 w 2608360"/>
                <a:gd name="connsiteY214" fmla="*/ 871729 h 2476692"/>
                <a:gd name="connsiteX215" fmla="*/ 205365 w 2608360"/>
                <a:gd name="connsiteY215" fmla="*/ 919354 h 2476692"/>
                <a:gd name="connsiteX216" fmla="*/ 95828 w 2608360"/>
                <a:gd name="connsiteY216" fmla="*/ 986029 h 2476692"/>
                <a:gd name="connsiteX217" fmla="*/ 24390 w 2608360"/>
                <a:gd name="connsiteY217" fmla="*/ 986029 h 2476692"/>
                <a:gd name="connsiteX218" fmla="*/ 14865 w 2608360"/>
                <a:gd name="connsiteY218" fmla="*/ 947929 h 2476692"/>
                <a:gd name="connsiteX219" fmla="*/ 578 w 2608360"/>
                <a:gd name="connsiteY219" fmla="*/ 933642 h 2476692"/>
                <a:gd name="connsiteX220" fmla="*/ 5340 w 2608360"/>
                <a:gd name="connsiteY220" fmla="*/ 890779 h 2476692"/>
                <a:gd name="connsiteX221" fmla="*/ 57728 w 2608360"/>
                <a:gd name="connsiteY221" fmla="*/ 781242 h 2476692"/>
                <a:gd name="connsiteX222" fmla="*/ 238703 w 2608360"/>
                <a:gd name="connsiteY222" fmla="*/ 543117 h 2476692"/>
                <a:gd name="connsiteX223" fmla="*/ 333953 w 2608360"/>
                <a:gd name="connsiteY223" fmla="*/ 543117 h 2476692"/>
                <a:gd name="connsiteX224" fmla="*/ 429203 w 2608360"/>
                <a:gd name="connsiteY224" fmla="*/ 524067 h 2476692"/>
                <a:gd name="connsiteX225" fmla="*/ 467303 w 2608360"/>
                <a:gd name="connsiteY225" fmla="*/ 538354 h 2476692"/>
                <a:gd name="connsiteX226" fmla="*/ 481590 w 2608360"/>
                <a:gd name="connsiteY226" fmla="*/ 528829 h 2476692"/>
                <a:gd name="connsiteX227" fmla="*/ 486353 w 2608360"/>
                <a:gd name="connsiteY227" fmla="*/ 514542 h 2476692"/>
                <a:gd name="connsiteX228" fmla="*/ 491115 w 2608360"/>
                <a:gd name="connsiteY228" fmla="*/ 466917 h 2476692"/>
                <a:gd name="connsiteX229" fmla="*/ 481590 w 2608360"/>
                <a:gd name="connsiteY229" fmla="*/ 438342 h 2476692"/>
                <a:gd name="connsiteX230" fmla="*/ 462540 w 2608360"/>
                <a:gd name="connsiteY230" fmla="*/ 409767 h 2476692"/>
                <a:gd name="connsiteX231" fmla="*/ 472065 w 2608360"/>
                <a:gd name="connsiteY231" fmla="*/ 347854 h 2476692"/>
                <a:gd name="connsiteX232" fmla="*/ 505403 w 2608360"/>
                <a:gd name="connsiteY232" fmla="*/ 295467 h 2476692"/>
                <a:gd name="connsiteX233" fmla="*/ 514928 w 2608360"/>
                <a:gd name="connsiteY233" fmla="*/ 281179 h 2476692"/>
                <a:gd name="connsiteX234" fmla="*/ 519690 w 2608360"/>
                <a:gd name="connsiteY234" fmla="*/ 257367 h 2476692"/>
                <a:gd name="connsiteX235" fmla="*/ 529215 w 2608360"/>
                <a:gd name="connsiteY235" fmla="*/ 243079 h 2476692"/>
                <a:gd name="connsiteX236" fmla="*/ 538740 w 2608360"/>
                <a:gd name="connsiteY236" fmla="*/ 204979 h 2476692"/>
                <a:gd name="connsiteX237" fmla="*/ 548265 w 2608360"/>
                <a:gd name="connsiteY237" fmla="*/ 185929 h 2476692"/>
                <a:gd name="connsiteX238" fmla="*/ 553028 w 2608360"/>
                <a:gd name="connsiteY238" fmla="*/ 171642 h 2476692"/>
                <a:gd name="connsiteX239" fmla="*/ 562553 w 2608360"/>
                <a:gd name="connsiteY239" fmla="*/ 157354 h 2476692"/>
                <a:gd name="connsiteX240" fmla="*/ 567315 w 2608360"/>
                <a:gd name="connsiteY240" fmla="*/ 133542 h 2476692"/>
                <a:gd name="connsiteX241" fmla="*/ 576840 w 2608360"/>
                <a:gd name="connsiteY241" fmla="*/ 100204 h 2476692"/>
                <a:gd name="connsiteX242" fmla="*/ 581603 w 2608360"/>
                <a:gd name="connsiteY242" fmla="*/ 81154 h 2476692"/>
                <a:gd name="connsiteX243" fmla="*/ 595890 w 2608360"/>
                <a:gd name="connsiteY243" fmla="*/ 33529 h 2476692"/>
                <a:gd name="connsiteX244" fmla="*/ 619703 w 2608360"/>
                <a:gd name="connsiteY244" fmla="*/ 192 h 2476692"/>
                <a:gd name="connsiteX245" fmla="*/ 621543 w 2608360"/>
                <a:gd name="connsiteY245" fmla="*/ 0 h 2476692"/>
                <a:gd name="connsiteX0" fmla="*/ 621543 w 2609747"/>
                <a:gd name="connsiteY0" fmla="*/ 0 h 2476692"/>
                <a:gd name="connsiteX1" fmla="*/ 637165 w 2609747"/>
                <a:gd name="connsiteY1" fmla="*/ 20829 h 2476692"/>
                <a:gd name="connsiteX2" fmla="*/ 643515 w 2609747"/>
                <a:gd name="connsiteY2" fmla="*/ 30354 h 2476692"/>
                <a:gd name="connsiteX3" fmla="*/ 646690 w 2609747"/>
                <a:gd name="connsiteY3" fmla="*/ 74804 h 2476692"/>
                <a:gd name="connsiteX4" fmla="*/ 656215 w 2609747"/>
                <a:gd name="connsiteY4" fmla="*/ 100204 h 2476692"/>
                <a:gd name="connsiteX5" fmla="*/ 757815 w 2609747"/>
                <a:gd name="connsiteY5" fmla="*/ 119254 h 2476692"/>
                <a:gd name="connsiteX6" fmla="*/ 780040 w 2609747"/>
                <a:gd name="connsiteY6" fmla="*/ 135129 h 2476692"/>
                <a:gd name="connsiteX7" fmla="*/ 789565 w 2609747"/>
                <a:gd name="connsiteY7" fmla="*/ 138304 h 2476692"/>
                <a:gd name="connsiteX8" fmla="*/ 808615 w 2609747"/>
                <a:gd name="connsiteY8" fmla="*/ 154179 h 2476692"/>
                <a:gd name="connsiteX9" fmla="*/ 824490 w 2609747"/>
                <a:gd name="connsiteY9" fmla="*/ 176404 h 2476692"/>
                <a:gd name="connsiteX10" fmla="*/ 827665 w 2609747"/>
                <a:gd name="connsiteY10" fmla="*/ 185929 h 2476692"/>
                <a:gd name="connsiteX11" fmla="*/ 853065 w 2609747"/>
                <a:gd name="connsiteY11" fmla="*/ 201804 h 2476692"/>
                <a:gd name="connsiteX12" fmla="*/ 929265 w 2609747"/>
                <a:gd name="connsiteY12" fmla="*/ 220854 h 2476692"/>
                <a:gd name="connsiteX13" fmla="*/ 957840 w 2609747"/>
                <a:gd name="connsiteY13" fmla="*/ 198629 h 2476692"/>
                <a:gd name="connsiteX14" fmla="*/ 980065 w 2609747"/>
                <a:gd name="connsiteY14" fmla="*/ 182754 h 2476692"/>
                <a:gd name="connsiteX15" fmla="*/ 989590 w 2609747"/>
                <a:gd name="connsiteY15" fmla="*/ 176404 h 2476692"/>
                <a:gd name="connsiteX16" fmla="*/ 1011815 w 2609747"/>
                <a:gd name="connsiteY16" fmla="*/ 173229 h 2476692"/>
                <a:gd name="connsiteX17" fmla="*/ 1027690 w 2609747"/>
                <a:gd name="connsiteY17" fmla="*/ 166879 h 2476692"/>
                <a:gd name="connsiteX18" fmla="*/ 1094365 w 2609747"/>
                <a:gd name="connsiteY18" fmla="*/ 220854 h 2476692"/>
                <a:gd name="connsiteX19" fmla="*/ 1186440 w 2609747"/>
                <a:gd name="connsiteY19" fmla="*/ 217679 h 2476692"/>
                <a:gd name="connsiteX20" fmla="*/ 1278515 w 2609747"/>
                <a:gd name="connsiteY20" fmla="*/ 170054 h 2476692"/>
                <a:gd name="connsiteX21" fmla="*/ 1326140 w 2609747"/>
                <a:gd name="connsiteY21" fmla="*/ 74804 h 2476692"/>
                <a:gd name="connsiteX22" fmla="*/ 1373765 w 2609747"/>
                <a:gd name="connsiteY22" fmla="*/ 122429 h 2476692"/>
                <a:gd name="connsiteX23" fmla="*/ 1459490 w 2609747"/>
                <a:gd name="connsiteY23" fmla="*/ 144654 h 2476692"/>
                <a:gd name="connsiteX24" fmla="*/ 1589665 w 2609747"/>
                <a:gd name="connsiteY24" fmla="*/ 144654 h 2476692"/>
                <a:gd name="connsiteX25" fmla="*/ 1697615 w 2609747"/>
                <a:gd name="connsiteY25" fmla="*/ 97029 h 2476692"/>
                <a:gd name="connsiteX26" fmla="*/ 1726190 w 2609747"/>
                <a:gd name="connsiteY26" fmla="*/ 103379 h 2476692"/>
                <a:gd name="connsiteX27" fmla="*/ 1738890 w 2609747"/>
                <a:gd name="connsiteY27" fmla="*/ 122429 h 2476692"/>
                <a:gd name="connsiteX28" fmla="*/ 1732540 w 2609747"/>
                <a:gd name="connsiteY28" fmla="*/ 141479 h 2476692"/>
                <a:gd name="connsiteX29" fmla="*/ 1723015 w 2609747"/>
                <a:gd name="connsiteY29" fmla="*/ 154179 h 2476692"/>
                <a:gd name="connsiteX30" fmla="*/ 1802390 w 2609747"/>
                <a:gd name="connsiteY30" fmla="*/ 144654 h 2476692"/>
                <a:gd name="connsiteX31" fmla="*/ 1824615 w 2609747"/>
                <a:gd name="connsiteY31" fmla="*/ 160529 h 2476692"/>
                <a:gd name="connsiteX32" fmla="*/ 1827790 w 2609747"/>
                <a:gd name="connsiteY32" fmla="*/ 195454 h 2476692"/>
                <a:gd name="connsiteX33" fmla="*/ 1834140 w 2609747"/>
                <a:gd name="connsiteY33" fmla="*/ 217679 h 2476692"/>
                <a:gd name="connsiteX34" fmla="*/ 1840490 w 2609747"/>
                <a:gd name="connsiteY34" fmla="*/ 230379 h 2476692"/>
                <a:gd name="connsiteX35" fmla="*/ 1846840 w 2609747"/>
                <a:gd name="connsiteY35" fmla="*/ 239904 h 2476692"/>
                <a:gd name="connsiteX36" fmla="*/ 1846840 w 2609747"/>
                <a:gd name="connsiteY36" fmla="*/ 249429 h 2476692"/>
                <a:gd name="connsiteX37" fmla="*/ 1916690 w 2609747"/>
                <a:gd name="connsiteY37" fmla="*/ 274829 h 2476692"/>
                <a:gd name="connsiteX38" fmla="*/ 1945265 w 2609747"/>
                <a:gd name="connsiteY38" fmla="*/ 268479 h 2476692"/>
                <a:gd name="connsiteX39" fmla="*/ 1961140 w 2609747"/>
                <a:gd name="connsiteY39" fmla="*/ 274829 h 2476692"/>
                <a:gd name="connsiteX40" fmla="*/ 1977015 w 2609747"/>
                <a:gd name="connsiteY40" fmla="*/ 293879 h 2476692"/>
                <a:gd name="connsiteX41" fmla="*/ 2002415 w 2609747"/>
                <a:gd name="connsiteY41" fmla="*/ 297054 h 2476692"/>
                <a:gd name="connsiteX42" fmla="*/ 2002415 w 2609747"/>
                <a:gd name="connsiteY42" fmla="*/ 344679 h 2476692"/>
                <a:gd name="connsiteX43" fmla="*/ 1998496 w 2609747"/>
                <a:gd name="connsiteY43" fmla="*/ 359366 h 2476692"/>
                <a:gd name="connsiteX44" fmla="*/ 1997699 w 2609747"/>
                <a:gd name="connsiteY44" fmla="*/ 359161 h 2476692"/>
                <a:gd name="connsiteX45" fmla="*/ 1996509 w 2609747"/>
                <a:gd name="connsiteY45" fmla="*/ 357863 h 2476692"/>
                <a:gd name="connsiteX46" fmla="*/ 1996082 w 2609747"/>
                <a:gd name="connsiteY46" fmla="*/ 354482 h 2476692"/>
                <a:gd name="connsiteX47" fmla="*/ 1996065 w 2609747"/>
                <a:gd name="connsiteY47" fmla="*/ 357379 h 2476692"/>
                <a:gd name="connsiteX48" fmla="*/ 1996509 w 2609747"/>
                <a:gd name="connsiteY48" fmla="*/ 357863 h 2476692"/>
                <a:gd name="connsiteX49" fmla="*/ 1996639 w 2609747"/>
                <a:gd name="connsiteY49" fmla="*/ 358889 h 2476692"/>
                <a:gd name="connsiteX50" fmla="*/ 1997699 w 2609747"/>
                <a:gd name="connsiteY50" fmla="*/ 359161 h 2476692"/>
                <a:gd name="connsiteX51" fmla="*/ 2030990 w 2609747"/>
                <a:gd name="connsiteY51" fmla="*/ 395479 h 2476692"/>
                <a:gd name="connsiteX52" fmla="*/ 2059565 w 2609747"/>
                <a:gd name="connsiteY52" fmla="*/ 385954 h 2476692"/>
                <a:gd name="connsiteX53" fmla="*/ 2069090 w 2609747"/>
                <a:gd name="connsiteY53" fmla="*/ 379604 h 2476692"/>
                <a:gd name="connsiteX54" fmla="*/ 2078615 w 2609747"/>
                <a:gd name="connsiteY54" fmla="*/ 376429 h 2476692"/>
                <a:gd name="connsiteX55" fmla="*/ 2116715 w 2609747"/>
                <a:gd name="connsiteY55" fmla="*/ 379604 h 2476692"/>
                <a:gd name="connsiteX56" fmla="*/ 2119890 w 2609747"/>
                <a:gd name="connsiteY56" fmla="*/ 411354 h 2476692"/>
                <a:gd name="connsiteX57" fmla="*/ 2129415 w 2609747"/>
                <a:gd name="connsiteY57" fmla="*/ 443104 h 2476692"/>
                <a:gd name="connsiteX58" fmla="*/ 2132590 w 2609747"/>
                <a:gd name="connsiteY58" fmla="*/ 452629 h 2476692"/>
                <a:gd name="connsiteX59" fmla="*/ 2135765 w 2609747"/>
                <a:gd name="connsiteY59" fmla="*/ 462154 h 2476692"/>
                <a:gd name="connsiteX60" fmla="*/ 2142115 w 2609747"/>
                <a:gd name="connsiteY60" fmla="*/ 493904 h 2476692"/>
                <a:gd name="connsiteX61" fmla="*/ 2138940 w 2609747"/>
                <a:gd name="connsiteY61" fmla="*/ 532004 h 2476692"/>
                <a:gd name="connsiteX62" fmla="*/ 2110365 w 2609747"/>
                <a:gd name="connsiteY62" fmla="*/ 547879 h 2476692"/>
                <a:gd name="connsiteX63" fmla="*/ 2097665 w 2609747"/>
                <a:gd name="connsiteY63" fmla="*/ 557404 h 2476692"/>
                <a:gd name="connsiteX64" fmla="*/ 2094490 w 2609747"/>
                <a:gd name="connsiteY64" fmla="*/ 582804 h 2476692"/>
                <a:gd name="connsiteX65" fmla="*/ 2104015 w 2609747"/>
                <a:gd name="connsiteY65" fmla="*/ 608204 h 2476692"/>
                <a:gd name="connsiteX66" fmla="*/ 2110365 w 2609747"/>
                <a:gd name="connsiteY66" fmla="*/ 617729 h 2476692"/>
                <a:gd name="connsiteX67" fmla="*/ 2116715 w 2609747"/>
                <a:gd name="connsiteY67" fmla="*/ 643129 h 2476692"/>
                <a:gd name="connsiteX68" fmla="*/ 2119890 w 2609747"/>
                <a:gd name="connsiteY68" fmla="*/ 719329 h 2476692"/>
                <a:gd name="connsiteX69" fmla="*/ 2123065 w 2609747"/>
                <a:gd name="connsiteY69" fmla="*/ 728854 h 2476692"/>
                <a:gd name="connsiteX70" fmla="*/ 2142115 w 2609747"/>
                <a:gd name="connsiteY70" fmla="*/ 741554 h 2476692"/>
                <a:gd name="connsiteX71" fmla="*/ 2161165 w 2609747"/>
                <a:gd name="connsiteY71" fmla="*/ 738379 h 2476692"/>
                <a:gd name="connsiteX72" fmla="*/ 2170690 w 2609747"/>
                <a:gd name="connsiteY72" fmla="*/ 732029 h 2476692"/>
                <a:gd name="connsiteX73" fmla="*/ 2183390 w 2609747"/>
                <a:gd name="connsiteY73" fmla="*/ 725679 h 2476692"/>
                <a:gd name="connsiteX74" fmla="*/ 2192915 w 2609747"/>
                <a:gd name="connsiteY74" fmla="*/ 719329 h 2476692"/>
                <a:gd name="connsiteX75" fmla="*/ 2211965 w 2609747"/>
                <a:gd name="connsiteY75" fmla="*/ 712979 h 2476692"/>
                <a:gd name="connsiteX76" fmla="*/ 2259590 w 2609747"/>
                <a:gd name="connsiteY76" fmla="*/ 716154 h 2476692"/>
                <a:gd name="connsiteX77" fmla="*/ 2262765 w 2609747"/>
                <a:gd name="connsiteY77" fmla="*/ 732029 h 2476692"/>
                <a:gd name="connsiteX78" fmla="*/ 2272290 w 2609747"/>
                <a:gd name="connsiteY78" fmla="*/ 751079 h 2476692"/>
                <a:gd name="connsiteX79" fmla="*/ 2297690 w 2609747"/>
                <a:gd name="connsiteY79" fmla="*/ 754254 h 2476692"/>
                <a:gd name="connsiteX80" fmla="*/ 2329440 w 2609747"/>
                <a:gd name="connsiteY80" fmla="*/ 738379 h 2476692"/>
                <a:gd name="connsiteX81" fmla="*/ 2338965 w 2609747"/>
                <a:gd name="connsiteY81" fmla="*/ 735204 h 2476692"/>
                <a:gd name="connsiteX82" fmla="*/ 2367540 w 2609747"/>
                <a:gd name="connsiteY82" fmla="*/ 722504 h 2476692"/>
                <a:gd name="connsiteX83" fmla="*/ 2377065 w 2609747"/>
                <a:gd name="connsiteY83" fmla="*/ 719329 h 2476692"/>
                <a:gd name="connsiteX84" fmla="*/ 2391809 w 2609747"/>
                <a:gd name="connsiteY84" fmla="*/ 719329 h 2476692"/>
                <a:gd name="connsiteX85" fmla="*/ 2591378 w 2609747"/>
                <a:gd name="connsiteY85" fmla="*/ 1438467 h 2476692"/>
                <a:gd name="connsiteX86" fmla="*/ 2598521 w 2609747"/>
                <a:gd name="connsiteY86" fmla="*/ 1462279 h 2476692"/>
                <a:gd name="connsiteX87" fmla="*/ 2574709 w 2609747"/>
                <a:gd name="connsiteY87" fmla="*/ 1486092 h 2476692"/>
                <a:gd name="connsiteX88" fmla="*/ 2608046 w 2609747"/>
                <a:gd name="connsiteY88" fmla="*/ 1586104 h 2476692"/>
                <a:gd name="connsiteX89" fmla="*/ 2598522 w 2609747"/>
                <a:gd name="connsiteY89" fmla="*/ 1619442 h 2476692"/>
                <a:gd name="connsiteX90" fmla="*/ 2593759 w 2609747"/>
                <a:gd name="connsiteY90" fmla="*/ 1712310 h 2476692"/>
                <a:gd name="connsiteX91" fmla="*/ 2577090 w 2609747"/>
                <a:gd name="connsiteY91" fmla="*/ 1802798 h 2476692"/>
                <a:gd name="connsiteX92" fmla="*/ 2512796 w 2609747"/>
                <a:gd name="connsiteY92" fmla="*/ 1824229 h 2476692"/>
                <a:gd name="connsiteX93" fmla="*/ 2558040 w 2609747"/>
                <a:gd name="connsiteY93" fmla="*/ 1883760 h 2476692"/>
                <a:gd name="connsiteX94" fmla="*/ 2555659 w 2609747"/>
                <a:gd name="connsiteY94" fmla="*/ 1909954 h 2476692"/>
                <a:gd name="connsiteX95" fmla="*/ 2527084 w 2609747"/>
                <a:gd name="connsiteY95" fmla="*/ 1995679 h 2476692"/>
                <a:gd name="connsiteX96" fmla="*/ 2503271 w 2609747"/>
                <a:gd name="connsiteY96" fmla="*/ 1986154 h 2476692"/>
                <a:gd name="connsiteX97" fmla="*/ 2472315 w 2609747"/>
                <a:gd name="connsiteY97" fmla="*/ 1971867 h 2476692"/>
                <a:gd name="connsiteX98" fmla="*/ 2436596 w 2609747"/>
                <a:gd name="connsiteY98" fmla="*/ 1986154 h 2476692"/>
                <a:gd name="connsiteX99" fmla="*/ 2450884 w 2609747"/>
                <a:gd name="connsiteY99" fmla="*/ 2017110 h 2476692"/>
                <a:gd name="connsiteX100" fmla="*/ 2465171 w 2609747"/>
                <a:gd name="connsiteY100" fmla="*/ 2057592 h 2476692"/>
                <a:gd name="connsiteX101" fmla="*/ 2455646 w 2609747"/>
                <a:gd name="connsiteY101" fmla="*/ 2121885 h 2476692"/>
                <a:gd name="connsiteX102" fmla="*/ 2410403 w 2609747"/>
                <a:gd name="connsiteY102" fmla="*/ 2152842 h 2476692"/>
                <a:gd name="connsiteX103" fmla="*/ 2458028 w 2609747"/>
                <a:gd name="connsiteY103" fmla="*/ 2186180 h 2476692"/>
                <a:gd name="connsiteX104" fmla="*/ 2448503 w 2609747"/>
                <a:gd name="connsiteY104" fmla="*/ 2226660 h 2476692"/>
                <a:gd name="connsiteX105" fmla="*/ 2410403 w 2609747"/>
                <a:gd name="connsiteY105" fmla="*/ 2262379 h 2476692"/>
                <a:gd name="connsiteX106" fmla="*/ 2388971 w 2609747"/>
                <a:gd name="connsiteY106" fmla="*/ 2331435 h 2476692"/>
                <a:gd name="connsiteX107" fmla="*/ 2405640 w 2609747"/>
                <a:gd name="connsiteY107" fmla="*/ 2381442 h 2476692"/>
                <a:gd name="connsiteX108" fmla="*/ 2391353 w 2609747"/>
                <a:gd name="connsiteY108" fmla="*/ 2414779 h 2476692"/>
                <a:gd name="connsiteX109" fmla="*/ 2334203 w 2609747"/>
                <a:gd name="connsiteY109" fmla="*/ 2433829 h 2476692"/>
                <a:gd name="connsiteX110" fmla="*/ 2305628 w 2609747"/>
                <a:gd name="connsiteY110" fmla="*/ 2443354 h 2476692"/>
                <a:gd name="connsiteX111" fmla="*/ 2296103 w 2609747"/>
                <a:gd name="connsiteY111" fmla="*/ 2457642 h 2476692"/>
                <a:gd name="connsiteX112" fmla="*/ 2262765 w 2609747"/>
                <a:gd name="connsiteY112" fmla="*/ 2462404 h 2476692"/>
                <a:gd name="connsiteX113" fmla="*/ 2229428 w 2609747"/>
                <a:gd name="connsiteY113" fmla="*/ 2438592 h 2476692"/>
                <a:gd name="connsiteX114" fmla="*/ 2215140 w 2609747"/>
                <a:gd name="connsiteY114" fmla="*/ 2433829 h 2476692"/>
                <a:gd name="connsiteX115" fmla="*/ 2205615 w 2609747"/>
                <a:gd name="connsiteY115" fmla="*/ 2457642 h 2476692"/>
                <a:gd name="connsiteX116" fmla="*/ 2191328 w 2609747"/>
                <a:gd name="connsiteY116" fmla="*/ 2467167 h 2476692"/>
                <a:gd name="connsiteX117" fmla="*/ 2153228 w 2609747"/>
                <a:gd name="connsiteY117" fmla="*/ 2476692 h 2476692"/>
                <a:gd name="connsiteX118" fmla="*/ 2134178 w 2609747"/>
                <a:gd name="connsiteY118" fmla="*/ 2448117 h 2476692"/>
                <a:gd name="connsiteX119" fmla="*/ 2124653 w 2609747"/>
                <a:gd name="connsiteY119" fmla="*/ 2433829 h 2476692"/>
                <a:gd name="connsiteX120" fmla="*/ 2119890 w 2609747"/>
                <a:gd name="connsiteY120" fmla="*/ 2352867 h 2476692"/>
                <a:gd name="connsiteX121" fmla="*/ 2124653 w 2609747"/>
                <a:gd name="connsiteY121" fmla="*/ 2338579 h 2476692"/>
                <a:gd name="connsiteX122" fmla="*/ 2167515 w 2609747"/>
                <a:gd name="connsiteY122" fmla="*/ 2290954 h 2476692"/>
                <a:gd name="connsiteX123" fmla="*/ 2177040 w 2609747"/>
                <a:gd name="connsiteY123" fmla="*/ 2276667 h 2476692"/>
                <a:gd name="connsiteX124" fmla="*/ 2153228 w 2609747"/>
                <a:gd name="connsiteY124" fmla="*/ 2248092 h 2476692"/>
                <a:gd name="connsiteX125" fmla="*/ 2134178 w 2609747"/>
                <a:gd name="connsiteY125" fmla="*/ 2238567 h 2476692"/>
                <a:gd name="connsiteX126" fmla="*/ 2129415 w 2609747"/>
                <a:gd name="connsiteY126" fmla="*/ 2214754 h 2476692"/>
                <a:gd name="connsiteX127" fmla="*/ 2148465 w 2609747"/>
                <a:gd name="connsiteY127" fmla="*/ 2186179 h 2476692"/>
                <a:gd name="connsiteX128" fmla="*/ 2167515 w 2609747"/>
                <a:gd name="connsiteY128" fmla="*/ 2190942 h 2476692"/>
                <a:gd name="connsiteX129" fmla="*/ 2229428 w 2609747"/>
                <a:gd name="connsiteY129" fmla="*/ 2186179 h 2476692"/>
                <a:gd name="connsiteX130" fmla="*/ 2234190 w 2609747"/>
                <a:gd name="connsiteY130" fmla="*/ 2171892 h 2476692"/>
                <a:gd name="connsiteX131" fmla="*/ 2224665 w 2609747"/>
                <a:gd name="connsiteY131" fmla="*/ 2143317 h 2476692"/>
                <a:gd name="connsiteX132" fmla="*/ 2210378 w 2609747"/>
                <a:gd name="connsiteY132" fmla="*/ 2129029 h 2476692"/>
                <a:gd name="connsiteX133" fmla="*/ 2191328 w 2609747"/>
                <a:gd name="connsiteY133" fmla="*/ 2119504 h 2476692"/>
                <a:gd name="connsiteX134" fmla="*/ 2162753 w 2609747"/>
                <a:gd name="connsiteY134" fmla="*/ 2114742 h 2476692"/>
                <a:gd name="connsiteX135" fmla="*/ 2157990 w 2609747"/>
                <a:gd name="connsiteY135" fmla="*/ 2095692 h 2476692"/>
                <a:gd name="connsiteX136" fmla="*/ 2181803 w 2609747"/>
                <a:gd name="connsiteY136" fmla="*/ 2062354 h 2476692"/>
                <a:gd name="connsiteX137" fmla="*/ 2191328 w 2609747"/>
                <a:gd name="connsiteY137" fmla="*/ 2048067 h 2476692"/>
                <a:gd name="connsiteX138" fmla="*/ 2196090 w 2609747"/>
                <a:gd name="connsiteY138" fmla="*/ 1986154 h 2476692"/>
                <a:gd name="connsiteX139" fmla="*/ 2186565 w 2609747"/>
                <a:gd name="connsiteY139" fmla="*/ 1957579 h 2476692"/>
                <a:gd name="connsiteX140" fmla="*/ 2162753 w 2609747"/>
                <a:gd name="connsiteY140" fmla="*/ 1952817 h 2476692"/>
                <a:gd name="connsiteX141" fmla="*/ 2134178 w 2609747"/>
                <a:gd name="connsiteY141" fmla="*/ 1971867 h 2476692"/>
                <a:gd name="connsiteX142" fmla="*/ 2124653 w 2609747"/>
                <a:gd name="connsiteY142" fmla="*/ 1986154 h 2476692"/>
                <a:gd name="connsiteX143" fmla="*/ 2105603 w 2609747"/>
                <a:gd name="connsiteY143" fmla="*/ 2005204 h 2476692"/>
                <a:gd name="connsiteX144" fmla="*/ 2072265 w 2609747"/>
                <a:gd name="connsiteY144" fmla="*/ 2038542 h 2476692"/>
                <a:gd name="connsiteX145" fmla="*/ 2057978 w 2609747"/>
                <a:gd name="connsiteY145" fmla="*/ 2048067 h 2476692"/>
                <a:gd name="connsiteX146" fmla="*/ 2029403 w 2609747"/>
                <a:gd name="connsiteY146" fmla="*/ 2052829 h 2476692"/>
                <a:gd name="connsiteX147" fmla="*/ 2019878 w 2609747"/>
                <a:gd name="connsiteY147" fmla="*/ 2009967 h 2476692"/>
                <a:gd name="connsiteX148" fmla="*/ 1991303 w 2609747"/>
                <a:gd name="connsiteY148" fmla="*/ 1986154 h 2476692"/>
                <a:gd name="connsiteX149" fmla="*/ 1962728 w 2609747"/>
                <a:gd name="connsiteY149" fmla="*/ 1976629 h 2476692"/>
                <a:gd name="connsiteX150" fmla="*/ 1948440 w 2609747"/>
                <a:gd name="connsiteY150" fmla="*/ 1990917 h 2476692"/>
                <a:gd name="connsiteX151" fmla="*/ 1910340 w 2609747"/>
                <a:gd name="connsiteY151" fmla="*/ 2000442 h 2476692"/>
                <a:gd name="connsiteX152" fmla="*/ 1891290 w 2609747"/>
                <a:gd name="connsiteY152" fmla="*/ 1971867 h 2476692"/>
                <a:gd name="connsiteX153" fmla="*/ 1886528 w 2609747"/>
                <a:gd name="connsiteY153" fmla="*/ 1952817 h 2476692"/>
                <a:gd name="connsiteX154" fmla="*/ 1881765 w 2609747"/>
                <a:gd name="connsiteY154" fmla="*/ 1929004 h 2476692"/>
                <a:gd name="connsiteX155" fmla="*/ 1877003 w 2609747"/>
                <a:gd name="connsiteY155" fmla="*/ 1886142 h 2476692"/>
                <a:gd name="connsiteX156" fmla="*/ 1862715 w 2609747"/>
                <a:gd name="connsiteY156" fmla="*/ 1871854 h 2476692"/>
                <a:gd name="connsiteX157" fmla="*/ 1853190 w 2609747"/>
                <a:gd name="connsiteY157" fmla="*/ 1857567 h 2476692"/>
                <a:gd name="connsiteX158" fmla="*/ 1824615 w 2609747"/>
                <a:gd name="connsiteY158" fmla="*/ 1838517 h 2476692"/>
                <a:gd name="connsiteX159" fmla="*/ 1819853 w 2609747"/>
                <a:gd name="connsiteY159" fmla="*/ 1819467 h 2476692"/>
                <a:gd name="connsiteX160" fmla="*/ 1834140 w 2609747"/>
                <a:gd name="connsiteY160" fmla="*/ 1814704 h 2476692"/>
                <a:gd name="connsiteX161" fmla="*/ 1848428 w 2609747"/>
                <a:gd name="connsiteY161" fmla="*/ 1809942 h 2476692"/>
                <a:gd name="connsiteX162" fmla="*/ 1862715 w 2609747"/>
                <a:gd name="connsiteY162" fmla="*/ 1805179 h 2476692"/>
                <a:gd name="connsiteX163" fmla="*/ 1891290 w 2609747"/>
                <a:gd name="connsiteY163" fmla="*/ 1795654 h 2476692"/>
                <a:gd name="connsiteX164" fmla="*/ 1896053 w 2609747"/>
                <a:gd name="connsiteY164" fmla="*/ 1781367 h 2476692"/>
                <a:gd name="connsiteX165" fmla="*/ 1900815 w 2609747"/>
                <a:gd name="connsiteY165" fmla="*/ 1762317 h 2476692"/>
                <a:gd name="connsiteX166" fmla="*/ 1891290 w 2609747"/>
                <a:gd name="connsiteY166" fmla="*/ 1676592 h 2476692"/>
                <a:gd name="connsiteX167" fmla="*/ 1719840 w 2609747"/>
                <a:gd name="connsiteY167" fmla="*/ 1671829 h 2476692"/>
                <a:gd name="connsiteX168" fmla="*/ 1710315 w 2609747"/>
                <a:gd name="connsiteY168" fmla="*/ 1690879 h 2476692"/>
                <a:gd name="connsiteX169" fmla="*/ 1696028 w 2609747"/>
                <a:gd name="connsiteY169" fmla="*/ 1709929 h 2476692"/>
                <a:gd name="connsiteX170" fmla="*/ 1681740 w 2609747"/>
                <a:gd name="connsiteY170" fmla="*/ 1724217 h 2476692"/>
                <a:gd name="connsiteX171" fmla="*/ 1676978 w 2609747"/>
                <a:gd name="connsiteY171" fmla="*/ 1738504 h 2476692"/>
                <a:gd name="connsiteX172" fmla="*/ 1667453 w 2609747"/>
                <a:gd name="connsiteY172" fmla="*/ 1762317 h 2476692"/>
                <a:gd name="connsiteX173" fmla="*/ 1643640 w 2609747"/>
                <a:gd name="connsiteY173" fmla="*/ 1795654 h 2476692"/>
                <a:gd name="connsiteX174" fmla="*/ 1291215 w 2609747"/>
                <a:gd name="connsiteY174" fmla="*/ 1938529 h 2476692"/>
                <a:gd name="connsiteX175" fmla="*/ 1162628 w 2609747"/>
                <a:gd name="connsiteY175" fmla="*/ 1833754 h 2476692"/>
                <a:gd name="connsiteX176" fmla="*/ 1091190 w 2609747"/>
                <a:gd name="connsiteY176" fmla="*/ 1843279 h 2476692"/>
                <a:gd name="connsiteX177" fmla="*/ 1014990 w 2609747"/>
                <a:gd name="connsiteY177" fmla="*/ 1786129 h 2476692"/>
                <a:gd name="connsiteX178" fmla="*/ 1024515 w 2609747"/>
                <a:gd name="connsiteY178" fmla="*/ 1733742 h 2476692"/>
                <a:gd name="connsiteX179" fmla="*/ 957840 w 2609747"/>
                <a:gd name="connsiteY179" fmla="*/ 1719454 h 2476692"/>
                <a:gd name="connsiteX180" fmla="*/ 767340 w 2609747"/>
                <a:gd name="connsiteY180" fmla="*/ 1671829 h 2476692"/>
                <a:gd name="connsiteX181" fmla="*/ 743528 w 2609747"/>
                <a:gd name="connsiteY181" fmla="*/ 1681354 h 2476692"/>
                <a:gd name="connsiteX182" fmla="*/ 729240 w 2609747"/>
                <a:gd name="connsiteY182" fmla="*/ 1686117 h 2476692"/>
                <a:gd name="connsiteX183" fmla="*/ 700665 w 2609747"/>
                <a:gd name="connsiteY183" fmla="*/ 1667067 h 2476692"/>
                <a:gd name="connsiteX184" fmla="*/ 657803 w 2609747"/>
                <a:gd name="connsiteY184" fmla="*/ 1624204 h 2476692"/>
                <a:gd name="connsiteX185" fmla="*/ 605415 w 2609747"/>
                <a:gd name="connsiteY185" fmla="*/ 1638492 h 2476692"/>
                <a:gd name="connsiteX186" fmla="*/ 533978 w 2609747"/>
                <a:gd name="connsiteY186" fmla="*/ 1543242 h 2476692"/>
                <a:gd name="connsiteX187" fmla="*/ 548265 w 2609747"/>
                <a:gd name="connsiteY187" fmla="*/ 1528954 h 2476692"/>
                <a:gd name="connsiteX188" fmla="*/ 567315 w 2609747"/>
                <a:gd name="connsiteY188" fmla="*/ 1514667 h 2476692"/>
                <a:gd name="connsiteX189" fmla="*/ 581603 w 2609747"/>
                <a:gd name="connsiteY189" fmla="*/ 1476567 h 2476692"/>
                <a:gd name="connsiteX190" fmla="*/ 567315 w 2609747"/>
                <a:gd name="connsiteY190" fmla="*/ 1471804 h 2476692"/>
                <a:gd name="connsiteX191" fmla="*/ 543503 w 2609747"/>
                <a:gd name="connsiteY191" fmla="*/ 1462279 h 2476692"/>
                <a:gd name="connsiteX192" fmla="*/ 562553 w 2609747"/>
                <a:gd name="connsiteY192" fmla="*/ 1428942 h 2476692"/>
                <a:gd name="connsiteX193" fmla="*/ 567315 w 2609747"/>
                <a:gd name="connsiteY193" fmla="*/ 1414654 h 2476692"/>
                <a:gd name="connsiteX194" fmla="*/ 586365 w 2609747"/>
                <a:gd name="connsiteY194" fmla="*/ 1386079 h 2476692"/>
                <a:gd name="connsiteX195" fmla="*/ 619703 w 2609747"/>
                <a:gd name="connsiteY195" fmla="*/ 1362267 h 2476692"/>
                <a:gd name="connsiteX196" fmla="*/ 633990 w 2609747"/>
                <a:gd name="connsiteY196" fmla="*/ 1343217 h 2476692"/>
                <a:gd name="connsiteX197" fmla="*/ 662565 w 2609747"/>
                <a:gd name="connsiteY197" fmla="*/ 1319404 h 2476692"/>
                <a:gd name="connsiteX198" fmla="*/ 667328 w 2609747"/>
                <a:gd name="connsiteY198" fmla="*/ 1281304 h 2476692"/>
                <a:gd name="connsiteX199" fmla="*/ 638753 w 2609747"/>
                <a:gd name="connsiteY199" fmla="*/ 1267017 h 2476692"/>
                <a:gd name="connsiteX200" fmla="*/ 633990 w 2609747"/>
                <a:gd name="connsiteY200" fmla="*/ 1252729 h 2476692"/>
                <a:gd name="connsiteX201" fmla="*/ 643515 w 2609747"/>
                <a:gd name="connsiteY201" fmla="*/ 1238442 h 2476692"/>
                <a:gd name="connsiteX202" fmla="*/ 672090 w 2609747"/>
                <a:gd name="connsiteY202" fmla="*/ 1219392 h 2476692"/>
                <a:gd name="connsiteX203" fmla="*/ 672090 w 2609747"/>
                <a:gd name="connsiteY203" fmla="*/ 1162242 h 2476692"/>
                <a:gd name="connsiteX204" fmla="*/ 662565 w 2609747"/>
                <a:gd name="connsiteY204" fmla="*/ 1147954 h 2476692"/>
                <a:gd name="connsiteX205" fmla="*/ 619703 w 2609747"/>
                <a:gd name="connsiteY205" fmla="*/ 1167004 h 2476692"/>
                <a:gd name="connsiteX206" fmla="*/ 610178 w 2609747"/>
                <a:gd name="connsiteY206" fmla="*/ 1152717 h 2476692"/>
                <a:gd name="connsiteX207" fmla="*/ 605415 w 2609747"/>
                <a:gd name="connsiteY207" fmla="*/ 1105092 h 2476692"/>
                <a:gd name="connsiteX208" fmla="*/ 595890 w 2609747"/>
                <a:gd name="connsiteY208" fmla="*/ 1086042 h 2476692"/>
                <a:gd name="connsiteX209" fmla="*/ 576840 w 2609747"/>
                <a:gd name="connsiteY209" fmla="*/ 1057467 h 2476692"/>
                <a:gd name="connsiteX210" fmla="*/ 572078 w 2609747"/>
                <a:gd name="connsiteY210" fmla="*/ 1043179 h 2476692"/>
                <a:gd name="connsiteX211" fmla="*/ 562553 w 2609747"/>
                <a:gd name="connsiteY211" fmla="*/ 962217 h 2476692"/>
                <a:gd name="connsiteX212" fmla="*/ 462540 w 2609747"/>
                <a:gd name="connsiteY212" fmla="*/ 1043179 h 2476692"/>
                <a:gd name="connsiteX213" fmla="*/ 433965 w 2609747"/>
                <a:gd name="connsiteY213" fmla="*/ 952692 h 2476692"/>
                <a:gd name="connsiteX214" fmla="*/ 343478 w 2609747"/>
                <a:gd name="connsiteY214" fmla="*/ 862204 h 2476692"/>
                <a:gd name="connsiteX215" fmla="*/ 262515 w 2609747"/>
                <a:gd name="connsiteY215" fmla="*/ 871729 h 2476692"/>
                <a:gd name="connsiteX216" fmla="*/ 205365 w 2609747"/>
                <a:gd name="connsiteY216" fmla="*/ 919354 h 2476692"/>
                <a:gd name="connsiteX217" fmla="*/ 95828 w 2609747"/>
                <a:gd name="connsiteY217" fmla="*/ 986029 h 2476692"/>
                <a:gd name="connsiteX218" fmla="*/ 24390 w 2609747"/>
                <a:gd name="connsiteY218" fmla="*/ 986029 h 2476692"/>
                <a:gd name="connsiteX219" fmla="*/ 14865 w 2609747"/>
                <a:gd name="connsiteY219" fmla="*/ 947929 h 2476692"/>
                <a:gd name="connsiteX220" fmla="*/ 578 w 2609747"/>
                <a:gd name="connsiteY220" fmla="*/ 933642 h 2476692"/>
                <a:gd name="connsiteX221" fmla="*/ 5340 w 2609747"/>
                <a:gd name="connsiteY221" fmla="*/ 890779 h 2476692"/>
                <a:gd name="connsiteX222" fmla="*/ 57728 w 2609747"/>
                <a:gd name="connsiteY222" fmla="*/ 781242 h 2476692"/>
                <a:gd name="connsiteX223" fmla="*/ 238703 w 2609747"/>
                <a:gd name="connsiteY223" fmla="*/ 543117 h 2476692"/>
                <a:gd name="connsiteX224" fmla="*/ 333953 w 2609747"/>
                <a:gd name="connsiteY224" fmla="*/ 543117 h 2476692"/>
                <a:gd name="connsiteX225" fmla="*/ 429203 w 2609747"/>
                <a:gd name="connsiteY225" fmla="*/ 524067 h 2476692"/>
                <a:gd name="connsiteX226" fmla="*/ 467303 w 2609747"/>
                <a:gd name="connsiteY226" fmla="*/ 538354 h 2476692"/>
                <a:gd name="connsiteX227" fmla="*/ 481590 w 2609747"/>
                <a:gd name="connsiteY227" fmla="*/ 528829 h 2476692"/>
                <a:gd name="connsiteX228" fmla="*/ 486353 w 2609747"/>
                <a:gd name="connsiteY228" fmla="*/ 514542 h 2476692"/>
                <a:gd name="connsiteX229" fmla="*/ 491115 w 2609747"/>
                <a:gd name="connsiteY229" fmla="*/ 466917 h 2476692"/>
                <a:gd name="connsiteX230" fmla="*/ 481590 w 2609747"/>
                <a:gd name="connsiteY230" fmla="*/ 438342 h 2476692"/>
                <a:gd name="connsiteX231" fmla="*/ 462540 w 2609747"/>
                <a:gd name="connsiteY231" fmla="*/ 409767 h 2476692"/>
                <a:gd name="connsiteX232" fmla="*/ 472065 w 2609747"/>
                <a:gd name="connsiteY232" fmla="*/ 347854 h 2476692"/>
                <a:gd name="connsiteX233" fmla="*/ 505403 w 2609747"/>
                <a:gd name="connsiteY233" fmla="*/ 295467 h 2476692"/>
                <a:gd name="connsiteX234" fmla="*/ 514928 w 2609747"/>
                <a:gd name="connsiteY234" fmla="*/ 281179 h 2476692"/>
                <a:gd name="connsiteX235" fmla="*/ 519690 w 2609747"/>
                <a:gd name="connsiteY235" fmla="*/ 257367 h 2476692"/>
                <a:gd name="connsiteX236" fmla="*/ 529215 w 2609747"/>
                <a:gd name="connsiteY236" fmla="*/ 243079 h 2476692"/>
                <a:gd name="connsiteX237" fmla="*/ 538740 w 2609747"/>
                <a:gd name="connsiteY237" fmla="*/ 204979 h 2476692"/>
                <a:gd name="connsiteX238" fmla="*/ 548265 w 2609747"/>
                <a:gd name="connsiteY238" fmla="*/ 185929 h 2476692"/>
                <a:gd name="connsiteX239" fmla="*/ 553028 w 2609747"/>
                <a:gd name="connsiteY239" fmla="*/ 171642 h 2476692"/>
                <a:gd name="connsiteX240" fmla="*/ 562553 w 2609747"/>
                <a:gd name="connsiteY240" fmla="*/ 157354 h 2476692"/>
                <a:gd name="connsiteX241" fmla="*/ 567315 w 2609747"/>
                <a:gd name="connsiteY241" fmla="*/ 133542 h 2476692"/>
                <a:gd name="connsiteX242" fmla="*/ 576840 w 2609747"/>
                <a:gd name="connsiteY242" fmla="*/ 100204 h 2476692"/>
                <a:gd name="connsiteX243" fmla="*/ 581603 w 2609747"/>
                <a:gd name="connsiteY243" fmla="*/ 81154 h 2476692"/>
                <a:gd name="connsiteX244" fmla="*/ 595890 w 2609747"/>
                <a:gd name="connsiteY244" fmla="*/ 33529 h 2476692"/>
                <a:gd name="connsiteX245" fmla="*/ 619703 w 2609747"/>
                <a:gd name="connsiteY245" fmla="*/ 192 h 2476692"/>
                <a:gd name="connsiteX246" fmla="*/ 621543 w 2609747"/>
                <a:gd name="connsiteY246" fmla="*/ 0 h 2476692"/>
                <a:gd name="connsiteX0" fmla="*/ 621543 w 2608360"/>
                <a:gd name="connsiteY0" fmla="*/ 0 h 2476692"/>
                <a:gd name="connsiteX1" fmla="*/ 637165 w 2608360"/>
                <a:gd name="connsiteY1" fmla="*/ 20829 h 2476692"/>
                <a:gd name="connsiteX2" fmla="*/ 643515 w 2608360"/>
                <a:gd name="connsiteY2" fmla="*/ 30354 h 2476692"/>
                <a:gd name="connsiteX3" fmla="*/ 646690 w 2608360"/>
                <a:gd name="connsiteY3" fmla="*/ 74804 h 2476692"/>
                <a:gd name="connsiteX4" fmla="*/ 656215 w 2608360"/>
                <a:gd name="connsiteY4" fmla="*/ 100204 h 2476692"/>
                <a:gd name="connsiteX5" fmla="*/ 757815 w 2608360"/>
                <a:gd name="connsiteY5" fmla="*/ 119254 h 2476692"/>
                <a:gd name="connsiteX6" fmla="*/ 780040 w 2608360"/>
                <a:gd name="connsiteY6" fmla="*/ 135129 h 2476692"/>
                <a:gd name="connsiteX7" fmla="*/ 789565 w 2608360"/>
                <a:gd name="connsiteY7" fmla="*/ 138304 h 2476692"/>
                <a:gd name="connsiteX8" fmla="*/ 808615 w 2608360"/>
                <a:gd name="connsiteY8" fmla="*/ 154179 h 2476692"/>
                <a:gd name="connsiteX9" fmla="*/ 824490 w 2608360"/>
                <a:gd name="connsiteY9" fmla="*/ 176404 h 2476692"/>
                <a:gd name="connsiteX10" fmla="*/ 827665 w 2608360"/>
                <a:gd name="connsiteY10" fmla="*/ 185929 h 2476692"/>
                <a:gd name="connsiteX11" fmla="*/ 853065 w 2608360"/>
                <a:gd name="connsiteY11" fmla="*/ 201804 h 2476692"/>
                <a:gd name="connsiteX12" fmla="*/ 929265 w 2608360"/>
                <a:gd name="connsiteY12" fmla="*/ 220854 h 2476692"/>
                <a:gd name="connsiteX13" fmla="*/ 957840 w 2608360"/>
                <a:gd name="connsiteY13" fmla="*/ 198629 h 2476692"/>
                <a:gd name="connsiteX14" fmla="*/ 980065 w 2608360"/>
                <a:gd name="connsiteY14" fmla="*/ 182754 h 2476692"/>
                <a:gd name="connsiteX15" fmla="*/ 989590 w 2608360"/>
                <a:gd name="connsiteY15" fmla="*/ 176404 h 2476692"/>
                <a:gd name="connsiteX16" fmla="*/ 1011815 w 2608360"/>
                <a:gd name="connsiteY16" fmla="*/ 173229 h 2476692"/>
                <a:gd name="connsiteX17" fmla="*/ 1027690 w 2608360"/>
                <a:gd name="connsiteY17" fmla="*/ 166879 h 2476692"/>
                <a:gd name="connsiteX18" fmla="*/ 1094365 w 2608360"/>
                <a:gd name="connsiteY18" fmla="*/ 220854 h 2476692"/>
                <a:gd name="connsiteX19" fmla="*/ 1186440 w 2608360"/>
                <a:gd name="connsiteY19" fmla="*/ 217679 h 2476692"/>
                <a:gd name="connsiteX20" fmla="*/ 1278515 w 2608360"/>
                <a:gd name="connsiteY20" fmla="*/ 170054 h 2476692"/>
                <a:gd name="connsiteX21" fmla="*/ 1326140 w 2608360"/>
                <a:gd name="connsiteY21" fmla="*/ 74804 h 2476692"/>
                <a:gd name="connsiteX22" fmla="*/ 1373765 w 2608360"/>
                <a:gd name="connsiteY22" fmla="*/ 122429 h 2476692"/>
                <a:gd name="connsiteX23" fmla="*/ 1459490 w 2608360"/>
                <a:gd name="connsiteY23" fmla="*/ 144654 h 2476692"/>
                <a:gd name="connsiteX24" fmla="*/ 1589665 w 2608360"/>
                <a:gd name="connsiteY24" fmla="*/ 144654 h 2476692"/>
                <a:gd name="connsiteX25" fmla="*/ 1697615 w 2608360"/>
                <a:gd name="connsiteY25" fmla="*/ 97029 h 2476692"/>
                <a:gd name="connsiteX26" fmla="*/ 1726190 w 2608360"/>
                <a:gd name="connsiteY26" fmla="*/ 103379 h 2476692"/>
                <a:gd name="connsiteX27" fmla="*/ 1738890 w 2608360"/>
                <a:gd name="connsiteY27" fmla="*/ 122429 h 2476692"/>
                <a:gd name="connsiteX28" fmla="*/ 1732540 w 2608360"/>
                <a:gd name="connsiteY28" fmla="*/ 141479 h 2476692"/>
                <a:gd name="connsiteX29" fmla="*/ 1723015 w 2608360"/>
                <a:gd name="connsiteY29" fmla="*/ 154179 h 2476692"/>
                <a:gd name="connsiteX30" fmla="*/ 1802390 w 2608360"/>
                <a:gd name="connsiteY30" fmla="*/ 144654 h 2476692"/>
                <a:gd name="connsiteX31" fmla="*/ 1824615 w 2608360"/>
                <a:gd name="connsiteY31" fmla="*/ 160529 h 2476692"/>
                <a:gd name="connsiteX32" fmla="*/ 1827790 w 2608360"/>
                <a:gd name="connsiteY32" fmla="*/ 195454 h 2476692"/>
                <a:gd name="connsiteX33" fmla="*/ 1834140 w 2608360"/>
                <a:gd name="connsiteY33" fmla="*/ 217679 h 2476692"/>
                <a:gd name="connsiteX34" fmla="*/ 1840490 w 2608360"/>
                <a:gd name="connsiteY34" fmla="*/ 230379 h 2476692"/>
                <a:gd name="connsiteX35" fmla="*/ 1846840 w 2608360"/>
                <a:gd name="connsiteY35" fmla="*/ 239904 h 2476692"/>
                <a:gd name="connsiteX36" fmla="*/ 1846840 w 2608360"/>
                <a:gd name="connsiteY36" fmla="*/ 249429 h 2476692"/>
                <a:gd name="connsiteX37" fmla="*/ 1916690 w 2608360"/>
                <a:gd name="connsiteY37" fmla="*/ 274829 h 2476692"/>
                <a:gd name="connsiteX38" fmla="*/ 1945265 w 2608360"/>
                <a:gd name="connsiteY38" fmla="*/ 268479 h 2476692"/>
                <a:gd name="connsiteX39" fmla="*/ 1961140 w 2608360"/>
                <a:gd name="connsiteY39" fmla="*/ 274829 h 2476692"/>
                <a:gd name="connsiteX40" fmla="*/ 1977015 w 2608360"/>
                <a:gd name="connsiteY40" fmla="*/ 293879 h 2476692"/>
                <a:gd name="connsiteX41" fmla="*/ 2002415 w 2608360"/>
                <a:gd name="connsiteY41" fmla="*/ 297054 h 2476692"/>
                <a:gd name="connsiteX42" fmla="*/ 2002415 w 2608360"/>
                <a:gd name="connsiteY42" fmla="*/ 344679 h 2476692"/>
                <a:gd name="connsiteX43" fmla="*/ 1998496 w 2608360"/>
                <a:gd name="connsiteY43" fmla="*/ 359366 h 2476692"/>
                <a:gd name="connsiteX44" fmla="*/ 1997699 w 2608360"/>
                <a:gd name="connsiteY44" fmla="*/ 359161 h 2476692"/>
                <a:gd name="connsiteX45" fmla="*/ 1996509 w 2608360"/>
                <a:gd name="connsiteY45" fmla="*/ 357863 h 2476692"/>
                <a:gd name="connsiteX46" fmla="*/ 1996082 w 2608360"/>
                <a:gd name="connsiteY46" fmla="*/ 354482 h 2476692"/>
                <a:gd name="connsiteX47" fmla="*/ 1996065 w 2608360"/>
                <a:gd name="connsiteY47" fmla="*/ 357379 h 2476692"/>
                <a:gd name="connsiteX48" fmla="*/ 1996509 w 2608360"/>
                <a:gd name="connsiteY48" fmla="*/ 357863 h 2476692"/>
                <a:gd name="connsiteX49" fmla="*/ 1996639 w 2608360"/>
                <a:gd name="connsiteY49" fmla="*/ 358889 h 2476692"/>
                <a:gd name="connsiteX50" fmla="*/ 1997699 w 2608360"/>
                <a:gd name="connsiteY50" fmla="*/ 359161 h 2476692"/>
                <a:gd name="connsiteX51" fmla="*/ 2030990 w 2608360"/>
                <a:gd name="connsiteY51" fmla="*/ 395479 h 2476692"/>
                <a:gd name="connsiteX52" fmla="*/ 2059565 w 2608360"/>
                <a:gd name="connsiteY52" fmla="*/ 385954 h 2476692"/>
                <a:gd name="connsiteX53" fmla="*/ 2069090 w 2608360"/>
                <a:gd name="connsiteY53" fmla="*/ 379604 h 2476692"/>
                <a:gd name="connsiteX54" fmla="*/ 2078615 w 2608360"/>
                <a:gd name="connsiteY54" fmla="*/ 376429 h 2476692"/>
                <a:gd name="connsiteX55" fmla="*/ 2116715 w 2608360"/>
                <a:gd name="connsiteY55" fmla="*/ 379604 h 2476692"/>
                <a:gd name="connsiteX56" fmla="*/ 2119890 w 2608360"/>
                <a:gd name="connsiteY56" fmla="*/ 411354 h 2476692"/>
                <a:gd name="connsiteX57" fmla="*/ 2129415 w 2608360"/>
                <a:gd name="connsiteY57" fmla="*/ 443104 h 2476692"/>
                <a:gd name="connsiteX58" fmla="*/ 2132590 w 2608360"/>
                <a:gd name="connsiteY58" fmla="*/ 452629 h 2476692"/>
                <a:gd name="connsiteX59" fmla="*/ 2135765 w 2608360"/>
                <a:gd name="connsiteY59" fmla="*/ 462154 h 2476692"/>
                <a:gd name="connsiteX60" fmla="*/ 2142115 w 2608360"/>
                <a:gd name="connsiteY60" fmla="*/ 493904 h 2476692"/>
                <a:gd name="connsiteX61" fmla="*/ 2138940 w 2608360"/>
                <a:gd name="connsiteY61" fmla="*/ 532004 h 2476692"/>
                <a:gd name="connsiteX62" fmla="*/ 2110365 w 2608360"/>
                <a:gd name="connsiteY62" fmla="*/ 547879 h 2476692"/>
                <a:gd name="connsiteX63" fmla="*/ 2097665 w 2608360"/>
                <a:gd name="connsiteY63" fmla="*/ 557404 h 2476692"/>
                <a:gd name="connsiteX64" fmla="*/ 2094490 w 2608360"/>
                <a:gd name="connsiteY64" fmla="*/ 582804 h 2476692"/>
                <a:gd name="connsiteX65" fmla="*/ 2104015 w 2608360"/>
                <a:gd name="connsiteY65" fmla="*/ 608204 h 2476692"/>
                <a:gd name="connsiteX66" fmla="*/ 2110365 w 2608360"/>
                <a:gd name="connsiteY66" fmla="*/ 617729 h 2476692"/>
                <a:gd name="connsiteX67" fmla="*/ 2116715 w 2608360"/>
                <a:gd name="connsiteY67" fmla="*/ 643129 h 2476692"/>
                <a:gd name="connsiteX68" fmla="*/ 2119890 w 2608360"/>
                <a:gd name="connsiteY68" fmla="*/ 719329 h 2476692"/>
                <a:gd name="connsiteX69" fmla="*/ 2123065 w 2608360"/>
                <a:gd name="connsiteY69" fmla="*/ 728854 h 2476692"/>
                <a:gd name="connsiteX70" fmla="*/ 2142115 w 2608360"/>
                <a:gd name="connsiteY70" fmla="*/ 741554 h 2476692"/>
                <a:gd name="connsiteX71" fmla="*/ 2161165 w 2608360"/>
                <a:gd name="connsiteY71" fmla="*/ 738379 h 2476692"/>
                <a:gd name="connsiteX72" fmla="*/ 2170690 w 2608360"/>
                <a:gd name="connsiteY72" fmla="*/ 732029 h 2476692"/>
                <a:gd name="connsiteX73" fmla="*/ 2183390 w 2608360"/>
                <a:gd name="connsiteY73" fmla="*/ 725679 h 2476692"/>
                <a:gd name="connsiteX74" fmla="*/ 2192915 w 2608360"/>
                <a:gd name="connsiteY74" fmla="*/ 719329 h 2476692"/>
                <a:gd name="connsiteX75" fmla="*/ 2211965 w 2608360"/>
                <a:gd name="connsiteY75" fmla="*/ 712979 h 2476692"/>
                <a:gd name="connsiteX76" fmla="*/ 2259590 w 2608360"/>
                <a:gd name="connsiteY76" fmla="*/ 716154 h 2476692"/>
                <a:gd name="connsiteX77" fmla="*/ 2262765 w 2608360"/>
                <a:gd name="connsiteY77" fmla="*/ 732029 h 2476692"/>
                <a:gd name="connsiteX78" fmla="*/ 2272290 w 2608360"/>
                <a:gd name="connsiteY78" fmla="*/ 751079 h 2476692"/>
                <a:gd name="connsiteX79" fmla="*/ 2297690 w 2608360"/>
                <a:gd name="connsiteY79" fmla="*/ 754254 h 2476692"/>
                <a:gd name="connsiteX80" fmla="*/ 2329440 w 2608360"/>
                <a:gd name="connsiteY80" fmla="*/ 738379 h 2476692"/>
                <a:gd name="connsiteX81" fmla="*/ 2338965 w 2608360"/>
                <a:gd name="connsiteY81" fmla="*/ 735204 h 2476692"/>
                <a:gd name="connsiteX82" fmla="*/ 2367540 w 2608360"/>
                <a:gd name="connsiteY82" fmla="*/ 722504 h 2476692"/>
                <a:gd name="connsiteX83" fmla="*/ 2377065 w 2608360"/>
                <a:gd name="connsiteY83" fmla="*/ 719329 h 2476692"/>
                <a:gd name="connsiteX84" fmla="*/ 2391809 w 2608360"/>
                <a:gd name="connsiteY84" fmla="*/ 719329 h 2476692"/>
                <a:gd name="connsiteX85" fmla="*/ 2591378 w 2608360"/>
                <a:gd name="connsiteY85" fmla="*/ 1438467 h 2476692"/>
                <a:gd name="connsiteX86" fmla="*/ 2574709 w 2608360"/>
                <a:gd name="connsiteY86" fmla="*/ 1486092 h 2476692"/>
                <a:gd name="connsiteX87" fmla="*/ 2608046 w 2608360"/>
                <a:gd name="connsiteY87" fmla="*/ 1586104 h 2476692"/>
                <a:gd name="connsiteX88" fmla="*/ 2598522 w 2608360"/>
                <a:gd name="connsiteY88" fmla="*/ 1619442 h 2476692"/>
                <a:gd name="connsiteX89" fmla="*/ 2593759 w 2608360"/>
                <a:gd name="connsiteY89" fmla="*/ 1712310 h 2476692"/>
                <a:gd name="connsiteX90" fmla="*/ 2577090 w 2608360"/>
                <a:gd name="connsiteY90" fmla="*/ 1802798 h 2476692"/>
                <a:gd name="connsiteX91" fmla="*/ 2512796 w 2608360"/>
                <a:gd name="connsiteY91" fmla="*/ 1824229 h 2476692"/>
                <a:gd name="connsiteX92" fmla="*/ 2558040 w 2608360"/>
                <a:gd name="connsiteY92" fmla="*/ 1883760 h 2476692"/>
                <a:gd name="connsiteX93" fmla="*/ 2555659 w 2608360"/>
                <a:gd name="connsiteY93" fmla="*/ 1909954 h 2476692"/>
                <a:gd name="connsiteX94" fmla="*/ 2527084 w 2608360"/>
                <a:gd name="connsiteY94" fmla="*/ 1995679 h 2476692"/>
                <a:gd name="connsiteX95" fmla="*/ 2503271 w 2608360"/>
                <a:gd name="connsiteY95" fmla="*/ 1986154 h 2476692"/>
                <a:gd name="connsiteX96" fmla="*/ 2472315 w 2608360"/>
                <a:gd name="connsiteY96" fmla="*/ 1971867 h 2476692"/>
                <a:gd name="connsiteX97" fmla="*/ 2436596 w 2608360"/>
                <a:gd name="connsiteY97" fmla="*/ 1986154 h 2476692"/>
                <a:gd name="connsiteX98" fmla="*/ 2450884 w 2608360"/>
                <a:gd name="connsiteY98" fmla="*/ 2017110 h 2476692"/>
                <a:gd name="connsiteX99" fmla="*/ 2465171 w 2608360"/>
                <a:gd name="connsiteY99" fmla="*/ 2057592 h 2476692"/>
                <a:gd name="connsiteX100" fmla="*/ 2455646 w 2608360"/>
                <a:gd name="connsiteY100" fmla="*/ 2121885 h 2476692"/>
                <a:gd name="connsiteX101" fmla="*/ 2410403 w 2608360"/>
                <a:gd name="connsiteY101" fmla="*/ 2152842 h 2476692"/>
                <a:gd name="connsiteX102" fmla="*/ 2458028 w 2608360"/>
                <a:gd name="connsiteY102" fmla="*/ 2186180 h 2476692"/>
                <a:gd name="connsiteX103" fmla="*/ 2448503 w 2608360"/>
                <a:gd name="connsiteY103" fmla="*/ 2226660 h 2476692"/>
                <a:gd name="connsiteX104" fmla="*/ 2410403 w 2608360"/>
                <a:gd name="connsiteY104" fmla="*/ 2262379 h 2476692"/>
                <a:gd name="connsiteX105" fmla="*/ 2388971 w 2608360"/>
                <a:gd name="connsiteY105" fmla="*/ 2331435 h 2476692"/>
                <a:gd name="connsiteX106" fmla="*/ 2405640 w 2608360"/>
                <a:gd name="connsiteY106" fmla="*/ 2381442 h 2476692"/>
                <a:gd name="connsiteX107" fmla="*/ 2391353 w 2608360"/>
                <a:gd name="connsiteY107" fmla="*/ 2414779 h 2476692"/>
                <a:gd name="connsiteX108" fmla="*/ 2334203 w 2608360"/>
                <a:gd name="connsiteY108" fmla="*/ 2433829 h 2476692"/>
                <a:gd name="connsiteX109" fmla="*/ 2305628 w 2608360"/>
                <a:gd name="connsiteY109" fmla="*/ 2443354 h 2476692"/>
                <a:gd name="connsiteX110" fmla="*/ 2296103 w 2608360"/>
                <a:gd name="connsiteY110" fmla="*/ 2457642 h 2476692"/>
                <a:gd name="connsiteX111" fmla="*/ 2262765 w 2608360"/>
                <a:gd name="connsiteY111" fmla="*/ 2462404 h 2476692"/>
                <a:gd name="connsiteX112" fmla="*/ 2229428 w 2608360"/>
                <a:gd name="connsiteY112" fmla="*/ 2438592 h 2476692"/>
                <a:gd name="connsiteX113" fmla="*/ 2215140 w 2608360"/>
                <a:gd name="connsiteY113" fmla="*/ 2433829 h 2476692"/>
                <a:gd name="connsiteX114" fmla="*/ 2205615 w 2608360"/>
                <a:gd name="connsiteY114" fmla="*/ 2457642 h 2476692"/>
                <a:gd name="connsiteX115" fmla="*/ 2191328 w 2608360"/>
                <a:gd name="connsiteY115" fmla="*/ 2467167 h 2476692"/>
                <a:gd name="connsiteX116" fmla="*/ 2153228 w 2608360"/>
                <a:gd name="connsiteY116" fmla="*/ 2476692 h 2476692"/>
                <a:gd name="connsiteX117" fmla="*/ 2134178 w 2608360"/>
                <a:gd name="connsiteY117" fmla="*/ 2448117 h 2476692"/>
                <a:gd name="connsiteX118" fmla="*/ 2124653 w 2608360"/>
                <a:gd name="connsiteY118" fmla="*/ 2433829 h 2476692"/>
                <a:gd name="connsiteX119" fmla="*/ 2119890 w 2608360"/>
                <a:gd name="connsiteY119" fmla="*/ 2352867 h 2476692"/>
                <a:gd name="connsiteX120" fmla="*/ 2124653 w 2608360"/>
                <a:gd name="connsiteY120" fmla="*/ 2338579 h 2476692"/>
                <a:gd name="connsiteX121" fmla="*/ 2167515 w 2608360"/>
                <a:gd name="connsiteY121" fmla="*/ 2290954 h 2476692"/>
                <a:gd name="connsiteX122" fmla="*/ 2177040 w 2608360"/>
                <a:gd name="connsiteY122" fmla="*/ 2276667 h 2476692"/>
                <a:gd name="connsiteX123" fmla="*/ 2153228 w 2608360"/>
                <a:gd name="connsiteY123" fmla="*/ 2248092 h 2476692"/>
                <a:gd name="connsiteX124" fmla="*/ 2134178 w 2608360"/>
                <a:gd name="connsiteY124" fmla="*/ 2238567 h 2476692"/>
                <a:gd name="connsiteX125" fmla="*/ 2129415 w 2608360"/>
                <a:gd name="connsiteY125" fmla="*/ 2214754 h 2476692"/>
                <a:gd name="connsiteX126" fmla="*/ 2148465 w 2608360"/>
                <a:gd name="connsiteY126" fmla="*/ 2186179 h 2476692"/>
                <a:gd name="connsiteX127" fmla="*/ 2167515 w 2608360"/>
                <a:gd name="connsiteY127" fmla="*/ 2190942 h 2476692"/>
                <a:gd name="connsiteX128" fmla="*/ 2229428 w 2608360"/>
                <a:gd name="connsiteY128" fmla="*/ 2186179 h 2476692"/>
                <a:gd name="connsiteX129" fmla="*/ 2234190 w 2608360"/>
                <a:gd name="connsiteY129" fmla="*/ 2171892 h 2476692"/>
                <a:gd name="connsiteX130" fmla="*/ 2224665 w 2608360"/>
                <a:gd name="connsiteY130" fmla="*/ 2143317 h 2476692"/>
                <a:gd name="connsiteX131" fmla="*/ 2210378 w 2608360"/>
                <a:gd name="connsiteY131" fmla="*/ 2129029 h 2476692"/>
                <a:gd name="connsiteX132" fmla="*/ 2191328 w 2608360"/>
                <a:gd name="connsiteY132" fmla="*/ 2119504 h 2476692"/>
                <a:gd name="connsiteX133" fmla="*/ 2162753 w 2608360"/>
                <a:gd name="connsiteY133" fmla="*/ 2114742 h 2476692"/>
                <a:gd name="connsiteX134" fmla="*/ 2157990 w 2608360"/>
                <a:gd name="connsiteY134" fmla="*/ 2095692 h 2476692"/>
                <a:gd name="connsiteX135" fmla="*/ 2181803 w 2608360"/>
                <a:gd name="connsiteY135" fmla="*/ 2062354 h 2476692"/>
                <a:gd name="connsiteX136" fmla="*/ 2191328 w 2608360"/>
                <a:gd name="connsiteY136" fmla="*/ 2048067 h 2476692"/>
                <a:gd name="connsiteX137" fmla="*/ 2196090 w 2608360"/>
                <a:gd name="connsiteY137" fmla="*/ 1986154 h 2476692"/>
                <a:gd name="connsiteX138" fmla="*/ 2186565 w 2608360"/>
                <a:gd name="connsiteY138" fmla="*/ 1957579 h 2476692"/>
                <a:gd name="connsiteX139" fmla="*/ 2162753 w 2608360"/>
                <a:gd name="connsiteY139" fmla="*/ 1952817 h 2476692"/>
                <a:gd name="connsiteX140" fmla="*/ 2134178 w 2608360"/>
                <a:gd name="connsiteY140" fmla="*/ 1971867 h 2476692"/>
                <a:gd name="connsiteX141" fmla="*/ 2124653 w 2608360"/>
                <a:gd name="connsiteY141" fmla="*/ 1986154 h 2476692"/>
                <a:gd name="connsiteX142" fmla="*/ 2105603 w 2608360"/>
                <a:gd name="connsiteY142" fmla="*/ 2005204 h 2476692"/>
                <a:gd name="connsiteX143" fmla="*/ 2072265 w 2608360"/>
                <a:gd name="connsiteY143" fmla="*/ 2038542 h 2476692"/>
                <a:gd name="connsiteX144" fmla="*/ 2057978 w 2608360"/>
                <a:gd name="connsiteY144" fmla="*/ 2048067 h 2476692"/>
                <a:gd name="connsiteX145" fmla="*/ 2029403 w 2608360"/>
                <a:gd name="connsiteY145" fmla="*/ 2052829 h 2476692"/>
                <a:gd name="connsiteX146" fmla="*/ 2019878 w 2608360"/>
                <a:gd name="connsiteY146" fmla="*/ 2009967 h 2476692"/>
                <a:gd name="connsiteX147" fmla="*/ 1991303 w 2608360"/>
                <a:gd name="connsiteY147" fmla="*/ 1986154 h 2476692"/>
                <a:gd name="connsiteX148" fmla="*/ 1962728 w 2608360"/>
                <a:gd name="connsiteY148" fmla="*/ 1976629 h 2476692"/>
                <a:gd name="connsiteX149" fmla="*/ 1948440 w 2608360"/>
                <a:gd name="connsiteY149" fmla="*/ 1990917 h 2476692"/>
                <a:gd name="connsiteX150" fmla="*/ 1910340 w 2608360"/>
                <a:gd name="connsiteY150" fmla="*/ 2000442 h 2476692"/>
                <a:gd name="connsiteX151" fmla="*/ 1891290 w 2608360"/>
                <a:gd name="connsiteY151" fmla="*/ 1971867 h 2476692"/>
                <a:gd name="connsiteX152" fmla="*/ 1886528 w 2608360"/>
                <a:gd name="connsiteY152" fmla="*/ 1952817 h 2476692"/>
                <a:gd name="connsiteX153" fmla="*/ 1881765 w 2608360"/>
                <a:gd name="connsiteY153" fmla="*/ 1929004 h 2476692"/>
                <a:gd name="connsiteX154" fmla="*/ 1877003 w 2608360"/>
                <a:gd name="connsiteY154" fmla="*/ 1886142 h 2476692"/>
                <a:gd name="connsiteX155" fmla="*/ 1862715 w 2608360"/>
                <a:gd name="connsiteY155" fmla="*/ 1871854 h 2476692"/>
                <a:gd name="connsiteX156" fmla="*/ 1853190 w 2608360"/>
                <a:gd name="connsiteY156" fmla="*/ 1857567 h 2476692"/>
                <a:gd name="connsiteX157" fmla="*/ 1824615 w 2608360"/>
                <a:gd name="connsiteY157" fmla="*/ 1838517 h 2476692"/>
                <a:gd name="connsiteX158" fmla="*/ 1819853 w 2608360"/>
                <a:gd name="connsiteY158" fmla="*/ 1819467 h 2476692"/>
                <a:gd name="connsiteX159" fmla="*/ 1834140 w 2608360"/>
                <a:gd name="connsiteY159" fmla="*/ 1814704 h 2476692"/>
                <a:gd name="connsiteX160" fmla="*/ 1848428 w 2608360"/>
                <a:gd name="connsiteY160" fmla="*/ 1809942 h 2476692"/>
                <a:gd name="connsiteX161" fmla="*/ 1862715 w 2608360"/>
                <a:gd name="connsiteY161" fmla="*/ 1805179 h 2476692"/>
                <a:gd name="connsiteX162" fmla="*/ 1891290 w 2608360"/>
                <a:gd name="connsiteY162" fmla="*/ 1795654 h 2476692"/>
                <a:gd name="connsiteX163" fmla="*/ 1896053 w 2608360"/>
                <a:gd name="connsiteY163" fmla="*/ 1781367 h 2476692"/>
                <a:gd name="connsiteX164" fmla="*/ 1900815 w 2608360"/>
                <a:gd name="connsiteY164" fmla="*/ 1762317 h 2476692"/>
                <a:gd name="connsiteX165" fmla="*/ 1891290 w 2608360"/>
                <a:gd name="connsiteY165" fmla="*/ 1676592 h 2476692"/>
                <a:gd name="connsiteX166" fmla="*/ 1719840 w 2608360"/>
                <a:gd name="connsiteY166" fmla="*/ 1671829 h 2476692"/>
                <a:gd name="connsiteX167" fmla="*/ 1710315 w 2608360"/>
                <a:gd name="connsiteY167" fmla="*/ 1690879 h 2476692"/>
                <a:gd name="connsiteX168" fmla="*/ 1696028 w 2608360"/>
                <a:gd name="connsiteY168" fmla="*/ 1709929 h 2476692"/>
                <a:gd name="connsiteX169" fmla="*/ 1681740 w 2608360"/>
                <a:gd name="connsiteY169" fmla="*/ 1724217 h 2476692"/>
                <a:gd name="connsiteX170" fmla="*/ 1676978 w 2608360"/>
                <a:gd name="connsiteY170" fmla="*/ 1738504 h 2476692"/>
                <a:gd name="connsiteX171" fmla="*/ 1667453 w 2608360"/>
                <a:gd name="connsiteY171" fmla="*/ 1762317 h 2476692"/>
                <a:gd name="connsiteX172" fmla="*/ 1643640 w 2608360"/>
                <a:gd name="connsiteY172" fmla="*/ 1795654 h 2476692"/>
                <a:gd name="connsiteX173" fmla="*/ 1291215 w 2608360"/>
                <a:gd name="connsiteY173" fmla="*/ 1938529 h 2476692"/>
                <a:gd name="connsiteX174" fmla="*/ 1162628 w 2608360"/>
                <a:gd name="connsiteY174" fmla="*/ 1833754 h 2476692"/>
                <a:gd name="connsiteX175" fmla="*/ 1091190 w 2608360"/>
                <a:gd name="connsiteY175" fmla="*/ 1843279 h 2476692"/>
                <a:gd name="connsiteX176" fmla="*/ 1014990 w 2608360"/>
                <a:gd name="connsiteY176" fmla="*/ 1786129 h 2476692"/>
                <a:gd name="connsiteX177" fmla="*/ 1024515 w 2608360"/>
                <a:gd name="connsiteY177" fmla="*/ 1733742 h 2476692"/>
                <a:gd name="connsiteX178" fmla="*/ 957840 w 2608360"/>
                <a:gd name="connsiteY178" fmla="*/ 1719454 h 2476692"/>
                <a:gd name="connsiteX179" fmla="*/ 767340 w 2608360"/>
                <a:gd name="connsiteY179" fmla="*/ 1671829 h 2476692"/>
                <a:gd name="connsiteX180" fmla="*/ 743528 w 2608360"/>
                <a:gd name="connsiteY180" fmla="*/ 1681354 h 2476692"/>
                <a:gd name="connsiteX181" fmla="*/ 729240 w 2608360"/>
                <a:gd name="connsiteY181" fmla="*/ 1686117 h 2476692"/>
                <a:gd name="connsiteX182" fmla="*/ 700665 w 2608360"/>
                <a:gd name="connsiteY182" fmla="*/ 1667067 h 2476692"/>
                <a:gd name="connsiteX183" fmla="*/ 657803 w 2608360"/>
                <a:gd name="connsiteY183" fmla="*/ 1624204 h 2476692"/>
                <a:gd name="connsiteX184" fmla="*/ 605415 w 2608360"/>
                <a:gd name="connsiteY184" fmla="*/ 1638492 h 2476692"/>
                <a:gd name="connsiteX185" fmla="*/ 533978 w 2608360"/>
                <a:gd name="connsiteY185" fmla="*/ 1543242 h 2476692"/>
                <a:gd name="connsiteX186" fmla="*/ 548265 w 2608360"/>
                <a:gd name="connsiteY186" fmla="*/ 1528954 h 2476692"/>
                <a:gd name="connsiteX187" fmla="*/ 567315 w 2608360"/>
                <a:gd name="connsiteY187" fmla="*/ 1514667 h 2476692"/>
                <a:gd name="connsiteX188" fmla="*/ 581603 w 2608360"/>
                <a:gd name="connsiteY188" fmla="*/ 1476567 h 2476692"/>
                <a:gd name="connsiteX189" fmla="*/ 567315 w 2608360"/>
                <a:gd name="connsiteY189" fmla="*/ 1471804 h 2476692"/>
                <a:gd name="connsiteX190" fmla="*/ 543503 w 2608360"/>
                <a:gd name="connsiteY190" fmla="*/ 1462279 h 2476692"/>
                <a:gd name="connsiteX191" fmla="*/ 562553 w 2608360"/>
                <a:gd name="connsiteY191" fmla="*/ 1428942 h 2476692"/>
                <a:gd name="connsiteX192" fmla="*/ 567315 w 2608360"/>
                <a:gd name="connsiteY192" fmla="*/ 1414654 h 2476692"/>
                <a:gd name="connsiteX193" fmla="*/ 586365 w 2608360"/>
                <a:gd name="connsiteY193" fmla="*/ 1386079 h 2476692"/>
                <a:gd name="connsiteX194" fmla="*/ 619703 w 2608360"/>
                <a:gd name="connsiteY194" fmla="*/ 1362267 h 2476692"/>
                <a:gd name="connsiteX195" fmla="*/ 633990 w 2608360"/>
                <a:gd name="connsiteY195" fmla="*/ 1343217 h 2476692"/>
                <a:gd name="connsiteX196" fmla="*/ 662565 w 2608360"/>
                <a:gd name="connsiteY196" fmla="*/ 1319404 h 2476692"/>
                <a:gd name="connsiteX197" fmla="*/ 667328 w 2608360"/>
                <a:gd name="connsiteY197" fmla="*/ 1281304 h 2476692"/>
                <a:gd name="connsiteX198" fmla="*/ 638753 w 2608360"/>
                <a:gd name="connsiteY198" fmla="*/ 1267017 h 2476692"/>
                <a:gd name="connsiteX199" fmla="*/ 633990 w 2608360"/>
                <a:gd name="connsiteY199" fmla="*/ 1252729 h 2476692"/>
                <a:gd name="connsiteX200" fmla="*/ 643515 w 2608360"/>
                <a:gd name="connsiteY200" fmla="*/ 1238442 h 2476692"/>
                <a:gd name="connsiteX201" fmla="*/ 672090 w 2608360"/>
                <a:gd name="connsiteY201" fmla="*/ 1219392 h 2476692"/>
                <a:gd name="connsiteX202" fmla="*/ 672090 w 2608360"/>
                <a:gd name="connsiteY202" fmla="*/ 1162242 h 2476692"/>
                <a:gd name="connsiteX203" fmla="*/ 662565 w 2608360"/>
                <a:gd name="connsiteY203" fmla="*/ 1147954 h 2476692"/>
                <a:gd name="connsiteX204" fmla="*/ 619703 w 2608360"/>
                <a:gd name="connsiteY204" fmla="*/ 1167004 h 2476692"/>
                <a:gd name="connsiteX205" fmla="*/ 610178 w 2608360"/>
                <a:gd name="connsiteY205" fmla="*/ 1152717 h 2476692"/>
                <a:gd name="connsiteX206" fmla="*/ 605415 w 2608360"/>
                <a:gd name="connsiteY206" fmla="*/ 1105092 h 2476692"/>
                <a:gd name="connsiteX207" fmla="*/ 595890 w 2608360"/>
                <a:gd name="connsiteY207" fmla="*/ 1086042 h 2476692"/>
                <a:gd name="connsiteX208" fmla="*/ 576840 w 2608360"/>
                <a:gd name="connsiteY208" fmla="*/ 1057467 h 2476692"/>
                <a:gd name="connsiteX209" fmla="*/ 572078 w 2608360"/>
                <a:gd name="connsiteY209" fmla="*/ 1043179 h 2476692"/>
                <a:gd name="connsiteX210" fmla="*/ 562553 w 2608360"/>
                <a:gd name="connsiteY210" fmla="*/ 962217 h 2476692"/>
                <a:gd name="connsiteX211" fmla="*/ 462540 w 2608360"/>
                <a:gd name="connsiteY211" fmla="*/ 1043179 h 2476692"/>
                <a:gd name="connsiteX212" fmla="*/ 433965 w 2608360"/>
                <a:gd name="connsiteY212" fmla="*/ 952692 h 2476692"/>
                <a:gd name="connsiteX213" fmla="*/ 343478 w 2608360"/>
                <a:gd name="connsiteY213" fmla="*/ 862204 h 2476692"/>
                <a:gd name="connsiteX214" fmla="*/ 262515 w 2608360"/>
                <a:gd name="connsiteY214" fmla="*/ 871729 h 2476692"/>
                <a:gd name="connsiteX215" fmla="*/ 205365 w 2608360"/>
                <a:gd name="connsiteY215" fmla="*/ 919354 h 2476692"/>
                <a:gd name="connsiteX216" fmla="*/ 95828 w 2608360"/>
                <a:gd name="connsiteY216" fmla="*/ 986029 h 2476692"/>
                <a:gd name="connsiteX217" fmla="*/ 24390 w 2608360"/>
                <a:gd name="connsiteY217" fmla="*/ 986029 h 2476692"/>
                <a:gd name="connsiteX218" fmla="*/ 14865 w 2608360"/>
                <a:gd name="connsiteY218" fmla="*/ 947929 h 2476692"/>
                <a:gd name="connsiteX219" fmla="*/ 578 w 2608360"/>
                <a:gd name="connsiteY219" fmla="*/ 933642 h 2476692"/>
                <a:gd name="connsiteX220" fmla="*/ 5340 w 2608360"/>
                <a:gd name="connsiteY220" fmla="*/ 890779 h 2476692"/>
                <a:gd name="connsiteX221" fmla="*/ 57728 w 2608360"/>
                <a:gd name="connsiteY221" fmla="*/ 781242 h 2476692"/>
                <a:gd name="connsiteX222" fmla="*/ 238703 w 2608360"/>
                <a:gd name="connsiteY222" fmla="*/ 543117 h 2476692"/>
                <a:gd name="connsiteX223" fmla="*/ 333953 w 2608360"/>
                <a:gd name="connsiteY223" fmla="*/ 543117 h 2476692"/>
                <a:gd name="connsiteX224" fmla="*/ 429203 w 2608360"/>
                <a:gd name="connsiteY224" fmla="*/ 524067 h 2476692"/>
                <a:gd name="connsiteX225" fmla="*/ 467303 w 2608360"/>
                <a:gd name="connsiteY225" fmla="*/ 538354 h 2476692"/>
                <a:gd name="connsiteX226" fmla="*/ 481590 w 2608360"/>
                <a:gd name="connsiteY226" fmla="*/ 528829 h 2476692"/>
                <a:gd name="connsiteX227" fmla="*/ 486353 w 2608360"/>
                <a:gd name="connsiteY227" fmla="*/ 514542 h 2476692"/>
                <a:gd name="connsiteX228" fmla="*/ 491115 w 2608360"/>
                <a:gd name="connsiteY228" fmla="*/ 466917 h 2476692"/>
                <a:gd name="connsiteX229" fmla="*/ 481590 w 2608360"/>
                <a:gd name="connsiteY229" fmla="*/ 438342 h 2476692"/>
                <a:gd name="connsiteX230" fmla="*/ 462540 w 2608360"/>
                <a:gd name="connsiteY230" fmla="*/ 409767 h 2476692"/>
                <a:gd name="connsiteX231" fmla="*/ 472065 w 2608360"/>
                <a:gd name="connsiteY231" fmla="*/ 347854 h 2476692"/>
                <a:gd name="connsiteX232" fmla="*/ 505403 w 2608360"/>
                <a:gd name="connsiteY232" fmla="*/ 295467 h 2476692"/>
                <a:gd name="connsiteX233" fmla="*/ 514928 w 2608360"/>
                <a:gd name="connsiteY233" fmla="*/ 281179 h 2476692"/>
                <a:gd name="connsiteX234" fmla="*/ 519690 w 2608360"/>
                <a:gd name="connsiteY234" fmla="*/ 257367 h 2476692"/>
                <a:gd name="connsiteX235" fmla="*/ 529215 w 2608360"/>
                <a:gd name="connsiteY235" fmla="*/ 243079 h 2476692"/>
                <a:gd name="connsiteX236" fmla="*/ 538740 w 2608360"/>
                <a:gd name="connsiteY236" fmla="*/ 204979 h 2476692"/>
                <a:gd name="connsiteX237" fmla="*/ 548265 w 2608360"/>
                <a:gd name="connsiteY237" fmla="*/ 185929 h 2476692"/>
                <a:gd name="connsiteX238" fmla="*/ 553028 w 2608360"/>
                <a:gd name="connsiteY238" fmla="*/ 171642 h 2476692"/>
                <a:gd name="connsiteX239" fmla="*/ 562553 w 2608360"/>
                <a:gd name="connsiteY239" fmla="*/ 157354 h 2476692"/>
                <a:gd name="connsiteX240" fmla="*/ 567315 w 2608360"/>
                <a:gd name="connsiteY240" fmla="*/ 133542 h 2476692"/>
                <a:gd name="connsiteX241" fmla="*/ 576840 w 2608360"/>
                <a:gd name="connsiteY241" fmla="*/ 100204 h 2476692"/>
                <a:gd name="connsiteX242" fmla="*/ 581603 w 2608360"/>
                <a:gd name="connsiteY242" fmla="*/ 81154 h 2476692"/>
                <a:gd name="connsiteX243" fmla="*/ 595890 w 2608360"/>
                <a:gd name="connsiteY243" fmla="*/ 33529 h 2476692"/>
                <a:gd name="connsiteX244" fmla="*/ 619703 w 2608360"/>
                <a:gd name="connsiteY244" fmla="*/ 192 h 2476692"/>
                <a:gd name="connsiteX245" fmla="*/ 621543 w 2608360"/>
                <a:gd name="connsiteY245" fmla="*/ 0 h 2476692"/>
                <a:gd name="connsiteX0" fmla="*/ 621543 w 2608360"/>
                <a:gd name="connsiteY0" fmla="*/ 0 h 2476692"/>
                <a:gd name="connsiteX1" fmla="*/ 637165 w 2608360"/>
                <a:gd name="connsiteY1" fmla="*/ 20829 h 2476692"/>
                <a:gd name="connsiteX2" fmla="*/ 643515 w 2608360"/>
                <a:gd name="connsiteY2" fmla="*/ 30354 h 2476692"/>
                <a:gd name="connsiteX3" fmla="*/ 646690 w 2608360"/>
                <a:gd name="connsiteY3" fmla="*/ 74804 h 2476692"/>
                <a:gd name="connsiteX4" fmla="*/ 656215 w 2608360"/>
                <a:gd name="connsiteY4" fmla="*/ 100204 h 2476692"/>
                <a:gd name="connsiteX5" fmla="*/ 757815 w 2608360"/>
                <a:gd name="connsiteY5" fmla="*/ 119254 h 2476692"/>
                <a:gd name="connsiteX6" fmla="*/ 780040 w 2608360"/>
                <a:gd name="connsiteY6" fmla="*/ 135129 h 2476692"/>
                <a:gd name="connsiteX7" fmla="*/ 789565 w 2608360"/>
                <a:gd name="connsiteY7" fmla="*/ 138304 h 2476692"/>
                <a:gd name="connsiteX8" fmla="*/ 808615 w 2608360"/>
                <a:gd name="connsiteY8" fmla="*/ 154179 h 2476692"/>
                <a:gd name="connsiteX9" fmla="*/ 824490 w 2608360"/>
                <a:gd name="connsiteY9" fmla="*/ 176404 h 2476692"/>
                <a:gd name="connsiteX10" fmla="*/ 827665 w 2608360"/>
                <a:gd name="connsiteY10" fmla="*/ 185929 h 2476692"/>
                <a:gd name="connsiteX11" fmla="*/ 853065 w 2608360"/>
                <a:gd name="connsiteY11" fmla="*/ 201804 h 2476692"/>
                <a:gd name="connsiteX12" fmla="*/ 929265 w 2608360"/>
                <a:gd name="connsiteY12" fmla="*/ 220854 h 2476692"/>
                <a:gd name="connsiteX13" fmla="*/ 957840 w 2608360"/>
                <a:gd name="connsiteY13" fmla="*/ 198629 h 2476692"/>
                <a:gd name="connsiteX14" fmla="*/ 980065 w 2608360"/>
                <a:gd name="connsiteY14" fmla="*/ 182754 h 2476692"/>
                <a:gd name="connsiteX15" fmla="*/ 989590 w 2608360"/>
                <a:gd name="connsiteY15" fmla="*/ 176404 h 2476692"/>
                <a:gd name="connsiteX16" fmla="*/ 1011815 w 2608360"/>
                <a:gd name="connsiteY16" fmla="*/ 173229 h 2476692"/>
                <a:gd name="connsiteX17" fmla="*/ 1027690 w 2608360"/>
                <a:gd name="connsiteY17" fmla="*/ 166879 h 2476692"/>
                <a:gd name="connsiteX18" fmla="*/ 1094365 w 2608360"/>
                <a:gd name="connsiteY18" fmla="*/ 220854 h 2476692"/>
                <a:gd name="connsiteX19" fmla="*/ 1186440 w 2608360"/>
                <a:gd name="connsiteY19" fmla="*/ 217679 h 2476692"/>
                <a:gd name="connsiteX20" fmla="*/ 1278515 w 2608360"/>
                <a:gd name="connsiteY20" fmla="*/ 170054 h 2476692"/>
                <a:gd name="connsiteX21" fmla="*/ 1326140 w 2608360"/>
                <a:gd name="connsiteY21" fmla="*/ 74804 h 2476692"/>
                <a:gd name="connsiteX22" fmla="*/ 1373765 w 2608360"/>
                <a:gd name="connsiteY22" fmla="*/ 122429 h 2476692"/>
                <a:gd name="connsiteX23" fmla="*/ 1459490 w 2608360"/>
                <a:gd name="connsiteY23" fmla="*/ 144654 h 2476692"/>
                <a:gd name="connsiteX24" fmla="*/ 1589665 w 2608360"/>
                <a:gd name="connsiteY24" fmla="*/ 144654 h 2476692"/>
                <a:gd name="connsiteX25" fmla="*/ 1697615 w 2608360"/>
                <a:gd name="connsiteY25" fmla="*/ 97029 h 2476692"/>
                <a:gd name="connsiteX26" fmla="*/ 1726190 w 2608360"/>
                <a:gd name="connsiteY26" fmla="*/ 103379 h 2476692"/>
                <a:gd name="connsiteX27" fmla="*/ 1738890 w 2608360"/>
                <a:gd name="connsiteY27" fmla="*/ 122429 h 2476692"/>
                <a:gd name="connsiteX28" fmla="*/ 1732540 w 2608360"/>
                <a:gd name="connsiteY28" fmla="*/ 141479 h 2476692"/>
                <a:gd name="connsiteX29" fmla="*/ 1723015 w 2608360"/>
                <a:gd name="connsiteY29" fmla="*/ 154179 h 2476692"/>
                <a:gd name="connsiteX30" fmla="*/ 1802390 w 2608360"/>
                <a:gd name="connsiteY30" fmla="*/ 144654 h 2476692"/>
                <a:gd name="connsiteX31" fmla="*/ 1824615 w 2608360"/>
                <a:gd name="connsiteY31" fmla="*/ 160529 h 2476692"/>
                <a:gd name="connsiteX32" fmla="*/ 1827790 w 2608360"/>
                <a:gd name="connsiteY32" fmla="*/ 195454 h 2476692"/>
                <a:gd name="connsiteX33" fmla="*/ 1834140 w 2608360"/>
                <a:gd name="connsiteY33" fmla="*/ 217679 h 2476692"/>
                <a:gd name="connsiteX34" fmla="*/ 1840490 w 2608360"/>
                <a:gd name="connsiteY34" fmla="*/ 230379 h 2476692"/>
                <a:gd name="connsiteX35" fmla="*/ 1846840 w 2608360"/>
                <a:gd name="connsiteY35" fmla="*/ 239904 h 2476692"/>
                <a:gd name="connsiteX36" fmla="*/ 1846840 w 2608360"/>
                <a:gd name="connsiteY36" fmla="*/ 249429 h 2476692"/>
                <a:gd name="connsiteX37" fmla="*/ 1916690 w 2608360"/>
                <a:gd name="connsiteY37" fmla="*/ 274829 h 2476692"/>
                <a:gd name="connsiteX38" fmla="*/ 1945265 w 2608360"/>
                <a:gd name="connsiteY38" fmla="*/ 268479 h 2476692"/>
                <a:gd name="connsiteX39" fmla="*/ 1961140 w 2608360"/>
                <a:gd name="connsiteY39" fmla="*/ 274829 h 2476692"/>
                <a:gd name="connsiteX40" fmla="*/ 1977015 w 2608360"/>
                <a:gd name="connsiteY40" fmla="*/ 293879 h 2476692"/>
                <a:gd name="connsiteX41" fmla="*/ 2002415 w 2608360"/>
                <a:gd name="connsiteY41" fmla="*/ 297054 h 2476692"/>
                <a:gd name="connsiteX42" fmla="*/ 2002415 w 2608360"/>
                <a:gd name="connsiteY42" fmla="*/ 344679 h 2476692"/>
                <a:gd name="connsiteX43" fmla="*/ 1998496 w 2608360"/>
                <a:gd name="connsiteY43" fmla="*/ 359366 h 2476692"/>
                <a:gd name="connsiteX44" fmla="*/ 1997699 w 2608360"/>
                <a:gd name="connsiteY44" fmla="*/ 359161 h 2476692"/>
                <a:gd name="connsiteX45" fmla="*/ 1996509 w 2608360"/>
                <a:gd name="connsiteY45" fmla="*/ 357863 h 2476692"/>
                <a:gd name="connsiteX46" fmla="*/ 1996082 w 2608360"/>
                <a:gd name="connsiteY46" fmla="*/ 354482 h 2476692"/>
                <a:gd name="connsiteX47" fmla="*/ 1996065 w 2608360"/>
                <a:gd name="connsiteY47" fmla="*/ 357379 h 2476692"/>
                <a:gd name="connsiteX48" fmla="*/ 1996509 w 2608360"/>
                <a:gd name="connsiteY48" fmla="*/ 357863 h 2476692"/>
                <a:gd name="connsiteX49" fmla="*/ 1996639 w 2608360"/>
                <a:gd name="connsiteY49" fmla="*/ 358889 h 2476692"/>
                <a:gd name="connsiteX50" fmla="*/ 1997699 w 2608360"/>
                <a:gd name="connsiteY50" fmla="*/ 359161 h 2476692"/>
                <a:gd name="connsiteX51" fmla="*/ 2030990 w 2608360"/>
                <a:gd name="connsiteY51" fmla="*/ 395479 h 2476692"/>
                <a:gd name="connsiteX52" fmla="*/ 2059565 w 2608360"/>
                <a:gd name="connsiteY52" fmla="*/ 385954 h 2476692"/>
                <a:gd name="connsiteX53" fmla="*/ 2069090 w 2608360"/>
                <a:gd name="connsiteY53" fmla="*/ 379604 h 2476692"/>
                <a:gd name="connsiteX54" fmla="*/ 2078615 w 2608360"/>
                <a:gd name="connsiteY54" fmla="*/ 376429 h 2476692"/>
                <a:gd name="connsiteX55" fmla="*/ 2116715 w 2608360"/>
                <a:gd name="connsiteY55" fmla="*/ 379604 h 2476692"/>
                <a:gd name="connsiteX56" fmla="*/ 2119890 w 2608360"/>
                <a:gd name="connsiteY56" fmla="*/ 411354 h 2476692"/>
                <a:gd name="connsiteX57" fmla="*/ 2129415 w 2608360"/>
                <a:gd name="connsiteY57" fmla="*/ 443104 h 2476692"/>
                <a:gd name="connsiteX58" fmla="*/ 2132590 w 2608360"/>
                <a:gd name="connsiteY58" fmla="*/ 452629 h 2476692"/>
                <a:gd name="connsiteX59" fmla="*/ 2135765 w 2608360"/>
                <a:gd name="connsiteY59" fmla="*/ 462154 h 2476692"/>
                <a:gd name="connsiteX60" fmla="*/ 2142115 w 2608360"/>
                <a:gd name="connsiteY60" fmla="*/ 493904 h 2476692"/>
                <a:gd name="connsiteX61" fmla="*/ 2138940 w 2608360"/>
                <a:gd name="connsiteY61" fmla="*/ 532004 h 2476692"/>
                <a:gd name="connsiteX62" fmla="*/ 2110365 w 2608360"/>
                <a:gd name="connsiteY62" fmla="*/ 547879 h 2476692"/>
                <a:gd name="connsiteX63" fmla="*/ 2097665 w 2608360"/>
                <a:gd name="connsiteY63" fmla="*/ 557404 h 2476692"/>
                <a:gd name="connsiteX64" fmla="*/ 2094490 w 2608360"/>
                <a:gd name="connsiteY64" fmla="*/ 582804 h 2476692"/>
                <a:gd name="connsiteX65" fmla="*/ 2104015 w 2608360"/>
                <a:gd name="connsiteY65" fmla="*/ 608204 h 2476692"/>
                <a:gd name="connsiteX66" fmla="*/ 2110365 w 2608360"/>
                <a:gd name="connsiteY66" fmla="*/ 617729 h 2476692"/>
                <a:gd name="connsiteX67" fmla="*/ 2116715 w 2608360"/>
                <a:gd name="connsiteY67" fmla="*/ 643129 h 2476692"/>
                <a:gd name="connsiteX68" fmla="*/ 2119890 w 2608360"/>
                <a:gd name="connsiteY68" fmla="*/ 719329 h 2476692"/>
                <a:gd name="connsiteX69" fmla="*/ 2123065 w 2608360"/>
                <a:gd name="connsiteY69" fmla="*/ 728854 h 2476692"/>
                <a:gd name="connsiteX70" fmla="*/ 2142115 w 2608360"/>
                <a:gd name="connsiteY70" fmla="*/ 741554 h 2476692"/>
                <a:gd name="connsiteX71" fmla="*/ 2161165 w 2608360"/>
                <a:gd name="connsiteY71" fmla="*/ 738379 h 2476692"/>
                <a:gd name="connsiteX72" fmla="*/ 2170690 w 2608360"/>
                <a:gd name="connsiteY72" fmla="*/ 732029 h 2476692"/>
                <a:gd name="connsiteX73" fmla="*/ 2183390 w 2608360"/>
                <a:gd name="connsiteY73" fmla="*/ 725679 h 2476692"/>
                <a:gd name="connsiteX74" fmla="*/ 2192915 w 2608360"/>
                <a:gd name="connsiteY74" fmla="*/ 719329 h 2476692"/>
                <a:gd name="connsiteX75" fmla="*/ 2211965 w 2608360"/>
                <a:gd name="connsiteY75" fmla="*/ 712979 h 2476692"/>
                <a:gd name="connsiteX76" fmla="*/ 2259590 w 2608360"/>
                <a:gd name="connsiteY76" fmla="*/ 716154 h 2476692"/>
                <a:gd name="connsiteX77" fmla="*/ 2262765 w 2608360"/>
                <a:gd name="connsiteY77" fmla="*/ 732029 h 2476692"/>
                <a:gd name="connsiteX78" fmla="*/ 2272290 w 2608360"/>
                <a:gd name="connsiteY78" fmla="*/ 751079 h 2476692"/>
                <a:gd name="connsiteX79" fmla="*/ 2297690 w 2608360"/>
                <a:gd name="connsiteY79" fmla="*/ 754254 h 2476692"/>
                <a:gd name="connsiteX80" fmla="*/ 2329440 w 2608360"/>
                <a:gd name="connsiteY80" fmla="*/ 738379 h 2476692"/>
                <a:gd name="connsiteX81" fmla="*/ 2338965 w 2608360"/>
                <a:gd name="connsiteY81" fmla="*/ 735204 h 2476692"/>
                <a:gd name="connsiteX82" fmla="*/ 2367540 w 2608360"/>
                <a:gd name="connsiteY82" fmla="*/ 722504 h 2476692"/>
                <a:gd name="connsiteX83" fmla="*/ 2377065 w 2608360"/>
                <a:gd name="connsiteY83" fmla="*/ 719329 h 2476692"/>
                <a:gd name="connsiteX84" fmla="*/ 2391809 w 2608360"/>
                <a:gd name="connsiteY84" fmla="*/ 719329 h 2476692"/>
                <a:gd name="connsiteX85" fmla="*/ 2574709 w 2608360"/>
                <a:gd name="connsiteY85" fmla="*/ 1486092 h 2476692"/>
                <a:gd name="connsiteX86" fmla="*/ 2608046 w 2608360"/>
                <a:gd name="connsiteY86" fmla="*/ 1586104 h 2476692"/>
                <a:gd name="connsiteX87" fmla="*/ 2598522 w 2608360"/>
                <a:gd name="connsiteY87" fmla="*/ 1619442 h 2476692"/>
                <a:gd name="connsiteX88" fmla="*/ 2593759 w 2608360"/>
                <a:gd name="connsiteY88" fmla="*/ 1712310 h 2476692"/>
                <a:gd name="connsiteX89" fmla="*/ 2577090 w 2608360"/>
                <a:gd name="connsiteY89" fmla="*/ 1802798 h 2476692"/>
                <a:gd name="connsiteX90" fmla="*/ 2512796 w 2608360"/>
                <a:gd name="connsiteY90" fmla="*/ 1824229 h 2476692"/>
                <a:gd name="connsiteX91" fmla="*/ 2558040 w 2608360"/>
                <a:gd name="connsiteY91" fmla="*/ 1883760 h 2476692"/>
                <a:gd name="connsiteX92" fmla="*/ 2555659 w 2608360"/>
                <a:gd name="connsiteY92" fmla="*/ 1909954 h 2476692"/>
                <a:gd name="connsiteX93" fmla="*/ 2527084 w 2608360"/>
                <a:gd name="connsiteY93" fmla="*/ 1995679 h 2476692"/>
                <a:gd name="connsiteX94" fmla="*/ 2503271 w 2608360"/>
                <a:gd name="connsiteY94" fmla="*/ 1986154 h 2476692"/>
                <a:gd name="connsiteX95" fmla="*/ 2472315 w 2608360"/>
                <a:gd name="connsiteY95" fmla="*/ 1971867 h 2476692"/>
                <a:gd name="connsiteX96" fmla="*/ 2436596 w 2608360"/>
                <a:gd name="connsiteY96" fmla="*/ 1986154 h 2476692"/>
                <a:gd name="connsiteX97" fmla="*/ 2450884 w 2608360"/>
                <a:gd name="connsiteY97" fmla="*/ 2017110 h 2476692"/>
                <a:gd name="connsiteX98" fmla="*/ 2465171 w 2608360"/>
                <a:gd name="connsiteY98" fmla="*/ 2057592 h 2476692"/>
                <a:gd name="connsiteX99" fmla="*/ 2455646 w 2608360"/>
                <a:gd name="connsiteY99" fmla="*/ 2121885 h 2476692"/>
                <a:gd name="connsiteX100" fmla="*/ 2410403 w 2608360"/>
                <a:gd name="connsiteY100" fmla="*/ 2152842 h 2476692"/>
                <a:gd name="connsiteX101" fmla="*/ 2458028 w 2608360"/>
                <a:gd name="connsiteY101" fmla="*/ 2186180 h 2476692"/>
                <a:gd name="connsiteX102" fmla="*/ 2448503 w 2608360"/>
                <a:gd name="connsiteY102" fmla="*/ 2226660 h 2476692"/>
                <a:gd name="connsiteX103" fmla="*/ 2410403 w 2608360"/>
                <a:gd name="connsiteY103" fmla="*/ 2262379 h 2476692"/>
                <a:gd name="connsiteX104" fmla="*/ 2388971 w 2608360"/>
                <a:gd name="connsiteY104" fmla="*/ 2331435 h 2476692"/>
                <a:gd name="connsiteX105" fmla="*/ 2405640 w 2608360"/>
                <a:gd name="connsiteY105" fmla="*/ 2381442 h 2476692"/>
                <a:gd name="connsiteX106" fmla="*/ 2391353 w 2608360"/>
                <a:gd name="connsiteY106" fmla="*/ 2414779 h 2476692"/>
                <a:gd name="connsiteX107" fmla="*/ 2334203 w 2608360"/>
                <a:gd name="connsiteY107" fmla="*/ 2433829 h 2476692"/>
                <a:gd name="connsiteX108" fmla="*/ 2305628 w 2608360"/>
                <a:gd name="connsiteY108" fmla="*/ 2443354 h 2476692"/>
                <a:gd name="connsiteX109" fmla="*/ 2296103 w 2608360"/>
                <a:gd name="connsiteY109" fmla="*/ 2457642 h 2476692"/>
                <a:gd name="connsiteX110" fmla="*/ 2262765 w 2608360"/>
                <a:gd name="connsiteY110" fmla="*/ 2462404 h 2476692"/>
                <a:gd name="connsiteX111" fmla="*/ 2229428 w 2608360"/>
                <a:gd name="connsiteY111" fmla="*/ 2438592 h 2476692"/>
                <a:gd name="connsiteX112" fmla="*/ 2215140 w 2608360"/>
                <a:gd name="connsiteY112" fmla="*/ 2433829 h 2476692"/>
                <a:gd name="connsiteX113" fmla="*/ 2205615 w 2608360"/>
                <a:gd name="connsiteY113" fmla="*/ 2457642 h 2476692"/>
                <a:gd name="connsiteX114" fmla="*/ 2191328 w 2608360"/>
                <a:gd name="connsiteY114" fmla="*/ 2467167 h 2476692"/>
                <a:gd name="connsiteX115" fmla="*/ 2153228 w 2608360"/>
                <a:gd name="connsiteY115" fmla="*/ 2476692 h 2476692"/>
                <a:gd name="connsiteX116" fmla="*/ 2134178 w 2608360"/>
                <a:gd name="connsiteY116" fmla="*/ 2448117 h 2476692"/>
                <a:gd name="connsiteX117" fmla="*/ 2124653 w 2608360"/>
                <a:gd name="connsiteY117" fmla="*/ 2433829 h 2476692"/>
                <a:gd name="connsiteX118" fmla="*/ 2119890 w 2608360"/>
                <a:gd name="connsiteY118" fmla="*/ 2352867 h 2476692"/>
                <a:gd name="connsiteX119" fmla="*/ 2124653 w 2608360"/>
                <a:gd name="connsiteY119" fmla="*/ 2338579 h 2476692"/>
                <a:gd name="connsiteX120" fmla="*/ 2167515 w 2608360"/>
                <a:gd name="connsiteY120" fmla="*/ 2290954 h 2476692"/>
                <a:gd name="connsiteX121" fmla="*/ 2177040 w 2608360"/>
                <a:gd name="connsiteY121" fmla="*/ 2276667 h 2476692"/>
                <a:gd name="connsiteX122" fmla="*/ 2153228 w 2608360"/>
                <a:gd name="connsiteY122" fmla="*/ 2248092 h 2476692"/>
                <a:gd name="connsiteX123" fmla="*/ 2134178 w 2608360"/>
                <a:gd name="connsiteY123" fmla="*/ 2238567 h 2476692"/>
                <a:gd name="connsiteX124" fmla="*/ 2129415 w 2608360"/>
                <a:gd name="connsiteY124" fmla="*/ 2214754 h 2476692"/>
                <a:gd name="connsiteX125" fmla="*/ 2148465 w 2608360"/>
                <a:gd name="connsiteY125" fmla="*/ 2186179 h 2476692"/>
                <a:gd name="connsiteX126" fmla="*/ 2167515 w 2608360"/>
                <a:gd name="connsiteY126" fmla="*/ 2190942 h 2476692"/>
                <a:gd name="connsiteX127" fmla="*/ 2229428 w 2608360"/>
                <a:gd name="connsiteY127" fmla="*/ 2186179 h 2476692"/>
                <a:gd name="connsiteX128" fmla="*/ 2234190 w 2608360"/>
                <a:gd name="connsiteY128" fmla="*/ 2171892 h 2476692"/>
                <a:gd name="connsiteX129" fmla="*/ 2224665 w 2608360"/>
                <a:gd name="connsiteY129" fmla="*/ 2143317 h 2476692"/>
                <a:gd name="connsiteX130" fmla="*/ 2210378 w 2608360"/>
                <a:gd name="connsiteY130" fmla="*/ 2129029 h 2476692"/>
                <a:gd name="connsiteX131" fmla="*/ 2191328 w 2608360"/>
                <a:gd name="connsiteY131" fmla="*/ 2119504 h 2476692"/>
                <a:gd name="connsiteX132" fmla="*/ 2162753 w 2608360"/>
                <a:gd name="connsiteY132" fmla="*/ 2114742 h 2476692"/>
                <a:gd name="connsiteX133" fmla="*/ 2157990 w 2608360"/>
                <a:gd name="connsiteY133" fmla="*/ 2095692 h 2476692"/>
                <a:gd name="connsiteX134" fmla="*/ 2181803 w 2608360"/>
                <a:gd name="connsiteY134" fmla="*/ 2062354 h 2476692"/>
                <a:gd name="connsiteX135" fmla="*/ 2191328 w 2608360"/>
                <a:gd name="connsiteY135" fmla="*/ 2048067 h 2476692"/>
                <a:gd name="connsiteX136" fmla="*/ 2196090 w 2608360"/>
                <a:gd name="connsiteY136" fmla="*/ 1986154 h 2476692"/>
                <a:gd name="connsiteX137" fmla="*/ 2186565 w 2608360"/>
                <a:gd name="connsiteY137" fmla="*/ 1957579 h 2476692"/>
                <a:gd name="connsiteX138" fmla="*/ 2162753 w 2608360"/>
                <a:gd name="connsiteY138" fmla="*/ 1952817 h 2476692"/>
                <a:gd name="connsiteX139" fmla="*/ 2134178 w 2608360"/>
                <a:gd name="connsiteY139" fmla="*/ 1971867 h 2476692"/>
                <a:gd name="connsiteX140" fmla="*/ 2124653 w 2608360"/>
                <a:gd name="connsiteY140" fmla="*/ 1986154 h 2476692"/>
                <a:gd name="connsiteX141" fmla="*/ 2105603 w 2608360"/>
                <a:gd name="connsiteY141" fmla="*/ 2005204 h 2476692"/>
                <a:gd name="connsiteX142" fmla="*/ 2072265 w 2608360"/>
                <a:gd name="connsiteY142" fmla="*/ 2038542 h 2476692"/>
                <a:gd name="connsiteX143" fmla="*/ 2057978 w 2608360"/>
                <a:gd name="connsiteY143" fmla="*/ 2048067 h 2476692"/>
                <a:gd name="connsiteX144" fmla="*/ 2029403 w 2608360"/>
                <a:gd name="connsiteY144" fmla="*/ 2052829 h 2476692"/>
                <a:gd name="connsiteX145" fmla="*/ 2019878 w 2608360"/>
                <a:gd name="connsiteY145" fmla="*/ 2009967 h 2476692"/>
                <a:gd name="connsiteX146" fmla="*/ 1991303 w 2608360"/>
                <a:gd name="connsiteY146" fmla="*/ 1986154 h 2476692"/>
                <a:gd name="connsiteX147" fmla="*/ 1962728 w 2608360"/>
                <a:gd name="connsiteY147" fmla="*/ 1976629 h 2476692"/>
                <a:gd name="connsiteX148" fmla="*/ 1948440 w 2608360"/>
                <a:gd name="connsiteY148" fmla="*/ 1990917 h 2476692"/>
                <a:gd name="connsiteX149" fmla="*/ 1910340 w 2608360"/>
                <a:gd name="connsiteY149" fmla="*/ 2000442 h 2476692"/>
                <a:gd name="connsiteX150" fmla="*/ 1891290 w 2608360"/>
                <a:gd name="connsiteY150" fmla="*/ 1971867 h 2476692"/>
                <a:gd name="connsiteX151" fmla="*/ 1886528 w 2608360"/>
                <a:gd name="connsiteY151" fmla="*/ 1952817 h 2476692"/>
                <a:gd name="connsiteX152" fmla="*/ 1881765 w 2608360"/>
                <a:gd name="connsiteY152" fmla="*/ 1929004 h 2476692"/>
                <a:gd name="connsiteX153" fmla="*/ 1877003 w 2608360"/>
                <a:gd name="connsiteY153" fmla="*/ 1886142 h 2476692"/>
                <a:gd name="connsiteX154" fmla="*/ 1862715 w 2608360"/>
                <a:gd name="connsiteY154" fmla="*/ 1871854 h 2476692"/>
                <a:gd name="connsiteX155" fmla="*/ 1853190 w 2608360"/>
                <a:gd name="connsiteY155" fmla="*/ 1857567 h 2476692"/>
                <a:gd name="connsiteX156" fmla="*/ 1824615 w 2608360"/>
                <a:gd name="connsiteY156" fmla="*/ 1838517 h 2476692"/>
                <a:gd name="connsiteX157" fmla="*/ 1819853 w 2608360"/>
                <a:gd name="connsiteY157" fmla="*/ 1819467 h 2476692"/>
                <a:gd name="connsiteX158" fmla="*/ 1834140 w 2608360"/>
                <a:gd name="connsiteY158" fmla="*/ 1814704 h 2476692"/>
                <a:gd name="connsiteX159" fmla="*/ 1848428 w 2608360"/>
                <a:gd name="connsiteY159" fmla="*/ 1809942 h 2476692"/>
                <a:gd name="connsiteX160" fmla="*/ 1862715 w 2608360"/>
                <a:gd name="connsiteY160" fmla="*/ 1805179 h 2476692"/>
                <a:gd name="connsiteX161" fmla="*/ 1891290 w 2608360"/>
                <a:gd name="connsiteY161" fmla="*/ 1795654 h 2476692"/>
                <a:gd name="connsiteX162" fmla="*/ 1896053 w 2608360"/>
                <a:gd name="connsiteY162" fmla="*/ 1781367 h 2476692"/>
                <a:gd name="connsiteX163" fmla="*/ 1900815 w 2608360"/>
                <a:gd name="connsiteY163" fmla="*/ 1762317 h 2476692"/>
                <a:gd name="connsiteX164" fmla="*/ 1891290 w 2608360"/>
                <a:gd name="connsiteY164" fmla="*/ 1676592 h 2476692"/>
                <a:gd name="connsiteX165" fmla="*/ 1719840 w 2608360"/>
                <a:gd name="connsiteY165" fmla="*/ 1671829 h 2476692"/>
                <a:gd name="connsiteX166" fmla="*/ 1710315 w 2608360"/>
                <a:gd name="connsiteY166" fmla="*/ 1690879 h 2476692"/>
                <a:gd name="connsiteX167" fmla="*/ 1696028 w 2608360"/>
                <a:gd name="connsiteY167" fmla="*/ 1709929 h 2476692"/>
                <a:gd name="connsiteX168" fmla="*/ 1681740 w 2608360"/>
                <a:gd name="connsiteY168" fmla="*/ 1724217 h 2476692"/>
                <a:gd name="connsiteX169" fmla="*/ 1676978 w 2608360"/>
                <a:gd name="connsiteY169" fmla="*/ 1738504 h 2476692"/>
                <a:gd name="connsiteX170" fmla="*/ 1667453 w 2608360"/>
                <a:gd name="connsiteY170" fmla="*/ 1762317 h 2476692"/>
                <a:gd name="connsiteX171" fmla="*/ 1643640 w 2608360"/>
                <a:gd name="connsiteY171" fmla="*/ 1795654 h 2476692"/>
                <a:gd name="connsiteX172" fmla="*/ 1291215 w 2608360"/>
                <a:gd name="connsiteY172" fmla="*/ 1938529 h 2476692"/>
                <a:gd name="connsiteX173" fmla="*/ 1162628 w 2608360"/>
                <a:gd name="connsiteY173" fmla="*/ 1833754 h 2476692"/>
                <a:gd name="connsiteX174" fmla="*/ 1091190 w 2608360"/>
                <a:gd name="connsiteY174" fmla="*/ 1843279 h 2476692"/>
                <a:gd name="connsiteX175" fmla="*/ 1014990 w 2608360"/>
                <a:gd name="connsiteY175" fmla="*/ 1786129 h 2476692"/>
                <a:gd name="connsiteX176" fmla="*/ 1024515 w 2608360"/>
                <a:gd name="connsiteY176" fmla="*/ 1733742 h 2476692"/>
                <a:gd name="connsiteX177" fmla="*/ 957840 w 2608360"/>
                <a:gd name="connsiteY177" fmla="*/ 1719454 h 2476692"/>
                <a:gd name="connsiteX178" fmla="*/ 767340 w 2608360"/>
                <a:gd name="connsiteY178" fmla="*/ 1671829 h 2476692"/>
                <a:gd name="connsiteX179" fmla="*/ 743528 w 2608360"/>
                <a:gd name="connsiteY179" fmla="*/ 1681354 h 2476692"/>
                <a:gd name="connsiteX180" fmla="*/ 729240 w 2608360"/>
                <a:gd name="connsiteY180" fmla="*/ 1686117 h 2476692"/>
                <a:gd name="connsiteX181" fmla="*/ 700665 w 2608360"/>
                <a:gd name="connsiteY181" fmla="*/ 1667067 h 2476692"/>
                <a:gd name="connsiteX182" fmla="*/ 657803 w 2608360"/>
                <a:gd name="connsiteY182" fmla="*/ 1624204 h 2476692"/>
                <a:gd name="connsiteX183" fmla="*/ 605415 w 2608360"/>
                <a:gd name="connsiteY183" fmla="*/ 1638492 h 2476692"/>
                <a:gd name="connsiteX184" fmla="*/ 533978 w 2608360"/>
                <a:gd name="connsiteY184" fmla="*/ 1543242 h 2476692"/>
                <a:gd name="connsiteX185" fmla="*/ 548265 w 2608360"/>
                <a:gd name="connsiteY185" fmla="*/ 1528954 h 2476692"/>
                <a:gd name="connsiteX186" fmla="*/ 567315 w 2608360"/>
                <a:gd name="connsiteY186" fmla="*/ 1514667 h 2476692"/>
                <a:gd name="connsiteX187" fmla="*/ 581603 w 2608360"/>
                <a:gd name="connsiteY187" fmla="*/ 1476567 h 2476692"/>
                <a:gd name="connsiteX188" fmla="*/ 567315 w 2608360"/>
                <a:gd name="connsiteY188" fmla="*/ 1471804 h 2476692"/>
                <a:gd name="connsiteX189" fmla="*/ 543503 w 2608360"/>
                <a:gd name="connsiteY189" fmla="*/ 1462279 h 2476692"/>
                <a:gd name="connsiteX190" fmla="*/ 562553 w 2608360"/>
                <a:gd name="connsiteY190" fmla="*/ 1428942 h 2476692"/>
                <a:gd name="connsiteX191" fmla="*/ 567315 w 2608360"/>
                <a:gd name="connsiteY191" fmla="*/ 1414654 h 2476692"/>
                <a:gd name="connsiteX192" fmla="*/ 586365 w 2608360"/>
                <a:gd name="connsiteY192" fmla="*/ 1386079 h 2476692"/>
                <a:gd name="connsiteX193" fmla="*/ 619703 w 2608360"/>
                <a:gd name="connsiteY193" fmla="*/ 1362267 h 2476692"/>
                <a:gd name="connsiteX194" fmla="*/ 633990 w 2608360"/>
                <a:gd name="connsiteY194" fmla="*/ 1343217 h 2476692"/>
                <a:gd name="connsiteX195" fmla="*/ 662565 w 2608360"/>
                <a:gd name="connsiteY195" fmla="*/ 1319404 h 2476692"/>
                <a:gd name="connsiteX196" fmla="*/ 667328 w 2608360"/>
                <a:gd name="connsiteY196" fmla="*/ 1281304 h 2476692"/>
                <a:gd name="connsiteX197" fmla="*/ 638753 w 2608360"/>
                <a:gd name="connsiteY197" fmla="*/ 1267017 h 2476692"/>
                <a:gd name="connsiteX198" fmla="*/ 633990 w 2608360"/>
                <a:gd name="connsiteY198" fmla="*/ 1252729 h 2476692"/>
                <a:gd name="connsiteX199" fmla="*/ 643515 w 2608360"/>
                <a:gd name="connsiteY199" fmla="*/ 1238442 h 2476692"/>
                <a:gd name="connsiteX200" fmla="*/ 672090 w 2608360"/>
                <a:gd name="connsiteY200" fmla="*/ 1219392 h 2476692"/>
                <a:gd name="connsiteX201" fmla="*/ 672090 w 2608360"/>
                <a:gd name="connsiteY201" fmla="*/ 1162242 h 2476692"/>
                <a:gd name="connsiteX202" fmla="*/ 662565 w 2608360"/>
                <a:gd name="connsiteY202" fmla="*/ 1147954 h 2476692"/>
                <a:gd name="connsiteX203" fmla="*/ 619703 w 2608360"/>
                <a:gd name="connsiteY203" fmla="*/ 1167004 h 2476692"/>
                <a:gd name="connsiteX204" fmla="*/ 610178 w 2608360"/>
                <a:gd name="connsiteY204" fmla="*/ 1152717 h 2476692"/>
                <a:gd name="connsiteX205" fmla="*/ 605415 w 2608360"/>
                <a:gd name="connsiteY205" fmla="*/ 1105092 h 2476692"/>
                <a:gd name="connsiteX206" fmla="*/ 595890 w 2608360"/>
                <a:gd name="connsiteY206" fmla="*/ 1086042 h 2476692"/>
                <a:gd name="connsiteX207" fmla="*/ 576840 w 2608360"/>
                <a:gd name="connsiteY207" fmla="*/ 1057467 h 2476692"/>
                <a:gd name="connsiteX208" fmla="*/ 572078 w 2608360"/>
                <a:gd name="connsiteY208" fmla="*/ 1043179 h 2476692"/>
                <a:gd name="connsiteX209" fmla="*/ 562553 w 2608360"/>
                <a:gd name="connsiteY209" fmla="*/ 962217 h 2476692"/>
                <a:gd name="connsiteX210" fmla="*/ 462540 w 2608360"/>
                <a:gd name="connsiteY210" fmla="*/ 1043179 h 2476692"/>
                <a:gd name="connsiteX211" fmla="*/ 433965 w 2608360"/>
                <a:gd name="connsiteY211" fmla="*/ 952692 h 2476692"/>
                <a:gd name="connsiteX212" fmla="*/ 343478 w 2608360"/>
                <a:gd name="connsiteY212" fmla="*/ 862204 h 2476692"/>
                <a:gd name="connsiteX213" fmla="*/ 262515 w 2608360"/>
                <a:gd name="connsiteY213" fmla="*/ 871729 h 2476692"/>
                <a:gd name="connsiteX214" fmla="*/ 205365 w 2608360"/>
                <a:gd name="connsiteY214" fmla="*/ 919354 h 2476692"/>
                <a:gd name="connsiteX215" fmla="*/ 95828 w 2608360"/>
                <a:gd name="connsiteY215" fmla="*/ 986029 h 2476692"/>
                <a:gd name="connsiteX216" fmla="*/ 24390 w 2608360"/>
                <a:gd name="connsiteY216" fmla="*/ 986029 h 2476692"/>
                <a:gd name="connsiteX217" fmla="*/ 14865 w 2608360"/>
                <a:gd name="connsiteY217" fmla="*/ 947929 h 2476692"/>
                <a:gd name="connsiteX218" fmla="*/ 578 w 2608360"/>
                <a:gd name="connsiteY218" fmla="*/ 933642 h 2476692"/>
                <a:gd name="connsiteX219" fmla="*/ 5340 w 2608360"/>
                <a:gd name="connsiteY219" fmla="*/ 890779 h 2476692"/>
                <a:gd name="connsiteX220" fmla="*/ 57728 w 2608360"/>
                <a:gd name="connsiteY220" fmla="*/ 781242 h 2476692"/>
                <a:gd name="connsiteX221" fmla="*/ 238703 w 2608360"/>
                <a:gd name="connsiteY221" fmla="*/ 543117 h 2476692"/>
                <a:gd name="connsiteX222" fmla="*/ 333953 w 2608360"/>
                <a:gd name="connsiteY222" fmla="*/ 543117 h 2476692"/>
                <a:gd name="connsiteX223" fmla="*/ 429203 w 2608360"/>
                <a:gd name="connsiteY223" fmla="*/ 524067 h 2476692"/>
                <a:gd name="connsiteX224" fmla="*/ 467303 w 2608360"/>
                <a:gd name="connsiteY224" fmla="*/ 538354 h 2476692"/>
                <a:gd name="connsiteX225" fmla="*/ 481590 w 2608360"/>
                <a:gd name="connsiteY225" fmla="*/ 528829 h 2476692"/>
                <a:gd name="connsiteX226" fmla="*/ 486353 w 2608360"/>
                <a:gd name="connsiteY226" fmla="*/ 514542 h 2476692"/>
                <a:gd name="connsiteX227" fmla="*/ 491115 w 2608360"/>
                <a:gd name="connsiteY227" fmla="*/ 466917 h 2476692"/>
                <a:gd name="connsiteX228" fmla="*/ 481590 w 2608360"/>
                <a:gd name="connsiteY228" fmla="*/ 438342 h 2476692"/>
                <a:gd name="connsiteX229" fmla="*/ 462540 w 2608360"/>
                <a:gd name="connsiteY229" fmla="*/ 409767 h 2476692"/>
                <a:gd name="connsiteX230" fmla="*/ 472065 w 2608360"/>
                <a:gd name="connsiteY230" fmla="*/ 347854 h 2476692"/>
                <a:gd name="connsiteX231" fmla="*/ 505403 w 2608360"/>
                <a:gd name="connsiteY231" fmla="*/ 295467 h 2476692"/>
                <a:gd name="connsiteX232" fmla="*/ 514928 w 2608360"/>
                <a:gd name="connsiteY232" fmla="*/ 281179 h 2476692"/>
                <a:gd name="connsiteX233" fmla="*/ 519690 w 2608360"/>
                <a:gd name="connsiteY233" fmla="*/ 257367 h 2476692"/>
                <a:gd name="connsiteX234" fmla="*/ 529215 w 2608360"/>
                <a:gd name="connsiteY234" fmla="*/ 243079 h 2476692"/>
                <a:gd name="connsiteX235" fmla="*/ 538740 w 2608360"/>
                <a:gd name="connsiteY235" fmla="*/ 204979 h 2476692"/>
                <a:gd name="connsiteX236" fmla="*/ 548265 w 2608360"/>
                <a:gd name="connsiteY236" fmla="*/ 185929 h 2476692"/>
                <a:gd name="connsiteX237" fmla="*/ 553028 w 2608360"/>
                <a:gd name="connsiteY237" fmla="*/ 171642 h 2476692"/>
                <a:gd name="connsiteX238" fmla="*/ 562553 w 2608360"/>
                <a:gd name="connsiteY238" fmla="*/ 157354 h 2476692"/>
                <a:gd name="connsiteX239" fmla="*/ 567315 w 2608360"/>
                <a:gd name="connsiteY239" fmla="*/ 133542 h 2476692"/>
                <a:gd name="connsiteX240" fmla="*/ 576840 w 2608360"/>
                <a:gd name="connsiteY240" fmla="*/ 100204 h 2476692"/>
                <a:gd name="connsiteX241" fmla="*/ 581603 w 2608360"/>
                <a:gd name="connsiteY241" fmla="*/ 81154 h 2476692"/>
                <a:gd name="connsiteX242" fmla="*/ 595890 w 2608360"/>
                <a:gd name="connsiteY242" fmla="*/ 33529 h 2476692"/>
                <a:gd name="connsiteX243" fmla="*/ 619703 w 2608360"/>
                <a:gd name="connsiteY243" fmla="*/ 192 h 2476692"/>
                <a:gd name="connsiteX244" fmla="*/ 621543 w 2608360"/>
                <a:gd name="connsiteY244" fmla="*/ 0 h 2476692"/>
                <a:gd name="connsiteX0" fmla="*/ 621543 w 2613453"/>
                <a:gd name="connsiteY0" fmla="*/ 0 h 2476692"/>
                <a:gd name="connsiteX1" fmla="*/ 637165 w 2613453"/>
                <a:gd name="connsiteY1" fmla="*/ 20829 h 2476692"/>
                <a:gd name="connsiteX2" fmla="*/ 643515 w 2613453"/>
                <a:gd name="connsiteY2" fmla="*/ 30354 h 2476692"/>
                <a:gd name="connsiteX3" fmla="*/ 646690 w 2613453"/>
                <a:gd name="connsiteY3" fmla="*/ 74804 h 2476692"/>
                <a:gd name="connsiteX4" fmla="*/ 656215 w 2613453"/>
                <a:gd name="connsiteY4" fmla="*/ 100204 h 2476692"/>
                <a:gd name="connsiteX5" fmla="*/ 757815 w 2613453"/>
                <a:gd name="connsiteY5" fmla="*/ 119254 h 2476692"/>
                <a:gd name="connsiteX6" fmla="*/ 780040 w 2613453"/>
                <a:gd name="connsiteY6" fmla="*/ 135129 h 2476692"/>
                <a:gd name="connsiteX7" fmla="*/ 789565 w 2613453"/>
                <a:gd name="connsiteY7" fmla="*/ 138304 h 2476692"/>
                <a:gd name="connsiteX8" fmla="*/ 808615 w 2613453"/>
                <a:gd name="connsiteY8" fmla="*/ 154179 h 2476692"/>
                <a:gd name="connsiteX9" fmla="*/ 824490 w 2613453"/>
                <a:gd name="connsiteY9" fmla="*/ 176404 h 2476692"/>
                <a:gd name="connsiteX10" fmla="*/ 827665 w 2613453"/>
                <a:gd name="connsiteY10" fmla="*/ 185929 h 2476692"/>
                <a:gd name="connsiteX11" fmla="*/ 853065 w 2613453"/>
                <a:gd name="connsiteY11" fmla="*/ 201804 h 2476692"/>
                <a:gd name="connsiteX12" fmla="*/ 929265 w 2613453"/>
                <a:gd name="connsiteY12" fmla="*/ 220854 h 2476692"/>
                <a:gd name="connsiteX13" fmla="*/ 957840 w 2613453"/>
                <a:gd name="connsiteY13" fmla="*/ 198629 h 2476692"/>
                <a:gd name="connsiteX14" fmla="*/ 980065 w 2613453"/>
                <a:gd name="connsiteY14" fmla="*/ 182754 h 2476692"/>
                <a:gd name="connsiteX15" fmla="*/ 989590 w 2613453"/>
                <a:gd name="connsiteY15" fmla="*/ 176404 h 2476692"/>
                <a:gd name="connsiteX16" fmla="*/ 1011815 w 2613453"/>
                <a:gd name="connsiteY16" fmla="*/ 173229 h 2476692"/>
                <a:gd name="connsiteX17" fmla="*/ 1027690 w 2613453"/>
                <a:gd name="connsiteY17" fmla="*/ 166879 h 2476692"/>
                <a:gd name="connsiteX18" fmla="*/ 1094365 w 2613453"/>
                <a:gd name="connsiteY18" fmla="*/ 220854 h 2476692"/>
                <a:gd name="connsiteX19" fmla="*/ 1186440 w 2613453"/>
                <a:gd name="connsiteY19" fmla="*/ 217679 h 2476692"/>
                <a:gd name="connsiteX20" fmla="*/ 1278515 w 2613453"/>
                <a:gd name="connsiteY20" fmla="*/ 170054 h 2476692"/>
                <a:gd name="connsiteX21" fmla="*/ 1326140 w 2613453"/>
                <a:gd name="connsiteY21" fmla="*/ 74804 h 2476692"/>
                <a:gd name="connsiteX22" fmla="*/ 1373765 w 2613453"/>
                <a:gd name="connsiteY22" fmla="*/ 122429 h 2476692"/>
                <a:gd name="connsiteX23" fmla="*/ 1459490 w 2613453"/>
                <a:gd name="connsiteY23" fmla="*/ 144654 h 2476692"/>
                <a:gd name="connsiteX24" fmla="*/ 1589665 w 2613453"/>
                <a:gd name="connsiteY24" fmla="*/ 144654 h 2476692"/>
                <a:gd name="connsiteX25" fmla="*/ 1697615 w 2613453"/>
                <a:gd name="connsiteY25" fmla="*/ 97029 h 2476692"/>
                <a:gd name="connsiteX26" fmla="*/ 1726190 w 2613453"/>
                <a:gd name="connsiteY26" fmla="*/ 103379 h 2476692"/>
                <a:gd name="connsiteX27" fmla="*/ 1738890 w 2613453"/>
                <a:gd name="connsiteY27" fmla="*/ 122429 h 2476692"/>
                <a:gd name="connsiteX28" fmla="*/ 1732540 w 2613453"/>
                <a:gd name="connsiteY28" fmla="*/ 141479 h 2476692"/>
                <a:gd name="connsiteX29" fmla="*/ 1723015 w 2613453"/>
                <a:gd name="connsiteY29" fmla="*/ 154179 h 2476692"/>
                <a:gd name="connsiteX30" fmla="*/ 1802390 w 2613453"/>
                <a:gd name="connsiteY30" fmla="*/ 144654 h 2476692"/>
                <a:gd name="connsiteX31" fmla="*/ 1824615 w 2613453"/>
                <a:gd name="connsiteY31" fmla="*/ 160529 h 2476692"/>
                <a:gd name="connsiteX32" fmla="*/ 1827790 w 2613453"/>
                <a:gd name="connsiteY32" fmla="*/ 195454 h 2476692"/>
                <a:gd name="connsiteX33" fmla="*/ 1834140 w 2613453"/>
                <a:gd name="connsiteY33" fmla="*/ 217679 h 2476692"/>
                <a:gd name="connsiteX34" fmla="*/ 1840490 w 2613453"/>
                <a:gd name="connsiteY34" fmla="*/ 230379 h 2476692"/>
                <a:gd name="connsiteX35" fmla="*/ 1846840 w 2613453"/>
                <a:gd name="connsiteY35" fmla="*/ 239904 h 2476692"/>
                <a:gd name="connsiteX36" fmla="*/ 1846840 w 2613453"/>
                <a:gd name="connsiteY36" fmla="*/ 249429 h 2476692"/>
                <a:gd name="connsiteX37" fmla="*/ 1916690 w 2613453"/>
                <a:gd name="connsiteY37" fmla="*/ 274829 h 2476692"/>
                <a:gd name="connsiteX38" fmla="*/ 1945265 w 2613453"/>
                <a:gd name="connsiteY38" fmla="*/ 268479 h 2476692"/>
                <a:gd name="connsiteX39" fmla="*/ 1961140 w 2613453"/>
                <a:gd name="connsiteY39" fmla="*/ 274829 h 2476692"/>
                <a:gd name="connsiteX40" fmla="*/ 1977015 w 2613453"/>
                <a:gd name="connsiteY40" fmla="*/ 293879 h 2476692"/>
                <a:gd name="connsiteX41" fmla="*/ 2002415 w 2613453"/>
                <a:gd name="connsiteY41" fmla="*/ 297054 h 2476692"/>
                <a:gd name="connsiteX42" fmla="*/ 2002415 w 2613453"/>
                <a:gd name="connsiteY42" fmla="*/ 344679 h 2476692"/>
                <a:gd name="connsiteX43" fmla="*/ 1998496 w 2613453"/>
                <a:gd name="connsiteY43" fmla="*/ 359366 h 2476692"/>
                <a:gd name="connsiteX44" fmla="*/ 1997699 w 2613453"/>
                <a:gd name="connsiteY44" fmla="*/ 359161 h 2476692"/>
                <a:gd name="connsiteX45" fmla="*/ 1996509 w 2613453"/>
                <a:gd name="connsiteY45" fmla="*/ 357863 h 2476692"/>
                <a:gd name="connsiteX46" fmla="*/ 1996082 w 2613453"/>
                <a:gd name="connsiteY46" fmla="*/ 354482 h 2476692"/>
                <a:gd name="connsiteX47" fmla="*/ 1996065 w 2613453"/>
                <a:gd name="connsiteY47" fmla="*/ 357379 h 2476692"/>
                <a:gd name="connsiteX48" fmla="*/ 1996509 w 2613453"/>
                <a:gd name="connsiteY48" fmla="*/ 357863 h 2476692"/>
                <a:gd name="connsiteX49" fmla="*/ 1996639 w 2613453"/>
                <a:gd name="connsiteY49" fmla="*/ 358889 h 2476692"/>
                <a:gd name="connsiteX50" fmla="*/ 1997699 w 2613453"/>
                <a:gd name="connsiteY50" fmla="*/ 359161 h 2476692"/>
                <a:gd name="connsiteX51" fmla="*/ 2030990 w 2613453"/>
                <a:gd name="connsiteY51" fmla="*/ 395479 h 2476692"/>
                <a:gd name="connsiteX52" fmla="*/ 2059565 w 2613453"/>
                <a:gd name="connsiteY52" fmla="*/ 385954 h 2476692"/>
                <a:gd name="connsiteX53" fmla="*/ 2069090 w 2613453"/>
                <a:gd name="connsiteY53" fmla="*/ 379604 h 2476692"/>
                <a:gd name="connsiteX54" fmla="*/ 2078615 w 2613453"/>
                <a:gd name="connsiteY54" fmla="*/ 376429 h 2476692"/>
                <a:gd name="connsiteX55" fmla="*/ 2116715 w 2613453"/>
                <a:gd name="connsiteY55" fmla="*/ 379604 h 2476692"/>
                <a:gd name="connsiteX56" fmla="*/ 2119890 w 2613453"/>
                <a:gd name="connsiteY56" fmla="*/ 411354 h 2476692"/>
                <a:gd name="connsiteX57" fmla="*/ 2129415 w 2613453"/>
                <a:gd name="connsiteY57" fmla="*/ 443104 h 2476692"/>
                <a:gd name="connsiteX58" fmla="*/ 2132590 w 2613453"/>
                <a:gd name="connsiteY58" fmla="*/ 452629 h 2476692"/>
                <a:gd name="connsiteX59" fmla="*/ 2135765 w 2613453"/>
                <a:gd name="connsiteY59" fmla="*/ 462154 h 2476692"/>
                <a:gd name="connsiteX60" fmla="*/ 2142115 w 2613453"/>
                <a:gd name="connsiteY60" fmla="*/ 493904 h 2476692"/>
                <a:gd name="connsiteX61" fmla="*/ 2138940 w 2613453"/>
                <a:gd name="connsiteY61" fmla="*/ 532004 h 2476692"/>
                <a:gd name="connsiteX62" fmla="*/ 2110365 w 2613453"/>
                <a:gd name="connsiteY62" fmla="*/ 547879 h 2476692"/>
                <a:gd name="connsiteX63" fmla="*/ 2097665 w 2613453"/>
                <a:gd name="connsiteY63" fmla="*/ 557404 h 2476692"/>
                <a:gd name="connsiteX64" fmla="*/ 2094490 w 2613453"/>
                <a:gd name="connsiteY64" fmla="*/ 582804 h 2476692"/>
                <a:gd name="connsiteX65" fmla="*/ 2104015 w 2613453"/>
                <a:gd name="connsiteY65" fmla="*/ 608204 h 2476692"/>
                <a:gd name="connsiteX66" fmla="*/ 2110365 w 2613453"/>
                <a:gd name="connsiteY66" fmla="*/ 617729 h 2476692"/>
                <a:gd name="connsiteX67" fmla="*/ 2116715 w 2613453"/>
                <a:gd name="connsiteY67" fmla="*/ 643129 h 2476692"/>
                <a:gd name="connsiteX68" fmla="*/ 2119890 w 2613453"/>
                <a:gd name="connsiteY68" fmla="*/ 719329 h 2476692"/>
                <a:gd name="connsiteX69" fmla="*/ 2123065 w 2613453"/>
                <a:gd name="connsiteY69" fmla="*/ 728854 h 2476692"/>
                <a:gd name="connsiteX70" fmla="*/ 2142115 w 2613453"/>
                <a:gd name="connsiteY70" fmla="*/ 741554 h 2476692"/>
                <a:gd name="connsiteX71" fmla="*/ 2161165 w 2613453"/>
                <a:gd name="connsiteY71" fmla="*/ 738379 h 2476692"/>
                <a:gd name="connsiteX72" fmla="*/ 2170690 w 2613453"/>
                <a:gd name="connsiteY72" fmla="*/ 732029 h 2476692"/>
                <a:gd name="connsiteX73" fmla="*/ 2183390 w 2613453"/>
                <a:gd name="connsiteY73" fmla="*/ 725679 h 2476692"/>
                <a:gd name="connsiteX74" fmla="*/ 2192915 w 2613453"/>
                <a:gd name="connsiteY74" fmla="*/ 719329 h 2476692"/>
                <a:gd name="connsiteX75" fmla="*/ 2211965 w 2613453"/>
                <a:gd name="connsiteY75" fmla="*/ 712979 h 2476692"/>
                <a:gd name="connsiteX76" fmla="*/ 2259590 w 2613453"/>
                <a:gd name="connsiteY76" fmla="*/ 716154 h 2476692"/>
                <a:gd name="connsiteX77" fmla="*/ 2262765 w 2613453"/>
                <a:gd name="connsiteY77" fmla="*/ 732029 h 2476692"/>
                <a:gd name="connsiteX78" fmla="*/ 2272290 w 2613453"/>
                <a:gd name="connsiteY78" fmla="*/ 751079 h 2476692"/>
                <a:gd name="connsiteX79" fmla="*/ 2297690 w 2613453"/>
                <a:gd name="connsiteY79" fmla="*/ 754254 h 2476692"/>
                <a:gd name="connsiteX80" fmla="*/ 2329440 w 2613453"/>
                <a:gd name="connsiteY80" fmla="*/ 738379 h 2476692"/>
                <a:gd name="connsiteX81" fmla="*/ 2338965 w 2613453"/>
                <a:gd name="connsiteY81" fmla="*/ 735204 h 2476692"/>
                <a:gd name="connsiteX82" fmla="*/ 2367540 w 2613453"/>
                <a:gd name="connsiteY82" fmla="*/ 722504 h 2476692"/>
                <a:gd name="connsiteX83" fmla="*/ 2377065 w 2613453"/>
                <a:gd name="connsiteY83" fmla="*/ 719329 h 2476692"/>
                <a:gd name="connsiteX84" fmla="*/ 2391809 w 2613453"/>
                <a:gd name="connsiteY84" fmla="*/ 719329 h 2476692"/>
                <a:gd name="connsiteX85" fmla="*/ 2605665 w 2613453"/>
                <a:gd name="connsiteY85" fmla="*/ 1412273 h 2476692"/>
                <a:gd name="connsiteX86" fmla="*/ 2574709 w 2613453"/>
                <a:gd name="connsiteY86" fmla="*/ 1486092 h 2476692"/>
                <a:gd name="connsiteX87" fmla="*/ 2608046 w 2613453"/>
                <a:gd name="connsiteY87" fmla="*/ 1586104 h 2476692"/>
                <a:gd name="connsiteX88" fmla="*/ 2598522 w 2613453"/>
                <a:gd name="connsiteY88" fmla="*/ 1619442 h 2476692"/>
                <a:gd name="connsiteX89" fmla="*/ 2593759 w 2613453"/>
                <a:gd name="connsiteY89" fmla="*/ 1712310 h 2476692"/>
                <a:gd name="connsiteX90" fmla="*/ 2577090 w 2613453"/>
                <a:gd name="connsiteY90" fmla="*/ 1802798 h 2476692"/>
                <a:gd name="connsiteX91" fmla="*/ 2512796 w 2613453"/>
                <a:gd name="connsiteY91" fmla="*/ 1824229 h 2476692"/>
                <a:gd name="connsiteX92" fmla="*/ 2558040 w 2613453"/>
                <a:gd name="connsiteY92" fmla="*/ 1883760 h 2476692"/>
                <a:gd name="connsiteX93" fmla="*/ 2555659 w 2613453"/>
                <a:gd name="connsiteY93" fmla="*/ 1909954 h 2476692"/>
                <a:gd name="connsiteX94" fmla="*/ 2527084 w 2613453"/>
                <a:gd name="connsiteY94" fmla="*/ 1995679 h 2476692"/>
                <a:gd name="connsiteX95" fmla="*/ 2503271 w 2613453"/>
                <a:gd name="connsiteY95" fmla="*/ 1986154 h 2476692"/>
                <a:gd name="connsiteX96" fmla="*/ 2472315 w 2613453"/>
                <a:gd name="connsiteY96" fmla="*/ 1971867 h 2476692"/>
                <a:gd name="connsiteX97" fmla="*/ 2436596 w 2613453"/>
                <a:gd name="connsiteY97" fmla="*/ 1986154 h 2476692"/>
                <a:gd name="connsiteX98" fmla="*/ 2450884 w 2613453"/>
                <a:gd name="connsiteY98" fmla="*/ 2017110 h 2476692"/>
                <a:gd name="connsiteX99" fmla="*/ 2465171 w 2613453"/>
                <a:gd name="connsiteY99" fmla="*/ 2057592 h 2476692"/>
                <a:gd name="connsiteX100" fmla="*/ 2455646 w 2613453"/>
                <a:gd name="connsiteY100" fmla="*/ 2121885 h 2476692"/>
                <a:gd name="connsiteX101" fmla="*/ 2410403 w 2613453"/>
                <a:gd name="connsiteY101" fmla="*/ 2152842 h 2476692"/>
                <a:gd name="connsiteX102" fmla="*/ 2458028 w 2613453"/>
                <a:gd name="connsiteY102" fmla="*/ 2186180 h 2476692"/>
                <a:gd name="connsiteX103" fmla="*/ 2448503 w 2613453"/>
                <a:gd name="connsiteY103" fmla="*/ 2226660 h 2476692"/>
                <a:gd name="connsiteX104" fmla="*/ 2410403 w 2613453"/>
                <a:gd name="connsiteY104" fmla="*/ 2262379 h 2476692"/>
                <a:gd name="connsiteX105" fmla="*/ 2388971 w 2613453"/>
                <a:gd name="connsiteY105" fmla="*/ 2331435 h 2476692"/>
                <a:gd name="connsiteX106" fmla="*/ 2405640 w 2613453"/>
                <a:gd name="connsiteY106" fmla="*/ 2381442 h 2476692"/>
                <a:gd name="connsiteX107" fmla="*/ 2391353 w 2613453"/>
                <a:gd name="connsiteY107" fmla="*/ 2414779 h 2476692"/>
                <a:gd name="connsiteX108" fmla="*/ 2334203 w 2613453"/>
                <a:gd name="connsiteY108" fmla="*/ 2433829 h 2476692"/>
                <a:gd name="connsiteX109" fmla="*/ 2305628 w 2613453"/>
                <a:gd name="connsiteY109" fmla="*/ 2443354 h 2476692"/>
                <a:gd name="connsiteX110" fmla="*/ 2296103 w 2613453"/>
                <a:gd name="connsiteY110" fmla="*/ 2457642 h 2476692"/>
                <a:gd name="connsiteX111" fmla="*/ 2262765 w 2613453"/>
                <a:gd name="connsiteY111" fmla="*/ 2462404 h 2476692"/>
                <a:gd name="connsiteX112" fmla="*/ 2229428 w 2613453"/>
                <a:gd name="connsiteY112" fmla="*/ 2438592 h 2476692"/>
                <a:gd name="connsiteX113" fmla="*/ 2215140 w 2613453"/>
                <a:gd name="connsiteY113" fmla="*/ 2433829 h 2476692"/>
                <a:gd name="connsiteX114" fmla="*/ 2205615 w 2613453"/>
                <a:gd name="connsiteY114" fmla="*/ 2457642 h 2476692"/>
                <a:gd name="connsiteX115" fmla="*/ 2191328 w 2613453"/>
                <a:gd name="connsiteY115" fmla="*/ 2467167 h 2476692"/>
                <a:gd name="connsiteX116" fmla="*/ 2153228 w 2613453"/>
                <a:gd name="connsiteY116" fmla="*/ 2476692 h 2476692"/>
                <a:gd name="connsiteX117" fmla="*/ 2134178 w 2613453"/>
                <a:gd name="connsiteY117" fmla="*/ 2448117 h 2476692"/>
                <a:gd name="connsiteX118" fmla="*/ 2124653 w 2613453"/>
                <a:gd name="connsiteY118" fmla="*/ 2433829 h 2476692"/>
                <a:gd name="connsiteX119" fmla="*/ 2119890 w 2613453"/>
                <a:gd name="connsiteY119" fmla="*/ 2352867 h 2476692"/>
                <a:gd name="connsiteX120" fmla="*/ 2124653 w 2613453"/>
                <a:gd name="connsiteY120" fmla="*/ 2338579 h 2476692"/>
                <a:gd name="connsiteX121" fmla="*/ 2167515 w 2613453"/>
                <a:gd name="connsiteY121" fmla="*/ 2290954 h 2476692"/>
                <a:gd name="connsiteX122" fmla="*/ 2177040 w 2613453"/>
                <a:gd name="connsiteY122" fmla="*/ 2276667 h 2476692"/>
                <a:gd name="connsiteX123" fmla="*/ 2153228 w 2613453"/>
                <a:gd name="connsiteY123" fmla="*/ 2248092 h 2476692"/>
                <a:gd name="connsiteX124" fmla="*/ 2134178 w 2613453"/>
                <a:gd name="connsiteY124" fmla="*/ 2238567 h 2476692"/>
                <a:gd name="connsiteX125" fmla="*/ 2129415 w 2613453"/>
                <a:gd name="connsiteY125" fmla="*/ 2214754 h 2476692"/>
                <a:gd name="connsiteX126" fmla="*/ 2148465 w 2613453"/>
                <a:gd name="connsiteY126" fmla="*/ 2186179 h 2476692"/>
                <a:gd name="connsiteX127" fmla="*/ 2167515 w 2613453"/>
                <a:gd name="connsiteY127" fmla="*/ 2190942 h 2476692"/>
                <a:gd name="connsiteX128" fmla="*/ 2229428 w 2613453"/>
                <a:gd name="connsiteY128" fmla="*/ 2186179 h 2476692"/>
                <a:gd name="connsiteX129" fmla="*/ 2234190 w 2613453"/>
                <a:gd name="connsiteY129" fmla="*/ 2171892 h 2476692"/>
                <a:gd name="connsiteX130" fmla="*/ 2224665 w 2613453"/>
                <a:gd name="connsiteY130" fmla="*/ 2143317 h 2476692"/>
                <a:gd name="connsiteX131" fmla="*/ 2210378 w 2613453"/>
                <a:gd name="connsiteY131" fmla="*/ 2129029 h 2476692"/>
                <a:gd name="connsiteX132" fmla="*/ 2191328 w 2613453"/>
                <a:gd name="connsiteY132" fmla="*/ 2119504 h 2476692"/>
                <a:gd name="connsiteX133" fmla="*/ 2162753 w 2613453"/>
                <a:gd name="connsiteY133" fmla="*/ 2114742 h 2476692"/>
                <a:gd name="connsiteX134" fmla="*/ 2157990 w 2613453"/>
                <a:gd name="connsiteY134" fmla="*/ 2095692 h 2476692"/>
                <a:gd name="connsiteX135" fmla="*/ 2181803 w 2613453"/>
                <a:gd name="connsiteY135" fmla="*/ 2062354 h 2476692"/>
                <a:gd name="connsiteX136" fmla="*/ 2191328 w 2613453"/>
                <a:gd name="connsiteY136" fmla="*/ 2048067 h 2476692"/>
                <a:gd name="connsiteX137" fmla="*/ 2196090 w 2613453"/>
                <a:gd name="connsiteY137" fmla="*/ 1986154 h 2476692"/>
                <a:gd name="connsiteX138" fmla="*/ 2186565 w 2613453"/>
                <a:gd name="connsiteY138" fmla="*/ 1957579 h 2476692"/>
                <a:gd name="connsiteX139" fmla="*/ 2162753 w 2613453"/>
                <a:gd name="connsiteY139" fmla="*/ 1952817 h 2476692"/>
                <a:gd name="connsiteX140" fmla="*/ 2134178 w 2613453"/>
                <a:gd name="connsiteY140" fmla="*/ 1971867 h 2476692"/>
                <a:gd name="connsiteX141" fmla="*/ 2124653 w 2613453"/>
                <a:gd name="connsiteY141" fmla="*/ 1986154 h 2476692"/>
                <a:gd name="connsiteX142" fmla="*/ 2105603 w 2613453"/>
                <a:gd name="connsiteY142" fmla="*/ 2005204 h 2476692"/>
                <a:gd name="connsiteX143" fmla="*/ 2072265 w 2613453"/>
                <a:gd name="connsiteY143" fmla="*/ 2038542 h 2476692"/>
                <a:gd name="connsiteX144" fmla="*/ 2057978 w 2613453"/>
                <a:gd name="connsiteY144" fmla="*/ 2048067 h 2476692"/>
                <a:gd name="connsiteX145" fmla="*/ 2029403 w 2613453"/>
                <a:gd name="connsiteY145" fmla="*/ 2052829 h 2476692"/>
                <a:gd name="connsiteX146" fmla="*/ 2019878 w 2613453"/>
                <a:gd name="connsiteY146" fmla="*/ 2009967 h 2476692"/>
                <a:gd name="connsiteX147" fmla="*/ 1991303 w 2613453"/>
                <a:gd name="connsiteY147" fmla="*/ 1986154 h 2476692"/>
                <a:gd name="connsiteX148" fmla="*/ 1962728 w 2613453"/>
                <a:gd name="connsiteY148" fmla="*/ 1976629 h 2476692"/>
                <a:gd name="connsiteX149" fmla="*/ 1948440 w 2613453"/>
                <a:gd name="connsiteY149" fmla="*/ 1990917 h 2476692"/>
                <a:gd name="connsiteX150" fmla="*/ 1910340 w 2613453"/>
                <a:gd name="connsiteY150" fmla="*/ 2000442 h 2476692"/>
                <a:gd name="connsiteX151" fmla="*/ 1891290 w 2613453"/>
                <a:gd name="connsiteY151" fmla="*/ 1971867 h 2476692"/>
                <a:gd name="connsiteX152" fmla="*/ 1886528 w 2613453"/>
                <a:gd name="connsiteY152" fmla="*/ 1952817 h 2476692"/>
                <a:gd name="connsiteX153" fmla="*/ 1881765 w 2613453"/>
                <a:gd name="connsiteY153" fmla="*/ 1929004 h 2476692"/>
                <a:gd name="connsiteX154" fmla="*/ 1877003 w 2613453"/>
                <a:gd name="connsiteY154" fmla="*/ 1886142 h 2476692"/>
                <a:gd name="connsiteX155" fmla="*/ 1862715 w 2613453"/>
                <a:gd name="connsiteY155" fmla="*/ 1871854 h 2476692"/>
                <a:gd name="connsiteX156" fmla="*/ 1853190 w 2613453"/>
                <a:gd name="connsiteY156" fmla="*/ 1857567 h 2476692"/>
                <a:gd name="connsiteX157" fmla="*/ 1824615 w 2613453"/>
                <a:gd name="connsiteY157" fmla="*/ 1838517 h 2476692"/>
                <a:gd name="connsiteX158" fmla="*/ 1819853 w 2613453"/>
                <a:gd name="connsiteY158" fmla="*/ 1819467 h 2476692"/>
                <a:gd name="connsiteX159" fmla="*/ 1834140 w 2613453"/>
                <a:gd name="connsiteY159" fmla="*/ 1814704 h 2476692"/>
                <a:gd name="connsiteX160" fmla="*/ 1848428 w 2613453"/>
                <a:gd name="connsiteY160" fmla="*/ 1809942 h 2476692"/>
                <a:gd name="connsiteX161" fmla="*/ 1862715 w 2613453"/>
                <a:gd name="connsiteY161" fmla="*/ 1805179 h 2476692"/>
                <a:gd name="connsiteX162" fmla="*/ 1891290 w 2613453"/>
                <a:gd name="connsiteY162" fmla="*/ 1795654 h 2476692"/>
                <a:gd name="connsiteX163" fmla="*/ 1896053 w 2613453"/>
                <a:gd name="connsiteY163" fmla="*/ 1781367 h 2476692"/>
                <a:gd name="connsiteX164" fmla="*/ 1900815 w 2613453"/>
                <a:gd name="connsiteY164" fmla="*/ 1762317 h 2476692"/>
                <a:gd name="connsiteX165" fmla="*/ 1891290 w 2613453"/>
                <a:gd name="connsiteY165" fmla="*/ 1676592 h 2476692"/>
                <a:gd name="connsiteX166" fmla="*/ 1719840 w 2613453"/>
                <a:gd name="connsiteY166" fmla="*/ 1671829 h 2476692"/>
                <a:gd name="connsiteX167" fmla="*/ 1710315 w 2613453"/>
                <a:gd name="connsiteY167" fmla="*/ 1690879 h 2476692"/>
                <a:gd name="connsiteX168" fmla="*/ 1696028 w 2613453"/>
                <a:gd name="connsiteY168" fmla="*/ 1709929 h 2476692"/>
                <a:gd name="connsiteX169" fmla="*/ 1681740 w 2613453"/>
                <a:gd name="connsiteY169" fmla="*/ 1724217 h 2476692"/>
                <a:gd name="connsiteX170" fmla="*/ 1676978 w 2613453"/>
                <a:gd name="connsiteY170" fmla="*/ 1738504 h 2476692"/>
                <a:gd name="connsiteX171" fmla="*/ 1667453 w 2613453"/>
                <a:gd name="connsiteY171" fmla="*/ 1762317 h 2476692"/>
                <a:gd name="connsiteX172" fmla="*/ 1643640 w 2613453"/>
                <a:gd name="connsiteY172" fmla="*/ 1795654 h 2476692"/>
                <a:gd name="connsiteX173" fmla="*/ 1291215 w 2613453"/>
                <a:gd name="connsiteY173" fmla="*/ 1938529 h 2476692"/>
                <a:gd name="connsiteX174" fmla="*/ 1162628 w 2613453"/>
                <a:gd name="connsiteY174" fmla="*/ 1833754 h 2476692"/>
                <a:gd name="connsiteX175" fmla="*/ 1091190 w 2613453"/>
                <a:gd name="connsiteY175" fmla="*/ 1843279 h 2476692"/>
                <a:gd name="connsiteX176" fmla="*/ 1014990 w 2613453"/>
                <a:gd name="connsiteY176" fmla="*/ 1786129 h 2476692"/>
                <a:gd name="connsiteX177" fmla="*/ 1024515 w 2613453"/>
                <a:gd name="connsiteY177" fmla="*/ 1733742 h 2476692"/>
                <a:gd name="connsiteX178" fmla="*/ 957840 w 2613453"/>
                <a:gd name="connsiteY178" fmla="*/ 1719454 h 2476692"/>
                <a:gd name="connsiteX179" fmla="*/ 767340 w 2613453"/>
                <a:gd name="connsiteY179" fmla="*/ 1671829 h 2476692"/>
                <a:gd name="connsiteX180" fmla="*/ 743528 w 2613453"/>
                <a:gd name="connsiteY180" fmla="*/ 1681354 h 2476692"/>
                <a:gd name="connsiteX181" fmla="*/ 729240 w 2613453"/>
                <a:gd name="connsiteY181" fmla="*/ 1686117 h 2476692"/>
                <a:gd name="connsiteX182" fmla="*/ 700665 w 2613453"/>
                <a:gd name="connsiteY182" fmla="*/ 1667067 h 2476692"/>
                <a:gd name="connsiteX183" fmla="*/ 657803 w 2613453"/>
                <a:gd name="connsiteY183" fmla="*/ 1624204 h 2476692"/>
                <a:gd name="connsiteX184" fmla="*/ 605415 w 2613453"/>
                <a:gd name="connsiteY184" fmla="*/ 1638492 h 2476692"/>
                <a:gd name="connsiteX185" fmla="*/ 533978 w 2613453"/>
                <a:gd name="connsiteY185" fmla="*/ 1543242 h 2476692"/>
                <a:gd name="connsiteX186" fmla="*/ 548265 w 2613453"/>
                <a:gd name="connsiteY186" fmla="*/ 1528954 h 2476692"/>
                <a:gd name="connsiteX187" fmla="*/ 567315 w 2613453"/>
                <a:gd name="connsiteY187" fmla="*/ 1514667 h 2476692"/>
                <a:gd name="connsiteX188" fmla="*/ 581603 w 2613453"/>
                <a:gd name="connsiteY188" fmla="*/ 1476567 h 2476692"/>
                <a:gd name="connsiteX189" fmla="*/ 567315 w 2613453"/>
                <a:gd name="connsiteY189" fmla="*/ 1471804 h 2476692"/>
                <a:gd name="connsiteX190" fmla="*/ 543503 w 2613453"/>
                <a:gd name="connsiteY190" fmla="*/ 1462279 h 2476692"/>
                <a:gd name="connsiteX191" fmla="*/ 562553 w 2613453"/>
                <a:gd name="connsiteY191" fmla="*/ 1428942 h 2476692"/>
                <a:gd name="connsiteX192" fmla="*/ 567315 w 2613453"/>
                <a:gd name="connsiteY192" fmla="*/ 1414654 h 2476692"/>
                <a:gd name="connsiteX193" fmla="*/ 586365 w 2613453"/>
                <a:gd name="connsiteY193" fmla="*/ 1386079 h 2476692"/>
                <a:gd name="connsiteX194" fmla="*/ 619703 w 2613453"/>
                <a:gd name="connsiteY194" fmla="*/ 1362267 h 2476692"/>
                <a:gd name="connsiteX195" fmla="*/ 633990 w 2613453"/>
                <a:gd name="connsiteY195" fmla="*/ 1343217 h 2476692"/>
                <a:gd name="connsiteX196" fmla="*/ 662565 w 2613453"/>
                <a:gd name="connsiteY196" fmla="*/ 1319404 h 2476692"/>
                <a:gd name="connsiteX197" fmla="*/ 667328 w 2613453"/>
                <a:gd name="connsiteY197" fmla="*/ 1281304 h 2476692"/>
                <a:gd name="connsiteX198" fmla="*/ 638753 w 2613453"/>
                <a:gd name="connsiteY198" fmla="*/ 1267017 h 2476692"/>
                <a:gd name="connsiteX199" fmla="*/ 633990 w 2613453"/>
                <a:gd name="connsiteY199" fmla="*/ 1252729 h 2476692"/>
                <a:gd name="connsiteX200" fmla="*/ 643515 w 2613453"/>
                <a:gd name="connsiteY200" fmla="*/ 1238442 h 2476692"/>
                <a:gd name="connsiteX201" fmla="*/ 672090 w 2613453"/>
                <a:gd name="connsiteY201" fmla="*/ 1219392 h 2476692"/>
                <a:gd name="connsiteX202" fmla="*/ 672090 w 2613453"/>
                <a:gd name="connsiteY202" fmla="*/ 1162242 h 2476692"/>
                <a:gd name="connsiteX203" fmla="*/ 662565 w 2613453"/>
                <a:gd name="connsiteY203" fmla="*/ 1147954 h 2476692"/>
                <a:gd name="connsiteX204" fmla="*/ 619703 w 2613453"/>
                <a:gd name="connsiteY204" fmla="*/ 1167004 h 2476692"/>
                <a:gd name="connsiteX205" fmla="*/ 610178 w 2613453"/>
                <a:gd name="connsiteY205" fmla="*/ 1152717 h 2476692"/>
                <a:gd name="connsiteX206" fmla="*/ 605415 w 2613453"/>
                <a:gd name="connsiteY206" fmla="*/ 1105092 h 2476692"/>
                <a:gd name="connsiteX207" fmla="*/ 595890 w 2613453"/>
                <a:gd name="connsiteY207" fmla="*/ 1086042 h 2476692"/>
                <a:gd name="connsiteX208" fmla="*/ 576840 w 2613453"/>
                <a:gd name="connsiteY208" fmla="*/ 1057467 h 2476692"/>
                <a:gd name="connsiteX209" fmla="*/ 572078 w 2613453"/>
                <a:gd name="connsiteY209" fmla="*/ 1043179 h 2476692"/>
                <a:gd name="connsiteX210" fmla="*/ 562553 w 2613453"/>
                <a:gd name="connsiteY210" fmla="*/ 962217 h 2476692"/>
                <a:gd name="connsiteX211" fmla="*/ 462540 w 2613453"/>
                <a:gd name="connsiteY211" fmla="*/ 1043179 h 2476692"/>
                <a:gd name="connsiteX212" fmla="*/ 433965 w 2613453"/>
                <a:gd name="connsiteY212" fmla="*/ 952692 h 2476692"/>
                <a:gd name="connsiteX213" fmla="*/ 343478 w 2613453"/>
                <a:gd name="connsiteY213" fmla="*/ 862204 h 2476692"/>
                <a:gd name="connsiteX214" fmla="*/ 262515 w 2613453"/>
                <a:gd name="connsiteY214" fmla="*/ 871729 h 2476692"/>
                <a:gd name="connsiteX215" fmla="*/ 205365 w 2613453"/>
                <a:gd name="connsiteY215" fmla="*/ 919354 h 2476692"/>
                <a:gd name="connsiteX216" fmla="*/ 95828 w 2613453"/>
                <a:gd name="connsiteY216" fmla="*/ 986029 h 2476692"/>
                <a:gd name="connsiteX217" fmla="*/ 24390 w 2613453"/>
                <a:gd name="connsiteY217" fmla="*/ 986029 h 2476692"/>
                <a:gd name="connsiteX218" fmla="*/ 14865 w 2613453"/>
                <a:gd name="connsiteY218" fmla="*/ 947929 h 2476692"/>
                <a:gd name="connsiteX219" fmla="*/ 578 w 2613453"/>
                <a:gd name="connsiteY219" fmla="*/ 933642 h 2476692"/>
                <a:gd name="connsiteX220" fmla="*/ 5340 w 2613453"/>
                <a:gd name="connsiteY220" fmla="*/ 890779 h 2476692"/>
                <a:gd name="connsiteX221" fmla="*/ 57728 w 2613453"/>
                <a:gd name="connsiteY221" fmla="*/ 781242 h 2476692"/>
                <a:gd name="connsiteX222" fmla="*/ 238703 w 2613453"/>
                <a:gd name="connsiteY222" fmla="*/ 543117 h 2476692"/>
                <a:gd name="connsiteX223" fmla="*/ 333953 w 2613453"/>
                <a:gd name="connsiteY223" fmla="*/ 543117 h 2476692"/>
                <a:gd name="connsiteX224" fmla="*/ 429203 w 2613453"/>
                <a:gd name="connsiteY224" fmla="*/ 524067 h 2476692"/>
                <a:gd name="connsiteX225" fmla="*/ 467303 w 2613453"/>
                <a:gd name="connsiteY225" fmla="*/ 538354 h 2476692"/>
                <a:gd name="connsiteX226" fmla="*/ 481590 w 2613453"/>
                <a:gd name="connsiteY226" fmla="*/ 528829 h 2476692"/>
                <a:gd name="connsiteX227" fmla="*/ 486353 w 2613453"/>
                <a:gd name="connsiteY227" fmla="*/ 514542 h 2476692"/>
                <a:gd name="connsiteX228" fmla="*/ 491115 w 2613453"/>
                <a:gd name="connsiteY228" fmla="*/ 466917 h 2476692"/>
                <a:gd name="connsiteX229" fmla="*/ 481590 w 2613453"/>
                <a:gd name="connsiteY229" fmla="*/ 438342 h 2476692"/>
                <a:gd name="connsiteX230" fmla="*/ 462540 w 2613453"/>
                <a:gd name="connsiteY230" fmla="*/ 409767 h 2476692"/>
                <a:gd name="connsiteX231" fmla="*/ 472065 w 2613453"/>
                <a:gd name="connsiteY231" fmla="*/ 347854 h 2476692"/>
                <a:gd name="connsiteX232" fmla="*/ 505403 w 2613453"/>
                <a:gd name="connsiteY232" fmla="*/ 295467 h 2476692"/>
                <a:gd name="connsiteX233" fmla="*/ 514928 w 2613453"/>
                <a:gd name="connsiteY233" fmla="*/ 281179 h 2476692"/>
                <a:gd name="connsiteX234" fmla="*/ 519690 w 2613453"/>
                <a:gd name="connsiteY234" fmla="*/ 257367 h 2476692"/>
                <a:gd name="connsiteX235" fmla="*/ 529215 w 2613453"/>
                <a:gd name="connsiteY235" fmla="*/ 243079 h 2476692"/>
                <a:gd name="connsiteX236" fmla="*/ 538740 w 2613453"/>
                <a:gd name="connsiteY236" fmla="*/ 204979 h 2476692"/>
                <a:gd name="connsiteX237" fmla="*/ 548265 w 2613453"/>
                <a:gd name="connsiteY237" fmla="*/ 185929 h 2476692"/>
                <a:gd name="connsiteX238" fmla="*/ 553028 w 2613453"/>
                <a:gd name="connsiteY238" fmla="*/ 171642 h 2476692"/>
                <a:gd name="connsiteX239" fmla="*/ 562553 w 2613453"/>
                <a:gd name="connsiteY239" fmla="*/ 157354 h 2476692"/>
                <a:gd name="connsiteX240" fmla="*/ 567315 w 2613453"/>
                <a:gd name="connsiteY240" fmla="*/ 133542 h 2476692"/>
                <a:gd name="connsiteX241" fmla="*/ 576840 w 2613453"/>
                <a:gd name="connsiteY241" fmla="*/ 100204 h 2476692"/>
                <a:gd name="connsiteX242" fmla="*/ 581603 w 2613453"/>
                <a:gd name="connsiteY242" fmla="*/ 81154 h 2476692"/>
                <a:gd name="connsiteX243" fmla="*/ 595890 w 2613453"/>
                <a:gd name="connsiteY243" fmla="*/ 33529 h 2476692"/>
                <a:gd name="connsiteX244" fmla="*/ 619703 w 2613453"/>
                <a:gd name="connsiteY244" fmla="*/ 192 h 2476692"/>
                <a:gd name="connsiteX245" fmla="*/ 621543 w 2613453"/>
                <a:gd name="connsiteY245" fmla="*/ 0 h 2476692"/>
                <a:gd name="connsiteX0" fmla="*/ 621543 w 2619056"/>
                <a:gd name="connsiteY0" fmla="*/ 0 h 2476692"/>
                <a:gd name="connsiteX1" fmla="*/ 637165 w 2619056"/>
                <a:gd name="connsiteY1" fmla="*/ 20829 h 2476692"/>
                <a:gd name="connsiteX2" fmla="*/ 643515 w 2619056"/>
                <a:gd name="connsiteY2" fmla="*/ 30354 h 2476692"/>
                <a:gd name="connsiteX3" fmla="*/ 646690 w 2619056"/>
                <a:gd name="connsiteY3" fmla="*/ 74804 h 2476692"/>
                <a:gd name="connsiteX4" fmla="*/ 656215 w 2619056"/>
                <a:gd name="connsiteY4" fmla="*/ 100204 h 2476692"/>
                <a:gd name="connsiteX5" fmla="*/ 757815 w 2619056"/>
                <a:gd name="connsiteY5" fmla="*/ 119254 h 2476692"/>
                <a:gd name="connsiteX6" fmla="*/ 780040 w 2619056"/>
                <a:gd name="connsiteY6" fmla="*/ 135129 h 2476692"/>
                <a:gd name="connsiteX7" fmla="*/ 789565 w 2619056"/>
                <a:gd name="connsiteY7" fmla="*/ 138304 h 2476692"/>
                <a:gd name="connsiteX8" fmla="*/ 808615 w 2619056"/>
                <a:gd name="connsiteY8" fmla="*/ 154179 h 2476692"/>
                <a:gd name="connsiteX9" fmla="*/ 824490 w 2619056"/>
                <a:gd name="connsiteY9" fmla="*/ 176404 h 2476692"/>
                <a:gd name="connsiteX10" fmla="*/ 827665 w 2619056"/>
                <a:gd name="connsiteY10" fmla="*/ 185929 h 2476692"/>
                <a:gd name="connsiteX11" fmla="*/ 853065 w 2619056"/>
                <a:gd name="connsiteY11" fmla="*/ 201804 h 2476692"/>
                <a:gd name="connsiteX12" fmla="*/ 929265 w 2619056"/>
                <a:gd name="connsiteY12" fmla="*/ 220854 h 2476692"/>
                <a:gd name="connsiteX13" fmla="*/ 957840 w 2619056"/>
                <a:gd name="connsiteY13" fmla="*/ 198629 h 2476692"/>
                <a:gd name="connsiteX14" fmla="*/ 980065 w 2619056"/>
                <a:gd name="connsiteY14" fmla="*/ 182754 h 2476692"/>
                <a:gd name="connsiteX15" fmla="*/ 989590 w 2619056"/>
                <a:gd name="connsiteY15" fmla="*/ 176404 h 2476692"/>
                <a:gd name="connsiteX16" fmla="*/ 1011815 w 2619056"/>
                <a:gd name="connsiteY16" fmla="*/ 173229 h 2476692"/>
                <a:gd name="connsiteX17" fmla="*/ 1027690 w 2619056"/>
                <a:gd name="connsiteY17" fmla="*/ 166879 h 2476692"/>
                <a:gd name="connsiteX18" fmla="*/ 1094365 w 2619056"/>
                <a:gd name="connsiteY18" fmla="*/ 220854 h 2476692"/>
                <a:gd name="connsiteX19" fmla="*/ 1186440 w 2619056"/>
                <a:gd name="connsiteY19" fmla="*/ 217679 h 2476692"/>
                <a:gd name="connsiteX20" fmla="*/ 1278515 w 2619056"/>
                <a:gd name="connsiteY20" fmla="*/ 170054 h 2476692"/>
                <a:gd name="connsiteX21" fmla="*/ 1326140 w 2619056"/>
                <a:gd name="connsiteY21" fmla="*/ 74804 h 2476692"/>
                <a:gd name="connsiteX22" fmla="*/ 1373765 w 2619056"/>
                <a:gd name="connsiteY22" fmla="*/ 122429 h 2476692"/>
                <a:gd name="connsiteX23" fmla="*/ 1459490 w 2619056"/>
                <a:gd name="connsiteY23" fmla="*/ 144654 h 2476692"/>
                <a:gd name="connsiteX24" fmla="*/ 1589665 w 2619056"/>
                <a:gd name="connsiteY24" fmla="*/ 144654 h 2476692"/>
                <a:gd name="connsiteX25" fmla="*/ 1697615 w 2619056"/>
                <a:gd name="connsiteY25" fmla="*/ 97029 h 2476692"/>
                <a:gd name="connsiteX26" fmla="*/ 1726190 w 2619056"/>
                <a:gd name="connsiteY26" fmla="*/ 103379 h 2476692"/>
                <a:gd name="connsiteX27" fmla="*/ 1738890 w 2619056"/>
                <a:gd name="connsiteY27" fmla="*/ 122429 h 2476692"/>
                <a:gd name="connsiteX28" fmla="*/ 1732540 w 2619056"/>
                <a:gd name="connsiteY28" fmla="*/ 141479 h 2476692"/>
                <a:gd name="connsiteX29" fmla="*/ 1723015 w 2619056"/>
                <a:gd name="connsiteY29" fmla="*/ 154179 h 2476692"/>
                <a:gd name="connsiteX30" fmla="*/ 1802390 w 2619056"/>
                <a:gd name="connsiteY30" fmla="*/ 144654 h 2476692"/>
                <a:gd name="connsiteX31" fmla="*/ 1824615 w 2619056"/>
                <a:gd name="connsiteY31" fmla="*/ 160529 h 2476692"/>
                <a:gd name="connsiteX32" fmla="*/ 1827790 w 2619056"/>
                <a:gd name="connsiteY32" fmla="*/ 195454 h 2476692"/>
                <a:gd name="connsiteX33" fmla="*/ 1834140 w 2619056"/>
                <a:gd name="connsiteY33" fmla="*/ 217679 h 2476692"/>
                <a:gd name="connsiteX34" fmla="*/ 1840490 w 2619056"/>
                <a:gd name="connsiteY34" fmla="*/ 230379 h 2476692"/>
                <a:gd name="connsiteX35" fmla="*/ 1846840 w 2619056"/>
                <a:gd name="connsiteY35" fmla="*/ 239904 h 2476692"/>
                <a:gd name="connsiteX36" fmla="*/ 1846840 w 2619056"/>
                <a:gd name="connsiteY36" fmla="*/ 249429 h 2476692"/>
                <a:gd name="connsiteX37" fmla="*/ 1916690 w 2619056"/>
                <a:gd name="connsiteY37" fmla="*/ 274829 h 2476692"/>
                <a:gd name="connsiteX38" fmla="*/ 1945265 w 2619056"/>
                <a:gd name="connsiteY38" fmla="*/ 268479 h 2476692"/>
                <a:gd name="connsiteX39" fmla="*/ 1961140 w 2619056"/>
                <a:gd name="connsiteY39" fmla="*/ 274829 h 2476692"/>
                <a:gd name="connsiteX40" fmla="*/ 1977015 w 2619056"/>
                <a:gd name="connsiteY40" fmla="*/ 293879 h 2476692"/>
                <a:gd name="connsiteX41" fmla="*/ 2002415 w 2619056"/>
                <a:gd name="connsiteY41" fmla="*/ 297054 h 2476692"/>
                <a:gd name="connsiteX42" fmla="*/ 2002415 w 2619056"/>
                <a:gd name="connsiteY42" fmla="*/ 344679 h 2476692"/>
                <a:gd name="connsiteX43" fmla="*/ 1998496 w 2619056"/>
                <a:gd name="connsiteY43" fmla="*/ 359366 h 2476692"/>
                <a:gd name="connsiteX44" fmla="*/ 1997699 w 2619056"/>
                <a:gd name="connsiteY44" fmla="*/ 359161 h 2476692"/>
                <a:gd name="connsiteX45" fmla="*/ 1996509 w 2619056"/>
                <a:gd name="connsiteY45" fmla="*/ 357863 h 2476692"/>
                <a:gd name="connsiteX46" fmla="*/ 1996082 w 2619056"/>
                <a:gd name="connsiteY46" fmla="*/ 354482 h 2476692"/>
                <a:gd name="connsiteX47" fmla="*/ 1996065 w 2619056"/>
                <a:gd name="connsiteY47" fmla="*/ 357379 h 2476692"/>
                <a:gd name="connsiteX48" fmla="*/ 1996509 w 2619056"/>
                <a:gd name="connsiteY48" fmla="*/ 357863 h 2476692"/>
                <a:gd name="connsiteX49" fmla="*/ 1996639 w 2619056"/>
                <a:gd name="connsiteY49" fmla="*/ 358889 h 2476692"/>
                <a:gd name="connsiteX50" fmla="*/ 1997699 w 2619056"/>
                <a:gd name="connsiteY50" fmla="*/ 359161 h 2476692"/>
                <a:gd name="connsiteX51" fmla="*/ 2030990 w 2619056"/>
                <a:gd name="connsiteY51" fmla="*/ 395479 h 2476692"/>
                <a:gd name="connsiteX52" fmla="*/ 2059565 w 2619056"/>
                <a:gd name="connsiteY52" fmla="*/ 385954 h 2476692"/>
                <a:gd name="connsiteX53" fmla="*/ 2069090 w 2619056"/>
                <a:gd name="connsiteY53" fmla="*/ 379604 h 2476692"/>
                <a:gd name="connsiteX54" fmla="*/ 2078615 w 2619056"/>
                <a:gd name="connsiteY54" fmla="*/ 376429 h 2476692"/>
                <a:gd name="connsiteX55" fmla="*/ 2116715 w 2619056"/>
                <a:gd name="connsiteY55" fmla="*/ 379604 h 2476692"/>
                <a:gd name="connsiteX56" fmla="*/ 2119890 w 2619056"/>
                <a:gd name="connsiteY56" fmla="*/ 411354 h 2476692"/>
                <a:gd name="connsiteX57" fmla="*/ 2129415 w 2619056"/>
                <a:gd name="connsiteY57" fmla="*/ 443104 h 2476692"/>
                <a:gd name="connsiteX58" fmla="*/ 2132590 w 2619056"/>
                <a:gd name="connsiteY58" fmla="*/ 452629 h 2476692"/>
                <a:gd name="connsiteX59" fmla="*/ 2135765 w 2619056"/>
                <a:gd name="connsiteY59" fmla="*/ 462154 h 2476692"/>
                <a:gd name="connsiteX60" fmla="*/ 2142115 w 2619056"/>
                <a:gd name="connsiteY60" fmla="*/ 493904 h 2476692"/>
                <a:gd name="connsiteX61" fmla="*/ 2138940 w 2619056"/>
                <a:gd name="connsiteY61" fmla="*/ 532004 h 2476692"/>
                <a:gd name="connsiteX62" fmla="*/ 2110365 w 2619056"/>
                <a:gd name="connsiteY62" fmla="*/ 547879 h 2476692"/>
                <a:gd name="connsiteX63" fmla="*/ 2097665 w 2619056"/>
                <a:gd name="connsiteY63" fmla="*/ 557404 h 2476692"/>
                <a:gd name="connsiteX64" fmla="*/ 2094490 w 2619056"/>
                <a:gd name="connsiteY64" fmla="*/ 582804 h 2476692"/>
                <a:gd name="connsiteX65" fmla="*/ 2104015 w 2619056"/>
                <a:gd name="connsiteY65" fmla="*/ 608204 h 2476692"/>
                <a:gd name="connsiteX66" fmla="*/ 2110365 w 2619056"/>
                <a:gd name="connsiteY66" fmla="*/ 617729 h 2476692"/>
                <a:gd name="connsiteX67" fmla="*/ 2116715 w 2619056"/>
                <a:gd name="connsiteY67" fmla="*/ 643129 h 2476692"/>
                <a:gd name="connsiteX68" fmla="*/ 2119890 w 2619056"/>
                <a:gd name="connsiteY68" fmla="*/ 719329 h 2476692"/>
                <a:gd name="connsiteX69" fmla="*/ 2123065 w 2619056"/>
                <a:gd name="connsiteY69" fmla="*/ 728854 h 2476692"/>
                <a:gd name="connsiteX70" fmla="*/ 2142115 w 2619056"/>
                <a:gd name="connsiteY70" fmla="*/ 741554 h 2476692"/>
                <a:gd name="connsiteX71" fmla="*/ 2161165 w 2619056"/>
                <a:gd name="connsiteY71" fmla="*/ 738379 h 2476692"/>
                <a:gd name="connsiteX72" fmla="*/ 2170690 w 2619056"/>
                <a:gd name="connsiteY72" fmla="*/ 732029 h 2476692"/>
                <a:gd name="connsiteX73" fmla="*/ 2183390 w 2619056"/>
                <a:gd name="connsiteY73" fmla="*/ 725679 h 2476692"/>
                <a:gd name="connsiteX74" fmla="*/ 2192915 w 2619056"/>
                <a:gd name="connsiteY74" fmla="*/ 719329 h 2476692"/>
                <a:gd name="connsiteX75" fmla="*/ 2211965 w 2619056"/>
                <a:gd name="connsiteY75" fmla="*/ 712979 h 2476692"/>
                <a:gd name="connsiteX76" fmla="*/ 2259590 w 2619056"/>
                <a:gd name="connsiteY76" fmla="*/ 716154 h 2476692"/>
                <a:gd name="connsiteX77" fmla="*/ 2262765 w 2619056"/>
                <a:gd name="connsiteY77" fmla="*/ 732029 h 2476692"/>
                <a:gd name="connsiteX78" fmla="*/ 2272290 w 2619056"/>
                <a:gd name="connsiteY78" fmla="*/ 751079 h 2476692"/>
                <a:gd name="connsiteX79" fmla="*/ 2297690 w 2619056"/>
                <a:gd name="connsiteY79" fmla="*/ 754254 h 2476692"/>
                <a:gd name="connsiteX80" fmla="*/ 2329440 w 2619056"/>
                <a:gd name="connsiteY80" fmla="*/ 738379 h 2476692"/>
                <a:gd name="connsiteX81" fmla="*/ 2338965 w 2619056"/>
                <a:gd name="connsiteY81" fmla="*/ 735204 h 2476692"/>
                <a:gd name="connsiteX82" fmla="*/ 2367540 w 2619056"/>
                <a:gd name="connsiteY82" fmla="*/ 722504 h 2476692"/>
                <a:gd name="connsiteX83" fmla="*/ 2377065 w 2619056"/>
                <a:gd name="connsiteY83" fmla="*/ 719329 h 2476692"/>
                <a:gd name="connsiteX84" fmla="*/ 2391809 w 2619056"/>
                <a:gd name="connsiteY84" fmla="*/ 719329 h 2476692"/>
                <a:gd name="connsiteX85" fmla="*/ 2605665 w 2619056"/>
                <a:gd name="connsiteY85" fmla="*/ 1412273 h 2476692"/>
                <a:gd name="connsiteX86" fmla="*/ 2588996 w 2619056"/>
                <a:gd name="connsiteY86" fmla="*/ 1452754 h 2476692"/>
                <a:gd name="connsiteX87" fmla="*/ 2574709 w 2619056"/>
                <a:gd name="connsiteY87" fmla="*/ 1486092 h 2476692"/>
                <a:gd name="connsiteX88" fmla="*/ 2608046 w 2619056"/>
                <a:gd name="connsiteY88" fmla="*/ 1586104 h 2476692"/>
                <a:gd name="connsiteX89" fmla="*/ 2598522 w 2619056"/>
                <a:gd name="connsiteY89" fmla="*/ 1619442 h 2476692"/>
                <a:gd name="connsiteX90" fmla="*/ 2593759 w 2619056"/>
                <a:gd name="connsiteY90" fmla="*/ 1712310 h 2476692"/>
                <a:gd name="connsiteX91" fmla="*/ 2577090 w 2619056"/>
                <a:gd name="connsiteY91" fmla="*/ 1802798 h 2476692"/>
                <a:gd name="connsiteX92" fmla="*/ 2512796 w 2619056"/>
                <a:gd name="connsiteY92" fmla="*/ 1824229 h 2476692"/>
                <a:gd name="connsiteX93" fmla="*/ 2558040 w 2619056"/>
                <a:gd name="connsiteY93" fmla="*/ 1883760 h 2476692"/>
                <a:gd name="connsiteX94" fmla="*/ 2555659 w 2619056"/>
                <a:gd name="connsiteY94" fmla="*/ 1909954 h 2476692"/>
                <a:gd name="connsiteX95" fmla="*/ 2527084 w 2619056"/>
                <a:gd name="connsiteY95" fmla="*/ 1995679 h 2476692"/>
                <a:gd name="connsiteX96" fmla="*/ 2503271 w 2619056"/>
                <a:gd name="connsiteY96" fmla="*/ 1986154 h 2476692"/>
                <a:gd name="connsiteX97" fmla="*/ 2472315 w 2619056"/>
                <a:gd name="connsiteY97" fmla="*/ 1971867 h 2476692"/>
                <a:gd name="connsiteX98" fmla="*/ 2436596 w 2619056"/>
                <a:gd name="connsiteY98" fmla="*/ 1986154 h 2476692"/>
                <a:gd name="connsiteX99" fmla="*/ 2450884 w 2619056"/>
                <a:gd name="connsiteY99" fmla="*/ 2017110 h 2476692"/>
                <a:gd name="connsiteX100" fmla="*/ 2465171 w 2619056"/>
                <a:gd name="connsiteY100" fmla="*/ 2057592 h 2476692"/>
                <a:gd name="connsiteX101" fmla="*/ 2455646 w 2619056"/>
                <a:gd name="connsiteY101" fmla="*/ 2121885 h 2476692"/>
                <a:gd name="connsiteX102" fmla="*/ 2410403 w 2619056"/>
                <a:gd name="connsiteY102" fmla="*/ 2152842 h 2476692"/>
                <a:gd name="connsiteX103" fmla="*/ 2458028 w 2619056"/>
                <a:gd name="connsiteY103" fmla="*/ 2186180 h 2476692"/>
                <a:gd name="connsiteX104" fmla="*/ 2448503 w 2619056"/>
                <a:gd name="connsiteY104" fmla="*/ 2226660 h 2476692"/>
                <a:gd name="connsiteX105" fmla="*/ 2410403 w 2619056"/>
                <a:gd name="connsiteY105" fmla="*/ 2262379 h 2476692"/>
                <a:gd name="connsiteX106" fmla="*/ 2388971 w 2619056"/>
                <a:gd name="connsiteY106" fmla="*/ 2331435 h 2476692"/>
                <a:gd name="connsiteX107" fmla="*/ 2405640 w 2619056"/>
                <a:gd name="connsiteY107" fmla="*/ 2381442 h 2476692"/>
                <a:gd name="connsiteX108" fmla="*/ 2391353 w 2619056"/>
                <a:gd name="connsiteY108" fmla="*/ 2414779 h 2476692"/>
                <a:gd name="connsiteX109" fmla="*/ 2334203 w 2619056"/>
                <a:gd name="connsiteY109" fmla="*/ 2433829 h 2476692"/>
                <a:gd name="connsiteX110" fmla="*/ 2305628 w 2619056"/>
                <a:gd name="connsiteY110" fmla="*/ 2443354 h 2476692"/>
                <a:gd name="connsiteX111" fmla="*/ 2296103 w 2619056"/>
                <a:gd name="connsiteY111" fmla="*/ 2457642 h 2476692"/>
                <a:gd name="connsiteX112" fmla="*/ 2262765 w 2619056"/>
                <a:gd name="connsiteY112" fmla="*/ 2462404 h 2476692"/>
                <a:gd name="connsiteX113" fmla="*/ 2229428 w 2619056"/>
                <a:gd name="connsiteY113" fmla="*/ 2438592 h 2476692"/>
                <a:gd name="connsiteX114" fmla="*/ 2215140 w 2619056"/>
                <a:gd name="connsiteY114" fmla="*/ 2433829 h 2476692"/>
                <a:gd name="connsiteX115" fmla="*/ 2205615 w 2619056"/>
                <a:gd name="connsiteY115" fmla="*/ 2457642 h 2476692"/>
                <a:gd name="connsiteX116" fmla="*/ 2191328 w 2619056"/>
                <a:gd name="connsiteY116" fmla="*/ 2467167 h 2476692"/>
                <a:gd name="connsiteX117" fmla="*/ 2153228 w 2619056"/>
                <a:gd name="connsiteY117" fmla="*/ 2476692 h 2476692"/>
                <a:gd name="connsiteX118" fmla="*/ 2134178 w 2619056"/>
                <a:gd name="connsiteY118" fmla="*/ 2448117 h 2476692"/>
                <a:gd name="connsiteX119" fmla="*/ 2124653 w 2619056"/>
                <a:gd name="connsiteY119" fmla="*/ 2433829 h 2476692"/>
                <a:gd name="connsiteX120" fmla="*/ 2119890 w 2619056"/>
                <a:gd name="connsiteY120" fmla="*/ 2352867 h 2476692"/>
                <a:gd name="connsiteX121" fmla="*/ 2124653 w 2619056"/>
                <a:gd name="connsiteY121" fmla="*/ 2338579 h 2476692"/>
                <a:gd name="connsiteX122" fmla="*/ 2167515 w 2619056"/>
                <a:gd name="connsiteY122" fmla="*/ 2290954 h 2476692"/>
                <a:gd name="connsiteX123" fmla="*/ 2177040 w 2619056"/>
                <a:gd name="connsiteY123" fmla="*/ 2276667 h 2476692"/>
                <a:gd name="connsiteX124" fmla="*/ 2153228 w 2619056"/>
                <a:gd name="connsiteY124" fmla="*/ 2248092 h 2476692"/>
                <a:gd name="connsiteX125" fmla="*/ 2134178 w 2619056"/>
                <a:gd name="connsiteY125" fmla="*/ 2238567 h 2476692"/>
                <a:gd name="connsiteX126" fmla="*/ 2129415 w 2619056"/>
                <a:gd name="connsiteY126" fmla="*/ 2214754 h 2476692"/>
                <a:gd name="connsiteX127" fmla="*/ 2148465 w 2619056"/>
                <a:gd name="connsiteY127" fmla="*/ 2186179 h 2476692"/>
                <a:gd name="connsiteX128" fmla="*/ 2167515 w 2619056"/>
                <a:gd name="connsiteY128" fmla="*/ 2190942 h 2476692"/>
                <a:gd name="connsiteX129" fmla="*/ 2229428 w 2619056"/>
                <a:gd name="connsiteY129" fmla="*/ 2186179 h 2476692"/>
                <a:gd name="connsiteX130" fmla="*/ 2234190 w 2619056"/>
                <a:gd name="connsiteY130" fmla="*/ 2171892 h 2476692"/>
                <a:gd name="connsiteX131" fmla="*/ 2224665 w 2619056"/>
                <a:gd name="connsiteY131" fmla="*/ 2143317 h 2476692"/>
                <a:gd name="connsiteX132" fmla="*/ 2210378 w 2619056"/>
                <a:gd name="connsiteY132" fmla="*/ 2129029 h 2476692"/>
                <a:gd name="connsiteX133" fmla="*/ 2191328 w 2619056"/>
                <a:gd name="connsiteY133" fmla="*/ 2119504 h 2476692"/>
                <a:gd name="connsiteX134" fmla="*/ 2162753 w 2619056"/>
                <a:gd name="connsiteY134" fmla="*/ 2114742 h 2476692"/>
                <a:gd name="connsiteX135" fmla="*/ 2157990 w 2619056"/>
                <a:gd name="connsiteY135" fmla="*/ 2095692 h 2476692"/>
                <a:gd name="connsiteX136" fmla="*/ 2181803 w 2619056"/>
                <a:gd name="connsiteY136" fmla="*/ 2062354 h 2476692"/>
                <a:gd name="connsiteX137" fmla="*/ 2191328 w 2619056"/>
                <a:gd name="connsiteY137" fmla="*/ 2048067 h 2476692"/>
                <a:gd name="connsiteX138" fmla="*/ 2196090 w 2619056"/>
                <a:gd name="connsiteY138" fmla="*/ 1986154 h 2476692"/>
                <a:gd name="connsiteX139" fmla="*/ 2186565 w 2619056"/>
                <a:gd name="connsiteY139" fmla="*/ 1957579 h 2476692"/>
                <a:gd name="connsiteX140" fmla="*/ 2162753 w 2619056"/>
                <a:gd name="connsiteY140" fmla="*/ 1952817 h 2476692"/>
                <a:gd name="connsiteX141" fmla="*/ 2134178 w 2619056"/>
                <a:gd name="connsiteY141" fmla="*/ 1971867 h 2476692"/>
                <a:gd name="connsiteX142" fmla="*/ 2124653 w 2619056"/>
                <a:gd name="connsiteY142" fmla="*/ 1986154 h 2476692"/>
                <a:gd name="connsiteX143" fmla="*/ 2105603 w 2619056"/>
                <a:gd name="connsiteY143" fmla="*/ 2005204 h 2476692"/>
                <a:gd name="connsiteX144" fmla="*/ 2072265 w 2619056"/>
                <a:gd name="connsiteY144" fmla="*/ 2038542 h 2476692"/>
                <a:gd name="connsiteX145" fmla="*/ 2057978 w 2619056"/>
                <a:gd name="connsiteY145" fmla="*/ 2048067 h 2476692"/>
                <a:gd name="connsiteX146" fmla="*/ 2029403 w 2619056"/>
                <a:gd name="connsiteY146" fmla="*/ 2052829 h 2476692"/>
                <a:gd name="connsiteX147" fmla="*/ 2019878 w 2619056"/>
                <a:gd name="connsiteY147" fmla="*/ 2009967 h 2476692"/>
                <a:gd name="connsiteX148" fmla="*/ 1991303 w 2619056"/>
                <a:gd name="connsiteY148" fmla="*/ 1986154 h 2476692"/>
                <a:gd name="connsiteX149" fmla="*/ 1962728 w 2619056"/>
                <a:gd name="connsiteY149" fmla="*/ 1976629 h 2476692"/>
                <a:gd name="connsiteX150" fmla="*/ 1948440 w 2619056"/>
                <a:gd name="connsiteY150" fmla="*/ 1990917 h 2476692"/>
                <a:gd name="connsiteX151" fmla="*/ 1910340 w 2619056"/>
                <a:gd name="connsiteY151" fmla="*/ 2000442 h 2476692"/>
                <a:gd name="connsiteX152" fmla="*/ 1891290 w 2619056"/>
                <a:gd name="connsiteY152" fmla="*/ 1971867 h 2476692"/>
                <a:gd name="connsiteX153" fmla="*/ 1886528 w 2619056"/>
                <a:gd name="connsiteY153" fmla="*/ 1952817 h 2476692"/>
                <a:gd name="connsiteX154" fmla="*/ 1881765 w 2619056"/>
                <a:gd name="connsiteY154" fmla="*/ 1929004 h 2476692"/>
                <a:gd name="connsiteX155" fmla="*/ 1877003 w 2619056"/>
                <a:gd name="connsiteY155" fmla="*/ 1886142 h 2476692"/>
                <a:gd name="connsiteX156" fmla="*/ 1862715 w 2619056"/>
                <a:gd name="connsiteY156" fmla="*/ 1871854 h 2476692"/>
                <a:gd name="connsiteX157" fmla="*/ 1853190 w 2619056"/>
                <a:gd name="connsiteY157" fmla="*/ 1857567 h 2476692"/>
                <a:gd name="connsiteX158" fmla="*/ 1824615 w 2619056"/>
                <a:gd name="connsiteY158" fmla="*/ 1838517 h 2476692"/>
                <a:gd name="connsiteX159" fmla="*/ 1819853 w 2619056"/>
                <a:gd name="connsiteY159" fmla="*/ 1819467 h 2476692"/>
                <a:gd name="connsiteX160" fmla="*/ 1834140 w 2619056"/>
                <a:gd name="connsiteY160" fmla="*/ 1814704 h 2476692"/>
                <a:gd name="connsiteX161" fmla="*/ 1848428 w 2619056"/>
                <a:gd name="connsiteY161" fmla="*/ 1809942 h 2476692"/>
                <a:gd name="connsiteX162" fmla="*/ 1862715 w 2619056"/>
                <a:gd name="connsiteY162" fmla="*/ 1805179 h 2476692"/>
                <a:gd name="connsiteX163" fmla="*/ 1891290 w 2619056"/>
                <a:gd name="connsiteY163" fmla="*/ 1795654 h 2476692"/>
                <a:gd name="connsiteX164" fmla="*/ 1896053 w 2619056"/>
                <a:gd name="connsiteY164" fmla="*/ 1781367 h 2476692"/>
                <a:gd name="connsiteX165" fmla="*/ 1900815 w 2619056"/>
                <a:gd name="connsiteY165" fmla="*/ 1762317 h 2476692"/>
                <a:gd name="connsiteX166" fmla="*/ 1891290 w 2619056"/>
                <a:gd name="connsiteY166" fmla="*/ 1676592 h 2476692"/>
                <a:gd name="connsiteX167" fmla="*/ 1719840 w 2619056"/>
                <a:gd name="connsiteY167" fmla="*/ 1671829 h 2476692"/>
                <a:gd name="connsiteX168" fmla="*/ 1710315 w 2619056"/>
                <a:gd name="connsiteY168" fmla="*/ 1690879 h 2476692"/>
                <a:gd name="connsiteX169" fmla="*/ 1696028 w 2619056"/>
                <a:gd name="connsiteY169" fmla="*/ 1709929 h 2476692"/>
                <a:gd name="connsiteX170" fmla="*/ 1681740 w 2619056"/>
                <a:gd name="connsiteY170" fmla="*/ 1724217 h 2476692"/>
                <a:gd name="connsiteX171" fmla="*/ 1676978 w 2619056"/>
                <a:gd name="connsiteY171" fmla="*/ 1738504 h 2476692"/>
                <a:gd name="connsiteX172" fmla="*/ 1667453 w 2619056"/>
                <a:gd name="connsiteY172" fmla="*/ 1762317 h 2476692"/>
                <a:gd name="connsiteX173" fmla="*/ 1643640 w 2619056"/>
                <a:gd name="connsiteY173" fmla="*/ 1795654 h 2476692"/>
                <a:gd name="connsiteX174" fmla="*/ 1291215 w 2619056"/>
                <a:gd name="connsiteY174" fmla="*/ 1938529 h 2476692"/>
                <a:gd name="connsiteX175" fmla="*/ 1162628 w 2619056"/>
                <a:gd name="connsiteY175" fmla="*/ 1833754 h 2476692"/>
                <a:gd name="connsiteX176" fmla="*/ 1091190 w 2619056"/>
                <a:gd name="connsiteY176" fmla="*/ 1843279 h 2476692"/>
                <a:gd name="connsiteX177" fmla="*/ 1014990 w 2619056"/>
                <a:gd name="connsiteY177" fmla="*/ 1786129 h 2476692"/>
                <a:gd name="connsiteX178" fmla="*/ 1024515 w 2619056"/>
                <a:gd name="connsiteY178" fmla="*/ 1733742 h 2476692"/>
                <a:gd name="connsiteX179" fmla="*/ 957840 w 2619056"/>
                <a:gd name="connsiteY179" fmla="*/ 1719454 h 2476692"/>
                <a:gd name="connsiteX180" fmla="*/ 767340 w 2619056"/>
                <a:gd name="connsiteY180" fmla="*/ 1671829 h 2476692"/>
                <a:gd name="connsiteX181" fmla="*/ 743528 w 2619056"/>
                <a:gd name="connsiteY181" fmla="*/ 1681354 h 2476692"/>
                <a:gd name="connsiteX182" fmla="*/ 729240 w 2619056"/>
                <a:gd name="connsiteY182" fmla="*/ 1686117 h 2476692"/>
                <a:gd name="connsiteX183" fmla="*/ 700665 w 2619056"/>
                <a:gd name="connsiteY183" fmla="*/ 1667067 h 2476692"/>
                <a:gd name="connsiteX184" fmla="*/ 657803 w 2619056"/>
                <a:gd name="connsiteY184" fmla="*/ 1624204 h 2476692"/>
                <a:gd name="connsiteX185" fmla="*/ 605415 w 2619056"/>
                <a:gd name="connsiteY185" fmla="*/ 1638492 h 2476692"/>
                <a:gd name="connsiteX186" fmla="*/ 533978 w 2619056"/>
                <a:gd name="connsiteY186" fmla="*/ 1543242 h 2476692"/>
                <a:gd name="connsiteX187" fmla="*/ 548265 w 2619056"/>
                <a:gd name="connsiteY187" fmla="*/ 1528954 h 2476692"/>
                <a:gd name="connsiteX188" fmla="*/ 567315 w 2619056"/>
                <a:gd name="connsiteY188" fmla="*/ 1514667 h 2476692"/>
                <a:gd name="connsiteX189" fmla="*/ 581603 w 2619056"/>
                <a:gd name="connsiteY189" fmla="*/ 1476567 h 2476692"/>
                <a:gd name="connsiteX190" fmla="*/ 567315 w 2619056"/>
                <a:gd name="connsiteY190" fmla="*/ 1471804 h 2476692"/>
                <a:gd name="connsiteX191" fmla="*/ 543503 w 2619056"/>
                <a:gd name="connsiteY191" fmla="*/ 1462279 h 2476692"/>
                <a:gd name="connsiteX192" fmla="*/ 562553 w 2619056"/>
                <a:gd name="connsiteY192" fmla="*/ 1428942 h 2476692"/>
                <a:gd name="connsiteX193" fmla="*/ 567315 w 2619056"/>
                <a:gd name="connsiteY193" fmla="*/ 1414654 h 2476692"/>
                <a:gd name="connsiteX194" fmla="*/ 586365 w 2619056"/>
                <a:gd name="connsiteY194" fmla="*/ 1386079 h 2476692"/>
                <a:gd name="connsiteX195" fmla="*/ 619703 w 2619056"/>
                <a:gd name="connsiteY195" fmla="*/ 1362267 h 2476692"/>
                <a:gd name="connsiteX196" fmla="*/ 633990 w 2619056"/>
                <a:gd name="connsiteY196" fmla="*/ 1343217 h 2476692"/>
                <a:gd name="connsiteX197" fmla="*/ 662565 w 2619056"/>
                <a:gd name="connsiteY197" fmla="*/ 1319404 h 2476692"/>
                <a:gd name="connsiteX198" fmla="*/ 667328 w 2619056"/>
                <a:gd name="connsiteY198" fmla="*/ 1281304 h 2476692"/>
                <a:gd name="connsiteX199" fmla="*/ 638753 w 2619056"/>
                <a:gd name="connsiteY199" fmla="*/ 1267017 h 2476692"/>
                <a:gd name="connsiteX200" fmla="*/ 633990 w 2619056"/>
                <a:gd name="connsiteY200" fmla="*/ 1252729 h 2476692"/>
                <a:gd name="connsiteX201" fmla="*/ 643515 w 2619056"/>
                <a:gd name="connsiteY201" fmla="*/ 1238442 h 2476692"/>
                <a:gd name="connsiteX202" fmla="*/ 672090 w 2619056"/>
                <a:gd name="connsiteY202" fmla="*/ 1219392 h 2476692"/>
                <a:gd name="connsiteX203" fmla="*/ 672090 w 2619056"/>
                <a:gd name="connsiteY203" fmla="*/ 1162242 h 2476692"/>
                <a:gd name="connsiteX204" fmla="*/ 662565 w 2619056"/>
                <a:gd name="connsiteY204" fmla="*/ 1147954 h 2476692"/>
                <a:gd name="connsiteX205" fmla="*/ 619703 w 2619056"/>
                <a:gd name="connsiteY205" fmla="*/ 1167004 h 2476692"/>
                <a:gd name="connsiteX206" fmla="*/ 610178 w 2619056"/>
                <a:gd name="connsiteY206" fmla="*/ 1152717 h 2476692"/>
                <a:gd name="connsiteX207" fmla="*/ 605415 w 2619056"/>
                <a:gd name="connsiteY207" fmla="*/ 1105092 h 2476692"/>
                <a:gd name="connsiteX208" fmla="*/ 595890 w 2619056"/>
                <a:gd name="connsiteY208" fmla="*/ 1086042 h 2476692"/>
                <a:gd name="connsiteX209" fmla="*/ 576840 w 2619056"/>
                <a:gd name="connsiteY209" fmla="*/ 1057467 h 2476692"/>
                <a:gd name="connsiteX210" fmla="*/ 572078 w 2619056"/>
                <a:gd name="connsiteY210" fmla="*/ 1043179 h 2476692"/>
                <a:gd name="connsiteX211" fmla="*/ 562553 w 2619056"/>
                <a:gd name="connsiteY211" fmla="*/ 962217 h 2476692"/>
                <a:gd name="connsiteX212" fmla="*/ 462540 w 2619056"/>
                <a:gd name="connsiteY212" fmla="*/ 1043179 h 2476692"/>
                <a:gd name="connsiteX213" fmla="*/ 433965 w 2619056"/>
                <a:gd name="connsiteY213" fmla="*/ 952692 h 2476692"/>
                <a:gd name="connsiteX214" fmla="*/ 343478 w 2619056"/>
                <a:gd name="connsiteY214" fmla="*/ 862204 h 2476692"/>
                <a:gd name="connsiteX215" fmla="*/ 262515 w 2619056"/>
                <a:gd name="connsiteY215" fmla="*/ 871729 h 2476692"/>
                <a:gd name="connsiteX216" fmla="*/ 205365 w 2619056"/>
                <a:gd name="connsiteY216" fmla="*/ 919354 h 2476692"/>
                <a:gd name="connsiteX217" fmla="*/ 95828 w 2619056"/>
                <a:gd name="connsiteY217" fmla="*/ 986029 h 2476692"/>
                <a:gd name="connsiteX218" fmla="*/ 24390 w 2619056"/>
                <a:gd name="connsiteY218" fmla="*/ 986029 h 2476692"/>
                <a:gd name="connsiteX219" fmla="*/ 14865 w 2619056"/>
                <a:gd name="connsiteY219" fmla="*/ 947929 h 2476692"/>
                <a:gd name="connsiteX220" fmla="*/ 578 w 2619056"/>
                <a:gd name="connsiteY220" fmla="*/ 933642 h 2476692"/>
                <a:gd name="connsiteX221" fmla="*/ 5340 w 2619056"/>
                <a:gd name="connsiteY221" fmla="*/ 890779 h 2476692"/>
                <a:gd name="connsiteX222" fmla="*/ 57728 w 2619056"/>
                <a:gd name="connsiteY222" fmla="*/ 781242 h 2476692"/>
                <a:gd name="connsiteX223" fmla="*/ 238703 w 2619056"/>
                <a:gd name="connsiteY223" fmla="*/ 543117 h 2476692"/>
                <a:gd name="connsiteX224" fmla="*/ 333953 w 2619056"/>
                <a:gd name="connsiteY224" fmla="*/ 543117 h 2476692"/>
                <a:gd name="connsiteX225" fmla="*/ 429203 w 2619056"/>
                <a:gd name="connsiteY225" fmla="*/ 524067 h 2476692"/>
                <a:gd name="connsiteX226" fmla="*/ 467303 w 2619056"/>
                <a:gd name="connsiteY226" fmla="*/ 538354 h 2476692"/>
                <a:gd name="connsiteX227" fmla="*/ 481590 w 2619056"/>
                <a:gd name="connsiteY227" fmla="*/ 528829 h 2476692"/>
                <a:gd name="connsiteX228" fmla="*/ 486353 w 2619056"/>
                <a:gd name="connsiteY228" fmla="*/ 514542 h 2476692"/>
                <a:gd name="connsiteX229" fmla="*/ 491115 w 2619056"/>
                <a:gd name="connsiteY229" fmla="*/ 466917 h 2476692"/>
                <a:gd name="connsiteX230" fmla="*/ 481590 w 2619056"/>
                <a:gd name="connsiteY230" fmla="*/ 438342 h 2476692"/>
                <a:gd name="connsiteX231" fmla="*/ 462540 w 2619056"/>
                <a:gd name="connsiteY231" fmla="*/ 409767 h 2476692"/>
                <a:gd name="connsiteX232" fmla="*/ 472065 w 2619056"/>
                <a:gd name="connsiteY232" fmla="*/ 347854 h 2476692"/>
                <a:gd name="connsiteX233" fmla="*/ 505403 w 2619056"/>
                <a:gd name="connsiteY233" fmla="*/ 295467 h 2476692"/>
                <a:gd name="connsiteX234" fmla="*/ 514928 w 2619056"/>
                <a:gd name="connsiteY234" fmla="*/ 281179 h 2476692"/>
                <a:gd name="connsiteX235" fmla="*/ 519690 w 2619056"/>
                <a:gd name="connsiteY235" fmla="*/ 257367 h 2476692"/>
                <a:gd name="connsiteX236" fmla="*/ 529215 w 2619056"/>
                <a:gd name="connsiteY236" fmla="*/ 243079 h 2476692"/>
                <a:gd name="connsiteX237" fmla="*/ 538740 w 2619056"/>
                <a:gd name="connsiteY237" fmla="*/ 204979 h 2476692"/>
                <a:gd name="connsiteX238" fmla="*/ 548265 w 2619056"/>
                <a:gd name="connsiteY238" fmla="*/ 185929 h 2476692"/>
                <a:gd name="connsiteX239" fmla="*/ 553028 w 2619056"/>
                <a:gd name="connsiteY239" fmla="*/ 171642 h 2476692"/>
                <a:gd name="connsiteX240" fmla="*/ 562553 w 2619056"/>
                <a:gd name="connsiteY240" fmla="*/ 157354 h 2476692"/>
                <a:gd name="connsiteX241" fmla="*/ 567315 w 2619056"/>
                <a:gd name="connsiteY241" fmla="*/ 133542 h 2476692"/>
                <a:gd name="connsiteX242" fmla="*/ 576840 w 2619056"/>
                <a:gd name="connsiteY242" fmla="*/ 100204 h 2476692"/>
                <a:gd name="connsiteX243" fmla="*/ 581603 w 2619056"/>
                <a:gd name="connsiteY243" fmla="*/ 81154 h 2476692"/>
                <a:gd name="connsiteX244" fmla="*/ 595890 w 2619056"/>
                <a:gd name="connsiteY244" fmla="*/ 33529 h 2476692"/>
                <a:gd name="connsiteX245" fmla="*/ 619703 w 2619056"/>
                <a:gd name="connsiteY245" fmla="*/ 192 h 2476692"/>
                <a:gd name="connsiteX246" fmla="*/ 621543 w 2619056"/>
                <a:gd name="connsiteY246" fmla="*/ 0 h 2476692"/>
                <a:gd name="connsiteX0" fmla="*/ 621543 w 2608360"/>
                <a:gd name="connsiteY0" fmla="*/ 0 h 2476692"/>
                <a:gd name="connsiteX1" fmla="*/ 637165 w 2608360"/>
                <a:gd name="connsiteY1" fmla="*/ 20829 h 2476692"/>
                <a:gd name="connsiteX2" fmla="*/ 643515 w 2608360"/>
                <a:gd name="connsiteY2" fmla="*/ 30354 h 2476692"/>
                <a:gd name="connsiteX3" fmla="*/ 646690 w 2608360"/>
                <a:gd name="connsiteY3" fmla="*/ 74804 h 2476692"/>
                <a:gd name="connsiteX4" fmla="*/ 656215 w 2608360"/>
                <a:gd name="connsiteY4" fmla="*/ 100204 h 2476692"/>
                <a:gd name="connsiteX5" fmla="*/ 757815 w 2608360"/>
                <a:gd name="connsiteY5" fmla="*/ 119254 h 2476692"/>
                <a:gd name="connsiteX6" fmla="*/ 780040 w 2608360"/>
                <a:gd name="connsiteY6" fmla="*/ 135129 h 2476692"/>
                <a:gd name="connsiteX7" fmla="*/ 789565 w 2608360"/>
                <a:gd name="connsiteY7" fmla="*/ 138304 h 2476692"/>
                <a:gd name="connsiteX8" fmla="*/ 808615 w 2608360"/>
                <a:gd name="connsiteY8" fmla="*/ 154179 h 2476692"/>
                <a:gd name="connsiteX9" fmla="*/ 824490 w 2608360"/>
                <a:gd name="connsiteY9" fmla="*/ 176404 h 2476692"/>
                <a:gd name="connsiteX10" fmla="*/ 827665 w 2608360"/>
                <a:gd name="connsiteY10" fmla="*/ 185929 h 2476692"/>
                <a:gd name="connsiteX11" fmla="*/ 853065 w 2608360"/>
                <a:gd name="connsiteY11" fmla="*/ 201804 h 2476692"/>
                <a:gd name="connsiteX12" fmla="*/ 929265 w 2608360"/>
                <a:gd name="connsiteY12" fmla="*/ 220854 h 2476692"/>
                <a:gd name="connsiteX13" fmla="*/ 957840 w 2608360"/>
                <a:gd name="connsiteY13" fmla="*/ 198629 h 2476692"/>
                <a:gd name="connsiteX14" fmla="*/ 980065 w 2608360"/>
                <a:gd name="connsiteY14" fmla="*/ 182754 h 2476692"/>
                <a:gd name="connsiteX15" fmla="*/ 989590 w 2608360"/>
                <a:gd name="connsiteY15" fmla="*/ 176404 h 2476692"/>
                <a:gd name="connsiteX16" fmla="*/ 1011815 w 2608360"/>
                <a:gd name="connsiteY16" fmla="*/ 173229 h 2476692"/>
                <a:gd name="connsiteX17" fmla="*/ 1027690 w 2608360"/>
                <a:gd name="connsiteY17" fmla="*/ 166879 h 2476692"/>
                <a:gd name="connsiteX18" fmla="*/ 1094365 w 2608360"/>
                <a:gd name="connsiteY18" fmla="*/ 220854 h 2476692"/>
                <a:gd name="connsiteX19" fmla="*/ 1186440 w 2608360"/>
                <a:gd name="connsiteY19" fmla="*/ 217679 h 2476692"/>
                <a:gd name="connsiteX20" fmla="*/ 1278515 w 2608360"/>
                <a:gd name="connsiteY20" fmla="*/ 170054 h 2476692"/>
                <a:gd name="connsiteX21" fmla="*/ 1326140 w 2608360"/>
                <a:gd name="connsiteY21" fmla="*/ 74804 h 2476692"/>
                <a:gd name="connsiteX22" fmla="*/ 1373765 w 2608360"/>
                <a:gd name="connsiteY22" fmla="*/ 122429 h 2476692"/>
                <a:gd name="connsiteX23" fmla="*/ 1459490 w 2608360"/>
                <a:gd name="connsiteY23" fmla="*/ 144654 h 2476692"/>
                <a:gd name="connsiteX24" fmla="*/ 1589665 w 2608360"/>
                <a:gd name="connsiteY24" fmla="*/ 144654 h 2476692"/>
                <a:gd name="connsiteX25" fmla="*/ 1697615 w 2608360"/>
                <a:gd name="connsiteY25" fmla="*/ 97029 h 2476692"/>
                <a:gd name="connsiteX26" fmla="*/ 1726190 w 2608360"/>
                <a:gd name="connsiteY26" fmla="*/ 103379 h 2476692"/>
                <a:gd name="connsiteX27" fmla="*/ 1738890 w 2608360"/>
                <a:gd name="connsiteY27" fmla="*/ 122429 h 2476692"/>
                <a:gd name="connsiteX28" fmla="*/ 1732540 w 2608360"/>
                <a:gd name="connsiteY28" fmla="*/ 141479 h 2476692"/>
                <a:gd name="connsiteX29" fmla="*/ 1723015 w 2608360"/>
                <a:gd name="connsiteY29" fmla="*/ 154179 h 2476692"/>
                <a:gd name="connsiteX30" fmla="*/ 1802390 w 2608360"/>
                <a:gd name="connsiteY30" fmla="*/ 144654 h 2476692"/>
                <a:gd name="connsiteX31" fmla="*/ 1824615 w 2608360"/>
                <a:gd name="connsiteY31" fmla="*/ 160529 h 2476692"/>
                <a:gd name="connsiteX32" fmla="*/ 1827790 w 2608360"/>
                <a:gd name="connsiteY32" fmla="*/ 195454 h 2476692"/>
                <a:gd name="connsiteX33" fmla="*/ 1834140 w 2608360"/>
                <a:gd name="connsiteY33" fmla="*/ 217679 h 2476692"/>
                <a:gd name="connsiteX34" fmla="*/ 1840490 w 2608360"/>
                <a:gd name="connsiteY34" fmla="*/ 230379 h 2476692"/>
                <a:gd name="connsiteX35" fmla="*/ 1846840 w 2608360"/>
                <a:gd name="connsiteY35" fmla="*/ 239904 h 2476692"/>
                <a:gd name="connsiteX36" fmla="*/ 1846840 w 2608360"/>
                <a:gd name="connsiteY36" fmla="*/ 249429 h 2476692"/>
                <a:gd name="connsiteX37" fmla="*/ 1916690 w 2608360"/>
                <a:gd name="connsiteY37" fmla="*/ 274829 h 2476692"/>
                <a:gd name="connsiteX38" fmla="*/ 1945265 w 2608360"/>
                <a:gd name="connsiteY38" fmla="*/ 268479 h 2476692"/>
                <a:gd name="connsiteX39" fmla="*/ 1961140 w 2608360"/>
                <a:gd name="connsiteY39" fmla="*/ 274829 h 2476692"/>
                <a:gd name="connsiteX40" fmla="*/ 1977015 w 2608360"/>
                <a:gd name="connsiteY40" fmla="*/ 293879 h 2476692"/>
                <a:gd name="connsiteX41" fmla="*/ 2002415 w 2608360"/>
                <a:gd name="connsiteY41" fmla="*/ 297054 h 2476692"/>
                <a:gd name="connsiteX42" fmla="*/ 2002415 w 2608360"/>
                <a:gd name="connsiteY42" fmla="*/ 344679 h 2476692"/>
                <a:gd name="connsiteX43" fmla="*/ 1998496 w 2608360"/>
                <a:gd name="connsiteY43" fmla="*/ 359366 h 2476692"/>
                <a:gd name="connsiteX44" fmla="*/ 1997699 w 2608360"/>
                <a:gd name="connsiteY44" fmla="*/ 359161 h 2476692"/>
                <a:gd name="connsiteX45" fmla="*/ 1996509 w 2608360"/>
                <a:gd name="connsiteY45" fmla="*/ 357863 h 2476692"/>
                <a:gd name="connsiteX46" fmla="*/ 1996082 w 2608360"/>
                <a:gd name="connsiteY46" fmla="*/ 354482 h 2476692"/>
                <a:gd name="connsiteX47" fmla="*/ 1996065 w 2608360"/>
                <a:gd name="connsiteY47" fmla="*/ 357379 h 2476692"/>
                <a:gd name="connsiteX48" fmla="*/ 1996509 w 2608360"/>
                <a:gd name="connsiteY48" fmla="*/ 357863 h 2476692"/>
                <a:gd name="connsiteX49" fmla="*/ 1996639 w 2608360"/>
                <a:gd name="connsiteY49" fmla="*/ 358889 h 2476692"/>
                <a:gd name="connsiteX50" fmla="*/ 1997699 w 2608360"/>
                <a:gd name="connsiteY50" fmla="*/ 359161 h 2476692"/>
                <a:gd name="connsiteX51" fmla="*/ 2030990 w 2608360"/>
                <a:gd name="connsiteY51" fmla="*/ 395479 h 2476692"/>
                <a:gd name="connsiteX52" fmla="*/ 2059565 w 2608360"/>
                <a:gd name="connsiteY52" fmla="*/ 385954 h 2476692"/>
                <a:gd name="connsiteX53" fmla="*/ 2069090 w 2608360"/>
                <a:gd name="connsiteY53" fmla="*/ 379604 h 2476692"/>
                <a:gd name="connsiteX54" fmla="*/ 2078615 w 2608360"/>
                <a:gd name="connsiteY54" fmla="*/ 376429 h 2476692"/>
                <a:gd name="connsiteX55" fmla="*/ 2116715 w 2608360"/>
                <a:gd name="connsiteY55" fmla="*/ 379604 h 2476692"/>
                <a:gd name="connsiteX56" fmla="*/ 2119890 w 2608360"/>
                <a:gd name="connsiteY56" fmla="*/ 411354 h 2476692"/>
                <a:gd name="connsiteX57" fmla="*/ 2129415 w 2608360"/>
                <a:gd name="connsiteY57" fmla="*/ 443104 h 2476692"/>
                <a:gd name="connsiteX58" fmla="*/ 2132590 w 2608360"/>
                <a:gd name="connsiteY58" fmla="*/ 452629 h 2476692"/>
                <a:gd name="connsiteX59" fmla="*/ 2135765 w 2608360"/>
                <a:gd name="connsiteY59" fmla="*/ 462154 h 2476692"/>
                <a:gd name="connsiteX60" fmla="*/ 2142115 w 2608360"/>
                <a:gd name="connsiteY60" fmla="*/ 493904 h 2476692"/>
                <a:gd name="connsiteX61" fmla="*/ 2138940 w 2608360"/>
                <a:gd name="connsiteY61" fmla="*/ 532004 h 2476692"/>
                <a:gd name="connsiteX62" fmla="*/ 2110365 w 2608360"/>
                <a:gd name="connsiteY62" fmla="*/ 547879 h 2476692"/>
                <a:gd name="connsiteX63" fmla="*/ 2097665 w 2608360"/>
                <a:gd name="connsiteY63" fmla="*/ 557404 h 2476692"/>
                <a:gd name="connsiteX64" fmla="*/ 2094490 w 2608360"/>
                <a:gd name="connsiteY64" fmla="*/ 582804 h 2476692"/>
                <a:gd name="connsiteX65" fmla="*/ 2104015 w 2608360"/>
                <a:gd name="connsiteY65" fmla="*/ 608204 h 2476692"/>
                <a:gd name="connsiteX66" fmla="*/ 2110365 w 2608360"/>
                <a:gd name="connsiteY66" fmla="*/ 617729 h 2476692"/>
                <a:gd name="connsiteX67" fmla="*/ 2116715 w 2608360"/>
                <a:gd name="connsiteY67" fmla="*/ 643129 h 2476692"/>
                <a:gd name="connsiteX68" fmla="*/ 2119890 w 2608360"/>
                <a:gd name="connsiteY68" fmla="*/ 719329 h 2476692"/>
                <a:gd name="connsiteX69" fmla="*/ 2123065 w 2608360"/>
                <a:gd name="connsiteY69" fmla="*/ 728854 h 2476692"/>
                <a:gd name="connsiteX70" fmla="*/ 2142115 w 2608360"/>
                <a:gd name="connsiteY70" fmla="*/ 741554 h 2476692"/>
                <a:gd name="connsiteX71" fmla="*/ 2161165 w 2608360"/>
                <a:gd name="connsiteY71" fmla="*/ 738379 h 2476692"/>
                <a:gd name="connsiteX72" fmla="*/ 2170690 w 2608360"/>
                <a:gd name="connsiteY72" fmla="*/ 732029 h 2476692"/>
                <a:gd name="connsiteX73" fmla="*/ 2183390 w 2608360"/>
                <a:gd name="connsiteY73" fmla="*/ 725679 h 2476692"/>
                <a:gd name="connsiteX74" fmla="*/ 2192915 w 2608360"/>
                <a:gd name="connsiteY74" fmla="*/ 719329 h 2476692"/>
                <a:gd name="connsiteX75" fmla="*/ 2211965 w 2608360"/>
                <a:gd name="connsiteY75" fmla="*/ 712979 h 2476692"/>
                <a:gd name="connsiteX76" fmla="*/ 2259590 w 2608360"/>
                <a:gd name="connsiteY76" fmla="*/ 716154 h 2476692"/>
                <a:gd name="connsiteX77" fmla="*/ 2262765 w 2608360"/>
                <a:gd name="connsiteY77" fmla="*/ 732029 h 2476692"/>
                <a:gd name="connsiteX78" fmla="*/ 2272290 w 2608360"/>
                <a:gd name="connsiteY78" fmla="*/ 751079 h 2476692"/>
                <a:gd name="connsiteX79" fmla="*/ 2297690 w 2608360"/>
                <a:gd name="connsiteY79" fmla="*/ 754254 h 2476692"/>
                <a:gd name="connsiteX80" fmla="*/ 2329440 w 2608360"/>
                <a:gd name="connsiteY80" fmla="*/ 738379 h 2476692"/>
                <a:gd name="connsiteX81" fmla="*/ 2338965 w 2608360"/>
                <a:gd name="connsiteY81" fmla="*/ 735204 h 2476692"/>
                <a:gd name="connsiteX82" fmla="*/ 2367540 w 2608360"/>
                <a:gd name="connsiteY82" fmla="*/ 722504 h 2476692"/>
                <a:gd name="connsiteX83" fmla="*/ 2377065 w 2608360"/>
                <a:gd name="connsiteY83" fmla="*/ 719329 h 2476692"/>
                <a:gd name="connsiteX84" fmla="*/ 2391809 w 2608360"/>
                <a:gd name="connsiteY84" fmla="*/ 719329 h 2476692"/>
                <a:gd name="connsiteX85" fmla="*/ 2605665 w 2608360"/>
                <a:gd name="connsiteY85" fmla="*/ 1412273 h 2476692"/>
                <a:gd name="connsiteX86" fmla="*/ 2588996 w 2608360"/>
                <a:gd name="connsiteY86" fmla="*/ 1452754 h 2476692"/>
                <a:gd name="connsiteX87" fmla="*/ 2574709 w 2608360"/>
                <a:gd name="connsiteY87" fmla="*/ 1486092 h 2476692"/>
                <a:gd name="connsiteX88" fmla="*/ 2608046 w 2608360"/>
                <a:gd name="connsiteY88" fmla="*/ 1586104 h 2476692"/>
                <a:gd name="connsiteX89" fmla="*/ 2598522 w 2608360"/>
                <a:gd name="connsiteY89" fmla="*/ 1619442 h 2476692"/>
                <a:gd name="connsiteX90" fmla="*/ 2593759 w 2608360"/>
                <a:gd name="connsiteY90" fmla="*/ 1712310 h 2476692"/>
                <a:gd name="connsiteX91" fmla="*/ 2577090 w 2608360"/>
                <a:gd name="connsiteY91" fmla="*/ 1802798 h 2476692"/>
                <a:gd name="connsiteX92" fmla="*/ 2512796 w 2608360"/>
                <a:gd name="connsiteY92" fmla="*/ 1824229 h 2476692"/>
                <a:gd name="connsiteX93" fmla="*/ 2558040 w 2608360"/>
                <a:gd name="connsiteY93" fmla="*/ 1883760 h 2476692"/>
                <a:gd name="connsiteX94" fmla="*/ 2555659 w 2608360"/>
                <a:gd name="connsiteY94" fmla="*/ 1909954 h 2476692"/>
                <a:gd name="connsiteX95" fmla="*/ 2527084 w 2608360"/>
                <a:gd name="connsiteY95" fmla="*/ 1995679 h 2476692"/>
                <a:gd name="connsiteX96" fmla="*/ 2503271 w 2608360"/>
                <a:gd name="connsiteY96" fmla="*/ 1986154 h 2476692"/>
                <a:gd name="connsiteX97" fmla="*/ 2472315 w 2608360"/>
                <a:gd name="connsiteY97" fmla="*/ 1971867 h 2476692"/>
                <a:gd name="connsiteX98" fmla="*/ 2436596 w 2608360"/>
                <a:gd name="connsiteY98" fmla="*/ 1986154 h 2476692"/>
                <a:gd name="connsiteX99" fmla="*/ 2450884 w 2608360"/>
                <a:gd name="connsiteY99" fmla="*/ 2017110 h 2476692"/>
                <a:gd name="connsiteX100" fmla="*/ 2465171 w 2608360"/>
                <a:gd name="connsiteY100" fmla="*/ 2057592 h 2476692"/>
                <a:gd name="connsiteX101" fmla="*/ 2455646 w 2608360"/>
                <a:gd name="connsiteY101" fmla="*/ 2121885 h 2476692"/>
                <a:gd name="connsiteX102" fmla="*/ 2410403 w 2608360"/>
                <a:gd name="connsiteY102" fmla="*/ 2152842 h 2476692"/>
                <a:gd name="connsiteX103" fmla="*/ 2458028 w 2608360"/>
                <a:gd name="connsiteY103" fmla="*/ 2186180 h 2476692"/>
                <a:gd name="connsiteX104" fmla="*/ 2448503 w 2608360"/>
                <a:gd name="connsiteY104" fmla="*/ 2226660 h 2476692"/>
                <a:gd name="connsiteX105" fmla="*/ 2410403 w 2608360"/>
                <a:gd name="connsiteY105" fmla="*/ 2262379 h 2476692"/>
                <a:gd name="connsiteX106" fmla="*/ 2388971 w 2608360"/>
                <a:gd name="connsiteY106" fmla="*/ 2331435 h 2476692"/>
                <a:gd name="connsiteX107" fmla="*/ 2405640 w 2608360"/>
                <a:gd name="connsiteY107" fmla="*/ 2381442 h 2476692"/>
                <a:gd name="connsiteX108" fmla="*/ 2391353 w 2608360"/>
                <a:gd name="connsiteY108" fmla="*/ 2414779 h 2476692"/>
                <a:gd name="connsiteX109" fmla="*/ 2334203 w 2608360"/>
                <a:gd name="connsiteY109" fmla="*/ 2433829 h 2476692"/>
                <a:gd name="connsiteX110" fmla="*/ 2305628 w 2608360"/>
                <a:gd name="connsiteY110" fmla="*/ 2443354 h 2476692"/>
                <a:gd name="connsiteX111" fmla="*/ 2296103 w 2608360"/>
                <a:gd name="connsiteY111" fmla="*/ 2457642 h 2476692"/>
                <a:gd name="connsiteX112" fmla="*/ 2262765 w 2608360"/>
                <a:gd name="connsiteY112" fmla="*/ 2462404 h 2476692"/>
                <a:gd name="connsiteX113" fmla="*/ 2229428 w 2608360"/>
                <a:gd name="connsiteY113" fmla="*/ 2438592 h 2476692"/>
                <a:gd name="connsiteX114" fmla="*/ 2215140 w 2608360"/>
                <a:gd name="connsiteY114" fmla="*/ 2433829 h 2476692"/>
                <a:gd name="connsiteX115" fmla="*/ 2205615 w 2608360"/>
                <a:gd name="connsiteY115" fmla="*/ 2457642 h 2476692"/>
                <a:gd name="connsiteX116" fmla="*/ 2191328 w 2608360"/>
                <a:gd name="connsiteY116" fmla="*/ 2467167 h 2476692"/>
                <a:gd name="connsiteX117" fmla="*/ 2153228 w 2608360"/>
                <a:gd name="connsiteY117" fmla="*/ 2476692 h 2476692"/>
                <a:gd name="connsiteX118" fmla="*/ 2134178 w 2608360"/>
                <a:gd name="connsiteY118" fmla="*/ 2448117 h 2476692"/>
                <a:gd name="connsiteX119" fmla="*/ 2124653 w 2608360"/>
                <a:gd name="connsiteY119" fmla="*/ 2433829 h 2476692"/>
                <a:gd name="connsiteX120" fmla="*/ 2119890 w 2608360"/>
                <a:gd name="connsiteY120" fmla="*/ 2352867 h 2476692"/>
                <a:gd name="connsiteX121" fmla="*/ 2124653 w 2608360"/>
                <a:gd name="connsiteY121" fmla="*/ 2338579 h 2476692"/>
                <a:gd name="connsiteX122" fmla="*/ 2167515 w 2608360"/>
                <a:gd name="connsiteY122" fmla="*/ 2290954 h 2476692"/>
                <a:gd name="connsiteX123" fmla="*/ 2177040 w 2608360"/>
                <a:gd name="connsiteY123" fmla="*/ 2276667 h 2476692"/>
                <a:gd name="connsiteX124" fmla="*/ 2153228 w 2608360"/>
                <a:gd name="connsiteY124" fmla="*/ 2248092 h 2476692"/>
                <a:gd name="connsiteX125" fmla="*/ 2134178 w 2608360"/>
                <a:gd name="connsiteY125" fmla="*/ 2238567 h 2476692"/>
                <a:gd name="connsiteX126" fmla="*/ 2129415 w 2608360"/>
                <a:gd name="connsiteY126" fmla="*/ 2214754 h 2476692"/>
                <a:gd name="connsiteX127" fmla="*/ 2148465 w 2608360"/>
                <a:gd name="connsiteY127" fmla="*/ 2186179 h 2476692"/>
                <a:gd name="connsiteX128" fmla="*/ 2167515 w 2608360"/>
                <a:gd name="connsiteY128" fmla="*/ 2190942 h 2476692"/>
                <a:gd name="connsiteX129" fmla="*/ 2229428 w 2608360"/>
                <a:gd name="connsiteY129" fmla="*/ 2186179 h 2476692"/>
                <a:gd name="connsiteX130" fmla="*/ 2234190 w 2608360"/>
                <a:gd name="connsiteY130" fmla="*/ 2171892 h 2476692"/>
                <a:gd name="connsiteX131" fmla="*/ 2224665 w 2608360"/>
                <a:gd name="connsiteY131" fmla="*/ 2143317 h 2476692"/>
                <a:gd name="connsiteX132" fmla="*/ 2210378 w 2608360"/>
                <a:gd name="connsiteY132" fmla="*/ 2129029 h 2476692"/>
                <a:gd name="connsiteX133" fmla="*/ 2191328 w 2608360"/>
                <a:gd name="connsiteY133" fmla="*/ 2119504 h 2476692"/>
                <a:gd name="connsiteX134" fmla="*/ 2162753 w 2608360"/>
                <a:gd name="connsiteY134" fmla="*/ 2114742 h 2476692"/>
                <a:gd name="connsiteX135" fmla="*/ 2157990 w 2608360"/>
                <a:gd name="connsiteY135" fmla="*/ 2095692 h 2476692"/>
                <a:gd name="connsiteX136" fmla="*/ 2181803 w 2608360"/>
                <a:gd name="connsiteY136" fmla="*/ 2062354 h 2476692"/>
                <a:gd name="connsiteX137" fmla="*/ 2191328 w 2608360"/>
                <a:gd name="connsiteY137" fmla="*/ 2048067 h 2476692"/>
                <a:gd name="connsiteX138" fmla="*/ 2196090 w 2608360"/>
                <a:gd name="connsiteY138" fmla="*/ 1986154 h 2476692"/>
                <a:gd name="connsiteX139" fmla="*/ 2186565 w 2608360"/>
                <a:gd name="connsiteY139" fmla="*/ 1957579 h 2476692"/>
                <a:gd name="connsiteX140" fmla="*/ 2162753 w 2608360"/>
                <a:gd name="connsiteY140" fmla="*/ 1952817 h 2476692"/>
                <a:gd name="connsiteX141" fmla="*/ 2134178 w 2608360"/>
                <a:gd name="connsiteY141" fmla="*/ 1971867 h 2476692"/>
                <a:gd name="connsiteX142" fmla="*/ 2124653 w 2608360"/>
                <a:gd name="connsiteY142" fmla="*/ 1986154 h 2476692"/>
                <a:gd name="connsiteX143" fmla="*/ 2105603 w 2608360"/>
                <a:gd name="connsiteY143" fmla="*/ 2005204 h 2476692"/>
                <a:gd name="connsiteX144" fmla="*/ 2072265 w 2608360"/>
                <a:gd name="connsiteY144" fmla="*/ 2038542 h 2476692"/>
                <a:gd name="connsiteX145" fmla="*/ 2057978 w 2608360"/>
                <a:gd name="connsiteY145" fmla="*/ 2048067 h 2476692"/>
                <a:gd name="connsiteX146" fmla="*/ 2029403 w 2608360"/>
                <a:gd name="connsiteY146" fmla="*/ 2052829 h 2476692"/>
                <a:gd name="connsiteX147" fmla="*/ 2019878 w 2608360"/>
                <a:gd name="connsiteY147" fmla="*/ 2009967 h 2476692"/>
                <a:gd name="connsiteX148" fmla="*/ 1991303 w 2608360"/>
                <a:gd name="connsiteY148" fmla="*/ 1986154 h 2476692"/>
                <a:gd name="connsiteX149" fmla="*/ 1962728 w 2608360"/>
                <a:gd name="connsiteY149" fmla="*/ 1976629 h 2476692"/>
                <a:gd name="connsiteX150" fmla="*/ 1948440 w 2608360"/>
                <a:gd name="connsiteY150" fmla="*/ 1990917 h 2476692"/>
                <a:gd name="connsiteX151" fmla="*/ 1910340 w 2608360"/>
                <a:gd name="connsiteY151" fmla="*/ 2000442 h 2476692"/>
                <a:gd name="connsiteX152" fmla="*/ 1891290 w 2608360"/>
                <a:gd name="connsiteY152" fmla="*/ 1971867 h 2476692"/>
                <a:gd name="connsiteX153" fmla="*/ 1886528 w 2608360"/>
                <a:gd name="connsiteY153" fmla="*/ 1952817 h 2476692"/>
                <a:gd name="connsiteX154" fmla="*/ 1881765 w 2608360"/>
                <a:gd name="connsiteY154" fmla="*/ 1929004 h 2476692"/>
                <a:gd name="connsiteX155" fmla="*/ 1877003 w 2608360"/>
                <a:gd name="connsiteY155" fmla="*/ 1886142 h 2476692"/>
                <a:gd name="connsiteX156" fmla="*/ 1862715 w 2608360"/>
                <a:gd name="connsiteY156" fmla="*/ 1871854 h 2476692"/>
                <a:gd name="connsiteX157" fmla="*/ 1853190 w 2608360"/>
                <a:gd name="connsiteY157" fmla="*/ 1857567 h 2476692"/>
                <a:gd name="connsiteX158" fmla="*/ 1824615 w 2608360"/>
                <a:gd name="connsiteY158" fmla="*/ 1838517 h 2476692"/>
                <a:gd name="connsiteX159" fmla="*/ 1819853 w 2608360"/>
                <a:gd name="connsiteY159" fmla="*/ 1819467 h 2476692"/>
                <a:gd name="connsiteX160" fmla="*/ 1834140 w 2608360"/>
                <a:gd name="connsiteY160" fmla="*/ 1814704 h 2476692"/>
                <a:gd name="connsiteX161" fmla="*/ 1848428 w 2608360"/>
                <a:gd name="connsiteY161" fmla="*/ 1809942 h 2476692"/>
                <a:gd name="connsiteX162" fmla="*/ 1862715 w 2608360"/>
                <a:gd name="connsiteY162" fmla="*/ 1805179 h 2476692"/>
                <a:gd name="connsiteX163" fmla="*/ 1891290 w 2608360"/>
                <a:gd name="connsiteY163" fmla="*/ 1795654 h 2476692"/>
                <a:gd name="connsiteX164" fmla="*/ 1896053 w 2608360"/>
                <a:gd name="connsiteY164" fmla="*/ 1781367 h 2476692"/>
                <a:gd name="connsiteX165" fmla="*/ 1900815 w 2608360"/>
                <a:gd name="connsiteY165" fmla="*/ 1762317 h 2476692"/>
                <a:gd name="connsiteX166" fmla="*/ 1891290 w 2608360"/>
                <a:gd name="connsiteY166" fmla="*/ 1676592 h 2476692"/>
                <a:gd name="connsiteX167" fmla="*/ 1719840 w 2608360"/>
                <a:gd name="connsiteY167" fmla="*/ 1671829 h 2476692"/>
                <a:gd name="connsiteX168" fmla="*/ 1710315 w 2608360"/>
                <a:gd name="connsiteY168" fmla="*/ 1690879 h 2476692"/>
                <a:gd name="connsiteX169" fmla="*/ 1696028 w 2608360"/>
                <a:gd name="connsiteY169" fmla="*/ 1709929 h 2476692"/>
                <a:gd name="connsiteX170" fmla="*/ 1681740 w 2608360"/>
                <a:gd name="connsiteY170" fmla="*/ 1724217 h 2476692"/>
                <a:gd name="connsiteX171" fmla="*/ 1676978 w 2608360"/>
                <a:gd name="connsiteY171" fmla="*/ 1738504 h 2476692"/>
                <a:gd name="connsiteX172" fmla="*/ 1667453 w 2608360"/>
                <a:gd name="connsiteY172" fmla="*/ 1762317 h 2476692"/>
                <a:gd name="connsiteX173" fmla="*/ 1643640 w 2608360"/>
                <a:gd name="connsiteY173" fmla="*/ 1795654 h 2476692"/>
                <a:gd name="connsiteX174" fmla="*/ 1291215 w 2608360"/>
                <a:gd name="connsiteY174" fmla="*/ 1938529 h 2476692"/>
                <a:gd name="connsiteX175" fmla="*/ 1162628 w 2608360"/>
                <a:gd name="connsiteY175" fmla="*/ 1833754 h 2476692"/>
                <a:gd name="connsiteX176" fmla="*/ 1091190 w 2608360"/>
                <a:gd name="connsiteY176" fmla="*/ 1843279 h 2476692"/>
                <a:gd name="connsiteX177" fmla="*/ 1014990 w 2608360"/>
                <a:gd name="connsiteY177" fmla="*/ 1786129 h 2476692"/>
                <a:gd name="connsiteX178" fmla="*/ 1024515 w 2608360"/>
                <a:gd name="connsiteY178" fmla="*/ 1733742 h 2476692"/>
                <a:gd name="connsiteX179" fmla="*/ 957840 w 2608360"/>
                <a:gd name="connsiteY179" fmla="*/ 1719454 h 2476692"/>
                <a:gd name="connsiteX180" fmla="*/ 767340 w 2608360"/>
                <a:gd name="connsiteY180" fmla="*/ 1671829 h 2476692"/>
                <a:gd name="connsiteX181" fmla="*/ 743528 w 2608360"/>
                <a:gd name="connsiteY181" fmla="*/ 1681354 h 2476692"/>
                <a:gd name="connsiteX182" fmla="*/ 729240 w 2608360"/>
                <a:gd name="connsiteY182" fmla="*/ 1686117 h 2476692"/>
                <a:gd name="connsiteX183" fmla="*/ 700665 w 2608360"/>
                <a:gd name="connsiteY183" fmla="*/ 1667067 h 2476692"/>
                <a:gd name="connsiteX184" fmla="*/ 657803 w 2608360"/>
                <a:gd name="connsiteY184" fmla="*/ 1624204 h 2476692"/>
                <a:gd name="connsiteX185" fmla="*/ 605415 w 2608360"/>
                <a:gd name="connsiteY185" fmla="*/ 1638492 h 2476692"/>
                <a:gd name="connsiteX186" fmla="*/ 533978 w 2608360"/>
                <a:gd name="connsiteY186" fmla="*/ 1543242 h 2476692"/>
                <a:gd name="connsiteX187" fmla="*/ 548265 w 2608360"/>
                <a:gd name="connsiteY187" fmla="*/ 1528954 h 2476692"/>
                <a:gd name="connsiteX188" fmla="*/ 567315 w 2608360"/>
                <a:gd name="connsiteY188" fmla="*/ 1514667 h 2476692"/>
                <a:gd name="connsiteX189" fmla="*/ 581603 w 2608360"/>
                <a:gd name="connsiteY189" fmla="*/ 1476567 h 2476692"/>
                <a:gd name="connsiteX190" fmla="*/ 567315 w 2608360"/>
                <a:gd name="connsiteY190" fmla="*/ 1471804 h 2476692"/>
                <a:gd name="connsiteX191" fmla="*/ 543503 w 2608360"/>
                <a:gd name="connsiteY191" fmla="*/ 1462279 h 2476692"/>
                <a:gd name="connsiteX192" fmla="*/ 562553 w 2608360"/>
                <a:gd name="connsiteY192" fmla="*/ 1428942 h 2476692"/>
                <a:gd name="connsiteX193" fmla="*/ 567315 w 2608360"/>
                <a:gd name="connsiteY193" fmla="*/ 1414654 h 2476692"/>
                <a:gd name="connsiteX194" fmla="*/ 586365 w 2608360"/>
                <a:gd name="connsiteY194" fmla="*/ 1386079 h 2476692"/>
                <a:gd name="connsiteX195" fmla="*/ 619703 w 2608360"/>
                <a:gd name="connsiteY195" fmla="*/ 1362267 h 2476692"/>
                <a:gd name="connsiteX196" fmla="*/ 633990 w 2608360"/>
                <a:gd name="connsiteY196" fmla="*/ 1343217 h 2476692"/>
                <a:gd name="connsiteX197" fmla="*/ 662565 w 2608360"/>
                <a:gd name="connsiteY197" fmla="*/ 1319404 h 2476692"/>
                <a:gd name="connsiteX198" fmla="*/ 667328 w 2608360"/>
                <a:gd name="connsiteY198" fmla="*/ 1281304 h 2476692"/>
                <a:gd name="connsiteX199" fmla="*/ 638753 w 2608360"/>
                <a:gd name="connsiteY199" fmla="*/ 1267017 h 2476692"/>
                <a:gd name="connsiteX200" fmla="*/ 633990 w 2608360"/>
                <a:gd name="connsiteY200" fmla="*/ 1252729 h 2476692"/>
                <a:gd name="connsiteX201" fmla="*/ 643515 w 2608360"/>
                <a:gd name="connsiteY201" fmla="*/ 1238442 h 2476692"/>
                <a:gd name="connsiteX202" fmla="*/ 672090 w 2608360"/>
                <a:gd name="connsiteY202" fmla="*/ 1219392 h 2476692"/>
                <a:gd name="connsiteX203" fmla="*/ 672090 w 2608360"/>
                <a:gd name="connsiteY203" fmla="*/ 1162242 h 2476692"/>
                <a:gd name="connsiteX204" fmla="*/ 662565 w 2608360"/>
                <a:gd name="connsiteY204" fmla="*/ 1147954 h 2476692"/>
                <a:gd name="connsiteX205" fmla="*/ 619703 w 2608360"/>
                <a:gd name="connsiteY205" fmla="*/ 1167004 h 2476692"/>
                <a:gd name="connsiteX206" fmla="*/ 610178 w 2608360"/>
                <a:gd name="connsiteY206" fmla="*/ 1152717 h 2476692"/>
                <a:gd name="connsiteX207" fmla="*/ 605415 w 2608360"/>
                <a:gd name="connsiteY207" fmla="*/ 1105092 h 2476692"/>
                <a:gd name="connsiteX208" fmla="*/ 595890 w 2608360"/>
                <a:gd name="connsiteY208" fmla="*/ 1086042 h 2476692"/>
                <a:gd name="connsiteX209" fmla="*/ 576840 w 2608360"/>
                <a:gd name="connsiteY209" fmla="*/ 1057467 h 2476692"/>
                <a:gd name="connsiteX210" fmla="*/ 572078 w 2608360"/>
                <a:gd name="connsiteY210" fmla="*/ 1043179 h 2476692"/>
                <a:gd name="connsiteX211" fmla="*/ 562553 w 2608360"/>
                <a:gd name="connsiteY211" fmla="*/ 962217 h 2476692"/>
                <a:gd name="connsiteX212" fmla="*/ 462540 w 2608360"/>
                <a:gd name="connsiteY212" fmla="*/ 1043179 h 2476692"/>
                <a:gd name="connsiteX213" fmla="*/ 433965 w 2608360"/>
                <a:gd name="connsiteY213" fmla="*/ 952692 h 2476692"/>
                <a:gd name="connsiteX214" fmla="*/ 343478 w 2608360"/>
                <a:gd name="connsiteY214" fmla="*/ 862204 h 2476692"/>
                <a:gd name="connsiteX215" fmla="*/ 262515 w 2608360"/>
                <a:gd name="connsiteY215" fmla="*/ 871729 h 2476692"/>
                <a:gd name="connsiteX216" fmla="*/ 205365 w 2608360"/>
                <a:gd name="connsiteY216" fmla="*/ 919354 h 2476692"/>
                <a:gd name="connsiteX217" fmla="*/ 95828 w 2608360"/>
                <a:gd name="connsiteY217" fmla="*/ 986029 h 2476692"/>
                <a:gd name="connsiteX218" fmla="*/ 24390 w 2608360"/>
                <a:gd name="connsiteY218" fmla="*/ 986029 h 2476692"/>
                <a:gd name="connsiteX219" fmla="*/ 14865 w 2608360"/>
                <a:gd name="connsiteY219" fmla="*/ 947929 h 2476692"/>
                <a:gd name="connsiteX220" fmla="*/ 578 w 2608360"/>
                <a:gd name="connsiteY220" fmla="*/ 933642 h 2476692"/>
                <a:gd name="connsiteX221" fmla="*/ 5340 w 2608360"/>
                <a:gd name="connsiteY221" fmla="*/ 890779 h 2476692"/>
                <a:gd name="connsiteX222" fmla="*/ 57728 w 2608360"/>
                <a:gd name="connsiteY222" fmla="*/ 781242 h 2476692"/>
                <a:gd name="connsiteX223" fmla="*/ 238703 w 2608360"/>
                <a:gd name="connsiteY223" fmla="*/ 543117 h 2476692"/>
                <a:gd name="connsiteX224" fmla="*/ 333953 w 2608360"/>
                <a:gd name="connsiteY224" fmla="*/ 543117 h 2476692"/>
                <a:gd name="connsiteX225" fmla="*/ 429203 w 2608360"/>
                <a:gd name="connsiteY225" fmla="*/ 524067 h 2476692"/>
                <a:gd name="connsiteX226" fmla="*/ 467303 w 2608360"/>
                <a:gd name="connsiteY226" fmla="*/ 538354 h 2476692"/>
                <a:gd name="connsiteX227" fmla="*/ 481590 w 2608360"/>
                <a:gd name="connsiteY227" fmla="*/ 528829 h 2476692"/>
                <a:gd name="connsiteX228" fmla="*/ 486353 w 2608360"/>
                <a:gd name="connsiteY228" fmla="*/ 514542 h 2476692"/>
                <a:gd name="connsiteX229" fmla="*/ 491115 w 2608360"/>
                <a:gd name="connsiteY229" fmla="*/ 466917 h 2476692"/>
                <a:gd name="connsiteX230" fmla="*/ 481590 w 2608360"/>
                <a:gd name="connsiteY230" fmla="*/ 438342 h 2476692"/>
                <a:gd name="connsiteX231" fmla="*/ 462540 w 2608360"/>
                <a:gd name="connsiteY231" fmla="*/ 409767 h 2476692"/>
                <a:gd name="connsiteX232" fmla="*/ 472065 w 2608360"/>
                <a:gd name="connsiteY232" fmla="*/ 347854 h 2476692"/>
                <a:gd name="connsiteX233" fmla="*/ 505403 w 2608360"/>
                <a:gd name="connsiteY233" fmla="*/ 295467 h 2476692"/>
                <a:gd name="connsiteX234" fmla="*/ 514928 w 2608360"/>
                <a:gd name="connsiteY234" fmla="*/ 281179 h 2476692"/>
                <a:gd name="connsiteX235" fmla="*/ 519690 w 2608360"/>
                <a:gd name="connsiteY235" fmla="*/ 257367 h 2476692"/>
                <a:gd name="connsiteX236" fmla="*/ 529215 w 2608360"/>
                <a:gd name="connsiteY236" fmla="*/ 243079 h 2476692"/>
                <a:gd name="connsiteX237" fmla="*/ 538740 w 2608360"/>
                <a:gd name="connsiteY237" fmla="*/ 204979 h 2476692"/>
                <a:gd name="connsiteX238" fmla="*/ 548265 w 2608360"/>
                <a:gd name="connsiteY238" fmla="*/ 185929 h 2476692"/>
                <a:gd name="connsiteX239" fmla="*/ 553028 w 2608360"/>
                <a:gd name="connsiteY239" fmla="*/ 171642 h 2476692"/>
                <a:gd name="connsiteX240" fmla="*/ 562553 w 2608360"/>
                <a:gd name="connsiteY240" fmla="*/ 157354 h 2476692"/>
                <a:gd name="connsiteX241" fmla="*/ 567315 w 2608360"/>
                <a:gd name="connsiteY241" fmla="*/ 133542 h 2476692"/>
                <a:gd name="connsiteX242" fmla="*/ 576840 w 2608360"/>
                <a:gd name="connsiteY242" fmla="*/ 100204 h 2476692"/>
                <a:gd name="connsiteX243" fmla="*/ 581603 w 2608360"/>
                <a:gd name="connsiteY243" fmla="*/ 81154 h 2476692"/>
                <a:gd name="connsiteX244" fmla="*/ 595890 w 2608360"/>
                <a:gd name="connsiteY244" fmla="*/ 33529 h 2476692"/>
                <a:gd name="connsiteX245" fmla="*/ 619703 w 2608360"/>
                <a:gd name="connsiteY245" fmla="*/ 192 h 2476692"/>
                <a:gd name="connsiteX246" fmla="*/ 621543 w 2608360"/>
                <a:gd name="connsiteY246" fmla="*/ 0 h 2476692"/>
                <a:gd name="connsiteX0" fmla="*/ 621543 w 2625044"/>
                <a:gd name="connsiteY0" fmla="*/ 0 h 2476692"/>
                <a:gd name="connsiteX1" fmla="*/ 637165 w 2625044"/>
                <a:gd name="connsiteY1" fmla="*/ 20829 h 2476692"/>
                <a:gd name="connsiteX2" fmla="*/ 643515 w 2625044"/>
                <a:gd name="connsiteY2" fmla="*/ 30354 h 2476692"/>
                <a:gd name="connsiteX3" fmla="*/ 646690 w 2625044"/>
                <a:gd name="connsiteY3" fmla="*/ 74804 h 2476692"/>
                <a:gd name="connsiteX4" fmla="*/ 656215 w 2625044"/>
                <a:gd name="connsiteY4" fmla="*/ 100204 h 2476692"/>
                <a:gd name="connsiteX5" fmla="*/ 757815 w 2625044"/>
                <a:gd name="connsiteY5" fmla="*/ 119254 h 2476692"/>
                <a:gd name="connsiteX6" fmla="*/ 780040 w 2625044"/>
                <a:gd name="connsiteY6" fmla="*/ 135129 h 2476692"/>
                <a:gd name="connsiteX7" fmla="*/ 789565 w 2625044"/>
                <a:gd name="connsiteY7" fmla="*/ 138304 h 2476692"/>
                <a:gd name="connsiteX8" fmla="*/ 808615 w 2625044"/>
                <a:gd name="connsiteY8" fmla="*/ 154179 h 2476692"/>
                <a:gd name="connsiteX9" fmla="*/ 824490 w 2625044"/>
                <a:gd name="connsiteY9" fmla="*/ 176404 h 2476692"/>
                <a:gd name="connsiteX10" fmla="*/ 827665 w 2625044"/>
                <a:gd name="connsiteY10" fmla="*/ 185929 h 2476692"/>
                <a:gd name="connsiteX11" fmla="*/ 853065 w 2625044"/>
                <a:gd name="connsiteY11" fmla="*/ 201804 h 2476692"/>
                <a:gd name="connsiteX12" fmla="*/ 929265 w 2625044"/>
                <a:gd name="connsiteY12" fmla="*/ 220854 h 2476692"/>
                <a:gd name="connsiteX13" fmla="*/ 957840 w 2625044"/>
                <a:gd name="connsiteY13" fmla="*/ 198629 h 2476692"/>
                <a:gd name="connsiteX14" fmla="*/ 980065 w 2625044"/>
                <a:gd name="connsiteY14" fmla="*/ 182754 h 2476692"/>
                <a:gd name="connsiteX15" fmla="*/ 989590 w 2625044"/>
                <a:gd name="connsiteY15" fmla="*/ 176404 h 2476692"/>
                <a:gd name="connsiteX16" fmla="*/ 1011815 w 2625044"/>
                <a:gd name="connsiteY16" fmla="*/ 173229 h 2476692"/>
                <a:gd name="connsiteX17" fmla="*/ 1027690 w 2625044"/>
                <a:gd name="connsiteY17" fmla="*/ 166879 h 2476692"/>
                <a:gd name="connsiteX18" fmla="*/ 1094365 w 2625044"/>
                <a:gd name="connsiteY18" fmla="*/ 220854 h 2476692"/>
                <a:gd name="connsiteX19" fmla="*/ 1186440 w 2625044"/>
                <a:gd name="connsiteY19" fmla="*/ 217679 h 2476692"/>
                <a:gd name="connsiteX20" fmla="*/ 1278515 w 2625044"/>
                <a:gd name="connsiteY20" fmla="*/ 170054 h 2476692"/>
                <a:gd name="connsiteX21" fmla="*/ 1326140 w 2625044"/>
                <a:gd name="connsiteY21" fmla="*/ 74804 h 2476692"/>
                <a:gd name="connsiteX22" fmla="*/ 1373765 w 2625044"/>
                <a:gd name="connsiteY22" fmla="*/ 122429 h 2476692"/>
                <a:gd name="connsiteX23" fmla="*/ 1459490 w 2625044"/>
                <a:gd name="connsiteY23" fmla="*/ 144654 h 2476692"/>
                <a:gd name="connsiteX24" fmla="*/ 1589665 w 2625044"/>
                <a:gd name="connsiteY24" fmla="*/ 144654 h 2476692"/>
                <a:gd name="connsiteX25" fmla="*/ 1697615 w 2625044"/>
                <a:gd name="connsiteY25" fmla="*/ 97029 h 2476692"/>
                <a:gd name="connsiteX26" fmla="*/ 1726190 w 2625044"/>
                <a:gd name="connsiteY26" fmla="*/ 103379 h 2476692"/>
                <a:gd name="connsiteX27" fmla="*/ 1738890 w 2625044"/>
                <a:gd name="connsiteY27" fmla="*/ 122429 h 2476692"/>
                <a:gd name="connsiteX28" fmla="*/ 1732540 w 2625044"/>
                <a:gd name="connsiteY28" fmla="*/ 141479 h 2476692"/>
                <a:gd name="connsiteX29" fmla="*/ 1723015 w 2625044"/>
                <a:gd name="connsiteY29" fmla="*/ 154179 h 2476692"/>
                <a:gd name="connsiteX30" fmla="*/ 1802390 w 2625044"/>
                <a:gd name="connsiteY30" fmla="*/ 144654 h 2476692"/>
                <a:gd name="connsiteX31" fmla="*/ 1824615 w 2625044"/>
                <a:gd name="connsiteY31" fmla="*/ 160529 h 2476692"/>
                <a:gd name="connsiteX32" fmla="*/ 1827790 w 2625044"/>
                <a:gd name="connsiteY32" fmla="*/ 195454 h 2476692"/>
                <a:gd name="connsiteX33" fmla="*/ 1834140 w 2625044"/>
                <a:gd name="connsiteY33" fmla="*/ 217679 h 2476692"/>
                <a:gd name="connsiteX34" fmla="*/ 1840490 w 2625044"/>
                <a:gd name="connsiteY34" fmla="*/ 230379 h 2476692"/>
                <a:gd name="connsiteX35" fmla="*/ 1846840 w 2625044"/>
                <a:gd name="connsiteY35" fmla="*/ 239904 h 2476692"/>
                <a:gd name="connsiteX36" fmla="*/ 1846840 w 2625044"/>
                <a:gd name="connsiteY36" fmla="*/ 249429 h 2476692"/>
                <a:gd name="connsiteX37" fmla="*/ 1916690 w 2625044"/>
                <a:gd name="connsiteY37" fmla="*/ 274829 h 2476692"/>
                <a:gd name="connsiteX38" fmla="*/ 1945265 w 2625044"/>
                <a:gd name="connsiteY38" fmla="*/ 268479 h 2476692"/>
                <a:gd name="connsiteX39" fmla="*/ 1961140 w 2625044"/>
                <a:gd name="connsiteY39" fmla="*/ 274829 h 2476692"/>
                <a:gd name="connsiteX40" fmla="*/ 1977015 w 2625044"/>
                <a:gd name="connsiteY40" fmla="*/ 293879 h 2476692"/>
                <a:gd name="connsiteX41" fmla="*/ 2002415 w 2625044"/>
                <a:gd name="connsiteY41" fmla="*/ 297054 h 2476692"/>
                <a:gd name="connsiteX42" fmla="*/ 2002415 w 2625044"/>
                <a:gd name="connsiteY42" fmla="*/ 344679 h 2476692"/>
                <a:gd name="connsiteX43" fmla="*/ 1998496 w 2625044"/>
                <a:gd name="connsiteY43" fmla="*/ 359366 h 2476692"/>
                <a:gd name="connsiteX44" fmla="*/ 1997699 w 2625044"/>
                <a:gd name="connsiteY44" fmla="*/ 359161 h 2476692"/>
                <a:gd name="connsiteX45" fmla="*/ 1996509 w 2625044"/>
                <a:gd name="connsiteY45" fmla="*/ 357863 h 2476692"/>
                <a:gd name="connsiteX46" fmla="*/ 1996082 w 2625044"/>
                <a:gd name="connsiteY46" fmla="*/ 354482 h 2476692"/>
                <a:gd name="connsiteX47" fmla="*/ 1996065 w 2625044"/>
                <a:gd name="connsiteY47" fmla="*/ 357379 h 2476692"/>
                <a:gd name="connsiteX48" fmla="*/ 1996509 w 2625044"/>
                <a:gd name="connsiteY48" fmla="*/ 357863 h 2476692"/>
                <a:gd name="connsiteX49" fmla="*/ 1996639 w 2625044"/>
                <a:gd name="connsiteY49" fmla="*/ 358889 h 2476692"/>
                <a:gd name="connsiteX50" fmla="*/ 1997699 w 2625044"/>
                <a:gd name="connsiteY50" fmla="*/ 359161 h 2476692"/>
                <a:gd name="connsiteX51" fmla="*/ 2030990 w 2625044"/>
                <a:gd name="connsiteY51" fmla="*/ 395479 h 2476692"/>
                <a:gd name="connsiteX52" fmla="*/ 2059565 w 2625044"/>
                <a:gd name="connsiteY52" fmla="*/ 385954 h 2476692"/>
                <a:gd name="connsiteX53" fmla="*/ 2069090 w 2625044"/>
                <a:gd name="connsiteY53" fmla="*/ 379604 h 2476692"/>
                <a:gd name="connsiteX54" fmla="*/ 2078615 w 2625044"/>
                <a:gd name="connsiteY54" fmla="*/ 376429 h 2476692"/>
                <a:gd name="connsiteX55" fmla="*/ 2116715 w 2625044"/>
                <a:gd name="connsiteY55" fmla="*/ 379604 h 2476692"/>
                <a:gd name="connsiteX56" fmla="*/ 2119890 w 2625044"/>
                <a:gd name="connsiteY56" fmla="*/ 411354 h 2476692"/>
                <a:gd name="connsiteX57" fmla="*/ 2129415 w 2625044"/>
                <a:gd name="connsiteY57" fmla="*/ 443104 h 2476692"/>
                <a:gd name="connsiteX58" fmla="*/ 2132590 w 2625044"/>
                <a:gd name="connsiteY58" fmla="*/ 452629 h 2476692"/>
                <a:gd name="connsiteX59" fmla="*/ 2135765 w 2625044"/>
                <a:gd name="connsiteY59" fmla="*/ 462154 h 2476692"/>
                <a:gd name="connsiteX60" fmla="*/ 2142115 w 2625044"/>
                <a:gd name="connsiteY60" fmla="*/ 493904 h 2476692"/>
                <a:gd name="connsiteX61" fmla="*/ 2138940 w 2625044"/>
                <a:gd name="connsiteY61" fmla="*/ 532004 h 2476692"/>
                <a:gd name="connsiteX62" fmla="*/ 2110365 w 2625044"/>
                <a:gd name="connsiteY62" fmla="*/ 547879 h 2476692"/>
                <a:gd name="connsiteX63" fmla="*/ 2097665 w 2625044"/>
                <a:gd name="connsiteY63" fmla="*/ 557404 h 2476692"/>
                <a:gd name="connsiteX64" fmla="*/ 2094490 w 2625044"/>
                <a:gd name="connsiteY64" fmla="*/ 582804 h 2476692"/>
                <a:gd name="connsiteX65" fmla="*/ 2104015 w 2625044"/>
                <a:gd name="connsiteY65" fmla="*/ 608204 h 2476692"/>
                <a:gd name="connsiteX66" fmla="*/ 2110365 w 2625044"/>
                <a:gd name="connsiteY66" fmla="*/ 617729 h 2476692"/>
                <a:gd name="connsiteX67" fmla="*/ 2116715 w 2625044"/>
                <a:gd name="connsiteY67" fmla="*/ 643129 h 2476692"/>
                <a:gd name="connsiteX68" fmla="*/ 2119890 w 2625044"/>
                <a:gd name="connsiteY68" fmla="*/ 719329 h 2476692"/>
                <a:gd name="connsiteX69" fmla="*/ 2123065 w 2625044"/>
                <a:gd name="connsiteY69" fmla="*/ 728854 h 2476692"/>
                <a:gd name="connsiteX70" fmla="*/ 2142115 w 2625044"/>
                <a:gd name="connsiteY70" fmla="*/ 741554 h 2476692"/>
                <a:gd name="connsiteX71" fmla="*/ 2161165 w 2625044"/>
                <a:gd name="connsiteY71" fmla="*/ 738379 h 2476692"/>
                <a:gd name="connsiteX72" fmla="*/ 2170690 w 2625044"/>
                <a:gd name="connsiteY72" fmla="*/ 732029 h 2476692"/>
                <a:gd name="connsiteX73" fmla="*/ 2183390 w 2625044"/>
                <a:gd name="connsiteY73" fmla="*/ 725679 h 2476692"/>
                <a:gd name="connsiteX74" fmla="*/ 2192915 w 2625044"/>
                <a:gd name="connsiteY74" fmla="*/ 719329 h 2476692"/>
                <a:gd name="connsiteX75" fmla="*/ 2211965 w 2625044"/>
                <a:gd name="connsiteY75" fmla="*/ 712979 h 2476692"/>
                <a:gd name="connsiteX76" fmla="*/ 2259590 w 2625044"/>
                <a:gd name="connsiteY76" fmla="*/ 716154 h 2476692"/>
                <a:gd name="connsiteX77" fmla="*/ 2262765 w 2625044"/>
                <a:gd name="connsiteY77" fmla="*/ 732029 h 2476692"/>
                <a:gd name="connsiteX78" fmla="*/ 2272290 w 2625044"/>
                <a:gd name="connsiteY78" fmla="*/ 751079 h 2476692"/>
                <a:gd name="connsiteX79" fmla="*/ 2297690 w 2625044"/>
                <a:gd name="connsiteY79" fmla="*/ 754254 h 2476692"/>
                <a:gd name="connsiteX80" fmla="*/ 2329440 w 2625044"/>
                <a:gd name="connsiteY80" fmla="*/ 738379 h 2476692"/>
                <a:gd name="connsiteX81" fmla="*/ 2338965 w 2625044"/>
                <a:gd name="connsiteY81" fmla="*/ 735204 h 2476692"/>
                <a:gd name="connsiteX82" fmla="*/ 2367540 w 2625044"/>
                <a:gd name="connsiteY82" fmla="*/ 722504 h 2476692"/>
                <a:gd name="connsiteX83" fmla="*/ 2377065 w 2625044"/>
                <a:gd name="connsiteY83" fmla="*/ 719329 h 2476692"/>
                <a:gd name="connsiteX84" fmla="*/ 2391809 w 2625044"/>
                <a:gd name="connsiteY84" fmla="*/ 719329 h 2476692"/>
                <a:gd name="connsiteX85" fmla="*/ 2610427 w 2625044"/>
                <a:gd name="connsiteY85" fmla="*/ 1350360 h 2476692"/>
                <a:gd name="connsiteX86" fmla="*/ 2605665 w 2625044"/>
                <a:gd name="connsiteY86" fmla="*/ 1412273 h 2476692"/>
                <a:gd name="connsiteX87" fmla="*/ 2588996 w 2625044"/>
                <a:gd name="connsiteY87" fmla="*/ 1452754 h 2476692"/>
                <a:gd name="connsiteX88" fmla="*/ 2574709 w 2625044"/>
                <a:gd name="connsiteY88" fmla="*/ 1486092 h 2476692"/>
                <a:gd name="connsiteX89" fmla="*/ 2608046 w 2625044"/>
                <a:gd name="connsiteY89" fmla="*/ 1586104 h 2476692"/>
                <a:gd name="connsiteX90" fmla="*/ 2598522 w 2625044"/>
                <a:gd name="connsiteY90" fmla="*/ 1619442 h 2476692"/>
                <a:gd name="connsiteX91" fmla="*/ 2593759 w 2625044"/>
                <a:gd name="connsiteY91" fmla="*/ 1712310 h 2476692"/>
                <a:gd name="connsiteX92" fmla="*/ 2577090 w 2625044"/>
                <a:gd name="connsiteY92" fmla="*/ 1802798 h 2476692"/>
                <a:gd name="connsiteX93" fmla="*/ 2512796 w 2625044"/>
                <a:gd name="connsiteY93" fmla="*/ 1824229 h 2476692"/>
                <a:gd name="connsiteX94" fmla="*/ 2558040 w 2625044"/>
                <a:gd name="connsiteY94" fmla="*/ 1883760 h 2476692"/>
                <a:gd name="connsiteX95" fmla="*/ 2555659 w 2625044"/>
                <a:gd name="connsiteY95" fmla="*/ 1909954 h 2476692"/>
                <a:gd name="connsiteX96" fmla="*/ 2527084 w 2625044"/>
                <a:gd name="connsiteY96" fmla="*/ 1995679 h 2476692"/>
                <a:gd name="connsiteX97" fmla="*/ 2503271 w 2625044"/>
                <a:gd name="connsiteY97" fmla="*/ 1986154 h 2476692"/>
                <a:gd name="connsiteX98" fmla="*/ 2472315 w 2625044"/>
                <a:gd name="connsiteY98" fmla="*/ 1971867 h 2476692"/>
                <a:gd name="connsiteX99" fmla="*/ 2436596 w 2625044"/>
                <a:gd name="connsiteY99" fmla="*/ 1986154 h 2476692"/>
                <a:gd name="connsiteX100" fmla="*/ 2450884 w 2625044"/>
                <a:gd name="connsiteY100" fmla="*/ 2017110 h 2476692"/>
                <a:gd name="connsiteX101" fmla="*/ 2465171 w 2625044"/>
                <a:gd name="connsiteY101" fmla="*/ 2057592 h 2476692"/>
                <a:gd name="connsiteX102" fmla="*/ 2455646 w 2625044"/>
                <a:gd name="connsiteY102" fmla="*/ 2121885 h 2476692"/>
                <a:gd name="connsiteX103" fmla="*/ 2410403 w 2625044"/>
                <a:gd name="connsiteY103" fmla="*/ 2152842 h 2476692"/>
                <a:gd name="connsiteX104" fmla="*/ 2458028 w 2625044"/>
                <a:gd name="connsiteY104" fmla="*/ 2186180 h 2476692"/>
                <a:gd name="connsiteX105" fmla="*/ 2448503 w 2625044"/>
                <a:gd name="connsiteY105" fmla="*/ 2226660 h 2476692"/>
                <a:gd name="connsiteX106" fmla="*/ 2410403 w 2625044"/>
                <a:gd name="connsiteY106" fmla="*/ 2262379 h 2476692"/>
                <a:gd name="connsiteX107" fmla="*/ 2388971 w 2625044"/>
                <a:gd name="connsiteY107" fmla="*/ 2331435 h 2476692"/>
                <a:gd name="connsiteX108" fmla="*/ 2405640 w 2625044"/>
                <a:gd name="connsiteY108" fmla="*/ 2381442 h 2476692"/>
                <a:gd name="connsiteX109" fmla="*/ 2391353 w 2625044"/>
                <a:gd name="connsiteY109" fmla="*/ 2414779 h 2476692"/>
                <a:gd name="connsiteX110" fmla="*/ 2334203 w 2625044"/>
                <a:gd name="connsiteY110" fmla="*/ 2433829 h 2476692"/>
                <a:gd name="connsiteX111" fmla="*/ 2305628 w 2625044"/>
                <a:gd name="connsiteY111" fmla="*/ 2443354 h 2476692"/>
                <a:gd name="connsiteX112" fmla="*/ 2296103 w 2625044"/>
                <a:gd name="connsiteY112" fmla="*/ 2457642 h 2476692"/>
                <a:gd name="connsiteX113" fmla="*/ 2262765 w 2625044"/>
                <a:gd name="connsiteY113" fmla="*/ 2462404 h 2476692"/>
                <a:gd name="connsiteX114" fmla="*/ 2229428 w 2625044"/>
                <a:gd name="connsiteY114" fmla="*/ 2438592 h 2476692"/>
                <a:gd name="connsiteX115" fmla="*/ 2215140 w 2625044"/>
                <a:gd name="connsiteY115" fmla="*/ 2433829 h 2476692"/>
                <a:gd name="connsiteX116" fmla="*/ 2205615 w 2625044"/>
                <a:gd name="connsiteY116" fmla="*/ 2457642 h 2476692"/>
                <a:gd name="connsiteX117" fmla="*/ 2191328 w 2625044"/>
                <a:gd name="connsiteY117" fmla="*/ 2467167 h 2476692"/>
                <a:gd name="connsiteX118" fmla="*/ 2153228 w 2625044"/>
                <a:gd name="connsiteY118" fmla="*/ 2476692 h 2476692"/>
                <a:gd name="connsiteX119" fmla="*/ 2134178 w 2625044"/>
                <a:gd name="connsiteY119" fmla="*/ 2448117 h 2476692"/>
                <a:gd name="connsiteX120" fmla="*/ 2124653 w 2625044"/>
                <a:gd name="connsiteY120" fmla="*/ 2433829 h 2476692"/>
                <a:gd name="connsiteX121" fmla="*/ 2119890 w 2625044"/>
                <a:gd name="connsiteY121" fmla="*/ 2352867 h 2476692"/>
                <a:gd name="connsiteX122" fmla="*/ 2124653 w 2625044"/>
                <a:gd name="connsiteY122" fmla="*/ 2338579 h 2476692"/>
                <a:gd name="connsiteX123" fmla="*/ 2167515 w 2625044"/>
                <a:gd name="connsiteY123" fmla="*/ 2290954 h 2476692"/>
                <a:gd name="connsiteX124" fmla="*/ 2177040 w 2625044"/>
                <a:gd name="connsiteY124" fmla="*/ 2276667 h 2476692"/>
                <a:gd name="connsiteX125" fmla="*/ 2153228 w 2625044"/>
                <a:gd name="connsiteY125" fmla="*/ 2248092 h 2476692"/>
                <a:gd name="connsiteX126" fmla="*/ 2134178 w 2625044"/>
                <a:gd name="connsiteY126" fmla="*/ 2238567 h 2476692"/>
                <a:gd name="connsiteX127" fmla="*/ 2129415 w 2625044"/>
                <a:gd name="connsiteY127" fmla="*/ 2214754 h 2476692"/>
                <a:gd name="connsiteX128" fmla="*/ 2148465 w 2625044"/>
                <a:gd name="connsiteY128" fmla="*/ 2186179 h 2476692"/>
                <a:gd name="connsiteX129" fmla="*/ 2167515 w 2625044"/>
                <a:gd name="connsiteY129" fmla="*/ 2190942 h 2476692"/>
                <a:gd name="connsiteX130" fmla="*/ 2229428 w 2625044"/>
                <a:gd name="connsiteY130" fmla="*/ 2186179 h 2476692"/>
                <a:gd name="connsiteX131" fmla="*/ 2234190 w 2625044"/>
                <a:gd name="connsiteY131" fmla="*/ 2171892 h 2476692"/>
                <a:gd name="connsiteX132" fmla="*/ 2224665 w 2625044"/>
                <a:gd name="connsiteY132" fmla="*/ 2143317 h 2476692"/>
                <a:gd name="connsiteX133" fmla="*/ 2210378 w 2625044"/>
                <a:gd name="connsiteY133" fmla="*/ 2129029 h 2476692"/>
                <a:gd name="connsiteX134" fmla="*/ 2191328 w 2625044"/>
                <a:gd name="connsiteY134" fmla="*/ 2119504 h 2476692"/>
                <a:gd name="connsiteX135" fmla="*/ 2162753 w 2625044"/>
                <a:gd name="connsiteY135" fmla="*/ 2114742 h 2476692"/>
                <a:gd name="connsiteX136" fmla="*/ 2157990 w 2625044"/>
                <a:gd name="connsiteY136" fmla="*/ 2095692 h 2476692"/>
                <a:gd name="connsiteX137" fmla="*/ 2181803 w 2625044"/>
                <a:gd name="connsiteY137" fmla="*/ 2062354 h 2476692"/>
                <a:gd name="connsiteX138" fmla="*/ 2191328 w 2625044"/>
                <a:gd name="connsiteY138" fmla="*/ 2048067 h 2476692"/>
                <a:gd name="connsiteX139" fmla="*/ 2196090 w 2625044"/>
                <a:gd name="connsiteY139" fmla="*/ 1986154 h 2476692"/>
                <a:gd name="connsiteX140" fmla="*/ 2186565 w 2625044"/>
                <a:gd name="connsiteY140" fmla="*/ 1957579 h 2476692"/>
                <a:gd name="connsiteX141" fmla="*/ 2162753 w 2625044"/>
                <a:gd name="connsiteY141" fmla="*/ 1952817 h 2476692"/>
                <a:gd name="connsiteX142" fmla="*/ 2134178 w 2625044"/>
                <a:gd name="connsiteY142" fmla="*/ 1971867 h 2476692"/>
                <a:gd name="connsiteX143" fmla="*/ 2124653 w 2625044"/>
                <a:gd name="connsiteY143" fmla="*/ 1986154 h 2476692"/>
                <a:gd name="connsiteX144" fmla="*/ 2105603 w 2625044"/>
                <a:gd name="connsiteY144" fmla="*/ 2005204 h 2476692"/>
                <a:gd name="connsiteX145" fmla="*/ 2072265 w 2625044"/>
                <a:gd name="connsiteY145" fmla="*/ 2038542 h 2476692"/>
                <a:gd name="connsiteX146" fmla="*/ 2057978 w 2625044"/>
                <a:gd name="connsiteY146" fmla="*/ 2048067 h 2476692"/>
                <a:gd name="connsiteX147" fmla="*/ 2029403 w 2625044"/>
                <a:gd name="connsiteY147" fmla="*/ 2052829 h 2476692"/>
                <a:gd name="connsiteX148" fmla="*/ 2019878 w 2625044"/>
                <a:gd name="connsiteY148" fmla="*/ 2009967 h 2476692"/>
                <a:gd name="connsiteX149" fmla="*/ 1991303 w 2625044"/>
                <a:gd name="connsiteY149" fmla="*/ 1986154 h 2476692"/>
                <a:gd name="connsiteX150" fmla="*/ 1962728 w 2625044"/>
                <a:gd name="connsiteY150" fmla="*/ 1976629 h 2476692"/>
                <a:gd name="connsiteX151" fmla="*/ 1948440 w 2625044"/>
                <a:gd name="connsiteY151" fmla="*/ 1990917 h 2476692"/>
                <a:gd name="connsiteX152" fmla="*/ 1910340 w 2625044"/>
                <a:gd name="connsiteY152" fmla="*/ 2000442 h 2476692"/>
                <a:gd name="connsiteX153" fmla="*/ 1891290 w 2625044"/>
                <a:gd name="connsiteY153" fmla="*/ 1971867 h 2476692"/>
                <a:gd name="connsiteX154" fmla="*/ 1886528 w 2625044"/>
                <a:gd name="connsiteY154" fmla="*/ 1952817 h 2476692"/>
                <a:gd name="connsiteX155" fmla="*/ 1881765 w 2625044"/>
                <a:gd name="connsiteY155" fmla="*/ 1929004 h 2476692"/>
                <a:gd name="connsiteX156" fmla="*/ 1877003 w 2625044"/>
                <a:gd name="connsiteY156" fmla="*/ 1886142 h 2476692"/>
                <a:gd name="connsiteX157" fmla="*/ 1862715 w 2625044"/>
                <a:gd name="connsiteY157" fmla="*/ 1871854 h 2476692"/>
                <a:gd name="connsiteX158" fmla="*/ 1853190 w 2625044"/>
                <a:gd name="connsiteY158" fmla="*/ 1857567 h 2476692"/>
                <a:gd name="connsiteX159" fmla="*/ 1824615 w 2625044"/>
                <a:gd name="connsiteY159" fmla="*/ 1838517 h 2476692"/>
                <a:gd name="connsiteX160" fmla="*/ 1819853 w 2625044"/>
                <a:gd name="connsiteY160" fmla="*/ 1819467 h 2476692"/>
                <a:gd name="connsiteX161" fmla="*/ 1834140 w 2625044"/>
                <a:gd name="connsiteY161" fmla="*/ 1814704 h 2476692"/>
                <a:gd name="connsiteX162" fmla="*/ 1848428 w 2625044"/>
                <a:gd name="connsiteY162" fmla="*/ 1809942 h 2476692"/>
                <a:gd name="connsiteX163" fmla="*/ 1862715 w 2625044"/>
                <a:gd name="connsiteY163" fmla="*/ 1805179 h 2476692"/>
                <a:gd name="connsiteX164" fmla="*/ 1891290 w 2625044"/>
                <a:gd name="connsiteY164" fmla="*/ 1795654 h 2476692"/>
                <a:gd name="connsiteX165" fmla="*/ 1896053 w 2625044"/>
                <a:gd name="connsiteY165" fmla="*/ 1781367 h 2476692"/>
                <a:gd name="connsiteX166" fmla="*/ 1900815 w 2625044"/>
                <a:gd name="connsiteY166" fmla="*/ 1762317 h 2476692"/>
                <a:gd name="connsiteX167" fmla="*/ 1891290 w 2625044"/>
                <a:gd name="connsiteY167" fmla="*/ 1676592 h 2476692"/>
                <a:gd name="connsiteX168" fmla="*/ 1719840 w 2625044"/>
                <a:gd name="connsiteY168" fmla="*/ 1671829 h 2476692"/>
                <a:gd name="connsiteX169" fmla="*/ 1710315 w 2625044"/>
                <a:gd name="connsiteY169" fmla="*/ 1690879 h 2476692"/>
                <a:gd name="connsiteX170" fmla="*/ 1696028 w 2625044"/>
                <a:gd name="connsiteY170" fmla="*/ 1709929 h 2476692"/>
                <a:gd name="connsiteX171" fmla="*/ 1681740 w 2625044"/>
                <a:gd name="connsiteY171" fmla="*/ 1724217 h 2476692"/>
                <a:gd name="connsiteX172" fmla="*/ 1676978 w 2625044"/>
                <a:gd name="connsiteY172" fmla="*/ 1738504 h 2476692"/>
                <a:gd name="connsiteX173" fmla="*/ 1667453 w 2625044"/>
                <a:gd name="connsiteY173" fmla="*/ 1762317 h 2476692"/>
                <a:gd name="connsiteX174" fmla="*/ 1643640 w 2625044"/>
                <a:gd name="connsiteY174" fmla="*/ 1795654 h 2476692"/>
                <a:gd name="connsiteX175" fmla="*/ 1291215 w 2625044"/>
                <a:gd name="connsiteY175" fmla="*/ 1938529 h 2476692"/>
                <a:gd name="connsiteX176" fmla="*/ 1162628 w 2625044"/>
                <a:gd name="connsiteY176" fmla="*/ 1833754 h 2476692"/>
                <a:gd name="connsiteX177" fmla="*/ 1091190 w 2625044"/>
                <a:gd name="connsiteY177" fmla="*/ 1843279 h 2476692"/>
                <a:gd name="connsiteX178" fmla="*/ 1014990 w 2625044"/>
                <a:gd name="connsiteY178" fmla="*/ 1786129 h 2476692"/>
                <a:gd name="connsiteX179" fmla="*/ 1024515 w 2625044"/>
                <a:gd name="connsiteY179" fmla="*/ 1733742 h 2476692"/>
                <a:gd name="connsiteX180" fmla="*/ 957840 w 2625044"/>
                <a:gd name="connsiteY180" fmla="*/ 1719454 h 2476692"/>
                <a:gd name="connsiteX181" fmla="*/ 767340 w 2625044"/>
                <a:gd name="connsiteY181" fmla="*/ 1671829 h 2476692"/>
                <a:gd name="connsiteX182" fmla="*/ 743528 w 2625044"/>
                <a:gd name="connsiteY182" fmla="*/ 1681354 h 2476692"/>
                <a:gd name="connsiteX183" fmla="*/ 729240 w 2625044"/>
                <a:gd name="connsiteY183" fmla="*/ 1686117 h 2476692"/>
                <a:gd name="connsiteX184" fmla="*/ 700665 w 2625044"/>
                <a:gd name="connsiteY184" fmla="*/ 1667067 h 2476692"/>
                <a:gd name="connsiteX185" fmla="*/ 657803 w 2625044"/>
                <a:gd name="connsiteY185" fmla="*/ 1624204 h 2476692"/>
                <a:gd name="connsiteX186" fmla="*/ 605415 w 2625044"/>
                <a:gd name="connsiteY186" fmla="*/ 1638492 h 2476692"/>
                <a:gd name="connsiteX187" fmla="*/ 533978 w 2625044"/>
                <a:gd name="connsiteY187" fmla="*/ 1543242 h 2476692"/>
                <a:gd name="connsiteX188" fmla="*/ 548265 w 2625044"/>
                <a:gd name="connsiteY188" fmla="*/ 1528954 h 2476692"/>
                <a:gd name="connsiteX189" fmla="*/ 567315 w 2625044"/>
                <a:gd name="connsiteY189" fmla="*/ 1514667 h 2476692"/>
                <a:gd name="connsiteX190" fmla="*/ 581603 w 2625044"/>
                <a:gd name="connsiteY190" fmla="*/ 1476567 h 2476692"/>
                <a:gd name="connsiteX191" fmla="*/ 567315 w 2625044"/>
                <a:gd name="connsiteY191" fmla="*/ 1471804 h 2476692"/>
                <a:gd name="connsiteX192" fmla="*/ 543503 w 2625044"/>
                <a:gd name="connsiteY192" fmla="*/ 1462279 h 2476692"/>
                <a:gd name="connsiteX193" fmla="*/ 562553 w 2625044"/>
                <a:gd name="connsiteY193" fmla="*/ 1428942 h 2476692"/>
                <a:gd name="connsiteX194" fmla="*/ 567315 w 2625044"/>
                <a:gd name="connsiteY194" fmla="*/ 1414654 h 2476692"/>
                <a:gd name="connsiteX195" fmla="*/ 586365 w 2625044"/>
                <a:gd name="connsiteY195" fmla="*/ 1386079 h 2476692"/>
                <a:gd name="connsiteX196" fmla="*/ 619703 w 2625044"/>
                <a:gd name="connsiteY196" fmla="*/ 1362267 h 2476692"/>
                <a:gd name="connsiteX197" fmla="*/ 633990 w 2625044"/>
                <a:gd name="connsiteY197" fmla="*/ 1343217 h 2476692"/>
                <a:gd name="connsiteX198" fmla="*/ 662565 w 2625044"/>
                <a:gd name="connsiteY198" fmla="*/ 1319404 h 2476692"/>
                <a:gd name="connsiteX199" fmla="*/ 667328 w 2625044"/>
                <a:gd name="connsiteY199" fmla="*/ 1281304 h 2476692"/>
                <a:gd name="connsiteX200" fmla="*/ 638753 w 2625044"/>
                <a:gd name="connsiteY200" fmla="*/ 1267017 h 2476692"/>
                <a:gd name="connsiteX201" fmla="*/ 633990 w 2625044"/>
                <a:gd name="connsiteY201" fmla="*/ 1252729 h 2476692"/>
                <a:gd name="connsiteX202" fmla="*/ 643515 w 2625044"/>
                <a:gd name="connsiteY202" fmla="*/ 1238442 h 2476692"/>
                <a:gd name="connsiteX203" fmla="*/ 672090 w 2625044"/>
                <a:gd name="connsiteY203" fmla="*/ 1219392 h 2476692"/>
                <a:gd name="connsiteX204" fmla="*/ 672090 w 2625044"/>
                <a:gd name="connsiteY204" fmla="*/ 1162242 h 2476692"/>
                <a:gd name="connsiteX205" fmla="*/ 662565 w 2625044"/>
                <a:gd name="connsiteY205" fmla="*/ 1147954 h 2476692"/>
                <a:gd name="connsiteX206" fmla="*/ 619703 w 2625044"/>
                <a:gd name="connsiteY206" fmla="*/ 1167004 h 2476692"/>
                <a:gd name="connsiteX207" fmla="*/ 610178 w 2625044"/>
                <a:gd name="connsiteY207" fmla="*/ 1152717 h 2476692"/>
                <a:gd name="connsiteX208" fmla="*/ 605415 w 2625044"/>
                <a:gd name="connsiteY208" fmla="*/ 1105092 h 2476692"/>
                <a:gd name="connsiteX209" fmla="*/ 595890 w 2625044"/>
                <a:gd name="connsiteY209" fmla="*/ 1086042 h 2476692"/>
                <a:gd name="connsiteX210" fmla="*/ 576840 w 2625044"/>
                <a:gd name="connsiteY210" fmla="*/ 1057467 h 2476692"/>
                <a:gd name="connsiteX211" fmla="*/ 572078 w 2625044"/>
                <a:gd name="connsiteY211" fmla="*/ 1043179 h 2476692"/>
                <a:gd name="connsiteX212" fmla="*/ 562553 w 2625044"/>
                <a:gd name="connsiteY212" fmla="*/ 962217 h 2476692"/>
                <a:gd name="connsiteX213" fmla="*/ 462540 w 2625044"/>
                <a:gd name="connsiteY213" fmla="*/ 1043179 h 2476692"/>
                <a:gd name="connsiteX214" fmla="*/ 433965 w 2625044"/>
                <a:gd name="connsiteY214" fmla="*/ 952692 h 2476692"/>
                <a:gd name="connsiteX215" fmla="*/ 343478 w 2625044"/>
                <a:gd name="connsiteY215" fmla="*/ 862204 h 2476692"/>
                <a:gd name="connsiteX216" fmla="*/ 262515 w 2625044"/>
                <a:gd name="connsiteY216" fmla="*/ 871729 h 2476692"/>
                <a:gd name="connsiteX217" fmla="*/ 205365 w 2625044"/>
                <a:gd name="connsiteY217" fmla="*/ 919354 h 2476692"/>
                <a:gd name="connsiteX218" fmla="*/ 95828 w 2625044"/>
                <a:gd name="connsiteY218" fmla="*/ 986029 h 2476692"/>
                <a:gd name="connsiteX219" fmla="*/ 24390 w 2625044"/>
                <a:gd name="connsiteY219" fmla="*/ 986029 h 2476692"/>
                <a:gd name="connsiteX220" fmla="*/ 14865 w 2625044"/>
                <a:gd name="connsiteY220" fmla="*/ 947929 h 2476692"/>
                <a:gd name="connsiteX221" fmla="*/ 578 w 2625044"/>
                <a:gd name="connsiteY221" fmla="*/ 933642 h 2476692"/>
                <a:gd name="connsiteX222" fmla="*/ 5340 w 2625044"/>
                <a:gd name="connsiteY222" fmla="*/ 890779 h 2476692"/>
                <a:gd name="connsiteX223" fmla="*/ 57728 w 2625044"/>
                <a:gd name="connsiteY223" fmla="*/ 781242 h 2476692"/>
                <a:gd name="connsiteX224" fmla="*/ 238703 w 2625044"/>
                <a:gd name="connsiteY224" fmla="*/ 543117 h 2476692"/>
                <a:gd name="connsiteX225" fmla="*/ 333953 w 2625044"/>
                <a:gd name="connsiteY225" fmla="*/ 543117 h 2476692"/>
                <a:gd name="connsiteX226" fmla="*/ 429203 w 2625044"/>
                <a:gd name="connsiteY226" fmla="*/ 524067 h 2476692"/>
                <a:gd name="connsiteX227" fmla="*/ 467303 w 2625044"/>
                <a:gd name="connsiteY227" fmla="*/ 538354 h 2476692"/>
                <a:gd name="connsiteX228" fmla="*/ 481590 w 2625044"/>
                <a:gd name="connsiteY228" fmla="*/ 528829 h 2476692"/>
                <a:gd name="connsiteX229" fmla="*/ 486353 w 2625044"/>
                <a:gd name="connsiteY229" fmla="*/ 514542 h 2476692"/>
                <a:gd name="connsiteX230" fmla="*/ 491115 w 2625044"/>
                <a:gd name="connsiteY230" fmla="*/ 466917 h 2476692"/>
                <a:gd name="connsiteX231" fmla="*/ 481590 w 2625044"/>
                <a:gd name="connsiteY231" fmla="*/ 438342 h 2476692"/>
                <a:gd name="connsiteX232" fmla="*/ 462540 w 2625044"/>
                <a:gd name="connsiteY232" fmla="*/ 409767 h 2476692"/>
                <a:gd name="connsiteX233" fmla="*/ 472065 w 2625044"/>
                <a:gd name="connsiteY233" fmla="*/ 347854 h 2476692"/>
                <a:gd name="connsiteX234" fmla="*/ 505403 w 2625044"/>
                <a:gd name="connsiteY234" fmla="*/ 295467 h 2476692"/>
                <a:gd name="connsiteX235" fmla="*/ 514928 w 2625044"/>
                <a:gd name="connsiteY235" fmla="*/ 281179 h 2476692"/>
                <a:gd name="connsiteX236" fmla="*/ 519690 w 2625044"/>
                <a:gd name="connsiteY236" fmla="*/ 257367 h 2476692"/>
                <a:gd name="connsiteX237" fmla="*/ 529215 w 2625044"/>
                <a:gd name="connsiteY237" fmla="*/ 243079 h 2476692"/>
                <a:gd name="connsiteX238" fmla="*/ 538740 w 2625044"/>
                <a:gd name="connsiteY238" fmla="*/ 204979 h 2476692"/>
                <a:gd name="connsiteX239" fmla="*/ 548265 w 2625044"/>
                <a:gd name="connsiteY239" fmla="*/ 185929 h 2476692"/>
                <a:gd name="connsiteX240" fmla="*/ 553028 w 2625044"/>
                <a:gd name="connsiteY240" fmla="*/ 171642 h 2476692"/>
                <a:gd name="connsiteX241" fmla="*/ 562553 w 2625044"/>
                <a:gd name="connsiteY241" fmla="*/ 157354 h 2476692"/>
                <a:gd name="connsiteX242" fmla="*/ 567315 w 2625044"/>
                <a:gd name="connsiteY242" fmla="*/ 133542 h 2476692"/>
                <a:gd name="connsiteX243" fmla="*/ 576840 w 2625044"/>
                <a:gd name="connsiteY243" fmla="*/ 100204 h 2476692"/>
                <a:gd name="connsiteX244" fmla="*/ 581603 w 2625044"/>
                <a:gd name="connsiteY244" fmla="*/ 81154 h 2476692"/>
                <a:gd name="connsiteX245" fmla="*/ 595890 w 2625044"/>
                <a:gd name="connsiteY245" fmla="*/ 33529 h 2476692"/>
                <a:gd name="connsiteX246" fmla="*/ 619703 w 2625044"/>
                <a:gd name="connsiteY246" fmla="*/ 192 h 2476692"/>
                <a:gd name="connsiteX247" fmla="*/ 621543 w 2625044"/>
                <a:gd name="connsiteY247" fmla="*/ 0 h 2476692"/>
                <a:gd name="connsiteX0" fmla="*/ 621543 w 2610427"/>
                <a:gd name="connsiteY0" fmla="*/ 0 h 2476692"/>
                <a:gd name="connsiteX1" fmla="*/ 637165 w 2610427"/>
                <a:gd name="connsiteY1" fmla="*/ 20829 h 2476692"/>
                <a:gd name="connsiteX2" fmla="*/ 643515 w 2610427"/>
                <a:gd name="connsiteY2" fmla="*/ 30354 h 2476692"/>
                <a:gd name="connsiteX3" fmla="*/ 646690 w 2610427"/>
                <a:gd name="connsiteY3" fmla="*/ 74804 h 2476692"/>
                <a:gd name="connsiteX4" fmla="*/ 656215 w 2610427"/>
                <a:gd name="connsiteY4" fmla="*/ 100204 h 2476692"/>
                <a:gd name="connsiteX5" fmla="*/ 757815 w 2610427"/>
                <a:gd name="connsiteY5" fmla="*/ 119254 h 2476692"/>
                <a:gd name="connsiteX6" fmla="*/ 780040 w 2610427"/>
                <a:gd name="connsiteY6" fmla="*/ 135129 h 2476692"/>
                <a:gd name="connsiteX7" fmla="*/ 789565 w 2610427"/>
                <a:gd name="connsiteY7" fmla="*/ 138304 h 2476692"/>
                <a:gd name="connsiteX8" fmla="*/ 808615 w 2610427"/>
                <a:gd name="connsiteY8" fmla="*/ 154179 h 2476692"/>
                <a:gd name="connsiteX9" fmla="*/ 824490 w 2610427"/>
                <a:gd name="connsiteY9" fmla="*/ 176404 h 2476692"/>
                <a:gd name="connsiteX10" fmla="*/ 827665 w 2610427"/>
                <a:gd name="connsiteY10" fmla="*/ 185929 h 2476692"/>
                <a:gd name="connsiteX11" fmla="*/ 853065 w 2610427"/>
                <a:gd name="connsiteY11" fmla="*/ 201804 h 2476692"/>
                <a:gd name="connsiteX12" fmla="*/ 929265 w 2610427"/>
                <a:gd name="connsiteY12" fmla="*/ 220854 h 2476692"/>
                <a:gd name="connsiteX13" fmla="*/ 957840 w 2610427"/>
                <a:gd name="connsiteY13" fmla="*/ 198629 h 2476692"/>
                <a:gd name="connsiteX14" fmla="*/ 980065 w 2610427"/>
                <a:gd name="connsiteY14" fmla="*/ 182754 h 2476692"/>
                <a:gd name="connsiteX15" fmla="*/ 989590 w 2610427"/>
                <a:gd name="connsiteY15" fmla="*/ 176404 h 2476692"/>
                <a:gd name="connsiteX16" fmla="*/ 1011815 w 2610427"/>
                <a:gd name="connsiteY16" fmla="*/ 173229 h 2476692"/>
                <a:gd name="connsiteX17" fmla="*/ 1027690 w 2610427"/>
                <a:gd name="connsiteY17" fmla="*/ 166879 h 2476692"/>
                <a:gd name="connsiteX18" fmla="*/ 1094365 w 2610427"/>
                <a:gd name="connsiteY18" fmla="*/ 220854 h 2476692"/>
                <a:gd name="connsiteX19" fmla="*/ 1186440 w 2610427"/>
                <a:gd name="connsiteY19" fmla="*/ 217679 h 2476692"/>
                <a:gd name="connsiteX20" fmla="*/ 1278515 w 2610427"/>
                <a:gd name="connsiteY20" fmla="*/ 170054 h 2476692"/>
                <a:gd name="connsiteX21" fmla="*/ 1326140 w 2610427"/>
                <a:gd name="connsiteY21" fmla="*/ 74804 h 2476692"/>
                <a:gd name="connsiteX22" fmla="*/ 1373765 w 2610427"/>
                <a:gd name="connsiteY22" fmla="*/ 122429 h 2476692"/>
                <a:gd name="connsiteX23" fmla="*/ 1459490 w 2610427"/>
                <a:gd name="connsiteY23" fmla="*/ 144654 h 2476692"/>
                <a:gd name="connsiteX24" fmla="*/ 1589665 w 2610427"/>
                <a:gd name="connsiteY24" fmla="*/ 144654 h 2476692"/>
                <a:gd name="connsiteX25" fmla="*/ 1697615 w 2610427"/>
                <a:gd name="connsiteY25" fmla="*/ 97029 h 2476692"/>
                <a:gd name="connsiteX26" fmla="*/ 1726190 w 2610427"/>
                <a:gd name="connsiteY26" fmla="*/ 103379 h 2476692"/>
                <a:gd name="connsiteX27" fmla="*/ 1738890 w 2610427"/>
                <a:gd name="connsiteY27" fmla="*/ 122429 h 2476692"/>
                <a:gd name="connsiteX28" fmla="*/ 1732540 w 2610427"/>
                <a:gd name="connsiteY28" fmla="*/ 141479 h 2476692"/>
                <a:gd name="connsiteX29" fmla="*/ 1723015 w 2610427"/>
                <a:gd name="connsiteY29" fmla="*/ 154179 h 2476692"/>
                <a:gd name="connsiteX30" fmla="*/ 1802390 w 2610427"/>
                <a:gd name="connsiteY30" fmla="*/ 144654 h 2476692"/>
                <a:gd name="connsiteX31" fmla="*/ 1824615 w 2610427"/>
                <a:gd name="connsiteY31" fmla="*/ 160529 h 2476692"/>
                <a:gd name="connsiteX32" fmla="*/ 1827790 w 2610427"/>
                <a:gd name="connsiteY32" fmla="*/ 195454 h 2476692"/>
                <a:gd name="connsiteX33" fmla="*/ 1834140 w 2610427"/>
                <a:gd name="connsiteY33" fmla="*/ 217679 h 2476692"/>
                <a:gd name="connsiteX34" fmla="*/ 1840490 w 2610427"/>
                <a:gd name="connsiteY34" fmla="*/ 230379 h 2476692"/>
                <a:gd name="connsiteX35" fmla="*/ 1846840 w 2610427"/>
                <a:gd name="connsiteY35" fmla="*/ 239904 h 2476692"/>
                <a:gd name="connsiteX36" fmla="*/ 1846840 w 2610427"/>
                <a:gd name="connsiteY36" fmla="*/ 249429 h 2476692"/>
                <a:gd name="connsiteX37" fmla="*/ 1916690 w 2610427"/>
                <a:gd name="connsiteY37" fmla="*/ 274829 h 2476692"/>
                <a:gd name="connsiteX38" fmla="*/ 1945265 w 2610427"/>
                <a:gd name="connsiteY38" fmla="*/ 268479 h 2476692"/>
                <a:gd name="connsiteX39" fmla="*/ 1961140 w 2610427"/>
                <a:gd name="connsiteY39" fmla="*/ 274829 h 2476692"/>
                <a:gd name="connsiteX40" fmla="*/ 1977015 w 2610427"/>
                <a:gd name="connsiteY40" fmla="*/ 293879 h 2476692"/>
                <a:gd name="connsiteX41" fmla="*/ 2002415 w 2610427"/>
                <a:gd name="connsiteY41" fmla="*/ 297054 h 2476692"/>
                <a:gd name="connsiteX42" fmla="*/ 2002415 w 2610427"/>
                <a:gd name="connsiteY42" fmla="*/ 344679 h 2476692"/>
                <a:gd name="connsiteX43" fmla="*/ 1998496 w 2610427"/>
                <a:gd name="connsiteY43" fmla="*/ 359366 h 2476692"/>
                <a:gd name="connsiteX44" fmla="*/ 1997699 w 2610427"/>
                <a:gd name="connsiteY44" fmla="*/ 359161 h 2476692"/>
                <a:gd name="connsiteX45" fmla="*/ 1996509 w 2610427"/>
                <a:gd name="connsiteY45" fmla="*/ 357863 h 2476692"/>
                <a:gd name="connsiteX46" fmla="*/ 1996082 w 2610427"/>
                <a:gd name="connsiteY46" fmla="*/ 354482 h 2476692"/>
                <a:gd name="connsiteX47" fmla="*/ 1996065 w 2610427"/>
                <a:gd name="connsiteY47" fmla="*/ 357379 h 2476692"/>
                <a:gd name="connsiteX48" fmla="*/ 1996509 w 2610427"/>
                <a:gd name="connsiteY48" fmla="*/ 357863 h 2476692"/>
                <a:gd name="connsiteX49" fmla="*/ 1996639 w 2610427"/>
                <a:gd name="connsiteY49" fmla="*/ 358889 h 2476692"/>
                <a:gd name="connsiteX50" fmla="*/ 1997699 w 2610427"/>
                <a:gd name="connsiteY50" fmla="*/ 359161 h 2476692"/>
                <a:gd name="connsiteX51" fmla="*/ 2030990 w 2610427"/>
                <a:gd name="connsiteY51" fmla="*/ 395479 h 2476692"/>
                <a:gd name="connsiteX52" fmla="*/ 2059565 w 2610427"/>
                <a:gd name="connsiteY52" fmla="*/ 385954 h 2476692"/>
                <a:gd name="connsiteX53" fmla="*/ 2069090 w 2610427"/>
                <a:gd name="connsiteY53" fmla="*/ 379604 h 2476692"/>
                <a:gd name="connsiteX54" fmla="*/ 2078615 w 2610427"/>
                <a:gd name="connsiteY54" fmla="*/ 376429 h 2476692"/>
                <a:gd name="connsiteX55" fmla="*/ 2116715 w 2610427"/>
                <a:gd name="connsiteY55" fmla="*/ 379604 h 2476692"/>
                <a:gd name="connsiteX56" fmla="*/ 2119890 w 2610427"/>
                <a:gd name="connsiteY56" fmla="*/ 411354 h 2476692"/>
                <a:gd name="connsiteX57" fmla="*/ 2129415 w 2610427"/>
                <a:gd name="connsiteY57" fmla="*/ 443104 h 2476692"/>
                <a:gd name="connsiteX58" fmla="*/ 2132590 w 2610427"/>
                <a:gd name="connsiteY58" fmla="*/ 452629 h 2476692"/>
                <a:gd name="connsiteX59" fmla="*/ 2135765 w 2610427"/>
                <a:gd name="connsiteY59" fmla="*/ 462154 h 2476692"/>
                <a:gd name="connsiteX60" fmla="*/ 2142115 w 2610427"/>
                <a:gd name="connsiteY60" fmla="*/ 493904 h 2476692"/>
                <a:gd name="connsiteX61" fmla="*/ 2138940 w 2610427"/>
                <a:gd name="connsiteY61" fmla="*/ 532004 h 2476692"/>
                <a:gd name="connsiteX62" fmla="*/ 2110365 w 2610427"/>
                <a:gd name="connsiteY62" fmla="*/ 547879 h 2476692"/>
                <a:gd name="connsiteX63" fmla="*/ 2097665 w 2610427"/>
                <a:gd name="connsiteY63" fmla="*/ 557404 h 2476692"/>
                <a:gd name="connsiteX64" fmla="*/ 2094490 w 2610427"/>
                <a:gd name="connsiteY64" fmla="*/ 582804 h 2476692"/>
                <a:gd name="connsiteX65" fmla="*/ 2104015 w 2610427"/>
                <a:gd name="connsiteY65" fmla="*/ 608204 h 2476692"/>
                <a:gd name="connsiteX66" fmla="*/ 2110365 w 2610427"/>
                <a:gd name="connsiteY66" fmla="*/ 617729 h 2476692"/>
                <a:gd name="connsiteX67" fmla="*/ 2116715 w 2610427"/>
                <a:gd name="connsiteY67" fmla="*/ 643129 h 2476692"/>
                <a:gd name="connsiteX68" fmla="*/ 2119890 w 2610427"/>
                <a:gd name="connsiteY68" fmla="*/ 719329 h 2476692"/>
                <a:gd name="connsiteX69" fmla="*/ 2123065 w 2610427"/>
                <a:gd name="connsiteY69" fmla="*/ 728854 h 2476692"/>
                <a:gd name="connsiteX70" fmla="*/ 2142115 w 2610427"/>
                <a:gd name="connsiteY70" fmla="*/ 741554 h 2476692"/>
                <a:gd name="connsiteX71" fmla="*/ 2161165 w 2610427"/>
                <a:gd name="connsiteY71" fmla="*/ 738379 h 2476692"/>
                <a:gd name="connsiteX72" fmla="*/ 2170690 w 2610427"/>
                <a:gd name="connsiteY72" fmla="*/ 732029 h 2476692"/>
                <a:gd name="connsiteX73" fmla="*/ 2183390 w 2610427"/>
                <a:gd name="connsiteY73" fmla="*/ 725679 h 2476692"/>
                <a:gd name="connsiteX74" fmla="*/ 2192915 w 2610427"/>
                <a:gd name="connsiteY74" fmla="*/ 719329 h 2476692"/>
                <a:gd name="connsiteX75" fmla="*/ 2211965 w 2610427"/>
                <a:gd name="connsiteY75" fmla="*/ 712979 h 2476692"/>
                <a:gd name="connsiteX76" fmla="*/ 2259590 w 2610427"/>
                <a:gd name="connsiteY76" fmla="*/ 716154 h 2476692"/>
                <a:gd name="connsiteX77" fmla="*/ 2262765 w 2610427"/>
                <a:gd name="connsiteY77" fmla="*/ 732029 h 2476692"/>
                <a:gd name="connsiteX78" fmla="*/ 2272290 w 2610427"/>
                <a:gd name="connsiteY78" fmla="*/ 751079 h 2476692"/>
                <a:gd name="connsiteX79" fmla="*/ 2297690 w 2610427"/>
                <a:gd name="connsiteY79" fmla="*/ 754254 h 2476692"/>
                <a:gd name="connsiteX80" fmla="*/ 2329440 w 2610427"/>
                <a:gd name="connsiteY80" fmla="*/ 738379 h 2476692"/>
                <a:gd name="connsiteX81" fmla="*/ 2338965 w 2610427"/>
                <a:gd name="connsiteY81" fmla="*/ 735204 h 2476692"/>
                <a:gd name="connsiteX82" fmla="*/ 2367540 w 2610427"/>
                <a:gd name="connsiteY82" fmla="*/ 722504 h 2476692"/>
                <a:gd name="connsiteX83" fmla="*/ 2377065 w 2610427"/>
                <a:gd name="connsiteY83" fmla="*/ 719329 h 2476692"/>
                <a:gd name="connsiteX84" fmla="*/ 2391809 w 2610427"/>
                <a:gd name="connsiteY84" fmla="*/ 719329 h 2476692"/>
                <a:gd name="connsiteX85" fmla="*/ 2610427 w 2610427"/>
                <a:gd name="connsiteY85" fmla="*/ 1350360 h 2476692"/>
                <a:gd name="connsiteX86" fmla="*/ 2605665 w 2610427"/>
                <a:gd name="connsiteY86" fmla="*/ 1412273 h 2476692"/>
                <a:gd name="connsiteX87" fmla="*/ 2588996 w 2610427"/>
                <a:gd name="connsiteY87" fmla="*/ 1452754 h 2476692"/>
                <a:gd name="connsiteX88" fmla="*/ 2574709 w 2610427"/>
                <a:gd name="connsiteY88" fmla="*/ 1486092 h 2476692"/>
                <a:gd name="connsiteX89" fmla="*/ 2608046 w 2610427"/>
                <a:gd name="connsiteY89" fmla="*/ 1586104 h 2476692"/>
                <a:gd name="connsiteX90" fmla="*/ 2598522 w 2610427"/>
                <a:gd name="connsiteY90" fmla="*/ 1619442 h 2476692"/>
                <a:gd name="connsiteX91" fmla="*/ 2593759 w 2610427"/>
                <a:gd name="connsiteY91" fmla="*/ 1712310 h 2476692"/>
                <a:gd name="connsiteX92" fmla="*/ 2577090 w 2610427"/>
                <a:gd name="connsiteY92" fmla="*/ 1802798 h 2476692"/>
                <a:gd name="connsiteX93" fmla="*/ 2512796 w 2610427"/>
                <a:gd name="connsiteY93" fmla="*/ 1824229 h 2476692"/>
                <a:gd name="connsiteX94" fmla="*/ 2558040 w 2610427"/>
                <a:gd name="connsiteY94" fmla="*/ 1883760 h 2476692"/>
                <a:gd name="connsiteX95" fmla="*/ 2555659 w 2610427"/>
                <a:gd name="connsiteY95" fmla="*/ 1909954 h 2476692"/>
                <a:gd name="connsiteX96" fmla="*/ 2527084 w 2610427"/>
                <a:gd name="connsiteY96" fmla="*/ 1995679 h 2476692"/>
                <a:gd name="connsiteX97" fmla="*/ 2503271 w 2610427"/>
                <a:gd name="connsiteY97" fmla="*/ 1986154 h 2476692"/>
                <a:gd name="connsiteX98" fmla="*/ 2472315 w 2610427"/>
                <a:gd name="connsiteY98" fmla="*/ 1971867 h 2476692"/>
                <a:gd name="connsiteX99" fmla="*/ 2436596 w 2610427"/>
                <a:gd name="connsiteY99" fmla="*/ 1986154 h 2476692"/>
                <a:gd name="connsiteX100" fmla="*/ 2450884 w 2610427"/>
                <a:gd name="connsiteY100" fmla="*/ 2017110 h 2476692"/>
                <a:gd name="connsiteX101" fmla="*/ 2465171 w 2610427"/>
                <a:gd name="connsiteY101" fmla="*/ 2057592 h 2476692"/>
                <a:gd name="connsiteX102" fmla="*/ 2455646 w 2610427"/>
                <a:gd name="connsiteY102" fmla="*/ 2121885 h 2476692"/>
                <a:gd name="connsiteX103" fmla="*/ 2410403 w 2610427"/>
                <a:gd name="connsiteY103" fmla="*/ 2152842 h 2476692"/>
                <a:gd name="connsiteX104" fmla="*/ 2458028 w 2610427"/>
                <a:gd name="connsiteY104" fmla="*/ 2186180 h 2476692"/>
                <a:gd name="connsiteX105" fmla="*/ 2448503 w 2610427"/>
                <a:gd name="connsiteY105" fmla="*/ 2226660 h 2476692"/>
                <a:gd name="connsiteX106" fmla="*/ 2410403 w 2610427"/>
                <a:gd name="connsiteY106" fmla="*/ 2262379 h 2476692"/>
                <a:gd name="connsiteX107" fmla="*/ 2388971 w 2610427"/>
                <a:gd name="connsiteY107" fmla="*/ 2331435 h 2476692"/>
                <a:gd name="connsiteX108" fmla="*/ 2405640 w 2610427"/>
                <a:gd name="connsiteY108" fmla="*/ 2381442 h 2476692"/>
                <a:gd name="connsiteX109" fmla="*/ 2391353 w 2610427"/>
                <a:gd name="connsiteY109" fmla="*/ 2414779 h 2476692"/>
                <a:gd name="connsiteX110" fmla="*/ 2334203 w 2610427"/>
                <a:gd name="connsiteY110" fmla="*/ 2433829 h 2476692"/>
                <a:gd name="connsiteX111" fmla="*/ 2305628 w 2610427"/>
                <a:gd name="connsiteY111" fmla="*/ 2443354 h 2476692"/>
                <a:gd name="connsiteX112" fmla="*/ 2296103 w 2610427"/>
                <a:gd name="connsiteY112" fmla="*/ 2457642 h 2476692"/>
                <a:gd name="connsiteX113" fmla="*/ 2262765 w 2610427"/>
                <a:gd name="connsiteY113" fmla="*/ 2462404 h 2476692"/>
                <a:gd name="connsiteX114" fmla="*/ 2229428 w 2610427"/>
                <a:gd name="connsiteY114" fmla="*/ 2438592 h 2476692"/>
                <a:gd name="connsiteX115" fmla="*/ 2215140 w 2610427"/>
                <a:gd name="connsiteY115" fmla="*/ 2433829 h 2476692"/>
                <a:gd name="connsiteX116" fmla="*/ 2205615 w 2610427"/>
                <a:gd name="connsiteY116" fmla="*/ 2457642 h 2476692"/>
                <a:gd name="connsiteX117" fmla="*/ 2191328 w 2610427"/>
                <a:gd name="connsiteY117" fmla="*/ 2467167 h 2476692"/>
                <a:gd name="connsiteX118" fmla="*/ 2153228 w 2610427"/>
                <a:gd name="connsiteY118" fmla="*/ 2476692 h 2476692"/>
                <a:gd name="connsiteX119" fmla="*/ 2134178 w 2610427"/>
                <a:gd name="connsiteY119" fmla="*/ 2448117 h 2476692"/>
                <a:gd name="connsiteX120" fmla="*/ 2124653 w 2610427"/>
                <a:gd name="connsiteY120" fmla="*/ 2433829 h 2476692"/>
                <a:gd name="connsiteX121" fmla="*/ 2119890 w 2610427"/>
                <a:gd name="connsiteY121" fmla="*/ 2352867 h 2476692"/>
                <a:gd name="connsiteX122" fmla="*/ 2124653 w 2610427"/>
                <a:gd name="connsiteY122" fmla="*/ 2338579 h 2476692"/>
                <a:gd name="connsiteX123" fmla="*/ 2167515 w 2610427"/>
                <a:gd name="connsiteY123" fmla="*/ 2290954 h 2476692"/>
                <a:gd name="connsiteX124" fmla="*/ 2177040 w 2610427"/>
                <a:gd name="connsiteY124" fmla="*/ 2276667 h 2476692"/>
                <a:gd name="connsiteX125" fmla="*/ 2153228 w 2610427"/>
                <a:gd name="connsiteY125" fmla="*/ 2248092 h 2476692"/>
                <a:gd name="connsiteX126" fmla="*/ 2134178 w 2610427"/>
                <a:gd name="connsiteY126" fmla="*/ 2238567 h 2476692"/>
                <a:gd name="connsiteX127" fmla="*/ 2129415 w 2610427"/>
                <a:gd name="connsiteY127" fmla="*/ 2214754 h 2476692"/>
                <a:gd name="connsiteX128" fmla="*/ 2148465 w 2610427"/>
                <a:gd name="connsiteY128" fmla="*/ 2186179 h 2476692"/>
                <a:gd name="connsiteX129" fmla="*/ 2167515 w 2610427"/>
                <a:gd name="connsiteY129" fmla="*/ 2190942 h 2476692"/>
                <a:gd name="connsiteX130" fmla="*/ 2229428 w 2610427"/>
                <a:gd name="connsiteY130" fmla="*/ 2186179 h 2476692"/>
                <a:gd name="connsiteX131" fmla="*/ 2234190 w 2610427"/>
                <a:gd name="connsiteY131" fmla="*/ 2171892 h 2476692"/>
                <a:gd name="connsiteX132" fmla="*/ 2224665 w 2610427"/>
                <a:gd name="connsiteY132" fmla="*/ 2143317 h 2476692"/>
                <a:gd name="connsiteX133" fmla="*/ 2210378 w 2610427"/>
                <a:gd name="connsiteY133" fmla="*/ 2129029 h 2476692"/>
                <a:gd name="connsiteX134" fmla="*/ 2191328 w 2610427"/>
                <a:gd name="connsiteY134" fmla="*/ 2119504 h 2476692"/>
                <a:gd name="connsiteX135" fmla="*/ 2162753 w 2610427"/>
                <a:gd name="connsiteY135" fmla="*/ 2114742 h 2476692"/>
                <a:gd name="connsiteX136" fmla="*/ 2157990 w 2610427"/>
                <a:gd name="connsiteY136" fmla="*/ 2095692 h 2476692"/>
                <a:gd name="connsiteX137" fmla="*/ 2181803 w 2610427"/>
                <a:gd name="connsiteY137" fmla="*/ 2062354 h 2476692"/>
                <a:gd name="connsiteX138" fmla="*/ 2191328 w 2610427"/>
                <a:gd name="connsiteY138" fmla="*/ 2048067 h 2476692"/>
                <a:gd name="connsiteX139" fmla="*/ 2196090 w 2610427"/>
                <a:gd name="connsiteY139" fmla="*/ 1986154 h 2476692"/>
                <a:gd name="connsiteX140" fmla="*/ 2186565 w 2610427"/>
                <a:gd name="connsiteY140" fmla="*/ 1957579 h 2476692"/>
                <a:gd name="connsiteX141" fmla="*/ 2162753 w 2610427"/>
                <a:gd name="connsiteY141" fmla="*/ 1952817 h 2476692"/>
                <a:gd name="connsiteX142" fmla="*/ 2134178 w 2610427"/>
                <a:gd name="connsiteY142" fmla="*/ 1971867 h 2476692"/>
                <a:gd name="connsiteX143" fmla="*/ 2124653 w 2610427"/>
                <a:gd name="connsiteY143" fmla="*/ 1986154 h 2476692"/>
                <a:gd name="connsiteX144" fmla="*/ 2105603 w 2610427"/>
                <a:gd name="connsiteY144" fmla="*/ 2005204 h 2476692"/>
                <a:gd name="connsiteX145" fmla="*/ 2072265 w 2610427"/>
                <a:gd name="connsiteY145" fmla="*/ 2038542 h 2476692"/>
                <a:gd name="connsiteX146" fmla="*/ 2057978 w 2610427"/>
                <a:gd name="connsiteY146" fmla="*/ 2048067 h 2476692"/>
                <a:gd name="connsiteX147" fmla="*/ 2029403 w 2610427"/>
                <a:gd name="connsiteY147" fmla="*/ 2052829 h 2476692"/>
                <a:gd name="connsiteX148" fmla="*/ 2019878 w 2610427"/>
                <a:gd name="connsiteY148" fmla="*/ 2009967 h 2476692"/>
                <a:gd name="connsiteX149" fmla="*/ 1991303 w 2610427"/>
                <a:gd name="connsiteY149" fmla="*/ 1986154 h 2476692"/>
                <a:gd name="connsiteX150" fmla="*/ 1962728 w 2610427"/>
                <a:gd name="connsiteY150" fmla="*/ 1976629 h 2476692"/>
                <a:gd name="connsiteX151" fmla="*/ 1948440 w 2610427"/>
                <a:gd name="connsiteY151" fmla="*/ 1990917 h 2476692"/>
                <a:gd name="connsiteX152" fmla="*/ 1910340 w 2610427"/>
                <a:gd name="connsiteY152" fmla="*/ 2000442 h 2476692"/>
                <a:gd name="connsiteX153" fmla="*/ 1891290 w 2610427"/>
                <a:gd name="connsiteY153" fmla="*/ 1971867 h 2476692"/>
                <a:gd name="connsiteX154" fmla="*/ 1886528 w 2610427"/>
                <a:gd name="connsiteY154" fmla="*/ 1952817 h 2476692"/>
                <a:gd name="connsiteX155" fmla="*/ 1881765 w 2610427"/>
                <a:gd name="connsiteY155" fmla="*/ 1929004 h 2476692"/>
                <a:gd name="connsiteX156" fmla="*/ 1877003 w 2610427"/>
                <a:gd name="connsiteY156" fmla="*/ 1886142 h 2476692"/>
                <a:gd name="connsiteX157" fmla="*/ 1862715 w 2610427"/>
                <a:gd name="connsiteY157" fmla="*/ 1871854 h 2476692"/>
                <a:gd name="connsiteX158" fmla="*/ 1853190 w 2610427"/>
                <a:gd name="connsiteY158" fmla="*/ 1857567 h 2476692"/>
                <a:gd name="connsiteX159" fmla="*/ 1824615 w 2610427"/>
                <a:gd name="connsiteY159" fmla="*/ 1838517 h 2476692"/>
                <a:gd name="connsiteX160" fmla="*/ 1819853 w 2610427"/>
                <a:gd name="connsiteY160" fmla="*/ 1819467 h 2476692"/>
                <a:gd name="connsiteX161" fmla="*/ 1834140 w 2610427"/>
                <a:gd name="connsiteY161" fmla="*/ 1814704 h 2476692"/>
                <a:gd name="connsiteX162" fmla="*/ 1848428 w 2610427"/>
                <a:gd name="connsiteY162" fmla="*/ 1809942 h 2476692"/>
                <a:gd name="connsiteX163" fmla="*/ 1862715 w 2610427"/>
                <a:gd name="connsiteY163" fmla="*/ 1805179 h 2476692"/>
                <a:gd name="connsiteX164" fmla="*/ 1891290 w 2610427"/>
                <a:gd name="connsiteY164" fmla="*/ 1795654 h 2476692"/>
                <a:gd name="connsiteX165" fmla="*/ 1896053 w 2610427"/>
                <a:gd name="connsiteY165" fmla="*/ 1781367 h 2476692"/>
                <a:gd name="connsiteX166" fmla="*/ 1900815 w 2610427"/>
                <a:gd name="connsiteY166" fmla="*/ 1762317 h 2476692"/>
                <a:gd name="connsiteX167" fmla="*/ 1891290 w 2610427"/>
                <a:gd name="connsiteY167" fmla="*/ 1676592 h 2476692"/>
                <a:gd name="connsiteX168" fmla="*/ 1719840 w 2610427"/>
                <a:gd name="connsiteY168" fmla="*/ 1671829 h 2476692"/>
                <a:gd name="connsiteX169" fmla="*/ 1710315 w 2610427"/>
                <a:gd name="connsiteY169" fmla="*/ 1690879 h 2476692"/>
                <a:gd name="connsiteX170" fmla="*/ 1696028 w 2610427"/>
                <a:gd name="connsiteY170" fmla="*/ 1709929 h 2476692"/>
                <a:gd name="connsiteX171" fmla="*/ 1681740 w 2610427"/>
                <a:gd name="connsiteY171" fmla="*/ 1724217 h 2476692"/>
                <a:gd name="connsiteX172" fmla="*/ 1676978 w 2610427"/>
                <a:gd name="connsiteY172" fmla="*/ 1738504 h 2476692"/>
                <a:gd name="connsiteX173" fmla="*/ 1667453 w 2610427"/>
                <a:gd name="connsiteY173" fmla="*/ 1762317 h 2476692"/>
                <a:gd name="connsiteX174" fmla="*/ 1643640 w 2610427"/>
                <a:gd name="connsiteY174" fmla="*/ 1795654 h 2476692"/>
                <a:gd name="connsiteX175" fmla="*/ 1291215 w 2610427"/>
                <a:gd name="connsiteY175" fmla="*/ 1938529 h 2476692"/>
                <a:gd name="connsiteX176" fmla="*/ 1162628 w 2610427"/>
                <a:gd name="connsiteY176" fmla="*/ 1833754 h 2476692"/>
                <a:gd name="connsiteX177" fmla="*/ 1091190 w 2610427"/>
                <a:gd name="connsiteY177" fmla="*/ 1843279 h 2476692"/>
                <a:gd name="connsiteX178" fmla="*/ 1014990 w 2610427"/>
                <a:gd name="connsiteY178" fmla="*/ 1786129 h 2476692"/>
                <a:gd name="connsiteX179" fmla="*/ 1024515 w 2610427"/>
                <a:gd name="connsiteY179" fmla="*/ 1733742 h 2476692"/>
                <a:gd name="connsiteX180" fmla="*/ 957840 w 2610427"/>
                <a:gd name="connsiteY180" fmla="*/ 1719454 h 2476692"/>
                <a:gd name="connsiteX181" fmla="*/ 767340 w 2610427"/>
                <a:gd name="connsiteY181" fmla="*/ 1671829 h 2476692"/>
                <a:gd name="connsiteX182" fmla="*/ 743528 w 2610427"/>
                <a:gd name="connsiteY182" fmla="*/ 1681354 h 2476692"/>
                <a:gd name="connsiteX183" fmla="*/ 729240 w 2610427"/>
                <a:gd name="connsiteY183" fmla="*/ 1686117 h 2476692"/>
                <a:gd name="connsiteX184" fmla="*/ 700665 w 2610427"/>
                <a:gd name="connsiteY184" fmla="*/ 1667067 h 2476692"/>
                <a:gd name="connsiteX185" fmla="*/ 657803 w 2610427"/>
                <a:gd name="connsiteY185" fmla="*/ 1624204 h 2476692"/>
                <a:gd name="connsiteX186" fmla="*/ 605415 w 2610427"/>
                <a:gd name="connsiteY186" fmla="*/ 1638492 h 2476692"/>
                <a:gd name="connsiteX187" fmla="*/ 533978 w 2610427"/>
                <a:gd name="connsiteY187" fmla="*/ 1543242 h 2476692"/>
                <a:gd name="connsiteX188" fmla="*/ 548265 w 2610427"/>
                <a:gd name="connsiteY188" fmla="*/ 1528954 h 2476692"/>
                <a:gd name="connsiteX189" fmla="*/ 567315 w 2610427"/>
                <a:gd name="connsiteY189" fmla="*/ 1514667 h 2476692"/>
                <a:gd name="connsiteX190" fmla="*/ 581603 w 2610427"/>
                <a:gd name="connsiteY190" fmla="*/ 1476567 h 2476692"/>
                <a:gd name="connsiteX191" fmla="*/ 567315 w 2610427"/>
                <a:gd name="connsiteY191" fmla="*/ 1471804 h 2476692"/>
                <a:gd name="connsiteX192" fmla="*/ 543503 w 2610427"/>
                <a:gd name="connsiteY192" fmla="*/ 1462279 h 2476692"/>
                <a:gd name="connsiteX193" fmla="*/ 562553 w 2610427"/>
                <a:gd name="connsiteY193" fmla="*/ 1428942 h 2476692"/>
                <a:gd name="connsiteX194" fmla="*/ 567315 w 2610427"/>
                <a:gd name="connsiteY194" fmla="*/ 1414654 h 2476692"/>
                <a:gd name="connsiteX195" fmla="*/ 586365 w 2610427"/>
                <a:gd name="connsiteY195" fmla="*/ 1386079 h 2476692"/>
                <a:gd name="connsiteX196" fmla="*/ 619703 w 2610427"/>
                <a:gd name="connsiteY196" fmla="*/ 1362267 h 2476692"/>
                <a:gd name="connsiteX197" fmla="*/ 633990 w 2610427"/>
                <a:gd name="connsiteY197" fmla="*/ 1343217 h 2476692"/>
                <a:gd name="connsiteX198" fmla="*/ 662565 w 2610427"/>
                <a:gd name="connsiteY198" fmla="*/ 1319404 h 2476692"/>
                <a:gd name="connsiteX199" fmla="*/ 667328 w 2610427"/>
                <a:gd name="connsiteY199" fmla="*/ 1281304 h 2476692"/>
                <a:gd name="connsiteX200" fmla="*/ 638753 w 2610427"/>
                <a:gd name="connsiteY200" fmla="*/ 1267017 h 2476692"/>
                <a:gd name="connsiteX201" fmla="*/ 633990 w 2610427"/>
                <a:gd name="connsiteY201" fmla="*/ 1252729 h 2476692"/>
                <a:gd name="connsiteX202" fmla="*/ 643515 w 2610427"/>
                <a:gd name="connsiteY202" fmla="*/ 1238442 h 2476692"/>
                <a:gd name="connsiteX203" fmla="*/ 672090 w 2610427"/>
                <a:gd name="connsiteY203" fmla="*/ 1219392 h 2476692"/>
                <a:gd name="connsiteX204" fmla="*/ 672090 w 2610427"/>
                <a:gd name="connsiteY204" fmla="*/ 1162242 h 2476692"/>
                <a:gd name="connsiteX205" fmla="*/ 662565 w 2610427"/>
                <a:gd name="connsiteY205" fmla="*/ 1147954 h 2476692"/>
                <a:gd name="connsiteX206" fmla="*/ 619703 w 2610427"/>
                <a:gd name="connsiteY206" fmla="*/ 1167004 h 2476692"/>
                <a:gd name="connsiteX207" fmla="*/ 610178 w 2610427"/>
                <a:gd name="connsiteY207" fmla="*/ 1152717 h 2476692"/>
                <a:gd name="connsiteX208" fmla="*/ 605415 w 2610427"/>
                <a:gd name="connsiteY208" fmla="*/ 1105092 h 2476692"/>
                <a:gd name="connsiteX209" fmla="*/ 595890 w 2610427"/>
                <a:gd name="connsiteY209" fmla="*/ 1086042 h 2476692"/>
                <a:gd name="connsiteX210" fmla="*/ 576840 w 2610427"/>
                <a:gd name="connsiteY210" fmla="*/ 1057467 h 2476692"/>
                <a:gd name="connsiteX211" fmla="*/ 572078 w 2610427"/>
                <a:gd name="connsiteY211" fmla="*/ 1043179 h 2476692"/>
                <a:gd name="connsiteX212" fmla="*/ 562553 w 2610427"/>
                <a:gd name="connsiteY212" fmla="*/ 962217 h 2476692"/>
                <a:gd name="connsiteX213" fmla="*/ 462540 w 2610427"/>
                <a:gd name="connsiteY213" fmla="*/ 1043179 h 2476692"/>
                <a:gd name="connsiteX214" fmla="*/ 433965 w 2610427"/>
                <a:gd name="connsiteY214" fmla="*/ 952692 h 2476692"/>
                <a:gd name="connsiteX215" fmla="*/ 343478 w 2610427"/>
                <a:gd name="connsiteY215" fmla="*/ 862204 h 2476692"/>
                <a:gd name="connsiteX216" fmla="*/ 262515 w 2610427"/>
                <a:gd name="connsiteY216" fmla="*/ 871729 h 2476692"/>
                <a:gd name="connsiteX217" fmla="*/ 205365 w 2610427"/>
                <a:gd name="connsiteY217" fmla="*/ 919354 h 2476692"/>
                <a:gd name="connsiteX218" fmla="*/ 95828 w 2610427"/>
                <a:gd name="connsiteY218" fmla="*/ 986029 h 2476692"/>
                <a:gd name="connsiteX219" fmla="*/ 24390 w 2610427"/>
                <a:gd name="connsiteY219" fmla="*/ 986029 h 2476692"/>
                <a:gd name="connsiteX220" fmla="*/ 14865 w 2610427"/>
                <a:gd name="connsiteY220" fmla="*/ 947929 h 2476692"/>
                <a:gd name="connsiteX221" fmla="*/ 578 w 2610427"/>
                <a:gd name="connsiteY221" fmla="*/ 933642 h 2476692"/>
                <a:gd name="connsiteX222" fmla="*/ 5340 w 2610427"/>
                <a:gd name="connsiteY222" fmla="*/ 890779 h 2476692"/>
                <a:gd name="connsiteX223" fmla="*/ 57728 w 2610427"/>
                <a:gd name="connsiteY223" fmla="*/ 781242 h 2476692"/>
                <a:gd name="connsiteX224" fmla="*/ 238703 w 2610427"/>
                <a:gd name="connsiteY224" fmla="*/ 543117 h 2476692"/>
                <a:gd name="connsiteX225" fmla="*/ 333953 w 2610427"/>
                <a:gd name="connsiteY225" fmla="*/ 543117 h 2476692"/>
                <a:gd name="connsiteX226" fmla="*/ 429203 w 2610427"/>
                <a:gd name="connsiteY226" fmla="*/ 524067 h 2476692"/>
                <a:gd name="connsiteX227" fmla="*/ 467303 w 2610427"/>
                <a:gd name="connsiteY227" fmla="*/ 538354 h 2476692"/>
                <a:gd name="connsiteX228" fmla="*/ 481590 w 2610427"/>
                <a:gd name="connsiteY228" fmla="*/ 528829 h 2476692"/>
                <a:gd name="connsiteX229" fmla="*/ 486353 w 2610427"/>
                <a:gd name="connsiteY229" fmla="*/ 514542 h 2476692"/>
                <a:gd name="connsiteX230" fmla="*/ 491115 w 2610427"/>
                <a:gd name="connsiteY230" fmla="*/ 466917 h 2476692"/>
                <a:gd name="connsiteX231" fmla="*/ 481590 w 2610427"/>
                <a:gd name="connsiteY231" fmla="*/ 438342 h 2476692"/>
                <a:gd name="connsiteX232" fmla="*/ 462540 w 2610427"/>
                <a:gd name="connsiteY232" fmla="*/ 409767 h 2476692"/>
                <a:gd name="connsiteX233" fmla="*/ 472065 w 2610427"/>
                <a:gd name="connsiteY233" fmla="*/ 347854 h 2476692"/>
                <a:gd name="connsiteX234" fmla="*/ 505403 w 2610427"/>
                <a:gd name="connsiteY234" fmla="*/ 295467 h 2476692"/>
                <a:gd name="connsiteX235" fmla="*/ 514928 w 2610427"/>
                <a:gd name="connsiteY235" fmla="*/ 281179 h 2476692"/>
                <a:gd name="connsiteX236" fmla="*/ 519690 w 2610427"/>
                <a:gd name="connsiteY236" fmla="*/ 257367 h 2476692"/>
                <a:gd name="connsiteX237" fmla="*/ 529215 w 2610427"/>
                <a:gd name="connsiteY237" fmla="*/ 243079 h 2476692"/>
                <a:gd name="connsiteX238" fmla="*/ 538740 w 2610427"/>
                <a:gd name="connsiteY238" fmla="*/ 204979 h 2476692"/>
                <a:gd name="connsiteX239" fmla="*/ 548265 w 2610427"/>
                <a:gd name="connsiteY239" fmla="*/ 185929 h 2476692"/>
                <a:gd name="connsiteX240" fmla="*/ 553028 w 2610427"/>
                <a:gd name="connsiteY240" fmla="*/ 171642 h 2476692"/>
                <a:gd name="connsiteX241" fmla="*/ 562553 w 2610427"/>
                <a:gd name="connsiteY241" fmla="*/ 157354 h 2476692"/>
                <a:gd name="connsiteX242" fmla="*/ 567315 w 2610427"/>
                <a:gd name="connsiteY242" fmla="*/ 133542 h 2476692"/>
                <a:gd name="connsiteX243" fmla="*/ 576840 w 2610427"/>
                <a:gd name="connsiteY243" fmla="*/ 100204 h 2476692"/>
                <a:gd name="connsiteX244" fmla="*/ 581603 w 2610427"/>
                <a:gd name="connsiteY244" fmla="*/ 81154 h 2476692"/>
                <a:gd name="connsiteX245" fmla="*/ 595890 w 2610427"/>
                <a:gd name="connsiteY245" fmla="*/ 33529 h 2476692"/>
                <a:gd name="connsiteX246" fmla="*/ 619703 w 2610427"/>
                <a:gd name="connsiteY246" fmla="*/ 192 h 2476692"/>
                <a:gd name="connsiteX247" fmla="*/ 621543 w 2610427"/>
                <a:gd name="connsiteY247" fmla="*/ 0 h 2476692"/>
                <a:gd name="connsiteX0" fmla="*/ 621543 w 2614534"/>
                <a:gd name="connsiteY0" fmla="*/ 0 h 2476692"/>
                <a:gd name="connsiteX1" fmla="*/ 637165 w 2614534"/>
                <a:gd name="connsiteY1" fmla="*/ 20829 h 2476692"/>
                <a:gd name="connsiteX2" fmla="*/ 643515 w 2614534"/>
                <a:gd name="connsiteY2" fmla="*/ 30354 h 2476692"/>
                <a:gd name="connsiteX3" fmla="*/ 646690 w 2614534"/>
                <a:gd name="connsiteY3" fmla="*/ 74804 h 2476692"/>
                <a:gd name="connsiteX4" fmla="*/ 656215 w 2614534"/>
                <a:gd name="connsiteY4" fmla="*/ 100204 h 2476692"/>
                <a:gd name="connsiteX5" fmla="*/ 757815 w 2614534"/>
                <a:gd name="connsiteY5" fmla="*/ 119254 h 2476692"/>
                <a:gd name="connsiteX6" fmla="*/ 780040 w 2614534"/>
                <a:gd name="connsiteY6" fmla="*/ 135129 h 2476692"/>
                <a:gd name="connsiteX7" fmla="*/ 789565 w 2614534"/>
                <a:gd name="connsiteY7" fmla="*/ 138304 h 2476692"/>
                <a:gd name="connsiteX8" fmla="*/ 808615 w 2614534"/>
                <a:gd name="connsiteY8" fmla="*/ 154179 h 2476692"/>
                <a:gd name="connsiteX9" fmla="*/ 824490 w 2614534"/>
                <a:gd name="connsiteY9" fmla="*/ 176404 h 2476692"/>
                <a:gd name="connsiteX10" fmla="*/ 827665 w 2614534"/>
                <a:gd name="connsiteY10" fmla="*/ 185929 h 2476692"/>
                <a:gd name="connsiteX11" fmla="*/ 853065 w 2614534"/>
                <a:gd name="connsiteY11" fmla="*/ 201804 h 2476692"/>
                <a:gd name="connsiteX12" fmla="*/ 929265 w 2614534"/>
                <a:gd name="connsiteY12" fmla="*/ 220854 h 2476692"/>
                <a:gd name="connsiteX13" fmla="*/ 957840 w 2614534"/>
                <a:gd name="connsiteY13" fmla="*/ 198629 h 2476692"/>
                <a:gd name="connsiteX14" fmla="*/ 980065 w 2614534"/>
                <a:gd name="connsiteY14" fmla="*/ 182754 h 2476692"/>
                <a:gd name="connsiteX15" fmla="*/ 989590 w 2614534"/>
                <a:gd name="connsiteY15" fmla="*/ 176404 h 2476692"/>
                <a:gd name="connsiteX16" fmla="*/ 1011815 w 2614534"/>
                <a:gd name="connsiteY16" fmla="*/ 173229 h 2476692"/>
                <a:gd name="connsiteX17" fmla="*/ 1027690 w 2614534"/>
                <a:gd name="connsiteY17" fmla="*/ 166879 h 2476692"/>
                <a:gd name="connsiteX18" fmla="*/ 1094365 w 2614534"/>
                <a:gd name="connsiteY18" fmla="*/ 220854 h 2476692"/>
                <a:gd name="connsiteX19" fmla="*/ 1186440 w 2614534"/>
                <a:gd name="connsiteY19" fmla="*/ 217679 h 2476692"/>
                <a:gd name="connsiteX20" fmla="*/ 1278515 w 2614534"/>
                <a:gd name="connsiteY20" fmla="*/ 170054 h 2476692"/>
                <a:gd name="connsiteX21" fmla="*/ 1326140 w 2614534"/>
                <a:gd name="connsiteY21" fmla="*/ 74804 h 2476692"/>
                <a:gd name="connsiteX22" fmla="*/ 1373765 w 2614534"/>
                <a:gd name="connsiteY22" fmla="*/ 122429 h 2476692"/>
                <a:gd name="connsiteX23" fmla="*/ 1459490 w 2614534"/>
                <a:gd name="connsiteY23" fmla="*/ 144654 h 2476692"/>
                <a:gd name="connsiteX24" fmla="*/ 1589665 w 2614534"/>
                <a:gd name="connsiteY24" fmla="*/ 144654 h 2476692"/>
                <a:gd name="connsiteX25" fmla="*/ 1697615 w 2614534"/>
                <a:gd name="connsiteY25" fmla="*/ 97029 h 2476692"/>
                <a:gd name="connsiteX26" fmla="*/ 1726190 w 2614534"/>
                <a:gd name="connsiteY26" fmla="*/ 103379 h 2476692"/>
                <a:gd name="connsiteX27" fmla="*/ 1738890 w 2614534"/>
                <a:gd name="connsiteY27" fmla="*/ 122429 h 2476692"/>
                <a:gd name="connsiteX28" fmla="*/ 1732540 w 2614534"/>
                <a:gd name="connsiteY28" fmla="*/ 141479 h 2476692"/>
                <a:gd name="connsiteX29" fmla="*/ 1723015 w 2614534"/>
                <a:gd name="connsiteY29" fmla="*/ 154179 h 2476692"/>
                <a:gd name="connsiteX30" fmla="*/ 1802390 w 2614534"/>
                <a:gd name="connsiteY30" fmla="*/ 144654 h 2476692"/>
                <a:gd name="connsiteX31" fmla="*/ 1824615 w 2614534"/>
                <a:gd name="connsiteY31" fmla="*/ 160529 h 2476692"/>
                <a:gd name="connsiteX32" fmla="*/ 1827790 w 2614534"/>
                <a:gd name="connsiteY32" fmla="*/ 195454 h 2476692"/>
                <a:gd name="connsiteX33" fmla="*/ 1834140 w 2614534"/>
                <a:gd name="connsiteY33" fmla="*/ 217679 h 2476692"/>
                <a:gd name="connsiteX34" fmla="*/ 1840490 w 2614534"/>
                <a:gd name="connsiteY34" fmla="*/ 230379 h 2476692"/>
                <a:gd name="connsiteX35" fmla="*/ 1846840 w 2614534"/>
                <a:gd name="connsiteY35" fmla="*/ 239904 h 2476692"/>
                <a:gd name="connsiteX36" fmla="*/ 1846840 w 2614534"/>
                <a:gd name="connsiteY36" fmla="*/ 249429 h 2476692"/>
                <a:gd name="connsiteX37" fmla="*/ 1916690 w 2614534"/>
                <a:gd name="connsiteY37" fmla="*/ 274829 h 2476692"/>
                <a:gd name="connsiteX38" fmla="*/ 1945265 w 2614534"/>
                <a:gd name="connsiteY38" fmla="*/ 268479 h 2476692"/>
                <a:gd name="connsiteX39" fmla="*/ 1961140 w 2614534"/>
                <a:gd name="connsiteY39" fmla="*/ 274829 h 2476692"/>
                <a:gd name="connsiteX40" fmla="*/ 1977015 w 2614534"/>
                <a:gd name="connsiteY40" fmla="*/ 293879 h 2476692"/>
                <a:gd name="connsiteX41" fmla="*/ 2002415 w 2614534"/>
                <a:gd name="connsiteY41" fmla="*/ 297054 h 2476692"/>
                <a:gd name="connsiteX42" fmla="*/ 2002415 w 2614534"/>
                <a:gd name="connsiteY42" fmla="*/ 344679 h 2476692"/>
                <a:gd name="connsiteX43" fmla="*/ 1998496 w 2614534"/>
                <a:gd name="connsiteY43" fmla="*/ 359366 h 2476692"/>
                <a:gd name="connsiteX44" fmla="*/ 1997699 w 2614534"/>
                <a:gd name="connsiteY44" fmla="*/ 359161 h 2476692"/>
                <a:gd name="connsiteX45" fmla="*/ 1996509 w 2614534"/>
                <a:gd name="connsiteY45" fmla="*/ 357863 h 2476692"/>
                <a:gd name="connsiteX46" fmla="*/ 1996082 w 2614534"/>
                <a:gd name="connsiteY46" fmla="*/ 354482 h 2476692"/>
                <a:gd name="connsiteX47" fmla="*/ 1996065 w 2614534"/>
                <a:gd name="connsiteY47" fmla="*/ 357379 h 2476692"/>
                <a:gd name="connsiteX48" fmla="*/ 1996509 w 2614534"/>
                <a:gd name="connsiteY48" fmla="*/ 357863 h 2476692"/>
                <a:gd name="connsiteX49" fmla="*/ 1996639 w 2614534"/>
                <a:gd name="connsiteY49" fmla="*/ 358889 h 2476692"/>
                <a:gd name="connsiteX50" fmla="*/ 1997699 w 2614534"/>
                <a:gd name="connsiteY50" fmla="*/ 359161 h 2476692"/>
                <a:gd name="connsiteX51" fmla="*/ 2030990 w 2614534"/>
                <a:gd name="connsiteY51" fmla="*/ 395479 h 2476692"/>
                <a:gd name="connsiteX52" fmla="*/ 2059565 w 2614534"/>
                <a:gd name="connsiteY52" fmla="*/ 385954 h 2476692"/>
                <a:gd name="connsiteX53" fmla="*/ 2069090 w 2614534"/>
                <a:gd name="connsiteY53" fmla="*/ 379604 h 2476692"/>
                <a:gd name="connsiteX54" fmla="*/ 2078615 w 2614534"/>
                <a:gd name="connsiteY54" fmla="*/ 376429 h 2476692"/>
                <a:gd name="connsiteX55" fmla="*/ 2116715 w 2614534"/>
                <a:gd name="connsiteY55" fmla="*/ 379604 h 2476692"/>
                <a:gd name="connsiteX56" fmla="*/ 2119890 w 2614534"/>
                <a:gd name="connsiteY56" fmla="*/ 411354 h 2476692"/>
                <a:gd name="connsiteX57" fmla="*/ 2129415 w 2614534"/>
                <a:gd name="connsiteY57" fmla="*/ 443104 h 2476692"/>
                <a:gd name="connsiteX58" fmla="*/ 2132590 w 2614534"/>
                <a:gd name="connsiteY58" fmla="*/ 452629 h 2476692"/>
                <a:gd name="connsiteX59" fmla="*/ 2135765 w 2614534"/>
                <a:gd name="connsiteY59" fmla="*/ 462154 h 2476692"/>
                <a:gd name="connsiteX60" fmla="*/ 2142115 w 2614534"/>
                <a:gd name="connsiteY60" fmla="*/ 493904 h 2476692"/>
                <a:gd name="connsiteX61" fmla="*/ 2138940 w 2614534"/>
                <a:gd name="connsiteY61" fmla="*/ 532004 h 2476692"/>
                <a:gd name="connsiteX62" fmla="*/ 2110365 w 2614534"/>
                <a:gd name="connsiteY62" fmla="*/ 547879 h 2476692"/>
                <a:gd name="connsiteX63" fmla="*/ 2097665 w 2614534"/>
                <a:gd name="connsiteY63" fmla="*/ 557404 h 2476692"/>
                <a:gd name="connsiteX64" fmla="*/ 2094490 w 2614534"/>
                <a:gd name="connsiteY64" fmla="*/ 582804 h 2476692"/>
                <a:gd name="connsiteX65" fmla="*/ 2104015 w 2614534"/>
                <a:gd name="connsiteY65" fmla="*/ 608204 h 2476692"/>
                <a:gd name="connsiteX66" fmla="*/ 2110365 w 2614534"/>
                <a:gd name="connsiteY66" fmla="*/ 617729 h 2476692"/>
                <a:gd name="connsiteX67" fmla="*/ 2116715 w 2614534"/>
                <a:gd name="connsiteY67" fmla="*/ 643129 h 2476692"/>
                <a:gd name="connsiteX68" fmla="*/ 2119890 w 2614534"/>
                <a:gd name="connsiteY68" fmla="*/ 719329 h 2476692"/>
                <a:gd name="connsiteX69" fmla="*/ 2123065 w 2614534"/>
                <a:gd name="connsiteY69" fmla="*/ 728854 h 2476692"/>
                <a:gd name="connsiteX70" fmla="*/ 2142115 w 2614534"/>
                <a:gd name="connsiteY70" fmla="*/ 741554 h 2476692"/>
                <a:gd name="connsiteX71" fmla="*/ 2161165 w 2614534"/>
                <a:gd name="connsiteY71" fmla="*/ 738379 h 2476692"/>
                <a:gd name="connsiteX72" fmla="*/ 2170690 w 2614534"/>
                <a:gd name="connsiteY72" fmla="*/ 732029 h 2476692"/>
                <a:gd name="connsiteX73" fmla="*/ 2183390 w 2614534"/>
                <a:gd name="connsiteY73" fmla="*/ 725679 h 2476692"/>
                <a:gd name="connsiteX74" fmla="*/ 2192915 w 2614534"/>
                <a:gd name="connsiteY74" fmla="*/ 719329 h 2476692"/>
                <a:gd name="connsiteX75" fmla="*/ 2211965 w 2614534"/>
                <a:gd name="connsiteY75" fmla="*/ 712979 h 2476692"/>
                <a:gd name="connsiteX76" fmla="*/ 2259590 w 2614534"/>
                <a:gd name="connsiteY76" fmla="*/ 716154 h 2476692"/>
                <a:gd name="connsiteX77" fmla="*/ 2262765 w 2614534"/>
                <a:gd name="connsiteY77" fmla="*/ 732029 h 2476692"/>
                <a:gd name="connsiteX78" fmla="*/ 2272290 w 2614534"/>
                <a:gd name="connsiteY78" fmla="*/ 751079 h 2476692"/>
                <a:gd name="connsiteX79" fmla="*/ 2297690 w 2614534"/>
                <a:gd name="connsiteY79" fmla="*/ 754254 h 2476692"/>
                <a:gd name="connsiteX80" fmla="*/ 2329440 w 2614534"/>
                <a:gd name="connsiteY80" fmla="*/ 738379 h 2476692"/>
                <a:gd name="connsiteX81" fmla="*/ 2338965 w 2614534"/>
                <a:gd name="connsiteY81" fmla="*/ 735204 h 2476692"/>
                <a:gd name="connsiteX82" fmla="*/ 2367540 w 2614534"/>
                <a:gd name="connsiteY82" fmla="*/ 722504 h 2476692"/>
                <a:gd name="connsiteX83" fmla="*/ 2377065 w 2614534"/>
                <a:gd name="connsiteY83" fmla="*/ 719329 h 2476692"/>
                <a:gd name="connsiteX84" fmla="*/ 2391809 w 2614534"/>
                <a:gd name="connsiteY84" fmla="*/ 719329 h 2476692"/>
                <a:gd name="connsiteX85" fmla="*/ 2593759 w 2614534"/>
                <a:gd name="connsiteY85" fmla="*/ 1257492 h 2476692"/>
                <a:gd name="connsiteX86" fmla="*/ 2610427 w 2614534"/>
                <a:gd name="connsiteY86" fmla="*/ 1350360 h 2476692"/>
                <a:gd name="connsiteX87" fmla="*/ 2605665 w 2614534"/>
                <a:gd name="connsiteY87" fmla="*/ 1412273 h 2476692"/>
                <a:gd name="connsiteX88" fmla="*/ 2588996 w 2614534"/>
                <a:gd name="connsiteY88" fmla="*/ 1452754 h 2476692"/>
                <a:gd name="connsiteX89" fmla="*/ 2574709 w 2614534"/>
                <a:gd name="connsiteY89" fmla="*/ 1486092 h 2476692"/>
                <a:gd name="connsiteX90" fmla="*/ 2608046 w 2614534"/>
                <a:gd name="connsiteY90" fmla="*/ 1586104 h 2476692"/>
                <a:gd name="connsiteX91" fmla="*/ 2598522 w 2614534"/>
                <a:gd name="connsiteY91" fmla="*/ 1619442 h 2476692"/>
                <a:gd name="connsiteX92" fmla="*/ 2593759 w 2614534"/>
                <a:gd name="connsiteY92" fmla="*/ 1712310 h 2476692"/>
                <a:gd name="connsiteX93" fmla="*/ 2577090 w 2614534"/>
                <a:gd name="connsiteY93" fmla="*/ 1802798 h 2476692"/>
                <a:gd name="connsiteX94" fmla="*/ 2512796 w 2614534"/>
                <a:gd name="connsiteY94" fmla="*/ 1824229 h 2476692"/>
                <a:gd name="connsiteX95" fmla="*/ 2558040 w 2614534"/>
                <a:gd name="connsiteY95" fmla="*/ 1883760 h 2476692"/>
                <a:gd name="connsiteX96" fmla="*/ 2555659 w 2614534"/>
                <a:gd name="connsiteY96" fmla="*/ 1909954 h 2476692"/>
                <a:gd name="connsiteX97" fmla="*/ 2527084 w 2614534"/>
                <a:gd name="connsiteY97" fmla="*/ 1995679 h 2476692"/>
                <a:gd name="connsiteX98" fmla="*/ 2503271 w 2614534"/>
                <a:gd name="connsiteY98" fmla="*/ 1986154 h 2476692"/>
                <a:gd name="connsiteX99" fmla="*/ 2472315 w 2614534"/>
                <a:gd name="connsiteY99" fmla="*/ 1971867 h 2476692"/>
                <a:gd name="connsiteX100" fmla="*/ 2436596 w 2614534"/>
                <a:gd name="connsiteY100" fmla="*/ 1986154 h 2476692"/>
                <a:gd name="connsiteX101" fmla="*/ 2450884 w 2614534"/>
                <a:gd name="connsiteY101" fmla="*/ 2017110 h 2476692"/>
                <a:gd name="connsiteX102" fmla="*/ 2465171 w 2614534"/>
                <a:gd name="connsiteY102" fmla="*/ 2057592 h 2476692"/>
                <a:gd name="connsiteX103" fmla="*/ 2455646 w 2614534"/>
                <a:gd name="connsiteY103" fmla="*/ 2121885 h 2476692"/>
                <a:gd name="connsiteX104" fmla="*/ 2410403 w 2614534"/>
                <a:gd name="connsiteY104" fmla="*/ 2152842 h 2476692"/>
                <a:gd name="connsiteX105" fmla="*/ 2458028 w 2614534"/>
                <a:gd name="connsiteY105" fmla="*/ 2186180 h 2476692"/>
                <a:gd name="connsiteX106" fmla="*/ 2448503 w 2614534"/>
                <a:gd name="connsiteY106" fmla="*/ 2226660 h 2476692"/>
                <a:gd name="connsiteX107" fmla="*/ 2410403 w 2614534"/>
                <a:gd name="connsiteY107" fmla="*/ 2262379 h 2476692"/>
                <a:gd name="connsiteX108" fmla="*/ 2388971 w 2614534"/>
                <a:gd name="connsiteY108" fmla="*/ 2331435 h 2476692"/>
                <a:gd name="connsiteX109" fmla="*/ 2405640 w 2614534"/>
                <a:gd name="connsiteY109" fmla="*/ 2381442 h 2476692"/>
                <a:gd name="connsiteX110" fmla="*/ 2391353 w 2614534"/>
                <a:gd name="connsiteY110" fmla="*/ 2414779 h 2476692"/>
                <a:gd name="connsiteX111" fmla="*/ 2334203 w 2614534"/>
                <a:gd name="connsiteY111" fmla="*/ 2433829 h 2476692"/>
                <a:gd name="connsiteX112" fmla="*/ 2305628 w 2614534"/>
                <a:gd name="connsiteY112" fmla="*/ 2443354 h 2476692"/>
                <a:gd name="connsiteX113" fmla="*/ 2296103 w 2614534"/>
                <a:gd name="connsiteY113" fmla="*/ 2457642 h 2476692"/>
                <a:gd name="connsiteX114" fmla="*/ 2262765 w 2614534"/>
                <a:gd name="connsiteY114" fmla="*/ 2462404 h 2476692"/>
                <a:gd name="connsiteX115" fmla="*/ 2229428 w 2614534"/>
                <a:gd name="connsiteY115" fmla="*/ 2438592 h 2476692"/>
                <a:gd name="connsiteX116" fmla="*/ 2215140 w 2614534"/>
                <a:gd name="connsiteY116" fmla="*/ 2433829 h 2476692"/>
                <a:gd name="connsiteX117" fmla="*/ 2205615 w 2614534"/>
                <a:gd name="connsiteY117" fmla="*/ 2457642 h 2476692"/>
                <a:gd name="connsiteX118" fmla="*/ 2191328 w 2614534"/>
                <a:gd name="connsiteY118" fmla="*/ 2467167 h 2476692"/>
                <a:gd name="connsiteX119" fmla="*/ 2153228 w 2614534"/>
                <a:gd name="connsiteY119" fmla="*/ 2476692 h 2476692"/>
                <a:gd name="connsiteX120" fmla="*/ 2134178 w 2614534"/>
                <a:gd name="connsiteY120" fmla="*/ 2448117 h 2476692"/>
                <a:gd name="connsiteX121" fmla="*/ 2124653 w 2614534"/>
                <a:gd name="connsiteY121" fmla="*/ 2433829 h 2476692"/>
                <a:gd name="connsiteX122" fmla="*/ 2119890 w 2614534"/>
                <a:gd name="connsiteY122" fmla="*/ 2352867 h 2476692"/>
                <a:gd name="connsiteX123" fmla="*/ 2124653 w 2614534"/>
                <a:gd name="connsiteY123" fmla="*/ 2338579 h 2476692"/>
                <a:gd name="connsiteX124" fmla="*/ 2167515 w 2614534"/>
                <a:gd name="connsiteY124" fmla="*/ 2290954 h 2476692"/>
                <a:gd name="connsiteX125" fmla="*/ 2177040 w 2614534"/>
                <a:gd name="connsiteY125" fmla="*/ 2276667 h 2476692"/>
                <a:gd name="connsiteX126" fmla="*/ 2153228 w 2614534"/>
                <a:gd name="connsiteY126" fmla="*/ 2248092 h 2476692"/>
                <a:gd name="connsiteX127" fmla="*/ 2134178 w 2614534"/>
                <a:gd name="connsiteY127" fmla="*/ 2238567 h 2476692"/>
                <a:gd name="connsiteX128" fmla="*/ 2129415 w 2614534"/>
                <a:gd name="connsiteY128" fmla="*/ 2214754 h 2476692"/>
                <a:gd name="connsiteX129" fmla="*/ 2148465 w 2614534"/>
                <a:gd name="connsiteY129" fmla="*/ 2186179 h 2476692"/>
                <a:gd name="connsiteX130" fmla="*/ 2167515 w 2614534"/>
                <a:gd name="connsiteY130" fmla="*/ 2190942 h 2476692"/>
                <a:gd name="connsiteX131" fmla="*/ 2229428 w 2614534"/>
                <a:gd name="connsiteY131" fmla="*/ 2186179 h 2476692"/>
                <a:gd name="connsiteX132" fmla="*/ 2234190 w 2614534"/>
                <a:gd name="connsiteY132" fmla="*/ 2171892 h 2476692"/>
                <a:gd name="connsiteX133" fmla="*/ 2224665 w 2614534"/>
                <a:gd name="connsiteY133" fmla="*/ 2143317 h 2476692"/>
                <a:gd name="connsiteX134" fmla="*/ 2210378 w 2614534"/>
                <a:gd name="connsiteY134" fmla="*/ 2129029 h 2476692"/>
                <a:gd name="connsiteX135" fmla="*/ 2191328 w 2614534"/>
                <a:gd name="connsiteY135" fmla="*/ 2119504 h 2476692"/>
                <a:gd name="connsiteX136" fmla="*/ 2162753 w 2614534"/>
                <a:gd name="connsiteY136" fmla="*/ 2114742 h 2476692"/>
                <a:gd name="connsiteX137" fmla="*/ 2157990 w 2614534"/>
                <a:gd name="connsiteY137" fmla="*/ 2095692 h 2476692"/>
                <a:gd name="connsiteX138" fmla="*/ 2181803 w 2614534"/>
                <a:gd name="connsiteY138" fmla="*/ 2062354 h 2476692"/>
                <a:gd name="connsiteX139" fmla="*/ 2191328 w 2614534"/>
                <a:gd name="connsiteY139" fmla="*/ 2048067 h 2476692"/>
                <a:gd name="connsiteX140" fmla="*/ 2196090 w 2614534"/>
                <a:gd name="connsiteY140" fmla="*/ 1986154 h 2476692"/>
                <a:gd name="connsiteX141" fmla="*/ 2186565 w 2614534"/>
                <a:gd name="connsiteY141" fmla="*/ 1957579 h 2476692"/>
                <a:gd name="connsiteX142" fmla="*/ 2162753 w 2614534"/>
                <a:gd name="connsiteY142" fmla="*/ 1952817 h 2476692"/>
                <a:gd name="connsiteX143" fmla="*/ 2134178 w 2614534"/>
                <a:gd name="connsiteY143" fmla="*/ 1971867 h 2476692"/>
                <a:gd name="connsiteX144" fmla="*/ 2124653 w 2614534"/>
                <a:gd name="connsiteY144" fmla="*/ 1986154 h 2476692"/>
                <a:gd name="connsiteX145" fmla="*/ 2105603 w 2614534"/>
                <a:gd name="connsiteY145" fmla="*/ 2005204 h 2476692"/>
                <a:gd name="connsiteX146" fmla="*/ 2072265 w 2614534"/>
                <a:gd name="connsiteY146" fmla="*/ 2038542 h 2476692"/>
                <a:gd name="connsiteX147" fmla="*/ 2057978 w 2614534"/>
                <a:gd name="connsiteY147" fmla="*/ 2048067 h 2476692"/>
                <a:gd name="connsiteX148" fmla="*/ 2029403 w 2614534"/>
                <a:gd name="connsiteY148" fmla="*/ 2052829 h 2476692"/>
                <a:gd name="connsiteX149" fmla="*/ 2019878 w 2614534"/>
                <a:gd name="connsiteY149" fmla="*/ 2009967 h 2476692"/>
                <a:gd name="connsiteX150" fmla="*/ 1991303 w 2614534"/>
                <a:gd name="connsiteY150" fmla="*/ 1986154 h 2476692"/>
                <a:gd name="connsiteX151" fmla="*/ 1962728 w 2614534"/>
                <a:gd name="connsiteY151" fmla="*/ 1976629 h 2476692"/>
                <a:gd name="connsiteX152" fmla="*/ 1948440 w 2614534"/>
                <a:gd name="connsiteY152" fmla="*/ 1990917 h 2476692"/>
                <a:gd name="connsiteX153" fmla="*/ 1910340 w 2614534"/>
                <a:gd name="connsiteY153" fmla="*/ 2000442 h 2476692"/>
                <a:gd name="connsiteX154" fmla="*/ 1891290 w 2614534"/>
                <a:gd name="connsiteY154" fmla="*/ 1971867 h 2476692"/>
                <a:gd name="connsiteX155" fmla="*/ 1886528 w 2614534"/>
                <a:gd name="connsiteY155" fmla="*/ 1952817 h 2476692"/>
                <a:gd name="connsiteX156" fmla="*/ 1881765 w 2614534"/>
                <a:gd name="connsiteY156" fmla="*/ 1929004 h 2476692"/>
                <a:gd name="connsiteX157" fmla="*/ 1877003 w 2614534"/>
                <a:gd name="connsiteY157" fmla="*/ 1886142 h 2476692"/>
                <a:gd name="connsiteX158" fmla="*/ 1862715 w 2614534"/>
                <a:gd name="connsiteY158" fmla="*/ 1871854 h 2476692"/>
                <a:gd name="connsiteX159" fmla="*/ 1853190 w 2614534"/>
                <a:gd name="connsiteY159" fmla="*/ 1857567 h 2476692"/>
                <a:gd name="connsiteX160" fmla="*/ 1824615 w 2614534"/>
                <a:gd name="connsiteY160" fmla="*/ 1838517 h 2476692"/>
                <a:gd name="connsiteX161" fmla="*/ 1819853 w 2614534"/>
                <a:gd name="connsiteY161" fmla="*/ 1819467 h 2476692"/>
                <a:gd name="connsiteX162" fmla="*/ 1834140 w 2614534"/>
                <a:gd name="connsiteY162" fmla="*/ 1814704 h 2476692"/>
                <a:gd name="connsiteX163" fmla="*/ 1848428 w 2614534"/>
                <a:gd name="connsiteY163" fmla="*/ 1809942 h 2476692"/>
                <a:gd name="connsiteX164" fmla="*/ 1862715 w 2614534"/>
                <a:gd name="connsiteY164" fmla="*/ 1805179 h 2476692"/>
                <a:gd name="connsiteX165" fmla="*/ 1891290 w 2614534"/>
                <a:gd name="connsiteY165" fmla="*/ 1795654 h 2476692"/>
                <a:gd name="connsiteX166" fmla="*/ 1896053 w 2614534"/>
                <a:gd name="connsiteY166" fmla="*/ 1781367 h 2476692"/>
                <a:gd name="connsiteX167" fmla="*/ 1900815 w 2614534"/>
                <a:gd name="connsiteY167" fmla="*/ 1762317 h 2476692"/>
                <a:gd name="connsiteX168" fmla="*/ 1891290 w 2614534"/>
                <a:gd name="connsiteY168" fmla="*/ 1676592 h 2476692"/>
                <a:gd name="connsiteX169" fmla="*/ 1719840 w 2614534"/>
                <a:gd name="connsiteY169" fmla="*/ 1671829 h 2476692"/>
                <a:gd name="connsiteX170" fmla="*/ 1710315 w 2614534"/>
                <a:gd name="connsiteY170" fmla="*/ 1690879 h 2476692"/>
                <a:gd name="connsiteX171" fmla="*/ 1696028 w 2614534"/>
                <a:gd name="connsiteY171" fmla="*/ 1709929 h 2476692"/>
                <a:gd name="connsiteX172" fmla="*/ 1681740 w 2614534"/>
                <a:gd name="connsiteY172" fmla="*/ 1724217 h 2476692"/>
                <a:gd name="connsiteX173" fmla="*/ 1676978 w 2614534"/>
                <a:gd name="connsiteY173" fmla="*/ 1738504 h 2476692"/>
                <a:gd name="connsiteX174" fmla="*/ 1667453 w 2614534"/>
                <a:gd name="connsiteY174" fmla="*/ 1762317 h 2476692"/>
                <a:gd name="connsiteX175" fmla="*/ 1643640 w 2614534"/>
                <a:gd name="connsiteY175" fmla="*/ 1795654 h 2476692"/>
                <a:gd name="connsiteX176" fmla="*/ 1291215 w 2614534"/>
                <a:gd name="connsiteY176" fmla="*/ 1938529 h 2476692"/>
                <a:gd name="connsiteX177" fmla="*/ 1162628 w 2614534"/>
                <a:gd name="connsiteY177" fmla="*/ 1833754 h 2476692"/>
                <a:gd name="connsiteX178" fmla="*/ 1091190 w 2614534"/>
                <a:gd name="connsiteY178" fmla="*/ 1843279 h 2476692"/>
                <a:gd name="connsiteX179" fmla="*/ 1014990 w 2614534"/>
                <a:gd name="connsiteY179" fmla="*/ 1786129 h 2476692"/>
                <a:gd name="connsiteX180" fmla="*/ 1024515 w 2614534"/>
                <a:gd name="connsiteY180" fmla="*/ 1733742 h 2476692"/>
                <a:gd name="connsiteX181" fmla="*/ 957840 w 2614534"/>
                <a:gd name="connsiteY181" fmla="*/ 1719454 h 2476692"/>
                <a:gd name="connsiteX182" fmla="*/ 767340 w 2614534"/>
                <a:gd name="connsiteY182" fmla="*/ 1671829 h 2476692"/>
                <a:gd name="connsiteX183" fmla="*/ 743528 w 2614534"/>
                <a:gd name="connsiteY183" fmla="*/ 1681354 h 2476692"/>
                <a:gd name="connsiteX184" fmla="*/ 729240 w 2614534"/>
                <a:gd name="connsiteY184" fmla="*/ 1686117 h 2476692"/>
                <a:gd name="connsiteX185" fmla="*/ 700665 w 2614534"/>
                <a:gd name="connsiteY185" fmla="*/ 1667067 h 2476692"/>
                <a:gd name="connsiteX186" fmla="*/ 657803 w 2614534"/>
                <a:gd name="connsiteY186" fmla="*/ 1624204 h 2476692"/>
                <a:gd name="connsiteX187" fmla="*/ 605415 w 2614534"/>
                <a:gd name="connsiteY187" fmla="*/ 1638492 h 2476692"/>
                <a:gd name="connsiteX188" fmla="*/ 533978 w 2614534"/>
                <a:gd name="connsiteY188" fmla="*/ 1543242 h 2476692"/>
                <a:gd name="connsiteX189" fmla="*/ 548265 w 2614534"/>
                <a:gd name="connsiteY189" fmla="*/ 1528954 h 2476692"/>
                <a:gd name="connsiteX190" fmla="*/ 567315 w 2614534"/>
                <a:gd name="connsiteY190" fmla="*/ 1514667 h 2476692"/>
                <a:gd name="connsiteX191" fmla="*/ 581603 w 2614534"/>
                <a:gd name="connsiteY191" fmla="*/ 1476567 h 2476692"/>
                <a:gd name="connsiteX192" fmla="*/ 567315 w 2614534"/>
                <a:gd name="connsiteY192" fmla="*/ 1471804 h 2476692"/>
                <a:gd name="connsiteX193" fmla="*/ 543503 w 2614534"/>
                <a:gd name="connsiteY193" fmla="*/ 1462279 h 2476692"/>
                <a:gd name="connsiteX194" fmla="*/ 562553 w 2614534"/>
                <a:gd name="connsiteY194" fmla="*/ 1428942 h 2476692"/>
                <a:gd name="connsiteX195" fmla="*/ 567315 w 2614534"/>
                <a:gd name="connsiteY195" fmla="*/ 1414654 h 2476692"/>
                <a:gd name="connsiteX196" fmla="*/ 586365 w 2614534"/>
                <a:gd name="connsiteY196" fmla="*/ 1386079 h 2476692"/>
                <a:gd name="connsiteX197" fmla="*/ 619703 w 2614534"/>
                <a:gd name="connsiteY197" fmla="*/ 1362267 h 2476692"/>
                <a:gd name="connsiteX198" fmla="*/ 633990 w 2614534"/>
                <a:gd name="connsiteY198" fmla="*/ 1343217 h 2476692"/>
                <a:gd name="connsiteX199" fmla="*/ 662565 w 2614534"/>
                <a:gd name="connsiteY199" fmla="*/ 1319404 h 2476692"/>
                <a:gd name="connsiteX200" fmla="*/ 667328 w 2614534"/>
                <a:gd name="connsiteY200" fmla="*/ 1281304 h 2476692"/>
                <a:gd name="connsiteX201" fmla="*/ 638753 w 2614534"/>
                <a:gd name="connsiteY201" fmla="*/ 1267017 h 2476692"/>
                <a:gd name="connsiteX202" fmla="*/ 633990 w 2614534"/>
                <a:gd name="connsiteY202" fmla="*/ 1252729 h 2476692"/>
                <a:gd name="connsiteX203" fmla="*/ 643515 w 2614534"/>
                <a:gd name="connsiteY203" fmla="*/ 1238442 h 2476692"/>
                <a:gd name="connsiteX204" fmla="*/ 672090 w 2614534"/>
                <a:gd name="connsiteY204" fmla="*/ 1219392 h 2476692"/>
                <a:gd name="connsiteX205" fmla="*/ 672090 w 2614534"/>
                <a:gd name="connsiteY205" fmla="*/ 1162242 h 2476692"/>
                <a:gd name="connsiteX206" fmla="*/ 662565 w 2614534"/>
                <a:gd name="connsiteY206" fmla="*/ 1147954 h 2476692"/>
                <a:gd name="connsiteX207" fmla="*/ 619703 w 2614534"/>
                <a:gd name="connsiteY207" fmla="*/ 1167004 h 2476692"/>
                <a:gd name="connsiteX208" fmla="*/ 610178 w 2614534"/>
                <a:gd name="connsiteY208" fmla="*/ 1152717 h 2476692"/>
                <a:gd name="connsiteX209" fmla="*/ 605415 w 2614534"/>
                <a:gd name="connsiteY209" fmla="*/ 1105092 h 2476692"/>
                <a:gd name="connsiteX210" fmla="*/ 595890 w 2614534"/>
                <a:gd name="connsiteY210" fmla="*/ 1086042 h 2476692"/>
                <a:gd name="connsiteX211" fmla="*/ 576840 w 2614534"/>
                <a:gd name="connsiteY211" fmla="*/ 1057467 h 2476692"/>
                <a:gd name="connsiteX212" fmla="*/ 572078 w 2614534"/>
                <a:gd name="connsiteY212" fmla="*/ 1043179 h 2476692"/>
                <a:gd name="connsiteX213" fmla="*/ 562553 w 2614534"/>
                <a:gd name="connsiteY213" fmla="*/ 962217 h 2476692"/>
                <a:gd name="connsiteX214" fmla="*/ 462540 w 2614534"/>
                <a:gd name="connsiteY214" fmla="*/ 1043179 h 2476692"/>
                <a:gd name="connsiteX215" fmla="*/ 433965 w 2614534"/>
                <a:gd name="connsiteY215" fmla="*/ 952692 h 2476692"/>
                <a:gd name="connsiteX216" fmla="*/ 343478 w 2614534"/>
                <a:gd name="connsiteY216" fmla="*/ 862204 h 2476692"/>
                <a:gd name="connsiteX217" fmla="*/ 262515 w 2614534"/>
                <a:gd name="connsiteY217" fmla="*/ 871729 h 2476692"/>
                <a:gd name="connsiteX218" fmla="*/ 205365 w 2614534"/>
                <a:gd name="connsiteY218" fmla="*/ 919354 h 2476692"/>
                <a:gd name="connsiteX219" fmla="*/ 95828 w 2614534"/>
                <a:gd name="connsiteY219" fmla="*/ 986029 h 2476692"/>
                <a:gd name="connsiteX220" fmla="*/ 24390 w 2614534"/>
                <a:gd name="connsiteY220" fmla="*/ 986029 h 2476692"/>
                <a:gd name="connsiteX221" fmla="*/ 14865 w 2614534"/>
                <a:gd name="connsiteY221" fmla="*/ 947929 h 2476692"/>
                <a:gd name="connsiteX222" fmla="*/ 578 w 2614534"/>
                <a:gd name="connsiteY222" fmla="*/ 933642 h 2476692"/>
                <a:gd name="connsiteX223" fmla="*/ 5340 w 2614534"/>
                <a:gd name="connsiteY223" fmla="*/ 890779 h 2476692"/>
                <a:gd name="connsiteX224" fmla="*/ 57728 w 2614534"/>
                <a:gd name="connsiteY224" fmla="*/ 781242 h 2476692"/>
                <a:gd name="connsiteX225" fmla="*/ 238703 w 2614534"/>
                <a:gd name="connsiteY225" fmla="*/ 543117 h 2476692"/>
                <a:gd name="connsiteX226" fmla="*/ 333953 w 2614534"/>
                <a:gd name="connsiteY226" fmla="*/ 543117 h 2476692"/>
                <a:gd name="connsiteX227" fmla="*/ 429203 w 2614534"/>
                <a:gd name="connsiteY227" fmla="*/ 524067 h 2476692"/>
                <a:gd name="connsiteX228" fmla="*/ 467303 w 2614534"/>
                <a:gd name="connsiteY228" fmla="*/ 538354 h 2476692"/>
                <a:gd name="connsiteX229" fmla="*/ 481590 w 2614534"/>
                <a:gd name="connsiteY229" fmla="*/ 528829 h 2476692"/>
                <a:gd name="connsiteX230" fmla="*/ 486353 w 2614534"/>
                <a:gd name="connsiteY230" fmla="*/ 514542 h 2476692"/>
                <a:gd name="connsiteX231" fmla="*/ 491115 w 2614534"/>
                <a:gd name="connsiteY231" fmla="*/ 466917 h 2476692"/>
                <a:gd name="connsiteX232" fmla="*/ 481590 w 2614534"/>
                <a:gd name="connsiteY232" fmla="*/ 438342 h 2476692"/>
                <a:gd name="connsiteX233" fmla="*/ 462540 w 2614534"/>
                <a:gd name="connsiteY233" fmla="*/ 409767 h 2476692"/>
                <a:gd name="connsiteX234" fmla="*/ 472065 w 2614534"/>
                <a:gd name="connsiteY234" fmla="*/ 347854 h 2476692"/>
                <a:gd name="connsiteX235" fmla="*/ 505403 w 2614534"/>
                <a:gd name="connsiteY235" fmla="*/ 295467 h 2476692"/>
                <a:gd name="connsiteX236" fmla="*/ 514928 w 2614534"/>
                <a:gd name="connsiteY236" fmla="*/ 281179 h 2476692"/>
                <a:gd name="connsiteX237" fmla="*/ 519690 w 2614534"/>
                <a:gd name="connsiteY237" fmla="*/ 257367 h 2476692"/>
                <a:gd name="connsiteX238" fmla="*/ 529215 w 2614534"/>
                <a:gd name="connsiteY238" fmla="*/ 243079 h 2476692"/>
                <a:gd name="connsiteX239" fmla="*/ 538740 w 2614534"/>
                <a:gd name="connsiteY239" fmla="*/ 204979 h 2476692"/>
                <a:gd name="connsiteX240" fmla="*/ 548265 w 2614534"/>
                <a:gd name="connsiteY240" fmla="*/ 185929 h 2476692"/>
                <a:gd name="connsiteX241" fmla="*/ 553028 w 2614534"/>
                <a:gd name="connsiteY241" fmla="*/ 171642 h 2476692"/>
                <a:gd name="connsiteX242" fmla="*/ 562553 w 2614534"/>
                <a:gd name="connsiteY242" fmla="*/ 157354 h 2476692"/>
                <a:gd name="connsiteX243" fmla="*/ 567315 w 2614534"/>
                <a:gd name="connsiteY243" fmla="*/ 133542 h 2476692"/>
                <a:gd name="connsiteX244" fmla="*/ 576840 w 2614534"/>
                <a:gd name="connsiteY244" fmla="*/ 100204 h 2476692"/>
                <a:gd name="connsiteX245" fmla="*/ 581603 w 2614534"/>
                <a:gd name="connsiteY245" fmla="*/ 81154 h 2476692"/>
                <a:gd name="connsiteX246" fmla="*/ 595890 w 2614534"/>
                <a:gd name="connsiteY246" fmla="*/ 33529 h 2476692"/>
                <a:gd name="connsiteX247" fmla="*/ 619703 w 2614534"/>
                <a:gd name="connsiteY247" fmla="*/ 192 h 2476692"/>
                <a:gd name="connsiteX248" fmla="*/ 621543 w 2614534"/>
                <a:gd name="connsiteY248" fmla="*/ 0 h 2476692"/>
                <a:gd name="connsiteX0" fmla="*/ 621543 w 2610427"/>
                <a:gd name="connsiteY0" fmla="*/ 0 h 2476692"/>
                <a:gd name="connsiteX1" fmla="*/ 637165 w 2610427"/>
                <a:gd name="connsiteY1" fmla="*/ 20829 h 2476692"/>
                <a:gd name="connsiteX2" fmla="*/ 643515 w 2610427"/>
                <a:gd name="connsiteY2" fmla="*/ 30354 h 2476692"/>
                <a:gd name="connsiteX3" fmla="*/ 646690 w 2610427"/>
                <a:gd name="connsiteY3" fmla="*/ 74804 h 2476692"/>
                <a:gd name="connsiteX4" fmla="*/ 656215 w 2610427"/>
                <a:gd name="connsiteY4" fmla="*/ 100204 h 2476692"/>
                <a:gd name="connsiteX5" fmla="*/ 757815 w 2610427"/>
                <a:gd name="connsiteY5" fmla="*/ 119254 h 2476692"/>
                <a:gd name="connsiteX6" fmla="*/ 780040 w 2610427"/>
                <a:gd name="connsiteY6" fmla="*/ 135129 h 2476692"/>
                <a:gd name="connsiteX7" fmla="*/ 789565 w 2610427"/>
                <a:gd name="connsiteY7" fmla="*/ 138304 h 2476692"/>
                <a:gd name="connsiteX8" fmla="*/ 808615 w 2610427"/>
                <a:gd name="connsiteY8" fmla="*/ 154179 h 2476692"/>
                <a:gd name="connsiteX9" fmla="*/ 824490 w 2610427"/>
                <a:gd name="connsiteY9" fmla="*/ 176404 h 2476692"/>
                <a:gd name="connsiteX10" fmla="*/ 827665 w 2610427"/>
                <a:gd name="connsiteY10" fmla="*/ 185929 h 2476692"/>
                <a:gd name="connsiteX11" fmla="*/ 853065 w 2610427"/>
                <a:gd name="connsiteY11" fmla="*/ 201804 h 2476692"/>
                <a:gd name="connsiteX12" fmla="*/ 929265 w 2610427"/>
                <a:gd name="connsiteY12" fmla="*/ 220854 h 2476692"/>
                <a:gd name="connsiteX13" fmla="*/ 957840 w 2610427"/>
                <a:gd name="connsiteY13" fmla="*/ 198629 h 2476692"/>
                <a:gd name="connsiteX14" fmla="*/ 980065 w 2610427"/>
                <a:gd name="connsiteY14" fmla="*/ 182754 h 2476692"/>
                <a:gd name="connsiteX15" fmla="*/ 989590 w 2610427"/>
                <a:gd name="connsiteY15" fmla="*/ 176404 h 2476692"/>
                <a:gd name="connsiteX16" fmla="*/ 1011815 w 2610427"/>
                <a:gd name="connsiteY16" fmla="*/ 173229 h 2476692"/>
                <a:gd name="connsiteX17" fmla="*/ 1027690 w 2610427"/>
                <a:gd name="connsiteY17" fmla="*/ 166879 h 2476692"/>
                <a:gd name="connsiteX18" fmla="*/ 1094365 w 2610427"/>
                <a:gd name="connsiteY18" fmla="*/ 220854 h 2476692"/>
                <a:gd name="connsiteX19" fmla="*/ 1186440 w 2610427"/>
                <a:gd name="connsiteY19" fmla="*/ 217679 h 2476692"/>
                <a:gd name="connsiteX20" fmla="*/ 1278515 w 2610427"/>
                <a:gd name="connsiteY20" fmla="*/ 170054 h 2476692"/>
                <a:gd name="connsiteX21" fmla="*/ 1326140 w 2610427"/>
                <a:gd name="connsiteY21" fmla="*/ 74804 h 2476692"/>
                <a:gd name="connsiteX22" fmla="*/ 1373765 w 2610427"/>
                <a:gd name="connsiteY22" fmla="*/ 122429 h 2476692"/>
                <a:gd name="connsiteX23" fmla="*/ 1459490 w 2610427"/>
                <a:gd name="connsiteY23" fmla="*/ 144654 h 2476692"/>
                <a:gd name="connsiteX24" fmla="*/ 1589665 w 2610427"/>
                <a:gd name="connsiteY24" fmla="*/ 144654 h 2476692"/>
                <a:gd name="connsiteX25" fmla="*/ 1697615 w 2610427"/>
                <a:gd name="connsiteY25" fmla="*/ 97029 h 2476692"/>
                <a:gd name="connsiteX26" fmla="*/ 1726190 w 2610427"/>
                <a:gd name="connsiteY26" fmla="*/ 103379 h 2476692"/>
                <a:gd name="connsiteX27" fmla="*/ 1738890 w 2610427"/>
                <a:gd name="connsiteY27" fmla="*/ 122429 h 2476692"/>
                <a:gd name="connsiteX28" fmla="*/ 1732540 w 2610427"/>
                <a:gd name="connsiteY28" fmla="*/ 141479 h 2476692"/>
                <a:gd name="connsiteX29" fmla="*/ 1723015 w 2610427"/>
                <a:gd name="connsiteY29" fmla="*/ 154179 h 2476692"/>
                <a:gd name="connsiteX30" fmla="*/ 1802390 w 2610427"/>
                <a:gd name="connsiteY30" fmla="*/ 144654 h 2476692"/>
                <a:gd name="connsiteX31" fmla="*/ 1824615 w 2610427"/>
                <a:gd name="connsiteY31" fmla="*/ 160529 h 2476692"/>
                <a:gd name="connsiteX32" fmla="*/ 1827790 w 2610427"/>
                <a:gd name="connsiteY32" fmla="*/ 195454 h 2476692"/>
                <a:gd name="connsiteX33" fmla="*/ 1834140 w 2610427"/>
                <a:gd name="connsiteY33" fmla="*/ 217679 h 2476692"/>
                <a:gd name="connsiteX34" fmla="*/ 1840490 w 2610427"/>
                <a:gd name="connsiteY34" fmla="*/ 230379 h 2476692"/>
                <a:gd name="connsiteX35" fmla="*/ 1846840 w 2610427"/>
                <a:gd name="connsiteY35" fmla="*/ 239904 h 2476692"/>
                <a:gd name="connsiteX36" fmla="*/ 1846840 w 2610427"/>
                <a:gd name="connsiteY36" fmla="*/ 249429 h 2476692"/>
                <a:gd name="connsiteX37" fmla="*/ 1916690 w 2610427"/>
                <a:gd name="connsiteY37" fmla="*/ 274829 h 2476692"/>
                <a:gd name="connsiteX38" fmla="*/ 1945265 w 2610427"/>
                <a:gd name="connsiteY38" fmla="*/ 268479 h 2476692"/>
                <a:gd name="connsiteX39" fmla="*/ 1961140 w 2610427"/>
                <a:gd name="connsiteY39" fmla="*/ 274829 h 2476692"/>
                <a:gd name="connsiteX40" fmla="*/ 1977015 w 2610427"/>
                <a:gd name="connsiteY40" fmla="*/ 293879 h 2476692"/>
                <a:gd name="connsiteX41" fmla="*/ 2002415 w 2610427"/>
                <a:gd name="connsiteY41" fmla="*/ 297054 h 2476692"/>
                <a:gd name="connsiteX42" fmla="*/ 2002415 w 2610427"/>
                <a:gd name="connsiteY42" fmla="*/ 344679 h 2476692"/>
                <a:gd name="connsiteX43" fmla="*/ 1998496 w 2610427"/>
                <a:gd name="connsiteY43" fmla="*/ 359366 h 2476692"/>
                <a:gd name="connsiteX44" fmla="*/ 1997699 w 2610427"/>
                <a:gd name="connsiteY44" fmla="*/ 359161 h 2476692"/>
                <a:gd name="connsiteX45" fmla="*/ 1996509 w 2610427"/>
                <a:gd name="connsiteY45" fmla="*/ 357863 h 2476692"/>
                <a:gd name="connsiteX46" fmla="*/ 1996082 w 2610427"/>
                <a:gd name="connsiteY46" fmla="*/ 354482 h 2476692"/>
                <a:gd name="connsiteX47" fmla="*/ 1996065 w 2610427"/>
                <a:gd name="connsiteY47" fmla="*/ 357379 h 2476692"/>
                <a:gd name="connsiteX48" fmla="*/ 1996509 w 2610427"/>
                <a:gd name="connsiteY48" fmla="*/ 357863 h 2476692"/>
                <a:gd name="connsiteX49" fmla="*/ 1996639 w 2610427"/>
                <a:gd name="connsiteY49" fmla="*/ 358889 h 2476692"/>
                <a:gd name="connsiteX50" fmla="*/ 1997699 w 2610427"/>
                <a:gd name="connsiteY50" fmla="*/ 359161 h 2476692"/>
                <a:gd name="connsiteX51" fmla="*/ 2030990 w 2610427"/>
                <a:gd name="connsiteY51" fmla="*/ 395479 h 2476692"/>
                <a:gd name="connsiteX52" fmla="*/ 2059565 w 2610427"/>
                <a:gd name="connsiteY52" fmla="*/ 385954 h 2476692"/>
                <a:gd name="connsiteX53" fmla="*/ 2069090 w 2610427"/>
                <a:gd name="connsiteY53" fmla="*/ 379604 h 2476692"/>
                <a:gd name="connsiteX54" fmla="*/ 2078615 w 2610427"/>
                <a:gd name="connsiteY54" fmla="*/ 376429 h 2476692"/>
                <a:gd name="connsiteX55" fmla="*/ 2116715 w 2610427"/>
                <a:gd name="connsiteY55" fmla="*/ 379604 h 2476692"/>
                <a:gd name="connsiteX56" fmla="*/ 2119890 w 2610427"/>
                <a:gd name="connsiteY56" fmla="*/ 411354 h 2476692"/>
                <a:gd name="connsiteX57" fmla="*/ 2129415 w 2610427"/>
                <a:gd name="connsiteY57" fmla="*/ 443104 h 2476692"/>
                <a:gd name="connsiteX58" fmla="*/ 2132590 w 2610427"/>
                <a:gd name="connsiteY58" fmla="*/ 452629 h 2476692"/>
                <a:gd name="connsiteX59" fmla="*/ 2135765 w 2610427"/>
                <a:gd name="connsiteY59" fmla="*/ 462154 h 2476692"/>
                <a:gd name="connsiteX60" fmla="*/ 2142115 w 2610427"/>
                <a:gd name="connsiteY60" fmla="*/ 493904 h 2476692"/>
                <a:gd name="connsiteX61" fmla="*/ 2138940 w 2610427"/>
                <a:gd name="connsiteY61" fmla="*/ 532004 h 2476692"/>
                <a:gd name="connsiteX62" fmla="*/ 2110365 w 2610427"/>
                <a:gd name="connsiteY62" fmla="*/ 547879 h 2476692"/>
                <a:gd name="connsiteX63" fmla="*/ 2097665 w 2610427"/>
                <a:gd name="connsiteY63" fmla="*/ 557404 h 2476692"/>
                <a:gd name="connsiteX64" fmla="*/ 2094490 w 2610427"/>
                <a:gd name="connsiteY64" fmla="*/ 582804 h 2476692"/>
                <a:gd name="connsiteX65" fmla="*/ 2104015 w 2610427"/>
                <a:gd name="connsiteY65" fmla="*/ 608204 h 2476692"/>
                <a:gd name="connsiteX66" fmla="*/ 2110365 w 2610427"/>
                <a:gd name="connsiteY66" fmla="*/ 617729 h 2476692"/>
                <a:gd name="connsiteX67" fmla="*/ 2116715 w 2610427"/>
                <a:gd name="connsiteY67" fmla="*/ 643129 h 2476692"/>
                <a:gd name="connsiteX68" fmla="*/ 2119890 w 2610427"/>
                <a:gd name="connsiteY68" fmla="*/ 719329 h 2476692"/>
                <a:gd name="connsiteX69" fmla="*/ 2123065 w 2610427"/>
                <a:gd name="connsiteY69" fmla="*/ 728854 h 2476692"/>
                <a:gd name="connsiteX70" fmla="*/ 2142115 w 2610427"/>
                <a:gd name="connsiteY70" fmla="*/ 741554 h 2476692"/>
                <a:gd name="connsiteX71" fmla="*/ 2161165 w 2610427"/>
                <a:gd name="connsiteY71" fmla="*/ 738379 h 2476692"/>
                <a:gd name="connsiteX72" fmla="*/ 2170690 w 2610427"/>
                <a:gd name="connsiteY72" fmla="*/ 732029 h 2476692"/>
                <a:gd name="connsiteX73" fmla="*/ 2183390 w 2610427"/>
                <a:gd name="connsiteY73" fmla="*/ 725679 h 2476692"/>
                <a:gd name="connsiteX74" fmla="*/ 2192915 w 2610427"/>
                <a:gd name="connsiteY74" fmla="*/ 719329 h 2476692"/>
                <a:gd name="connsiteX75" fmla="*/ 2211965 w 2610427"/>
                <a:gd name="connsiteY75" fmla="*/ 712979 h 2476692"/>
                <a:gd name="connsiteX76" fmla="*/ 2259590 w 2610427"/>
                <a:gd name="connsiteY76" fmla="*/ 716154 h 2476692"/>
                <a:gd name="connsiteX77" fmla="*/ 2262765 w 2610427"/>
                <a:gd name="connsiteY77" fmla="*/ 732029 h 2476692"/>
                <a:gd name="connsiteX78" fmla="*/ 2272290 w 2610427"/>
                <a:gd name="connsiteY78" fmla="*/ 751079 h 2476692"/>
                <a:gd name="connsiteX79" fmla="*/ 2297690 w 2610427"/>
                <a:gd name="connsiteY79" fmla="*/ 754254 h 2476692"/>
                <a:gd name="connsiteX80" fmla="*/ 2329440 w 2610427"/>
                <a:gd name="connsiteY80" fmla="*/ 738379 h 2476692"/>
                <a:gd name="connsiteX81" fmla="*/ 2338965 w 2610427"/>
                <a:gd name="connsiteY81" fmla="*/ 735204 h 2476692"/>
                <a:gd name="connsiteX82" fmla="*/ 2367540 w 2610427"/>
                <a:gd name="connsiteY82" fmla="*/ 722504 h 2476692"/>
                <a:gd name="connsiteX83" fmla="*/ 2377065 w 2610427"/>
                <a:gd name="connsiteY83" fmla="*/ 719329 h 2476692"/>
                <a:gd name="connsiteX84" fmla="*/ 2391809 w 2610427"/>
                <a:gd name="connsiteY84" fmla="*/ 719329 h 2476692"/>
                <a:gd name="connsiteX85" fmla="*/ 2510414 w 2610427"/>
                <a:gd name="connsiteY85" fmla="*/ 1050323 h 2476692"/>
                <a:gd name="connsiteX86" fmla="*/ 2593759 w 2610427"/>
                <a:gd name="connsiteY86" fmla="*/ 1257492 h 2476692"/>
                <a:gd name="connsiteX87" fmla="*/ 2610427 w 2610427"/>
                <a:gd name="connsiteY87" fmla="*/ 1350360 h 2476692"/>
                <a:gd name="connsiteX88" fmla="*/ 2605665 w 2610427"/>
                <a:gd name="connsiteY88" fmla="*/ 1412273 h 2476692"/>
                <a:gd name="connsiteX89" fmla="*/ 2588996 w 2610427"/>
                <a:gd name="connsiteY89" fmla="*/ 1452754 h 2476692"/>
                <a:gd name="connsiteX90" fmla="*/ 2574709 w 2610427"/>
                <a:gd name="connsiteY90" fmla="*/ 1486092 h 2476692"/>
                <a:gd name="connsiteX91" fmla="*/ 2608046 w 2610427"/>
                <a:gd name="connsiteY91" fmla="*/ 1586104 h 2476692"/>
                <a:gd name="connsiteX92" fmla="*/ 2598522 w 2610427"/>
                <a:gd name="connsiteY92" fmla="*/ 1619442 h 2476692"/>
                <a:gd name="connsiteX93" fmla="*/ 2593759 w 2610427"/>
                <a:gd name="connsiteY93" fmla="*/ 1712310 h 2476692"/>
                <a:gd name="connsiteX94" fmla="*/ 2577090 w 2610427"/>
                <a:gd name="connsiteY94" fmla="*/ 1802798 h 2476692"/>
                <a:gd name="connsiteX95" fmla="*/ 2512796 w 2610427"/>
                <a:gd name="connsiteY95" fmla="*/ 1824229 h 2476692"/>
                <a:gd name="connsiteX96" fmla="*/ 2558040 w 2610427"/>
                <a:gd name="connsiteY96" fmla="*/ 1883760 h 2476692"/>
                <a:gd name="connsiteX97" fmla="*/ 2555659 w 2610427"/>
                <a:gd name="connsiteY97" fmla="*/ 1909954 h 2476692"/>
                <a:gd name="connsiteX98" fmla="*/ 2527084 w 2610427"/>
                <a:gd name="connsiteY98" fmla="*/ 1995679 h 2476692"/>
                <a:gd name="connsiteX99" fmla="*/ 2503271 w 2610427"/>
                <a:gd name="connsiteY99" fmla="*/ 1986154 h 2476692"/>
                <a:gd name="connsiteX100" fmla="*/ 2472315 w 2610427"/>
                <a:gd name="connsiteY100" fmla="*/ 1971867 h 2476692"/>
                <a:gd name="connsiteX101" fmla="*/ 2436596 w 2610427"/>
                <a:gd name="connsiteY101" fmla="*/ 1986154 h 2476692"/>
                <a:gd name="connsiteX102" fmla="*/ 2450884 w 2610427"/>
                <a:gd name="connsiteY102" fmla="*/ 2017110 h 2476692"/>
                <a:gd name="connsiteX103" fmla="*/ 2465171 w 2610427"/>
                <a:gd name="connsiteY103" fmla="*/ 2057592 h 2476692"/>
                <a:gd name="connsiteX104" fmla="*/ 2455646 w 2610427"/>
                <a:gd name="connsiteY104" fmla="*/ 2121885 h 2476692"/>
                <a:gd name="connsiteX105" fmla="*/ 2410403 w 2610427"/>
                <a:gd name="connsiteY105" fmla="*/ 2152842 h 2476692"/>
                <a:gd name="connsiteX106" fmla="*/ 2458028 w 2610427"/>
                <a:gd name="connsiteY106" fmla="*/ 2186180 h 2476692"/>
                <a:gd name="connsiteX107" fmla="*/ 2448503 w 2610427"/>
                <a:gd name="connsiteY107" fmla="*/ 2226660 h 2476692"/>
                <a:gd name="connsiteX108" fmla="*/ 2410403 w 2610427"/>
                <a:gd name="connsiteY108" fmla="*/ 2262379 h 2476692"/>
                <a:gd name="connsiteX109" fmla="*/ 2388971 w 2610427"/>
                <a:gd name="connsiteY109" fmla="*/ 2331435 h 2476692"/>
                <a:gd name="connsiteX110" fmla="*/ 2405640 w 2610427"/>
                <a:gd name="connsiteY110" fmla="*/ 2381442 h 2476692"/>
                <a:gd name="connsiteX111" fmla="*/ 2391353 w 2610427"/>
                <a:gd name="connsiteY111" fmla="*/ 2414779 h 2476692"/>
                <a:gd name="connsiteX112" fmla="*/ 2334203 w 2610427"/>
                <a:gd name="connsiteY112" fmla="*/ 2433829 h 2476692"/>
                <a:gd name="connsiteX113" fmla="*/ 2305628 w 2610427"/>
                <a:gd name="connsiteY113" fmla="*/ 2443354 h 2476692"/>
                <a:gd name="connsiteX114" fmla="*/ 2296103 w 2610427"/>
                <a:gd name="connsiteY114" fmla="*/ 2457642 h 2476692"/>
                <a:gd name="connsiteX115" fmla="*/ 2262765 w 2610427"/>
                <a:gd name="connsiteY115" fmla="*/ 2462404 h 2476692"/>
                <a:gd name="connsiteX116" fmla="*/ 2229428 w 2610427"/>
                <a:gd name="connsiteY116" fmla="*/ 2438592 h 2476692"/>
                <a:gd name="connsiteX117" fmla="*/ 2215140 w 2610427"/>
                <a:gd name="connsiteY117" fmla="*/ 2433829 h 2476692"/>
                <a:gd name="connsiteX118" fmla="*/ 2205615 w 2610427"/>
                <a:gd name="connsiteY118" fmla="*/ 2457642 h 2476692"/>
                <a:gd name="connsiteX119" fmla="*/ 2191328 w 2610427"/>
                <a:gd name="connsiteY119" fmla="*/ 2467167 h 2476692"/>
                <a:gd name="connsiteX120" fmla="*/ 2153228 w 2610427"/>
                <a:gd name="connsiteY120" fmla="*/ 2476692 h 2476692"/>
                <a:gd name="connsiteX121" fmla="*/ 2134178 w 2610427"/>
                <a:gd name="connsiteY121" fmla="*/ 2448117 h 2476692"/>
                <a:gd name="connsiteX122" fmla="*/ 2124653 w 2610427"/>
                <a:gd name="connsiteY122" fmla="*/ 2433829 h 2476692"/>
                <a:gd name="connsiteX123" fmla="*/ 2119890 w 2610427"/>
                <a:gd name="connsiteY123" fmla="*/ 2352867 h 2476692"/>
                <a:gd name="connsiteX124" fmla="*/ 2124653 w 2610427"/>
                <a:gd name="connsiteY124" fmla="*/ 2338579 h 2476692"/>
                <a:gd name="connsiteX125" fmla="*/ 2167515 w 2610427"/>
                <a:gd name="connsiteY125" fmla="*/ 2290954 h 2476692"/>
                <a:gd name="connsiteX126" fmla="*/ 2177040 w 2610427"/>
                <a:gd name="connsiteY126" fmla="*/ 2276667 h 2476692"/>
                <a:gd name="connsiteX127" fmla="*/ 2153228 w 2610427"/>
                <a:gd name="connsiteY127" fmla="*/ 2248092 h 2476692"/>
                <a:gd name="connsiteX128" fmla="*/ 2134178 w 2610427"/>
                <a:gd name="connsiteY128" fmla="*/ 2238567 h 2476692"/>
                <a:gd name="connsiteX129" fmla="*/ 2129415 w 2610427"/>
                <a:gd name="connsiteY129" fmla="*/ 2214754 h 2476692"/>
                <a:gd name="connsiteX130" fmla="*/ 2148465 w 2610427"/>
                <a:gd name="connsiteY130" fmla="*/ 2186179 h 2476692"/>
                <a:gd name="connsiteX131" fmla="*/ 2167515 w 2610427"/>
                <a:gd name="connsiteY131" fmla="*/ 2190942 h 2476692"/>
                <a:gd name="connsiteX132" fmla="*/ 2229428 w 2610427"/>
                <a:gd name="connsiteY132" fmla="*/ 2186179 h 2476692"/>
                <a:gd name="connsiteX133" fmla="*/ 2234190 w 2610427"/>
                <a:gd name="connsiteY133" fmla="*/ 2171892 h 2476692"/>
                <a:gd name="connsiteX134" fmla="*/ 2224665 w 2610427"/>
                <a:gd name="connsiteY134" fmla="*/ 2143317 h 2476692"/>
                <a:gd name="connsiteX135" fmla="*/ 2210378 w 2610427"/>
                <a:gd name="connsiteY135" fmla="*/ 2129029 h 2476692"/>
                <a:gd name="connsiteX136" fmla="*/ 2191328 w 2610427"/>
                <a:gd name="connsiteY136" fmla="*/ 2119504 h 2476692"/>
                <a:gd name="connsiteX137" fmla="*/ 2162753 w 2610427"/>
                <a:gd name="connsiteY137" fmla="*/ 2114742 h 2476692"/>
                <a:gd name="connsiteX138" fmla="*/ 2157990 w 2610427"/>
                <a:gd name="connsiteY138" fmla="*/ 2095692 h 2476692"/>
                <a:gd name="connsiteX139" fmla="*/ 2181803 w 2610427"/>
                <a:gd name="connsiteY139" fmla="*/ 2062354 h 2476692"/>
                <a:gd name="connsiteX140" fmla="*/ 2191328 w 2610427"/>
                <a:gd name="connsiteY140" fmla="*/ 2048067 h 2476692"/>
                <a:gd name="connsiteX141" fmla="*/ 2196090 w 2610427"/>
                <a:gd name="connsiteY141" fmla="*/ 1986154 h 2476692"/>
                <a:gd name="connsiteX142" fmla="*/ 2186565 w 2610427"/>
                <a:gd name="connsiteY142" fmla="*/ 1957579 h 2476692"/>
                <a:gd name="connsiteX143" fmla="*/ 2162753 w 2610427"/>
                <a:gd name="connsiteY143" fmla="*/ 1952817 h 2476692"/>
                <a:gd name="connsiteX144" fmla="*/ 2134178 w 2610427"/>
                <a:gd name="connsiteY144" fmla="*/ 1971867 h 2476692"/>
                <a:gd name="connsiteX145" fmla="*/ 2124653 w 2610427"/>
                <a:gd name="connsiteY145" fmla="*/ 1986154 h 2476692"/>
                <a:gd name="connsiteX146" fmla="*/ 2105603 w 2610427"/>
                <a:gd name="connsiteY146" fmla="*/ 2005204 h 2476692"/>
                <a:gd name="connsiteX147" fmla="*/ 2072265 w 2610427"/>
                <a:gd name="connsiteY147" fmla="*/ 2038542 h 2476692"/>
                <a:gd name="connsiteX148" fmla="*/ 2057978 w 2610427"/>
                <a:gd name="connsiteY148" fmla="*/ 2048067 h 2476692"/>
                <a:gd name="connsiteX149" fmla="*/ 2029403 w 2610427"/>
                <a:gd name="connsiteY149" fmla="*/ 2052829 h 2476692"/>
                <a:gd name="connsiteX150" fmla="*/ 2019878 w 2610427"/>
                <a:gd name="connsiteY150" fmla="*/ 2009967 h 2476692"/>
                <a:gd name="connsiteX151" fmla="*/ 1991303 w 2610427"/>
                <a:gd name="connsiteY151" fmla="*/ 1986154 h 2476692"/>
                <a:gd name="connsiteX152" fmla="*/ 1962728 w 2610427"/>
                <a:gd name="connsiteY152" fmla="*/ 1976629 h 2476692"/>
                <a:gd name="connsiteX153" fmla="*/ 1948440 w 2610427"/>
                <a:gd name="connsiteY153" fmla="*/ 1990917 h 2476692"/>
                <a:gd name="connsiteX154" fmla="*/ 1910340 w 2610427"/>
                <a:gd name="connsiteY154" fmla="*/ 2000442 h 2476692"/>
                <a:gd name="connsiteX155" fmla="*/ 1891290 w 2610427"/>
                <a:gd name="connsiteY155" fmla="*/ 1971867 h 2476692"/>
                <a:gd name="connsiteX156" fmla="*/ 1886528 w 2610427"/>
                <a:gd name="connsiteY156" fmla="*/ 1952817 h 2476692"/>
                <a:gd name="connsiteX157" fmla="*/ 1881765 w 2610427"/>
                <a:gd name="connsiteY157" fmla="*/ 1929004 h 2476692"/>
                <a:gd name="connsiteX158" fmla="*/ 1877003 w 2610427"/>
                <a:gd name="connsiteY158" fmla="*/ 1886142 h 2476692"/>
                <a:gd name="connsiteX159" fmla="*/ 1862715 w 2610427"/>
                <a:gd name="connsiteY159" fmla="*/ 1871854 h 2476692"/>
                <a:gd name="connsiteX160" fmla="*/ 1853190 w 2610427"/>
                <a:gd name="connsiteY160" fmla="*/ 1857567 h 2476692"/>
                <a:gd name="connsiteX161" fmla="*/ 1824615 w 2610427"/>
                <a:gd name="connsiteY161" fmla="*/ 1838517 h 2476692"/>
                <a:gd name="connsiteX162" fmla="*/ 1819853 w 2610427"/>
                <a:gd name="connsiteY162" fmla="*/ 1819467 h 2476692"/>
                <a:gd name="connsiteX163" fmla="*/ 1834140 w 2610427"/>
                <a:gd name="connsiteY163" fmla="*/ 1814704 h 2476692"/>
                <a:gd name="connsiteX164" fmla="*/ 1848428 w 2610427"/>
                <a:gd name="connsiteY164" fmla="*/ 1809942 h 2476692"/>
                <a:gd name="connsiteX165" fmla="*/ 1862715 w 2610427"/>
                <a:gd name="connsiteY165" fmla="*/ 1805179 h 2476692"/>
                <a:gd name="connsiteX166" fmla="*/ 1891290 w 2610427"/>
                <a:gd name="connsiteY166" fmla="*/ 1795654 h 2476692"/>
                <a:gd name="connsiteX167" fmla="*/ 1896053 w 2610427"/>
                <a:gd name="connsiteY167" fmla="*/ 1781367 h 2476692"/>
                <a:gd name="connsiteX168" fmla="*/ 1900815 w 2610427"/>
                <a:gd name="connsiteY168" fmla="*/ 1762317 h 2476692"/>
                <a:gd name="connsiteX169" fmla="*/ 1891290 w 2610427"/>
                <a:gd name="connsiteY169" fmla="*/ 1676592 h 2476692"/>
                <a:gd name="connsiteX170" fmla="*/ 1719840 w 2610427"/>
                <a:gd name="connsiteY170" fmla="*/ 1671829 h 2476692"/>
                <a:gd name="connsiteX171" fmla="*/ 1710315 w 2610427"/>
                <a:gd name="connsiteY171" fmla="*/ 1690879 h 2476692"/>
                <a:gd name="connsiteX172" fmla="*/ 1696028 w 2610427"/>
                <a:gd name="connsiteY172" fmla="*/ 1709929 h 2476692"/>
                <a:gd name="connsiteX173" fmla="*/ 1681740 w 2610427"/>
                <a:gd name="connsiteY173" fmla="*/ 1724217 h 2476692"/>
                <a:gd name="connsiteX174" fmla="*/ 1676978 w 2610427"/>
                <a:gd name="connsiteY174" fmla="*/ 1738504 h 2476692"/>
                <a:gd name="connsiteX175" fmla="*/ 1667453 w 2610427"/>
                <a:gd name="connsiteY175" fmla="*/ 1762317 h 2476692"/>
                <a:gd name="connsiteX176" fmla="*/ 1643640 w 2610427"/>
                <a:gd name="connsiteY176" fmla="*/ 1795654 h 2476692"/>
                <a:gd name="connsiteX177" fmla="*/ 1291215 w 2610427"/>
                <a:gd name="connsiteY177" fmla="*/ 1938529 h 2476692"/>
                <a:gd name="connsiteX178" fmla="*/ 1162628 w 2610427"/>
                <a:gd name="connsiteY178" fmla="*/ 1833754 h 2476692"/>
                <a:gd name="connsiteX179" fmla="*/ 1091190 w 2610427"/>
                <a:gd name="connsiteY179" fmla="*/ 1843279 h 2476692"/>
                <a:gd name="connsiteX180" fmla="*/ 1014990 w 2610427"/>
                <a:gd name="connsiteY180" fmla="*/ 1786129 h 2476692"/>
                <a:gd name="connsiteX181" fmla="*/ 1024515 w 2610427"/>
                <a:gd name="connsiteY181" fmla="*/ 1733742 h 2476692"/>
                <a:gd name="connsiteX182" fmla="*/ 957840 w 2610427"/>
                <a:gd name="connsiteY182" fmla="*/ 1719454 h 2476692"/>
                <a:gd name="connsiteX183" fmla="*/ 767340 w 2610427"/>
                <a:gd name="connsiteY183" fmla="*/ 1671829 h 2476692"/>
                <a:gd name="connsiteX184" fmla="*/ 743528 w 2610427"/>
                <a:gd name="connsiteY184" fmla="*/ 1681354 h 2476692"/>
                <a:gd name="connsiteX185" fmla="*/ 729240 w 2610427"/>
                <a:gd name="connsiteY185" fmla="*/ 1686117 h 2476692"/>
                <a:gd name="connsiteX186" fmla="*/ 700665 w 2610427"/>
                <a:gd name="connsiteY186" fmla="*/ 1667067 h 2476692"/>
                <a:gd name="connsiteX187" fmla="*/ 657803 w 2610427"/>
                <a:gd name="connsiteY187" fmla="*/ 1624204 h 2476692"/>
                <a:gd name="connsiteX188" fmla="*/ 605415 w 2610427"/>
                <a:gd name="connsiteY188" fmla="*/ 1638492 h 2476692"/>
                <a:gd name="connsiteX189" fmla="*/ 533978 w 2610427"/>
                <a:gd name="connsiteY189" fmla="*/ 1543242 h 2476692"/>
                <a:gd name="connsiteX190" fmla="*/ 548265 w 2610427"/>
                <a:gd name="connsiteY190" fmla="*/ 1528954 h 2476692"/>
                <a:gd name="connsiteX191" fmla="*/ 567315 w 2610427"/>
                <a:gd name="connsiteY191" fmla="*/ 1514667 h 2476692"/>
                <a:gd name="connsiteX192" fmla="*/ 581603 w 2610427"/>
                <a:gd name="connsiteY192" fmla="*/ 1476567 h 2476692"/>
                <a:gd name="connsiteX193" fmla="*/ 567315 w 2610427"/>
                <a:gd name="connsiteY193" fmla="*/ 1471804 h 2476692"/>
                <a:gd name="connsiteX194" fmla="*/ 543503 w 2610427"/>
                <a:gd name="connsiteY194" fmla="*/ 1462279 h 2476692"/>
                <a:gd name="connsiteX195" fmla="*/ 562553 w 2610427"/>
                <a:gd name="connsiteY195" fmla="*/ 1428942 h 2476692"/>
                <a:gd name="connsiteX196" fmla="*/ 567315 w 2610427"/>
                <a:gd name="connsiteY196" fmla="*/ 1414654 h 2476692"/>
                <a:gd name="connsiteX197" fmla="*/ 586365 w 2610427"/>
                <a:gd name="connsiteY197" fmla="*/ 1386079 h 2476692"/>
                <a:gd name="connsiteX198" fmla="*/ 619703 w 2610427"/>
                <a:gd name="connsiteY198" fmla="*/ 1362267 h 2476692"/>
                <a:gd name="connsiteX199" fmla="*/ 633990 w 2610427"/>
                <a:gd name="connsiteY199" fmla="*/ 1343217 h 2476692"/>
                <a:gd name="connsiteX200" fmla="*/ 662565 w 2610427"/>
                <a:gd name="connsiteY200" fmla="*/ 1319404 h 2476692"/>
                <a:gd name="connsiteX201" fmla="*/ 667328 w 2610427"/>
                <a:gd name="connsiteY201" fmla="*/ 1281304 h 2476692"/>
                <a:gd name="connsiteX202" fmla="*/ 638753 w 2610427"/>
                <a:gd name="connsiteY202" fmla="*/ 1267017 h 2476692"/>
                <a:gd name="connsiteX203" fmla="*/ 633990 w 2610427"/>
                <a:gd name="connsiteY203" fmla="*/ 1252729 h 2476692"/>
                <a:gd name="connsiteX204" fmla="*/ 643515 w 2610427"/>
                <a:gd name="connsiteY204" fmla="*/ 1238442 h 2476692"/>
                <a:gd name="connsiteX205" fmla="*/ 672090 w 2610427"/>
                <a:gd name="connsiteY205" fmla="*/ 1219392 h 2476692"/>
                <a:gd name="connsiteX206" fmla="*/ 672090 w 2610427"/>
                <a:gd name="connsiteY206" fmla="*/ 1162242 h 2476692"/>
                <a:gd name="connsiteX207" fmla="*/ 662565 w 2610427"/>
                <a:gd name="connsiteY207" fmla="*/ 1147954 h 2476692"/>
                <a:gd name="connsiteX208" fmla="*/ 619703 w 2610427"/>
                <a:gd name="connsiteY208" fmla="*/ 1167004 h 2476692"/>
                <a:gd name="connsiteX209" fmla="*/ 610178 w 2610427"/>
                <a:gd name="connsiteY209" fmla="*/ 1152717 h 2476692"/>
                <a:gd name="connsiteX210" fmla="*/ 605415 w 2610427"/>
                <a:gd name="connsiteY210" fmla="*/ 1105092 h 2476692"/>
                <a:gd name="connsiteX211" fmla="*/ 595890 w 2610427"/>
                <a:gd name="connsiteY211" fmla="*/ 1086042 h 2476692"/>
                <a:gd name="connsiteX212" fmla="*/ 576840 w 2610427"/>
                <a:gd name="connsiteY212" fmla="*/ 1057467 h 2476692"/>
                <a:gd name="connsiteX213" fmla="*/ 572078 w 2610427"/>
                <a:gd name="connsiteY213" fmla="*/ 1043179 h 2476692"/>
                <a:gd name="connsiteX214" fmla="*/ 562553 w 2610427"/>
                <a:gd name="connsiteY214" fmla="*/ 962217 h 2476692"/>
                <a:gd name="connsiteX215" fmla="*/ 462540 w 2610427"/>
                <a:gd name="connsiteY215" fmla="*/ 1043179 h 2476692"/>
                <a:gd name="connsiteX216" fmla="*/ 433965 w 2610427"/>
                <a:gd name="connsiteY216" fmla="*/ 952692 h 2476692"/>
                <a:gd name="connsiteX217" fmla="*/ 343478 w 2610427"/>
                <a:gd name="connsiteY217" fmla="*/ 862204 h 2476692"/>
                <a:gd name="connsiteX218" fmla="*/ 262515 w 2610427"/>
                <a:gd name="connsiteY218" fmla="*/ 871729 h 2476692"/>
                <a:gd name="connsiteX219" fmla="*/ 205365 w 2610427"/>
                <a:gd name="connsiteY219" fmla="*/ 919354 h 2476692"/>
                <a:gd name="connsiteX220" fmla="*/ 95828 w 2610427"/>
                <a:gd name="connsiteY220" fmla="*/ 986029 h 2476692"/>
                <a:gd name="connsiteX221" fmla="*/ 24390 w 2610427"/>
                <a:gd name="connsiteY221" fmla="*/ 986029 h 2476692"/>
                <a:gd name="connsiteX222" fmla="*/ 14865 w 2610427"/>
                <a:gd name="connsiteY222" fmla="*/ 947929 h 2476692"/>
                <a:gd name="connsiteX223" fmla="*/ 578 w 2610427"/>
                <a:gd name="connsiteY223" fmla="*/ 933642 h 2476692"/>
                <a:gd name="connsiteX224" fmla="*/ 5340 w 2610427"/>
                <a:gd name="connsiteY224" fmla="*/ 890779 h 2476692"/>
                <a:gd name="connsiteX225" fmla="*/ 57728 w 2610427"/>
                <a:gd name="connsiteY225" fmla="*/ 781242 h 2476692"/>
                <a:gd name="connsiteX226" fmla="*/ 238703 w 2610427"/>
                <a:gd name="connsiteY226" fmla="*/ 543117 h 2476692"/>
                <a:gd name="connsiteX227" fmla="*/ 333953 w 2610427"/>
                <a:gd name="connsiteY227" fmla="*/ 543117 h 2476692"/>
                <a:gd name="connsiteX228" fmla="*/ 429203 w 2610427"/>
                <a:gd name="connsiteY228" fmla="*/ 524067 h 2476692"/>
                <a:gd name="connsiteX229" fmla="*/ 467303 w 2610427"/>
                <a:gd name="connsiteY229" fmla="*/ 538354 h 2476692"/>
                <a:gd name="connsiteX230" fmla="*/ 481590 w 2610427"/>
                <a:gd name="connsiteY230" fmla="*/ 528829 h 2476692"/>
                <a:gd name="connsiteX231" fmla="*/ 486353 w 2610427"/>
                <a:gd name="connsiteY231" fmla="*/ 514542 h 2476692"/>
                <a:gd name="connsiteX232" fmla="*/ 491115 w 2610427"/>
                <a:gd name="connsiteY232" fmla="*/ 466917 h 2476692"/>
                <a:gd name="connsiteX233" fmla="*/ 481590 w 2610427"/>
                <a:gd name="connsiteY233" fmla="*/ 438342 h 2476692"/>
                <a:gd name="connsiteX234" fmla="*/ 462540 w 2610427"/>
                <a:gd name="connsiteY234" fmla="*/ 409767 h 2476692"/>
                <a:gd name="connsiteX235" fmla="*/ 472065 w 2610427"/>
                <a:gd name="connsiteY235" fmla="*/ 347854 h 2476692"/>
                <a:gd name="connsiteX236" fmla="*/ 505403 w 2610427"/>
                <a:gd name="connsiteY236" fmla="*/ 295467 h 2476692"/>
                <a:gd name="connsiteX237" fmla="*/ 514928 w 2610427"/>
                <a:gd name="connsiteY237" fmla="*/ 281179 h 2476692"/>
                <a:gd name="connsiteX238" fmla="*/ 519690 w 2610427"/>
                <a:gd name="connsiteY238" fmla="*/ 257367 h 2476692"/>
                <a:gd name="connsiteX239" fmla="*/ 529215 w 2610427"/>
                <a:gd name="connsiteY239" fmla="*/ 243079 h 2476692"/>
                <a:gd name="connsiteX240" fmla="*/ 538740 w 2610427"/>
                <a:gd name="connsiteY240" fmla="*/ 204979 h 2476692"/>
                <a:gd name="connsiteX241" fmla="*/ 548265 w 2610427"/>
                <a:gd name="connsiteY241" fmla="*/ 185929 h 2476692"/>
                <a:gd name="connsiteX242" fmla="*/ 553028 w 2610427"/>
                <a:gd name="connsiteY242" fmla="*/ 171642 h 2476692"/>
                <a:gd name="connsiteX243" fmla="*/ 562553 w 2610427"/>
                <a:gd name="connsiteY243" fmla="*/ 157354 h 2476692"/>
                <a:gd name="connsiteX244" fmla="*/ 567315 w 2610427"/>
                <a:gd name="connsiteY244" fmla="*/ 133542 h 2476692"/>
                <a:gd name="connsiteX245" fmla="*/ 576840 w 2610427"/>
                <a:gd name="connsiteY245" fmla="*/ 100204 h 2476692"/>
                <a:gd name="connsiteX246" fmla="*/ 581603 w 2610427"/>
                <a:gd name="connsiteY246" fmla="*/ 81154 h 2476692"/>
                <a:gd name="connsiteX247" fmla="*/ 595890 w 2610427"/>
                <a:gd name="connsiteY247" fmla="*/ 33529 h 2476692"/>
                <a:gd name="connsiteX248" fmla="*/ 619703 w 2610427"/>
                <a:gd name="connsiteY248" fmla="*/ 192 h 2476692"/>
                <a:gd name="connsiteX249" fmla="*/ 621543 w 2610427"/>
                <a:gd name="connsiteY249" fmla="*/ 0 h 2476692"/>
                <a:gd name="connsiteX0" fmla="*/ 621543 w 2610427"/>
                <a:gd name="connsiteY0" fmla="*/ 0 h 2476692"/>
                <a:gd name="connsiteX1" fmla="*/ 637165 w 2610427"/>
                <a:gd name="connsiteY1" fmla="*/ 20829 h 2476692"/>
                <a:gd name="connsiteX2" fmla="*/ 643515 w 2610427"/>
                <a:gd name="connsiteY2" fmla="*/ 30354 h 2476692"/>
                <a:gd name="connsiteX3" fmla="*/ 646690 w 2610427"/>
                <a:gd name="connsiteY3" fmla="*/ 74804 h 2476692"/>
                <a:gd name="connsiteX4" fmla="*/ 656215 w 2610427"/>
                <a:gd name="connsiteY4" fmla="*/ 100204 h 2476692"/>
                <a:gd name="connsiteX5" fmla="*/ 757815 w 2610427"/>
                <a:gd name="connsiteY5" fmla="*/ 119254 h 2476692"/>
                <a:gd name="connsiteX6" fmla="*/ 780040 w 2610427"/>
                <a:gd name="connsiteY6" fmla="*/ 135129 h 2476692"/>
                <a:gd name="connsiteX7" fmla="*/ 789565 w 2610427"/>
                <a:gd name="connsiteY7" fmla="*/ 138304 h 2476692"/>
                <a:gd name="connsiteX8" fmla="*/ 808615 w 2610427"/>
                <a:gd name="connsiteY8" fmla="*/ 154179 h 2476692"/>
                <a:gd name="connsiteX9" fmla="*/ 824490 w 2610427"/>
                <a:gd name="connsiteY9" fmla="*/ 176404 h 2476692"/>
                <a:gd name="connsiteX10" fmla="*/ 827665 w 2610427"/>
                <a:gd name="connsiteY10" fmla="*/ 185929 h 2476692"/>
                <a:gd name="connsiteX11" fmla="*/ 853065 w 2610427"/>
                <a:gd name="connsiteY11" fmla="*/ 201804 h 2476692"/>
                <a:gd name="connsiteX12" fmla="*/ 929265 w 2610427"/>
                <a:gd name="connsiteY12" fmla="*/ 220854 h 2476692"/>
                <a:gd name="connsiteX13" fmla="*/ 957840 w 2610427"/>
                <a:gd name="connsiteY13" fmla="*/ 198629 h 2476692"/>
                <a:gd name="connsiteX14" fmla="*/ 980065 w 2610427"/>
                <a:gd name="connsiteY14" fmla="*/ 182754 h 2476692"/>
                <a:gd name="connsiteX15" fmla="*/ 989590 w 2610427"/>
                <a:gd name="connsiteY15" fmla="*/ 176404 h 2476692"/>
                <a:gd name="connsiteX16" fmla="*/ 1011815 w 2610427"/>
                <a:gd name="connsiteY16" fmla="*/ 173229 h 2476692"/>
                <a:gd name="connsiteX17" fmla="*/ 1027690 w 2610427"/>
                <a:gd name="connsiteY17" fmla="*/ 166879 h 2476692"/>
                <a:gd name="connsiteX18" fmla="*/ 1094365 w 2610427"/>
                <a:gd name="connsiteY18" fmla="*/ 220854 h 2476692"/>
                <a:gd name="connsiteX19" fmla="*/ 1186440 w 2610427"/>
                <a:gd name="connsiteY19" fmla="*/ 217679 h 2476692"/>
                <a:gd name="connsiteX20" fmla="*/ 1278515 w 2610427"/>
                <a:gd name="connsiteY20" fmla="*/ 170054 h 2476692"/>
                <a:gd name="connsiteX21" fmla="*/ 1326140 w 2610427"/>
                <a:gd name="connsiteY21" fmla="*/ 74804 h 2476692"/>
                <a:gd name="connsiteX22" fmla="*/ 1373765 w 2610427"/>
                <a:gd name="connsiteY22" fmla="*/ 122429 h 2476692"/>
                <a:gd name="connsiteX23" fmla="*/ 1459490 w 2610427"/>
                <a:gd name="connsiteY23" fmla="*/ 144654 h 2476692"/>
                <a:gd name="connsiteX24" fmla="*/ 1589665 w 2610427"/>
                <a:gd name="connsiteY24" fmla="*/ 144654 h 2476692"/>
                <a:gd name="connsiteX25" fmla="*/ 1697615 w 2610427"/>
                <a:gd name="connsiteY25" fmla="*/ 97029 h 2476692"/>
                <a:gd name="connsiteX26" fmla="*/ 1726190 w 2610427"/>
                <a:gd name="connsiteY26" fmla="*/ 103379 h 2476692"/>
                <a:gd name="connsiteX27" fmla="*/ 1738890 w 2610427"/>
                <a:gd name="connsiteY27" fmla="*/ 122429 h 2476692"/>
                <a:gd name="connsiteX28" fmla="*/ 1732540 w 2610427"/>
                <a:gd name="connsiteY28" fmla="*/ 141479 h 2476692"/>
                <a:gd name="connsiteX29" fmla="*/ 1723015 w 2610427"/>
                <a:gd name="connsiteY29" fmla="*/ 154179 h 2476692"/>
                <a:gd name="connsiteX30" fmla="*/ 1802390 w 2610427"/>
                <a:gd name="connsiteY30" fmla="*/ 144654 h 2476692"/>
                <a:gd name="connsiteX31" fmla="*/ 1824615 w 2610427"/>
                <a:gd name="connsiteY31" fmla="*/ 160529 h 2476692"/>
                <a:gd name="connsiteX32" fmla="*/ 1827790 w 2610427"/>
                <a:gd name="connsiteY32" fmla="*/ 195454 h 2476692"/>
                <a:gd name="connsiteX33" fmla="*/ 1834140 w 2610427"/>
                <a:gd name="connsiteY33" fmla="*/ 217679 h 2476692"/>
                <a:gd name="connsiteX34" fmla="*/ 1840490 w 2610427"/>
                <a:gd name="connsiteY34" fmla="*/ 230379 h 2476692"/>
                <a:gd name="connsiteX35" fmla="*/ 1846840 w 2610427"/>
                <a:gd name="connsiteY35" fmla="*/ 239904 h 2476692"/>
                <a:gd name="connsiteX36" fmla="*/ 1846840 w 2610427"/>
                <a:gd name="connsiteY36" fmla="*/ 249429 h 2476692"/>
                <a:gd name="connsiteX37" fmla="*/ 1916690 w 2610427"/>
                <a:gd name="connsiteY37" fmla="*/ 274829 h 2476692"/>
                <a:gd name="connsiteX38" fmla="*/ 1945265 w 2610427"/>
                <a:gd name="connsiteY38" fmla="*/ 268479 h 2476692"/>
                <a:gd name="connsiteX39" fmla="*/ 1961140 w 2610427"/>
                <a:gd name="connsiteY39" fmla="*/ 274829 h 2476692"/>
                <a:gd name="connsiteX40" fmla="*/ 1977015 w 2610427"/>
                <a:gd name="connsiteY40" fmla="*/ 293879 h 2476692"/>
                <a:gd name="connsiteX41" fmla="*/ 2002415 w 2610427"/>
                <a:gd name="connsiteY41" fmla="*/ 297054 h 2476692"/>
                <a:gd name="connsiteX42" fmla="*/ 2002415 w 2610427"/>
                <a:gd name="connsiteY42" fmla="*/ 344679 h 2476692"/>
                <a:gd name="connsiteX43" fmla="*/ 1998496 w 2610427"/>
                <a:gd name="connsiteY43" fmla="*/ 359366 h 2476692"/>
                <a:gd name="connsiteX44" fmla="*/ 1997699 w 2610427"/>
                <a:gd name="connsiteY44" fmla="*/ 359161 h 2476692"/>
                <a:gd name="connsiteX45" fmla="*/ 1996509 w 2610427"/>
                <a:gd name="connsiteY45" fmla="*/ 357863 h 2476692"/>
                <a:gd name="connsiteX46" fmla="*/ 1996082 w 2610427"/>
                <a:gd name="connsiteY46" fmla="*/ 354482 h 2476692"/>
                <a:gd name="connsiteX47" fmla="*/ 1996065 w 2610427"/>
                <a:gd name="connsiteY47" fmla="*/ 357379 h 2476692"/>
                <a:gd name="connsiteX48" fmla="*/ 1996509 w 2610427"/>
                <a:gd name="connsiteY48" fmla="*/ 357863 h 2476692"/>
                <a:gd name="connsiteX49" fmla="*/ 1996639 w 2610427"/>
                <a:gd name="connsiteY49" fmla="*/ 358889 h 2476692"/>
                <a:gd name="connsiteX50" fmla="*/ 1997699 w 2610427"/>
                <a:gd name="connsiteY50" fmla="*/ 359161 h 2476692"/>
                <a:gd name="connsiteX51" fmla="*/ 2030990 w 2610427"/>
                <a:gd name="connsiteY51" fmla="*/ 395479 h 2476692"/>
                <a:gd name="connsiteX52" fmla="*/ 2059565 w 2610427"/>
                <a:gd name="connsiteY52" fmla="*/ 385954 h 2476692"/>
                <a:gd name="connsiteX53" fmla="*/ 2069090 w 2610427"/>
                <a:gd name="connsiteY53" fmla="*/ 379604 h 2476692"/>
                <a:gd name="connsiteX54" fmla="*/ 2078615 w 2610427"/>
                <a:gd name="connsiteY54" fmla="*/ 376429 h 2476692"/>
                <a:gd name="connsiteX55" fmla="*/ 2116715 w 2610427"/>
                <a:gd name="connsiteY55" fmla="*/ 379604 h 2476692"/>
                <a:gd name="connsiteX56" fmla="*/ 2119890 w 2610427"/>
                <a:gd name="connsiteY56" fmla="*/ 411354 h 2476692"/>
                <a:gd name="connsiteX57" fmla="*/ 2129415 w 2610427"/>
                <a:gd name="connsiteY57" fmla="*/ 443104 h 2476692"/>
                <a:gd name="connsiteX58" fmla="*/ 2132590 w 2610427"/>
                <a:gd name="connsiteY58" fmla="*/ 452629 h 2476692"/>
                <a:gd name="connsiteX59" fmla="*/ 2135765 w 2610427"/>
                <a:gd name="connsiteY59" fmla="*/ 462154 h 2476692"/>
                <a:gd name="connsiteX60" fmla="*/ 2142115 w 2610427"/>
                <a:gd name="connsiteY60" fmla="*/ 493904 h 2476692"/>
                <a:gd name="connsiteX61" fmla="*/ 2138940 w 2610427"/>
                <a:gd name="connsiteY61" fmla="*/ 532004 h 2476692"/>
                <a:gd name="connsiteX62" fmla="*/ 2110365 w 2610427"/>
                <a:gd name="connsiteY62" fmla="*/ 547879 h 2476692"/>
                <a:gd name="connsiteX63" fmla="*/ 2097665 w 2610427"/>
                <a:gd name="connsiteY63" fmla="*/ 557404 h 2476692"/>
                <a:gd name="connsiteX64" fmla="*/ 2094490 w 2610427"/>
                <a:gd name="connsiteY64" fmla="*/ 582804 h 2476692"/>
                <a:gd name="connsiteX65" fmla="*/ 2104015 w 2610427"/>
                <a:gd name="connsiteY65" fmla="*/ 608204 h 2476692"/>
                <a:gd name="connsiteX66" fmla="*/ 2110365 w 2610427"/>
                <a:gd name="connsiteY66" fmla="*/ 617729 h 2476692"/>
                <a:gd name="connsiteX67" fmla="*/ 2116715 w 2610427"/>
                <a:gd name="connsiteY67" fmla="*/ 643129 h 2476692"/>
                <a:gd name="connsiteX68" fmla="*/ 2119890 w 2610427"/>
                <a:gd name="connsiteY68" fmla="*/ 719329 h 2476692"/>
                <a:gd name="connsiteX69" fmla="*/ 2123065 w 2610427"/>
                <a:gd name="connsiteY69" fmla="*/ 728854 h 2476692"/>
                <a:gd name="connsiteX70" fmla="*/ 2142115 w 2610427"/>
                <a:gd name="connsiteY70" fmla="*/ 741554 h 2476692"/>
                <a:gd name="connsiteX71" fmla="*/ 2161165 w 2610427"/>
                <a:gd name="connsiteY71" fmla="*/ 738379 h 2476692"/>
                <a:gd name="connsiteX72" fmla="*/ 2170690 w 2610427"/>
                <a:gd name="connsiteY72" fmla="*/ 732029 h 2476692"/>
                <a:gd name="connsiteX73" fmla="*/ 2183390 w 2610427"/>
                <a:gd name="connsiteY73" fmla="*/ 725679 h 2476692"/>
                <a:gd name="connsiteX74" fmla="*/ 2192915 w 2610427"/>
                <a:gd name="connsiteY74" fmla="*/ 719329 h 2476692"/>
                <a:gd name="connsiteX75" fmla="*/ 2211965 w 2610427"/>
                <a:gd name="connsiteY75" fmla="*/ 712979 h 2476692"/>
                <a:gd name="connsiteX76" fmla="*/ 2259590 w 2610427"/>
                <a:gd name="connsiteY76" fmla="*/ 716154 h 2476692"/>
                <a:gd name="connsiteX77" fmla="*/ 2262765 w 2610427"/>
                <a:gd name="connsiteY77" fmla="*/ 732029 h 2476692"/>
                <a:gd name="connsiteX78" fmla="*/ 2272290 w 2610427"/>
                <a:gd name="connsiteY78" fmla="*/ 751079 h 2476692"/>
                <a:gd name="connsiteX79" fmla="*/ 2297690 w 2610427"/>
                <a:gd name="connsiteY79" fmla="*/ 754254 h 2476692"/>
                <a:gd name="connsiteX80" fmla="*/ 2329440 w 2610427"/>
                <a:gd name="connsiteY80" fmla="*/ 738379 h 2476692"/>
                <a:gd name="connsiteX81" fmla="*/ 2338965 w 2610427"/>
                <a:gd name="connsiteY81" fmla="*/ 735204 h 2476692"/>
                <a:gd name="connsiteX82" fmla="*/ 2367540 w 2610427"/>
                <a:gd name="connsiteY82" fmla="*/ 722504 h 2476692"/>
                <a:gd name="connsiteX83" fmla="*/ 2377065 w 2610427"/>
                <a:gd name="connsiteY83" fmla="*/ 719329 h 2476692"/>
                <a:gd name="connsiteX84" fmla="*/ 2391809 w 2610427"/>
                <a:gd name="connsiteY84" fmla="*/ 719329 h 2476692"/>
                <a:gd name="connsiteX85" fmla="*/ 2458028 w 2610427"/>
                <a:gd name="connsiteY85" fmla="*/ 1005079 h 2476692"/>
                <a:gd name="connsiteX86" fmla="*/ 2510414 w 2610427"/>
                <a:gd name="connsiteY86" fmla="*/ 1050323 h 2476692"/>
                <a:gd name="connsiteX87" fmla="*/ 2593759 w 2610427"/>
                <a:gd name="connsiteY87" fmla="*/ 1257492 h 2476692"/>
                <a:gd name="connsiteX88" fmla="*/ 2610427 w 2610427"/>
                <a:gd name="connsiteY88" fmla="*/ 1350360 h 2476692"/>
                <a:gd name="connsiteX89" fmla="*/ 2605665 w 2610427"/>
                <a:gd name="connsiteY89" fmla="*/ 1412273 h 2476692"/>
                <a:gd name="connsiteX90" fmla="*/ 2588996 w 2610427"/>
                <a:gd name="connsiteY90" fmla="*/ 1452754 h 2476692"/>
                <a:gd name="connsiteX91" fmla="*/ 2574709 w 2610427"/>
                <a:gd name="connsiteY91" fmla="*/ 1486092 h 2476692"/>
                <a:gd name="connsiteX92" fmla="*/ 2608046 w 2610427"/>
                <a:gd name="connsiteY92" fmla="*/ 1586104 h 2476692"/>
                <a:gd name="connsiteX93" fmla="*/ 2598522 w 2610427"/>
                <a:gd name="connsiteY93" fmla="*/ 1619442 h 2476692"/>
                <a:gd name="connsiteX94" fmla="*/ 2593759 w 2610427"/>
                <a:gd name="connsiteY94" fmla="*/ 1712310 h 2476692"/>
                <a:gd name="connsiteX95" fmla="*/ 2577090 w 2610427"/>
                <a:gd name="connsiteY95" fmla="*/ 1802798 h 2476692"/>
                <a:gd name="connsiteX96" fmla="*/ 2512796 w 2610427"/>
                <a:gd name="connsiteY96" fmla="*/ 1824229 h 2476692"/>
                <a:gd name="connsiteX97" fmla="*/ 2558040 w 2610427"/>
                <a:gd name="connsiteY97" fmla="*/ 1883760 h 2476692"/>
                <a:gd name="connsiteX98" fmla="*/ 2555659 w 2610427"/>
                <a:gd name="connsiteY98" fmla="*/ 1909954 h 2476692"/>
                <a:gd name="connsiteX99" fmla="*/ 2527084 w 2610427"/>
                <a:gd name="connsiteY99" fmla="*/ 1995679 h 2476692"/>
                <a:gd name="connsiteX100" fmla="*/ 2503271 w 2610427"/>
                <a:gd name="connsiteY100" fmla="*/ 1986154 h 2476692"/>
                <a:gd name="connsiteX101" fmla="*/ 2472315 w 2610427"/>
                <a:gd name="connsiteY101" fmla="*/ 1971867 h 2476692"/>
                <a:gd name="connsiteX102" fmla="*/ 2436596 w 2610427"/>
                <a:gd name="connsiteY102" fmla="*/ 1986154 h 2476692"/>
                <a:gd name="connsiteX103" fmla="*/ 2450884 w 2610427"/>
                <a:gd name="connsiteY103" fmla="*/ 2017110 h 2476692"/>
                <a:gd name="connsiteX104" fmla="*/ 2465171 w 2610427"/>
                <a:gd name="connsiteY104" fmla="*/ 2057592 h 2476692"/>
                <a:gd name="connsiteX105" fmla="*/ 2455646 w 2610427"/>
                <a:gd name="connsiteY105" fmla="*/ 2121885 h 2476692"/>
                <a:gd name="connsiteX106" fmla="*/ 2410403 w 2610427"/>
                <a:gd name="connsiteY106" fmla="*/ 2152842 h 2476692"/>
                <a:gd name="connsiteX107" fmla="*/ 2458028 w 2610427"/>
                <a:gd name="connsiteY107" fmla="*/ 2186180 h 2476692"/>
                <a:gd name="connsiteX108" fmla="*/ 2448503 w 2610427"/>
                <a:gd name="connsiteY108" fmla="*/ 2226660 h 2476692"/>
                <a:gd name="connsiteX109" fmla="*/ 2410403 w 2610427"/>
                <a:gd name="connsiteY109" fmla="*/ 2262379 h 2476692"/>
                <a:gd name="connsiteX110" fmla="*/ 2388971 w 2610427"/>
                <a:gd name="connsiteY110" fmla="*/ 2331435 h 2476692"/>
                <a:gd name="connsiteX111" fmla="*/ 2405640 w 2610427"/>
                <a:gd name="connsiteY111" fmla="*/ 2381442 h 2476692"/>
                <a:gd name="connsiteX112" fmla="*/ 2391353 w 2610427"/>
                <a:gd name="connsiteY112" fmla="*/ 2414779 h 2476692"/>
                <a:gd name="connsiteX113" fmla="*/ 2334203 w 2610427"/>
                <a:gd name="connsiteY113" fmla="*/ 2433829 h 2476692"/>
                <a:gd name="connsiteX114" fmla="*/ 2305628 w 2610427"/>
                <a:gd name="connsiteY114" fmla="*/ 2443354 h 2476692"/>
                <a:gd name="connsiteX115" fmla="*/ 2296103 w 2610427"/>
                <a:gd name="connsiteY115" fmla="*/ 2457642 h 2476692"/>
                <a:gd name="connsiteX116" fmla="*/ 2262765 w 2610427"/>
                <a:gd name="connsiteY116" fmla="*/ 2462404 h 2476692"/>
                <a:gd name="connsiteX117" fmla="*/ 2229428 w 2610427"/>
                <a:gd name="connsiteY117" fmla="*/ 2438592 h 2476692"/>
                <a:gd name="connsiteX118" fmla="*/ 2215140 w 2610427"/>
                <a:gd name="connsiteY118" fmla="*/ 2433829 h 2476692"/>
                <a:gd name="connsiteX119" fmla="*/ 2205615 w 2610427"/>
                <a:gd name="connsiteY119" fmla="*/ 2457642 h 2476692"/>
                <a:gd name="connsiteX120" fmla="*/ 2191328 w 2610427"/>
                <a:gd name="connsiteY120" fmla="*/ 2467167 h 2476692"/>
                <a:gd name="connsiteX121" fmla="*/ 2153228 w 2610427"/>
                <a:gd name="connsiteY121" fmla="*/ 2476692 h 2476692"/>
                <a:gd name="connsiteX122" fmla="*/ 2134178 w 2610427"/>
                <a:gd name="connsiteY122" fmla="*/ 2448117 h 2476692"/>
                <a:gd name="connsiteX123" fmla="*/ 2124653 w 2610427"/>
                <a:gd name="connsiteY123" fmla="*/ 2433829 h 2476692"/>
                <a:gd name="connsiteX124" fmla="*/ 2119890 w 2610427"/>
                <a:gd name="connsiteY124" fmla="*/ 2352867 h 2476692"/>
                <a:gd name="connsiteX125" fmla="*/ 2124653 w 2610427"/>
                <a:gd name="connsiteY125" fmla="*/ 2338579 h 2476692"/>
                <a:gd name="connsiteX126" fmla="*/ 2167515 w 2610427"/>
                <a:gd name="connsiteY126" fmla="*/ 2290954 h 2476692"/>
                <a:gd name="connsiteX127" fmla="*/ 2177040 w 2610427"/>
                <a:gd name="connsiteY127" fmla="*/ 2276667 h 2476692"/>
                <a:gd name="connsiteX128" fmla="*/ 2153228 w 2610427"/>
                <a:gd name="connsiteY128" fmla="*/ 2248092 h 2476692"/>
                <a:gd name="connsiteX129" fmla="*/ 2134178 w 2610427"/>
                <a:gd name="connsiteY129" fmla="*/ 2238567 h 2476692"/>
                <a:gd name="connsiteX130" fmla="*/ 2129415 w 2610427"/>
                <a:gd name="connsiteY130" fmla="*/ 2214754 h 2476692"/>
                <a:gd name="connsiteX131" fmla="*/ 2148465 w 2610427"/>
                <a:gd name="connsiteY131" fmla="*/ 2186179 h 2476692"/>
                <a:gd name="connsiteX132" fmla="*/ 2167515 w 2610427"/>
                <a:gd name="connsiteY132" fmla="*/ 2190942 h 2476692"/>
                <a:gd name="connsiteX133" fmla="*/ 2229428 w 2610427"/>
                <a:gd name="connsiteY133" fmla="*/ 2186179 h 2476692"/>
                <a:gd name="connsiteX134" fmla="*/ 2234190 w 2610427"/>
                <a:gd name="connsiteY134" fmla="*/ 2171892 h 2476692"/>
                <a:gd name="connsiteX135" fmla="*/ 2224665 w 2610427"/>
                <a:gd name="connsiteY135" fmla="*/ 2143317 h 2476692"/>
                <a:gd name="connsiteX136" fmla="*/ 2210378 w 2610427"/>
                <a:gd name="connsiteY136" fmla="*/ 2129029 h 2476692"/>
                <a:gd name="connsiteX137" fmla="*/ 2191328 w 2610427"/>
                <a:gd name="connsiteY137" fmla="*/ 2119504 h 2476692"/>
                <a:gd name="connsiteX138" fmla="*/ 2162753 w 2610427"/>
                <a:gd name="connsiteY138" fmla="*/ 2114742 h 2476692"/>
                <a:gd name="connsiteX139" fmla="*/ 2157990 w 2610427"/>
                <a:gd name="connsiteY139" fmla="*/ 2095692 h 2476692"/>
                <a:gd name="connsiteX140" fmla="*/ 2181803 w 2610427"/>
                <a:gd name="connsiteY140" fmla="*/ 2062354 h 2476692"/>
                <a:gd name="connsiteX141" fmla="*/ 2191328 w 2610427"/>
                <a:gd name="connsiteY141" fmla="*/ 2048067 h 2476692"/>
                <a:gd name="connsiteX142" fmla="*/ 2196090 w 2610427"/>
                <a:gd name="connsiteY142" fmla="*/ 1986154 h 2476692"/>
                <a:gd name="connsiteX143" fmla="*/ 2186565 w 2610427"/>
                <a:gd name="connsiteY143" fmla="*/ 1957579 h 2476692"/>
                <a:gd name="connsiteX144" fmla="*/ 2162753 w 2610427"/>
                <a:gd name="connsiteY144" fmla="*/ 1952817 h 2476692"/>
                <a:gd name="connsiteX145" fmla="*/ 2134178 w 2610427"/>
                <a:gd name="connsiteY145" fmla="*/ 1971867 h 2476692"/>
                <a:gd name="connsiteX146" fmla="*/ 2124653 w 2610427"/>
                <a:gd name="connsiteY146" fmla="*/ 1986154 h 2476692"/>
                <a:gd name="connsiteX147" fmla="*/ 2105603 w 2610427"/>
                <a:gd name="connsiteY147" fmla="*/ 2005204 h 2476692"/>
                <a:gd name="connsiteX148" fmla="*/ 2072265 w 2610427"/>
                <a:gd name="connsiteY148" fmla="*/ 2038542 h 2476692"/>
                <a:gd name="connsiteX149" fmla="*/ 2057978 w 2610427"/>
                <a:gd name="connsiteY149" fmla="*/ 2048067 h 2476692"/>
                <a:gd name="connsiteX150" fmla="*/ 2029403 w 2610427"/>
                <a:gd name="connsiteY150" fmla="*/ 2052829 h 2476692"/>
                <a:gd name="connsiteX151" fmla="*/ 2019878 w 2610427"/>
                <a:gd name="connsiteY151" fmla="*/ 2009967 h 2476692"/>
                <a:gd name="connsiteX152" fmla="*/ 1991303 w 2610427"/>
                <a:gd name="connsiteY152" fmla="*/ 1986154 h 2476692"/>
                <a:gd name="connsiteX153" fmla="*/ 1962728 w 2610427"/>
                <a:gd name="connsiteY153" fmla="*/ 1976629 h 2476692"/>
                <a:gd name="connsiteX154" fmla="*/ 1948440 w 2610427"/>
                <a:gd name="connsiteY154" fmla="*/ 1990917 h 2476692"/>
                <a:gd name="connsiteX155" fmla="*/ 1910340 w 2610427"/>
                <a:gd name="connsiteY155" fmla="*/ 2000442 h 2476692"/>
                <a:gd name="connsiteX156" fmla="*/ 1891290 w 2610427"/>
                <a:gd name="connsiteY156" fmla="*/ 1971867 h 2476692"/>
                <a:gd name="connsiteX157" fmla="*/ 1886528 w 2610427"/>
                <a:gd name="connsiteY157" fmla="*/ 1952817 h 2476692"/>
                <a:gd name="connsiteX158" fmla="*/ 1881765 w 2610427"/>
                <a:gd name="connsiteY158" fmla="*/ 1929004 h 2476692"/>
                <a:gd name="connsiteX159" fmla="*/ 1877003 w 2610427"/>
                <a:gd name="connsiteY159" fmla="*/ 1886142 h 2476692"/>
                <a:gd name="connsiteX160" fmla="*/ 1862715 w 2610427"/>
                <a:gd name="connsiteY160" fmla="*/ 1871854 h 2476692"/>
                <a:gd name="connsiteX161" fmla="*/ 1853190 w 2610427"/>
                <a:gd name="connsiteY161" fmla="*/ 1857567 h 2476692"/>
                <a:gd name="connsiteX162" fmla="*/ 1824615 w 2610427"/>
                <a:gd name="connsiteY162" fmla="*/ 1838517 h 2476692"/>
                <a:gd name="connsiteX163" fmla="*/ 1819853 w 2610427"/>
                <a:gd name="connsiteY163" fmla="*/ 1819467 h 2476692"/>
                <a:gd name="connsiteX164" fmla="*/ 1834140 w 2610427"/>
                <a:gd name="connsiteY164" fmla="*/ 1814704 h 2476692"/>
                <a:gd name="connsiteX165" fmla="*/ 1848428 w 2610427"/>
                <a:gd name="connsiteY165" fmla="*/ 1809942 h 2476692"/>
                <a:gd name="connsiteX166" fmla="*/ 1862715 w 2610427"/>
                <a:gd name="connsiteY166" fmla="*/ 1805179 h 2476692"/>
                <a:gd name="connsiteX167" fmla="*/ 1891290 w 2610427"/>
                <a:gd name="connsiteY167" fmla="*/ 1795654 h 2476692"/>
                <a:gd name="connsiteX168" fmla="*/ 1896053 w 2610427"/>
                <a:gd name="connsiteY168" fmla="*/ 1781367 h 2476692"/>
                <a:gd name="connsiteX169" fmla="*/ 1900815 w 2610427"/>
                <a:gd name="connsiteY169" fmla="*/ 1762317 h 2476692"/>
                <a:gd name="connsiteX170" fmla="*/ 1891290 w 2610427"/>
                <a:gd name="connsiteY170" fmla="*/ 1676592 h 2476692"/>
                <a:gd name="connsiteX171" fmla="*/ 1719840 w 2610427"/>
                <a:gd name="connsiteY171" fmla="*/ 1671829 h 2476692"/>
                <a:gd name="connsiteX172" fmla="*/ 1710315 w 2610427"/>
                <a:gd name="connsiteY172" fmla="*/ 1690879 h 2476692"/>
                <a:gd name="connsiteX173" fmla="*/ 1696028 w 2610427"/>
                <a:gd name="connsiteY173" fmla="*/ 1709929 h 2476692"/>
                <a:gd name="connsiteX174" fmla="*/ 1681740 w 2610427"/>
                <a:gd name="connsiteY174" fmla="*/ 1724217 h 2476692"/>
                <a:gd name="connsiteX175" fmla="*/ 1676978 w 2610427"/>
                <a:gd name="connsiteY175" fmla="*/ 1738504 h 2476692"/>
                <a:gd name="connsiteX176" fmla="*/ 1667453 w 2610427"/>
                <a:gd name="connsiteY176" fmla="*/ 1762317 h 2476692"/>
                <a:gd name="connsiteX177" fmla="*/ 1643640 w 2610427"/>
                <a:gd name="connsiteY177" fmla="*/ 1795654 h 2476692"/>
                <a:gd name="connsiteX178" fmla="*/ 1291215 w 2610427"/>
                <a:gd name="connsiteY178" fmla="*/ 1938529 h 2476692"/>
                <a:gd name="connsiteX179" fmla="*/ 1162628 w 2610427"/>
                <a:gd name="connsiteY179" fmla="*/ 1833754 h 2476692"/>
                <a:gd name="connsiteX180" fmla="*/ 1091190 w 2610427"/>
                <a:gd name="connsiteY180" fmla="*/ 1843279 h 2476692"/>
                <a:gd name="connsiteX181" fmla="*/ 1014990 w 2610427"/>
                <a:gd name="connsiteY181" fmla="*/ 1786129 h 2476692"/>
                <a:gd name="connsiteX182" fmla="*/ 1024515 w 2610427"/>
                <a:gd name="connsiteY182" fmla="*/ 1733742 h 2476692"/>
                <a:gd name="connsiteX183" fmla="*/ 957840 w 2610427"/>
                <a:gd name="connsiteY183" fmla="*/ 1719454 h 2476692"/>
                <a:gd name="connsiteX184" fmla="*/ 767340 w 2610427"/>
                <a:gd name="connsiteY184" fmla="*/ 1671829 h 2476692"/>
                <a:gd name="connsiteX185" fmla="*/ 743528 w 2610427"/>
                <a:gd name="connsiteY185" fmla="*/ 1681354 h 2476692"/>
                <a:gd name="connsiteX186" fmla="*/ 729240 w 2610427"/>
                <a:gd name="connsiteY186" fmla="*/ 1686117 h 2476692"/>
                <a:gd name="connsiteX187" fmla="*/ 700665 w 2610427"/>
                <a:gd name="connsiteY187" fmla="*/ 1667067 h 2476692"/>
                <a:gd name="connsiteX188" fmla="*/ 657803 w 2610427"/>
                <a:gd name="connsiteY188" fmla="*/ 1624204 h 2476692"/>
                <a:gd name="connsiteX189" fmla="*/ 605415 w 2610427"/>
                <a:gd name="connsiteY189" fmla="*/ 1638492 h 2476692"/>
                <a:gd name="connsiteX190" fmla="*/ 533978 w 2610427"/>
                <a:gd name="connsiteY190" fmla="*/ 1543242 h 2476692"/>
                <a:gd name="connsiteX191" fmla="*/ 548265 w 2610427"/>
                <a:gd name="connsiteY191" fmla="*/ 1528954 h 2476692"/>
                <a:gd name="connsiteX192" fmla="*/ 567315 w 2610427"/>
                <a:gd name="connsiteY192" fmla="*/ 1514667 h 2476692"/>
                <a:gd name="connsiteX193" fmla="*/ 581603 w 2610427"/>
                <a:gd name="connsiteY193" fmla="*/ 1476567 h 2476692"/>
                <a:gd name="connsiteX194" fmla="*/ 567315 w 2610427"/>
                <a:gd name="connsiteY194" fmla="*/ 1471804 h 2476692"/>
                <a:gd name="connsiteX195" fmla="*/ 543503 w 2610427"/>
                <a:gd name="connsiteY195" fmla="*/ 1462279 h 2476692"/>
                <a:gd name="connsiteX196" fmla="*/ 562553 w 2610427"/>
                <a:gd name="connsiteY196" fmla="*/ 1428942 h 2476692"/>
                <a:gd name="connsiteX197" fmla="*/ 567315 w 2610427"/>
                <a:gd name="connsiteY197" fmla="*/ 1414654 h 2476692"/>
                <a:gd name="connsiteX198" fmla="*/ 586365 w 2610427"/>
                <a:gd name="connsiteY198" fmla="*/ 1386079 h 2476692"/>
                <a:gd name="connsiteX199" fmla="*/ 619703 w 2610427"/>
                <a:gd name="connsiteY199" fmla="*/ 1362267 h 2476692"/>
                <a:gd name="connsiteX200" fmla="*/ 633990 w 2610427"/>
                <a:gd name="connsiteY200" fmla="*/ 1343217 h 2476692"/>
                <a:gd name="connsiteX201" fmla="*/ 662565 w 2610427"/>
                <a:gd name="connsiteY201" fmla="*/ 1319404 h 2476692"/>
                <a:gd name="connsiteX202" fmla="*/ 667328 w 2610427"/>
                <a:gd name="connsiteY202" fmla="*/ 1281304 h 2476692"/>
                <a:gd name="connsiteX203" fmla="*/ 638753 w 2610427"/>
                <a:gd name="connsiteY203" fmla="*/ 1267017 h 2476692"/>
                <a:gd name="connsiteX204" fmla="*/ 633990 w 2610427"/>
                <a:gd name="connsiteY204" fmla="*/ 1252729 h 2476692"/>
                <a:gd name="connsiteX205" fmla="*/ 643515 w 2610427"/>
                <a:gd name="connsiteY205" fmla="*/ 1238442 h 2476692"/>
                <a:gd name="connsiteX206" fmla="*/ 672090 w 2610427"/>
                <a:gd name="connsiteY206" fmla="*/ 1219392 h 2476692"/>
                <a:gd name="connsiteX207" fmla="*/ 672090 w 2610427"/>
                <a:gd name="connsiteY207" fmla="*/ 1162242 h 2476692"/>
                <a:gd name="connsiteX208" fmla="*/ 662565 w 2610427"/>
                <a:gd name="connsiteY208" fmla="*/ 1147954 h 2476692"/>
                <a:gd name="connsiteX209" fmla="*/ 619703 w 2610427"/>
                <a:gd name="connsiteY209" fmla="*/ 1167004 h 2476692"/>
                <a:gd name="connsiteX210" fmla="*/ 610178 w 2610427"/>
                <a:gd name="connsiteY210" fmla="*/ 1152717 h 2476692"/>
                <a:gd name="connsiteX211" fmla="*/ 605415 w 2610427"/>
                <a:gd name="connsiteY211" fmla="*/ 1105092 h 2476692"/>
                <a:gd name="connsiteX212" fmla="*/ 595890 w 2610427"/>
                <a:gd name="connsiteY212" fmla="*/ 1086042 h 2476692"/>
                <a:gd name="connsiteX213" fmla="*/ 576840 w 2610427"/>
                <a:gd name="connsiteY213" fmla="*/ 1057467 h 2476692"/>
                <a:gd name="connsiteX214" fmla="*/ 572078 w 2610427"/>
                <a:gd name="connsiteY214" fmla="*/ 1043179 h 2476692"/>
                <a:gd name="connsiteX215" fmla="*/ 562553 w 2610427"/>
                <a:gd name="connsiteY215" fmla="*/ 962217 h 2476692"/>
                <a:gd name="connsiteX216" fmla="*/ 462540 w 2610427"/>
                <a:gd name="connsiteY216" fmla="*/ 1043179 h 2476692"/>
                <a:gd name="connsiteX217" fmla="*/ 433965 w 2610427"/>
                <a:gd name="connsiteY217" fmla="*/ 952692 h 2476692"/>
                <a:gd name="connsiteX218" fmla="*/ 343478 w 2610427"/>
                <a:gd name="connsiteY218" fmla="*/ 862204 h 2476692"/>
                <a:gd name="connsiteX219" fmla="*/ 262515 w 2610427"/>
                <a:gd name="connsiteY219" fmla="*/ 871729 h 2476692"/>
                <a:gd name="connsiteX220" fmla="*/ 205365 w 2610427"/>
                <a:gd name="connsiteY220" fmla="*/ 919354 h 2476692"/>
                <a:gd name="connsiteX221" fmla="*/ 95828 w 2610427"/>
                <a:gd name="connsiteY221" fmla="*/ 986029 h 2476692"/>
                <a:gd name="connsiteX222" fmla="*/ 24390 w 2610427"/>
                <a:gd name="connsiteY222" fmla="*/ 986029 h 2476692"/>
                <a:gd name="connsiteX223" fmla="*/ 14865 w 2610427"/>
                <a:gd name="connsiteY223" fmla="*/ 947929 h 2476692"/>
                <a:gd name="connsiteX224" fmla="*/ 578 w 2610427"/>
                <a:gd name="connsiteY224" fmla="*/ 933642 h 2476692"/>
                <a:gd name="connsiteX225" fmla="*/ 5340 w 2610427"/>
                <a:gd name="connsiteY225" fmla="*/ 890779 h 2476692"/>
                <a:gd name="connsiteX226" fmla="*/ 57728 w 2610427"/>
                <a:gd name="connsiteY226" fmla="*/ 781242 h 2476692"/>
                <a:gd name="connsiteX227" fmla="*/ 238703 w 2610427"/>
                <a:gd name="connsiteY227" fmla="*/ 543117 h 2476692"/>
                <a:gd name="connsiteX228" fmla="*/ 333953 w 2610427"/>
                <a:gd name="connsiteY228" fmla="*/ 543117 h 2476692"/>
                <a:gd name="connsiteX229" fmla="*/ 429203 w 2610427"/>
                <a:gd name="connsiteY229" fmla="*/ 524067 h 2476692"/>
                <a:gd name="connsiteX230" fmla="*/ 467303 w 2610427"/>
                <a:gd name="connsiteY230" fmla="*/ 538354 h 2476692"/>
                <a:gd name="connsiteX231" fmla="*/ 481590 w 2610427"/>
                <a:gd name="connsiteY231" fmla="*/ 528829 h 2476692"/>
                <a:gd name="connsiteX232" fmla="*/ 486353 w 2610427"/>
                <a:gd name="connsiteY232" fmla="*/ 514542 h 2476692"/>
                <a:gd name="connsiteX233" fmla="*/ 491115 w 2610427"/>
                <a:gd name="connsiteY233" fmla="*/ 466917 h 2476692"/>
                <a:gd name="connsiteX234" fmla="*/ 481590 w 2610427"/>
                <a:gd name="connsiteY234" fmla="*/ 438342 h 2476692"/>
                <a:gd name="connsiteX235" fmla="*/ 462540 w 2610427"/>
                <a:gd name="connsiteY235" fmla="*/ 409767 h 2476692"/>
                <a:gd name="connsiteX236" fmla="*/ 472065 w 2610427"/>
                <a:gd name="connsiteY236" fmla="*/ 347854 h 2476692"/>
                <a:gd name="connsiteX237" fmla="*/ 505403 w 2610427"/>
                <a:gd name="connsiteY237" fmla="*/ 295467 h 2476692"/>
                <a:gd name="connsiteX238" fmla="*/ 514928 w 2610427"/>
                <a:gd name="connsiteY238" fmla="*/ 281179 h 2476692"/>
                <a:gd name="connsiteX239" fmla="*/ 519690 w 2610427"/>
                <a:gd name="connsiteY239" fmla="*/ 257367 h 2476692"/>
                <a:gd name="connsiteX240" fmla="*/ 529215 w 2610427"/>
                <a:gd name="connsiteY240" fmla="*/ 243079 h 2476692"/>
                <a:gd name="connsiteX241" fmla="*/ 538740 w 2610427"/>
                <a:gd name="connsiteY241" fmla="*/ 204979 h 2476692"/>
                <a:gd name="connsiteX242" fmla="*/ 548265 w 2610427"/>
                <a:gd name="connsiteY242" fmla="*/ 185929 h 2476692"/>
                <a:gd name="connsiteX243" fmla="*/ 553028 w 2610427"/>
                <a:gd name="connsiteY243" fmla="*/ 171642 h 2476692"/>
                <a:gd name="connsiteX244" fmla="*/ 562553 w 2610427"/>
                <a:gd name="connsiteY244" fmla="*/ 157354 h 2476692"/>
                <a:gd name="connsiteX245" fmla="*/ 567315 w 2610427"/>
                <a:gd name="connsiteY245" fmla="*/ 133542 h 2476692"/>
                <a:gd name="connsiteX246" fmla="*/ 576840 w 2610427"/>
                <a:gd name="connsiteY246" fmla="*/ 100204 h 2476692"/>
                <a:gd name="connsiteX247" fmla="*/ 581603 w 2610427"/>
                <a:gd name="connsiteY247" fmla="*/ 81154 h 2476692"/>
                <a:gd name="connsiteX248" fmla="*/ 595890 w 2610427"/>
                <a:gd name="connsiteY248" fmla="*/ 33529 h 2476692"/>
                <a:gd name="connsiteX249" fmla="*/ 619703 w 2610427"/>
                <a:gd name="connsiteY249" fmla="*/ 192 h 2476692"/>
                <a:gd name="connsiteX250" fmla="*/ 621543 w 2610427"/>
                <a:gd name="connsiteY250" fmla="*/ 0 h 2476692"/>
                <a:gd name="connsiteX0" fmla="*/ 621543 w 2610427"/>
                <a:gd name="connsiteY0" fmla="*/ 0 h 2476692"/>
                <a:gd name="connsiteX1" fmla="*/ 637165 w 2610427"/>
                <a:gd name="connsiteY1" fmla="*/ 20829 h 2476692"/>
                <a:gd name="connsiteX2" fmla="*/ 643515 w 2610427"/>
                <a:gd name="connsiteY2" fmla="*/ 30354 h 2476692"/>
                <a:gd name="connsiteX3" fmla="*/ 646690 w 2610427"/>
                <a:gd name="connsiteY3" fmla="*/ 74804 h 2476692"/>
                <a:gd name="connsiteX4" fmla="*/ 656215 w 2610427"/>
                <a:gd name="connsiteY4" fmla="*/ 100204 h 2476692"/>
                <a:gd name="connsiteX5" fmla="*/ 757815 w 2610427"/>
                <a:gd name="connsiteY5" fmla="*/ 119254 h 2476692"/>
                <a:gd name="connsiteX6" fmla="*/ 780040 w 2610427"/>
                <a:gd name="connsiteY6" fmla="*/ 135129 h 2476692"/>
                <a:gd name="connsiteX7" fmla="*/ 789565 w 2610427"/>
                <a:gd name="connsiteY7" fmla="*/ 138304 h 2476692"/>
                <a:gd name="connsiteX8" fmla="*/ 808615 w 2610427"/>
                <a:gd name="connsiteY8" fmla="*/ 154179 h 2476692"/>
                <a:gd name="connsiteX9" fmla="*/ 824490 w 2610427"/>
                <a:gd name="connsiteY9" fmla="*/ 176404 h 2476692"/>
                <a:gd name="connsiteX10" fmla="*/ 827665 w 2610427"/>
                <a:gd name="connsiteY10" fmla="*/ 185929 h 2476692"/>
                <a:gd name="connsiteX11" fmla="*/ 853065 w 2610427"/>
                <a:gd name="connsiteY11" fmla="*/ 201804 h 2476692"/>
                <a:gd name="connsiteX12" fmla="*/ 929265 w 2610427"/>
                <a:gd name="connsiteY12" fmla="*/ 220854 h 2476692"/>
                <a:gd name="connsiteX13" fmla="*/ 957840 w 2610427"/>
                <a:gd name="connsiteY13" fmla="*/ 198629 h 2476692"/>
                <a:gd name="connsiteX14" fmla="*/ 980065 w 2610427"/>
                <a:gd name="connsiteY14" fmla="*/ 182754 h 2476692"/>
                <a:gd name="connsiteX15" fmla="*/ 989590 w 2610427"/>
                <a:gd name="connsiteY15" fmla="*/ 176404 h 2476692"/>
                <a:gd name="connsiteX16" fmla="*/ 1011815 w 2610427"/>
                <a:gd name="connsiteY16" fmla="*/ 173229 h 2476692"/>
                <a:gd name="connsiteX17" fmla="*/ 1027690 w 2610427"/>
                <a:gd name="connsiteY17" fmla="*/ 166879 h 2476692"/>
                <a:gd name="connsiteX18" fmla="*/ 1094365 w 2610427"/>
                <a:gd name="connsiteY18" fmla="*/ 220854 h 2476692"/>
                <a:gd name="connsiteX19" fmla="*/ 1186440 w 2610427"/>
                <a:gd name="connsiteY19" fmla="*/ 217679 h 2476692"/>
                <a:gd name="connsiteX20" fmla="*/ 1278515 w 2610427"/>
                <a:gd name="connsiteY20" fmla="*/ 170054 h 2476692"/>
                <a:gd name="connsiteX21" fmla="*/ 1326140 w 2610427"/>
                <a:gd name="connsiteY21" fmla="*/ 74804 h 2476692"/>
                <a:gd name="connsiteX22" fmla="*/ 1373765 w 2610427"/>
                <a:gd name="connsiteY22" fmla="*/ 122429 h 2476692"/>
                <a:gd name="connsiteX23" fmla="*/ 1459490 w 2610427"/>
                <a:gd name="connsiteY23" fmla="*/ 144654 h 2476692"/>
                <a:gd name="connsiteX24" fmla="*/ 1589665 w 2610427"/>
                <a:gd name="connsiteY24" fmla="*/ 144654 h 2476692"/>
                <a:gd name="connsiteX25" fmla="*/ 1697615 w 2610427"/>
                <a:gd name="connsiteY25" fmla="*/ 97029 h 2476692"/>
                <a:gd name="connsiteX26" fmla="*/ 1726190 w 2610427"/>
                <a:gd name="connsiteY26" fmla="*/ 103379 h 2476692"/>
                <a:gd name="connsiteX27" fmla="*/ 1738890 w 2610427"/>
                <a:gd name="connsiteY27" fmla="*/ 122429 h 2476692"/>
                <a:gd name="connsiteX28" fmla="*/ 1732540 w 2610427"/>
                <a:gd name="connsiteY28" fmla="*/ 141479 h 2476692"/>
                <a:gd name="connsiteX29" fmla="*/ 1723015 w 2610427"/>
                <a:gd name="connsiteY29" fmla="*/ 154179 h 2476692"/>
                <a:gd name="connsiteX30" fmla="*/ 1802390 w 2610427"/>
                <a:gd name="connsiteY30" fmla="*/ 144654 h 2476692"/>
                <a:gd name="connsiteX31" fmla="*/ 1824615 w 2610427"/>
                <a:gd name="connsiteY31" fmla="*/ 160529 h 2476692"/>
                <a:gd name="connsiteX32" fmla="*/ 1827790 w 2610427"/>
                <a:gd name="connsiteY32" fmla="*/ 195454 h 2476692"/>
                <a:gd name="connsiteX33" fmla="*/ 1834140 w 2610427"/>
                <a:gd name="connsiteY33" fmla="*/ 217679 h 2476692"/>
                <a:gd name="connsiteX34" fmla="*/ 1840490 w 2610427"/>
                <a:gd name="connsiteY34" fmla="*/ 230379 h 2476692"/>
                <a:gd name="connsiteX35" fmla="*/ 1846840 w 2610427"/>
                <a:gd name="connsiteY35" fmla="*/ 239904 h 2476692"/>
                <a:gd name="connsiteX36" fmla="*/ 1846840 w 2610427"/>
                <a:gd name="connsiteY36" fmla="*/ 249429 h 2476692"/>
                <a:gd name="connsiteX37" fmla="*/ 1916690 w 2610427"/>
                <a:gd name="connsiteY37" fmla="*/ 274829 h 2476692"/>
                <a:gd name="connsiteX38" fmla="*/ 1945265 w 2610427"/>
                <a:gd name="connsiteY38" fmla="*/ 268479 h 2476692"/>
                <a:gd name="connsiteX39" fmla="*/ 1961140 w 2610427"/>
                <a:gd name="connsiteY39" fmla="*/ 274829 h 2476692"/>
                <a:gd name="connsiteX40" fmla="*/ 1977015 w 2610427"/>
                <a:gd name="connsiteY40" fmla="*/ 293879 h 2476692"/>
                <a:gd name="connsiteX41" fmla="*/ 2002415 w 2610427"/>
                <a:gd name="connsiteY41" fmla="*/ 297054 h 2476692"/>
                <a:gd name="connsiteX42" fmla="*/ 2002415 w 2610427"/>
                <a:gd name="connsiteY42" fmla="*/ 344679 h 2476692"/>
                <a:gd name="connsiteX43" fmla="*/ 1998496 w 2610427"/>
                <a:gd name="connsiteY43" fmla="*/ 359366 h 2476692"/>
                <a:gd name="connsiteX44" fmla="*/ 1997699 w 2610427"/>
                <a:gd name="connsiteY44" fmla="*/ 359161 h 2476692"/>
                <a:gd name="connsiteX45" fmla="*/ 1996509 w 2610427"/>
                <a:gd name="connsiteY45" fmla="*/ 357863 h 2476692"/>
                <a:gd name="connsiteX46" fmla="*/ 1996082 w 2610427"/>
                <a:gd name="connsiteY46" fmla="*/ 354482 h 2476692"/>
                <a:gd name="connsiteX47" fmla="*/ 1996065 w 2610427"/>
                <a:gd name="connsiteY47" fmla="*/ 357379 h 2476692"/>
                <a:gd name="connsiteX48" fmla="*/ 1996509 w 2610427"/>
                <a:gd name="connsiteY48" fmla="*/ 357863 h 2476692"/>
                <a:gd name="connsiteX49" fmla="*/ 1996639 w 2610427"/>
                <a:gd name="connsiteY49" fmla="*/ 358889 h 2476692"/>
                <a:gd name="connsiteX50" fmla="*/ 1997699 w 2610427"/>
                <a:gd name="connsiteY50" fmla="*/ 359161 h 2476692"/>
                <a:gd name="connsiteX51" fmla="*/ 2030990 w 2610427"/>
                <a:gd name="connsiteY51" fmla="*/ 395479 h 2476692"/>
                <a:gd name="connsiteX52" fmla="*/ 2059565 w 2610427"/>
                <a:gd name="connsiteY52" fmla="*/ 385954 h 2476692"/>
                <a:gd name="connsiteX53" fmla="*/ 2069090 w 2610427"/>
                <a:gd name="connsiteY53" fmla="*/ 379604 h 2476692"/>
                <a:gd name="connsiteX54" fmla="*/ 2078615 w 2610427"/>
                <a:gd name="connsiteY54" fmla="*/ 376429 h 2476692"/>
                <a:gd name="connsiteX55" fmla="*/ 2116715 w 2610427"/>
                <a:gd name="connsiteY55" fmla="*/ 379604 h 2476692"/>
                <a:gd name="connsiteX56" fmla="*/ 2119890 w 2610427"/>
                <a:gd name="connsiteY56" fmla="*/ 411354 h 2476692"/>
                <a:gd name="connsiteX57" fmla="*/ 2129415 w 2610427"/>
                <a:gd name="connsiteY57" fmla="*/ 443104 h 2476692"/>
                <a:gd name="connsiteX58" fmla="*/ 2132590 w 2610427"/>
                <a:gd name="connsiteY58" fmla="*/ 452629 h 2476692"/>
                <a:gd name="connsiteX59" fmla="*/ 2135765 w 2610427"/>
                <a:gd name="connsiteY59" fmla="*/ 462154 h 2476692"/>
                <a:gd name="connsiteX60" fmla="*/ 2142115 w 2610427"/>
                <a:gd name="connsiteY60" fmla="*/ 493904 h 2476692"/>
                <a:gd name="connsiteX61" fmla="*/ 2138940 w 2610427"/>
                <a:gd name="connsiteY61" fmla="*/ 532004 h 2476692"/>
                <a:gd name="connsiteX62" fmla="*/ 2110365 w 2610427"/>
                <a:gd name="connsiteY62" fmla="*/ 547879 h 2476692"/>
                <a:gd name="connsiteX63" fmla="*/ 2097665 w 2610427"/>
                <a:gd name="connsiteY63" fmla="*/ 557404 h 2476692"/>
                <a:gd name="connsiteX64" fmla="*/ 2094490 w 2610427"/>
                <a:gd name="connsiteY64" fmla="*/ 582804 h 2476692"/>
                <a:gd name="connsiteX65" fmla="*/ 2104015 w 2610427"/>
                <a:gd name="connsiteY65" fmla="*/ 608204 h 2476692"/>
                <a:gd name="connsiteX66" fmla="*/ 2110365 w 2610427"/>
                <a:gd name="connsiteY66" fmla="*/ 617729 h 2476692"/>
                <a:gd name="connsiteX67" fmla="*/ 2116715 w 2610427"/>
                <a:gd name="connsiteY67" fmla="*/ 643129 h 2476692"/>
                <a:gd name="connsiteX68" fmla="*/ 2119890 w 2610427"/>
                <a:gd name="connsiteY68" fmla="*/ 719329 h 2476692"/>
                <a:gd name="connsiteX69" fmla="*/ 2123065 w 2610427"/>
                <a:gd name="connsiteY69" fmla="*/ 728854 h 2476692"/>
                <a:gd name="connsiteX70" fmla="*/ 2142115 w 2610427"/>
                <a:gd name="connsiteY70" fmla="*/ 741554 h 2476692"/>
                <a:gd name="connsiteX71" fmla="*/ 2161165 w 2610427"/>
                <a:gd name="connsiteY71" fmla="*/ 738379 h 2476692"/>
                <a:gd name="connsiteX72" fmla="*/ 2170690 w 2610427"/>
                <a:gd name="connsiteY72" fmla="*/ 732029 h 2476692"/>
                <a:gd name="connsiteX73" fmla="*/ 2183390 w 2610427"/>
                <a:gd name="connsiteY73" fmla="*/ 725679 h 2476692"/>
                <a:gd name="connsiteX74" fmla="*/ 2192915 w 2610427"/>
                <a:gd name="connsiteY74" fmla="*/ 719329 h 2476692"/>
                <a:gd name="connsiteX75" fmla="*/ 2211965 w 2610427"/>
                <a:gd name="connsiteY75" fmla="*/ 712979 h 2476692"/>
                <a:gd name="connsiteX76" fmla="*/ 2259590 w 2610427"/>
                <a:gd name="connsiteY76" fmla="*/ 716154 h 2476692"/>
                <a:gd name="connsiteX77" fmla="*/ 2262765 w 2610427"/>
                <a:gd name="connsiteY77" fmla="*/ 732029 h 2476692"/>
                <a:gd name="connsiteX78" fmla="*/ 2272290 w 2610427"/>
                <a:gd name="connsiteY78" fmla="*/ 751079 h 2476692"/>
                <a:gd name="connsiteX79" fmla="*/ 2297690 w 2610427"/>
                <a:gd name="connsiteY79" fmla="*/ 754254 h 2476692"/>
                <a:gd name="connsiteX80" fmla="*/ 2329440 w 2610427"/>
                <a:gd name="connsiteY80" fmla="*/ 738379 h 2476692"/>
                <a:gd name="connsiteX81" fmla="*/ 2338965 w 2610427"/>
                <a:gd name="connsiteY81" fmla="*/ 735204 h 2476692"/>
                <a:gd name="connsiteX82" fmla="*/ 2367540 w 2610427"/>
                <a:gd name="connsiteY82" fmla="*/ 722504 h 2476692"/>
                <a:gd name="connsiteX83" fmla="*/ 2377065 w 2610427"/>
                <a:gd name="connsiteY83" fmla="*/ 719329 h 2476692"/>
                <a:gd name="connsiteX84" fmla="*/ 2391809 w 2610427"/>
                <a:gd name="connsiteY84" fmla="*/ 719329 h 2476692"/>
                <a:gd name="connsiteX85" fmla="*/ 2450884 w 2610427"/>
                <a:gd name="connsiteY85" fmla="*/ 919354 h 2476692"/>
                <a:gd name="connsiteX86" fmla="*/ 2458028 w 2610427"/>
                <a:gd name="connsiteY86" fmla="*/ 1005079 h 2476692"/>
                <a:gd name="connsiteX87" fmla="*/ 2510414 w 2610427"/>
                <a:gd name="connsiteY87" fmla="*/ 1050323 h 2476692"/>
                <a:gd name="connsiteX88" fmla="*/ 2593759 w 2610427"/>
                <a:gd name="connsiteY88" fmla="*/ 1257492 h 2476692"/>
                <a:gd name="connsiteX89" fmla="*/ 2610427 w 2610427"/>
                <a:gd name="connsiteY89" fmla="*/ 1350360 h 2476692"/>
                <a:gd name="connsiteX90" fmla="*/ 2605665 w 2610427"/>
                <a:gd name="connsiteY90" fmla="*/ 1412273 h 2476692"/>
                <a:gd name="connsiteX91" fmla="*/ 2588996 w 2610427"/>
                <a:gd name="connsiteY91" fmla="*/ 1452754 h 2476692"/>
                <a:gd name="connsiteX92" fmla="*/ 2574709 w 2610427"/>
                <a:gd name="connsiteY92" fmla="*/ 1486092 h 2476692"/>
                <a:gd name="connsiteX93" fmla="*/ 2608046 w 2610427"/>
                <a:gd name="connsiteY93" fmla="*/ 1586104 h 2476692"/>
                <a:gd name="connsiteX94" fmla="*/ 2598522 w 2610427"/>
                <a:gd name="connsiteY94" fmla="*/ 1619442 h 2476692"/>
                <a:gd name="connsiteX95" fmla="*/ 2593759 w 2610427"/>
                <a:gd name="connsiteY95" fmla="*/ 1712310 h 2476692"/>
                <a:gd name="connsiteX96" fmla="*/ 2577090 w 2610427"/>
                <a:gd name="connsiteY96" fmla="*/ 1802798 h 2476692"/>
                <a:gd name="connsiteX97" fmla="*/ 2512796 w 2610427"/>
                <a:gd name="connsiteY97" fmla="*/ 1824229 h 2476692"/>
                <a:gd name="connsiteX98" fmla="*/ 2558040 w 2610427"/>
                <a:gd name="connsiteY98" fmla="*/ 1883760 h 2476692"/>
                <a:gd name="connsiteX99" fmla="*/ 2555659 w 2610427"/>
                <a:gd name="connsiteY99" fmla="*/ 1909954 h 2476692"/>
                <a:gd name="connsiteX100" fmla="*/ 2527084 w 2610427"/>
                <a:gd name="connsiteY100" fmla="*/ 1995679 h 2476692"/>
                <a:gd name="connsiteX101" fmla="*/ 2503271 w 2610427"/>
                <a:gd name="connsiteY101" fmla="*/ 1986154 h 2476692"/>
                <a:gd name="connsiteX102" fmla="*/ 2472315 w 2610427"/>
                <a:gd name="connsiteY102" fmla="*/ 1971867 h 2476692"/>
                <a:gd name="connsiteX103" fmla="*/ 2436596 w 2610427"/>
                <a:gd name="connsiteY103" fmla="*/ 1986154 h 2476692"/>
                <a:gd name="connsiteX104" fmla="*/ 2450884 w 2610427"/>
                <a:gd name="connsiteY104" fmla="*/ 2017110 h 2476692"/>
                <a:gd name="connsiteX105" fmla="*/ 2465171 w 2610427"/>
                <a:gd name="connsiteY105" fmla="*/ 2057592 h 2476692"/>
                <a:gd name="connsiteX106" fmla="*/ 2455646 w 2610427"/>
                <a:gd name="connsiteY106" fmla="*/ 2121885 h 2476692"/>
                <a:gd name="connsiteX107" fmla="*/ 2410403 w 2610427"/>
                <a:gd name="connsiteY107" fmla="*/ 2152842 h 2476692"/>
                <a:gd name="connsiteX108" fmla="*/ 2458028 w 2610427"/>
                <a:gd name="connsiteY108" fmla="*/ 2186180 h 2476692"/>
                <a:gd name="connsiteX109" fmla="*/ 2448503 w 2610427"/>
                <a:gd name="connsiteY109" fmla="*/ 2226660 h 2476692"/>
                <a:gd name="connsiteX110" fmla="*/ 2410403 w 2610427"/>
                <a:gd name="connsiteY110" fmla="*/ 2262379 h 2476692"/>
                <a:gd name="connsiteX111" fmla="*/ 2388971 w 2610427"/>
                <a:gd name="connsiteY111" fmla="*/ 2331435 h 2476692"/>
                <a:gd name="connsiteX112" fmla="*/ 2405640 w 2610427"/>
                <a:gd name="connsiteY112" fmla="*/ 2381442 h 2476692"/>
                <a:gd name="connsiteX113" fmla="*/ 2391353 w 2610427"/>
                <a:gd name="connsiteY113" fmla="*/ 2414779 h 2476692"/>
                <a:gd name="connsiteX114" fmla="*/ 2334203 w 2610427"/>
                <a:gd name="connsiteY114" fmla="*/ 2433829 h 2476692"/>
                <a:gd name="connsiteX115" fmla="*/ 2305628 w 2610427"/>
                <a:gd name="connsiteY115" fmla="*/ 2443354 h 2476692"/>
                <a:gd name="connsiteX116" fmla="*/ 2296103 w 2610427"/>
                <a:gd name="connsiteY116" fmla="*/ 2457642 h 2476692"/>
                <a:gd name="connsiteX117" fmla="*/ 2262765 w 2610427"/>
                <a:gd name="connsiteY117" fmla="*/ 2462404 h 2476692"/>
                <a:gd name="connsiteX118" fmla="*/ 2229428 w 2610427"/>
                <a:gd name="connsiteY118" fmla="*/ 2438592 h 2476692"/>
                <a:gd name="connsiteX119" fmla="*/ 2215140 w 2610427"/>
                <a:gd name="connsiteY119" fmla="*/ 2433829 h 2476692"/>
                <a:gd name="connsiteX120" fmla="*/ 2205615 w 2610427"/>
                <a:gd name="connsiteY120" fmla="*/ 2457642 h 2476692"/>
                <a:gd name="connsiteX121" fmla="*/ 2191328 w 2610427"/>
                <a:gd name="connsiteY121" fmla="*/ 2467167 h 2476692"/>
                <a:gd name="connsiteX122" fmla="*/ 2153228 w 2610427"/>
                <a:gd name="connsiteY122" fmla="*/ 2476692 h 2476692"/>
                <a:gd name="connsiteX123" fmla="*/ 2134178 w 2610427"/>
                <a:gd name="connsiteY123" fmla="*/ 2448117 h 2476692"/>
                <a:gd name="connsiteX124" fmla="*/ 2124653 w 2610427"/>
                <a:gd name="connsiteY124" fmla="*/ 2433829 h 2476692"/>
                <a:gd name="connsiteX125" fmla="*/ 2119890 w 2610427"/>
                <a:gd name="connsiteY125" fmla="*/ 2352867 h 2476692"/>
                <a:gd name="connsiteX126" fmla="*/ 2124653 w 2610427"/>
                <a:gd name="connsiteY126" fmla="*/ 2338579 h 2476692"/>
                <a:gd name="connsiteX127" fmla="*/ 2167515 w 2610427"/>
                <a:gd name="connsiteY127" fmla="*/ 2290954 h 2476692"/>
                <a:gd name="connsiteX128" fmla="*/ 2177040 w 2610427"/>
                <a:gd name="connsiteY128" fmla="*/ 2276667 h 2476692"/>
                <a:gd name="connsiteX129" fmla="*/ 2153228 w 2610427"/>
                <a:gd name="connsiteY129" fmla="*/ 2248092 h 2476692"/>
                <a:gd name="connsiteX130" fmla="*/ 2134178 w 2610427"/>
                <a:gd name="connsiteY130" fmla="*/ 2238567 h 2476692"/>
                <a:gd name="connsiteX131" fmla="*/ 2129415 w 2610427"/>
                <a:gd name="connsiteY131" fmla="*/ 2214754 h 2476692"/>
                <a:gd name="connsiteX132" fmla="*/ 2148465 w 2610427"/>
                <a:gd name="connsiteY132" fmla="*/ 2186179 h 2476692"/>
                <a:gd name="connsiteX133" fmla="*/ 2167515 w 2610427"/>
                <a:gd name="connsiteY133" fmla="*/ 2190942 h 2476692"/>
                <a:gd name="connsiteX134" fmla="*/ 2229428 w 2610427"/>
                <a:gd name="connsiteY134" fmla="*/ 2186179 h 2476692"/>
                <a:gd name="connsiteX135" fmla="*/ 2234190 w 2610427"/>
                <a:gd name="connsiteY135" fmla="*/ 2171892 h 2476692"/>
                <a:gd name="connsiteX136" fmla="*/ 2224665 w 2610427"/>
                <a:gd name="connsiteY136" fmla="*/ 2143317 h 2476692"/>
                <a:gd name="connsiteX137" fmla="*/ 2210378 w 2610427"/>
                <a:gd name="connsiteY137" fmla="*/ 2129029 h 2476692"/>
                <a:gd name="connsiteX138" fmla="*/ 2191328 w 2610427"/>
                <a:gd name="connsiteY138" fmla="*/ 2119504 h 2476692"/>
                <a:gd name="connsiteX139" fmla="*/ 2162753 w 2610427"/>
                <a:gd name="connsiteY139" fmla="*/ 2114742 h 2476692"/>
                <a:gd name="connsiteX140" fmla="*/ 2157990 w 2610427"/>
                <a:gd name="connsiteY140" fmla="*/ 2095692 h 2476692"/>
                <a:gd name="connsiteX141" fmla="*/ 2181803 w 2610427"/>
                <a:gd name="connsiteY141" fmla="*/ 2062354 h 2476692"/>
                <a:gd name="connsiteX142" fmla="*/ 2191328 w 2610427"/>
                <a:gd name="connsiteY142" fmla="*/ 2048067 h 2476692"/>
                <a:gd name="connsiteX143" fmla="*/ 2196090 w 2610427"/>
                <a:gd name="connsiteY143" fmla="*/ 1986154 h 2476692"/>
                <a:gd name="connsiteX144" fmla="*/ 2186565 w 2610427"/>
                <a:gd name="connsiteY144" fmla="*/ 1957579 h 2476692"/>
                <a:gd name="connsiteX145" fmla="*/ 2162753 w 2610427"/>
                <a:gd name="connsiteY145" fmla="*/ 1952817 h 2476692"/>
                <a:gd name="connsiteX146" fmla="*/ 2134178 w 2610427"/>
                <a:gd name="connsiteY146" fmla="*/ 1971867 h 2476692"/>
                <a:gd name="connsiteX147" fmla="*/ 2124653 w 2610427"/>
                <a:gd name="connsiteY147" fmla="*/ 1986154 h 2476692"/>
                <a:gd name="connsiteX148" fmla="*/ 2105603 w 2610427"/>
                <a:gd name="connsiteY148" fmla="*/ 2005204 h 2476692"/>
                <a:gd name="connsiteX149" fmla="*/ 2072265 w 2610427"/>
                <a:gd name="connsiteY149" fmla="*/ 2038542 h 2476692"/>
                <a:gd name="connsiteX150" fmla="*/ 2057978 w 2610427"/>
                <a:gd name="connsiteY150" fmla="*/ 2048067 h 2476692"/>
                <a:gd name="connsiteX151" fmla="*/ 2029403 w 2610427"/>
                <a:gd name="connsiteY151" fmla="*/ 2052829 h 2476692"/>
                <a:gd name="connsiteX152" fmla="*/ 2019878 w 2610427"/>
                <a:gd name="connsiteY152" fmla="*/ 2009967 h 2476692"/>
                <a:gd name="connsiteX153" fmla="*/ 1991303 w 2610427"/>
                <a:gd name="connsiteY153" fmla="*/ 1986154 h 2476692"/>
                <a:gd name="connsiteX154" fmla="*/ 1962728 w 2610427"/>
                <a:gd name="connsiteY154" fmla="*/ 1976629 h 2476692"/>
                <a:gd name="connsiteX155" fmla="*/ 1948440 w 2610427"/>
                <a:gd name="connsiteY155" fmla="*/ 1990917 h 2476692"/>
                <a:gd name="connsiteX156" fmla="*/ 1910340 w 2610427"/>
                <a:gd name="connsiteY156" fmla="*/ 2000442 h 2476692"/>
                <a:gd name="connsiteX157" fmla="*/ 1891290 w 2610427"/>
                <a:gd name="connsiteY157" fmla="*/ 1971867 h 2476692"/>
                <a:gd name="connsiteX158" fmla="*/ 1886528 w 2610427"/>
                <a:gd name="connsiteY158" fmla="*/ 1952817 h 2476692"/>
                <a:gd name="connsiteX159" fmla="*/ 1881765 w 2610427"/>
                <a:gd name="connsiteY159" fmla="*/ 1929004 h 2476692"/>
                <a:gd name="connsiteX160" fmla="*/ 1877003 w 2610427"/>
                <a:gd name="connsiteY160" fmla="*/ 1886142 h 2476692"/>
                <a:gd name="connsiteX161" fmla="*/ 1862715 w 2610427"/>
                <a:gd name="connsiteY161" fmla="*/ 1871854 h 2476692"/>
                <a:gd name="connsiteX162" fmla="*/ 1853190 w 2610427"/>
                <a:gd name="connsiteY162" fmla="*/ 1857567 h 2476692"/>
                <a:gd name="connsiteX163" fmla="*/ 1824615 w 2610427"/>
                <a:gd name="connsiteY163" fmla="*/ 1838517 h 2476692"/>
                <a:gd name="connsiteX164" fmla="*/ 1819853 w 2610427"/>
                <a:gd name="connsiteY164" fmla="*/ 1819467 h 2476692"/>
                <a:gd name="connsiteX165" fmla="*/ 1834140 w 2610427"/>
                <a:gd name="connsiteY165" fmla="*/ 1814704 h 2476692"/>
                <a:gd name="connsiteX166" fmla="*/ 1848428 w 2610427"/>
                <a:gd name="connsiteY166" fmla="*/ 1809942 h 2476692"/>
                <a:gd name="connsiteX167" fmla="*/ 1862715 w 2610427"/>
                <a:gd name="connsiteY167" fmla="*/ 1805179 h 2476692"/>
                <a:gd name="connsiteX168" fmla="*/ 1891290 w 2610427"/>
                <a:gd name="connsiteY168" fmla="*/ 1795654 h 2476692"/>
                <a:gd name="connsiteX169" fmla="*/ 1896053 w 2610427"/>
                <a:gd name="connsiteY169" fmla="*/ 1781367 h 2476692"/>
                <a:gd name="connsiteX170" fmla="*/ 1900815 w 2610427"/>
                <a:gd name="connsiteY170" fmla="*/ 1762317 h 2476692"/>
                <a:gd name="connsiteX171" fmla="*/ 1891290 w 2610427"/>
                <a:gd name="connsiteY171" fmla="*/ 1676592 h 2476692"/>
                <a:gd name="connsiteX172" fmla="*/ 1719840 w 2610427"/>
                <a:gd name="connsiteY172" fmla="*/ 1671829 h 2476692"/>
                <a:gd name="connsiteX173" fmla="*/ 1710315 w 2610427"/>
                <a:gd name="connsiteY173" fmla="*/ 1690879 h 2476692"/>
                <a:gd name="connsiteX174" fmla="*/ 1696028 w 2610427"/>
                <a:gd name="connsiteY174" fmla="*/ 1709929 h 2476692"/>
                <a:gd name="connsiteX175" fmla="*/ 1681740 w 2610427"/>
                <a:gd name="connsiteY175" fmla="*/ 1724217 h 2476692"/>
                <a:gd name="connsiteX176" fmla="*/ 1676978 w 2610427"/>
                <a:gd name="connsiteY176" fmla="*/ 1738504 h 2476692"/>
                <a:gd name="connsiteX177" fmla="*/ 1667453 w 2610427"/>
                <a:gd name="connsiteY177" fmla="*/ 1762317 h 2476692"/>
                <a:gd name="connsiteX178" fmla="*/ 1643640 w 2610427"/>
                <a:gd name="connsiteY178" fmla="*/ 1795654 h 2476692"/>
                <a:gd name="connsiteX179" fmla="*/ 1291215 w 2610427"/>
                <a:gd name="connsiteY179" fmla="*/ 1938529 h 2476692"/>
                <a:gd name="connsiteX180" fmla="*/ 1162628 w 2610427"/>
                <a:gd name="connsiteY180" fmla="*/ 1833754 h 2476692"/>
                <a:gd name="connsiteX181" fmla="*/ 1091190 w 2610427"/>
                <a:gd name="connsiteY181" fmla="*/ 1843279 h 2476692"/>
                <a:gd name="connsiteX182" fmla="*/ 1014990 w 2610427"/>
                <a:gd name="connsiteY182" fmla="*/ 1786129 h 2476692"/>
                <a:gd name="connsiteX183" fmla="*/ 1024515 w 2610427"/>
                <a:gd name="connsiteY183" fmla="*/ 1733742 h 2476692"/>
                <a:gd name="connsiteX184" fmla="*/ 957840 w 2610427"/>
                <a:gd name="connsiteY184" fmla="*/ 1719454 h 2476692"/>
                <a:gd name="connsiteX185" fmla="*/ 767340 w 2610427"/>
                <a:gd name="connsiteY185" fmla="*/ 1671829 h 2476692"/>
                <a:gd name="connsiteX186" fmla="*/ 743528 w 2610427"/>
                <a:gd name="connsiteY186" fmla="*/ 1681354 h 2476692"/>
                <a:gd name="connsiteX187" fmla="*/ 729240 w 2610427"/>
                <a:gd name="connsiteY187" fmla="*/ 1686117 h 2476692"/>
                <a:gd name="connsiteX188" fmla="*/ 700665 w 2610427"/>
                <a:gd name="connsiteY188" fmla="*/ 1667067 h 2476692"/>
                <a:gd name="connsiteX189" fmla="*/ 657803 w 2610427"/>
                <a:gd name="connsiteY189" fmla="*/ 1624204 h 2476692"/>
                <a:gd name="connsiteX190" fmla="*/ 605415 w 2610427"/>
                <a:gd name="connsiteY190" fmla="*/ 1638492 h 2476692"/>
                <a:gd name="connsiteX191" fmla="*/ 533978 w 2610427"/>
                <a:gd name="connsiteY191" fmla="*/ 1543242 h 2476692"/>
                <a:gd name="connsiteX192" fmla="*/ 548265 w 2610427"/>
                <a:gd name="connsiteY192" fmla="*/ 1528954 h 2476692"/>
                <a:gd name="connsiteX193" fmla="*/ 567315 w 2610427"/>
                <a:gd name="connsiteY193" fmla="*/ 1514667 h 2476692"/>
                <a:gd name="connsiteX194" fmla="*/ 581603 w 2610427"/>
                <a:gd name="connsiteY194" fmla="*/ 1476567 h 2476692"/>
                <a:gd name="connsiteX195" fmla="*/ 567315 w 2610427"/>
                <a:gd name="connsiteY195" fmla="*/ 1471804 h 2476692"/>
                <a:gd name="connsiteX196" fmla="*/ 543503 w 2610427"/>
                <a:gd name="connsiteY196" fmla="*/ 1462279 h 2476692"/>
                <a:gd name="connsiteX197" fmla="*/ 562553 w 2610427"/>
                <a:gd name="connsiteY197" fmla="*/ 1428942 h 2476692"/>
                <a:gd name="connsiteX198" fmla="*/ 567315 w 2610427"/>
                <a:gd name="connsiteY198" fmla="*/ 1414654 h 2476692"/>
                <a:gd name="connsiteX199" fmla="*/ 586365 w 2610427"/>
                <a:gd name="connsiteY199" fmla="*/ 1386079 h 2476692"/>
                <a:gd name="connsiteX200" fmla="*/ 619703 w 2610427"/>
                <a:gd name="connsiteY200" fmla="*/ 1362267 h 2476692"/>
                <a:gd name="connsiteX201" fmla="*/ 633990 w 2610427"/>
                <a:gd name="connsiteY201" fmla="*/ 1343217 h 2476692"/>
                <a:gd name="connsiteX202" fmla="*/ 662565 w 2610427"/>
                <a:gd name="connsiteY202" fmla="*/ 1319404 h 2476692"/>
                <a:gd name="connsiteX203" fmla="*/ 667328 w 2610427"/>
                <a:gd name="connsiteY203" fmla="*/ 1281304 h 2476692"/>
                <a:gd name="connsiteX204" fmla="*/ 638753 w 2610427"/>
                <a:gd name="connsiteY204" fmla="*/ 1267017 h 2476692"/>
                <a:gd name="connsiteX205" fmla="*/ 633990 w 2610427"/>
                <a:gd name="connsiteY205" fmla="*/ 1252729 h 2476692"/>
                <a:gd name="connsiteX206" fmla="*/ 643515 w 2610427"/>
                <a:gd name="connsiteY206" fmla="*/ 1238442 h 2476692"/>
                <a:gd name="connsiteX207" fmla="*/ 672090 w 2610427"/>
                <a:gd name="connsiteY207" fmla="*/ 1219392 h 2476692"/>
                <a:gd name="connsiteX208" fmla="*/ 672090 w 2610427"/>
                <a:gd name="connsiteY208" fmla="*/ 1162242 h 2476692"/>
                <a:gd name="connsiteX209" fmla="*/ 662565 w 2610427"/>
                <a:gd name="connsiteY209" fmla="*/ 1147954 h 2476692"/>
                <a:gd name="connsiteX210" fmla="*/ 619703 w 2610427"/>
                <a:gd name="connsiteY210" fmla="*/ 1167004 h 2476692"/>
                <a:gd name="connsiteX211" fmla="*/ 610178 w 2610427"/>
                <a:gd name="connsiteY211" fmla="*/ 1152717 h 2476692"/>
                <a:gd name="connsiteX212" fmla="*/ 605415 w 2610427"/>
                <a:gd name="connsiteY212" fmla="*/ 1105092 h 2476692"/>
                <a:gd name="connsiteX213" fmla="*/ 595890 w 2610427"/>
                <a:gd name="connsiteY213" fmla="*/ 1086042 h 2476692"/>
                <a:gd name="connsiteX214" fmla="*/ 576840 w 2610427"/>
                <a:gd name="connsiteY214" fmla="*/ 1057467 h 2476692"/>
                <a:gd name="connsiteX215" fmla="*/ 572078 w 2610427"/>
                <a:gd name="connsiteY215" fmla="*/ 1043179 h 2476692"/>
                <a:gd name="connsiteX216" fmla="*/ 562553 w 2610427"/>
                <a:gd name="connsiteY216" fmla="*/ 962217 h 2476692"/>
                <a:gd name="connsiteX217" fmla="*/ 462540 w 2610427"/>
                <a:gd name="connsiteY217" fmla="*/ 1043179 h 2476692"/>
                <a:gd name="connsiteX218" fmla="*/ 433965 w 2610427"/>
                <a:gd name="connsiteY218" fmla="*/ 952692 h 2476692"/>
                <a:gd name="connsiteX219" fmla="*/ 343478 w 2610427"/>
                <a:gd name="connsiteY219" fmla="*/ 862204 h 2476692"/>
                <a:gd name="connsiteX220" fmla="*/ 262515 w 2610427"/>
                <a:gd name="connsiteY220" fmla="*/ 871729 h 2476692"/>
                <a:gd name="connsiteX221" fmla="*/ 205365 w 2610427"/>
                <a:gd name="connsiteY221" fmla="*/ 919354 h 2476692"/>
                <a:gd name="connsiteX222" fmla="*/ 95828 w 2610427"/>
                <a:gd name="connsiteY222" fmla="*/ 986029 h 2476692"/>
                <a:gd name="connsiteX223" fmla="*/ 24390 w 2610427"/>
                <a:gd name="connsiteY223" fmla="*/ 986029 h 2476692"/>
                <a:gd name="connsiteX224" fmla="*/ 14865 w 2610427"/>
                <a:gd name="connsiteY224" fmla="*/ 947929 h 2476692"/>
                <a:gd name="connsiteX225" fmla="*/ 578 w 2610427"/>
                <a:gd name="connsiteY225" fmla="*/ 933642 h 2476692"/>
                <a:gd name="connsiteX226" fmla="*/ 5340 w 2610427"/>
                <a:gd name="connsiteY226" fmla="*/ 890779 h 2476692"/>
                <a:gd name="connsiteX227" fmla="*/ 57728 w 2610427"/>
                <a:gd name="connsiteY227" fmla="*/ 781242 h 2476692"/>
                <a:gd name="connsiteX228" fmla="*/ 238703 w 2610427"/>
                <a:gd name="connsiteY228" fmla="*/ 543117 h 2476692"/>
                <a:gd name="connsiteX229" fmla="*/ 333953 w 2610427"/>
                <a:gd name="connsiteY229" fmla="*/ 543117 h 2476692"/>
                <a:gd name="connsiteX230" fmla="*/ 429203 w 2610427"/>
                <a:gd name="connsiteY230" fmla="*/ 524067 h 2476692"/>
                <a:gd name="connsiteX231" fmla="*/ 467303 w 2610427"/>
                <a:gd name="connsiteY231" fmla="*/ 538354 h 2476692"/>
                <a:gd name="connsiteX232" fmla="*/ 481590 w 2610427"/>
                <a:gd name="connsiteY232" fmla="*/ 528829 h 2476692"/>
                <a:gd name="connsiteX233" fmla="*/ 486353 w 2610427"/>
                <a:gd name="connsiteY233" fmla="*/ 514542 h 2476692"/>
                <a:gd name="connsiteX234" fmla="*/ 491115 w 2610427"/>
                <a:gd name="connsiteY234" fmla="*/ 466917 h 2476692"/>
                <a:gd name="connsiteX235" fmla="*/ 481590 w 2610427"/>
                <a:gd name="connsiteY235" fmla="*/ 438342 h 2476692"/>
                <a:gd name="connsiteX236" fmla="*/ 462540 w 2610427"/>
                <a:gd name="connsiteY236" fmla="*/ 409767 h 2476692"/>
                <a:gd name="connsiteX237" fmla="*/ 472065 w 2610427"/>
                <a:gd name="connsiteY237" fmla="*/ 347854 h 2476692"/>
                <a:gd name="connsiteX238" fmla="*/ 505403 w 2610427"/>
                <a:gd name="connsiteY238" fmla="*/ 295467 h 2476692"/>
                <a:gd name="connsiteX239" fmla="*/ 514928 w 2610427"/>
                <a:gd name="connsiteY239" fmla="*/ 281179 h 2476692"/>
                <a:gd name="connsiteX240" fmla="*/ 519690 w 2610427"/>
                <a:gd name="connsiteY240" fmla="*/ 257367 h 2476692"/>
                <a:gd name="connsiteX241" fmla="*/ 529215 w 2610427"/>
                <a:gd name="connsiteY241" fmla="*/ 243079 h 2476692"/>
                <a:gd name="connsiteX242" fmla="*/ 538740 w 2610427"/>
                <a:gd name="connsiteY242" fmla="*/ 204979 h 2476692"/>
                <a:gd name="connsiteX243" fmla="*/ 548265 w 2610427"/>
                <a:gd name="connsiteY243" fmla="*/ 185929 h 2476692"/>
                <a:gd name="connsiteX244" fmla="*/ 553028 w 2610427"/>
                <a:gd name="connsiteY244" fmla="*/ 171642 h 2476692"/>
                <a:gd name="connsiteX245" fmla="*/ 562553 w 2610427"/>
                <a:gd name="connsiteY245" fmla="*/ 157354 h 2476692"/>
                <a:gd name="connsiteX246" fmla="*/ 567315 w 2610427"/>
                <a:gd name="connsiteY246" fmla="*/ 133542 h 2476692"/>
                <a:gd name="connsiteX247" fmla="*/ 576840 w 2610427"/>
                <a:gd name="connsiteY247" fmla="*/ 100204 h 2476692"/>
                <a:gd name="connsiteX248" fmla="*/ 581603 w 2610427"/>
                <a:gd name="connsiteY248" fmla="*/ 81154 h 2476692"/>
                <a:gd name="connsiteX249" fmla="*/ 595890 w 2610427"/>
                <a:gd name="connsiteY249" fmla="*/ 33529 h 2476692"/>
                <a:gd name="connsiteX250" fmla="*/ 619703 w 2610427"/>
                <a:gd name="connsiteY250" fmla="*/ 192 h 2476692"/>
                <a:gd name="connsiteX251" fmla="*/ 621543 w 2610427"/>
                <a:gd name="connsiteY251" fmla="*/ 0 h 2476692"/>
                <a:gd name="connsiteX0" fmla="*/ 621543 w 2610427"/>
                <a:gd name="connsiteY0" fmla="*/ 0 h 2476692"/>
                <a:gd name="connsiteX1" fmla="*/ 637165 w 2610427"/>
                <a:gd name="connsiteY1" fmla="*/ 20829 h 2476692"/>
                <a:gd name="connsiteX2" fmla="*/ 643515 w 2610427"/>
                <a:gd name="connsiteY2" fmla="*/ 30354 h 2476692"/>
                <a:gd name="connsiteX3" fmla="*/ 646690 w 2610427"/>
                <a:gd name="connsiteY3" fmla="*/ 74804 h 2476692"/>
                <a:gd name="connsiteX4" fmla="*/ 656215 w 2610427"/>
                <a:gd name="connsiteY4" fmla="*/ 100204 h 2476692"/>
                <a:gd name="connsiteX5" fmla="*/ 757815 w 2610427"/>
                <a:gd name="connsiteY5" fmla="*/ 119254 h 2476692"/>
                <a:gd name="connsiteX6" fmla="*/ 780040 w 2610427"/>
                <a:gd name="connsiteY6" fmla="*/ 135129 h 2476692"/>
                <a:gd name="connsiteX7" fmla="*/ 789565 w 2610427"/>
                <a:gd name="connsiteY7" fmla="*/ 138304 h 2476692"/>
                <a:gd name="connsiteX8" fmla="*/ 808615 w 2610427"/>
                <a:gd name="connsiteY8" fmla="*/ 154179 h 2476692"/>
                <a:gd name="connsiteX9" fmla="*/ 824490 w 2610427"/>
                <a:gd name="connsiteY9" fmla="*/ 176404 h 2476692"/>
                <a:gd name="connsiteX10" fmla="*/ 827665 w 2610427"/>
                <a:gd name="connsiteY10" fmla="*/ 185929 h 2476692"/>
                <a:gd name="connsiteX11" fmla="*/ 853065 w 2610427"/>
                <a:gd name="connsiteY11" fmla="*/ 201804 h 2476692"/>
                <a:gd name="connsiteX12" fmla="*/ 929265 w 2610427"/>
                <a:gd name="connsiteY12" fmla="*/ 220854 h 2476692"/>
                <a:gd name="connsiteX13" fmla="*/ 957840 w 2610427"/>
                <a:gd name="connsiteY13" fmla="*/ 198629 h 2476692"/>
                <a:gd name="connsiteX14" fmla="*/ 980065 w 2610427"/>
                <a:gd name="connsiteY14" fmla="*/ 182754 h 2476692"/>
                <a:gd name="connsiteX15" fmla="*/ 989590 w 2610427"/>
                <a:gd name="connsiteY15" fmla="*/ 176404 h 2476692"/>
                <a:gd name="connsiteX16" fmla="*/ 1011815 w 2610427"/>
                <a:gd name="connsiteY16" fmla="*/ 173229 h 2476692"/>
                <a:gd name="connsiteX17" fmla="*/ 1027690 w 2610427"/>
                <a:gd name="connsiteY17" fmla="*/ 166879 h 2476692"/>
                <a:gd name="connsiteX18" fmla="*/ 1094365 w 2610427"/>
                <a:gd name="connsiteY18" fmla="*/ 220854 h 2476692"/>
                <a:gd name="connsiteX19" fmla="*/ 1186440 w 2610427"/>
                <a:gd name="connsiteY19" fmla="*/ 217679 h 2476692"/>
                <a:gd name="connsiteX20" fmla="*/ 1278515 w 2610427"/>
                <a:gd name="connsiteY20" fmla="*/ 170054 h 2476692"/>
                <a:gd name="connsiteX21" fmla="*/ 1326140 w 2610427"/>
                <a:gd name="connsiteY21" fmla="*/ 74804 h 2476692"/>
                <a:gd name="connsiteX22" fmla="*/ 1373765 w 2610427"/>
                <a:gd name="connsiteY22" fmla="*/ 122429 h 2476692"/>
                <a:gd name="connsiteX23" fmla="*/ 1459490 w 2610427"/>
                <a:gd name="connsiteY23" fmla="*/ 144654 h 2476692"/>
                <a:gd name="connsiteX24" fmla="*/ 1589665 w 2610427"/>
                <a:gd name="connsiteY24" fmla="*/ 144654 h 2476692"/>
                <a:gd name="connsiteX25" fmla="*/ 1697615 w 2610427"/>
                <a:gd name="connsiteY25" fmla="*/ 97029 h 2476692"/>
                <a:gd name="connsiteX26" fmla="*/ 1726190 w 2610427"/>
                <a:gd name="connsiteY26" fmla="*/ 103379 h 2476692"/>
                <a:gd name="connsiteX27" fmla="*/ 1738890 w 2610427"/>
                <a:gd name="connsiteY27" fmla="*/ 122429 h 2476692"/>
                <a:gd name="connsiteX28" fmla="*/ 1732540 w 2610427"/>
                <a:gd name="connsiteY28" fmla="*/ 141479 h 2476692"/>
                <a:gd name="connsiteX29" fmla="*/ 1723015 w 2610427"/>
                <a:gd name="connsiteY29" fmla="*/ 154179 h 2476692"/>
                <a:gd name="connsiteX30" fmla="*/ 1802390 w 2610427"/>
                <a:gd name="connsiteY30" fmla="*/ 144654 h 2476692"/>
                <a:gd name="connsiteX31" fmla="*/ 1824615 w 2610427"/>
                <a:gd name="connsiteY31" fmla="*/ 160529 h 2476692"/>
                <a:gd name="connsiteX32" fmla="*/ 1827790 w 2610427"/>
                <a:gd name="connsiteY32" fmla="*/ 195454 h 2476692"/>
                <a:gd name="connsiteX33" fmla="*/ 1834140 w 2610427"/>
                <a:gd name="connsiteY33" fmla="*/ 217679 h 2476692"/>
                <a:gd name="connsiteX34" fmla="*/ 1840490 w 2610427"/>
                <a:gd name="connsiteY34" fmla="*/ 230379 h 2476692"/>
                <a:gd name="connsiteX35" fmla="*/ 1846840 w 2610427"/>
                <a:gd name="connsiteY35" fmla="*/ 239904 h 2476692"/>
                <a:gd name="connsiteX36" fmla="*/ 1846840 w 2610427"/>
                <a:gd name="connsiteY36" fmla="*/ 249429 h 2476692"/>
                <a:gd name="connsiteX37" fmla="*/ 1916690 w 2610427"/>
                <a:gd name="connsiteY37" fmla="*/ 274829 h 2476692"/>
                <a:gd name="connsiteX38" fmla="*/ 1945265 w 2610427"/>
                <a:gd name="connsiteY38" fmla="*/ 268479 h 2476692"/>
                <a:gd name="connsiteX39" fmla="*/ 1961140 w 2610427"/>
                <a:gd name="connsiteY39" fmla="*/ 274829 h 2476692"/>
                <a:gd name="connsiteX40" fmla="*/ 1977015 w 2610427"/>
                <a:gd name="connsiteY40" fmla="*/ 293879 h 2476692"/>
                <a:gd name="connsiteX41" fmla="*/ 2002415 w 2610427"/>
                <a:gd name="connsiteY41" fmla="*/ 297054 h 2476692"/>
                <a:gd name="connsiteX42" fmla="*/ 2002415 w 2610427"/>
                <a:gd name="connsiteY42" fmla="*/ 344679 h 2476692"/>
                <a:gd name="connsiteX43" fmla="*/ 1998496 w 2610427"/>
                <a:gd name="connsiteY43" fmla="*/ 359366 h 2476692"/>
                <a:gd name="connsiteX44" fmla="*/ 1997699 w 2610427"/>
                <a:gd name="connsiteY44" fmla="*/ 359161 h 2476692"/>
                <a:gd name="connsiteX45" fmla="*/ 1996509 w 2610427"/>
                <a:gd name="connsiteY45" fmla="*/ 357863 h 2476692"/>
                <a:gd name="connsiteX46" fmla="*/ 1996082 w 2610427"/>
                <a:gd name="connsiteY46" fmla="*/ 354482 h 2476692"/>
                <a:gd name="connsiteX47" fmla="*/ 1996065 w 2610427"/>
                <a:gd name="connsiteY47" fmla="*/ 357379 h 2476692"/>
                <a:gd name="connsiteX48" fmla="*/ 1996509 w 2610427"/>
                <a:gd name="connsiteY48" fmla="*/ 357863 h 2476692"/>
                <a:gd name="connsiteX49" fmla="*/ 1996639 w 2610427"/>
                <a:gd name="connsiteY49" fmla="*/ 358889 h 2476692"/>
                <a:gd name="connsiteX50" fmla="*/ 1997699 w 2610427"/>
                <a:gd name="connsiteY50" fmla="*/ 359161 h 2476692"/>
                <a:gd name="connsiteX51" fmla="*/ 2030990 w 2610427"/>
                <a:gd name="connsiteY51" fmla="*/ 395479 h 2476692"/>
                <a:gd name="connsiteX52" fmla="*/ 2059565 w 2610427"/>
                <a:gd name="connsiteY52" fmla="*/ 385954 h 2476692"/>
                <a:gd name="connsiteX53" fmla="*/ 2069090 w 2610427"/>
                <a:gd name="connsiteY53" fmla="*/ 379604 h 2476692"/>
                <a:gd name="connsiteX54" fmla="*/ 2078615 w 2610427"/>
                <a:gd name="connsiteY54" fmla="*/ 376429 h 2476692"/>
                <a:gd name="connsiteX55" fmla="*/ 2116715 w 2610427"/>
                <a:gd name="connsiteY55" fmla="*/ 379604 h 2476692"/>
                <a:gd name="connsiteX56" fmla="*/ 2119890 w 2610427"/>
                <a:gd name="connsiteY56" fmla="*/ 411354 h 2476692"/>
                <a:gd name="connsiteX57" fmla="*/ 2129415 w 2610427"/>
                <a:gd name="connsiteY57" fmla="*/ 443104 h 2476692"/>
                <a:gd name="connsiteX58" fmla="*/ 2132590 w 2610427"/>
                <a:gd name="connsiteY58" fmla="*/ 452629 h 2476692"/>
                <a:gd name="connsiteX59" fmla="*/ 2135765 w 2610427"/>
                <a:gd name="connsiteY59" fmla="*/ 462154 h 2476692"/>
                <a:gd name="connsiteX60" fmla="*/ 2142115 w 2610427"/>
                <a:gd name="connsiteY60" fmla="*/ 493904 h 2476692"/>
                <a:gd name="connsiteX61" fmla="*/ 2138940 w 2610427"/>
                <a:gd name="connsiteY61" fmla="*/ 532004 h 2476692"/>
                <a:gd name="connsiteX62" fmla="*/ 2110365 w 2610427"/>
                <a:gd name="connsiteY62" fmla="*/ 547879 h 2476692"/>
                <a:gd name="connsiteX63" fmla="*/ 2097665 w 2610427"/>
                <a:gd name="connsiteY63" fmla="*/ 557404 h 2476692"/>
                <a:gd name="connsiteX64" fmla="*/ 2094490 w 2610427"/>
                <a:gd name="connsiteY64" fmla="*/ 582804 h 2476692"/>
                <a:gd name="connsiteX65" fmla="*/ 2104015 w 2610427"/>
                <a:gd name="connsiteY65" fmla="*/ 608204 h 2476692"/>
                <a:gd name="connsiteX66" fmla="*/ 2110365 w 2610427"/>
                <a:gd name="connsiteY66" fmla="*/ 617729 h 2476692"/>
                <a:gd name="connsiteX67" fmla="*/ 2116715 w 2610427"/>
                <a:gd name="connsiteY67" fmla="*/ 643129 h 2476692"/>
                <a:gd name="connsiteX68" fmla="*/ 2119890 w 2610427"/>
                <a:gd name="connsiteY68" fmla="*/ 719329 h 2476692"/>
                <a:gd name="connsiteX69" fmla="*/ 2123065 w 2610427"/>
                <a:gd name="connsiteY69" fmla="*/ 728854 h 2476692"/>
                <a:gd name="connsiteX70" fmla="*/ 2142115 w 2610427"/>
                <a:gd name="connsiteY70" fmla="*/ 741554 h 2476692"/>
                <a:gd name="connsiteX71" fmla="*/ 2161165 w 2610427"/>
                <a:gd name="connsiteY71" fmla="*/ 738379 h 2476692"/>
                <a:gd name="connsiteX72" fmla="*/ 2170690 w 2610427"/>
                <a:gd name="connsiteY72" fmla="*/ 732029 h 2476692"/>
                <a:gd name="connsiteX73" fmla="*/ 2183390 w 2610427"/>
                <a:gd name="connsiteY73" fmla="*/ 725679 h 2476692"/>
                <a:gd name="connsiteX74" fmla="*/ 2192915 w 2610427"/>
                <a:gd name="connsiteY74" fmla="*/ 719329 h 2476692"/>
                <a:gd name="connsiteX75" fmla="*/ 2211965 w 2610427"/>
                <a:gd name="connsiteY75" fmla="*/ 712979 h 2476692"/>
                <a:gd name="connsiteX76" fmla="*/ 2259590 w 2610427"/>
                <a:gd name="connsiteY76" fmla="*/ 716154 h 2476692"/>
                <a:gd name="connsiteX77" fmla="*/ 2262765 w 2610427"/>
                <a:gd name="connsiteY77" fmla="*/ 732029 h 2476692"/>
                <a:gd name="connsiteX78" fmla="*/ 2272290 w 2610427"/>
                <a:gd name="connsiteY78" fmla="*/ 751079 h 2476692"/>
                <a:gd name="connsiteX79" fmla="*/ 2297690 w 2610427"/>
                <a:gd name="connsiteY79" fmla="*/ 754254 h 2476692"/>
                <a:gd name="connsiteX80" fmla="*/ 2329440 w 2610427"/>
                <a:gd name="connsiteY80" fmla="*/ 738379 h 2476692"/>
                <a:gd name="connsiteX81" fmla="*/ 2338965 w 2610427"/>
                <a:gd name="connsiteY81" fmla="*/ 735204 h 2476692"/>
                <a:gd name="connsiteX82" fmla="*/ 2367540 w 2610427"/>
                <a:gd name="connsiteY82" fmla="*/ 722504 h 2476692"/>
                <a:gd name="connsiteX83" fmla="*/ 2377065 w 2610427"/>
                <a:gd name="connsiteY83" fmla="*/ 719329 h 2476692"/>
                <a:gd name="connsiteX84" fmla="*/ 2391809 w 2610427"/>
                <a:gd name="connsiteY84" fmla="*/ 719329 h 2476692"/>
                <a:gd name="connsiteX85" fmla="*/ 2403259 w 2610427"/>
                <a:gd name="connsiteY85" fmla="*/ 812198 h 2476692"/>
                <a:gd name="connsiteX86" fmla="*/ 2450884 w 2610427"/>
                <a:gd name="connsiteY86" fmla="*/ 919354 h 2476692"/>
                <a:gd name="connsiteX87" fmla="*/ 2458028 w 2610427"/>
                <a:gd name="connsiteY87" fmla="*/ 1005079 h 2476692"/>
                <a:gd name="connsiteX88" fmla="*/ 2510414 w 2610427"/>
                <a:gd name="connsiteY88" fmla="*/ 1050323 h 2476692"/>
                <a:gd name="connsiteX89" fmla="*/ 2593759 w 2610427"/>
                <a:gd name="connsiteY89" fmla="*/ 1257492 h 2476692"/>
                <a:gd name="connsiteX90" fmla="*/ 2610427 w 2610427"/>
                <a:gd name="connsiteY90" fmla="*/ 1350360 h 2476692"/>
                <a:gd name="connsiteX91" fmla="*/ 2605665 w 2610427"/>
                <a:gd name="connsiteY91" fmla="*/ 1412273 h 2476692"/>
                <a:gd name="connsiteX92" fmla="*/ 2588996 w 2610427"/>
                <a:gd name="connsiteY92" fmla="*/ 1452754 h 2476692"/>
                <a:gd name="connsiteX93" fmla="*/ 2574709 w 2610427"/>
                <a:gd name="connsiteY93" fmla="*/ 1486092 h 2476692"/>
                <a:gd name="connsiteX94" fmla="*/ 2608046 w 2610427"/>
                <a:gd name="connsiteY94" fmla="*/ 1586104 h 2476692"/>
                <a:gd name="connsiteX95" fmla="*/ 2598522 w 2610427"/>
                <a:gd name="connsiteY95" fmla="*/ 1619442 h 2476692"/>
                <a:gd name="connsiteX96" fmla="*/ 2593759 w 2610427"/>
                <a:gd name="connsiteY96" fmla="*/ 1712310 h 2476692"/>
                <a:gd name="connsiteX97" fmla="*/ 2577090 w 2610427"/>
                <a:gd name="connsiteY97" fmla="*/ 1802798 h 2476692"/>
                <a:gd name="connsiteX98" fmla="*/ 2512796 w 2610427"/>
                <a:gd name="connsiteY98" fmla="*/ 1824229 h 2476692"/>
                <a:gd name="connsiteX99" fmla="*/ 2558040 w 2610427"/>
                <a:gd name="connsiteY99" fmla="*/ 1883760 h 2476692"/>
                <a:gd name="connsiteX100" fmla="*/ 2555659 w 2610427"/>
                <a:gd name="connsiteY100" fmla="*/ 1909954 h 2476692"/>
                <a:gd name="connsiteX101" fmla="*/ 2527084 w 2610427"/>
                <a:gd name="connsiteY101" fmla="*/ 1995679 h 2476692"/>
                <a:gd name="connsiteX102" fmla="*/ 2503271 w 2610427"/>
                <a:gd name="connsiteY102" fmla="*/ 1986154 h 2476692"/>
                <a:gd name="connsiteX103" fmla="*/ 2472315 w 2610427"/>
                <a:gd name="connsiteY103" fmla="*/ 1971867 h 2476692"/>
                <a:gd name="connsiteX104" fmla="*/ 2436596 w 2610427"/>
                <a:gd name="connsiteY104" fmla="*/ 1986154 h 2476692"/>
                <a:gd name="connsiteX105" fmla="*/ 2450884 w 2610427"/>
                <a:gd name="connsiteY105" fmla="*/ 2017110 h 2476692"/>
                <a:gd name="connsiteX106" fmla="*/ 2465171 w 2610427"/>
                <a:gd name="connsiteY106" fmla="*/ 2057592 h 2476692"/>
                <a:gd name="connsiteX107" fmla="*/ 2455646 w 2610427"/>
                <a:gd name="connsiteY107" fmla="*/ 2121885 h 2476692"/>
                <a:gd name="connsiteX108" fmla="*/ 2410403 w 2610427"/>
                <a:gd name="connsiteY108" fmla="*/ 2152842 h 2476692"/>
                <a:gd name="connsiteX109" fmla="*/ 2458028 w 2610427"/>
                <a:gd name="connsiteY109" fmla="*/ 2186180 h 2476692"/>
                <a:gd name="connsiteX110" fmla="*/ 2448503 w 2610427"/>
                <a:gd name="connsiteY110" fmla="*/ 2226660 h 2476692"/>
                <a:gd name="connsiteX111" fmla="*/ 2410403 w 2610427"/>
                <a:gd name="connsiteY111" fmla="*/ 2262379 h 2476692"/>
                <a:gd name="connsiteX112" fmla="*/ 2388971 w 2610427"/>
                <a:gd name="connsiteY112" fmla="*/ 2331435 h 2476692"/>
                <a:gd name="connsiteX113" fmla="*/ 2405640 w 2610427"/>
                <a:gd name="connsiteY113" fmla="*/ 2381442 h 2476692"/>
                <a:gd name="connsiteX114" fmla="*/ 2391353 w 2610427"/>
                <a:gd name="connsiteY114" fmla="*/ 2414779 h 2476692"/>
                <a:gd name="connsiteX115" fmla="*/ 2334203 w 2610427"/>
                <a:gd name="connsiteY115" fmla="*/ 2433829 h 2476692"/>
                <a:gd name="connsiteX116" fmla="*/ 2305628 w 2610427"/>
                <a:gd name="connsiteY116" fmla="*/ 2443354 h 2476692"/>
                <a:gd name="connsiteX117" fmla="*/ 2296103 w 2610427"/>
                <a:gd name="connsiteY117" fmla="*/ 2457642 h 2476692"/>
                <a:gd name="connsiteX118" fmla="*/ 2262765 w 2610427"/>
                <a:gd name="connsiteY118" fmla="*/ 2462404 h 2476692"/>
                <a:gd name="connsiteX119" fmla="*/ 2229428 w 2610427"/>
                <a:gd name="connsiteY119" fmla="*/ 2438592 h 2476692"/>
                <a:gd name="connsiteX120" fmla="*/ 2215140 w 2610427"/>
                <a:gd name="connsiteY120" fmla="*/ 2433829 h 2476692"/>
                <a:gd name="connsiteX121" fmla="*/ 2205615 w 2610427"/>
                <a:gd name="connsiteY121" fmla="*/ 2457642 h 2476692"/>
                <a:gd name="connsiteX122" fmla="*/ 2191328 w 2610427"/>
                <a:gd name="connsiteY122" fmla="*/ 2467167 h 2476692"/>
                <a:gd name="connsiteX123" fmla="*/ 2153228 w 2610427"/>
                <a:gd name="connsiteY123" fmla="*/ 2476692 h 2476692"/>
                <a:gd name="connsiteX124" fmla="*/ 2134178 w 2610427"/>
                <a:gd name="connsiteY124" fmla="*/ 2448117 h 2476692"/>
                <a:gd name="connsiteX125" fmla="*/ 2124653 w 2610427"/>
                <a:gd name="connsiteY125" fmla="*/ 2433829 h 2476692"/>
                <a:gd name="connsiteX126" fmla="*/ 2119890 w 2610427"/>
                <a:gd name="connsiteY126" fmla="*/ 2352867 h 2476692"/>
                <a:gd name="connsiteX127" fmla="*/ 2124653 w 2610427"/>
                <a:gd name="connsiteY127" fmla="*/ 2338579 h 2476692"/>
                <a:gd name="connsiteX128" fmla="*/ 2167515 w 2610427"/>
                <a:gd name="connsiteY128" fmla="*/ 2290954 h 2476692"/>
                <a:gd name="connsiteX129" fmla="*/ 2177040 w 2610427"/>
                <a:gd name="connsiteY129" fmla="*/ 2276667 h 2476692"/>
                <a:gd name="connsiteX130" fmla="*/ 2153228 w 2610427"/>
                <a:gd name="connsiteY130" fmla="*/ 2248092 h 2476692"/>
                <a:gd name="connsiteX131" fmla="*/ 2134178 w 2610427"/>
                <a:gd name="connsiteY131" fmla="*/ 2238567 h 2476692"/>
                <a:gd name="connsiteX132" fmla="*/ 2129415 w 2610427"/>
                <a:gd name="connsiteY132" fmla="*/ 2214754 h 2476692"/>
                <a:gd name="connsiteX133" fmla="*/ 2148465 w 2610427"/>
                <a:gd name="connsiteY133" fmla="*/ 2186179 h 2476692"/>
                <a:gd name="connsiteX134" fmla="*/ 2167515 w 2610427"/>
                <a:gd name="connsiteY134" fmla="*/ 2190942 h 2476692"/>
                <a:gd name="connsiteX135" fmla="*/ 2229428 w 2610427"/>
                <a:gd name="connsiteY135" fmla="*/ 2186179 h 2476692"/>
                <a:gd name="connsiteX136" fmla="*/ 2234190 w 2610427"/>
                <a:gd name="connsiteY136" fmla="*/ 2171892 h 2476692"/>
                <a:gd name="connsiteX137" fmla="*/ 2224665 w 2610427"/>
                <a:gd name="connsiteY137" fmla="*/ 2143317 h 2476692"/>
                <a:gd name="connsiteX138" fmla="*/ 2210378 w 2610427"/>
                <a:gd name="connsiteY138" fmla="*/ 2129029 h 2476692"/>
                <a:gd name="connsiteX139" fmla="*/ 2191328 w 2610427"/>
                <a:gd name="connsiteY139" fmla="*/ 2119504 h 2476692"/>
                <a:gd name="connsiteX140" fmla="*/ 2162753 w 2610427"/>
                <a:gd name="connsiteY140" fmla="*/ 2114742 h 2476692"/>
                <a:gd name="connsiteX141" fmla="*/ 2157990 w 2610427"/>
                <a:gd name="connsiteY141" fmla="*/ 2095692 h 2476692"/>
                <a:gd name="connsiteX142" fmla="*/ 2181803 w 2610427"/>
                <a:gd name="connsiteY142" fmla="*/ 2062354 h 2476692"/>
                <a:gd name="connsiteX143" fmla="*/ 2191328 w 2610427"/>
                <a:gd name="connsiteY143" fmla="*/ 2048067 h 2476692"/>
                <a:gd name="connsiteX144" fmla="*/ 2196090 w 2610427"/>
                <a:gd name="connsiteY144" fmla="*/ 1986154 h 2476692"/>
                <a:gd name="connsiteX145" fmla="*/ 2186565 w 2610427"/>
                <a:gd name="connsiteY145" fmla="*/ 1957579 h 2476692"/>
                <a:gd name="connsiteX146" fmla="*/ 2162753 w 2610427"/>
                <a:gd name="connsiteY146" fmla="*/ 1952817 h 2476692"/>
                <a:gd name="connsiteX147" fmla="*/ 2134178 w 2610427"/>
                <a:gd name="connsiteY147" fmla="*/ 1971867 h 2476692"/>
                <a:gd name="connsiteX148" fmla="*/ 2124653 w 2610427"/>
                <a:gd name="connsiteY148" fmla="*/ 1986154 h 2476692"/>
                <a:gd name="connsiteX149" fmla="*/ 2105603 w 2610427"/>
                <a:gd name="connsiteY149" fmla="*/ 2005204 h 2476692"/>
                <a:gd name="connsiteX150" fmla="*/ 2072265 w 2610427"/>
                <a:gd name="connsiteY150" fmla="*/ 2038542 h 2476692"/>
                <a:gd name="connsiteX151" fmla="*/ 2057978 w 2610427"/>
                <a:gd name="connsiteY151" fmla="*/ 2048067 h 2476692"/>
                <a:gd name="connsiteX152" fmla="*/ 2029403 w 2610427"/>
                <a:gd name="connsiteY152" fmla="*/ 2052829 h 2476692"/>
                <a:gd name="connsiteX153" fmla="*/ 2019878 w 2610427"/>
                <a:gd name="connsiteY153" fmla="*/ 2009967 h 2476692"/>
                <a:gd name="connsiteX154" fmla="*/ 1991303 w 2610427"/>
                <a:gd name="connsiteY154" fmla="*/ 1986154 h 2476692"/>
                <a:gd name="connsiteX155" fmla="*/ 1962728 w 2610427"/>
                <a:gd name="connsiteY155" fmla="*/ 1976629 h 2476692"/>
                <a:gd name="connsiteX156" fmla="*/ 1948440 w 2610427"/>
                <a:gd name="connsiteY156" fmla="*/ 1990917 h 2476692"/>
                <a:gd name="connsiteX157" fmla="*/ 1910340 w 2610427"/>
                <a:gd name="connsiteY157" fmla="*/ 2000442 h 2476692"/>
                <a:gd name="connsiteX158" fmla="*/ 1891290 w 2610427"/>
                <a:gd name="connsiteY158" fmla="*/ 1971867 h 2476692"/>
                <a:gd name="connsiteX159" fmla="*/ 1886528 w 2610427"/>
                <a:gd name="connsiteY159" fmla="*/ 1952817 h 2476692"/>
                <a:gd name="connsiteX160" fmla="*/ 1881765 w 2610427"/>
                <a:gd name="connsiteY160" fmla="*/ 1929004 h 2476692"/>
                <a:gd name="connsiteX161" fmla="*/ 1877003 w 2610427"/>
                <a:gd name="connsiteY161" fmla="*/ 1886142 h 2476692"/>
                <a:gd name="connsiteX162" fmla="*/ 1862715 w 2610427"/>
                <a:gd name="connsiteY162" fmla="*/ 1871854 h 2476692"/>
                <a:gd name="connsiteX163" fmla="*/ 1853190 w 2610427"/>
                <a:gd name="connsiteY163" fmla="*/ 1857567 h 2476692"/>
                <a:gd name="connsiteX164" fmla="*/ 1824615 w 2610427"/>
                <a:gd name="connsiteY164" fmla="*/ 1838517 h 2476692"/>
                <a:gd name="connsiteX165" fmla="*/ 1819853 w 2610427"/>
                <a:gd name="connsiteY165" fmla="*/ 1819467 h 2476692"/>
                <a:gd name="connsiteX166" fmla="*/ 1834140 w 2610427"/>
                <a:gd name="connsiteY166" fmla="*/ 1814704 h 2476692"/>
                <a:gd name="connsiteX167" fmla="*/ 1848428 w 2610427"/>
                <a:gd name="connsiteY167" fmla="*/ 1809942 h 2476692"/>
                <a:gd name="connsiteX168" fmla="*/ 1862715 w 2610427"/>
                <a:gd name="connsiteY168" fmla="*/ 1805179 h 2476692"/>
                <a:gd name="connsiteX169" fmla="*/ 1891290 w 2610427"/>
                <a:gd name="connsiteY169" fmla="*/ 1795654 h 2476692"/>
                <a:gd name="connsiteX170" fmla="*/ 1896053 w 2610427"/>
                <a:gd name="connsiteY170" fmla="*/ 1781367 h 2476692"/>
                <a:gd name="connsiteX171" fmla="*/ 1900815 w 2610427"/>
                <a:gd name="connsiteY171" fmla="*/ 1762317 h 2476692"/>
                <a:gd name="connsiteX172" fmla="*/ 1891290 w 2610427"/>
                <a:gd name="connsiteY172" fmla="*/ 1676592 h 2476692"/>
                <a:gd name="connsiteX173" fmla="*/ 1719840 w 2610427"/>
                <a:gd name="connsiteY173" fmla="*/ 1671829 h 2476692"/>
                <a:gd name="connsiteX174" fmla="*/ 1710315 w 2610427"/>
                <a:gd name="connsiteY174" fmla="*/ 1690879 h 2476692"/>
                <a:gd name="connsiteX175" fmla="*/ 1696028 w 2610427"/>
                <a:gd name="connsiteY175" fmla="*/ 1709929 h 2476692"/>
                <a:gd name="connsiteX176" fmla="*/ 1681740 w 2610427"/>
                <a:gd name="connsiteY176" fmla="*/ 1724217 h 2476692"/>
                <a:gd name="connsiteX177" fmla="*/ 1676978 w 2610427"/>
                <a:gd name="connsiteY177" fmla="*/ 1738504 h 2476692"/>
                <a:gd name="connsiteX178" fmla="*/ 1667453 w 2610427"/>
                <a:gd name="connsiteY178" fmla="*/ 1762317 h 2476692"/>
                <a:gd name="connsiteX179" fmla="*/ 1643640 w 2610427"/>
                <a:gd name="connsiteY179" fmla="*/ 1795654 h 2476692"/>
                <a:gd name="connsiteX180" fmla="*/ 1291215 w 2610427"/>
                <a:gd name="connsiteY180" fmla="*/ 1938529 h 2476692"/>
                <a:gd name="connsiteX181" fmla="*/ 1162628 w 2610427"/>
                <a:gd name="connsiteY181" fmla="*/ 1833754 h 2476692"/>
                <a:gd name="connsiteX182" fmla="*/ 1091190 w 2610427"/>
                <a:gd name="connsiteY182" fmla="*/ 1843279 h 2476692"/>
                <a:gd name="connsiteX183" fmla="*/ 1014990 w 2610427"/>
                <a:gd name="connsiteY183" fmla="*/ 1786129 h 2476692"/>
                <a:gd name="connsiteX184" fmla="*/ 1024515 w 2610427"/>
                <a:gd name="connsiteY184" fmla="*/ 1733742 h 2476692"/>
                <a:gd name="connsiteX185" fmla="*/ 957840 w 2610427"/>
                <a:gd name="connsiteY185" fmla="*/ 1719454 h 2476692"/>
                <a:gd name="connsiteX186" fmla="*/ 767340 w 2610427"/>
                <a:gd name="connsiteY186" fmla="*/ 1671829 h 2476692"/>
                <a:gd name="connsiteX187" fmla="*/ 743528 w 2610427"/>
                <a:gd name="connsiteY187" fmla="*/ 1681354 h 2476692"/>
                <a:gd name="connsiteX188" fmla="*/ 729240 w 2610427"/>
                <a:gd name="connsiteY188" fmla="*/ 1686117 h 2476692"/>
                <a:gd name="connsiteX189" fmla="*/ 700665 w 2610427"/>
                <a:gd name="connsiteY189" fmla="*/ 1667067 h 2476692"/>
                <a:gd name="connsiteX190" fmla="*/ 657803 w 2610427"/>
                <a:gd name="connsiteY190" fmla="*/ 1624204 h 2476692"/>
                <a:gd name="connsiteX191" fmla="*/ 605415 w 2610427"/>
                <a:gd name="connsiteY191" fmla="*/ 1638492 h 2476692"/>
                <a:gd name="connsiteX192" fmla="*/ 533978 w 2610427"/>
                <a:gd name="connsiteY192" fmla="*/ 1543242 h 2476692"/>
                <a:gd name="connsiteX193" fmla="*/ 548265 w 2610427"/>
                <a:gd name="connsiteY193" fmla="*/ 1528954 h 2476692"/>
                <a:gd name="connsiteX194" fmla="*/ 567315 w 2610427"/>
                <a:gd name="connsiteY194" fmla="*/ 1514667 h 2476692"/>
                <a:gd name="connsiteX195" fmla="*/ 581603 w 2610427"/>
                <a:gd name="connsiteY195" fmla="*/ 1476567 h 2476692"/>
                <a:gd name="connsiteX196" fmla="*/ 567315 w 2610427"/>
                <a:gd name="connsiteY196" fmla="*/ 1471804 h 2476692"/>
                <a:gd name="connsiteX197" fmla="*/ 543503 w 2610427"/>
                <a:gd name="connsiteY197" fmla="*/ 1462279 h 2476692"/>
                <a:gd name="connsiteX198" fmla="*/ 562553 w 2610427"/>
                <a:gd name="connsiteY198" fmla="*/ 1428942 h 2476692"/>
                <a:gd name="connsiteX199" fmla="*/ 567315 w 2610427"/>
                <a:gd name="connsiteY199" fmla="*/ 1414654 h 2476692"/>
                <a:gd name="connsiteX200" fmla="*/ 586365 w 2610427"/>
                <a:gd name="connsiteY200" fmla="*/ 1386079 h 2476692"/>
                <a:gd name="connsiteX201" fmla="*/ 619703 w 2610427"/>
                <a:gd name="connsiteY201" fmla="*/ 1362267 h 2476692"/>
                <a:gd name="connsiteX202" fmla="*/ 633990 w 2610427"/>
                <a:gd name="connsiteY202" fmla="*/ 1343217 h 2476692"/>
                <a:gd name="connsiteX203" fmla="*/ 662565 w 2610427"/>
                <a:gd name="connsiteY203" fmla="*/ 1319404 h 2476692"/>
                <a:gd name="connsiteX204" fmla="*/ 667328 w 2610427"/>
                <a:gd name="connsiteY204" fmla="*/ 1281304 h 2476692"/>
                <a:gd name="connsiteX205" fmla="*/ 638753 w 2610427"/>
                <a:gd name="connsiteY205" fmla="*/ 1267017 h 2476692"/>
                <a:gd name="connsiteX206" fmla="*/ 633990 w 2610427"/>
                <a:gd name="connsiteY206" fmla="*/ 1252729 h 2476692"/>
                <a:gd name="connsiteX207" fmla="*/ 643515 w 2610427"/>
                <a:gd name="connsiteY207" fmla="*/ 1238442 h 2476692"/>
                <a:gd name="connsiteX208" fmla="*/ 672090 w 2610427"/>
                <a:gd name="connsiteY208" fmla="*/ 1219392 h 2476692"/>
                <a:gd name="connsiteX209" fmla="*/ 672090 w 2610427"/>
                <a:gd name="connsiteY209" fmla="*/ 1162242 h 2476692"/>
                <a:gd name="connsiteX210" fmla="*/ 662565 w 2610427"/>
                <a:gd name="connsiteY210" fmla="*/ 1147954 h 2476692"/>
                <a:gd name="connsiteX211" fmla="*/ 619703 w 2610427"/>
                <a:gd name="connsiteY211" fmla="*/ 1167004 h 2476692"/>
                <a:gd name="connsiteX212" fmla="*/ 610178 w 2610427"/>
                <a:gd name="connsiteY212" fmla="*/ 1152717 h 2476692"/>
                <a:gd name="connsiteX213" fmla="*/ 605415 w 2610427"/>
                <a:gd name="connsiteY213" fmla="*/ 1105092 h 2476692"/>
                <a:gd name="connsiteX214" fmla="*/ 595890 w 2610427"/>
                <a:gd name="connsiteY214" fmla="*/ 1086042 h 2476692"/>
                <a:gd name="connsiteX215" fmla="*/ 576840 w 2610427"/>
                <a:gd name="connsiteY215" fmla="*/ 1057467 h 2476692"/>
                <a:gd name="connsiteX216" fmla="*/ 572078 w 2610427"/>
                <a:gd name="connsiteY216" fmla="*/ 1043179 h 2476692"/>
                <a:gd name="connsiteX217" fmla="*/ 562553 w 2610427"/>
                <a:gd name="connsiteY217" fmla="*/ 962217 h 2476692"/>
                <a:gd name="connsiteX218" fmla="*/ 462540 w 2610427"/>
                <a:gd name="connsiteY218" fmla="*/ 1043179 h 2476692"/>
                <a:gd name="connsiteX219" fmla="*/ 433965 w 2610427"/>
                <a:gd name="connsiteY219" fmla="*/ 952692 h 2476692"/>
                <a:gd name="connsiteX220" fmla="*/ 343478 w 2610427"/>
                <a:gd name="connsiteY220" fmla="*/ 862204 h 2476692"/>
                <a:gd name="connsiteX221" fmla="*/ 262515 w 2610427"/>
                <a:gd name="connsiteY221" fmla="*/ 871729 h 2476692"/>
                <a:gd name="connsiteX222" fmla="*/ 205365 w 2610427"/>
                <a:gd name="connsiteY222" fmla="*/ 919354 h 2476692"/>
                <a:gd name="connsiteX223" fmla="*/ 95828 w 2610427"/>
                <a:gd name="connsiteY223" fmla="*/ 986029 h 2476692"/>
                <a:gd name="connsiteX224" fmla="*/ 24390 w 2610427"/>
                <a:gd name="connsiteY224" fmla="*/ 986029 h 2476692"/>
                <a:gd name="connsiteX225" fmla="*/ 14865 w 2610427"/>
                <a:gd name="connsiteY225" fmla="*/ 947929 h 2476692"/>
                <a:gd name="connsiteX226" fmla="*/ 578 w 2610427"/>
                <a:gd name="connsiteY226" fmla="*/ 933642 h 2476692"/>
                <a:gd name="connsiteX227" fmla="*/ 5340 w 2610427"/>
                <a:gd name="connsiteY227" fmla="*/ 890779 h 2476692"/>
                <a:gd name="connsiteX228" fmla="*/ 57728 w 2610427"/>
                <a:gd name="connsiteY228" fmla="*/ 781242 h 2476692"/>
                <a:gd name="connsiteX229" fmla="*/ 238703 w 2610427"/>
                <a:gd name="connsiteY229" fmla="*/ 543117 h 2476692"/>
                <a:gd name="connsiteX230" fmla="*/ 333953 w 2610427"/>
                <a:gd name="connsiteY230" fmla="*/ 543117 h 2476692"/>
                <a:gd name="connsiteX231" fmla="*/ 429203 w 2610427"/>
                <a:gd name="connsiteY231" fmla="*/ 524067 h 2476692"/>
                <a:gd name="connsiteX232" fmla="*/ 467303 w 2610427"/>
                <a:gd name="connsiteY232" fmla="*/ 538354 h 2476692"/>
                <a:gd name="connsiteX233" fmla="*/ 481590 w 2610427"/>
                <a:gd name="connsiteY233" fmla="*/ 528829 h 2476692"/>
                <a:gd name="connsiteX234" fmla="*/ 486353 w 2610427"/>
                <a:gd name="connsiteY234" fmla="*/ 514542 h 2476692"/>
                <a:gd name="connsiteX235" fmla="*/ 491115 w 2610427"/>
                <a:gd name="connsiteY235" fmla="*/ 466917 h 2476692"/>
                <a:gd name="connsiteX236" fmla="*/ 481590 w 2610427"/>
                <a:gd name="connsiteY236" fmla="*/ 438342 h 2476692"/>
                <a:gd name="connsiteX237" fmla="*/ 462540 w 2610427"/>
                <a:gd name="connsiteY237" fmla="*/ 409767 h 2476692"/>
                <a:gd name="connsiteX238" fmla="*/ 472065 w 2610427"/>
                <a:gd name="connsiteY238" fmla="*/ 347854 h 2476692"/>
                <a:gd name="connsiteX239" fmla="*/ 505403 w 2610427"/>
                <a:gd name="connsiteY239" fmla="*/ 295467 h 2476692"/>
                <a:gd name="connsiteX240" fmla="*/ 514928 w 2610427"/>
                <a:gd name="connsiteY240" fmla="*/ 281179 h 2476692"/>
                <a:gd name="connsiteX241" fmla="*/ 519690 w 2610427"/>
                <a:gd name="connsiteY241" fmla="*/ 257367 h 2476692"/>
                <a:gd name="connsiteX242" fmla="*/ 529215 w 2610427"/>
                <a:gd name="connsiteY242" fmla="*/ 243079 h 2476692"/>
                <a:gd name="connsiteX243" fmla="*/ 538740 w 2610427"/>
                <a:gd name="connsiteY243" fmla="*/ 204979 h 2476692"/>
                <a:gd name="connsiteX244" fmla="*/ 548265 w 2610427"/>
                <a:gd name="connsiteY244" fmla="*/ 185929 h 2476692"/>
                <a:gd name="connsiteX245" fmla="*/ 553028 w 2610427"/>
                <a:gd name="connsiteY245" fmla="*/ 171642 h 2476692"/>
                <a:gd name="connsiteX246" fmla="*/ 562553 w 2610427"/>
                <a:gd name="connsiteY246" fmla="*/ 157354 h 2476692"/>
                <a:gd name="connsiteX247" fmla="*/ 567315 w 2610427"/>
                <a:gd name="connsiteY247" fmla="*/ 133542 h 2476692"/>
                <a:gd name="connsiteX248" fmla="*/ 576840 w 2610427"/>
                <a:gd name="connsiteY248" fmla="*/ 100204 h 2476692"/>
                <a:gd name="connsiteX249" fmla="*/ 581603 w 2610427"/>
                <a:gd name="connsiteY249" fmla="*/ 81154 h 2476692"/>
                <a:gd name="connsiteX250" fmla="*/ 595890 w 2610427"/>
                <a:gd name="connsiteY250" fmla="*/ 33529 h 2476692"/>
                <a:gd name="connsiteX251" fmla="*/ 619703 w 2610427"/>
                <a:gd name="connsiteY251" fmla="*/ 192 h 2476692"/>
                <a:gd name="connsiteX252" fmla="*/ 621543 w 2610427"/>
                <a:gd name="connsiteY252" fmla="*/ 0 h 2476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Lst>
              <a:rect l="l" t="t" r="r" b="b"/>
              <a:pathLst>
                <a:path w="2610427" h="2476692">
                  <a:moveTo>
                    <a:pt x="621543" y="0"/>
                  </a:moveTo>
                  <a:lnTo>
                    <a:pt x="637165" y="20829"/>
                  </a:lnTo>
                  <a:cubicBezTo>
                    <a:pt x="639409" y="23915"/>
                    <a:pt x="642852" y="26596"/>
                    <a:pt x="643515" y="30354"/>
                  </a:cubicBezTo>
                  <a:cubicBezTo>
                    <a:pt x="646096" y="44982"/>
                    <a:pt x="644486" y="60114"/>
                    <a:pt x="646690" y="74804"/>
                  </a:cubicBezTo>
                  <a:cubicBezTo>
                    <a:pt x="648211" y="84945"/>
                    <a:pt x="652018" y="91811"/>
                    <a:pt x="656215" y="100204"/>
                  </a:cubicBezTo>
                  <a:lnTo>
                    <a:pt x="757815" y="119254"/>
                  </a:lnTo>
                  <a:cubicBezTo>
                    <a:pt x="765223" y="124546"/>
                    <a:pt x="772233" y="130445"/>
                    <a:pt x="780040" y="135129"/>
                  </a:cubicBezTo>
                  <a:cubicBezTo>
                    <a:pt x="782910" y="136851"/>
                    <a:pt x="786572" y="136807"/>
                    <a:pt x="789565" y="138304"/>
                  </a:cubicBezTo>
                  <a:cubicBezTo>
                    <a:pt x="796914" y="141978"/>
                    <a:pt x="803349" y="148035"/>
                    <a:pt x="808615" y="154179"/>
                  </a:cubicBezTo>
                  <a:cubicBezTo>
                    <a:pt x="810341" y="156192"/>
                    <a:pt x="822480" y="172384"/>
                    <a:pt x="824490" y="176404"/>
                  </a:cubicBezTo>
                  <a:cubicBezTo>
                    <a:pt x="825987" y="179397"/>
                    <a:pt x="825298" y="183562"/>
                    <a:pt x="827665" y="185929"/>
                  </a:cubicBezTo>
                  <a:cubicBezTo>
                    <a:pt x="834671" y="192935"/>
                    <a:pt x="844234" y="197389"/>
                    <a:pt x="853065" y="201804"/>
                  </a:cubicBezTo>
                  <a:lnTo>
                    <a:pt x="929265" y="220854"/>
                  </a:lnTo>
                  <a:cubicBezTo>
                    <a:pt x="938790" y="213446"/>
                    <a:pt x="948945" y="206783"/>
                    <a:pt x="957840" y="198629"/>
                  </a:cubicBezTo>
                  <a:cubicBezTo>
                    <a:pt x="977573" y="180541"/>
                    <a:pt x="955973" y="188777"/>
                    <a:pt x="980065" y="182754"/>
                  </a:cubicBezTo>
                  <a:cubicBezTo>
                    <a:pt x="983240" y="180637"/>
                    <a:pt x="985935" y="177500"/>
                    <a:pt x="989590" y="176404"/>
                  </a:cubicBezTo>
                  <a:cubicBezTo>
                    <a:pt x="996758" y="174254"/>
                    <a:pt x="1004477" y="174697"/>
                    <a:pt x="1011815" y="173229"/>
                  </a:cubicBezTo>
                  <a:cubicBezTo>
                    <a:pt x="1018354" y="171921"/>
                    <a:pt x="1022046" y="169701"/>
                    <a:pt x="1027690" y="166879"/>
                  </a:cubicBezTo>
                  <a:lnTo>
                    <a:pt x="1094365" y="220854"/>
                  </a:lnTo>
                  <a:lnTo>
                    <a:pt x="1186440" y="217679"/>
                  </a:lnTo>
                  <a:lnTo>
                    <a:pt x="1278515" y="170054"/>
                  </a:lnTo>
                  <a:lnTo>
                    <a:pt x="1326140" y="74804"/>
                  </a:lnTo>
                  <a:lnTo>
                    <a:pt x="1373765" y="122429"/>
                  </a:lnTo>
                  <a:lnTo>
                    <a:pt x="1459490" y="144654"/>
                  </a:lnTo>
                  <a:lnTo>
                    <a:pt x="1589665" y="144654"/>
                  </a:lnTo>
                  <a:lnTo>
                    <a:pt x="1697615" y="97029"/>
                  </a:lnTo>
                  <a:cubicBezTo>
                    <a:pt x="1707140" y="99146"/>
                    <a:pt x="1717880" y="98265"/>
                    <a:pt x="1726190" y="103379"/>
                  </a:cubicBezTo>
                  <a:cubicBezTo>
                    <a:pt x="1732690" y="107379"/>
                    <a:pt x="1738890" y="122429"/>
                    <a:pt x="1738890" y="122429"/>
                  </a:cubicBezTo>
                  <a:cubicBezTo>
                    <a:pt x="1736773" y="128779"/>
                    <a:pt x="1738109" y="137766"/>
                    <a:pt x="1732540" y="141479"/>
                  </a:cubicBezTo>
                  <a:cubicBezTo>
                    <a:pt x="1721254" y="149003"/>
                    <a:pt x="1723015" y="144013"/>
                    <a:pt x="1723015" y="154179"/>
                  </a:cubicBezTo>
                  <a:lnTo>
                    <a:pt x="1802390" y="144654"/>
                  </a:lnTo>
                  <a:cubicBezTo>
                    <a:pt x="1809798" y="149946"/>
                    <a:pt x="1820544" y="152386"/>
                    <a:pt x="1824615" y="160529"/>
                  </a:cubicBezTo>
                  <a:cubicBezTo>
                    <a:pt x="1829843" y="170985"/>
                    <a:pt x="1826245" y="183867"/>
                    <a:pt x="1827790" y="195454"/>
                  </a:cubicBezTo>
                  <a:cubicBezTo>
                    <a:pt x="1828310" y="199352"/>
                    <a:pt x="1832244" y="213255"/>
                    <a:pt x="1834140" y="217679"/>
                  </a:cubicBezTo>
                  <a:cubicBezTo>
                    <a:pt x="1836004" y="222029"/>
                    <a:pt x="1838142" y="226270"/>
                    <a:pt x="1840490" y="230379"/>
                  </a:cubicBezTo>
                  <a:cubicBezTo>
                    <a:pt x="1842383" y="233692"/>
                    <a:pt x="1845633" y="236284"/>
                    <a:pt x="1846840" y="239904"/>
                  </a:cubicBezTo>
                  <a:cubicBezTo>
                    <a:pt x="1847844" y="242916"/>
                    <a:pt x="1846840" y="246254"/>
                    <a:pt x="1846840" y="249429"/>
                  </a:cubicBezTo>
                  <a:lnTo>
                    <a:pt x="1916690" y="274829"/>
                  </a:lnTo>
                  <a:cubicBezTo>
                    <a:pt x="1926215" y="272712"/>
                    <a:pt x="1935508" y="268479"/>
                    <a:pt x="1945265" y="268479"/>
                  </a:cubicBezTo>
                  <a:cubicBezTo>
                    <a:pt x="1950964" y="268479"/>
                    <a:pt x="1956502" y="271516"/>
                    <a:pt x="1961140" y="274829"/>
                  </a:cubicBezTo>
                  <a:cubicBezTo>
                    <a:pt x="1970938" y="281828"/>
                    <a:pt x="1963665" y="289024"/>
                    <a:pt x="1977015" y="293879"/>
                  </a:cubicBezTo>
                  <a:cubicBezTo>
                    <a:pt x="1985034" y="296795"/>
                    <a:pt x="1993948" y="295996"/>
                    <a:pt x="2002415" y="297054"/>
                  </a:cubicBezTo>
                  <a:cubicBezTo>
                    <a:pt x="2008827" y="316289"/>
                    <a:pt x="2008889" y="312308"/>
                    <a:pt x="2002415" y="344679"/>
                  </a:cubicBezTo>
                  <a:cubicBezTo>
                    <a:pt x="2000681" y="353350"/>
                    <a:pt x="1999417" y="357622"/>
                    <a:pt x="1998496" y="359366"/>
                  </a:cubicBezTo>
                  <a:lnTo>
                    <a:pt x="1997699" y="359161"/>
                  </a:lnTo>
                  <a:lnTo>
                    <a:pt x="1996509" y="357863"/>
                  </a:lnTo>
                  <a:cubicBezTo>
                    <a:pt x="1996367" y="356736"/>
                    <a:pt x="1996224" y="355609"/>
                    <a:pt x="1996082" y="354482"/>
                  </a:cubicBezTo>
                  <a:cubicBezTo>
                    <a:pt x="1996028" y="353606"/>
                    <a:pt x="1996065" y="353948"/>
                    <a:pt x="1996065" y="357379"/>
                  </a:cubicBezTo>
                  <a:lnTo>
                    <a:pt x="1996509" y="357863"/>
                  </a:lnTo>
                  <a:cubicBezTo>
                    <a:pt x="1996552" y="358205"/>
                    <a:pt x="1996596" y="358547"/>
                    <a:pt x="1996639" y="358889"/>
                  </a:cubicBezTo>
                  <a:lnTo>
                    <a:pt x="1997699" y="359161"/>
                  </a:lnTo>
                  <a:lnTo>
                    <a:pt x="2030990" y="395479"/>
                  </a:lnTo>
                  <a:cubicBezTo>
                    <a:pt x="2040515" y="392304"/>
                    <a:pt x="2050297" y="389816"/>
                    <a:pt x="2059565" y="385954"/>
                  </a:cubicBezTo>
                  <a:cubicBezTo>
                    <a:pt x="2063087" y="384486"/>
                    <a:pt x="2065677" y="381311"/>
                    <a:pt x="2069090" y="379604"/>
                  </a:cubicBezTo>
                  <a:cubicBezTo>
                    <a:pt x="2072083" y="378107"/>
                    <a:pt x="2075440" y="377487"/>
                    <a:pt x="2078615" y="376429"/>
                  </a:cubicBezTo>
                  <a:cubicBezTo>
                    <a:pt x="2091315" y="377487"/>
                    <a:pt x="2106986" y="371372"/>
                    <a:pt x="2116715" y="379604"/>
                  </a:cubicBezTo>
                  <a:cubicBezTo>
                    <a:pt x="2124834" y="386474"/>
                    <a:pt x="2118386" y="400825"/>
                    <a:pt x="2119890" y="411354"/>
                  </a:cubicBezTo>
                  <a:cubicBezTo>
                    <a:pt x="2121090" y="419751"/>
                    <a:pt x="2127205" y="436475"/>
                    <a:pt x="2129415" y="443104"/>
                  </a:cubicBezTo>
                  <a:lnTo>
                    <a:pt x="2132590" y="452629"/>
                  </a:lnTo>
                  <a:cubicBezTo>
                    <a:pt x="2133648" y="455804"/>
                    <a:pt x="2135109" y="458872"/>
                    <a:pt x="2135765" y="462154"/>
                  </a:cubicBezTo>
                  <a:lnTo>
                    <a:pt x="2142115" y="493904"/>
                  </a:lnTo>
                  <a:cubicBezTo>
                    <a:pt x="2141057" y="506604"/>
                    <a:pt x="2144048" y="520328"/>
                    <a:pt x="2138940" y="532004"/>
                  </a:cubicBezTo>
                  <a:cubicBezTo>
                    <a:pt x="2133334" y="544818"/>
                    <a:pt x="2120013" y="543055"/>
                    <a:pt x="2110365" y="547879"/>
                  </a:cubicBezTo>
                  <a:cubicBezTo>
                    <a:pt x="2103185" y="551469"/>
                    <a:pt x="2102130" y="552939"/>
                    <a:pt x="2097665" y="557404"/>
                  </a:cubicBezTo>
                  <a:lnTo>
                    <a:pt x="2094490" y="582804"/>
                  </a:lnTo>
                  <a:cubicBezTo>
                    <a:pt x="2097665" y="591271"/>
                    <a:pt x="2100273" y="599972"/>
                    <a:pt x="2104015" y="608204"/>
                  </a:cubicBezTo>
                  <a:cubicBezTo>
                    <a:pt x="2105594" y="611678"/>
                    <a:pt x="2108658" y="614316"/>
                    <a:pt x="2110365" y="617729"/>
                  </a:cubicBezTo>
                  <a:cubicBezTo>
                    <a:pt x="2113619" y="624238"/>
                    <a:pt x="2115507" y="637091"/>
                    <a:pt x="2116715" y="643129"/>
                  </a:cubicBezTo>
                  <a:cubicBezTo>
                    <a:pt x="2117773" y="668529"/>
                    <a:pt x="2118012" y="693976"/>
                    <a:pt x="2119890" y="719329"/>
                  </a:cubicBezTo>
                  <a:cubicBezTo>
                    <a:pt x="2120137" y="722667"/>
                    <a:pt x="2120698" y="726487"/>
                    <a:pt x="2123065" y="728854"/>
                  </a:cubicBezTo>
                  <a:cubicBezTo>
                    <a:pt x="2128461" y="734250"/>
                    <a:pt x="2142115" y="741554"/>
                    <a:pt x="2142115" y="741554"/>
                  </a:cubicBezTo>
                  <a:cubicBezTo>
                    <a:pt x="2148465" y="740496"/>
                    <a:pt x="2155058" y="740415"/>
                    <a:pt x="2161165" y="738379"/>
                  </a:cubicBezTo>
                  <a:cubicBezTo>
                    <a:pt x="2164785" y="737172"/>
                    <a:pt x="2167377" y="733922"/>
                    <a:pt x="2170690" y="732029"/>
                  </a:cubicBezTo>
                  <a:cubicBezTo>
                    <a:pt x="2174799" y="729681"/>
                    <a:pt x="2179281" y="728027"/>
                    <a:pt x="2183390" y="725679"/>
                  </a:cubicBezTo>
                  <a:cubicBezTo>
                    <a:pt x="2186703" y="723786"/>
                    <a:pt x="2189428" y="720879"/>
                    <a:pt x="2192915" y="719329"/>
                  </a:cubicBezTo>
                  <a:cubicBezTo>
                    <a:pt x="2199032" y="716611"/>
                    <a:pt x="2211965" y="712979"/>
                    <a:pt x="2211965" y="712979"/>
                  </a:cubicBezTo>
                  <a:lnTo>
                    <a:pt x="2259590" y="716154"/>
                  </a:lnTo>
                  <a:cubicBezTo>
                    <a:pt x="2264643" y="718049"/>
                    <a:pt x="2261594" y="726761"/>
                    <a:pt x="2262765" y="732029"/>
                  </a:cubicBezTo>
                  <a:cubicBezTo>
                    <a:pt x="2266109" y="747076"/>
                    <a:pt x="2263237" y="742026"/>
                    <a:pt x="2272290" y="751079"/>
                  </a:cubicBezTo>
                  <a:lnTo>
                    <a:pt x="2297690" y="754254"/>
                  </a:lnTo>
                  <a:cubicBezTo>
                    <a:pt x="2308273" y="748962"/>
                    <a:pt x="2318697" y="743338"/>
                    <a:pt x="2329440" y="738379"/>
                  </a:cubicBezTo>
                  <a:cubicBezTo>
                    <a:pt x="2332479" y="736977"/>
                    <a:pt x="2335972" y="736701"/>
                    <a:pt x="2338965" y="735204"/>
                  </a:cubicBezTo>
                  <a:cubicBezTo>
                    <a:pt x="2369154" y="720110"/>
                    <a:pt x="2318393" y="738886"/>
                    <a:pt x="2367540" y="722504"/>
                  </a:cubicBezTo>
                  <a:cubicBezTo>
                    <a:pt x="2370715" y="721446"/>
                    <a:pt x="2373718" y="719329"/>
                    <a:pt x="2377065" y="719329"/>
                  </a:cubicBezTo>
                  <a:lnTo>
                    <a:pt x="2391809" y="719329"/>
                  </a:lnTo>
                  <a:cubicBezTo>
                    <a:pt x="2398556" y="734013"/>
                    <a:pt x="2393413" y="778861"/>
                    <a:pt x="2403259" y="812198"/>
                  </a:cubicBezTo>
                  <a:cubicBezTo>
                    <a:pt x="2413105" y="845535"/>
                    <a:pt x="2444137" y="886413"/>
                    <a:pt x="2450884" y="919354"/>
                  </a:cubicBezTo>
                  <a:cubicBezTo>
                    <a:pt x="2457631" y="952295"/>
                    <a:pt x="2445725" y="983648"/>
                    <a:pt x="2458028" y="1005079"/>
                  </a:cubicBezTo>
                  <a:cubicBezTo>
                    <a:pt x="2470331" y="1026510"/>
                    <a:pt x="2493745" y="1006270"/>
                    <a:pt x="2510414" y="1050323"/>
                  </a:cubicBezTo>
                  <a:cubicBezTo>
                    <a:pt x="2527083" y="1094376"/>
                    <a:pt x="2578678" y="1207486"/>
                    <a:pt x="2593759" y="1257492"/>
                  </a:cubicBezTo>
                  <a:cubicBezTo>
                    <a:pt x="2608840" y="1307498"/>
                    <a:pt x="2606855" y="1326548"/>
                    <a:pt x="2610427" y="1350360"/>
                  </a:cubicBezTo>
                  <a:lnTo>
                    <a:pt x="2605665" y="1412273"/>
                  </a:lnTo>
                  <a:lnTo>
                    <a:pt x="2588996" y="1452754"/>
                  </a:lnTo>
                  <a:cubicBezTo>
                    <a:pt x="2583837" y="1465057"/>
                    <a:pt x="2574709" y="1469820"/>
                    <a:pt x="2574709" y="1486092"/>
                  </a:cubicBezTo>
                  <a:cubicBezTo>
                    <a:pt x="2574709" y="1502364"/>
                    <a:pt x="2605665" y="1563879"/>
                    <a:pt x="2608046" y="1586104"/>
                  </a:cubicBezTo>
                  <a:cubicBezTo>
                    <a:pt x="2610427" y="1608329"/>
                    <a:pt x="2598522" y="1598408"/>
                    <a:pt x="2598522" y="1619442"/>
                  </a:cubicBezTo>
                  <a:lnTo>
                    <a:pt x="2593759" y="1712310"/>
                  </a:lnTo>
                  <a:cubicBezTo>
                    <a:pt x="2577884" y="1725407"/>
                    <a:pt x="2600903" y="1803195"/>
                    <a:pt x="2577090" y="1802798"/>
                  </a:cubicBezTo>
                  <a:cubicBezTo>
                    <a:pt x="2553278" y="1802401"/>
                    <a:pt x="2515574" y="1815895"/>
                    <a:pt x="2512796" y="1824229"/>
                  </a:cubicBezTo>
                  <a:cubicBezTo>
                    <a:pt x="2490174" y="1849629"/>
                    <a:pt x="2550896" y="1869473"/>
                    <a:pt x="2558040" y="1883760"/>
                  </a:cubicBezTo>
                  <a:cubicBezTo>
                    <a:pt x="2565184" y="1898048"/>
                    <a:pt x="2557247" y="1890110"/>
                    <a:pt x="2555659" y="1909954"/>
                  </a:cubicBezTo>
                  <a:cubicBezTo>
                    <a:pt x="2554072" y="1929798"/>
                    <a:pt x="2541768" y="1985757"/>
                    <a:pt x="2527084" y="1995679"/>
                  </a:cubicBezTo>
                  <a:cubicBezTo>
                    <a:pt x="2498906" y="2039335"/>
                    <a:pt x="2512002" y="1986154"/>
                    <a:pt x="2503271" y="1986154"/>
                  </a:cubicBezTo>
                  <a:cubicBezTo>
                    <a:pt x="2494540" y="1986154"/>
                    <a:pt x="2485015" y="1965517"/>
                    <a:pt x="2472315" y="1971867"/>
                  </a:cubicBezTo>
                  <a:cubicBezTo>
                    <a:pt x="2459615" y="1978217"/>
                    <a:pt x="2443343" y="1975438"/>
                    <a:pt x="2436596" y="1986154"/>
                  </a:cubicBezTo>
                  <a:cubicBezTo>
                    <a:pt x="2396115" y="2035367"/>
                    <a:pt x="2446122" y="2005204"/>
                    <a:pt x="2450884" y="2017110"/>
                  </a:cubicBezTo>
                  <a:cubicBezTo>
                    <a:pt x="2455646" y="2029016"/>
                    <a:pt x="2460806" y="2040527"/>
                    <a:pt x="2465171" y="2057592"/>
                  </a:cubicBezTo>
                  <a:cubicBezTo>
                    <a:pt x="2469537" y="2074658"/>
                    <a:pt x="2468743" y="2110376"/>
                    <a:pt x="2455646" y="2121885"/>
                  </a:cubicBezTo>
                  <a:cubicBezTo>
                    <a:pt x="2442549" y="2133394"/>
                    <a:pt x="2407228" y="2139348"/>
                    <a:pt x="2410403" y="2152842"/>
                  </a:cubicBezTo>
                  <a:lnTo>
                    <a:pt x="2458028" y="2186180"/>
                  </a:lnTo>
                  <a:cubicBezTo>
                    <a:pt x="2444534" y="2190942"/>
                    <a:pt x="2461997" y="2221898"/>
                    <a:pt x="2448503" y="2226660"/>
                  </a:cubicBezTo>
                  <a:lnTo>
                    <a:pt x="2410403" y="2262379"/>
                  </a:lnTo>
                  <a:cubicBezTo>
                    <a:pt x="2392147" y="2281429"/>
                    <a:pt x="2389765" y="2311591"/>
                    <a:pt x="2388971" y="2331435"/>
                  </a:cubicBezTo>
                  <a:cubicBezTo>
                    <a:pt x="2388177" y="2351279"/>
                    <a:pt x="2405243" y="2367551"/>
                    <a:pt x="2405640" y="2381442"/>
                  </a:cubicBezTo>
                  <a:cubicBezTo>
                    <a:pt x="2406037" y="2395333"/>
                    <a:pt x="2394075" y="2409335"/>
                    <a:pt x="2391353" y="2414779"/>
                  </a:cubicBezTo>
                  <a:cubicBezTo>
                    <a:pt x="2360594" y="2430158"/>
                    <a:pt x="2379191" y="2422582"/>
                    <a:pt x="2334203" y="2433829"/>
                  </a:cubicBezTo>
                  <a:cubicBezTo>
                    <a:pt x="2324463" y="2436264"/>
                    <a:pt x="2314142" y="2438033"/>
                    <a:pt x="2305628" y="2443354"/>
                  </a:cubicBezTo>
                  <a:cubicBezTo>
                    <a:pt x="2300774" y="2446388"/>
                    <a:pt x="2301334" y="2455317"/>
                    <a:pt x="2296103" y="2457642"/>
                  </a:cubicBezTo>
                  <a:cubicBezTo>
                    <a:pt x="2285845" y="2462201"/>
                    <a:pt x="2273878" y="2460817"/>
                    <a:pt x="2262765" y="2462404"/>
                  </a:cubicBezTo>
                  <a:cubicBezTo>
                    <a:pt x="2258454" y="2459171"/>
                    <a:pt x="2236389" y="2442073"/>
                    <a:pt x="2229428" y="2438592"/>
                  </a:cubicBezTo>
                  <a:cubicBezTo>
                    <a:pt x="2224938" y="2436347"/>
                    <a:pt x="2219060" y="2430693"/>
                    <a:pt x="2215140" y="2433829"/>
                  </a:cubicBezTo>
                  <a:cubicBezTo>
                    <a:pt x="2208464" y="2439170"/>
                    <a:pt x="2208790" y="2449704"/>
                    <a:pt x="2205615" y="2457642"/>
                  </a:cubicBezTo>
                  <a:cubicBezTo>
                    <a:pt x="2200853" y="2460817"/>
                    <a:pt x="2196447" y="2464607"/>
                    <a:pt x="2191328" y="2467167"/>
                  </a:cubicBezTo>
                  <a:cubicBezTo>
                    <a:pt x="2181569" y="2472047"/>
                    <a:pt x="2162279" y="2474882"/>
                    <a:pt x="2153228" y="2476692"/>
                  </a:cubicBezTo>
                  <a:cubicBezTo>
                    <a:pt x="2128115" y="2459951"/>
                    <a:pt x="2146479" y="2476820"/>
                    <a:pt x="2134178" y="2448117"/>
                  </a:cubicBezTo>
                  <a:cubicBezTo>
                    <a:pt x="2131923" y="2442856"/>
                    <a:pt x="2125502" y="2439490"/>
                    <a:pt x="2124653" y="2433829"/>
                  </a:cubicBezTo>
                  <a:cubicBezTo>
                    <a:pt x="2120643" y="2407094"/>
                    <a:pt x="2121478" y="2379854"/>
                    <a:pt x="2119890" y="2352867"/>
                  </a:cubicBezTo>
                  <a:cubicBezTo>
                    <a:pt x="2121478" y="2348104"/>
                    <a:pt x="2122408" y="2343069"/>
                    <a:pt x="2124653" y="2338579"/>
                  </a:cubicBezTo>
                  <a:cubicBezTo>
                    <a:pt x="2134335" y="2319215"/>
                    <a:pt x="2153634" y="2306377"/>
                    <a:pt x="2167515" y="2290954"/>
                  </a:cubicBezTo>
                  <a:cubicBezTo>
                    <a:pt x="2171344" y="2286700"/>
                    <a:pt x="2173865" y="2281429"/>
                    <a:pt x="2177040" y="2276667"/>
                  </a:cubicBezTo>
                  <a:cubicBezTo>
                    <a:pt x="2169445" y="2265274"/>
                    <a:pt x="2164896" y="2256426"/>
                    <a:pt x="2153228" y="2248092"/>
                  </a:cubicBezTo>
                  <a:cubicBezTo>
                    <a:pt x="2147451" y="2243966"/>
                    <a:pt x="2138305" y="2244344"/>
                    <a:pt x="2134178" y="2238567"/>
                  </a:cubicBezTo>
                  <a:cubicBezTo>
                    <a:pt x="2129473" y="2231980"/>
                    <a:pt x="2131003" y="2222692"/>
                    <a:pt x="2129415" y="2214754"/>
                  </a:cubicBezTo>
                  <a:cubicBezTo>
                    <a:pt x="2136463" y="2158373"/>
                    <a:pt x="2122824" y="2175190"/>
                    <a:pt x="2148465" y="2186179"/>
                  </a:cubicBezTo>
                  <a:cubicBezTo>
                    <a:pt x="2154481" y="2188757"/>
                    <a:pt x="2161165" y="2189354"/>
                    <a:pt x="2167515" y="2190942"/>
                  </a:cubicBezTo>
                  <a:cubicBezTo>
                    <a:pt x="2187639" y="2192954"/>
                    <a:pt x="2213775" y="2205744"/>
                    <a:pt x="2229428" y="2186179"/>
                  </a:cubicBezTo>
                  <a:cubicBezTo>
                    <a:pt x="2232564" y="2182259"/>
                    <a:pt x="2232603" y="2176654"/>
                    <a:pt x="2234190" y="2171892"/>
                  </a:cubicBezTo>
                  <a:cubicBezTo>
                    <a:pt x="2234190" y="2171892"/>
                    <a:pt x="2229541" y="2152094"/>
                    <a:pt x="2224665" y="2143317"/>
                  </a:cubicBezTo>
                  <a:cubicBezTo>
                    <a:pt x="2221394" y="2137429"/>
                    <a:pt x="2215140" y="2133792"/>
                    <a:pt x="2210378" y="2129029"/>
                  </a:cubicBezTo>
                  <a:cubicBezTo>
                    <a:pt x="2204028" y="2125854"/>
                    <a:pt x="2198128" y="2121544"/>
                    <a:pt x="2191328" y="2119504"/>
                  </a:cubicBezTo>
                  <a:cubicBezTo>
                    <a:pt x="2182079" y="2116729"/>
                    <a:pt x="2170611" y="2120355"/>
                    <a:pt x="2162753" y="2114742"/>
                  </a:cubicBezTo>
                  <a:cubicBezTo>
                    <a:pt x="2157427" y="2110938"/>
                    <a:pt x="2159578" y="2102042"/>
                    <a:pt x="2157990" y="2095692"/>
                  </a:cubicBezTo>
                  <a:cubicBezTo>
                    <a:pt x="2180429" y="2062033"/>
                    <a:pt x="2152278" y="2103687"/>
                    <a:pt x="2181803" y="2062354"/>
                  </a:cubicBezTo>
                  <a:cubicBezTo>
                    <a:pt x="2185130" y="2057697"/>
                    <a:pt x="2190273" y="2053693"/>
                    <a:pt x="2191328" y="2048067"/>
                  </a:cubicBezTo>
                  <a:cubicBezTo>
                    <a:pt x="2195142" y="2027723"/>
                    <a:pt x="2194503" y="2006792"/>
                    <a:pt x="2196090" y="1986154"/>
                  </a:cubicBezTo>
                  <a:cubicBezTo>
                    <a:pt x="2196090" y="1986154"/>
                    <a:pt x="2193665" y="1964679"/>
                    <a:pt x="2186565" y="1957579"/>
                  </a:cubicBezTo>
                  <a:cubicBezTo>
                    <a:pt x="2180841" y="1951855"/>
                    <a:pt x="2170690" y="1954404"/>
                    <a:pt x="2162753" y="1952817"/>
                  </a:cubicBezTo>
                  <a:cubicBezTo>
                    <a:pt x="2162753" y="1952817"/>
                    <a:pt x="2142793" y="1964329"/>
                    <a:pt x="2134178" y="1971867"/>
                  </a:cubicBezTo>
                  <a:cubicBezTo>
                    <a:pt x="2129870" y="1975636"/>
                    <a:pt x="2127828" y="1981392"/>
                    <a:pt x="2124653" y="1986154"/>
                  </a:cubicBezTo>
                  <a:cubicBezTo>
                    <a:pt x="2119672" y="1993626"/>
                    <a:pt x="2111953" y="1998854"/>
                    <a:pt x="2105603" y="2005204"/>
                  </a:cubicBezTo>
                  <a:cubicBezTo>
                    <a:pt x="2094490" y="2016317"/>
                    <a:pt x="2083946" y="2028029"/>
                    <a:pt x="2072265" y="2038542"/>
                  </a:cubicBezTo>
                  <a:cubicBezTo>
                    <a:pt x="2068011" y="2042371"/>
                    <a:pt x="2063408" y="2046257"/>
                    <a:pt x="2057978" y="2048067"/>
                  </a:cubicBezTo>
                  <a:cubicBezTo>
                    <a:pt x="2048817" y="2051121"/>
                    <a:pt x="2038928" y="2051242"/>
                    <a:pt x="2029403" y="2052829"/>
                  </a:cubicBezTo>
                  <a:cubicBezTo>
                    <a:pt x="2028827" y="2049376"/>
                    <a:pt x="2025088" y="2017781"/>
                    <a:pt x="2019878" y="2009967"/>
                  </a:cubicBezTo>
                  <a:cubicBezTo>
                    <a:pt x="2012544" y="1998966"/>
                    <a:pt x="2001845" y="1993182"/>
                    <a:pt x="1991303" y="1986154"/>
                  </a:cubicBezTo>
                  <a:cubicBezTo>
                    <a:pt x="1981778" y="1982979"/>
                    <a:pt x="1972707" y="1975520"/>
                    <a:pt x="1962728" y="1976629"/>
                  </a:cubicBezTo>
                  <a:cubicBezTo>
                    <a:pt x="1956034" y="1977373"/>
                    <a:pt x="1954572" y="1988130"/>
                    <a:pt x="1948440" y="1990917"/>
                  </a:cubicBezTo>
                  <a:cubicBezTo>
                    <a:pt x="1936523" y="1996334"/>
                    <a:pt x="1923040" y="1997267"/>
                    <a:pt x="1910340" y="2000442"/>
                  </a:cubicBezTo>
                  <a:cubicBezTo>
                    <a:pt x="1910340" y="2000442"/>
                    <a:pt x="1896409" y="1982106"/>
                    <a:pt x="1891290" y="1971867"/>
                  </a:cubicBezTo>
                  <a:cubicBezTo>
                    <a:pt x="1888363" y="1966013"/>
                    <a:pt x="1887948" y="1959207"/>
                    <a:pt x="1886528" y="1952817"/>
                  </a:cubicBezTo>
                  <a:cubicBezTo>
                    <a:pt x="1884772" y="1944915"/>
                    <a:pt x="1882910" y="1937018"/>
                    <a:pt x="1881765" y="1929004"/>
                  </a:cubicBezTo>
                  <a:cubicBezTo>
                    <a:pt x="1879732" y="1914773"/>
                    <a:pt x="1881549" y="1899780"/>
                    <a:pt x="1877003" y="1886142"/>
                  </a:cubicBezTo>
                  <a:cubicBezTo>
                    <a:pt x="1874873" y="1879752"/>
                    <a:pt x="1867027" y="1877028"/>
                    <a:pt x="1862715" y="1871854"/>
                  </a:cubicBezTo>
                  <a:cubicBezTo>
                    <a:pt x="1859051" y="1867457"/>
                    <a:pt x="1856365" y="1862329"/>
                    <a:pt x="1853190" y="1857567"/>
                  </a:cubicBezTo>
                  <a:cubicBezTo>
                    <a:pt x="1853190" y="1857567"/>
                    <a:pt x="1832153" y="1847132"/>
                    <a:pt x="1824615" y="1838517"/>
                  </a:cubicBezTo>
                  <a:cubicBezTo>
                    <a:pt x="1820305" y="1833591"/>
                    <a:pt x="1821440" y="1825817"/>
                    <a:pt x="1819853" y="1819467"/>
                  </a:cubicBezTo>
                  <a:lnTo>
                    <a:pt x="1834140" y="1814704"/>
                  </a:lnTo>
                  <a:lnTo>
                    <a:pt x="1848428" y="1809942"/>
                  </a:lnTo>
                  <a:lnTo>
                    <a:pt x="1862715" y="1805179"/>
                  </a:lnTo>
                  <a:cubicBezTo>
                    <a:pt x="1872240" y="1802004"/>
                    <a:pt x="1883120" y="1801490"/>
                    <a:pt x="1891290" y="1795654"/>
                  </a:cubicBezTo>
                  <a:cubicBezTo>
                    <a:pt x="1895375" y="1792736"/>
                    <a:pt x="1894674" y="1786194"/>
                    <a:pt x="1896053" y="1781367"/>
                  </a:cubicBezTo>
                  <a:cubicBezTo>
                    <a:pt x="1897851" y="1775073"/>
                    <a:pt x="1899820" y="1768786"/>
                    <a:pt x="1900815" y="1762317"/>
                  </a:cubicBezTo>
                  <a:cubicBezTo>
                    <a:pt x="1908932" y="1709557"/>
                    <a:pt x="1908353" y="1727779"/>
                    <a:pt x="1891290" y="1676592"/>
                  </a:cubicBezTo>
                  <a:lnTo>
                    <a:pt x="1719840" y="1671829"/>
                  </a:lnTo>
                  <a:cubicBezTo>
                    <a:pt x="1719840" y="1671829"/>
                    <a:pt x="1714078" y="1684859"/>
                    <a:pt x="1710315" y="1690879"/>
                  </a:cubicBezTo>
                  <a:cubicBezTo>
                    <a:pt x="1706108" y="1697610"/>
                    <a:pt x="1701194" y="1703902"/>
                    <a:pt x="1696028" y="1709929"/>
                  </a:cubicBezTo>
                  <a:cubicBezTo>
                    <a:pt x="1691645" y="1715043"/>
                    <a:pt x="1685476" y="1718613"/>
                    <a:pt x="1681740" y="1724217"/>
                  </a:cubicBezTo>
                  <a:cubicBezTo>
                    <a:pt x="1678955" y="1728394"/>
                    <a:pt x="1678741" y="1733804"/>
                    <a:pt x="1676978" y="1738504"/>
                  </a:cubicBezTo>
                  <a:cubicBezTo>
                    <a:pt x="1673976" y="1746509"/>
                    <a:pt x="1671761" y="1754932"/>
                    <a:pt x="1667453" y="1762317"/>
                  </a:cubicBezTo>
                  <a:cubicBezTo>
                    <a:pt x="1660572" y="1774113"/>
                    <a:pt x="1651578" y="1784542"/>
                    <a:pt x="1643640" y="1795654"/>
                  </a:cubicBezTo>
                  <a:lnTo>
                    <a:pt x="1291215" y="1938529"/>
                  </a:lnTo>
                  <a:lnTo>
                    <a:pt x="1162628" y="1833754"/>
                  </a:lnTo>
                  <a:lnTo>
                    <a:pt x="1091190" y="1843279"/>
                  </a:lnTo>
                  <a:lnTo>
                    <a:pt x="1014990" y="1786129"/>
                  </a:lnTo>
                  <a:cubicBezTo>
                    <a:pt x="1014990" y="1761968"/>
                    <a:pt x="1014301" y="1779703"/>
                    <a:pt x="1024515" y="1733742"/>
                  </a:cubicBezTo>
                  <a:lnTo>
                    <a:pt x="957840" y="1719454"/>
                  </a:lnTo>
                  <a:lnTo>
                    <a:pt x="767340" y="1671829"/>
                  </a:lnTo>
                  <a:cubicBezTo>
                    <a:pt x="748961" y="1671829"/>
                    <a:pt x="766100" y="1670068"/>
                    <a:pt x="743528" y="1681354"/>
                  </a:cubicBezTo>
                  <a:cubicBezTo>
                    <a:pt x="739038" y="1683599"/>
                    <a:pt x="734003" y="1684529"/>
                    <a:pt x="729240" y="1686117"/>
                  </a:cubicBezTo>
                  <a:cubicBezTo>
                    <a:pt x="704133" y="1677747"/>
                    <a:pt x="724448" y="1686885"/>
                    <a:pt x="700665" y="1667067"/>
                  </a:cubicBezTo>
                  <a:cubicBezTo>
                    <a:pt x="660972" y="1633990"/>
                    <a:pt x="723928" y="1701351"/>
                    <a:pt x="657803" y="1624204"/>
                  </a:cubicBezTo>
                  <a:lnTo>
                    <a:pt x="605415" y="1638492"/>
                  </a:lnTo>
                  <a:lnTo>
                    <a:pt x="533978" y="1543242"/>
                  </a:lnTo>
                  <a:cubicBezTo>
                    <a:pt x="533978" y="1543242"/>
                    <a:pt x="543151" y="1533337"/>
                    <a:pt x="548265" y="1528954"/>
                  </a:cubicBezTo>
                  <a:cubicBezTo>
                    <a:pt x="554291" y="1523788"/>
                    <a:pt x="561702" y="1520280"/>
                    <a:pt x="567315" y="1514667"/>
                  </a:cubicBezTo>
                  <a:cubicBezTo>
                    <a:pt x="579578" y="1502404"/>
                    <a:pt x="578195" y="1493603"/>
                    <a:pt x="581603" y="1476567"/>
                  </a:cubicBezTo>
                  <a:cubicBezTo>
                    <a:pt x="576840" y="1474979"/>
                    <a:pt x="572335" y="1471804"/>
                    <a:pt x="567315" y="1471804"/>
                  </a:cubicBezTo>
                  <a:cubicBezTo>
                    <a:pt x="541401" y="1471804"/>
                    <a:pt x="551863" y="1487364"/>
                    <a:pt x="543503" y="1462279"/>
                  </a:cubicBezTo>
                  <a:cubicBezTo>
                    <a:pt x="554422" y="1429520"/>
                    <a:pt x="539486" y="1469310"/>
                    <a:pt x="562553" y="1428942"/>
                  </a:cubicBezTo>
                  <a:cubicBezTo>
                    <a:pt x="565044" y="1424583"/>
                    <a:pt x="565728" y="1419417"/>
                    <a:pt x="567315" y="1414654"/>
                  </a:cubicBezTo>
                  <a:cubicBezTo>
                    <a:pt x="567315" y="1414654"/>
                    <a:pt x="579337" y="1395115"/>
                    <a:pt x="586365" y="1386079"/>
                  </a:cubicBezTo>
                  <a:cubicBezTo>
                    <a:pt x="612624" y="1352319"/>
                    <a:pt x="587302" y="1390039"/>
                    <a:pt x="619703" y="1362267"/>
                  </a:cubicBezTo>
                  <a:cubicBezTo>
                    <a:pt x="625729" y="1357101"/>
                    <a:pt x="629228" y="1349567"/>
                    <a:pt x="633990" y="1343217"/>
                  </a:cubicBezTo>
                  <a:cubicBezTo>
                    <a:pt x="640794" y="1338681"/>
                    <a:pt x="659631" y="1327473"/>
                    <a:pt x="662565" y="1319404"/>
                  </a:cubicBezTo>
                  <a:cubicBezTo>
                    <a:pt x="666939" y="1307376"/>
                    <a:pt x="665740" y="1294004"/>
                    <a:pt x="667328" y="1281304"/>
                  </a:cubicBezTo>
                  <a:cubicBezTo>
                    <a:pt x="657915" y="1278167"/>
                    <a:pt x="645468" y="1275411"/>
                    <a:pt x="638753" y="1267017"/>
                  </a:cubicBezTo>
                  <a:cubicBezTo>
                    <a:pt x="635617" y="1263097"/>
                    <a:pt x="633165" y="1257681"/>
                    <a:pt x="633990" y="1252729"/>
                  </a:cubicBezTo>
                  <a:cubicBezTo>
                    <a:pt x="634931" y="1247083"/>
                    <a:pt x="640340" y="1243204"/>
                    <a:pt x="643515" y="1238442"/>
                  </a:cubicBezTo>
                  <a:cubicBezTo>
                    <a:pt x="643515" y="1238442"/>
                    <a:pt x="666663" y="1229471"/>
                    <a:pt x="672090" y="1219392"/>
                  </a:cubicBezTo>
                  <a:cubicBezTo>
                    <a:pt x="680344" y="1204063"/>
                    <a:pt x="680374" y="1178809"/>
                    <a:pt x="672090" y="1162242"/>
                  </a:cubicBezTo>
                  <a:cubicBezTo>
                    <a:pt x="669530" y="1157122"/>
                    <a:pt x="665740" y="1152717"/>
                    <a:pt x="662565" y="1147954"/>
                  </a:cubicBezTo>
                  <a:cubicBezTo>
                    <a:pt x="651147" y="1155566"/>
                    <a:pt x="634022" y="1168794"/>
                    <a:pt x="619703" y="1167004"/>
                  </a:cubicBezTo>
                  <a:cubicBezTo>
                    <a:pt x="614024" y="1166294"/>
                    <a:pt x="611465" y="1158294"/>
                    <a:pt x="610178" y="1152717"/>
                  </a:cubicBezTo>
                  <a:cubicBezTo>
                    <a:pt x="606590" y="1137171"/>
                    <a:pt x="607003" y="1120967"/>
                    <a:pt x="605415" y="1105092"/>
                  </a:cubicBezTo>
                  <a:lnTo>
                    <a:pt x="595890" y="1086042"/>
                  </a:lnTo>
                  <a:cubicBezTo>
                    <a:pt x="590770" y="1075803"/>
                    <a:pt x="582399" y="1067474"/>
                    <a:pt x="576840" y="1057467"/>
                  </a:cubicBezTo>
                  <a:cubicBezTo>
                    <a:pt x="574402" y="1053079"/>
                    <a:pt x="573167" y="1048080"/>
                    <a:pt x="572078" y="1043179"/>
                  </a:cubicBezTo>
                  <a:cubicBezTo>
                    <a:pt x="566195" y="1016707"/>
                    <a:pt x="564987" y="988996"/>
                    <a:pt x="562553" y="962217"/>
                  </a:cubicBezTo>
                  <a:lnTo>
                    <a:pt x="462540" y="1043179"/>
                  </a:lnTo>
                  <a:lnTo>
                    <a:pt x="433965" y="952692"/>
                  </a:lnTo>
                  <a:lnTo>
                    <a:pt x="343478" y="862204"/>
                  </a:lnTo>
                  <a:lnTo>
                    <a:pt x="262515" y="871729"/>
                  </a:lnTo>
                  <a:lnTo>
                    <a:pt x="205365" y="919354"/>
                  </a:lnTo>
                  <a:lnTo>
                    <a:pt x="95828" y="986029"/>
                  </a:lnTo>
                  <a:lnTo>
                    <a:pt x="24390" y="986029"/>
                  </a:lnTo>
                  <a:cubicBezTo>
                    <a:pt x="24390" y="966515"/>
                    <a:pt x="27230" y="965240"/>
                    <a:pt x="14865" y="947929"/>
                  </a:cubicBezTo>
                  <a:cubicBezTo>
                    <a:pt x="10950" y="942449"/>
                    <a:pt x="1685" y="940285"/>
                    <a:pt x="578" y="933642"/>
                  </a:cubicBezTo>
                  <a:cubicBezTo>
                    <a:pt x="-1785" y="919462"/>
                    <a:pt x="3753" y="905067"/>
                    <a:pt x="5340" y="890779"/>
                  </a:cubicBezTo>
                  <a:lnTo>
                    <a:pt x="57728" y="781242"/>
                  </a:lnTo>
                  <a:lnTo>
                    <a:pt x="238703" y="543117"/>
                  </a:lnTo>
                  <a:lnTo>
                    <a:pt x="333953" y="543117"/>
                  </a:lnTo>
                  <a:lnTo>
                    <a:pt x="429203" y="524067"/>
                  </a:lnTo>
                  <a:cubicBezTo>
                    <a:pt x="445556" y="540420"/>
                    <a:pt x="434299" y="532854"/>
                    <a:pt x="467303" y="538354"/>
                  </a:cubicBezTo>
                  <a:cubicBezTo>
                    <a:pt x="472065" y="535179"/>
                    <a:pt x="478014" y="533298"/>
                    <a:pt x="481590" y="528829"/>
                  </a:cubicBezTo>
                  <a:cubicBezTo>
                    <a:pt x="484726" y="524909"/>
                    <a:pt x="485590" y="519504"/>
                    <a:pt x="486353" y="514542"/>
                  </a:cubicBezTo>
                  <a:cubicBezTo>
                    <a:pt x="488779" y="498773"/>
                    <a:pt x="489528" y="482792"/>
                    <a:pt x="491115" y="466917"/>
                  </a:cubicBezTo>
                  <a:lnTo>
                    <a:pt x="481590" y="438342"/>
                  </a:lnTo>
                  <a:cubicBezTo>
                    <a:pt x="477970" y="427482"/>
                    <a:pt x="468099" y="419774"/>
                    <a:pt x="462540" y="409767"/>
                  </a:cubicBezTo>
                  <a:cubicBezTo>
                    <a:pt x="450199" y="387552"/>
                    <a:pt x="464057" y="374548"/>
                    <a:pt x="472065" y="347854"/>
                  </a:cubicBezTo>
                  <a:lnTo>
                    <a:pt x="505403" y="295467"/>
                  </a:lnTo>
                  <a:cubicBezTo>
                    <a:pt x="505403" y="295467"/>
                    <a:pt x="512918" y="286539"/>
                    <a:pt x="514928" y="281179"/>
                  </a:cubicBezTo>
                  <a:cubicBezTo>
                    <a:pt x="517770" y="273600"/>
                    <a:pt x="518103" y="265304"/>
                    <a:pt x="519690" y="257367"/>
                  </a:cubicBezTo>
                  <a:cubicBezTo>
                    <a:pt x="522865" y="252604"/>
                    <a:pt x="526655" y="248199"/>
                    <a:pt x="529215" y="243079"/>
                  </a:cubicBezTo>
                  <a:cubicBezTo>
                    <a:pt x="534099" y="233312"/>
                    <a:pt x="536928" y="214042"/>
                    <a:pt x="538740" y="204979"/>
                  </a:cubicBezTo>
                  <a:cubicBezTo>
                    <a:pt x="541915" y="198629"/>
                    <a:pt x="545468" y="192454"/>
                    <a:pt x="548265" y="185929"/>
                  </a:cubicBezTo>
                  <a:cubicBezTo>
                    <a:pt x="550243" y="181315"/>
                    <a:pt x="550783" y="176132"/>
                    <a:pt x="553028" y="171642"/>
                  </a:cubicBezTo>
                  <a:cubicBezTo>
                    <a:pt x="555588" y="166522"/>
                    <a:pt x="560543" y="162714"/>
                    <a:pt x="562553" y="157354"/>
                  </a:cubicBezTo>
                  <a:cubicBezTo>
                    <a:pt x="565395" y="149775"/>
                    <a:pt x="565352" y="141395"/>
                    <a:pt x="567315" y="133542"/>
                  </a:cubicBezTo>
                  <a:cubicBezTo>
                    <a:pt x="570118" y="122330"/>
                    <a:pt x="573799" y="111354"/>
                    <a:pt x="576840" y="100204"/>
                  </a:cubicBezTo>
                  <a:cubicBezTo>
                    <a:pt x="578562" y="93889"/>
                    <a:pt x="580015" y="87504"/>
                    <a:pt x="581603" y="81154"/>
                  </a:cubicBezTo>
                  <a:cubicBezTo>
                    <a:pt x="613265" y="33663"/>
                    <a:pt x="559115" y="119336"/>
                    <a:pt x="595890" y="33529"/>
                  </a:cubicBezTo>
                  <a:cubicBezTo>
                    <a:pt x="601269" y="20977"/>
                    <a:pt x="611765" y="11304"/>
                    <a:pt x="619703" y="192"/>
                  </a:cubicBezTo>
                  <a:lnTo>
                    <a:pt x="621543" y="0"/>
                  </a:lnTo>
                  <a:close/>
                </a:path>
              </a:pathLst>
            </a:custGeom>
            <a:solidFill>
              <a:schemeClr val="accent3"/>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sym typeface="Arial"/>
              </a:endParaRPr>
            </a:p>
          </p:txBody>
        </p:sp>
        <p:sp>
          <p:nvSpPr>
            <p:cNvPr id="7" name="Freeform 6"/>
            <p:cNvSpPr/>
            <p:nvPr/>
          </p:nvSpPr>
          <p:spPr bwMode="gray">
            <a:xfrm>
              <a:off x="4092849" y="1139447"/>
              <a:ext cx="1574526" cy="2826127"/>
            </a:xfrm>
            <a:custGeom>
              <a:avLst/>
              <a:gdLst>
                <a:gd name="connsiteX0" fmla="*/ 374376 w 1574526"/>
                <a:gd name="connsiteY0" fmla="*/ 6727 h 2826127"/>
                <a:gd name="connsiteX1" fmla="*/ 380726 w 1574526"/>
                <a:gd name="connsiteY1" fmla="*/ 57527 h 2826127"/>
                <a:gd name="connsiteX2" fmla="*/ 422001 w 1574526"/>
                <a:gd name="connsiteY2" fmla="*/ 82927 h 2826127"/>
                <a:gd name="connsiteX3" fmla="*/ 437876 w 1574526"/>
                <a:gd name="connsiteY3" fmla="*/ 86102 h 2826127"/>
                <a:gd name="connsiteX4" fmla="*/ 758551 w 1574526"/>
                <a:gd name="connsiteY4" fmla="*/ 213102 h 2826127"/>
                <a:gd name="connsiteX5" fmla="*/ 841101 w 1574526"/>
                <a:gd name="connsiteY5" fmla="*/ 305177 h 2826127"/>
                <a:gd name="connsiteX6" fmla="*/ 996676 w 1574526"/>
                <a:gd name="connsiteY6" fmla="*/ 517902 h 2826127"/>
                <a:gd name="connsiteX7" fmla="*/ 1168126 w 1574526"/>
                <a:gd name="connsiteY7" fmla="*/ 600452 h 2826127"/>
                <a:gd name="connsiteX8" fmla="*/ 1317351 w 1574526"/>
                <a:gd name="connsiteY8" fmla="*/ 759202 h 2826127"/>
                <a:gd name="connsiteX9" fmla="*/ 1384026 w 1574526"/>
                <a:gd name="connsiteY9" fmla="*/ 883027 h 2826127"/>
                <a:gd name="connsiteX10" fmla="*/ 1472926 w 1574526"/>
                <a:gd name="connsiteY10" fmla="*/ 898902 h 2826127"/>
                <a:gd name="connsiteX11" fmla="*/ 1574526 w 1574526"/>
                <a:gd name="connsiteY11" fmla="*/ 1038602 h 2826127"/>
                <a:gd name="connsiteX12" fmla="*/ 1507851 w 1574526"/>
                <a:gd name="connsiteY12" fmla="*/ 1149727 h 2826127"/>
                <a:gd name="connsiteX13" fmla="*/ 1469751 w 1574526"/>
                <a:gd name="connsiteY13" fmla="*/ 1184652 h 2826127"/>
                <a:gd name="connsiteX14" fmla="*/ 1384026 w 1574526"/>
                <a:gd name="connsiteY14" fmla="*/ 1321177 h 2826127"/>
                <a:gd name="connsiteX15" fmla="*/ 1282426 w 1574526"/>
                <a:gd name="connsiteY15" fmla="*/ 1422777 h 2826127"/>
                <a:gd name="connsiteX16" fmla="*/ 1263376 w 1574526"/>
                <a:gd name="connsiteY16" fmla="*/ 1445002 h 2826127"/>
                <a:gd name="connsiteX17" fmla="*/ 1250676 w 1574526"/>
                <a:gd name="connsiteY17" fmla="*/ 1464052 h 2826127"/>
                <a:gd name="connsiteX18" fmla="*/ 1244326 w 1574526"/>
                <a:gd name="connsiteY18" fmla="*/ 1486277 h 2826127"/>
                <a:gd name="connsiteX19" fmla="*/ 1237976 w 1574526"/>
                <a:gd name="connsiteY19" fmla="*/ 1495802 h 2826127"/>
                <a:gd name="connsiteX20" fmla="*/ 1234801 w 1574526"/>
                <a:gd name="connsiteY20" fmla="*/ 1514852 h 2826127"/>
                <a:gd name="connsiteX21" fmla="*/ 1257026 w 1574526"/>
                <a:gd name="connsiteY21" fmla="*/ 1629152 h 2826127"/>
                <a:gd name="connsiteX22" fmla="*/ 1241151 w 1574526"/>
                <a:gd name="connsiteY22" fmla="*/ 1791077 h 2826127"/>
                <a:gd name="connsiteX23" fmla="*/ 993501 w 1574526"/>
                <a:gd name="connsiteY23" fmla="*/ 1787902 h 2826127"/>
                <a:gd name="connsiteX24" fmla="*/ 964926 w 1574526"/>
                <a:gd name="connsiteY24" fmla="*/ 1819652 h 2826127"/>
                <a:gd name="connsiteX25" fmla="*/ 961751 w 1574526"/>
                <a:gd name="connsiteY25" fmla="*/ 1829177 h 2826127"/>
                <a:gd name="connsiteX26" fmla="*/ 955401 w 1574526"/>
                <a:gd name="connsiteY26" fmla="*/ 1838702 h 2826127"/>
                <a:gd name="connsiteX27" fmla="*/ 952226 w 1574526"/>
                <a:gd name="connsiteY27" fmla="*/ 1848227 h 2826127"/>
                <a:gd name="connsiteX28" fmla="*/ 923651 w 1574526"/>
                <a:gd name="connsiteY28" fmla="*/ 1873627 h 2826127"/>
                <a:gd name="connsiteX29" fmla="*/ 914126 w 1574526"/>
                <a:gd name="connsiteY29" fmla="*/ 1876802 h 2826127"/>
                <a:gd name="connsiteX30" fmla="*/ 898251 w 1574526"/>
                <a:gd name="connsiteY30" fmla="*/ 1895852 h 2826127"/>
                <a:gd name="connsiteX31" fmla="*/ 895076 w 1574526"/>
                <a:gd name="connsiteY31" fmla="*/ 1905377 h 2826127"/>
                <a:gd name="connsiteX32" fmla="*/ 885551 w 1574526"/>
                <a:gd name="connsiteY32" fmla="*/ 1921252 h 2826127"/>
                <a:gd name="connsiteX33" fmla="*/ 818876 w 1574526"/>
                <a:gd name="connsiteY33" fmla="*/ 2238752 h 2826127"/>
                <a:gd name="connsiteX34" fmla="*/ 841101 w 1574526"/>
                <a:gd name="connsiteY34" fmla="*/ 2257802 h 2826127"/>
                <a:gd name="connsiteX35" fmla="*/ 850626 w 1574526"/>
                <a:gd name="connsiteY35" fmla="*/ 2273677 h 2826127"/>
                <a:gd name="connsiteX36" fmla="*/ 726801 w 1574526"/>
                <a:gd name="connsiteY36" fmla="*/ 2387977 h 2826127"/>
                <a:gd name="connsiteX37" fmla="*/ 676001 w 1574526"/>
                <a:gd name="connsiteY37" fmla="*/ 2499102 h 2826127"/>
                <a:gd name="connsiteX38" fmla="*/ 676001 w 1574526"/>
                <a:gd name="connsiteY38" fmla="*/ 2543552 h 2826127"/>
                <a:gd name="connsiteX39" fmla="*/ 558526 w 1574526"/>
                <a:gd name="connsiteY39" fmla="*/ 2572127 h 2826127"/>
                <a:gd name="connsiteX40" fmla="*/ 526776 w 1574526"/>
                <a:gd name="connsiteY40" fmla="*/ 2578477 h 2826127"/>
                <a:gd name="connsiteX41" fmla="*/ 498201 w 1574526"/>
                <a:gd name="connsiteY41" fmla="*/ 2600702 h 2826127"/>
                <a:gd name="connsiteX42" fmla="*/ 491851 w 1574526"/>
                <a:gd name="connsiteY42" fmla="*/ 2610227 h 2826127"/>
                <a:gd name="connsiteX43" fmla="*/ 482326 w 1574526"/>
                <a:gd name="connsiteY43" fmla="*/ 2622927 h 2826127"/>
                <a:gd name="connsiteX44" fmla="*/ 479151 w 1574526"/>
                <a:gd name="connsiteY44" fmla="*/ 2632452 h 2826127"/>
                <a:gd name="connsiteX45" fmla="*/ 463276 w 1574526"/>
                <a:gd name="connsiteY45" fmla="*/ 2654677 h 2826127"/>
                <a:gd name="connsiteX46" fmla="*/ 456926 w 1574526"/>
                <a:gd name="connsiteY46" fmla="*/ 2664202 h 2826127"/>
                <a:gd name="connsiteX47" fmla="*/ 453751 w 1574526"/>
                <a:gd name="connsiteY47" fmla="*/ 2673727 h 2826127"/>
                <a:gd name="connsiteX48" fmla="*/ 444226 w 1574526"/>
                <a:gd name="connsiteY48" fmla="*/ 2683252 h 2826127"/>
                <a:gd name="connsiteX49" fmla="*/ 441051 w 1574526"/>
                <a:gd name="connsiteY49" fmla="*/ 2695952 h 2826127"/>
                <a:gd name="connsiteX50" fmla="*/ 425176 w 1574526"/>
                <a:gd name="connsiteY50" fmla="*/ 2718177 h 2826127"/>
                <a:gd name="connsiteX51" fmla="*/ 422001 w 1574526"/>
                <a:gd name="connsiteY51" fmla="*/ 2727702 h 2826127"/>
                <a:gd name="connsiteX52" fmla="*/ 418826 w 1574526"/>
                <a:gd name="connsiteY52" fmla="*/ 2759452 h 2826127"/>
                <a:gd name="connsiteX53" fmla="*/ 406126 w 1574526"/>
                <a:gd name="connsiteY53" fmla="*/ 2772152 h 2826127"/>
                <a:gd name="connsiteX54" fmla="*/ 387076 w 1574526"/>
                <a:gd name="connsiteY54" fmla="*/ 2778502 h 2826127"/>
                <a:gd name="connsiteX55" fmla="*/ 374376 w 1574526"/>
                <a:gd name="connsiteY55" fmla="*/ 2784852 h 2826127"/>
                <a:gd name="connsiteX56" fmla="*/ 361676 w 1574526"/>
                <a:gd name="connsiteY56" fmla="*/ 2794377 h 2826127"/>
                <a:gd name="connsiteX57" fmla="*/ 348976 w 1574526"/>
                <a:gd name="connsiteY57" fmla="*/ 2816602 h 2826127"/>
                <a:gd name="connsiteX58" fmla="*/ 339451 w 1574526"/>
                <a:gd name="connsiteY58" fmla="*/ 2826127 h 2826127"/>
                <a:gd name="connsiteX59" fmla="*/ 323576 w 1574526"/>
                <a:gd name="connsiteY59" fmla="*/ 2822952 h 2826127"/>
                <a:gd name="connsiteX60" fmla="*/ 317226 w 1574526"/>
                <a:gd name="connsiteY60" fmla="*/ 2813427 h 2826127"/>
                <a:gd name="connsiteX61" fmla="*/ 314051 w 1574526"/>
                <a:gd name="connsiteY61" fmla="*/ 2737227 h 2826127"/>
                <a:gd name="connsiteX62" fmla="*/ 288651 w 1574526"/>
                <a:gd name="connsiteY62" fmla="*/ 2730877 h 2826127"/>
                <a:gd name="connsiteX63" fmla="*/ 269601 w 1574526"/>
                <a:gd name="connsiteY63" fmla="*/ 2718177 h 2826127"/>
                <a:gd name="connsiteX64" fmla="*/ 253726 w 1574526"/>
                <a:gd name="connsiteY64" fmla="*/ 2699127 h 2826127"/>
                <a:gd name="connsiteX65" fmla="*/ 250551 w 1574526"/>
                <a:gd name="connsiteY65" fmla="*/ 2673727 h 2826127"/>
                <a:gd name="connsiteX66" fmla="*/ 241026 w 1574526"/>
                <a:gd name="connsiteY66" fmla="*/ 2670552 h 2826127"/>
                <a:gd name="connsiteX67" fmla="*/ 218801 w 1574526"/>
                <a:gd name="connsiteY67" fmla="*/ 2667377 h 2826127"/>
                <a:gd name="connsiteX68" fmla="*/ 214758 w 1574526"/>
                <a:gd name="connsiteY68" fmla="*/ 2653532 h 2826127"/>
                <a:gd name="connsiteX69" fmla="*/ 217737 w 1574526"/>
                <a:gd name="connsiteY69" fmla="*/ 2642678 h 2826127"/>
                <a:gd name="connsiteX70" fmla="*/ 232540 w 1574526"/>
                <a:gd name="connsiteY70" fmla="*/ 2628801 h 2826127"/>
                <a:gd name="connsiteX71" fmla="*/ 237851 w 1574526"/>
                <a:gd name="connsiteY71" fmla="*/ 2626102 h 2826127"/>
                <a:gd name="connsiteX72" fmla="*/ 239770 w 1574526"/>
                <a:gd name="connsiteY72" fmla="*/ 2620224 h 2826127"/>
                <a:gd name="connsiteX73" fmla="*/ 241548 w 1574526"/>
                <a:gd name="connsiteY73" fmla="*/ 2617645 h 2826127"/>
                <a:gd name="connsiteX74" fmla="*/ 241442 w 1574526"/>
                <a:gd name="connsiteY74" fmla="*/ 2615100 h 2826127"/>
                <a:gd name="connsiteX75" fmla="*/ 244401 w 1574526"/>
                <a:gd name="connsiteY75" fmla="*/ 2606035 h 2826127"/>
                <a:gd name="connsiteX76" fmla="*/ 241920 w 1574526"/>
                <a:gd name="connsiteY76" fmla="*/ 2590442 h 2826127"/>
                <a:gd name="connsiteX77" fmla="*/ 245789 w 1574526"/>
                <a:gd name="connsiteY77" fmla="*/ 2584829 h 2826127"/>
                <a:gd name="connsiteX78" fmla="*/ 200925 w 1574526"/>
                <a:gd name="connsiteY78" fmla="*/ 2553424 h 2826127"/>
                <a:gd name="connsiteX79" fmla="*/ 199364 w 1574526"/>
                <a:gd name="connsiteY79" fmla="*/ 2548741 h 2826127"/>
                <a:gd name="connsiteX80" fmla="*/ 202052 w 1574526"/>
                <a:gd name="connsiteY80" fmla="*/ 2542580 h 2826127"/>
                <a:gd name="connsiteX81" fmla="*/ 243407 w 1574526"/>
                <a:gd name="connsiteY81" fmla="*/ 2520534 h 2826127"/>
                <a:gd name="connsiteX82" fmla="*/ 254718 w 1574526"/>
                <a:gd name="connsiteY82" fmla="*/ 2490471 h 2826127"/>
                <a:gd name="connsiteX83" fmla="*/ 253526 w 1574526"/>
                <a:gd name="connsiteY83" fmla="*/ 2467619 h 2826127"/>
                <a:gd name="connsiteX84" fmla="*/ 253726 w 1574526"/>
                <a:gd name="connsiteY84" fmla="*/ 2467352 h 2826127"/>
                <a:gd name="connsiteX85" fmla="*/ 253322 w 1574526"/>
                <a:gd name="connsiteY85" fmla="*/ 2463716 h 2826127"/>
                <a:gd name="connsiteX86" fmla="*/ 252932 w 1574526"/>
                <a:gd name="connsiteY86" fmla="*/ 2456241 h 2826127"/>
                <a:gd name="connsiteX87" fmla="*/ 252252 w 1574526"/>
                <a:gd name="connsiteY87" fmla="*/ 2454085 h 2826127"/>
                <a:gd name="connsiteX88" fmla="*/ 250551 w 1574526"/>
                <a:gd name="connsiteY88" fmla="*/ 2438777 h 2826127"/>
                <a:gd name="connsiteX89" fmla="*/ 244201 w 1574526"/>
                <a:gd name="connsiteY89" fmla="*/ 2429252 h 2826127"/>
                <a:gd name="connsiteX90" fmla="*/ 237851 w 1574526"/>
                <a:gd name="connsiteY90" fmla="*/ 2407027 h 2826127"/>
                <a:gd name="connsiteX91" fmla="*/ 231501 w 1574526"/>
                <a:gd name="connsiteY91" fmla="*/ 2397502 h 2826127"/>
                <a:gd name="connsiteX92" fmla="*/ 228566 w 1574526"/>
                <a:gd name="connsiteY92" fmla="*/ 2387815 h 2826127"/>
                <a:gd name="connsiteX93" fmla="*/ 228430 w 1574526"/>
                <a:gd name="connsiteY93" fmla="*/ 2382515 h 2826127"/>
                <a:gd name="connsiteX94" fmla="*/ 239984 w 1574526"/>
                <a:gd name="connsiteY94" fmla="*/ 2376022 h 2826127"/>
                <a:gd name="connsiteX95" fmla="*/ 242178 w 1574526"/>
                <a:gd name="connsiteY95" fmla="*/ 2375421 h 2826127"/>
                <a:gd name="connsiteX96" fmla="*/ 266426 w 1574526"/>
                <a:gd name="connsiteY96" fmla="*/ 2378452 h 2826127"/>
                <a:gd name="connsiteX97" fmla="*/ 285476 w 1574526"/>
                <a:gd name="connsiteY97" fmla="*/ 2384802 h 2826127"/>
                <a:gd name="connsiteX98" fmla="*/ 292650 w 1574526"/>
                <a:gd name="connsiteY98" fmla="*/ 2388389 h 2826127"/>
                <a:gd name="connsiteX99" fmla="*/ 294474 w 1574526"/>
                <a:gd name="connsiteY99" fmla="*/ 2392431 h 2826127"/>
                <a:gd name="connsiteX100" fmla="*/ 306090 w 1574526"/>
                <a:gd name="connsiteY100" fmla="*/ 2406453 h 2826127"/>
                <a:gd name="connsiteX101" fmla="*/ 313460 w 1574526"/>
                <a:gd name="connsiteY101" fmla="*/ 2396247 h 2826127"/>
                <a:gd name="connsiteX102" fmla="*/ 317226 w 1574526"/>
                <a:gd name="connsiteY102" fmla="*/ 2397502 h 2826127"/>
                <a:gd name="connsiteX103" fmla="*/ 326751 w 1574526"/>
                <a:gd name="connsiteY103" fmla="*/ 2400677 h 2826127"/>
                <a:gd name="connsiteX104" fmla="*/ 328216 w 1574526"/>
                <a:gd name="connsiteY104" fmla="*/ 2371384 h 2826127"/>
                <a:gd name="connsiteX105" fmla="*/ 334044 w 1574526"/>
                <a:gd name="connsiteY105" fmla="*/ 2355186 h 2826127"/>
                <a:gd name="connsiteX106" fmla="*/ 343420 w 1574526"/>
                <a:gd name="connsiteY106" fmla="*/ 2308603 h 2826127"/>
                <a:gd name="connsiteX107" fmla="*/ 345801 w 1574526"/>
                <a:gd name="connsiteY107" fmla="*/ 2282409 h 2826127"/>
                <a:gd name="connsiteX108" fmla="*/ 300557 w 1574526"/>
                <a:gd name="connsiteY108" fmla="*/ 2222878 h 2826127"/>
                <a:gd name="connsiteX109" fmla="*/ 364851 w 1574526"/>
                <a:gd name="connsiteY109" fmla="*/ 2201447 h 2826127"/>
                <a:gd name="connsiteX110" fmla="*/ 381520 w 1574526"/>
                <a:gd name="connsiteY110" fmla="*/ 2110959 h 2826127"/>
                <a:gd name="connsiteX111" fmla="*/ 386283 w 1574526"/>
                <a:gd name="connsiteY111" fmla="*/ 2018091 h 2826127"/>
                <a:gd name="connsiteX112" fmla="*/ 395807 w 1574526"/>
                <a:gd name="connsiteY112" fmla="*/ 1984753 h 2826127"/>
                <a:gd name="connsiteX113" fmla="*/ 362470 w 1574526"/>
                <a:gd name="connsiteY113" fmla="*/ 1884741 h 2826127"/>
                <a:gd name="connsiteX114" fmla="*/ 376757 w 1574526"/>
                <a:gd name="connsiteY114" fmla="*/ 1851403 h 2826127"/>
                <a:gd name="connsiteX115" fmla="*/ 393426 w 1574526"/>
                <a:gd name="connsiteY115" fmla="*/ 1810922 h 2826127"/>
                <a:gd name="connsiteX116" fmla="*/ 398188 w 1574526"/>
                <a:gd name="connsiteY116" fmla="*/ 1749009 h 2826127"/>
                <a:gd name="connsiteX117" fmla="*/ 381520 w 1574526"/>
                <a:gd name="connsiteY117" fmla="*/ 1656141 h 2826127"/>
                <a:gd name="connsiteX118" fmla="*/ 298175 w 1574526"/>
                <a:gd name="connsiteY118" fmla="*/ 1448972 h 2826127"/>
                <a:gd name="connsiteX119" fmla="*/ 245789 w 1574526"/>
                <a:gd name="connsiteY119" fmla="*/ 1403728 h 2826127"/>
                <a:gd name="connsiteX120" fmla="*/ 238645 w 1574526"/>
                <a:gd name="connsiteY120" fmla="*/ 1318003 h 2826127"/>
                <a:gd name="connsiteX121" fmla="*/ 191020 w 1574526"/>
                <a:gd name="connsiteY121" fmla="*/ 1210847 h 2826127"/>
                <a:gd name="connsiteX122" fmla="*/ 179570 w 1574526"/>
                <a:gd name="connsiteY122" fmla="*/ 1117978 h 2826127"/>
                <a:gd name="connsiteX123" fmla="*/ 190226 w 1574526"/>
                <a:gd name="connsiteY123" fmla="*/ 1117978 h 2826127"/>
                <a:gd name="connsiteX124" fmla="*/ 209276 w 1574526"/>
                <a:gd name="connsiteY124" fmla="*/ 1079878 h 2826127"/>
                <a:gd name="connsiteX125" fmla="*/ 190226 w 1574526"/>
                <a:gd name="connsiteY125" fmla="*/ 1029078 h 2826127"/>
                <a:gd name="connsiteX126" fmla="*/ 193401 w 1574526"/>
                <a:gd name="connsiteY126" fmla="*/ 1000503 h 2826127"/>
                <a:gd name="connsiteX127" fmla="*/ 196576 w 1574526"/>
                <a:gd name="connsiteY127" fmla="*/ 990978 h 2826127"/>
                <a:gd name="connsiteX128" fmla="*/ 206101 w 1574526"/>
                <a:gd name="connsiteY128" fmla="*/ 984628 h 2826127"/>
                <a:gd name="connsiteX129" fmla="*/ 218801 w 1574526"/>
                <a:gd name="connsiteY129" fmla="*/ 975103 h 2826127"/>
                <a:gd name="connsiteX130" fmla="*/ 231501 w 1574526"/>
                <a:gd name="connsiteY130" fmla="*/ 956053 h 2826127"/>
                <a:gd name="connsiteX131" fmla="*/ 247376 w 1574526"/>
                <a:gd name="connsiteY131" fmla="*/ 937003 h 2826127"/>
                <a:gd name="connsiteX132" fmla="*/ 250551 w 1574526"/>
                <a:gd name="connsiteY132" fmla="*/ 927478 h 2826127"/>
                <a:gd name="connsiteX133" fmla="*/ 247376 w 1574526"/>
                <a:gd name="connsiteY133" fmla="*/ 895728 h 2826127"/>
                <a:gd name="connsiteX134" fmla="*/ 225151 w 1574526"/>
                <a:gd name="connsiteY134" fmla="*/ 870328 h 2826127"/>
                <a:gd name="connsiteX135" fmla="*/ 215626 w 1574526"/>
                <a:gd name="connsiteY135" fmla="*/ 860803 h 2826127"/>
                <a:gd name="connsiteX136" fmla="*/ 206101 w 1574526"/>
                <a:gd name="connsiteY136" fmla="*/ 854453 h 2826127"/>
                <a:gd name="connsiteX137" fmla="*/ 187051 w 1574526"/>
                <a:gd name="connsiteY137" fmla="*/ 832228 h 2826127"/>
                <a:gd name="connsiteX138" fmla="*/ 187051 w 1574526"/>
                <a:gd name="connsiteY138" fmla="*/ 784603 h 2826127"/>
                <a:gd name="connsiteX139" fmla="*/ 190226 w 1574526"/>
                <a:gd name="connsiteY139" fmla="*/ 775078 h 2826127"/>
                <a:gd name="connsiteX140" fmla="*/ 209276 w 1574526"/>
                <a:gd name="connsiteY140" fmla="*/ 759203 h 2826127"/>
                <a:gd name="connsiteX141" fmla="*/ 215626 w 1574526"/>
                <a:gd name="connsiteY141" fmla="*/ 749678 h 2826127"/>
                <a:gd name="connsiteX142" fmla="*/ 209276 w 1574526"/>
                <a:gd name="connsiteY142" fmla="*/ 740153 h 2826127"/>
                <a:gd name="connsiteX143" fmla="*/ 187051 w 1574526"/>
                <a:gd name="connsiteY143" fmla="*/ 711578 h 2826127"/>
                <a:gd name="connsiteX144" fmla="*/ 177526 w 1574526"/>
                <a:gd name="connsiteY144" fmla="*/ 683003 h 2826127"/>
                <a:gd name="connsiteX145" fmla="*/ 174351 w 1574526"/>
                <a:gd name="connsiteY145" fmla="*/ 673478 h 2826127"/>
                <a:gd name="connsiteX146" fmla="*/ 158476 w 1574526"/>
                <a:gd name="connsiteY146" fmla="*/ 644903 h 2826127"/>
                <a:gd name="connsiteX147" fmla="*/ 164826 w 1574526"/>
                <a:gd name="connsiteY147" fmla="*/ 521078 h 2826127"/>
                <a:gd name="connsiteX148" fmla="*/ 183876 w 1574526"/>
                <a:gd name="connsiteY148" fmla="*/ 514728 h 2826127"/>
                <a:gd name="connsiteX149" fmla="*/ 193401 w 1574526"/>
                <a:gd name="connsiteY149" fmla="*/ 511553 h 2826127"/>
                <a:gd name="connsiteX150" fmla="*/ 206101 w 1574526"/>
                <a:gd name="connsiteY150" fmla="*/ 502028 h 2826127"/>
                <a:gd name="connsiteX151" fmla="*/ 212451 w 1574526"/>
                <a:gd name="connsiteY151" fmla="*/ 467103 h 2826127"/>
                <a:gd name="connsiteX152" fmla="*/ 212451 w 1574526"/>
                <a:gd name="connsiteY152" fmla="*/ 330578 h 2826127"/>
                <a:gd name="connsiteX153" fmla="*/ 206101 w 1574526"/>
                <a:gd name="connsiteY153" fmla="*/ 311528 h 2826127"/>
                <a:gd name="connsiteX154" fmla="*/ 193401 w 1574526"/>
                <a:gd name="connsiteY154" fmla="*/ 295653 h 2826127"/>
                <a:gd name="connsiteX155" fmla="*/ 190226 w 1574526"/>
                <a:gd name="connsiteY155" fmla="*/ 248028 h 2826127"/>
                <a:gd name="connsiteX156" fmla="*/ 168001 w 1574526"/>
                <a:gd name="connsiteY156" fmla="*/ 244853 h 2826127"/>
                <a:gd name="connsiteX157" fmla="*/ 171176 w 1574526"/>
                <a:gd name="connsiteY157" fmla="*/ 235328 h 2826127"/>
                <a:gd name="connsiteX158" fmla="*/ 177526 w 1574526"/>
                <a:gd name="connsiteY158" fmla="*/ 225803 h 2826127"/>
                <a:gd name="connsiteX159" fmla="*/ 148951 w 1574526"/>
                <a:gd name="connsiteY159" fmla="*/ 213103 h 2826127"/>
                <a:gd name="connsiteX160" fmla="*/ 139426 w 1574526"/>
                <a:gd name="connsiteY160" fmla="*/ 206753 h 2826127"/>
                <a:gd name="connsiteX161" fmla="*/ 129901 w 1574526"/>
                <a:gd name="connsiteY161" fmla="*/ 203578 h 2826127"/>
                <a:gd name="connsiteX162" fmla="*/ 136251 w 1574526"/>
                <a:gd name="connsiteY162" fmla="*/ 178178 h 2826127"/>
                <a:gd name="connsiteX163" fmla="*/ 148951 w 1574526"/>
                <a:gd name="connsiteY163" fmla="*/ 171828 h 2826127"/>
                <a:gd name="connsiteX164" fmla="*/ 158476 w 1574526"/>
                <a:gd name="connsiteY164" fmla="*/ 168653 h 2826127"/>
                <a:gd name="connsiteX165" fmla="*/ 177526 w 1574526"/>
                <a:gd name="connsiteY165" fmla="*/ 159128 h 2826127"/>
                <a:gd name="connsiteX166" fmla="*/ 174351 w 1574526"/>
                <a:gd name="connsiteY166" fmla="*/ 149603 h 2826127"/>
                <a:gd name="connsiteX167" fmla="*/ 164826 w 1574526"/>
                <a:gd name="connsiteY167" fmla="*/ 143253 h 2826127"/>
                <a:gd name="connsiteX168" fmla="*/ 142601 w 1574526"/>
                <a:gd name="connsiteY168" fmla="*/ 136903 h 2826127"/>
                <a:gd name="connsiteX169" fmla="*/ 158476 w 1574526"/>
                <a:gd name="connsiteY169" fmla="*/ 108328 h 2826127"/>
                <a:gd name="connsiteX170" fmla="*/ 168001 w 1574526"/>
                <a:gd name="connsiteY170" fmla="*/ 105153 h 2826127"/>
                <a:gd name="connsiteX171" fmla="*/ 215626 w 1574526"/>
                <a:gd name="connsiteY171" fmla="*/ 108328 h 2826127"/>
                <a:gd name="connsiteX172" fmla="*/ 253726 w 1574526"/>
                <a:gd name="connsiteY172" fmla="*/ 114678 h 2826127"/>
                <a:gd name="connsiteX173" fmla="*/ 266426 w 1574526"/>
                <a:gd name="connsiteY173" fmla="*/ 111503 h 2826127"/>
                <a:gd name="connsiteX174" fmla="*/ 256901 w 1574526"/>
                <a:gd name="connsiteY174" fmla="*/ 89278 h 2826127"/>
                <a:gd name="connsiteX175" fmla="*/ 252846 w 1574526"/>
                <a:gd name="connsiteY175" fmla="*/ 81387 h 2826127"/>
                <a:gd name="connsiteX176" fmla="*/ 252223 w 1574526"/>
                <a:gd name="connsiteY176" fmla="*/ 80082 h 2826127"/>
                <a:gd name="connsiteX177" fmla="*/ 255785 w 1574526"/>
                <a:gd name="connsiteY177" fmla="*/ 82307 h 2826127"/>
                <a:gd name="connsiteX178" fmla="*/ 266426 w 1574526"/>
                <a:gd name="connsiteY178" fmla="*/ 82927 h 2826127"/>
                <a:gd name="connsiteX179" fmla="*/ 263251 w 1574526"/>
                <a:gd name="connsiteY179" fmla="*/ 73402 h 2826127"/>
                <a:gd name="connsiteX180" fmla="*/ 288651 w 1574526"/>
                <a:gd name="connsiteY180" fmla="*/ 51177 h 2826127"/>
                <a:gd name="connsiteX181" fmla="*/ 301351 w 1574526"/>
                <a:gd name="connsiteY181" fmla="*/ 32127 h 2826127"/>
                <a:gd name="connsiteX182" fmla="*/ 307701 w 1574526"/>
                <a:gd name="connsiteY182" fmla="*/ 22602 h 2826127"/>
                <a:gd name="connsiteX183" fmla="*/ 317226 w 1574526"/>
                <a:gd name="connsiteY183" fmla="*/ 13077 h 2826127"/>
                <a:gd name="connsiteX184" fmla="*/ 329926 w 1574526"/>
                <a:gd name="connsiteY184" fmla="*/ 9902 h 2826127"/>
                <a:gd name="connsiteX185" fmla="*/ 374376 w 1574526"/>
                <a:gd name="connsiteY185" fmla="*/ 6727 h 2826127"/>
                <a:gd name="connsiteX186" fmla="*/ 67109 w 1574526"/>
                <a:gd name="connsiteY186" fmla="*/ 0 h 2826127"/>
                <a:gd name="connsiteX187" fmla="*/ 64013 w 1574526"/>
                <a:gd name="connsiteY187" fmla="*/ 2097 h 2826127"/>
                <a:gd name="connsiteX188" fmla="*/ 44176 w 1574526"/>
                <a:gd name="connsiteY188" fmla="*/ 13078 h 2826127"/>
                <a:gd name="connsiteX189" fmla="*/ 31476 w 1574526"/>
                <a:gd name="connsiteY189" fmla="*/ 32128 h 2826127"/>
                <a:gd name="connsiteX190" fmla="*/ 25126 w 1574526"/>
                <a:gd name="connsiteY190" fmla="*/ 41653 h 2826127"/>
                <a:gd name="connsiteX191" fmla="*/ 12426 w 1574526"/>
                <a:gd name="connsiteY191" fmla="*/ 44828 h 2826127"/>
                <a:gd name="connsiteX192" fmla="*/ 0 w 1574526"/>
                <a:gd name="connsiteY192" fmla="*/ 43087 h 2826127"/>
                <a:gd name="connsiteX193" fmla="*/ 3943 w 1574526"/>
                <a:gd name="connsiteY193" fmla="*/ 35001 h 2826127"/>
                <a:gd name="connsiteX194" fmla="*/ 45826 w 1574526"/>
                <a:gd name="connsiteY194" fmla="*/ 3084 h 2826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Lst>
              <a:rect l="l" t="t" r="r" b="b"/>
              <a:pathLst>
                <a:path w="1574526" h="2826127">
                  <a:moveTo>
                    <a:pt x="374376" y="6727"/>
                  </a:moveTo>
                  <a:lnTo>
                    <a:pt x="380726" y="57527"/>
                  </a:lnTo>
                  <a:cubicBezTo>
                    <a:pt x="399661" y="73757"/>
                    <a:pt x="399438" y="78414"/>
                    <a:pt x="422001" y="82927"/>
                  </a:cubicBezTo>
                  <a:lnTo>
                    <a:pt x="437876" y="86102"/>
                  </a:lnTo>
                  <a:lnTo>
                    <a:pt x="758551" y="213102"/>
                  </a:lnTo>
                  <a:lnTo>
                    <a:pt x="841101" y="305177"/>
                  </a:lnTo>
                  <a:lnTo>
                    <a:pt x="996676" y="517902"/>
                  </a:lnTo>
                  <a:lnTo>
                    <a:pt x="1168126" y="600452"/>
                  </a:lnTo>
                  <a:lnTo>
                    <a:pt x="1317351" y="759202"/>
                  </a:lnTo>
                  <a:lnTo>
                    <a:pt x="1384026" y="883027"/>
                  </a:lnTo>
                  <a:lnTo>
                    <a:pt x="1472926" y="898902"/>
                  </a:lnTo>
                  <a:lnTo>
                    <a:pt x="1574526" y="1038602"/>
                  </a:lnTo>
                  <a:lnTo>
                    <a:pt x="1507851" y="1149727"/>
                  </a:lnTo>
                  <a:lnTo>
                    <a:pt x="1469751" y="1184652"/>
                  </a:lnTo>
                  <a:lnTo>
                    <a:pt x="1384026" y="1321177"/>
                  </a:lnTo>
                  <a:lnTo>
                    <a:pt x="1282426" y="1422777"/>
                  </a:lnTo>
                  <a:cubicBezTo>
                    <a:pt x="1276076" y="1430185"/>
                    <a:pt x="1269325" y="1437268"/>
                    <a:pt x="1263376" y="1445002"/>
                  </a:cubicBezTo>
                  <a:cubicBezTo>
                    <a:pt x="1258723" y="1451051"/>
                    <a:pt x="1250676" y="1464052"/>
                    <a:pt x="1250676" y="1464052"/>
                  </a:cubicBezTo>
                  <a:cubicBezTo>
                    <a:pt x="1249659" y="1468121"/>
                    <a:pt x="1246603" y="1481722"/>
                    <a:pt x="1244326" y="1486277"/>
                  </a:cubicBezTo>
                  <a:cubicBezTo>
                    <a:pt x="1242619" y="1489690"/>
                    <a:pt x="1240093" y="1492627"/>
                    <a:pt x="1237976" y="1495802"/>
                  </a:cubicBezTo>
                  <a:cubicBezTo>
                    <a:pt x="1234288" y="1510555"/>
                    <a:pt x="1234801" y="1504138"/>
                    <a:pt x="1234801" y="1514852"/>
                  </a:cubicBezTo>
                  <a:lnTo>
                    <a:pt x="1257026" y="1629152"/>
                  </a:lnTo>
                  <a:lnTo>
                    <a:pt x="1241151" y="1791077"/>
                  </a:lnTo>
                  <a:lnTo>
                    <a:pt x="993501" y="1787902"/>
                  </a:lnTo>
                  <a:cubicBezTo>
                    <a:pt x="985273" y="1796130"/>
                    <a:pt x="971007" y="1807490"/>
                    <a:pt x="964926" y="1819652"/>
                  </a:cubicBezTo>
                  <a:cubicBezTo>
                    <a:pt x="963429" y="1822645"/>
                    <a:pt x="963248" y="1826184"/>
                    <a:pt x="961751" y="1829177"/>
                  </a:cubicBezTo>
                  <a:cubicBezTo>
                    <a:pt x="960044" y="1832590"/>
                    <a:pt x="957108" y="1835289"/>
                    <a:pt x="955401" y="1838702"/>
                  </a:cubicBezTo>
                  <a:cubicBezTo>
                    <a:pt x="953904" y="1841695"/>
                    <a:pt x="954281" y="1845585"/>
                    <a:pt x="952226" y="1848227"/>
                  </a:cubicBezTo>
                  <a:cubicBezTo>
                    <a:pt x="946871" y="1855112"/>
                    <a:pt x="933682" y="1868611"/>
                    <a:pt x="923651" y="1873627"/>
                  </a:cubicBezTo>
                  <a:cubicBezTo>
                    <a:pt x="920658" y="1875124"/>
                    <a:pt x="917301" y="1875744"/>
                    <a:pt x="914126" y="1876802"/>
                  </a:cubicBezTo>
                  <a:cubicBezTo>
                    <a:pt x="907104" y="1883824"/>
                    <a:pt x="902671" y="1887011"/>
                    <a:pt x="898251" y="1895852"/>
                  </a:cubicBezTo>
                  <a:cubicBezTo>
                    <a:pt x="896754" y="1898845"/>
                    <a:pt x="896394" y="1902301"/>
                    <a:pt x="895076" y="1905377"/>
                  </a:cubicBezTo>
                  <a:cubicBezTo>
                    <a:pt x="889811" y="1917661"/>
                    <a:pt x="891518" y="1915285"/>
                    <a:pt x="885551" y="1921252"/>
                  </a:cubicBezTo>
                  <a:lnTo>
                    <a:pt x="818876" y="2238752"/>
                  </a:lnTo>
                  <a:cubicBezTo>
                    <a:pt x="826284" y="2245102"/>
                    <a:pt x="834202" y="2250903"/>
                    <a:pt x="841101" y="2257802"/>
                  </a:cubicBezTo>
                  <a:cubicBezTo>
                    <a:pt x="844932" y="2261633"/>
                    <a:pt x="848121" y="2268666"/>
                    <a:pt x="850626" y="2273677"/>
                  </a:cubicBezTo>
                  <a:lnTo>
                    <a:pt x="726801" y="2387977"/>
                  </a:lnTo>
                  <a:lnTo>
                    <a:pt x="676001" y="2499102"/>
                  </a:lnTo>
                  <a:lnTo>
                    <a:pt x="676001" y="2543552"/>
                  </a:lnTo>
                  <a:lnTo>
                    <a:pt x="558526" y="2572127"/>
                  </a:lnTo>
                  <a:cubicBezTo>
                    <a:pt x="547943" y="2574244"/>
                    <a:pt x="536882" y="2574687"/>
                    <a:pt x="526776" y="2578477"/>
                  </a:cubicBezTo>
                  <a:cubicBezTo>
                    <a:pt x="518194" y="2581695"/>
                    <a:pt x="504766" y="2592824"/>
                    <a:pt x="498201" y="2600702"/>
                  </a:cubicBezTo>
                  <a:cubicBezTo>
                    <a:pt x="495758" y="2603633"/>
                    <a:pt x="494069" y="2607122"/>
                    <a:pt x="491851" y="2610227"/>
                  </a:cubicBezTo>
                  <a:cubicBezTo>
                    <a:pt x="488775" y="2614533"/>
                    <a:pt x="485501" y="2618694"/>
                    <a:pt x="482326" y="2622927"/>
                  </a:cubicBezTo>
                  <a:cubicBezTo>
                    <a:pt x="481268" y="2626102"/>
                    <a:pt x="480648" y="2629459"/>
                    <a:pt x="479151" y="2632452"/>
                  </a:cubicBezTo>
                  <a:cubicBezTo>
                    <a:pt x="476657" y="2637440"/>
                    <a:pt x="465673" y="2651321"/>
                    <a:pt x="463276" y="2654677"/>
                  </a:cubicBezTo>
                  <a:cubicBezTo>
                    <a:pt x="461058" y="2657782"/>
                    <a:pt x="458633" y="2660789"/>
                    <a:pt x="456926" y="2664202"/>
                  </a:cubicBezTo>
                  <a:cubicBezTo>
                    <a:pt x="455429" y="2667195"/>
                    <a:pt x="455607" y="2670942"/>
                    <a:pt x="453751" y="2673727"/>
                  </a:cubicBezTo>
                  <a:cubicBezTo>
                    <a:pt x="451260" y="2677463"/>
                    <a:pt x="447401" y="2680077"/>
                    <a:pt x="444226" y="2683252"/>
                  </a:cubicBezTo>
                  <a:cubicBezTo>
                    <a:pt x="443168" y="2687485"/>
                    <a:pt x="442770" y="2691941"/>
                    <a:pt x="441051" y="2695952"/>
                  </a:cubicBezTo>
                  <a:cubicBezTo>
                    <a:pt x="439503" y="2699563"/>
                    <a:pt x="426260" y="2716731"/>
                    <a:pt x="425176" y="2718177"/>
                  </a:cubicBezTo>
                  <a:cubicBezTo>
                    <a:pt x="424118" y="2721352"/>
                    <a:pt x="422510" y="2724394"/>
                    <a:pt x="422001" y="2727702"/>
                  </a:cubicBezTo>
                  <a:cubicBezTo>
                    <a:pt x="420384" y="2738214"/>
                    <a:pt x="422403" y="2749436"/>
                    <a:pt x="418826" y="2759452"/>
                  </a:cubicBezTo>
                  <a:cubicBezTo>
                    <a:pt x="416812" y="2765090"/>
                    <a:pt x="411260" y="2769072"/>
                    <a:pt x="406126" y="2772152"/>
                  </a:cubicBezTo>
                  <a:cubicBezTo>
                    <a:pt x="400386" y="2775596"/>
                    <a:pt x="393063" y="2775509"/>
                    <a:pt x="387076" y="2778502"/>
                  </a:cubicBezTo>
                  <a:cubicBezTo>
                    <a:pt x="382843" y="2780619"/>
                    <a:pt x="378390" y="2782344"/>
                    <a:pt x="374376" y="2784852"/>
                  </a:cubicBezTo>
                  <a:cubicBezTo>
                    <a:pt x="369889" y="2787657"/>
                    <a:pt x="365418" y="2790635"/>
                    <a:pt x="361676" y="2794377"/>
                  </a:cubicBezTo>
                  <a:cubicBezTo>
                    <a:pt x="354177" y="2801876"/>
                    <a:pt x="355202" y="2807886"/>
                    <a:pt x="348976" y="2816602"/>
                  </a:cubicBezTo>
                  <a:cubicBezTo>
                    <a:pt x="346366" y="2820256"/>
                    <a:pt x="342626" y="2822952"/>
                    <a:pt x="339451" y="2826127"/>
                  </a:cubicBezTo>
                  <a:cubicBezTo>
                    <a:pt x="334159" y="2825069"/>
                    <a:pt x="328261" y="2825629"/>
                    <a:pt x="323576" y="2822952"/>
                  </a:cubicBezTo>
                  <a:cubicBezTo>
                    <a:pt x="320263" y="2821059"/>
                    <a:pt x="317647" y="2817220"/>
                    <a:pt x="317226" y="2813427"/>
                  </a:cubicBezTo>
                  <a:cubicBezTo>
                    <a:pt x="314419" y="2788160"/>
                    <a:pt x="322367" y="2761250"/>
                    <a:pt x="314051" y="2737227"/>
                  </a:cubicBezTo>
                  <a:cubicBezTo>
                    <a:pt x="311196" y="2728980"/>
                    <a:pt x="288651" y="2730877"/>
                    <a:pt x="288651" y="2730877"/>
                  </a:cubicBezTo>
                  <a:cubicBezTo>
                    <a:pt x="282301" y="2726644"/>
                    <a:pt x="273834" y="2724527"/>
                    <a:pt x="269601" y="2718177"/>
                  </a:cubicBezTo>
                  <a:cubicBezTo>
                    <a:pt x="260760" y="2704916"/>
                    <a:pt x="265949" y="2711350"/>
                    <a:pt x="253726" y="2699127"/>
                  </a:cubicBezTo>
                  <a:cubicBezTo>
                    <a:pt x="252668" y="2690660"/>
                    <a:pt x="254016" y="2681524"/>
                    <a:pt x="250551" y="2673727"/>
                  </a:cubicBezTo>
                  <a:cubicBezTo>
                    <a:pt x="249192" y="2670669"/>
                    <a:pt x="244308" y="2671208"/>
                    <a:pt x="241026" y="2670552"/>
                  </a:cubicBezTo>
                  <a:cubicBezTo>
                    <a:pt x="233688" y="2669084"/>
                    <a:pt x="226209" y="2668435"/>
                    <a:pt x="218801" y="2667377"/>
                  </a:cubicBezTo>
                  <a:cubicBezTo>
                    <a:pt x="217195" y="2662560"/>
                    <a:pt x="215303" y="2658120"/>
                    <a:pt x="214758" y="2653532"/>
                  </a:cubicBezTo>
                  <a:lnTo>
                    <a:pt x="217737" y="2642678"/>
                  </a:lnTo>
                  <a:lnTo>
                    <a:pt x="232540" y="2628801"/>
                  </a:lnTo>
                  <a:lnTo>
                    <a:pt x="237851" y="2626102"/>
                  </a:lnTo>
                  <a:lnTo>
                    <a:pt x="239770" y="2620224"/>
                  </a:lnTo>
                  <a:lnTo>
                    <a:pt x="241548" y="2617645"/>
                  </a:lnTo>
                  <a:lnTo>
                    <a:pt x="241442" y="2615100"/>
                  </a:lnTo>
                  <a:lnTo>
                    <a:pt x="244401" y="2606035"/>
                  </a:lnTo>
                  <a:lnTo>
                    <a:pt x="241920" y="2590442"/>
                  </a:lnTo>
                  <a:lnTo>
                    <a:pt x="245789" y="2584829"/>
                  </a:lnTo>
                  <a:lnTo>
                    <a:pt x="200925" y="2553424"/>
                  </a:lnTo>
                  <a:lnTo>
                    <a:pt x="199364" y="2548741"/>
                  </a:lnTo>
                  <a:lnTo>
                    <a:pt x="202052" y="2542580"/>
                  </a:lnTo>
                  <a:cubicBezTo>
                    <a:pt x="211261" y="2534673"/>
                    <a:pt x="233584" y="2529166"/>
                    <a:pt x="243407" y="2520534"/>
                  </a:cubicBezTo>
                  <a:cubicBezTo>
                    <a:pt x="249956" y="2514780"/>
                    <a:pt x="253428" y="2502973"/>
                    <a:pt x="254718" y="2490471"/>
                  </a:cubicBezTo>
                  <a:lnTo>
                    <a:pt x="253526" y="2467619"/>
                  </a:lnTo>
                  <a:lnTo>
                    <a:pt x="253726" y="2467352"/>
                  </a:lnTo>
                  <a:lnTo>
                    <a:pt x="253322" y="2463716"/>
                  </a:lnTo>
                  <a:lnTo>
                    <a:pt x="252932" y="2456241"/>
                  </a:lnTo>
                  <a:lnTo>
                    <a:pt x="252252" y="2454085"/>
                  </a:lnTo>
                  <a:lnTo>
                    <a:pt x="250551" y="2438777"/>
                  </a:lnTo>
                  <a:cubicBezTo>
                    <a:pt x="249626" y="2435075"/>
                    <a:pt x="245908" y="2432665"/>
                    <a:pt x="244201" y="2429252"/>
                  </a:cubicBezTo>
                  <a:cubicBezTo>
                    <a:pt x="238022" y="2416895"/>
                    <a:pt x="243955" y="2421269"/>
                    <a:pt x="237851" y="2407027"/>
                  </a:cubicBezTo>
                  <a:cubicBezTo>
                    <a:pt x="236348" y="2403520"/>
                    <a:pt x="233618" y="2400677"/>
                    <a:pt x="231501" y="2397502"/>
                  </a:cubicBezTo>
                  <a:cubicBezTo>
                    <a:pt x="230972" y="2394327"/>
                    <a:pt x="229544" y="2391044"/>
                    <a:pt x="228566" y="2387815"/>
                  </a:cubicBezTo>
                  <a:lnTo>
                    <a:pt x="228430" y="2382515"/>
                  </a:lnTo>
                  <a:lnTo>
                    <a:pt x="239984" y="2376022"/>
                  </a:lnTo>
                  <a:lnTo>
                    <a:pt x="242178" y="2375421"/>
                  </a:lnTo>
                  <a:lnTo>
                    <a:pt x="266426" y="2378452"/>
                  </a:lnTo>
                  <a:cubicBezTo>
                    <a:pt x="272776" y="2380569"/>
                    <a:pt x="279489" y="2381809"/>
                    <a:pt x="285476" y="2384802"/>
                  </a:cubicBezTo>
                  <a:lnTo>
                    <a:pt x="292650" y="2388389"/>
                  </a:lnTo>
                  <a:lnTo>
                    <a:pt x="294474" y="2392431"/>
                  </a:lnTo>
                  <a:cubicBezTo>
                    <a:pt x="295575" y="2403190"/>
                    <a:pt x="294312" y="2420072"/>
                    <a:pt x="306090" y="2406453"/>
                  </a:cubicBezTo>
                  <a:lnTo>
                    <a:pt x="313460" y="2396247"/>
                  </a:lnTo>
                  <a:lnTo>
                    <a:pt x="317226" y="2397502"/>
                  </a:lnTo>
                  <a:lnTo>
                    <a:pt x="326751" y="2400677"/>
                  </a:lnTo>
                  <a:lnTo>
                    <a:pt x="328216" y="2371384"/>
                  </a:lnTo>
                  <a:lnTo>
                    <a:pt x="334044" y="2355186"/>
                  </a:lnTo>
                  <a:cubicBezTo>
                    <a:pt x="339154" y="2337476"/>
                    <a:pt x="342627" y="2318525"/>
                    <a:pt x="343420" y="2308603"/>
                  </a:cubicBezTo>
                  <a:cubicBezTo>
                    <a:pt x="345008" y="2288759"/>
                    <a:pt x="352945" y="2296697"/>
                    <a:pt x="345801" y="2282409"/>
                  </a:cubicBezTo>
                  <a:cubicBezTo>
                    <a:pt x="338657" y="2268122"/>
                    <a:pt x="277935" y="2248278"/>
                    <a:pt x="300557" y="2222878"/>
                  </a:cubicBezTo>
                  <a:cubicBezTo>
                    <a:pt x="303335" y="2214544"/>
                    <a:pt x="341039" y="2201050"/>
                    <a:pt x="364851" y="2201447"/>
                  </a:cubicBezTo>
                  <a:cubicBezTo>
                    <a:pt x="388664" y="2201844"/>
                    <a:pt x="365645" y="2124056"/>
                    <a:pt x="381520" y="2110959"/>
                  </a:cubicBezTo>
                  <a:lnTo>
                    <a:pt x="386283" y="2018091"/>
                  </a:lnTo>
                  <a:cubicBezTo>
                    <a:pt x="386283" y="1997057"/>
                    <a:pt x="398188" y="2006978"/>
                    <a:pt x="395807" y="1984753"/>
                  </a:cubicBezTo>
                  <a:cubicBezTo>
                    <a:pt x="393426" y="1962528"/>
                    <a:pt x="362470" y="1901013"/>
                    <a:pt x="362470" y="1884741"/>
                  </a:cubicBezTo>
                  <a:cubicBezTo>
                    <a:pt x="362470" y="1868469"/>
                    <a:pt x="371598" y="1863706"/>
                    <a:pt x="376757" y="1851403"/>
                  </a:cubicBezTo>
                  <a:lnTo>
                    <a:pt x="393426" y="1810922"/>
                  </a:lnTo>
                  <a:lnTo>
                    <a:pt x="398188" y="1749009"/>
                  </a:lnTo>
                  <a:cubicBezTo>
                    <a:pt x="394616" y="1725197"/>
                    <a:pt x="396601" y="1706147"/>
                    <a:pt x="381520" y="1656141"/>
                  </a:cubicBezTo>
                  <a:cubicBezTo>
                    <a:pt x="366439" y="1606135"/>
                    <a:pt x="314844" y="1493025"/>
                    <a:pt x="298175" y="1448972"/>
                  </a:cubicBezTo>
                  <a:cubicBezTo>
                    <a:pt x="281506" y="1404919"/>
                    <a:pt x="258092" y="1425159"/>
                    <a:pt x="245789" y="1403728"/>
                  </a:cubicBezTo>
                  <a:cubicBezTo>
                    <a:pt x="233486" y="1382297"/>
                    <a:pt x="245392" y="1350944"/>
                    <a:pt x="238645" y="1318003"/>
                  </a:cubicBezTo>
                  <a:cubicBezTo>
                    <a:pt x="231898" y="1285062"/>
                    <a:pt x="200866" y="1244184"/>
                    <a:pt x="191020" y="1210847"/>
                  </a:cubicBezTo>
                  <a:cubicBezTo>
                    <a:pt x="181174" y="1177510"/>
                    <a:pt x="186317" y="1132662"/>
                    <a:pt x="179570" y="1117978"/>
                  </a:cubicBezTo>
                  <a:lnTo>
                    <a:pt x="190226" y="1117978"/>
                  </a:lnTo>
                  <a:lnTo>
                    <a:pt x="209276" y="1079878"/>
                  </a:lnTo>
                  <a:cubicBezTo>
                    <a:pt x="195079" y="1037288"/>
                    <a:pt x="202563" y="1053752"/>
                    <a:pt x="190226" y="1029078"/>
                  </a:cubicBezTo>
                  <a:cubicBezTo>
                    <a:pt x="191284" y="1019553"/>
                    <a:pt x="191825" y="1009956"/>
                    <a:pt x="193401" y="1000503"/>
                  </a:cubicBezTo>
                  <a:cubicBezTo>
                    <a:pt x="193951" y="997202"/>
                    <a:pt x="194485" y="993591"/>
                    <a:pt x="196576" y="990978"/>
                  </a:cubicBezTo>
                  <a:cubicBezTo>
                    <a:pt x="198960" y="987998"/>
                    <a:pt x="202996" y="986846"/>
                    <a:pt x="206101" y="984628"/>
                  </a:cubicBezTo>
                  <a:cubicBezTo>
                    <a:pt x="210407" y="981552"/>
                    <a:pt x="215285" y="979058"/>
                    <a:pt x="218801" y="975103"/>
                  </a:cubicBezTo>
                  <a:cubicBezTo>
                    <a:pt x="223871" y="969399"/>
                    <a:pt x="226105" y="961449"/>
                    <a:pt x="231501" y="956053"/>
                  </a:cubicBezTo>
                  <a:cubicBezTo>
                    <a:pt x="238523" y="949031"/>
                    <a:pt x="242956" y="945844"/>
                    <a:pt x="247376" y="937003"/>
                  </a:cubicBezTo>
                  <a:cubicBezTo>
                    <a:pt x="248873" y="934010"/>
                    <a:pt x="249493" y="930653"/>
                    <a:pt x="250551" y="927478"/>
                  </a:cubicBezTo>
                  <a:cubicBezTo>
                    <a:pt x="249493" y="916895"/>
                    <a:pt x="250548" y="905880"/>
                    <a:pt x="247376" y="895728"/>
                  </a:cubicBezTo>
                  <a:cubicBezTo>
                    <a:pt x="240966" y="875217"/>
                    <a:pt x="236822" y="880054"/>
                    <a:pt x="225151" y="870328"/>
                  </a:cubicBezTo>
                  <a:cubicBezTo>
                    <a:pt x="221702" y="867453"/>
                    <a:pt x="219075" y="863678"/>
                    <a:pt x="215626" y="860803"/>
                  </a:cubicBezTo>
                  <a:cubicBezTo>
                    <a:pt x="212695" y="858360"/>
                    <a:pt x="209032" y="856896"/>
                    <a:pt x="206101" y="854453"/>
                  </a:cubicBezTo>
                  <a:cubicBezTo>
                    <a:pt x="197256" y="847083"/>
                    <a:pt x="194058" y="841571"/>
                    <a:pt x="187051" y="832228"/>
                  </a:cubicBezTo>
                  <a:cubicBezTo>
                    <a:pt x="181525" y="810126"/>
                    <a:pt x="182183" y="818681"/>
                    <a:pt x="187051" y="784603"/>
                  </a:cubicBezTo>
                  <a:cubicBezTo>
                    <a:pt x="187524" y="781290"/>
                    <a:pt x="188370" y="777863"/>
                    <a:pt x="190226" y="775078"/>
                  </a:cubicBezTo>
                  <a:cubicBezTo>
                    <a:pt x="195115" y="767744"/>
                    <a:pt x="202248" y="763889"/>
                    <a:pt x="209276" y="759203"/>
                  </a:cubicBezTo>
                  <a:cubicBezTo>
                    <a:pt x="211393" y="756028"/>
                    <a:pt x="215626" y="753494"/>
                    <a:pt x="215626" y="749678"/>
                  </a:cubicBezTo>
                  <a:cubicBezTo>
                    <a:pt x="215626" y="745862"/>
                    <a:pt x="211719" y="743084"/>
                    <a:pt x="209276" y="740153"/>
                  </a:cubicBezTo>
                  <a:cubicBezTo>
                    <a:pt x="200144" y="729195"/>
                    <a:pt x="192401" y="727627"/>
                    <a:pt x="187051" y="711578"/>
                  </a:cubicBezTo>
                  <a:lnTo>
                    <a:pt x="177526" y="683003"/>
                  </a:lnTo>
                  <a:cubicBezTo>
                    <a:pt x="176468" y="679828"/>
                    <a:pt x="176207" y="676263"/>
                    <a:pt x="174351" y="673478"/>
                  </a:cubicBezTo>
                  <a:cubicBezTo>
                    <a:pt x="159795" y="651643"/>
                    <a:pt x="164064" y="661668"/>
                    <a:pt x="158476" y="644903"/>
                  </a:cubicBezTo>
                  <a:cubicBezTo>
                    <a:pt x="160593" y="603628"/>
                    <a:pt x="156911" y="561642"/>
                    <a:pt x="164826" y="521078"/>
                  </a:cubicBezTo>
                  <a:cubicBezTo>
                    <a:pt x="166108" y="514508"/>
                    <a:pt x="177526" y="516845"/>
                    <a:pt x="183876" y="514728"/>
                  </a:cubicBezTo>
                  <a:cubicBezTo>
                    <a:pt x="187051" y="513670"/>
                    <a:pt x="190616" y="513409"/>
                    <a:pt x="193401" y="511553"/>
                  </a:cubicBezTo>
                  <a:cubicBezTo>
                    <a:pt x="204171" y="504373"/>
                    <a:pt x="200228" y="507901"/>
                    <a:pt x="206101" y="502028"/>
                  </a:cubicBezTo>
                  <a:lnTo>
                    <a:pt x="212451" y="467103"/>
                  </a:lnTo>
                  <a:cubicBezTo>
                    <a:pt x="214289" y="419318"/>
                    <a:pt x="218572" y="377502"/>
                    <a:pt x="212451" y="330578"/>
                  </a:cubicBezTo>
                  <a:cubicBezTo>
                    <a:pt x="211585" y="323941"/>
                    <a:pt x="208218" y="317878"/>
                    <a:pt x="206101" y="311528"/>
                  </a:cubicBezTo>
                  <a:cubicBezTo>
                    <a:pt x="201719" y="298383"/>
                    <a:pt x="205711" y="303859"/>
                    <a:pt x="193401" y="295653"/>
                  </a:cubicBezTo>
                  <a:cubicBezTo>
                    <a:pt x="192343" y="279778"/>
                    <a:pt x="197341" y="262259"/>
                    <a:pt x="190226" y="248028"/>
                  </a:cubicBezTo>
                  <a:cubicBezTo>
                    <a:pt x="186879" y="241335"/>
                    <a:pt x="174228" y="249004"/>
                    <a:pt x="168001" y="244853"/>
                  </a:cubicBezTo>
                  <a:cubicBezTo>
                    <a:pt x="165216" y="242997"/>
                    <a:pt x="169679" y="238321"/>
                    <a:pt x="171176" y="235328"/>
                  </a:cubicBezTo>
                  <a:cubicBezTo>
                    <a:pt x="172883" y="231915"/>
                    <a:pt x="175409" y="228978"/>
                    <a:pt x="177526" y="225803"/>
                  </a:cubicBezTo>
                  <a:cubicBezTo>
                    <a:pt x="165289" y="207447"/>
                    <a:pt x="178359" y="221925"/>
                    <a:pt x="148951" y="213103"/>
                  </a:cubicBezTo>
                  <a:cubicBezTo>
                    <a:pt x="145296" y="212007"/>
                    <a:pt x="142839" y="208460"/>
                    <a:pt x="139426" y="206753"/>
                  </a:cubicBezTo>
                  <a:cubicBezTo>
                    <a:pt x="136433" y="205256"/>
                    <a:pt x="133076" y="204636"/>
                    <a:pt x="129901" y="203578"/>
                  </a:cubicBezTo>
                  <a:cubicBezTo>
                    <a:pt x="132018" y="195111"/>
                    <a:pt x="131761" y="185662"/>
                    <a:pt x="136251" y="178178"/>
                  </a:cubicBezTo>
                  <a:cubicBezTo>
                    <a:pt x="138686" y="174119"/>
                    <a:pt x="144601" y="173692"/>
                    <a:pt x="148951" y="171828"/>
                  </a:cubicBezTo>
                  <a:cubicBezTo>
                    <a:pt x="152027" y="170510"/>
                    <a:pt x="155483" y="170150"/>
                    <a:pt x="158476" y="168653"/>
                  </a:cubicBezTo>
                  <a:cubicBezTo>
                    <a:pt x="183095" y="156343"/>
                    <a:pt x="153585" y="167108"/>
                    <a:pt x="177526" y="159128"/>
                  </a:cubicBezTo>
                  <a:cubicBezTo>
                    <a:pt x="176468" y="155953"/>
                    <a:pt x="176442" y="152216"/>
                    <a:pt x="174351" y="149603"/>
                  </a:cubicBezTo>
                  <a:cubicBezTo>
                    <a:pt x="171967" y="146623"/>
                    <a:pt x="168239" y="144960"/>
                    <a:pt x="164826" y="143253"/>
                  </a:cubicBezTo>
                  <a:cubicBezTo>
                    <a:pt x="160271" y="140976"/>
                    <a:pt x="146670" y="137920"/>
                    <a:pt x="142601" y="136903"/>
                  </a:cubicBezTo>
                  <a:cubicBezTo>
                    <a:pt x="147335" y="122702"/>
                    <a:pt x="146255" y="116475"/>
                    <a:pt x="158476" y="108328"/>
                  </a:cubicBezTo>
                  <a:cubicBezTo>
                    <a:pt x="161261" y="106472"/>
                    <a:pt x="164826" y="106211"/>
                    <a:pt x="168001" y="105153"/>
                  </a:cubicBezTo>
                  <a:cubicBezTo>
                    <a:pt x="183876" y="106211"/>
                    <a:pt x="199781" y="106888"/>
                    <a:pt x="215626" y="108328"/>
                  </a:cubicBezTo>
                  <a:cubicBezTo>
                    <a:pt x="230066" y="109641"/>
                    <a:pt x="239979" y="111929"/>
                    <a:pt x="253726" y="114678"/>
                  </a:cubicBezTo>
                  <a:cubicBezTo>
                    <a:pt x="257959" y="113620"/>
                    <a:pt x="264181" y="115245"/>
                    <a:pt x="266426" y="111503"/>
                  </a:cubicBezTo>
                  <a:cubicBezTo>
                    <a:pt x="269860" y="105779"/>
                    <a:pt x="259083" y="93096"/>
                    <a:pt x="256901" y="89278"/>
                  </a:cubicBezTo>
                  <a:cubicBezTo>
                    <a:pt x="255727" y="87224"/>
                    <a:pt x="254140" y="84049"/>
                    <a:pt x="252846" y="81387"/>
                  </a:cubicBezTo>
                  <a:lnTo>
                    <a:pt x="252223" y="80082"/>
                  </a:lnTo>
                  <a:lnTo>
                    <a:pt x="255785" y="82307"/>
                  </a:lnTo>
                  <a:cubicBezTo>
                    <a:pt x="263226" y="86334"/>
                    <a:pt x="267154" y="87160"/>
                    <a:pt x="266426" y="82927"/>
                  </a:cubicBezTo>
                  <a:lnTo>
                    <a:pt x="263251" y="73402"/>
                  </a:lnTo>
                  <a:cubicBezTo>
                    <a:pt x="271718" y="65994"/>
                    <a:pt x="281020" y="59444"/>
                    <a:pt x="288651" y="51177"/>
                  </a:cubicBezTo>
                  <a:cubicBezTo>
                    <a:pt x="293827" y="45569"/>
                    <a:pt x="297118" y="38477"/>
                    <a:pt x="301351" y="32127"/>
                  </a:cubicBezTo>
                  <a:cubicBezTo>
                    <a:pt x="303468" y="28952"/>
                    <a:pt x="305003" y="25300"/>
                    <a:pt x="307701" y="22602"/>
                  </a:cubicBezTo>
                  <a:cubicBezTo>
                    <a:pt x="310876" y="19427"/>
                    <a:pt x="313327" y="15305"/>
                    <a:pt x="317226" y="13077"/>
                  </a:cubicBezTo>
                  <a:cubicBezTo>
                    <a:pt x="321015" y="10912"/>
                    <a:pt x="325592" y="10412"/>
                    <a:pt x="329926" y="9902"/>
                  </a:cubicBezTo>
                  <a:cubicBezTo>
                    <a:pt x="357603" y="6646"/>
                    <a:pt x="358526" y="6727"/>
                    <a:pt x="374376" y="6727"/>
                  </a:cubicBezTo>
                  <a:close/>
                  <a:moveTo>
                    <a:pt x="67109" y="0"/>
                  </a:moveTo>
                  <a:lnTo>
                    <a:pt x="64013" y="2097"/>
                  </a:lnTo>
                  <a:cubicBezTo>
                    <a:pt x="56427" y="7322"/>
                    <a:pt x="58821" y="5756"/>
                    <a:pt x="44176" y="13078"/>
                  </a:cubicBezTo>
                  <a:lnTo>
                    <a:pt x="31476" y="32128"/>
                  </a:lnTo>
                  <a:cubicBezTo>
                    <a:pt x="29359" y="35303"/>
                    <a:pt x="28828" y="40728"/>
                    <a:pt x="25126" y="41653"/>
                  </a:cubicBezTo>
                  <a:lnTo>
                    <a:pt x="12426" y="44828"/>
                  </a:lnTo>
                  <a:lnTo>
                    <a:pt x="0" y="43087"/>
                  </a:lnTo>
                  <a:lnTo>
                    <a:pt x="3943" y="35001"/>
                  </a:lnTo>
                  <a:cubicBezTo>
                    <a:pt x="15523" y="17950"/>
                    <a:pt x="29864" y="7931"/>
                    <a:pt x="45826" y="3084"/>
                  </a:cubicBezTo>
                  <a:close/>
                </a:path>
              </a:pathLst>
            </a:custGeom>
            <a:grp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sym typeface="Arial"/>
              </a:endParaRPr>
            </a:p>
          </p:txBody>
        </p:sp>
        <p:sp>
          <p:nvSpPr>
            <p:cNvPr id="8" name="Freeform 7"/>
            <p:cNvSpPr/>
            <p:nvPr/>
          </p:nvSpPr>
          <p:spPr bwMode="gray">
            <a:xfrm>
              <a:off x="4761418" y="2871788"/>
              <a:ext cx="3868232" cy="3510238"/>
            </a:xfrm>
            <a:custGeom>
              <a:avLst/>
              <a:gdLst>
                <a:gd name="connsiteX0" fmla="*/ 1039307 w 3868232"/>
                <a:gd name="connsiteY0" fmla="*/ 0 h 3510238"/>
                <a:gd name="connsiteX1" fmla="*/ 1086932 w 3868232"/>
                <a:gd name="connsiteY1" fmla="*/ 14287 h 3510238"/>
                <a:gd name="connsiteX2" fmla="*/ 1191707 w 3868232"/>
                <a:gd name="connsiteY2" fmla="*/ 66675 h 3510238"/>
                <a:gd name="connsiteX3" fmla="*/ 1058357 w 3868232"/>
                <a:gd name="connsiteY3" fmla="*/ 233362 h 3510238"/>
                <a:gd name="connsiteX4" fmla="*/ 1058357 w 3868232"/>
                <a:gd name="connsiteY4" fmla="*/ 271462 h 3510238"/>
                <a:gd name="connsiteX5" fmla="*/ 1086932 w 3868232"/>
                <a:gd name="connsiteY5" fmla="*/ 304800 h 3510238"/>
                <a:gd name="connsiteX6" fmla="*/ 1120270 w 3868232"/>
                <a:gd name="connsiteY6" fmla="*/ 381000 h 3510238"/>
                <a:gd name="connsiteX7" fmla="*/ 1248857 w 3868232"/>
                <a:gd name="connsiteY7" fmla="*/ 504825 h 3510238"/>
                <a:gd name="connsiteX8" fmla="*/ 1277432 w 3868232"/>
                <a:gd name="connsiteY8" fmla="*/ 581025 h 3510238"/>
                <a:gd name="connsiteX9" fmla="*/ 1325057 w 3868232"/>
                <a:gd name="connsiteY9" fmla="*/ 585787 h 3510238"/>
                <a:gd name="connsiteX10" fmla="*/ 1353632 w 3868232"/>
                <a:gd name="connsiteY10" fmla="*/ 614362 h 3510238"/>
                <a:gd name="connsiteX11" fmla="*/ 1358395 w 3868232"/>
                <a:gd name="connsiteY11" fmla="*/ 619125 h 3510238"/>
                <a:gd name="connsiteX12" fmla="*/ 1396495 w 3868232"/>
                <a:gd name="connsiteY12" fmla="*/ 733425 h 3510238"/>
                <a:gd name="connsiteX13" fmla="*/ 1463170 w 3868232"/>
                <a:gd name="connsiteY13" fmla="*/ 838200 h 3510238"/>
                <a:gd name="connsiteX14" fmla="*/ 1577470 w 3868232"/>
                <a:gd name="connsiteY14" fmla="*/ 866775 h 3510238"/>
                <a:gd name="connsiteX15" fmla="*/ 1791782 w 3868232"/>
                <a:gd name="connsiteY15" fmla="*/ 1062037 h 3510238"/>
                <a:gd name="connsiteX16" fmla="*/ 2191832 w 3868232"/>
                <a:gd name="connsiteY16" fmla="*/ 1171575 h 3510238"/>
                <a:gd name="connsiteX17" fmla="*/ 2910970 w 3868232"/>
                <a:gd name="connsiteY17" fmla="*/ 1381125 h 3510238"/>
                <a:gd name="connsiteX18" fmla="*/ 3330070 w 3868232"/>
                <a:gd name="connsiteY18" fmla="*/ 1524000 h 3510238"/>
                <a:gd name="connsiteX19" fmla="*/ 3868232 w 3868232"/>
                <a:gd name="connsiteY19" fmla="*/ 1524000 h 3510238"/>
                <a:gd name="connsiteX20" fmla="*/ 2282320 w 3868232"/>
                <a:gd name="connsiteY20" fmla="*/ 3033712 h 3510238"/>
                <a:gd name="connsiteX21" fmla="*/ 1910845 w 3868232"/>
                <a:gd name="connsiteY21" fmla="*/ 2995612 h 3510238"/>
                <a:gd name="connsiteX22" fmla="*/ 1563182 w 3868232"/>
                <a:gd name="connsiteY22" fmla="*/ 3062287 h 3510238"/>
                <a:gd name="connsiteX23" fmla="*/ 1253620 w 3868232"/>
                <a:gd name="connsiteY23" fmla="*/ 3181350 h 3510238"/>
                <a:gd name="connsiteX24" fmla="*/ 1220282 w 3868232"/>
                <a:gd name="connsiteY24" fmla="*/ 3281362 h 3510238"/>
                <a:gd name="connsiteX25" fmla="*/ 1144082 w 3868232"/>
                <a:gd name="connsiteY25" fmla="*/ 3348037 h 3510238"/>
                <a:gd name="connsiteX26" fmla="*/ 915482 w 3868232"/>
                <a:gd name="connsiteY26" fmla="*/ 3376612 h 3510238"/>
                <a:gd name="connsiteX27" fmla="*/ 777370 w 3868232"/>
                <a:gd name="connsiteY27" fmla="*/ 3390900 h 3510238"/>
                <a:gd name="connsiteX28" fmla="*/ 686882 w 3868232"/>
                <a:gd name="connsiteY28" fmla="*/ 3433762 h 3510238"/>
                <a:gd name="connsiteX29" fmla="*/ 610682 w 3868232"/>
                <a:gd name="connsiteY29" fmla="*/ 3500437 h 3510238"/>
                <a:gd name="connsiteX30" fmla="*/ 558295 w 3868232"/>
                <a:gd name="connsiteY30" fmla="*/ 3500437 h 3510238"/>
                <a:gd name="connsiteX31" fmla="*/ 477332 w 3868232"/>
                <a:gd name="connsiteY31" fmla="*/ 3486150 h 3510238"/>
                <a:gd name="connsiteX32" fmla="*/ 434470 w 3868232"/>
                <a:gd name="connsiteY32" fmla="*/ 3505200 h 3510238"/>
                <a:gd name="connsiteX33" fmla="*/ 420182 w 3868232"/>
                <a:gd name="connsiteY33" fmla="*/ 3509962 h 3510238"/>
                <a:gd name="connsiteX34" fmla="*/ 410657 w 3868232"/>
                <a:gd name="connsiteY34" fmla="*/ 3509962 h 3510238"/>
                <a:gd name="connsiteX35" fmla="*/ 172532 w 3868232"/>
                <a:gd name="connsiteY35" fmla="*/ 3462337 h 3510238"/>
                <a:gd name="connsiteX36" fmla="*/ 58232 w 3868232"/>
                <a:gd name="connsiteY36" fmla="*/ 3348037 h 3510238"/>
                <a:gd name="connsiteX37" fmla="*/ 39182 w 3868232"/>
                <a:gd name="connsiteY37" fmla="*/ 3309937 h 3510238"/>
                <a:gd name="connsiteX38" fmla="*/ 34420 w 3868232"/>
                <a:gd name="connsiteY38" fmla="*/ 3267075 h 3510238"/>
                <a:gd name="connsiteX39" fmla="*/ 20132 w 3868232"/>
                <a:gd name="connsiteY39" fmla="*/ 3252787 h 3510238"/>
                <a:gd name="connsiteX40" fmla="*/ 10607 w 3868232"/>
                <a:gd name="connsiteY40" fmla="*/ 3238500 h 3510238"/>
                <a:gd name="connsiteX41" fmla="*/ 5845 w 3868232"/>
                <a:gd name="connsiteY41" fmla="*/ 3181350 h 3510238"/>
                <a:gd name="connsiteX42" fmla="*/ 24895 w 3868232"/>
                <a:gd name="connsiteY42" fmla="*/ 3176587 h 3510238"/>
                <a:gd name="connsiteX43" fmla="*/ 39182 w 3868232"/>
                <a:gd name="connsiteY43" fmla="*/ 3171825 h 3510238"/>
                <a:gd name="connsiteX44" fmla="*/ 86807 w 3868232"/>
                <a:gd name="connsiteY44" fmla="*/ 3176587 h 3510238"/>
                <a:gd name="connsiteX45" fmla="*/ 101095 w 3868232"/>
                <a:gd name="connsiteY45" fmla="*/ 3181350 h 3510238"/>
                <a:gd name="connsiteX46" fmla="*/ 120145 w 3868232"/>
                <a:gd name="connsiteY46" fmla="*/ 3176587 h 3510238"/>
                <a:gd name="connsiteX47" fmla="*/ 158245 w 3868232"/>
                <a:gd name="connsiteY47" fmla="*/ 3148012 h 3510238"/>
                <a:gd name="connsiteX48" fmla="*/ 167770 w 3868232"/>
                <a:gd name="connsiteY48" fmla="*/ 3133725 h 3510238"/>
                <a:gd name="connsiteX49" fmla="*/ 186820 w 3868232"/>
                <a:gd name="connsiteY49" fmla="*/ 3124200 h 3510238"/>
                <a:gd name="connsiteX50" fmla="*/ 234445 w 3868232"/>
                <a:gd name="connsiteY50" fmla="*/ 3109912 h 3510238"/>
                <a:gd name="connsiteX51" fmla="*/ 243970 w 3868232"/>
                <a:gd name="connsiteY51" fmla="*/ 3095625 h 3510238"/>
                <a:gd name="connsiteX52" fmla="*/ 248732 w 3868232"/>
                <a:gd name="connsiteY52" fmla="*/ 3033712 h 3510238"/>
                <a:gd name="connsiteX53" fmla="*/ 277307 w 3868232"/>
                <a:gd name="connsiteY53" fmla="*/ 3038475 h 3510238"/>
                <a:gd name="connsiteX54" fmla="*/ 315407 w 3868232"/>
                <a:gd name="connsiteY54" fmla="*/ 3062287 h 3510238"/>
                <a:gd name="connsiteX55" fmla="*/ 329695 w 3868232"/>
                <a:gd name="connsiteY55" fmla="*/ 3067050 h 3510238"/>
                <a:gd name="connsiteX56" fmla="*/ 477332 w 3868232"/>
                <a:gd name="connsiteY56" fmla="*/ 3062287 h 3510238"/>
                <a:gd name="connsiteX57" fmla="*/ 439232 w 3868232"/>
                <a:gd name="connsiteY57" fmla="*/ 3000375 h 3510238"/>
                <a:gd name="connsiteX58" fmla="*/ 329695 w 3868232"/>
                <a:gd name="connsiteY58" fmla="*/ 2895600 h 3510238"/>
                <a:gd name="connsiteX59" fmla="*/ 324932 w 3868232"/>
                <a:gd name="connsiteY59" fmla="*/ 2795587 h 3510238"/>
                <a:gd name="connsiteX60" fmla="*/ 291595 w 3868232"/>
                <a:gd name="connsiteY60" fmla="*/ 2757487 h 3510238"/>
                <a:gd name="connsiteX61" fmla="*/ 267782 w 3868232"/>
                <a:gd name="connsiteY61" fmla="*/ 2728912 h 3510238"/>
                <a:gd name="connsiteX62" fmla="*/ 272545 w 3868232"/>
                <a:gd name="connsiteY62" fmla="*/ 2714625 h 3510238"/>
                <a:gd name="connsiteX63" fmla="*/ 301120 w 3868232"/>
                <a:gd name="connsiteY63" fmla="*/ 2695575 h 3510238"/>
                <a:gd name="connsiteX64" fmla="*/ 315407 w 3868232"/>
                <a:gd name="connsiteY64" fmla="*/ 2652712 h 3510238"/>
                <a:gd name="connsiteX65" fmla="*/ 320170 w 3868232"/>
                <a:gd name="connsiteY65" fmla="*/ 2638425 h 3510238"/>
                <a:gd name="connsiteX66" fmla="*/ 320170 w 3868232"/>
                <a:gd name="connsiteY66" fmla="*/ 2605087 h 3510238"/>
                <a:gd name="connsiteX67" fmla="*/ 315407 w 3868232"/>
                <a:gd name="connsiteY67" fmla="*/ 2605087 h 3510238"/>
                <a:gd name="connsiteX68" fmla="*/ 291595 w 3868232"/>
                <a:gd name="connsiteY68" fmla="*/ 2571750 h 3510238"/>
                <a:gd name="connsiteX69" fmla="*/ 286832 w 3868232"/>
                <a:gd name="connsiteY69" fmla="*/ 2557462 h 3510238"/>
                <a:gd name="connsiteX70" fmla="*/ 272545 w 3868232"/>
                <a:gd name="connsiteY70" fmla="*/ 2552700 h 3510238"/>
                <a:gd name="connsiteX71" fmla="*/ 243970 w 3868232"/>
                <a:gd name="connsiteY71" fmla="*/ 2528887 h 3510238"/>
                <a:gd name="connsiteX72" fmla="*/ 215395 w 3868232"/>
                <a:gd name="connsiteY72" fmla="*/ 2505075 h 3510238"/>
                <a:gd name="connsiteX73" fmla="*/ 205870 w 3868232"/>
                <a:gd name="connsiteY73" fmla="*/ 2490787 h 3510238"/>
                <a:gd name="connsiteX74" fmla="*/ 191582 w 3868232"/>
                <a:gd name="connsiteY74" fmla="*/ 2476500 h 3510238"/>
                <a:gd name="connsiteX75" fmla="*/ 182057 w 3868232"/>
                <a:gd name="connsiteY75" fmla="*/ 2462212 h 3510238"/>
                <a:gd name="connsiteX76" fmla="*/ 153482 w 3868232"/>
                <a:gd name="connsiteY76" fmla="*/ 2447925 h 3510238"/>
                <a:gd name="connsiteX77" fmla="*/ 134432 w 3868232"/>
                <a:gd name="connsiteY77" fmla="*/ 2438400 h 3510238"/>
                <a:gd name="connsiteX78" fmla="*/ 105857 w 3868232"/>
                <a:gd name="connsiteY78" fmla="*/ 2424112 h 3510238"/>
                <a:gd name="connsiteX79" fmla="*/ 105857 w 3868232"/>
                <a:gd name="connsiteY79" fmla="*/ 2295525 h 3510238"/>
                <a:gd name="connsiteX80" fmla="*/ 120145 w 3868232"/>
                <a:gd name="connsiteY80" fmla="*/ 2290762 h 3510238"/>
                <a:gd name="connsiteX81" fmla="*/ 134432 w 3868232"/>
                <a:gd name="connsiteY81" fmla="*/ 2281237 h 3510238"/>
                <a:gd name="connsiteX82" fmla="*/ 163007 w 3868232"/>
                <a:gd name="connsiteY82" fmla="*/ 2271712 h 3510238"/>
                <a:gd name="connsiteX83" fmla="*/ 182057 w 3868232"/>
                <a:gd name="connsiteY83" fmla="*/ 2238375 h 3510238"/>
                <a:gd name="connsiteX84" fmla="*/ 191582 w 3868232"/>
                <a:gd name="connsiteY84" fmla="*/ 2224087 h 3510238"/>
                <a:gd name="connsiteX85" fmla="*/ 201107 w 3868232"/>
                <a:gd name="connsiteY85" fmla="*/ 2195512 h 3510238"/>
                <a:gd name="connsiteX86" fmla="*/ 205870 w 3868232"/>
                <a:gd name="connsiteY86" fmla="*/ 2181225 h 3510238"/>
                <a:gd name="connsiteX87" fmla="*/ 210632 w 3868232"/>
                <a:gd name="connsiteY87" fmla="*/ 2152650 h 3510238"/>
                <a:gd name="connsiteX88" fmla="*/ 248732 w 3868232"/>
                <a:gd name="connsiteY88" fmla="*/ 2166937 h 3510238"/>
                <a:gd name="connsiteX89" fmla="*/ 253495 w 3868232"/>
                <a:gd name="connsiteY89" fmla="*/ 2181225 h 3510238"/>
                <a:gd name="connsiteX90" fmla="*/ 263020 w 3868232"/>
                <a:gd name="connsiteY90" fmla="*/ 2195512 h 3510238"/>
                <a:gd name="connsiteX91" fmla="*/ 396370 w 3868232"/>
                <a:gd name="connsiteY91" fmla="*/ 2390775 h 3510238"/>
                <a:gd name="connsiteX92" fmla="*/ 429707 w 3868232"/>
                <a:gd name="connsiteY92" fmla="*/ 2414587 h 3510238"/>
                <a:gd name="connsiteX93" fmla="*/ 434470 w 3868232"/>
                <a:gd name="connsiteY93" fmla="*/ 2428875 h 3510238"/>
                <a:gd name="connsiteX94" fmla="*/ 448757 w 3868232"/>
                <a:gd name="connsiteY94" fmla="*/ 2447925 h 3510238"/>
                <a:gd name="connsiteX95" fmla="*/ 529720 w 3868232"/>
                <a:gd name="connsiteY95" fmla="*/ 2362200 h 3510238"/>
                <a:gd name="connsiteX96" fmla="*/ 510670 w 3868232"/>
                <a:gd name="connsiteY96" fmla="*/ 2319337 h 3510238"/>
                <a:gd name="connsiteX97" fmla="*/ 496382 w 3868232"/>
                <a:gd name="connsiteY97" fmla="*/ 2309812 h 3510238"/>
                <a:gd name="connsiteX98" fmla="*/ 501145 w 3868232"/>
                <a:gd name="connsiteY98" fmla="*/ 2295525 h 3510238"/>
                <a:gd name="connsiteX99" fmla="*/ 524957 w 3868232"/>
                <a:gd name="connsiteY99" fmla="*/ 2271712 h 3510238"/>
                <a:gd name="connsiteX100" fmla="*/ 534482 w 3868232"/>
                <a:gd name="connsiteY100" fmla="*/ 2257425 h 3510238"/>
                <a:gd name="connsiteX101" fmla="*/ 539245 w 3868232"/>
                <a:gd name="connsiteY101" fmla="*/ 2243137 h 3510238"/>
                <a:gd name="connsiteX102" fmla="*/ 553532 w 3868232"/>
                <a:gd name="connsiteY102" fmla="*/ 2228850 h 3510238"/>
                <a:gd name="connsiteX103" fmla="*/ 563057 w 3868232"/>
                <a:gd name="connsiteY103" fmla="*/ 2214562 h 3510238"/>
                <a:gd name="connsiteX104" fmla="*/ 591632 w 3868232"/>
                <a:gd name="connsiteY104" fmla="*/ 2185987 h 3510238"/>
                <a:gd name="connsiteX105" fmla="*/ 629732 w 3868232"/>
                <a:gd name="connsiteY105" fmla="*/ 2190750 h 3510238"/>
                <a:gd name="connsiteX106" fmla="*/ 644020 w 3868232"/>
                <a:gd name="connsiteY106" fmla="*/ 2195512 h 3510238"/>
                <a:gd name="connsiteX107" fmla="*/ 705932 w 3868232"/>
                <a:gd name="connsiteY107" fmla="*/ 2200275 h 3510238"/>
                <a:gd name="connsiteX108" fmla="*/ 739270 w 3868232"/>
                <a:gd name="connsiteY108" fmla="*/ 2195512 h 3510238"/>
                <a:gd name="connsiteX109" fmla="*/ 744032 w 3868232"/>
                <a:gd name="connsiteY109" fmla="*/ 2143125 h 3510238"/>
                <a:gd name="connsiteX110" fmla="*/ 748795 w 3868232"/>
                <a:gd name="connsiteY110" fmla="*/ 2109787 h 3510238"/>
                <a:gd name="connsiteX111" fmla="*/ 753557 w 3868232"/>
                <a:gd name="connsiteY111" fmla="*/ 2052637 h 3510238"/>
                <a:gd name="connsiteX112" fmla="*/ 763082 w 3868232"/>
                <a:gd name="connsiteY112" fmla="*/ 2038350 h 3510238"/>
                <a:gd name="connsiteX113" fmla="*/ 772607 w 3868232"/>
                <a:gd name="connsiteY113" fmla="*/ 2009775 h 3510238"/>
                <a:gd name="connsiteX114" fmla="*/ 782132 w 3868232"/>
                <a:gd name="connsiteY114" fmla="*/ 1995487 h 3510238"/>
                <a:gd name="connsiteX115" fmla="*/ 791657 w 3868232"/>
                <a:gd name="connsiteY115" fmla="*/ 1981200 h 3510238"/>
                <a:gd name="connsiteX116" fmla="*/ 820232 w 3868232"/>
                <a:gd name="connsiteY116" fmla="*/ 1852612 h 3510238"/>
                <a:gd name="connsiteX117" fmla="*/ 815470 w 3868232"/>
                <a:gd name="connsiteY117" fmla="*/ 1804987 h 3510238"/>
                <a:gd name="connsiteX118" fmla="*/ 772607 w 3868232"/>
                <a:gd name="connsiteY118" fmla="*/ 1766887 h 3510238"/>
                <a:gd name="connsiteX119" fmla="*/ 748795 w 3868232"/>
                <a:gd name="connsiteY119" fmla="*/ 1738312 h 3510238"/>
                <a:gd name="connsiteX120" fmla="*/ 715457 w 3868232"/>
                <a:gd name="connsiteY120" fmla="*/ 1709737 h 3510238"/>
                <a:gd name="connsiteX121" fmla="*/ 705932 w 3868232"/>
                <a:gd name="connsiteY121" fmla="*/ 1704975 h 3510238"/>
                <a:gd name="connsiteX122" fmla="*/ 715457 w 3868232"/>
                <a:gd name="connsiteY122" fmla="*/ 1509712 h 3510238"/>
                <a:gd name="connsiteX123" fmla="*/ 796420 w 3868232"/>
                <a:gd name="connsiteY123" fmla="*/ 1338262 h 3510238"/>
                <a:gd name="connsiteX124" fmla="*/ 820232 w 3868232"/>
                <a:gd name="connsiteY124" fmla="*/ 1281112 h 3510238"/>
                <a:gd name="connsiteX125" fmla="*/ 815470 w 3868232"/>
                <a:gd name="connsiteY125" fmla="*/ 1247775 h 3510238"/>
                <a:gd name="connsiteX126" fmla="*/ 805945 w 3868232"/>
                <a:gd name="connsiteY126" fmla="*/ 1233487 h 3510238"/>
                <a:gd name="connsiteX127" fmla="*/ 801182 w 3868232"/>
                <a:gd name="connsiteY127" fmla="*/ 1219200 h 3510238"/>
                <a:gd name="connsiteX128" fmla="*/ 805945 w 3868232"/>
                <a:gd name="connsiteY128" fmla="*/ 1204912 h 3510238"/>
                <a:gd name="connsiteX129" fmla="*/ 829757 w 3868232"/>
                <a:gd name="connsiteY129" fmla="*/ 1176337 h 3510238"/>
                <a:gd name="connsiteX130" fmla="*/ 858332 w 3868232"/>
                <a:gd name="connsiteY130" fmla="*/ 1195387 h 3510238"/>
                <a:gd name="connsiteX131" fmla="*/ 867857 w 3868232"/>
                <a:gd name="connsiteY131" fmla="*/ 1223962 h 3510238"/>
                <a:gd name="connsiteX132" fmla="*/ 896432 w 3868232"/>
                <a:gd name="connsiteY132" fmla="*/ 1233487 h 3510238"/>
                <a:gd name="connsiteX133" fmla="*/ 910720 w 3868232"/>
                <a:gd name="connsiteY133" fmla="*/ 1243012 h 3510238"/>
                <a:gd name="connsiteX134" fmla="*/ 967870 w 3868232"/>
                <a:gd name="connsiteY134" fmla="*/ 1252537 h 3510238"/>
                <a:gd name="connsiteX135" fmla="*/ 977395 w 3868232"/>
                <a:gd name="connsiteY135" fmla="*/ 1266825 h 3510238"/>
                <a:gd name="connsiteX136" fmla="*/ 991682 w 3868232"/>
                <a:gd name="connsiteY136" fmla="*/ 1281112 h 3510238"/>
                <a:gd name="connsiteX137" fmla="*/ 1005970 w 3868232"/>
                <a:gd name="connsiteY137" fmla="*/ 1319212 h 3510238"/>
                <a:gd name="connsiteX138" fmla="*/ 1010732 w 3868232"/>
                <a:gd name="connsiteY138" fmla="*/ 1333500 h 3510238"/>
                <a:gd name="connsiteX139" fmla="*/ 1025020 w 3868232"/>
                <a:gd name="connsiteY139" fmla="*/ 1400175 h 3510238"/>
                <a:gd name="connsiteX140" fmla="*/ 1029782 w 3868232"/>
                <a:gd name="connsiteY140" fmla="*/ 1414462 h 3510238"/>
                <a:gd name="connsiteX141" fmla="*/ 1044070 w 3868232"/>
                <a:gd name="connsiteY141" fmla="*/ 1419225 h 3510238"/>
                <a:gd name="connsiteX142" fmla="*/ 1063120 w 3868232"/>
                <a:gd name="connsiteY142" fmla="*/ 1414462 h 3510238"/>
                <a:gd name="connsiteX143" fmla="*/ 1067882 w 3868232"/>
                <a:gd name="connsiteY143" fmla="*/ 1400175 h 3510238"/>
                <a:gd name="connsiteX144" fmla="*/ 1072645 w 3868232"/>
                <a:gd name="connsiteY144" fmla="*/ 1376362 h 3510238"/>
                <a:gd name="connsiteX145" fmla="*/ 1086932 w 3868232"/>
                <a:gd name="connsiteY145" fmla="*/ 1347787 h 3510238"/>
                <a:gd name="connsiteX146" fmla="*/ 1091695 w 3868232"/>
                <a:gd name="connsiteY146" fmla="*/ 1333500 h 3510238"/>
                <a:gd name="connsiteX147" fmla="*/ 1120270 w 3868232"/>
                <a:gd name="connsiteY147" fmla="*/ 1319212 h 3510238"/>
                <a:gd name="connsiteX148" fmla="*/ 1134557 w 3868232"/>
                <a:gd name="connsiteY148" fmla="*/ 1309687 h 3510238"/>
                <a:gd name="connsiteX149" fmla="*/ 1163132 w 3868232"/>
                <a:gd name="connsiteY149" fmla="*/ 1300162 h 3510238"/>
                <a:gd name="connsiteX150" fmla="*/ 1177420 w 3868232"/>
                <a:gd name="connsiteY150" fmla="*/ 1285875 h 3510238"/>
                <a:gd name="connsiteX151" fmla="*/ 1186945 w 3868232"/>
                <a:gd name="connsiteY151" fmla="*/ 1257300 h 3510238"/>
                <a:gd name="connsiteX152" fmla="*/ 1182182 w 3868232"/>
                <a:gd name="connsiteY152" fmla="*/ 1228725 h 3510238"/>
                <a:gd name="connsiteX153" fmla="*/ 1163132 w 3868232"/>
                <a:gd name="connsiteY153" fmla="*/ 1200150 h 3510238"/>
                <a:gd name="connsiteX154" fmla="*/ 1158370 w 3868232"/>
                <a:gd name="connsiteY154" fmla="*/ 1114425 h 3510238"/>
                <a:gd name="connsiteX155" fmla="*/ 1034545 w 3868232"/>
                <a:gd name="connsiteY155" fmla="*/ 971550 h 3510238"/>
                <a:gd name="connsiteX156" fmla="*/ 1010732 w 3868232"/>
                <a:gd name="connsiteY156" fmla="*/ 900112 h 3510238"/>
                <a:gd name="connsiteX157" fmla="*/ 1005970 w 3868232"/>
                <a:gd name="connsiteY157" fmla="*/ 885825 h 3510238"/>
                <a:gd name="connsiteX158" fmla="*/ 1001207 w 3868232"/>
                <a:gd name="connsiteY158" fmla="*/ 881062 h 3510238"/>
                <a:gd name="connsiteX159" fmla="*/ 929770 w 3868232"/>
                <a:gd name="connsiteY159" fmla="*/ 728662 h 3510238"/>
                <a:gd name="connsiteX160" fmla="*/ 905957 w 3868232"/>
                <a:gd name="connsiteY160" fmla="*/ 676275 h 3510238"/>
                <a:gd name="connsiteX161" fmla="*/ 905957 w 3868232"/>
                <a:gd name="connsiteY161" fmla="*/ 666750 h 3510238"/>
                <a:gd name="connsiteX162" fmla="*/ 796420 w 3868232"/>
                <a:gd name="connsiteY162" fmla="*/ 714375 h 3510238"/>
                <a:gd name="connsiteX163" fmla="*/ 782132 w 3868232"/>
                <a:gd name="connsiteY163" fmla="*/ 752475 h 3510238"/>
                <a:gd name="connsiteX164" fmla="*/ 777370 w 3868232"/>
                <a:gd name="connsiteY164" fmla="*/ 766762 h 3510238"/>
                <a:gd name="connsiteX165" fmla="*/ 539245 w 3868232"/>
                <a:gd name="connsiteY165" fmla="*/ 790575 h 3510238"/>
                <a:gd name="connsiteX166" fmla="*/ 467807 w 3868232"/>
                <a:gd name="connsiteY166" fmla="*/ 776287 h 3510238"/>
                <a:gd name="connsiteX167" fmla="*/ 453520 w 3868232"/>
                <a:gd name="connsiteY167" fmla="*/ 785812 h 3510238"/>
                <a:gd name="connsiteX168" fmla="*/ 358270 w 3868232"/>
                <a:gd name="connsiteY168" fmla="*/ 776287 h 3510238"/>
                <a:gd name="connsiteX169" fmla="*/ 324932 w 3868232"/>
                <a:gd name="connsiteY169" fmla="*/ 762000 h 3510238"/>
                <a:gd name="connsiteX170" fmla="*/ 105857 w 3868232"/>
                <a:gd name="connsiteY170" fmla="*/ 862012 h 3510238"/>
                <a:gd name="connsiteX171" fmla="*/ 43945 w 3868232"/>
                <a:gd name="connsiteY171" fmla="*/ 833437 h 3510238"/>
                <a:gd name="connsiteX172" fmla="*/ 48707 w 3868232"/>
                <a:gd name="connsiteY172" fmla="*/ 809625 h 3510238"/>
                <a:gd name="connsiteX173" fmla="*/ 77282 w 3868232"/>
                <a:gd name="connsiteY173" fmla="*/ 800100 h 3510238"/>
                <a:gd name="connsiteX174" fmla="*/ 134432 w 3868232"/>
                <a:gd name="connsiteY174" fmla="*/ 800100 h 3510238"/>
                <a:gd name="connsiteX175" fmla="*/ 129670 w 3868232"/>
                <a:gd name="connsiteY175" fmla="*/ 781050 h 3510238"/>
                <a:gd name="connsiteX176" fmla="*/ 115382 w 3868232"/>
                <a:gd name="connsiteY176" fmla="*/ 771525 h 3510238"/>
                <a:gd name="connsiteX177" fmla="*/ 67757 w 3868232"/>
                <a:gd name="connsiteY177" fmla="*/ 785812 h 3510238"/>
                <a:gd name="connsiteX178" fmla="*/ 53470 w 3868232"/>
                <a:gd name="connsiteY178" fmla="*/ 790575 h 3510238"/>
                <a:gd name="connsiteX179" fmla="*/ 10607 w 3868232"/>
                <a:gd name="connsiteY179" fmla="*/ 790575 h 3510238"/>
                <a:gd name="connsiteX180" fmla="*/ 7432 w 3868232"/>
                <a:gd name="connsiteY180" fmla="*/ 776037 h 3510238"/>
                <a:gd name="connsiteX181" fmla="*/ 7432 w 3868232"/>
                <a:gd name="connsiteY181" fmla="*/ 766761 h 3510238"/>
                <a:gd name="connsiteX182" fmla="*/ 58232 w 3868232"/>
                <a:gd name="connsiteY182" fmla="*/ 655636 h 3510238"/>
                <a:gd name="connsiteX183" fmla="*/ 182057 w 3868232"/>
                <a:gd name="connsiteY183" fmla="*/ 541336 h 3510238"/>
                <a:gd name="connsiteX184" fmla="*/ 172532 w 3868232"/>
                <a:gd name="connsiteY184" fmla="*/ 525461 h 3510238"/>
                <a:gd name="connsiteX185" fmla="*/ 150307 w 3868232"/>
                <a:gd name="connsiteY185" fmla="*/ 506411 h 3510238"/>
                <a:gd name="connsiteX186" fmla="*/ 216982 w 3868232"/>
                <a:gd name="connsiteY186" fmla="*/ 188911 h 3510238"/>
                <a:gd name="connsiteX187" fmla="*/ 226507 w 3868232"/>
                <a:gd name="connsiteY187" fmla="*/ 173036 h 3510238"/>
                <a:gd name="connsiteX188" fmla="*/ 229682 w 3868232"/>
                <a:gd name="connsiteY188" fmla="*/ 163511 h 3510238"/>
                <a:gd name="connsiteX189" fmla="*/ 245557 w 3868232"/>
                <a:gd name="connsiteY189" fmla="*/ 144461 h 3510238"/>
                <a:gd name="connsiteX190" fmla="*/ 255082 w 3868232"/>
                <a:gd name="connsiteY190" fmla="*/ 141286 h 3510238"/>
                <a:gd name="connsiteX191" fmla="*/ 283657 w 3868232"/>
                <a:gd name="connsiteY191" fmla="*/ 115886 h 3510238"/>
                <a:gd name="connsiteX192" fmla="*/ 286832 w 3868232"/>
                <a:gd name="connsiteY192" fmla="*/ 106361 h 3510238"/>
                <a:gd name="connsiteX193" fmla="*/ 293182 w 3868232"/>
                <a:gd name="connsiteY193" fmla="*/ 96836 h 3510238"/>
                <a:gd name="connsiteX194" fmla="*/ 296357 w 3868232"/>
                <a:gd name="connsiteY194" fmla="*/ 87311 h 3510238"/>
                <a:gd name="connsiteX195" fmla="*/ 324932 w 3868232"/>
                <a:gd name="connsiteY195" fmla="*/ 55561 h 3510238"/>
                <a:gd name="connsiteX196" fmla="*/ 572582 w 3868232"/>
                <a:gd name="connsiteY196" fmla="*/ 58736 h 3510238"/>
                <a:gd name="connsiteX197" fmla="*/ 573413 w 3868232"/>
                <a:gd name="connsiteY197" fmla="*/ 50267 h 3510238"/>
                <a:gd name="connsiteX198" fmla="*/ 582107 w 3868232"/>
                <a:gd name="connsiteY198" fmla="*/ 52387 h 3510238"/>
                <a:gd name="connsiteX199" fmla="*/ 682120 w 3868232"/>
                <a:gd name="connsiteY199" fmla="*/ 90487 h 3510238"/>
                <a:gd name="connsiteX200" fmla="*/ 744032 w 3868232"/>
                <a:gd name="connsiteY200" fmla="*/ 61912 h 3510238"/>
                <a:gd name="connsiteX201" fmla="*/ 815470 w 3868232"/>
                <a:gd name="connsiteY201" fmla="*/ 61912 h 3510238"/>
                <a:gd name="connsiteX202" fmla="*/ 858332 w 3868232"/>
                <a:gd name="connsiteY202" fmla="*/ 61912 h 3510238"/>
                <a:gd name="connsiteX203" fmla="*/ 905957 w 3868232"/>
                <a:gd name="connsiteY203" fmla="*/ 47625 h 3510238"/>
                <a:gd name="connsiteX204" fmla="*/ 986920 w 3868232"/>
                <a:gd name="connsiteY204" fmla="*/ 19050 h 3510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Lst>
              <a:rect l="l" t="t" r="r" b="b"/>
              <a:pathLst>
                <a:path w="3868232" h="3510238">
                  <a:moveTo>
                    <a:pt x="1039307" y="0"/>
                  </a:moveTo>
                  <a:lnTo>
                    <a:pt x="1086932" y="14287"/>
                  </a:lnTo>
                  <a:lnTo>
                    <a:pt x="1191707" y="66675"/>
                  </a:lnTo>
                  <a:lnTo>
                    <a:pt x="1058357" y="233362"/>
                  </a:lnTo>
                  <a:lnTo>
                    <a:pt x="1058357" y="271462"/>
                  </a:lnTo>
                  <a:lnTo>
                    <a:pt x="1086932" y="304800"/>
                  </a:lnTo>
                  <a:lnTo>
                    <a:pt x="1120270" y="381000"/>
                  </a:lnTo>
                  <a:lnTo>
                    <a:pt x="1248857" y="504825"/>
                  </a:lnTo>
                  <a:lnTo>
                    <a:pt x="1277432" y="581025"/>
                  </a:lnTo>
                  <a:cubicBezTo>
                    <a:pt x="1293307" y="582612"/>
                    <a:pt x="1310440" y="579392"/>
                    <a:pt x="1325057" y="585787"/>
                  </a:cubicBezTo>
                  <a:cubicBezTo>
                    <a:pt x="1337398" y="591186"/>
                    <a:pt x="1344107" y="604837"/>
                    <a:pt x="1353632" y="614362"/>
                  </a:cubicBezTo>
                  <a:lnTo>
                    <a:pt x="1358395" y="619125"/>
                  </a:lnTo>
                  <a:lnTo>
                    <a:pt x="1396495" y="733425"/>
                  </a:lnTo>
                  <a:lnTo>
                    <a:pt x="1463170" y="838200"/>
                  </a:lnTo>
                  <a:lnTo>
                    <a:pt x="1577470" y="866775"/>
                  </a:lnTo>
                  <a:lnTo>
                    <a:pt x="1791782" y="1062037"/>
                  </a:lnTo>
                  <a:lnTo>
                    <a:pt x="2191832" y="1171575"/>
                  </a:lnTo>
                  <a:lnTo>
                    <a:pt x="2910970" y="1381125"/>
                  </a:lnTo>
                  <a:lnTo>
                    <a:pt x="3330070" y="1524000"/>
                  </a:lnTo>
                  <a:lnTo>
                    <a:pt x="3868232" y="1524000"/>
                  </a:lnTo>
                  <a:lnTo>
                    <a:pt x="2282320" y="3033712"/>
                  </a:lnTo>
                  <a:lnTo>
                    <a:pt x="1910845" y="2995612"/>
                  </a:lnTo>
                  <a:lnTo>
                    <a:pt x="1563182" y="3062287"/>
                  </a:lnTo>
                  <a:lnTo>
                    <a:pt x="1253620" y="3181350"/>
                  </a:lnTo>
                  <a:lnTo>
                    <a:pt x="1220282" y="3281362"/>
                  </a:lnTo>
                  <a:lnTo>
                    <a:pt x="1144082" y="3348037"/>
                  </a:lnTo>
                  <a:lnTo>
                    <a:pt x="915482" y="3376612"/>
                  </a:lnTo>
                  <a:lnTo>
                    <a:pt x="777370" y="3390900"/>
                  </a:lnTo>
                  <a:lnTo>
                    <a:pt x="686882" y="3433762"/>
                  </a:lnTo>
                  <a:lnTo>
                    <a:pt x="610682" y="3500437"/>
                  </a:lnTo>
                  <a:lnTo>
                    <a:pt x="558295" y="3500437"/>
                  </a:lnTo>
                  <a:lnTo>
                    <a:pt x="477332" y="3486150"/>
                  </a:lnTo>
                  <a:cubicBezTo>
                    <a:pt x="463045" y="3492500"/>
                    <a:pt x="448902" y="3499187"/>
                    <a:pt x="434470" y="3505200"/>
                  </a:cubicBezTo>
                  <a:cubicBezTo>
                    <a:pt x="429836" y="3507131"/>
                    <a:pt x="425105" y="3508978"/>
                    <a:pt x="420182" y="3509962"/>
                  </a:cubicBezTo>
                  <a:cubicBezTo>
                    <a:pt x="417069" y="3510585"/>
                    <a:pt x="413832" y="3509962"/>
                    <a:pt x="410657" y="3509962"/>
                  </a:cubicBezTo>
                  <a:lnTo>
                    <a:pt x="172532" y="3462337"/>
                  </a:lnTo>
                  <a:lnTo>
                    <a:pt x="58232" y="3348037"/>
                  </a:lnTo>
                  <a:cubicBezTo>
                    <a:pt x="51882" y="3335337"/>
                    <a:pt x="43188" y="3323559"/>
                    <a:pt x="39182" y="3309937"/>
                  </a:cubicBezTo>
                  <a:cubicBezTo>
                    <a:pt x="35126" y="3296146"/>
                    <a:pt x="38966" y="3280713"/>
                    <a:pt x="34420" y="3267075"/>
                  </a:cubicBezTo>
                  <a:cubicBezTo>
                    <a:pt x="32290" y="3260685"/>
                    <a:pt x="24444" y="3257961"/>
                    <a:pt x="20132" y="3252787"/>
                  </a:cubicBezTo>
                  <a:cubicBezTo>
                    <a:pt x="16468" y="3248390"/>
                    <a:pt x="13782" y="3243262"/>
                    <a:pt x="10607" y="3238500"/>
                  </a:cubicBezTo>
                  <a:cubicBezTo>
                    <a:pt x="4999" y="3221677"/>
                    <a:pt x="-7273" y="3199715"/>
                    <a:pt x="5845" y="3181350"/>
                  </a:cubicBezTo>
                  <a:cubicBezTo>
                    <a:pt x="9649" y="3176024"/>
                    <a:pt x="18601" y="3178385"/>
                    <a:pt x="24895" y="3176587"/>
                  </a:cubicBezTo>
                  <a:cubicBezTo>
                    <a:pt x="29722" y="3175208"/>
                    <a:pt x="34420" y="3173412"/>
                    <a:pt x="39182" y="3171825"/>
                  </a:cubicBezTo>
                  <a:cubicBezTo>
                    <a:pt x="55057" y="3173412"/>
                    <a:pt x="71038" y="3174161"/>
                    <a:pt x="86807" y="3176587"/>
                  </a:cubicBezTo>
                  <a:cubicBezTo>
                    <a:pt x="91769" y="3177350"/>
                    <a:pt x="96075" y="3181350"/>
                    <a:pt x="101095" y="3181350"/>
                  </a:cubicBezTo>
                  <a:cubicBezTo>
                    <a:pt x="107640" y="3181350"/>
                    <a:pt x="113795" y="3178175"/>
                    <a:pt x="120145" y="3176587"/>
                  </a:cubicBezTo>
                  <a:cubicBezTo>
                    <a:pt x="132845" y="3167062"/>
                    <a:pt x="149439" y="3161221"/>
                    <a:pt x="158245" y="3148012"/>
                  </a:cubicBezTo>
                  <a:cubicBezTo>
                    <a:pt x="161420" y="3143250"/>
                    <a:pt x="163373" y="3137389"/>
                    <a:pt x="167770" y="3133725"/>
                  </a:cubicBezTo>
                  <a:cubicBezTo>
                    <a:pt x="173224" y="3129180"/>
                    <a:pt x="180228" y="3126837"/>
                    <a:pt x="186820" y="3124200"/>
                  </a:cubicBezTo>
                  <a:cubicBezTo>
                    <a:pt x="206142" y="3116471"/>
                    <a:pt x="215735" y="3114590"/>
                    <a:pt x="234445" y="3109912"/>
                  </a:cubicBezTo>
                  <a:cubicBezTo>
                    <a:pt x="237620" y="3105150"/>
                    <a:pt x="242915" y="3101251"/>
                    <a:pt x="243970" y="3095625"/>
                  </a:cubicBezTo>
                  <a:cubicBezTo>
                    <a:pt x="247784" y="3075281"/>
                    <a:pt x="238303" y="3051591"/>
                    <a:pt x="248732" y="3033712"/>
                  </a:cubicBezTo>
                  <a:cubicBezTo>
                    <a:pt x="253598" y="3025371"/>
                    <a:pt x="267782" y="3036887"/>
                    <a:pt x="277307" y="3038475"/>
                  </a:cubicBezTo>
                  <a:cubicBezTo>
                    <a:pt x="292402" y="3061116"/>
                    <a:pt x="281402" y="3050952"/>
                    <a:pt x="315407" y="3062287"/>
                  </a:cubicBezTo>
                  <a:lnTo>
                    <a:pt x="329695" y="3067050"/>
                  </a:lnTo>
                  <a:cubicBezTo>
                    <a:pt x="410492" y="3058969"/>
                    <a:pt x="361366" y="3062287"/>
                    <a:pt x="477332" y="3062287"/>
                  </a:cubicBezTo>
                  <a:lnTo>
                    <a:pt x="439232" y="3000375"/>
                  </a:lnTo>
                  <a:lnTo>
                    <a:pt x="329695" y="2895600"/>
                  </a:lnTo>
                  <a:cubicBezTo>
                    <a:pt x="328107" y="2862262"/>
                    <a:pt x="331009" y="2828404"/>
                    <a:pt x="324932" y="2795587"/>
                  </a:cubicBezTo>
                  <a:cubicBezTo>
                    <a:pt x="319950" y="2768683"/>
                    <a:pt x="306786" y="2770146"/>
                    <a:pt x="291595" y="2757487"/>
                  </a:cubicBezTo>
                  <a:cubicBezTo>
                    <a:pt x="277841" y="2746026"/>
                    <a:pt x="277149" y="2742963"/>
                    <a:pt x="267782" y="2728912"/>
                  </a:cubicBezTo>
                  <a:cubicBezTo>
                    <a:pt x="269370" y="2724150"/>
                    <a:pt x="268995" y="2718175"/>
                    <a:pt x="272545" y="2714625"/>
                  </a:cubicBezTo>
                  <a:cubicBezTo>
                    <a:pt x="280640" y="2706530"/>
                    <a:pt x="301120" y="2695575"/>
                    <a:pt x="301120" y="2695575"/>
                  </a:cubicBezTo>
                  <a:lnTo>
                    <a:pt x="315407" y="2652712"/>
                  </a:lnTo>
                  <a:cubicBezTo>
                    <a:pt x="316994" y="2647950"/>
                    <a:pt x="320170" y="2643445"/>
                    <a:pt x="320170" y="2638425"/>
                  </a:cubicBezTo>
                  <a:lnTo>
                    <a:pt x="320170" y="2605087"/>
                  </a:lnTo>
                  <a:lnTo>
                    <a:pt x="315407" y="2605087"/>
                  </a:lnTo>
                  <a:cubicBezTo>
                    <a:pt x="307470" y="2593975"/>
                    <a:pt x="298621" y="2583460"/>
                    <a:pt x="291595" y="2571750"/>
                  </a:cubicBezTo>
                  <a:cubicBezTo>
                    <a:pt x="289012" y="2567445"/>
                    <a:pt x="290382" y="2561012"/>
                    <a:pt x="286832" y="2557462"/>
                  </a:cubicBezTo>
                  <a:cubicBezTo>
                    <a:pt x="283282" y="2553912"/>
                    <a:pt x="277307" y="2554287"/>
                    <a:pt x="272545" y="2552700"/>
                  </a:cubicBezTo>
                  <a:cubicBezTo>
                    <a:pt x="237070" y="2529051"/>
                    <a:pt x="280640" y="2559446"/>
                    <a:pt x="243970" y="2528887"/>
                  </a:cubicBezTo>
                  <a:cubicBezTo>
                    <a:pt x="223535" y="2511857"/>
                    <a:pt x="234369" y="2527844"/>
                    <a:pt x="215395" y="2505075"/>
                  </a:cubicBezTo>
                  <a:cubicBezTo>
                    <a:pt x="211731" y="2500678"/>
                    <a:pt x="209534" y="2495184"/>
                    <a:pt x="205870" y="2490787"/>
                  </a:cubicBezTo>
                  <a:cubicBezTo>
                    <a:pt x="201558" y="2485613"/>
                    <a:pt x="195894" y="2481674"/>
                    <a:pt x="191582" y="2476500"/>
                  </a:cubicBezTo>
                  <a:cubicBezTo>
                    <a:pt x="187918" y="2472103"/>
                    <a:pt x="186104" y="2466260"/>
                    <a:pt x="182057" y="2462212"/>
                  </a:cubicBezTo>
                  <a:cubicBezTo>
                    <a:pt x="170616" y="2450770"/>
                    <a:pt x="167040" y="2453735"/>
                    <a:pt x="153482" y="2447925"/>
                  </a:cubicBezTo>
                  <a:cubicBezTo>
                    <a:pt x="146956" y="2445128"/>
                    <a:pt x="140957" y="2441197"/>
                    <a:pt x="134432" y="2438400"/>
                  </a:cubicBezTo>
                  <a:cubicBezTo>
                    <a:pt x="106829" y="2426569"/>
                    <a:pt x="133314" y="2442416"/>
                    <a:pt x="105857" y="2424112"/>
                  </a:cubicBezTo>
                  <a:cubicBezTo>
                    <a:pt x="90293" y="2377416"/>
                    <a:pt x="91346" y="2386219"/>
                    <a:pt x="105857" y="2295525"/>
                  </a:cubicBezTo>
                  <a:cubicBezTo>
                    <a:pt x="106650" y="2290568"/>
                    <a:pt x="115655" y="2293007"/>
                    <a:pt x="120145" y="2290762"/>
                  </a:cubicBezTo>
                  <a:cubicBezTo>
                    <a:pt x="125264" y="2288202"/>
                    <a:pt x="129202" y="2283562"/>
                    <a:pt x="134432" y="2281237"/>
                  </a:cubicBezTo>
                  <a:cubicBezTo>
                    <a:pt x="143607" y="2277159"/>
                    <a:pt x="163007" y="2271712"/>
                    <a:pt x="163007" y="2271712"/>
                  </a:cubicBezTo>
                  <a:cubicBezTo>
                    <a:pt x="186209" y="2236910"/>
                    <a:pt x="157893" y="2280663"/>
                    <a:pt x="182057" y="2238375"/>
                  </a:cubicBezTo>
                  <a:cubicBezTo>
                    <a:pt x="184897" y="2233405"/>
                    <a:pt x="189257" y="2229318"/>
                    <a:pt x="191582" y="2224087"/>
                  </a:cubicBezTo>
                  <a:cubicBezTo>
                    <a:pt x="195660" y="2214912"/>
                    <a:pt x="197932" y="2205037"/>
                    <a:pt x="201107" y="2195512"/>
                  </a:cubicBezTo>
                  <a:lnTo>
                    <a:pt x="205870" y="2181225"/>
                  </a:lnTo>
                  <a:cubicBezTo>
                    <a:pt x="207457" y="2171700"/>
                    <a:pt x="203214" y="2158832"/>
                    <a:pt x="210632" y="2152650"/>
                  </a:cubicBezTo>
                  <a:cubicBezTo>
                    <a:pt x="219787" y="2145020"/>
                    <a:pt x="242042" y="2162477"/>
                    <a:pt x="248732" y="2166937"/>
                  </a:cubicBezTo>
                  <a:cubicBezTo>
                    <a:pt x="250320" y="2171700"/>
                    <a:pt x="251250" y="2176735"/>
                    <a:pt x="253495" y="2181225"/>
                  </a:cubicBezTo>
                  <a:cubicBezTo>
                    <a:pt x="256055" y="2186344"/>
                    <a:pt x="263020" y="2195512"/>
                    <a:pt x="263020" y="2195512"/>
                  </a:cubicBezTo>
                  <a:lnTo>
                    <a:pt x="396370" y="2390775"/>
                  </a:lnTo>
                  <a:cubicBezTo>
                    <a:pt x="407482" y="2398712"/>
                    <a:pt x="420051" y="2404931"/>
                    <a:pt x="429707" y="2414587"/>
                  </a:cubicBezTo>
                  <a:cubicBezTo>
                    <a:pt x="433257" y="2418137"/>
                    <a:pt x="431334" y="2424955"/>
                    <a:pt x="434470" y="2428875"/>
                  </a:cubicBezTo>
                  <a:cubicBezTo>
                    <a:pt x="451399" y="2450036"/>
                    <a:pt x="448757" y="2427198"/>
                    <a:pt x="448757" y="2447925"/>
                  </a:cubicBezTo>
                  <a:lnTo>
                    <a:pt x="529720" y="2362200"/>
                  </a:lnTo>
                  <a:cubicBezTo>
                    <a:pt x="523370" y="2347912"/>
                    <a:pt x="519064" y="2332528"/>
                    <a:pt x="510670" y="2319337"/>
                  </a:cubicBezTo>
                  <a:cubicBezTo>
                    <a:pt x="507597" y="2314508"/>
                    <a:pt x="498508" y="2315127"/>
                    <a:pt x="496382" y="2309812"/>
                  </a:cubicBezTo>
                  <a:cubicBezTo>
                    <a:pt x="494518" y="2305151"/>
                    <a:pt x="498900" y="2300015"/>
                    <a:pt x="501145" y="2295525"/>
                  </a:cubicBezTo>
                  <a:cubicBezTo>
                    <a:pt x="509083" y="2279649"/>
                    <a:pt x="510669" y="2281238"/>
                    <a:pt x="524957" y="2271712"/>
                  </a:cubicBezTo>
                  <a:cubicBezTo>
                    <a:pt x="528132" y="2266950"/>
                    <a:pt x="531922" y="2262544"/>
                    <a:pt x="534482" y="2257425"/>
                  </a:cubicBezTo>
                  <a:cubicBezTo>
                    <a:pt x="536727" y="2252935"/>
                    <a:pt x="536460" y="2247314"/>
                    <a:pt x="539245" y="2243137"/>
                  </a:cubicBezTo>
                  <a:cubicBezTo>
                    <a:pt x="542981" y="2237533"/>
                    <a:pt x="549220" y="2234024"/>
                    <a:pt x="553532" y="2228850"/>
                  </a:cubicBezTo>
                  <a:cubicBezTo>
                    <a:pt x="557196" y="2224453"/>
                    <a:pt x="559254" y="2218840"/>
                    <a:pt x="563057" y="2214562"/>
                  </a:cubicBezTo>
                  <a:cubicBezTo>
                    <a:pt x="572006" y="2204494"/>
                    <a:pt x="591632" y="2185987"/>
                    <a:pt x="591632" y="2185987"/>
                  </a:cubicBezTo>
                  <a:cubicBezTo>
                    <a:pt x="604332" y="2187575"/>
                    <a:pt x="617140" y="2188460"/>
                    <a:pt x="629732" y="2190750"/>
                  </a:cubicBezTo>
                  <a:cubicBezTo>
                    <a:pt x="634671" y="2191648"/>
                    <a:pt x="639039" y="2194889"/>
                    <a:pt x="644020" y="2195512"/>
                  </a:cubicBezTo>
                  <a:cubicBezTo>
                    <a:pt x="664558" y="2198079"/>
                    <a:pt x="685295" y="2198687"/>
                    <a:pt x="705932" y="2200275"/>
                  </a:cubicBezTo>
                  <a:cubicBezTo>
                    <a:pt x="717045" y="2198687"/>
                    <a:pt x="733043" y="2204852"/>
                    <a:pt x="739270" y="2195512"/>
                  </a:cubicBezTo>
                  <a:cubicBezTo>
                    <a:pt x="748996" y="2180923"/>
                    <a:pt x="742096" y="2160552"/>
                    <a:pt x="744032" y="2143125"/>
                  </a:cubicBezTo>
                  <a:cubicBezTo>
                    <a:pt x="745272" y="2131968"/>
                    <a:pt x="747620" y="2120951"/>
                    <a:pt x="748795" y="2109787"/>
                  </a:cubicBezTo>
                  <a:cubicBezTo>
                    <a:pt x="750796" y="2090776"/>
                    <a:pt x="749808" y="2071382"/>
                    <a:pt x="753557" y="2052637"/>
                  </a:cubicBezTo>
                  <a:cubicBezTo>
                    <a:pt x="754679" y="2047024"/>
                    <a:pt x="760757" y="2043580"/>
                    <a:pt x="763082" y="2038350"/>
                  </a:cubicBezTo>
                  <a:cubicBezTo>
                    <a:pt x="767160" y="2029175"/>
                    <a:pt x="767038" y="2018129"/>
                    <a:pt x="772607" y="2009775"/>
                  </a:cubicBezTo>
                  <a:cubicBezTo>
                    <a:pt x="775782" y="2005012"/>
                    <a:pt x="779572" y="2000607"/>
                    <a:pt x="782132" y="1995487"/>
                  </a:cubicBezTo>
                  <a:cubicBezTo>
                    <a:pt x="790029" y="1979694"/>
                    <a:pt x="781043" y="1981200"/>
                    <a:pt x="791657" y="1981200"/>
                  </a:cubicBezTo>
                  <a:lnTo>
                    <a:pt x="820232" y="1852612"/>
                  </a:lnTo>
                  <a:cubicBezTo>
                    <a:pt x="818645" y="1836737"/>
                    <a:pt x="819853" y="1820327"/>
                    <a:pt x="815470" y="1804987"/>
                  </a:cubicBezTo>
                  <a:cubicBezTo>
                    <a:pt x="809397" y="1783732"/>
                    <a:pt x="786033" y="1780313"/>
                    <a:pt x="772607" y="1766887"/>
                  </a:cubicBezTo>
                  <a:cubicBezTo>
                    <a:pt x="730859" y="1725139"/>
                    <a:pt x="781955" y="1778103"/>
                    <a:pt x="748795" y="1738312"/>
                  </a:cubicBezTo>
                  <a:cubicBezTo>
                    <a:pt x="739600" y="1727278"/>
                    <a:pt x="727278" y="1717617"/>
                    <a:pt x="715457" y="1709737"/>
                  </a:cubicBezTo>
                  <a:cubicBezTo>
                    <a:pt x="712503" y="1707768"/>
                    <a:pt x="709107" y="1706562"/>
                    <a:pt x="705932" y="1704975"/>
                  </a:cubicBezTo>
                  <a:lnTo>
                    <a:pt x="715457" y="1509712"/>
                  </a:lnTo>
                  <a:lnTo>
                    <a:pt x="796420" y="1338262"/>
                  </a:lnTo>
                  <a:cubicBezTo>
                    <a:pt x="800597" y="1329908"/>
                    <a:pt x="820232" y="1297526"/>
                    <a:pt x="820232" y="1281112"/>
                  </a:cubicBezTo>
                  <a:cubicBezTo>
                    <a:pt x="820232" y="1269887"/>
                    <a:pt x="818695" y="1258527"/>
                    <a:pt x="815470" y="1247775"/>
                  </a:cubicBezTo>
                  <a:cubicBezTo>
                    <a:pt x="813825" y="1242292"/>
                    <a:pt x="808505" y="1238607"/>
                    <a:pt x="805945" y="1233487"/>
                  </a:cubicBezTo>
                  <a:cubicBezTo>
                    <a:pt x="803700" y="1228997"/>
                    <a:pt x="802770" y="1223962"/>
                    <a:pt x="801182" y="1219200"/>
                  </a:cubicBezTo>
                  <a:cubicBezTo>
                    <a:pt x="802770" y="1214437"/>
                    <a:pt x="803700" y="1209402"/>
                    <a:pt x="805945" y="1204912"/>
                  </a:cubicBezTo>
                  <a:cubicBezTo>
                    <a:pt x="812575" y="1191653"/>
                    <a:pt x="819226" y="1186869"/>
                    <a:pt x="829757" y="1176337"/>
                  </a:cubicBezTo>
                  <a:cubicBezTo>
                    <a:pt x="848718" y="1181078"/>
                    <a:pt x="850110" y="1176887"/>
                    <a:pt x="858332" y="1195387"/>
                  </a:cubicBezTo>
                  <a:cubicBezTo>
                    <a:pt x="862410" y="1204562"/>
                    <a:pt x="858332" y="1220787"/>
                    <a:pt x="867857" y="1223962"/>
                  </a:cubicBezTo>
                  <a:lnTo>
                    <a:pt x="896432" y="1233487"/>
                  </a:lnTo>
                  <a:cubicBezTo>
                    <a:pt x="901195" y="1236662"/>
                    <a:pt x="905600" y="1240452"/>
                    <a:pt x="910720" y="1243012"/>
                  </a:cubicBezTo>
                  <a:cubicBezTo>
                    <a:pt x="926680" y="1250992"/>
                    <a:pt x="954280" y="1251027"/>
                    <a:pt x="967870" y="1252537"/>
                  </a:cubicBezTo>
                  <a:cubicBezTo>
                    <a:pt x="971045" y="1257300"/>
                    <a:pt x="973731" y="1262428"/>
                    <a:pt x="977395" y="1266825"/>
                  </a:cubicBezTo>
                  <a:cubicBezTo>
                    <a:pt x="981707" y="1271999"/>
                    <a:pt x="987767" y="1275632"/>
                    <a:pt x="991682" y="1281112"/>
                  </a:cubicBezTo>
                  <a:cubicBezTo>
                    <a:pt x="1002250" y="1295907"/>
                    <a:pt x="1001222" y="1302595"/>
                    <a:pt x="1005970" y="1319212"/>
                  </a:cubicBezTo>
                  <a:cubicBezTo>
                    <a:pt x="1007349" y="1324039"/>
                    <a:pt x="1009643" y="1328599"/>
                    <a:pt x="1010732" y="1333500"/>
                  </a:cubicBezTo>
                  <a:cubicBezTo>
                    <a:pt x="1018725" y="1369469"/>
                    <a:pt x="1011692" y="1360188"/>
                    <a:pt x="1025020" y="1400175"/>
                  </a:cubicBezTo>
                  <a:cubicBezTo>
                    <a:pt x="1026607" y="1404937"/>
                    <a:pt x="1026232" y="1410912"/>
                    <a:pt x="1029782" y="1414462"/>
                  </a:cubicBezTo>
                  <a:cubicBezTo>
                    <a:pt x="1033332" y="1418012"/>
                    <a:pt x="1039307" y="1417637"/>
                    <a:pt x="1044070" y="1419225"/>
                  </a:cubicBezTo>
                  <a:cubicBezTo>
                    <a:pt x="1050420" y="1417637"/>
                    <a:pt x="1058009" y="1418551"/>
                    <a:pt x="1063120" y="1414462"/>
                  </a:cubicBezTo>
                  <a:cubicBezTo>
                    <a:pt x="1067040" y="1411326"/>
                    <a:pt x="1066664" y="1405045"/>
                    <a:pt x="1067882" y="1400175"/>
                  </a:cubicBezTo>
                  <a:cubicBezTo>
                    <a:pt x="1069845" y="1392322"/>
                    <a:pt x="1070682" y="1384215"/>
                    <a:pt x="1072645" y="1376362"/>
                  </a:cubicBezTo>
                  <a:cubicBezTo>
                    <a:pt x="1078630" y="1352422"/>
                    <a:pt x="1075292" y="1371066"/>
                    <a:pt x="1086932" y="1347787"/>
                  </a:cubicBezTo>
                  <a:cubicBezTo>
                    <a:pt x="1089177" y="1343297"/>
                    <a:pt x="1088559" y="1337420"/>
                    <a:pt x="1091695" y="1333500"/>
                  </a:cubicBezTo>
                  <a:cubicBezTo>
                    <a:pt x="1100794" y="1322126"/>
                    <a:pt x="1108766" y="1324964"/>
                    <a:pt x="1120270" y="1319212"/>
                  </a:cubicBezTo>
                  <a:cubicBezTo>
                    <a:pt x="1125389" y="1316652"/>
                    <a:pt x="1129327" y="1312012"/>
                    <a:pt x="1134557" y="1309687"/>
                  </a:cubicBezTo>
                  <a:cubicBezTo>
                    <a:pt x="1143732" y="1305609"/>
                    <a:pt x="1163132" y="1300162"/>
                    <a:pt x="1163132" y="1300162"/>
                  </a:cubicBezTo>
                  <a:cubicBezTo>
                    <a:pt x="1167895" y="1295400"/>
                    <a:pt x="1174149" y="1291763"/>
                    <a:pt x="1177420" y="1285875"/>
                  </a:cubicBezTo>
                  <a:cubicBezTo>
                    <a:pt x="1182296" y="1277098"/>
                    <a:pt x="1186945" y="1257300"/>
                    <a:pt x="1186945" y="1257300"/>
                  </a:cubicBezTo>
                  <a:cubicBezTo>
                    <a:pt x="1185357" y="1247775"/>
                    <a:pt x="1185896" y="1237639"/>
                    <a:pt x="1182182" y="1228725"/>
                  </a:cubicBezTo>
                  <a:cubicBezTo>
                    <a:pt x="1177779" y="1218158"/>
                    <a:pt x="1163132" y="1200150"/>
                    <a:pt x="1163132" y="1200150"/>
                  </a:cubicBezTo>
                  <a:cubicBezTo>
                    <a:pt x="1158172" y="1120781"/>
                    <a:pt x="1158370" y="1149400"/>
                    <a:pt x="1158370" y="1114425"/>
                  </a:cubicBezTo>
                  <a:lnTo>
                    <a:pt x="1034545" y="971550"/>
                  </a:lnTo>
                  <a:cubicBezTo>
                    <a:pt x="1025676" y="865136"/>
                    <a:pt x="1046506" y="943041"/>
                    <a:pt x="1010732" y="900112"/>
                  </a:cubicBezTo>
                  <a:cubicBezTo>
                    <a:pt x="1007518" y="896256"/>
                    <a:pt x="1008215" y="890315"/>
                    <a:pt x="1005970" y="885825"/>
                  </a:cubicBezTo>
                  <a:cubicBezTo>
                    <a:pt x="1004966" y="883817"/>
                    <a:pt x="1002795" y="882650"/>
                    <a:pt x="1001207" y="881062"/>
                  </a:cubicBezTo>
                  <a:lnTo>
                    <a:pt x="929770" y="728662"/>
                  </a:lnTo>
                  <a:cubicBezTo>
                    <a:pt x="925926" y="720974"/>
                    <a:pt x="909041" y="691693"/>
                    <a:pt x="905957" y="676275"/>
                  </a:cubicBezTo>
                  <a:cubicBezTo>
                    <a:pt x="905334" y="673162"/>
                    <a:pt x="905957" y="669925"/>
                    <a:pt x="905957" y="666750"/>
                  </a:cubicBezTo>
                  <a:lnTo>
                    <a:pt x="796420" y="714375"/>
                  </a:lnTo>
                  <a:cubicBezTo>
                    <a:pt x="791657" y="727075"/>
                    <a:pt x="786767" y="739728"/>
                    <a:pt x="782132" y="752475"/>
                  </a:cubicBezTo>
                  <a:cubicBezTo>
                    <a:pt x="780416" y="757193"/>
                    <a:pt x="777370" y="766762"/>
                    <a:pt x="777370" y="766762"/>
                  </a:cubicBezTo>
                  <a:lnTo>
                    <a:pt x="539245" y="790575"/>
                  </a:lnTo>
                  <a:cubicBezTo>
                    <a:pt x="502881" y="772393"/>
                    <a:pt x="505891" y="764862"/>
                    <a:pt x="467807" y="776287"/>
                  </a:cubicBezTo>
                  <a:cubicBezTo>
                    <a:pt x="462325" y="777932"/>
                    <a:pt x="458282" y="782637"/>
                    <a:pt x="453520" y="785812"/>
                  </a:cubicBezTo>
                  <a:cubicBezTo>
                    <a:pt x="406576" y="782878"/>
                    <a:pt x="392805" y="786648"/>
                    <a:pt x="358270" y="776287"/>
                  </a:cubicBezTo>
                  <a:cubicBezTo>
                    <a:pt x="329027" y="767514"/>
                    <a:pt x="336468" y="773534"/>
                    <a:pt x="324932" y="762000"/>
                  </a:cubicBezTo>
                  <a:lnTo>
                    <a:pt x="105857" y="862012"/>
                  </a:lnTo>
                  <a:cubicBezTo>
                    <a:pt x="75395" y="858966"/>
                    <a:pt x="51138" y="869401"/>
                    <a:pt x="43945" y="833437"/>
                  </a:cubicBezTo>
                  <a:cubicBezTo>
                    <a:pt x="42358" y="825500"/>
                    <a:pt x="42983" y="815349"/>
                    <a:pt x="48707" y="809625"/>
                  </a:cubicBezTo>
                  <a:cubicBezTo>
                    <a:pt x="55807" y="802525"/>
                    <a:pt x="77282" y="800100"/>
                    <a:pt x="77282" y="800100"/>
                  </a:cubicBezTo>
                  <a:cubicBezTo>
                    <a:pt x="92176" y="803078"/>
                    <a:pt x="120713" y="811532"/>
                    <a:pt x="134432" y="800100"/>
                  </a:cubicBezTo>
                  <a:cubicBezTo>
                    <a:pt x="139460" y="795910"/>
                    <a:pt x="133301" y="786496"/>
                    <a:pt x="129670" y="781050"/>
                  </a:cubicBezTo>
                  <a:cubicBezTo>
                    <a:pt x="126495" y="776287"/>
                    <a:pt x="120145" y="774700"/>
                    <a:pt x="115382" y="771525"/>
                  </a:cubicBezTo>
                  <a:cubicBezTo>
                    <a:pt x="86596" y="778721"/>
                    <a:pt x="102535" y="774219"/>
                    <a:pt x="67757" y="785812"/>
                  </a:cubicBezTo>
                  <a:cubicBezTo>
                    <a:pt x="62995" y="787400"/>
                    <a:pt x="58490" y="790575"/>
                    <a:pt x="53470" y="790575"/>
                  </a:cubicBezTo>
                  <a:lnTo>
                    <a:pt x="10607" y="790575"/>
                  </a:lnTo>
                  <a:lnTo>
                    <a:pt x="7432" y="776037"/>
                  </a:lnTo>
                  <a:lnTo>
                    <a:pt x="7432" y="766761"/>
                  </a:lnTo>
                  <a:lnTo>
                    <a:pt x="58232" y="655636"/>
                  </a:lnTo>
                  <a:lnTo>
                    <a:pt x="182057" y="541336"/>
                  </a:lnTo>
                  <a:cubicBezTo>
                    <a:pt x="179552" y="536325"/>
                    <a:pt x="176363" y="529292"/>
                    <a:pt x="172532" y="525461"/>
                  </a:cubicBezTo>
                  <a:cubicBezTo>
                    <a:pt x="165633" y="518562"/>
                    <a:pt x="157715" y="512761"/>
                    <a:pt x="150307" y="506411"/>
                  </a:cubicBezTo>
                  <a:lnTo>
                    <a:pt x="216982" y="188911"/>
                  </a:lnTo>
                  <a:cubicBezTo>
                    <a:pt x="222949" y="182944"/>
                    <a:pt x="221242" y="185320"/>
                    <a:pt x="226507" y="173036"/>
                  </a:cubicBezTo>
                  <a:cubicBezTo>
                    <a:pt x="227825" y="169960"/>
                    <a:pt x="228185" y="166504"/>
                    <a:pt x="229682" y="163511"/>
                  </a:cubicBezTo>
                  <a:cubicBezTo>
                    <a:pt x="234102" y="154670"/>
                    <a:pt x="238535" y="151483"/>
                    <a:pt x="245557" y="144461"/>
                  </a:cubicBezTo>
                  <a:cubicBezTo>
                    <a:pt x="248732" y="143403"/>
                    <a:pt x="252089" y="142783"/>
                    <a:pt x="255082" y="141286"/>
                  </a:cubicBezTo>
                  <a:cubicBezTo>
                    <a:pt x="265113" y="136270"/>
                    <a:pt x="278302" y="122771"/>
                    <a:pt x="283657" y="115886"/>
                  </a:cubicBezTo>
                  <a:cubicBezTo>
                    <a:pt x="285712" y="113244"/>
                    <a:pt x="285335" y="109354"/>
                    <a:pt x="286832" y="106361"/>
                  </a:cubicBezTo>
                  <a:cubicBezTo>
                    <a:pt x="288539" y="102948"/>
                    <a:pt x="291475" y="100249"/>
                    <a:pt x="293182" y="96836"/>
                  </a:cubicBezTo>
                  <a:cubicBezTo>
                    <a:pt x="294679" y="93843"/>
                    <a:pt x="294860" y="90304"/>
                    <a:pt x="296357" y="87311"/>
                  </a:cubicBezTo>
                  <a:cubicBezTo>
                    <a:pt x="302438" y="75149"/>
                    <a:pt x="316704" y="63789"/>
                    <a:pt x="324932" y="55561"/>
                  </a:cubicBezTo>
                  <a:lnTo>
                    <a:pt x="572582" y="58736"/>
                  </a:lnTo>
                  <a:lnTo>
                    <a:pt x="573413" y="50267"/>
                  </a:lnTo>
                  <a:lnTo>
                    <a:pt x="582107" y="52387"/>
                  </a:lnTo>
                  <a:lnTo>
                    <a:pt x="682120" y="90487"/>
                  </a:lnTo>
                  <a:lnTo>
                    <a:pt x="744032" y="61912"/>
                  </a:lnTo>
                  <a:lnTo>
                    <a:pt x="815470" y="61912"/>
                  </a:lnTo>
                  <a:lnTo>
                    <a:pt x="858332" y="61912"/>
                  </a:lnTo>
                  <a:lnTo>
                    <a:pt x="905957" y="47625"/>
                  </a:lnTo>
                  <a:lnTo>
                    <a:pt x="986920" y="19050"/>
                  </a:lnTo>
                  <a:close/>
                </a:path>
              </a:pathLst>
            </a:custGeom>
            <a:grp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sym typeface="Arial"/>
              </a:endParaRPr>
            </a:p>
          </p:txBody>
        </p:sp>
        <p:sp>
          <p:nvSpPr>
            <p:cNvPr id="9" name="Freeform 8"/>
            <p:cNvSpPr/>
            <p:nvPr/>
          </p:nvSpPr>
          <p:spPr bwMode="gray">
            <a:xfrm>
              <a:off x="1257300" y="3214688"/>
              <a:ext cx="4690418" cy="3419507"/>
            </a:xfrm>
            <a:custGeom>
              <a:avLst/>
              <a:gdLst>
                <a:gd name="connsiteX0" fmla="*/ 1472281 w 4690418"/>
                <a:gd name="connsiteY0" fmla="*/ 2752861 h 3419507"/>
                <a:gd name="connsiteX1" fmla="*/ 1471148 w 4690418"/>
                <a:gd name="connsiteY1" fmla="*/ 2755081 h 3419507"/>
                <a:gd name="connsiteX2" fmla="*/ 1472146 w 4690418"/>
                <a:gd name="connsiteY2" fmla="*/ 2753082 h 3419507"/>
                <a:gd name="connsiteX3" fmla="*/ 1778538 w 4690418"/>
                <a:gd name="connsiteY3" fmla="*/ 2516539 h 3419507"/>
                <a:gd name="connsiteX4" fmla="*/ 1776548 w 4690418"/>
                <a:gd name="connsiteY4" fmla="*/ 2518036 h 3419507"/>
                <a:gd name="connsiteX5" fmla="*/ 1776615 w 4690418"/>
                <a:gd name="connsiteY5" fmla="*/ 2517981 h 3419507"/>
                <a:gd name="connsiteX6" fmla="*/ 1778538 w 4690418"/>
                <a:gd name="connsiteY6" fmla="*/ 2516539 h 3419507"/>
                <a:gd name="connsiteX7" fmla="*/ 471488 w 4690418"/>
                <a:gd name="connsiteY7" fmla="*/ 1557337 h 3419507"/>
                <a:gd name="connsiteX8" fmla="*/ 463628 w 4690418"/>
                <a:gd name="connsiteY8" fmla="*/ 1569127 h 3419507"/>
                <a:gd name="connsiteX9" fmla="*/ 463628 w 4690418"/>
                <a:gd name="connsiteY9" fmla="*/ 1569127 h 3419507"/>
                <a:gd name="connsiteX10" fmla="*/ 2505075 w 4690418"/>
                <a:gd name="connsiteY10" fmla="*/ 0 h 3419507"/>
                <a:gd name="connsiteX11" fmla="*/ 2514600 w 4690418"/>
                <a:gd name="connsiteY11" fmla="*/ 123825 h 3419507"/>
                <a:gd name="connsiteX12" fmla="*/ 2500313 w 4690418"/>
                <a:gd name="connsiteY12" fmla="*/ 128587 h 3419507"/>
                <a:gd name="connsiteX13" fmla="*/ 2447925 w 4690418"/>
                <a:gd name="connsiteY13" fmla="*/ 133350 h 3419507"/>
                <a:gd name="connsiteX14" fmla="*/ 2433638 w 4690418"/>
                <a:gd name="connsiteY14" fmla="*/ 142875 h 3419507"/>
                <a:gd name="connsiteX15" fmla="*/ 2462213 w 4690418"/>
                <a:gd name="connsiteY15" fmla="*/ 161925 h 3419507"/>
                <a:gd name="connsiteX16" fmla="*/ 2476500 w 4690418"/>
                <a:gd name="connsiteY16" fmla="*/ 176212 h 3419507"/>
                <a:gd name="connsiteX17" fmla="*/ 2481263 w 4690418"/>
                <a:gd name="connsiteY17" fmla="*/ 190500 h 3419507"/>
                <a:gd name="connsiteX18" fmla="*/ 2495550 w 4690418"/>
                <a:gd name="connsiteY18" fmla="*/ 209550 h 3419507"/>
                <a:gd name="connsiteX19" fmla="*/ 2524125 w 4690418"/>
                <a:gd name="connsiteY19" fmla="*/ 323850 h 3419507"/>
                <a:gd name="connsiteX20" fmla="*/ 2566988 w 4690418"/>
                <a:gd name="connsiteY20" fmla="*/ 319087 h 3419507"/>
                <a:gd name="connsiteX21" fmla="*/ 2595563 w 4690418"/>
                <a:gd name="connsiteY21" fmla="*/ 309562 h 3419507"/>
                <a:gd name="connsiteX22" fmla="*/ 2619375 w 4690418"/>
                <a:gd name="connsiteY22" fmla="*/ 314325 h 3419507"/>
                <a:gd name="connsiteX23" fmla="*/ 2643188 w 4690418"/>
                <a:gd name="connsiteY23" fmla="*/ 342900 h 3419507"/>
                <a:gd name="connsiteX24" fmla="*/ 2647950 w 4690418"/>
                <a:gd name="connsiteY24" fmla="*/ 357187 h 3419507"/>
                <a:gd name="connsiteX25" fmla="*/ 2652713 w 4690418"/>
                <a:gd name="connsiteY25" fmla="*/ 381000 h 3419507"/>
                <a:gd name="connsiteX26" fmla="*/ 2781300 w 4690418"/>
                <a:gd name="connsiteY26" fmla="*/ 285750 h 3419507"/>
                <a:gd name="connsiteX27" fmla="*/ 2819400 w 4690418"/>
                <a:gd name="connsiteY27" fmla="*/ 304800 h 3419507"/>
                <a:gd name="connsiteX28" fmla="*/ 2814638 w 4690418"/>
                <a:gd name="connsiteY28" fmla="*/ 371475 h 3419507"/>
                <a:gd name="connsiteX29" fmla="*/ 2809875 w 4690418"/>
                <a:gd name="connsiteY29" fmla="*/ 385762 h 3419507"/>
                <a:gd name="connsiteX30" fmla="*/ 2786063 w 4690418"/>
                <a:gd name="connsiteY30" fmla="*/ 414337 h 3419507"/>
                <a:gd name="connsiteX31" fmla="*/ 2771775 w 4690418"/>
                <a:gd name="connsiteY31" fmla="*/ 423862 h 3419507"/>
                <a:gd name="connsiteX32" fmla="*/ 2767013 w 4690418"/>
                <a:gd name="connsiteY32" fmla="*/ 447675 h 3419507"/>
                <a:gd name="connsiteX33" fmla="*/ 2843213 w 4690418"/>
                <a:gd name="connsiteY33" fmla="*/ 476250 h 3419507"/>
                <a:gd name="connsiteX34" fmla="*/ 2852738 w 4690418"/>
                <a:gd name="connsiteY34" fmla="*/ 519112 h 3419507"/>
                <a:gd name="connsiteX35" fmla="*/ 2838450 w 4690418"/>
                <a:gd name="connsiteY35" fmla="*/ 523875 h 3419507"/>
                <a:gd name="connsiteX36" fmla="*/ 2781300 w 4690418"/>
                <a:gd name="connsiteY36" fmla="*/ 519112 h 3419507"/>
                <a:gd name="connsiteX37" fmla="*/ 2762250 w 4690418"/>
                <a:gd name="connsiteY37" fmla="*/ 514350 h 3419507"/>
                <a:gd name="connsiteX38" fmla="*/ 2747963 w 4690418"/>
                <a:gd name="connsiteY38" fmla="*/ 509587 h 3419507"/>
                <a:gd name="connsiteX39" fmla="*/ 2767013 w 4690418"/>
                <a:gd name="connsiteY39" fmla="*/ 566737 h 3419507"/>
                <a:gd name="connsiteX40" fmla="*/ 2790825 w 4690418"/>
                <a:gd name="connsiteY40" fmla="*/ 590550 h 3419507"/>
                <a:gd name="connsiteX41" fmla="*/ 2776538 w 4690418"/>
                <a:gd name="connsiteY41" fmla="*/ 647700 h 3419507"/>
                <a:gd name="connsiteX42" fmla="*/ 2762250 w 4690418"/>
                <a:gd name="connsiteY42" fmla="*/ 657225 h 3419507"/>
                <a:gd name="connsiteX43" fmla="*/ 2757488 w 4690418"/>
                <a:gd name="connsiteY43" fmla="*/ 671512 h 3419507"/>
                <a:gd name="connsiteX44" fmla="*/ 2743200 w 4690418"/>
                <a:gd name="connsiteY44" fmla="*/ 700087 h 3419507"/>
                <a:gd name="connsiteX45" fmla="*/ 2743200 w 4690418"/>
                <a:gd name="connsiteY45" fmla="*/ 704850 h 3419507"/>
                <a:gd name="connsiteX46" fmla="*/ 2752725 w 4690418"/>
                <a:gd name="connsiteY46" fmla="*/ 762000 h 3419507"/>
                <a:gd name="connsiteX47" fmla="*/ 2762250 w 4690418"/>
                <a:gd name="connsiteY47" fmla="*/ 776287 h 3419507"/>
                <a:gd name="connsiteX48" fmla="*/ 2767013 w 4690418"/>
                <a:gd name="connsiteY48" fmla="*/ 790575 h 3419507"/>
                <a:gd name="connsiteX49" fmla="*/ 2781300 w 4690418"/>
                <a:gd name="connsiteY49" fmla="*/ 800100 h 3419507"/>
                <a:gd name="connsiteX50" fmla="*/ 2805113 w 4690418"/>
                <a:gd name="connsiteY50" fmla="*/ 795337 h 3419507"/>
                <a:gd name="connsiteX51" fmla="*/ 2833688 w 4690418"/>
                <a:gd name="connsiteY51" fmla="*/ 771525 h 3419507"/>
                <a:gd name="connsiteX52" fmla="*/ 2876550 w 4690418"/>
                <a:gd name="connsiteY52" fmla="*/ 776287 h 3419507"/>
                <a:gd name="connsiteX53" fmla="*/ 2895600 w 4690418"/>
                <a:gd name="connsiteY53" fmla="*/ 785812 h 3419507"/>
                <a:gd name="connsiteX54" fmla="*/ 2943225 w 4690418"/>
                <a:gd name="connsiteY54" fmla="*/ 762000 h 3419507"/>
                <a:gd name="connsiteX55" fmla="*/ 2981325 w 4690418"/>
                <a:gd name="connsiteY55" fmla="*/ 747712 h 3419507"/>
                <a:gd name="connsiteX56" fmla="*/ 3000375 w 4690418"/>
                <a:gd name="connsiteY56" fmla="*/ 742950 h 3419507"/>
                <a:gd name="connsiteX57" fmla="*/ 3028950 w 4690418"/>
                <a:gd name="connsiteY57" fmla="*/ 723900 h 3419507"/>
                <a:gd name="connsiteX58" fmla="*/ 3024188 w 4690418"/>
                <a:gd name="connsiteY58" fmla="*/ 690562 h 3419507"/>
                <a:gd name="connsiteX59" fmla="*/ 3014663 w 4690418"/>
                <a:gd name="connsiteY59" fmla="*/ 652462 h 3419507"/>
                <a:gd name="connsiteX60" fmla="*/ 3028950 w 4690418"/>
                <a:gd name="connsiteY60" fmla="*/ 595312 h 3419507"/>
                <a:gd name="connsiteX61" fmla="*/ 3043238 w 4690418"/>
                <a:gd name="connsiteY61" fmla="*/ 590550 h 3419507"/>
                <a:gd name="connsiteX62" fmla="*/ 3086100 w 4690418"/>
                <a:gd name="connsiteY62" fmla="*/ 595312 h 3419507"/>
                <a:gd name="connsiteX63" fmla="*/ 3090863 w 4690418"/>
                <a:gd name="connsiteY63" fmla="*/ 609600 h 3419507"/>
                <a:gd name="connsiteX64" fmla="*/ 3095625 w 4690418"/>
                <a:gd name="connsiteY64" fmla="*/ 638175 h 3419507"/>
                <a:gd name="connsiteX65" fmla="*/ 3100388 w 4690418"/>
                <a:gd name="connsiteY65" fmla="*/ 652462 h 3419507"/>
                <a:gd name="connsiteX66" fmla="*/ 3143250 w 4690418"/>
                <a:gd name="connsiteY66" fmla="*/ 657225 h 3419507"/>
                <a:gd name="connsiteX67" fmla="*/ 3148013 w 4690418"/>
                <a:gd name="connsiteY67" fmla="*/ 676275 h 3419507"/>
                <a:gd name="connsiteX68" fmla="*/ 3157538 w 4690418"/>
                <a:gd name="connsiteY68" fmla="*/ 690562 h 3419507"/>
                <a:gd name="connsiteX69" fmla="*/ 3152775 w 4690418"/>
                <a:gd name="connsiteY69" fmla="*/ 704850 h 3419507"/>
                <a:gd name="connsiteX70" fmla="*/ 3148013 w 4690418"/>
                <a:gd name="connsiteY70" fmla="*/ 733425 h 3419507"/>
                <a:gd name="connsiteX71" fmla="*/ 3157538 w 4690418"/>
                <a:gd name="connsiteY71" fmla="*/ 747712 h 3419507"/>
                <a:gd name="connsiteX72" fmla="*/ 3171825 w 4690418"/>
                <a:gd name="connsiteY72" fmla="*/ 733425 h 3419507"/>
                <a:gd name="connsiteX73" fmla="*/ 3205163 w 4690418"/>
                <a:gd name="connsiteY73" fmla="*/ 714375 h 3419507"/>
                <a:gd name="connsiteX74" fmla="*/ 3233738 w 4690418"/>
                <a:gd name="connsiteY74" fmla="*/ 695325 h 3419507"/>
                <a:gd name="connsiteX75" fmla="*/ 3248025 w 4690418"/>
                <a:gd name="connsiteY75" fmla="*/ 685800 h 3419507"/>
                <a:gd name="connsiteX76" fmla="*/ 3257550 w 4690418"/>
                <a:gd name="connsiteY76" fmla="*/ 666750 h 3419507"/>
                <a:gd name="connsiteX77" fmla="*/ 3267075 w 4690418"/>
                <a:gd name="connsiteY77" fmla="*/ 652462 h 3419507"/>
                <a:gd name="connsiteX78" fmla="*/ 3276600 w 4690418"/>
                <a:gd name="connsiteY78" fmla="*/ 623887 h 3419507"/>
                <a:gd name="connsiteX79" fmla="*/ 3286125 w 4690418"/>
                <a:gd name="connsiteY79" fmla="*/ 609600 h 3419507"/>
                <a:gd name="connsiteX80" fmla="*/ 3300413 w 4690418"/>
                <a:gd name="connsiteY80" fmla="*/ 581025 h 3419507"/>
                <a:gd name="connsiteX81" fmla="*/ 3314700 w 4690418"/>
                <a:gd name="connsiteY81" fmla="*/ 552450 h 3419507"/>
                <a:gd name="connsiteX82" fmla="*/ 3328988 w 4690418"/>
                <a:gd name="connsiteY82" fmla="*/ 538162 h 3419507"/>
                <a:gd name="connsiteX83" fmla="*/ 3343275 w 4690418"/>
                <a:gd name="connsiteY83" fmla="*/ 509587 h 3419507"/>
                <a:gd name="connsiteX84" fmla="*/ 3490913 w 4690418"/>
                <a:gd name="connsiteY84" fmla="*/ 471487 h 3419507"/>
                <a:gd name="connsiteX85" fmla="*/ 3533775 w 4690418"/>
                <a:gd name="connsiteY85" fmla="*/ 452437 h 3419507"/>
                <a:gd name="connsiteX86" fmla="*/ 3548063 w 4690418"/>
                <a:gd name="connsiteY86" fmla="*/ 442912 h 3419507"/>
                <a:gd name="connsiteX87" fmla="*/ 3581400 w 4690418"/>
                <a:gd name="connsiteY87" fmla="*/ 433387 h 3419507"/>
                <a:gd name="connsiteX88" fmla="*/ 3638550 w 4690418"/>
                <a:gd name="connsiteY88" fmla="*/ 438150 h 3419507"/>
                <a:gd name="connsiteX89" fmla="*/ 3633788 w 4690418"/>
                <a:gd name="connsiteY89" fmla="*/ 466725 h 3419507"/>
                <a:gd name="connsiteX90" fmla="*/ 3567113 w 4690418"/>
                <a:gd name="connsiteY90" fmla="*/ 476250 h 3419507"/>
                <a:gd name="connsiteX91" fmla="*/ 3557588 w 4690418"/>
                <a:gd name="connsiteY91" fmla="*/ 504825 h 3419507"/>
                <a:gd name="connsiteX92" fmla="*/ 3562350 w 4690418"/>
                <a:gd name="connsiteY92" fmla="*/ 519112 h 3419507"/>
                <a:gd name="connsiteX93" fmla="*/ 3590925 w 4690418"/>
                <a:gd name="connsiteY93" fmla="*/ 519112 h 3419507"/>
                <a:gd name="connsiteX94" fmla="*/ 3824288 w 4690418"/>
                <a:gd name="connsiteY94" fmla="*/ 428625 h 3419507"/>
                <a:gd name="connsiteX95" fmla="*/ 3957638 w 4690418"/>
                <a:gd name="connsiteY95" fmla="*/ 442912 h 3419507"/>
                <a:gd name="connsiteX96" fmla="*/ 4000500 w 4690418"/>
                <a:gd name="connsiteY96" fmla="*/ 433387 h 3419507"/>
                <a:gd name="connsiteX97" fmla="*/ 4014788 w 4690418"/>
                <a:gd name="connsiteY97" fmla="*/ 438150 h 3419507"/>
                <a:gd name="connsiteX98" fmla="*/ 4052888 w 4690418"/>
                <a:gd name="connsiteY98" fmla="*/ 442912 h 3419507"/>
                <a:gd name="connsiteX99" fmla="*/ 4286250 w 4690418"/>
                <a:gd name="connsiteY99" fmla="*/ 419100 h 3419507"/>
                <a:gd name="connsiteX100" fmla="*/ 4319588 w 4690418"/>
                <a:gd name="connsiteY100" fmla="*/ 366712 h 3419507"/>
                <a:gd name="connsiteX101" fmla="*/ 4405313 w 4690418"/>
                <a:gd name="connsiteY101" fmla="*/ 328612 h 3419507"/>
                <a:gd name="connsiteX102" fmla="*/ 4524375 w 4690418"/>
                <a:gd name="connsiteY102" fmla="*/ 566737 h 3419507"/>
                <a:gd name="connsiteX103" fmla="*/ 4543425 w 4690418"/>
                <a:gd name="connsiteY103" fmla="*/ 642937 h 3419507"/>
                <a:gd name="connsiteX104" fmla="*/ 4667250 w 4690418"/>
                <a:gd name="connsiteY104" fmla="*/ 781050 h 3419507"/>
                <a:gd name="connsiteX105" fmla="*/ 4667250 w 4690418"/>
                <a:gd name="connsiteY105" fmla="*/ 866775 h 3419507"/>
                <a:gd name="connsiteX106" fmla="*/ 4681538 w 4690418"/>
                <a:gd name="connsiteY106" fmla="*/ 885825 h 3419507"/>
                <a:gd name="connsiteX107" fmla="*/ 4681538 w 4690418"/>
                <a:gd name="connsiteY107" fmla="*/ 952500 h 3419507"/>
                <a:gd name="connsiteX108" fmla="*/ 4643438 w 4690418"/>
                <a:gd name="connsiteY108" fmla="*/ 971550 h 3419507"/>
                <a:gd name="connsiteX109" fmla="*/ 4614863 w 4690418"/>
                <a:gd name="connsiteY109" fmla="*/ 990600 h 3419507"/>
                <a:gd name="connsiteX110" fmla="*/ 4595813 w 4690418"/>
                <a:gd name="connsiteY110" fmla="*/ 1000125 h 3419507"/>
                <a:gd name="connsiteX111" fmla="*/ 4567238 w 4690418"/>
                <a:gd name="connsiteY111" fmla="*/ 1019175 h 3419507"/>
                <a:gd name="connsiteX112" fmla="*/ 4557713 w 4690418"/>
                <a:gd name="connsiteY112" fmla="*/ 1033462 h 3419507"/>
                <a:gd name="connsiteX113" fmla="*/ 4538663 w 4690418"/>
                <a:gd name="connsiteY113" fmla="*/ 1081087 h 3419507"/>
                <a:gd name="connsiteX114" fmla="*/ 4529138 w 4690418"/>
                <a:gd name="connsiteY114" fmla="*/ 1071562 h 3419507"/>
                <a:gd name="connsiteX115" fmla="*/ 4495800 w 4690418"/>
                <a:gd name="connsiteY115" fmla="*/ 923925 h 3419507"/>
                <a:gd name="connsiteX116" fmla="*/ 4452938 w 4690418"/>
                <a:gd name="connsiteY116" fmla="*/ 914400 h 3419507"/>
                <a:gd name="connsiteX117" fmla="*/ 4433888 w 4690418"/>
                <a:gd name="connsiteY117" fmla="*/ 904875 h 3419507"/>
                <a:gd name="connsiteX118" fmla="*/ 4410075 w 4690418"/>
                <a:gd name="connsiteY118" fmla="*/ 895350 h 3419507"/>
                <a:gd name="connsiteX119" fmla="*/ 4376738 w 4690418"/>
                <a:gd name="connsiteY119" fmla="*/ 876300 h 3419507"/>
                <a:gd name="connsiteX120" fmla="*/ 4362450 w 4690418"/>
                <a:gd name="connsiteY120" fmla="*/ 862012 h 3419507"/>
                <a:gd name="connsiteX121" fmla="*/ 4357688 w 4690418"/>
                <a:gd name="connsiteY121" fmla="*/ 847725 h 3419507"/>
                <a:gd name="connsiteX122" fmla="*/ 4310063 w 4690418"/>
                <a:gd name="connsiteY122" fmla="*/ 842962 h 3419507"/>
                <a:gd name="connsiteX123" fmla="*/ 4295775 w 4690418"/>
                <a:gd name="connsiteY123" fmla="*/ 866775 h 3419507"/>
                <a:gd name="connsiteX124" fmla="*/ 4324350 w 4690418"/>
                <a:gd name="connsiteY124" fmla="*/ 938212 h 3419507"/>
                <a:gd name="connsiteX125" fmla="*/ 4219575 w 4690418"/>
                <a:gd name="connsiteY125" fmla="*/ 1171575 h 3419507"/>
                <a:gd name="connsiteX126" fmla="*/ 4205288 w 4690418"/>
                <a:gd name="connsiteY126" fmla="*/ 1352550 h 3419507"/>
                <a:gd name="connsiteX127" fmla="*/ 4324350 w 4690418"/>
                <a:gd name="connsiteY127" fmla="*/ 1485900 h 3419507"/>
                <a:gd name="connsiteX128" fmla="*/ 4276725 w 4690418"/>
                <a:gd name="connsiteY128" fmla="*/ 1681162 h 3419507"/>
                <a:gd name="connsiteX129" fmla="*/ 4238625 w 4690418"/>
                <a:gd name="connsiteY129" fmla="*/ 1857375 h 3419507"/>
                <a:gd name="connsiteX130" fmla="*/ 4100513 w 4690418"/>
                <a:gd name="connsiteY130" fmla="*/ 1843087 h 3419507"/>
                <a:gd name="connsiteX131" fmla="*/ 4000500 w 4690418"/>
                <a:gd name="connsiteY131" fmla="*/ 1957387 h 3419507"/>
                <a:gd name="connsiteX132" fmla="*/ 4024313 w 4690418"/>
                <a:gd name="connsiteY132" fmla="*/ 2028825 h 3419507"/>
                <a:gd name="connsiteX133" fmla="*/ 3943350 w 4690418"/>
                <a:gd name="connsiteY133" fmla="*/ 2095500 h 3419507"/>
                <a:gd name="connsiteX134" fmla="*/ 3805238 w 4690418"/>
                <a:gd name="connsiteY134" fmla="*/ 1924050 h 3419507"/>
                <a:gd name="connsiteX135" fmla="*/ 3738563 w 4690418"/>
                <a:gd name="connsiteY135" fmla="*/ 1809750 h 3419507"/>
                <a:gd name="connsiteX136" fmla="*/ 3719513 w 4690418"/>
                <a:gd name="connsiteY136" fmla="*/ 1847850 h 3419507"/>
                <a:gd name="connsiteX137" fmla="*/ 3709988 w 4690418"/>
                <a:gd name="connsiteY137" fmla="*/ 1876425 h 3419507"/>
                <a:gd name="connsiteX138" fmla="*/ 3700463 w 4690418"/>
                <a:gd name="connsiteY138" fmla="*/ 1890712 h 3419507"/>
                <a:gd name="connsiteX139" fmla="*/ 3695700 w 4690418"/>
                <a:gd name="connsiteY139" fmla="*/ 1905000 h 3419507"/>
                <a:gd name="connsiteX140" fmla="*/ 3671888 w 4690418"/>
                <a:gd name="connsiteY140" fmla="*/ 1914525 h 3419507"/>
                <a:gd name="connsiteX141" fmla="*/ 3657600 w 4690418"/>
                <a:gd name="connsiteY141" fmla="*/ 1928812 h 3419507"/>
                <a:gd name="connsiteX142" fmla="*/ 3643313 w 4690418"/>
                <a:gd name="connsiteY142" fmla="*/ 1938337 h 3419507"/>
                <a:gd name="connsiteX143" fmla="*/ 3633788 w 4690418"/>
                <a:gd name="connsiteY143" fmla="*/ 1952625 h 3419507"/>
                <a:gd name="connsiteX144" fmla="*/ 3605213 w 4690418"/>
                <a:gd name="connsiteY144" fmla="*/ 1990725 h 3419507"/>
                <a:gd name="connsiteX145" fmla="*/ 3600450 w 4690418"/>
                <a:gd name="connsiteY145" fmla="*/ 2009775 h 3419507"/>
                <a:gd name="connsiteX146" fmla="*/ 3590925 w 4690418"/>
                <a:gd name="connsiteY146" fmla="*/ 2038350 h 3419507"/>
                <a:gd name="connsiteX147" fmla="*/ 3590925 w 4690418"/>
                <a:gd name="connsiteY147" fmla="*/ 2066925 h 3419507"/>
                <a:gd name="connsiteX148" fmla="*/ 3676650 w 4690418"/>
                <a:gd name="connsiteY148" fmla="*/ 2119312 h 3419507"/>
                <a:gd name="connsiteX149" fmla="*/ 3790950 w 4690418"/>
                <a:gd name="connsiteY149" fmla="*/ 2233612 h 3419507"/>
                <a:gd name="connsiteX150" fmla="*/ 3819525 w 4690418"/>
                <a:gd name="connsiteY150" fmla="*/ 2286000 h 3419507"/>
                <a:gd name="connsiteX151" fmla="*/ 3814763 w 4690418"/>
                <a:gd name="connsiteY151" fmla="*/ 2328862 h 3419507"/>
                <a:gd name="connsiteX152" fmla="*/ 3810000 w 4690418"/>
                <a:gd name="connsiteY152" fmla="*/ 2343150 h 3419507"/>
                <a:gd name="connsiteX153" fmla="*/ 3795713 w 4690418"/>
                <a:gd name="connsiteY153" fmla="*/ 2352675 h 3419507"/>
                <a:gd name="connsiteX154" fmla="*/ 3781425 w 4690418"/>
                <a:gd name="connsiteY154" fmla="*/ 2371725 h 3419507"/>
                <a:gd name="connsiteX155" fmla="*/ 3805238 w 4690418"/>
                <a:gd name="connsiteY155" fmla="*/ 2414587 h 3419507"/>
                <a:gd name="connsiteX156" fmla="*/ 3843338 w 4690418"/>
                <a:gd name="connsiteY156" fmla="*/ 2552700 h 3419507"/>
                <a:gd name="connsiteX157" fmla="*/ 3971925 w 4690418"/>
                <a:gd name="connsiteY157" fmla="*/ 2719387 h 3419507"/>
                <a:gd name="connsiteX158" fmla="*/ 3867150 w 4690418"/>
                <a:gd name="connsiteY158" fmla="*/ 2714625 h 3419507"/>
                <a:gd name="connsiteX159" fmla="*/ 3829050 w 4690418"/>
                <a:gd name="connsiteY159" fmla="*/ 2695575 h 3419507"/>
                <a:gd name="connsiteX160" fmla="*/ 3800475 w 4690418"/>
                <a:gd name="connsiteY160" fmla="*/ 2681287 h 3419507"/>
                <a:gd name="connsiteX161" fmla="*/ 3752850 w 4690418"/>
                <a:gd name="connsiteY161" fmla="*/ 2686050 h 3419507"/>
                <a:gd name="connsiteX162" fmla="*/ 3738563 w 4690418"/>
                <a:gd name="connsiteY162" fmla="*/ 2747962 h 3419507"/>
                <a:gd name="connsiteX163" fmla="*/ 3733800 w 4690418"/>
                <a:gd name="connsiteY163" fmla="*/ 2776537 h 3419507"/>
                <a:gd name="connsiteX164" fmla="*/ 3695700 w 4690418"/>
                <a:gd name="connsiteY164" fmla="*/ 2786062 h 3419507"/>
                <a:gd name="connsiteX165" fmla="*/ 3667125 w 4690418"/>
                <a:gd name="connsiteY165" fmla="*/ 2814637 h 3419507"/>
                <a:gd name="connsiteX166" fmla="*/ 3633788 w 4690418"/>
                <a:gd name="connsiteY166" fmla="*/ 2833687 h 3419507"/>
                <a:gd name="connsiteX167" fmla="*/ 3519488 w 4690418"/>
                <a:gd name="connsiteY167" fmla="*/ 2838450 h 3419507"/>
                <a:gd name="connsiteX168" fmla="*/ 3514725 w 4690418"/>
                <a:gd name="connsiteY168" fmla="*/ 2857500 h 3419507"/>
                <a:gd name="connsiteX169" fmla="*/ 3524250 w 4690418"/>
                <a:gd name="connsiteY169" fmla="*/ 2905125 h 3419507"/>
                <a:gd name="connsiteX170" fmla="*/ 3533775 w 4690418"/>
                <a:gd name="connsiteY170" fmla="*/ 2919412 h 3419507"/>
                <a:gd name="connsiteX171" fmla="*/ 3543300 w 4690418"/>
                <a:gd name="connsiteY171" fmla="*/ 3000375 h 3419507"/>
                <a:gd name="connsiteX172" fmla="*/ 3548063 w 4690418"/>
                <a:gd name="connsiteY172" fmla="*/ 3005137 h 3419507"/>
                <a:gd name="connsiteX173" fmla="*/ 3048000 w 4690418"/>
                <a:gd name="connsiteY173" fmla="*/ 3186112 h 3419507"/>
                <a:gd name="connsiteX174" fmla="*/ 3019425 w 4690418"/>
                <a:gd name="connsiteY174" fmla="*/ 3219450 h 3419507"/>
                <a:gd name="connsiteX175" fmla="*/ 3009900 w 4690418"/>
                <a:gd name="connsiteY175" fmla="*/ 3233737 h 3419507"/>
                <a:gd name="connsiteX176" fmla="*/ 3005138 w 4690418"/>
                <a:gd name="connsiteY176" fmla="*/ 3271837 h 3419507"/>
                <a:gd name="connsiteX177" fmla="*/ 2967038 w 4690418"/>
                <a:gd name="connsiteY177" fmla="*/ 3314700 h 3419507"/>
                <a:gd name="connsiteX178" fmla="*/ 2947988 w 4690418"/>
                <a:gd name="connsiteY178" fmla="*/ 3319462 h 3419507"/>
                <a:gd name="connsiteX179" fmla="*/ 2928938 w 4690418"/>
                <a:gd name="connsiteY179" fmla="*/ 3333750 h 3419507"/>
                <a:gd name="connsiteX180" fmla="*/ 2895600 w 4690418"/>
                <a:gd name="connsiteY180" fmla="*/ 3371850 h 3419507"/>
                <a:gd name="connsiteX181" fmla="*/ 2867025 w 4690418"/>
                <a:gd name="connsiteY181" fmla="*/ 3414712 h 3419507"/>
                <a:gd name="connsiteX182" fmla="*/ 2838450 w 4690418"/>
                <a:gd name="connsiteY182" fmla="*/ 3395662 h 3419507"/>
                <a:gd name="connsiteX183" fmla="*/ 2824163 w 4690418"/>
                <a:gd name="connsiteY183" fmla="*/ 3386137 h 3419507"/>
                <a:gd name="connsiteX184" fmla="*/ 2728913 w 4690418"/>
                <a:gd name="connsiteY184" fmla="*/ 3376612 h 3419507"/>
                <a:gd name="connsiteX185" fmla="*/ 2633663 w 4690418"/>
                <a:gd name="connsiteY185" fmla="*/ 3371850 h 3419507"/>
                <a:gd name="connsiteX186" fmla="*/ 2486025 w 4690418"/>
                <a:gd name="connsiteY186" fmla="*/ 3362325 h 3419507"/>
                <a:gd name="connsiteX187" fmla="*/ 2438400 w 4690418"/>
                <a:gd name="connsiteY187" fmla="*/ 3343275 h 3419507"/>
                <a:gd name="connsiteX188" fmla="*/ 2419350 w 4690418"/>
                <a:gd name="connsiteY188" fmla="*/ 3338512 h 3419507"/>
                <a:gd name="connsiteX189" fmla="*/ 2405063 w 4690418"/>
                <a:gd name="connsiteY189" fmla="*/ 3328987 h 3419507"/>
                <a:gd name="connsiteX190" fmla="*/ 2362200 w 4690418"/>
                <a:gd name="connsiteY190" fmla="*/ 3319462 h 3419507"/>
                <a:gd name="connsiteX191" fmla="*/ 2324100 w 4690418"/>
                <a:gd name="connsiteY191" fmla="*/ 3324225 h 3419507"/>
                <a:gd name="connsiteX192" fmla="*/ 2300288 w 4690418"/>
                <a:gd name="connsiteY192" fmla="*/ 3333750 h 3419507"/>
                <a:gd name="connsiteX193" fmla="*/ 2281238 w 4690418"/>
                <a:gd name="connsiteY193" fmla="*/ 3338512 h 3419507"/>
                <a:gd name="connsiteX194" fmla="*/ 2266950 w 4690418"/>
                <a:gd name="connsiteY194" fmla="*/ 3343275 h 3419507"/>
                <a:gd name="connsiteX195" fmla="*/ 2247900 w 4690418"/>
                <a:gd name="connsiteY195" fmla="*/ 3338512 h 3419507"/>
                <a:gd name="connsiteX196" fmla="*/ 2214563 w 4690418"/>
                <a:gd name="connsiteY196" fmla="*/ 3333750 h 3419507"/>
                <a:gd name="connsiteX197" fmla="*/ 2185988 w 4690418"/>
                <a:gd name="connsiteY197" fmla="*/ 3324225 h 3419507"/>
                <a:gd name="connsiteX198" fmla="*/ 2152650 w 4690418"/>
                <a:gd name="connsiteY198" fmla="*/ 3314700 h 3419507"/>
                <a:gd name="connsiteX199" fmla="*/ 2143125 w 4690418"/>
                <a:gd name="connsiteY199" fmla="*/ 3314700 h 3419507"/>
                <a:gd name="connsiteX200" fmla="*/ 1428750 w 4690418"/>
                <a:gd name="connsiteY200" fmla="*/ 2919412 h 3419507"/>
                <a:gd name="connsiteX201" fmla="*/ 1395947 w 4690418"/>
                <a:gd name="connsiteY201" fmla="*/ 2873518 h 3419507"/>
                <a:gd name="connsiteX202" fmla="*/ 1396053 w 4690418"/>
                <a:gd name="connsiteY202" fmla="*/ 2872655 h 3419507"/>
                <a:gd name="connsiteX203" fmla="*/ 1403350 w 4690418"/>
                <a:gd name="connsiteY203" fmla="*/ 2855912 h 3419507"/>
                <a:gd name="connsiteX204" fmla="*/ 1412875 w 4690418"/>
                <a:gd name="connsiteY204" fmla="*/ 2849562 h 3419507"/>
                <a:gd name="connsiteX205" fmla="*/ 1431925 w 4690418"/>
                <a:gd name="connsiteY205" fmla="*/ 2830512 h 3419507"/>
                <a:gd name="connsiteX206" fmla="*/ 1435100 w 4690418"/>
                <a:gd name="connsiteY206" fmla="*/ 2820987 h 3419507"/>
                <a:gd name="connsiteX207" fmla="*/ 1454150 w 4690418"/>
                <a:gd name="connsiteY207" fmla="*/ 2792412 h 3419507"/>
                <a:gd name="connsiteX208" fmla="*/ 1457325 w 4690418"/>
                <a:gd name="connsiteY208" fmla="*/ 2782887 h 3419507"/>
                <a:gd name="connsiteX209" fmla="*/ 1470025 w 4690418"/>
                <a:gd name="connsiteY209" fmla="*/ 2760662 h 3419507"/>
                <a:gd name="connsiteX210" fmla="*/ 1474464 w 4690418"/>
                <a:gd name="connsiteY210" fmla="*/ 2749317 h 3419507"/>
                <a:gd name="connsiteX211" fmla="*/ 1472281 w 4690418"/>
                <a:gd name="connsiteY211" fmla="*/ 2752861 h 3419507"/>
                <a:gd name="connsiteX212" fmla="*/ 1473669 w 4690418"/>
                <a:gd name="connsiteY212" fmla="*/ 2750144 h 3419507"/>
                <a:gd name="connsiteX213" fmla="*/ 1479550 w 4690418"/>
                <a:gd name="connsiteY213" fmla="*/ 2738437 h 3419507"/>
                <a:gd name="connsiteX214" fmla="*/ 1482725 w 4690418"/>
                <a:gd name="connsiteY214" fmla="*/ 2722562 h 3419507"/>
                <a:gd name="connsiteX215" fmla="*/ 1485900 w 4690418"/>
                <a:gd name="connsiteY215" fmla="*/ 2713037 h 3419507"/>
                <a:gd name="connsiteX216" fmla="*/ 1489075 w 4690418"/>
                <a:gd name="connsiteY216" fmla="*/ 2700337 h 3419507"/>
                <a:gd name="connsiteX217" fmla="*/ 1485900 w 4690418"/>
                <a:gd name="connsiteY217" fmla="*/ 2633662 h 3419507"/>
                <a:gd name="connsiteX218" fmla="*/ 1485900 w 4690418"/>
                <a:gd name="connsiteY218" fmla="*/ 2563812 h 3419507"/>
                <a:gd name="connsiteX219" fmla="*/ 1504950 w 4690418"/>
                <a:gd name="connsiteY219" fmla="*/ 2547937 h 3419507"/>
                <a:gd name="connsiteX220" fmla="*/ 1514475 w 4690418"/>
                <a:gd name="connsiteY220" fmla="*/ 2538412 h 3419507"/>
                <a:gd name="connsiteX221" fmla="*/ 1536700 w 4690418"/>
                <a:gd name="connsiteY221" fmla="*/ 2532062 h 3419507"/>
                <a:gd name="connsiteX222" fmla="*/ 1546225 w 4690418"/>
                <a:gd name="connsiteY222" fmla="*/ 2528887 h 3419507"/>
                <a:gd name="connsiteX223" fmla="*/ 1641475 w 4690418"/>
                <a:gd name="connsiteY223" fmla="*/ 2525712 h 3419507"/>
                <a:gd name="connsiteX224" fmla="*/ 1666875 w 4690418"/>
                <a:gd name="connsiteY224" fmla="*/ 2519362 h 3419507"/>
                <a:gd name="connsiteX225" fmla="*/ 1708150 w 4690418"/>
                <a:gd name="connsiteY225" fmla="*/ 2522537 h 3419507"/>
                <a:gd name="connsiteX226" fmla="*/ 1717675 w 4690418"/>
                <a:gd name="connsiteY226" fmla="*/ 2532062 h 3419507"/>
                <a:gd name="connsiteX227" fmla="*/ 1746250 w 4690418"/>
                <a:gd name="connsiteY227" fmla="*/ 2532062 h 3419507"/>
                <a:gd name="connsiteX228" fmla="*/ 1762125 w 4690418"/>
                <a:gd name="connsiteY228" fmla="*/ 2528887 h 3419507"/>
                <a:gd name="connsiteX229" fmla="*/ 1776548 w 4690418"/>
                <a:gd name="connsiteY229" fmla="*/ 2518036 h 3419507"/>
                <a:gd name="connsiteX230" fmla="*/ 1773004 w 4690418"/>
                <a:gd name="connsiteY230" fmla="*/ 2520908 h 3419507"/>
                <a:gd name="connsiteX231" fmla="*/ 1784350 w 4690418"/>
                <a:gd name="connsiteY231" fmla="*/ 2513012 h 3419507"/>
                <a:gd name="connsiteX232" fmla="*/ 1797050 w 4690418"/>
                <a:gd name="connsiteY232" fmla="*/ 2503487 h 3419507"/>
                <a:gd name="connsiteX233" fmla="*/ 1806575 w 4690418"/>
                <a:gd name="connsiteY233" fmla="*/ 2500312 h 3419507"/>
                <a:gd name="connsiteX234" fmla="*/ 1838325 w 4690418"/>
                <a:gd name="connsiteY234" fmla="*/ 2490787 h 3419507"/>
                <a:gd name="connsiteX235" fmla="*/ 1847850 w 4690418"/>
                <a:gd name="connsiteY235" fmla="*/ 2487612 h 3419507"/>
                <a:gd name="connsiteX236" fmla="*/ 1866900 w 4690418"/>
                <a:gd name="connsiteY236" fmla="*/ 2484437 h 3419507"/>
                <a:gd name="connsiteX237" fmla="*/ 1876425 w 4690418"/>
                <a:gd name="connsiteY237" fmla="*/ 2481262 h 3419507"/>
                <a:gd name="connsiteX238" fmla="*/ 1898650 w 4690418"/>
                <a:gd name="connsiteY238" fmla="*/ 2478087 h 3419507"/>
                <a:gd name="connsiteX239" fmla="*/ 1914525 w 4690418"/>
                <a:gd name="connsiteY239" fmla="*/ 2474912 h 3419507"/>
                <a:gd name="connsiteX240" fmla="*/ 1939925 w 4690418"/>
                <a:gd name="connsiteY240" fmla="*/ 2478087 h 3419507"/>
                <a:gd name="connsiteX241" fmla="*/ 1981200 w 4690418"/>
                <a:gd name="connsiteY241" fmla="*/ 2493962 h 3419507"/>
                <a:gd name="connsiteX242" fmla="*/ 1993900 w 4690418"/>
                <a:gd name="connsiteY242" fmla="*/ 2497137 h 3419507"/>
                <a:gd name="connsiteX243" fmla="*/ 2009775 w 4690418"/>
                <a:gd name="connsiteY243" fmla="*/ 2493962 h 3419507"/>
                <a:gd name="connsiteX244" fmla="*/ 2019300 w 4690418"/>
                <a:gd name="connsiteY244" fmla="*/ 2446337 h 3419507"/>
                <a:gd name="connsiteX245" fmla="*/ 2025650 w 4690418"/>
                <a:gd name="connsiteY245" fmla="*/ 2433637 h 3419507"/>
                <a:gd name="connsiteX246" fmla="*/ 2028825 w 4690418"/>
                <a:gd name="connsiteY246" fmla="*/ 2411412 h 3419507"/>
                <a:gd name="connsiteX247" fmla="*/ 2038350 w 4690418"/>
                <a:gd name="connsiteY247" fmla="*/ 2354262 h 3419507"/>
                <a:gd name="connsiteX248" fmla="*/ 2041525 w 4690418"/>
                <a:gd name="connsiteY248" fmla="*/ 2312987 h 3419507"/>
                <a:gd name="connsiteX249" fmla="*/ 2073275 w 4690418"/>
                <a:gd name="connsiteY249" fmla="*/ 2287587 h 3419507"/>
                <a:gd name="connsiteX250" fmla="*/ 2082800 w 4690418"/>
                <a:gd name="connsiteY250" fmla="*/ 2278062 h 3419507"/>
                <a:gd name="connsiteX251" fmla="*/ 2101850 w 4690418"/>
                <a:gd name="connsiteY251" fmla="*/ 2259012 h 3419507"/>
                <a:gd name="connsiteX252" fmla="*/ 2098675 w 4690418"/>
                <a:gd name="connsiteY252" fmla="*/ 2217737 h 3419507"/>
                <a:gd name="connsiteX253" fmla="*/ 2089150 w 4690418"/>
                <a:gd name="connsiteY253" fmla="*/ 2208212 h 3419507"/>
                <a:gd name="connsiteX254" fmla="*/ 2082800 w 4690418"/>
                <a:gd name="connsiteY254" fmla="*/ 2195512 h 3419507"/>
                <a:gd name="connsiteX255" fmla="*/ 2057400 w 4690418"/>
                <a:gd name="connsiteY255" fmla="*/ 2166937 h 3419507"/>
                <a:gd name="connsiteX256" fmla="*/ 2054225 w 4690418"/>
                <a:gd name="connsiteY256" fmla="*/ 2154237 h 3419507"/>
                <a:gd name="connsiteX257" fmla="*/ 2038350 w 4690418"/>
                <a:gd name="connsiteY257" fmla="*/ 2147887 h 3419507"/>
                <a:gd name="connsiteX258" fmla="*/ 1997075 w 4690418"/>
                <a:gd name="connsiteY258" fmla="*/ 2138362 h 3419507"/>
                <a:gd name="connsiteX259" fmla="*/ 1974850 w 4690418"/>
                <a:gd name="connsiteY259" fmla="*/ 2135187 h 3419507"/>
                <a:gd name="connsiteX260" fmla="*/ 1965325 w 4690418"/>
                <a:gd name="connsiteY260" fmla="*/ 2132012 h 3419507"/>
                <a:gd name="connsiteX261" fmla="*/ 1924050 w 4690418"/>
                <a:gd name="connsiteY261" fmla="*/ 2109787 h 3419507"/>
                <a:gd name="connsiteX262" fmla="*/ 1924050 w 4690418"/>
                <a:gd name="connsiteY262" fmla="*/ 2090737 h 3419507"/>
                <a:gd name="connsiteX263" fmla="*/ 1933575 w 4690418"/>
                <a:gd name="connsiteY263" fmla="*/ 2087562 h 3419507"/>
                <a:gd name="connsiteX264" fmla="*/ 1943100 w 4690418"/>
                <a:gd name="connsiteY264" fmla="*/ 2074862 h 3419507"/>
                <a:gd name="connsiteX265" fmla="*/ 1949450 w 4690418"/>
                <a:gd name="connsiteY265" fmla="*/ 2058987 h 3419507"/>
                <a:gd name="connsiteX266" fmla="*/ 1958975 w 4690418"/>
                <a:gd name="connsiteY266" fmla="*/ 2049462 h 3419507"/>
                <a:gd name="connsiteX267" fmla="*/ 1965325 w 4690418"/>
                <a:gd name="connsiteY267" fmla="*/ 2017712 h 3419507"/>
                <a:gd name="connsiteX268" fmla="*/ 1968500 w 4690418"/>
                <a:gd name="connsiteY268" fmla="*/ 1970087 h 3419507"/>
                <a:gd name="connsiteX269" fmla="*/ 1974850 w 4690418"/>
                <a:gd name="connsiteY269" fmla="*/ 1951037 h 3419507"/>
                <a:gd name="connsiteX270" fmla="*/ 1978025 w 4690418"/>
                <a:gd name="connsiteY270" fmla="*/ 1862137 h 3419507"/>
                <a:gd name="connsiteX271" fmla="*/ 1990725 w 4690418"/>
                <a:gd name="connsiteY271" fmla="*/ 1852612 h 3419507"/>
                <a:gd name="connsiteX272" fmla="*/ 2009775 w 4690418"/>
                <a:gd name="connsiteY272" fmla="*/ 1843087 h 3419507"/>
                <a:gd name="connsiteX273" fmla="*/ 2025650 w 4690418"/>
                <a:gd name="connsiteY273" fmla="*/ 1846262 h 3419507"/>
                <a:gd name="connsiteX274" fmla="*/ 2038350 w 4690418"/>
                <a:gd name="connsiteY274" fmla="*/ 1855787 h 3419507"/>
                <a:gd name="connsiteX275" fmla="*/ 2047875 w 4690418"/>
                <a:gd name="connsiteY275" fmla="*/ 1858962 h 3419507"/>
                <a:gd name="connsiteX276" fmla="*/ 2076450 w 4690418"/>
                <a:gd name="connsiteY276" fmla="*/ 1855787 h 3419507"/>
                <a:gd name="connsiteX277" fmla="*/ 2089150 w 4690418"/>
                <a:gd name="connsiteY277" fmla="*/ 1852612 h 3419507"/>
                <a:gd name="connsiteX278" fmla="*/ 2130425 w 4690418"/>
                <a:gd name="connsiteY278" fmla="*/ 1868487 h 3419507"/>
                <a:gd name="connsiteX279" fmla="*/ 2143125 w 4690418"/>
                <a:gd name="connsiteY279" fmla="*/ 1874837 h 3419507"/>
                <a:gd name="connsiteX280" fmla="*/ 2152650 w 4690418"/>
                <a:gd name="connsiteY280" fmla="*/ 1884362 h 3419507"/>
                <a:gd name="connsiteX281" fmla="*/ 2155825 w 4690418"/>
                <a:gd name="connsiteY281" fmla="*/ 1893887 h 3419507"/>
                <a:gd name="connsiteX282" fmla="*/ 2178050 w 4690418"/>
                <a:gd name="connsiteY282" fmla="*/ 1912937 h 3419507"/>
                <a:gd name="connsiteX283" fmla="*/ 2232025 w 4690418"/>
                <a:gd name="connsiteY283" fmla="*/ 1912937 h 3419507"/>
                <a:gd name="connsiteX284" fmla="*/ 2241550 w 4690418"/>
                <a:gd name="connsiteY284" fmla="*/ 1922462 h 3419507"/>
                <a:gd name="connsiteX285" fmla="*/ 2241550 w 4690418"/>
                <a:gd name="connsiteY285" fmla="*/ 1951037 h 3419507"/>
                <a:gd name="connsiteX286" fmla="*/ 2232025 w 4690418"/>
                <a:gd name="connsiteY286" fmla="*/ 1957387 h 3419507"/>
                <a:gd name="connsiteX287" fmla="*/ 2222500 w 4690418"/>
                <a:gd name="connsiteY287" fmla="*/ 1960562 h 3419507"/>
                <a:gd name="connsiteX288" fmla="*/ 2203450 w 4690418"/>
                <a:gd name="connsiteY288" fmla="*/ 1970087 h 3419507"/>
                <a:gd name="connsiteX289" fmla="*/ 2187575 w 4690418"/>
                <a:gd name="connsiteY289" fmla="*/ 1998662 h 3419507"/>
                <a:gd name="connsiteX290" fmla="*/ 2184400 w 4690418"/>
                <a:gd name="connsiteY290" fmla="*/ 2014537 h 3419507"/>
                <a:gd name="connsiteX291" fmla="*/ 2181225 w 4690418"/>
                <a:gd name="connsiteY291" fmla="*/ 2033587 h 3419507"/>
                <a:gd name="connsiteX292" fmla="*/ 2149475 w 4690418"/>
                <a:gd name="connsiteY292" fmla="*/ 2055812 h 3419507"/>
                <a:gd name="connsiteX293" fmla="*/ 2124075 w 4690418"/>
                <a:gd name="connsiteY293" fmla="*/ 2062162 h 3419507"/>
                <a:gd name="connsiteX294" fmla="*/ 2184400 w 4690418"/>
                <a:gd name="connsiteY294" fmla="*/ 2201862 h 3419507"/>
                <a:gd name="connsiteX295" fmla="*/ 2219325 w 4690418"/>
                <a:gd name="connsiteY295" fmla="*/ 2195512 h 3419507"/>
                <a:gd name="connsiteX296" fmla="*/ 2232025 w 4690418"/>
                <a:gd name="connsiteY296" fmla="*/ 2192337 h 3419507"/>
                <a:gd name="connsiteX297" fmla="*/ 2257425 w 4690418"/>
                <a:gd name="connsiteY297" fmla="*/ 2189162 h 3419507"/>
                <a:gd name="connsiteX298" fmla="*/ 2282825 w 4690418"/>
                <a:gd name="connsiteY298" fmla="*/ 2182812 h 3419507"/>
                <a:gd name="connsiteX299" fmla="*/ 2286000 w 4690418"/>
                <a:gd name="connsiteY299" fmla="*/ 2166937 h 3419507"/>
                <a:gd name="connsiteX300" fmla="*/ 2251075 w 4690418"/>
                <a:gd name="connsiteY300" fmla="*/ 2163762 h 3419507"/>
                <a:gd name="connsiteX301" fmla="*/ 2216150 w 4690418"/>
                <a:gd name="connsiteY301" fmla="*/ 2141537 h 3419507"/>
                <a:gd name="connsiteX302" fmla="*/ 2212975 w 4690418"/>
                <a:gd name="connsiteY302" fmla="*/ 2132012 h 3419507"/>
                <a:gd name="connsiteX303" fmla="*/ 2232025 w 4690418"/>
                <a:gd name="connsiteY303" fmla="*/ 2097087 h 3419507"/>
                <a:gd name="connsiteX304" fmla="*/ 2238375 w 4690418"/>
                <a:gd name="connsiteY304" fmla="*/ 2078037 h 3419507"/>
                <a:gd name="connsiteX305" fmla="*/ 2254250 w 4690418"/>
                <a:gd name="connsiteY305" fmla="*/ 2052637 h 3419507"/>
                <a:gd name="connsiteX306" fmla="*/ 2273300 w 4690418"/>
                <a:gd name="connsiteY306" fmla="*/ 2027237 h 3419507"/>
                <a:gd name="connsiteX307" fmla="*/ 2282825 w 4690418"/>
                <a:gd name="connsiteY307" fmla="*/ 2011362 h 3419507"/>
                <a:gd name="connsiteX308" fmla="*/ 2295525 w 4690418"/>
                <a:gd name="connsiteY308" fmla="*/ 1992312 h 3419507"/>
                <a:gd name="connsiteX309" fmla="*/ 2298700 w 4690418"/>
                <a:gd name="connsiteY309" fmla="*/ 1976437 h 3419507"/>
                <a:gd name="connsiteX310" fmla="*/ 2308225 w 4690418"/>
                <a:gd name="connsiteY310" fmla="*/ 1928812 h 3419507"/>
                <a:gd name="connsiteX311" fmla="*/ 2336800 w 4690418"/>
                <a:gd name="connsiteY311" fmla="*/ 1919287 h 3419507"/>
                <a:gd name="connsiteX312" fmla="*/ 2419350 w 4690418"/>
                <a:gd name="connsiteY312" fmla="*/ 1922462 h 3419507"/>
                <a:gd name="connsiteX313" fmla="*/ 2454275 w 4690418"/>
                <a:gd name="connsiteY313" fmla="*/ 1935162 h 3419507"/>
                <a:gd name="connsiteX314" fmla="*/ 2492375 w 4690418"/>
                <a:gd name="connsiteY314" fmla="*/ 1944687 h 3419507"/>
                <a:gd name="connsiteX315" fmla="*/ 2508250 w 4690418"/>
                <a:gd name="connsiteY315" fmla="*/ 1963737 h 3419507"/>
                <a:gd name="connsiteX316" fmla="*/ 2530475 w 4690418"/>
                <a:gd name="connsiteY316" fmla="*/ 1982787 h 3419507"/>
                <a:gd name="connsiteX317" fmla="*/ 2536825 w 4690418"/>
                <a:gd name="connsiteY317" fmla="*/ 1992312 h 3419507"/>
                <a:gd name="connsiteX318" fmla="*/ 2546350 w 4690418"/>
                <a:gd name="connsiteY318" fmla="*/ 1998662 h 3419507"/>
                <a:gd name="connsiteX319" fmla="*/ 2549525 w 4690418"/>
                <a:gd name="connsiteY319" fmla="*/ 2008187 h 3419507"/>
                <a:gd name="connsiteX320" fmla="*/ 2600325 w 4690418"/>
                <a:gd name="connsiteY320" fmla="*/ 2065337 h 3419507"/>
                <a:gd name="connsiteX321" fmla="*/ 2682875 w 4690418"/>
                <a:gd name="connsiteY321" fmla="*/ 2062162 h 3419507"/>
                <a:gd name="connsiteX322" fmla="*/ 2663825 w 4690418"/>
                <a:gd name="connsiteY322" fmla="*/ 2036762 h 3419507"/>
                <a:gd name="connsiteX323" fmla="*/ 2673350 w 4690418"/>
                <a:gd name="connsiteY323" fmla="*/ 1976437 h 3419507"/>
                <a:gd name="connsiteX324" fmla="*/ 2670175 w 4690418"/>
                <a:gd name="connsiteY324" fmla="*/ 1906587 h 3419507"/>
                <a:gd name="connsiteX325" fmla="*/ 2667000 w 4690418"/>
                <a:gd name="connsiteY325" fmla="*/ 1881187 h 3419507"/>
                <a:gd name="connsiteX326" fmla="*/ 2660650 w 4690418"/>
                <a:gd name="connsiteY326" fmla="*/ 1868487 h 3419507"/>
                <a:gd name="connsiteX327" fmla="*/ 2657475 w 4690418"/>
                <a:gd name="connsiteY327" fmla="*/ 1855787 h 3419507"/>
                <a:gd name="connsiteX328" fmla="*/ 2638425 w 4690418"/>
                <a:gd name="connsiteY328" fmla="*/ 1836737 h 3419507"/>
                <a:gd name="connsiteX329" fmla="*/ 2638425 w 4690418"/>
                <a:gd name="connsiteY329" fmla="*/ 1833562 h 3419507"/>
                <a:gd name="connsiteX330" fmla="*/ 2406650 w 4690418"/>
                <a:gd name="connsiteY330" fmla="*/ 1751012 h 3419507"/>
                <a:gd name="connsiteX331" fmla="*/ 2438400 w 4690418"/>
                <a:gd name="connsiteY331" fmla="*/ 1703387 h 3419507"/>
                <a:gd name="connsiteX332" fmla="*/ 2447925 w 4690418"/>
                <a:gd name="connsiteY332" fmla="*/ 1697037 h 3419507"/>
                <a:gd name="connsiteX333" fmla="*/ 2454275 w 4690418"/>
                <a:gd name="connsiteY333" fmla="*/ 1684337 h 3419507"/>
                <a:gd name="connsiteX334" fmla="*/ 2451100 w 4690418"/>
                <a:gd name="connsiteY334" fmla="*/ 1649412 h 3419507"/>
                <a:gd name="connsiteX335" fmla="*/ 2438400 w 4690418"/>
                <a:gd name="connsiteY335" fmla="*/ 1620837 h 3419507"/>
                <a:gd name="connsiteX336" fmla="*/ 2432050 w 4690418"/>
                <a:gd name="connsiteY336" fmla="*/ 1604962 h 3419507"/>
                <a:gd name="connsiteX337" fmla="*/ 2428875 w 4690418"/>
                <a:gd name="connsiteY337" fmla="*/ 1595437 h 3419507"/>
                <a:gd name="connsiteX338" fmla="*/ 2419350 w 4690418"/>
                <a:gd name="connsiteY338" fmla="*/ 1582737 h 3419507"/>
                <a:gd name="connsiteX339" fmla="*/ 2355850 w 4690418"/>
                <a:gd name="connsiteY339" fmla="*/ 1589087 h 3419507"/>
                <a:gd name="connsiteX340" fmla="*/ 2343150 w 4690418"/>
                <a:gd name="connsiteY340" fmla="*/ 1595437 h 3419507"/>
                <a:gd name="connsiteX341" fmla="*/ 2273300 w 4690418"/>
                <a:gd name="connsiteY341" fmla="*/ 1585912 h 3419507"/>
                <a:gd name="connsiteX342" fmla="*/ 2263775 w 4690418"/>
                <a:gd name="connsiteY342" fmla="*/ 1579562 h 3419507"/>
                <a:gd name="connsiteX343" fmla="*/ 2254250 w 4690418"/>
                <a:gd name="connsiteY343" fmla="*/ 1576387 h 3419507"/>
                <a:gd name="connsiteX344" fmla="*/ 2241550 w 4690418"/>
                <a:gd name="connsiteY344" fmla="*/ 1566862 h 3419507"/>
                <a:gd name="connsiteX345" fmla="*/ 2143125 w 4690418"/>
                <a:gd name="connsiteY345" fmla="*/ 1662112 h 3419507"/>
                <a:gd name="connsiteX346" fmla="*/ 2120900 w 4690418"/>
                <a:gd name="connsiteY346" fmla="*/ 1639887 h 3419507"/>
                <a:gd name="connsiteX347" fmla="*/ 2114550 w 4690418"/>
                <a:gd name="connsiteY347" fmla="*/ 1573212 h 3419507"/>
                <a:gd name="connsiteX348" fmla="*/ 2139950 w 4690418"/>
                <a:gd name="connsiteY348" fmla="*/ 1550987 h 3419507"/>
                <a:gd name="connsiteX349" fmla="*/ 2257425 w 4690418"/>
                <a:gd name="connsiteY349" fmla="*/ 1423987 h 3419507"/>
                <a:gd name="connsiteX350" fmla="*/ 2276475 w 4690418"/>
                <a:gd name="connsiteY350" fmla="*/ 1398587 h 3419507"/>
                <a:gd name="connsiteX351" fmla="*/ 2282825 w 4690418"/>
                <a:gd name="connsiteY351" fmla="*/ 1389062 h 3419507"/>
                <a:gd name="connsiteX352" fmla="*/ 2295525 w 4690418"/>
                <a:gd name="connsiteY352" fmla="*/ 1382712 h 3419507"/>
                <a:gd name="connsiteX353" fmla="*/ 2298700 w 4690418"/>
                <a:gd name="connsiteY353" fmla="*/ 1373187 h 3419507"/>
                <a:gd name="connsiteX354" fmla="*/ 2305050 w 4690418"/>
                <a:gd name="connsiteY354" fmla="*/ 1357312 h 3419507"/>
                <a:gd name="connsiteX355" fmla="*/ 2305050 w 4690418"/>
                <a:gd name="connsiteY355" fmla="*/ 1322387 h 3419507"/>
                <a:gd name="connsiteX356" fmla="*/ 2390775 w 4690418"/>
                <a:gd name="connsiteY356" fmla="*/ 1103312 h 3419507"/>
                <a:gd name="connsiteX357" fmla="*/ 2365375 w 4690418"/>
                <a:gd name="connsiteY357" fmla="*/ 1071562 h 3419507"/>
                <a:gd name="connsiteX358" fmla="*/ 2355850 w 4690418"/>
                <a:gd name="connsiteY358" fmla="*/ 1046162 h 3419507"/>
                <a:gd name="connsiteX359" fmla="*/ 2359025 w 4690418"/>
                <a:gd name="connsiteY359" fmla="*/ 1020762 h 3419507"/>
                <a:gd name="connsiteX360" fmla="*/ 2381250 w 4690418"/>
                <a:gd name="connsiteY360" fmla="*/ 1030287 h 3419507"/>
                <a:gd name="connsiteX361" fmla="*/ 2384425 w 4690418"/>
                <a:gd name="connsiteY361" fmla="*/ 1039812 h 3419507"/>
                <a:gd name="connsiteX362" fmla="*/ 2390775 w 4690418"/>
                <a:gd name="connsiteY362" fmla="*/ 1049337 h 3419507"/>
                <a:gd name="connsiteX363" fmla="*/ 2400300 w 4690418"/>
                <a:gd name="connsiteY363" fmla="*/ 1065212 h 3419507"/>
                <a:gd name="connsiteX364" fmla="*/ 2406650 w 4690418"/>
                <a:gd name="connsiteY364" fmla="*/ 1077912 h 3419507"/>
                <a:gd name="connsiteX365" fmla="*/ 2425700 w 4690418"/>
                <a:gd name="connsiteY365" fmla="*/ 1087437 h 3419507"/>
                <a:gd name="connsiteX366" fmla="*/ 2438400 w 4690418"/>
                <a:gd name="connsiteY366" fmla="*/ 1084262 h 3419507"/>
                <a:gd name="connsiteX367" fmla="*/ 2444750 w 4690418"/>
                <a:gd name="connsiteY367" fmla="*/ 1042987 h 3419507"/>
                <a:gd name="connsiteX368" fmla="*/ 2432050 w 4690418"/>
                <a:gd name="connsiteY368" fmla="*/ 1023937 h 3419507"/>
                <a:gd name="connsiteX369" fmla="*/ 2413000 w 4690418"/>
                <a:gd name="connsiteY369" fmla="*/ 1004887 h 3419507"/>
                <a:gd name="connsiteX370" fmla="*/ 2406650 w 4690418"/>
                <a:gd name="connsiteY370" fmla="*/ 979487 h 3419507"/>
                <a:gd name="connsiteX371" fmla="*/ 2400300 w 4690418"/>
                <a:gd name="connsiteY371" fmla="*/ 950912 h 3419507"/>
                <a:gd name="connsiteX372" fmla="*/ 2381250 w 4690418"/>
                <a:gd name="connsiteY372" fmla="*/ 928687 h 3419507"/>
                <a:gd name="connsiteX373" fmla="*/ 2368550 w 4690418"/>
                <a:gd name="connsiteY373" fmla="*/ 922337 h 3419507"/>
                <a:gd name="connsiteX374" fmla="*/ 2327275 w 4690418"/>
                <a:gd name="connsiteY374" fmla="*/ 935037 h 3419507"/>
                <a:gd name="connsiteX375" fmla="*/ 2317750 w 4690418"/>
                <a:gd name="connsiteY375" fmla="*/ 954087 h 3419507"/>
                <a:gd name="connsiteX376" fmla="*/ 2311400 w 4690418"/>
                <a:gd name="connsiteY376" fmla="*/ 966787 h 3419507"/>
                <a:gd name="connsiteX377" fmla="*/ 2292350 w 4690418"/>
                <a:gd name="connsiteY377" fmla="*/ 995362 h 3419507"/>
                <a:gd name="connsiteX378" fmla="*/ 2282825 w 4690418"/>
                <a:gd name="connsiteY378" fmla="*/ 1008062 h 3419507"/>
                <a:gd name="connsiteX379" fmla="*/ 2266950 w 4690418"/>
                <a:gd name="connsiteY379" fmla="*/ 1020762 h 3419507"/>
                <a:gd name="connsiteX380" fmla="*/ 2254250 w 4690418"/>
                <a:gd name="connsiteY380" fmla="*/ 1023937 h 3419507"/>
                <a:gd name="connsiteX381" fmla="*/ 2222500 w 4690418"/>
                <a:gd name="connsiteY381" fmla="*/ 1001712 h 3419507"/>
                <a:gd name="connsiteX382" fmla="*/ 2228850 w 4690418"/>
                <a:gd name="connsiteY382" fmla="*/ 969962 h 3419507"/>
                <a:gd name="connsiteX383" fmla="*/ 2216150 w 4690418"/>
                <a:gd name="connsiteY383" fmla="*/ 963612 h 3419507"/>
                <a:gd name="connsiteX384" fmla="*/ 2155825 w 4690418"/>
                <a:gd name="connsiteY384" fmla="*/ 963612 h 3419507"/>
                <a:gd name="connsiteX385" fmla="*/ 1952625 w 4690418"/>
                <a:gd name="connsiteY385" fmla="*/ 989012 h 3419507"/>
                <a:gd name="connsiteX386" fmla="*/ 1895475 w 4690418"/>
                <a:gd name="connsiteY386" fmla="*/ 969962 h 3419507"/>
                <a:gd name="connsiteX387" fmla="*/ 1860550 w 4690418"/>
                <a:gd name="connsiteY387" fmla="*/ 950912 h 3419507"/>
                <a:gd name="connsiteX388" fmla="*/ 1790700 w 4690418"/>
                <a:gd name="connsiteY388" fmla="*/ 973137 h 3419507"/>
                <a:gd name="connsiteX389" fmla="*/ 1787525 w 4690418"/>
                <a:gd name="connsiteY389" fmla="*/ 985837 h 3419507"/>
                <a:gd name="connsiteX390" fmla="*/ 1790700 w 4690418"/>
                <a:gd name="connsiteY390" fmla="*/ 1033462 h 3419507"/>
                <a:gd name="connsiteX391" fmla="*/ 1800225 w 4690418"/>
                <a:gd name="connsiteY391" fmla="*/ 1039812 h 3419507"/>
                <a:gd name="connsiteX392" fmla="*/ 1825625 w 4690418"/>
                <a:gd name="connsiteY392" fmla="*/ 1049337 h 3419507"/>
                <a:gd name="connsiteX393" fmla="*/ 1835150 w 4690418"/>
                <a:gd name="connsiteY393" fmla="*/ 1052512 h 3419507"/>
                <a:gd name="connsiteX394" fmla="*/ 1873250 w 4690418"/>
                <a:gd name="connsiteY394" fmla="*/ 1049337 h 3419507"/>
                <a:gd name="connsiteX395" fmla="*/ 1876425 w 4690418"/>
                <a:gd name="connsiteY395" fmla="*/ 1058862 h 3419507"/>
                <a:gd name="connsiteX396" fmla="*/ 1873250 w 4690418"/>
                <a:gd name="connsiteY396" fmla="*/ 1081087 h 3419507"/>
                <a:gd name="connsiteX397" fmla="*/ 1870075 w 4690418"/>
                <a:gd name="connsiteY397" fmla="*/ 1135062 h 3419507"/>
                <a:gd name="connsiteX398" fmla="*/ 1857375 w 4690418"/>
                <a:gd name="connsiteY398" fmla="*/ 1163637 h 3419507"/>
                <a:gd name="connsiteX399" fmla="*/ 1854200 w 4690418"/>
                <a:gd name="connsiteY399" fmla="*/ 1173162 h 3419507"/>
                <a:gd name="connsiteX400" fmla="*/ 1816100 w 4690418"/>
                <a:gd name="connsiteY400" fmla="*/ 1163637 h 3419507"/>
                <a:gd name="connsiteX401" fmla="*/ 1806575 w 4690418"/>
                <a:gd name="connsiteY401" fmla="*/ 1154112 h 3419507"/>
                <a:gd name="connsiteX402" fmla="*/ 1797050 w 4690418"/>
                <a:gd name="connsiteY402" fmla="*/ 1150937 h 3419507"/>
                <a:gd name="connsiteX403" fmla="*/ 1784350 w 4690418"/>
                <a:gd name="connsiteY403" fmla="*/ 1144587 h 3419507"/>
                <a:gd name="connsiteX404" fmla="*/ 1749425 w 4690418"/>
                <a:gd name="connsiteY404" fmla="*/ 1147762 h 3419507"/>
                <a:gd name="connsiteX405" fmla="*/ 1746250 w 4690418"/>
                <a:gd name="connsiteY405" fmla="*/ 1169987 h 3419507"/>
                <a:gd name="connsiteX406" fmla="*/ 1758950 w 4690418"/>
                <a:gd name="connsiteY406" fmla="*/ 1201737 h 3419507"/>
                <a:gd name="connsiteX407" fmla="*/ 1765300 w 4690418"/>
                <a:gd name="connsiteY407" fmla="*/ 1220787 h 3419507"/>
                <a:gd name="connsiteX408" fmla="*/ 1768475 w 4690418"/>
                <a:gd name="connsiteY408" fmla="*/ 1389062 h 3419507"/>
                <a:gd name="connsiteX409" fmla="*/ 1765300 w 4690418"/>
                <a:gd name="connsiteY409" fmla="*/ 1408112 h 3419507"/>
                <a:gd name="connsiteX410" fmla="*/ 1758950 w 4690418"/>
                <a:gd name="connsiteY410" fmla="*/ 1420812 h 3419507"/>
                <a:gd name="connsiteX411" fmla="*/ 1743075 w 4690418"/>
                <a:gd name="connsiteY411" fmla="*/ 1455737 h 3419507"/>
                <a:gd name="connsiteX412" fmla="*/ 1692275 w 4690418"/>
                <a:gd name="connsiteY412" fmla="*/ 1493837 h 3419507"/>
                <a:gd name="connsiteX413" fmla="*/ 1647825 w 4690418"/>
                <a:gd name="connsiteY413" fmla="*/ 1516062 h 3419507"/>
                <a:gd name="connsiteX414" fmla="*/ 1631950 w 4690418"/>
                <a:gd name="connsiteY414" fmla="*/ 1522412 h 3419507"/>
                <a:gd name="connsiteX415" fmla="*/ 1612900 w 4690418"/>
                <a:gd name="connsiteY415" fmla="*/ 1525587 h 3419507"/>
                <a:gd name="connsiteX416" fmla="*/ 1577975 w 4690418"/>
                <a:gd name="connsiteY416" fmla="*/ 1531937 h 3419507"/>
                <a:gd name="connsiteX417" fmla="*/ 1450975 w 4690418"/>
                <a:gd name="connsiteY417" fmla="*/ 1531937 h 3419507"/>
                <a:gd name="connsiteX418" fmla="*/ 1320800 w 4690418"/>
                <a:gd name="connsiteY418" fmla="*/ 1465262 h 3419507"/>
                <a:gd name="connsiteX419" fmla="*/ 1168400 w 4690418"/>
                <a:gd name="connsiteY419" fmla="*/ 1439862 h 3419507"/>
                <a:gd name="connsiteX420" fmla="*/ 1022350 w 4690418"/>
                <a:gd name="connsiteY420" fmla="*/ 1373187 h 3419507"/>
                <a:gd name="connsiteX421" fmla="*/ 1000125 w 4690418"/>
                <a:gd name="connsiteY421" fmla="*/ 1344612 h 3419507"/>
                <a:gd name="connsiteX422" fmla="*/ 996950 w 4690418"/>
                <a:gd name="connsiteY422" fmla="*/ 1306512 h 3419507"/>
                <a:gd name="connsiteX423" fmla="*/ 993775 w 4690418"/>
                <a:gd name="connsiteY423" fmla="*/ 1296987 h 3419507"/>
                <a:gd name="connsiteX424" fmla="*/ 981075 w 4690418"/>
                <a:gd name="connsiteY424" fmla="*/ 1284287 h 3419507"/>
                <a:gd name="connsiteX425" fmla="*/ 971550 w 4690418"/>
                <a:gd name="connsiteY425" fmla="*/ 1281112 h 3419507"/>
                <a:gd name="connsiteX426" fmla="*/ 958850 w 4690418"/>
                <a:gd name="connsiteY426" fmla="*/ 1265237 h 3419507"/>
                <a:gd name="connsiteX427" fmla="*/ 946150 w 4690418"/>
                <a:gd name="connsiteY427" fmla="*/ 1258887 h 3419507"/>
                <a:gd name="connsiteX428" fmla="*/ 923925 w 4690418"/>
                <a:gd name="connsiteY428" fmla="*/ 1239837 h 3419507"/>
                <a:gd name="connsiteX429" fmla="*/ 917575 w 4690418"/>
                <a:gd name="connsiteY429" fmla="*/ 1230312 h 3419507"/>
                <a:gd name="connsiteX430" fmla="*/ 930275 w 4690418"/>
                <a:gd name="connsiteY430" fmla="*/ 1214437 h 3419507"/>
                <a:gd name="connsiteX431" fmla="*/ 936625 w 4690418"/>
                <a:gd name="connsiteY431" fmla="*/ 1204912 h 3419507"/>
                <a:gd name="connsiteX432" fmla="*/ 952500 w 4690418"/>
                <a:gd name="connsiteY432" fmla="*/ 1185862 h 3419507"/>
                <a:gd name="connsiteX433" fmla="*/ 955675 w 4690418"/>
                <a:gd name="connsiteY433" fmla="*/ 1176337 h 3419507"/>
                <a:gd name="connsiteX434" fmla="*/ 949325 w 4690418"/>
                <a:gd name="connsiteY434" fmla="*/ 1150937 h 3419507"/>
                <a:gd name="connsiteX435" fmla="*/ 920750 w 4690418"/>
                <a:gd name="connsiteY435" fmla="*/ 1119187 h 3419507"/>
                <a:gd name="connsiteX436" fmla="*/ 869950 w 4690418"/>
                <a:gd name="connsiteY436" fmla="*/ 1128712 h 3419507"/>
                <a:gd name="connsiteX437" fmla="*/ 857250 w 4690418"/>
                <a:gd name="connsiteY437" fmla="*/ 1141412 h 3419507"/>
                <a:gd name="connsiteX438" fmla="*/ 860425 w 4690418"/>
                <a:gd name="connsiteY438" fmla="*/ 1166812 h 3419507"/>
                <a:gd name="connsiteX439" fmla="*/ 873125 w 4690418"/>
                <a:gd name="connsiteY439" fmla="*/ 1173162 h 3419507"/>
                <a:gd name="connsiteX440" fmla="*/ 882650 w 4690418"/>
                <a:gd name="connsiteY440" fmla="*/ 1179512 h 3419507"/>
                <a:gd name="connsiteX441" fmla="*/ 889000 w 4690418"/>
                <a:gd name="connsiteY441" fmla="*/ 1192212 h 3419507"/>
                <a:gd name="connsiteX442" fmla="*/ 876300 w 4690418"/>
                <a:gd name="connsiteY442" fmla="*/ 1220787 h 3419507"/>
                <a:gd name="connsiteX443" fmla="*/ 863600 w 4690418"/>
                <a:gd name="connsiteY443" fmla="*/ 1227137 h 3419507"/>
                <a:gd name="connsiteX444" fmla="*/ 806450 w 4690418"/>
                <a:gd name="connsiteY444" fmla="*/ 1255712 h 3419507"/>
                <a:gd name="connsiteX445" fmla="*/ 787400 w 4690418"/>
                <a:gd name="connsiteY445" fmla="*/ 1258887 h 3419507"/>
                <a:gd name="connsiteX446" fmla="*/ 768350 w 4690418"/>
                <a:gd name="connsiteY446" fmla="*/ 1252537 h 3419507"/>
                <a:gd name="connsiteX447" fmla="*/ 758825 w 4690418"/>
                <a:gd name="connsiteY447" fmla="*/ 1220787 h 3419507"/>
                <a:gd name="connsiteX448" fmla="*/ 755650 w 4690418"/>
                <a:gd name="connsiteY448" fmla="*/ 1208087 h 3419507"/>
                <a:gd name="connsiteX449" fmla="*/ 746125 w 4690418"/>
                <a:gd name="connsiteY449" fmla="*/ 1204912 h 3419507"/>
                <a:gd name="connsiteX450" fmla="*/ 708025 w 4690418"/>
                <a:gd name="connsiteY450" fmla="*/ 1208087 h 3419507"/>
                <a:gd name="connsiteX451" fmla="*/ 695325 w 4690418"/>
                <a:gd name="connsiteY451" fmla="*/ 1214437 h 3419507"/>
                <a:gd name="connsiteX452" fmla="*/ 669925 w 4690418"/>
                <a:gd name="connsiteY452" fmla="*/ 1236662 h 3419507"/>
                <a:gd name="connsiteX453" fmla="*/ 638175 w 4690418"/>
                <a:gd name="connsiteY453" fmla="*/ 1258887 h 3419507"/>
                <a:gd name="connsiteX454" fmla="*/ 625475 w 4690418"/>
                <a:gd name="connsiteY454" fmla="*/ 1268412 h 3419507"/>
                <a:gd name="connsiteX455" fmla="*/ 615950 w 4690418"/>
                <a:gd name="connsiteY455" fmla="*/ 1281112 h 3419507"/>
                <a:gd name="connsiteX456" fmla="*/ 606425 w 4690418"/>
                <a:gd name="connsiteY456" fmla="*/ 1290637 h 3419507"/>
                <a:gd name="connsiteX457" fmla="*/ 600075 w 4690418"/>
                <a:gd name="connsiteY457" fmla="*/ 1303337 h 3419507"/>
                <a:gd name="connsiteX458" fmla="*/ 590550 w 4690418"/>
                <a:gd name="connsiteY458" fmla="*/ 1335087 h 3419507"/>
                <a:gd name="connsiteX459" fmla="*/ 590032 w 4690418"/>
                <a:gd name="connsiteY459" fmla="*/ 1406242 h 3419507"/>
                <a:gd name="connsiteX460" fmla="*/ 593854 w 4690418"/>
                <a:gd name="connsiteY460" fmla="*/ 1414350 h 3419507"/>
                <a:gd name="connsiteX461" fmla="*/ 533400 w 4690418"/>
                <a:gd name="connsiteY461" fmla="*/ 1409700 h 3419507"/>
                <a:gd name="connsiteX462" fmla="*/ 523875 w 4690418"/>
                <a:gd name="connsiteY462" fmla="*/ 1390650 h 3419507"/>
                <a:gd name="connsiteX463" fmla="*/ 538163 w 4690418"/>
                <a:gd name="connsiteY463" fmla="*/ 1381125 h 3419507"/>
                <a:gd name="connsiteX464" fmla="*/ 523875 w 4690418"/>
                <a:gd name="connsiteY464" fmla="*/ 1371600 h 3419507"/>
                <a:gd name="connsiteX465" fmla="*/ 509588 w 4690418"/>
                <a:gd name="connsiteY465" fmla="*/ 1366837 h 3419507"/>
                <a:gd name="connsiteX466" fmla="*/ 476250 w 4690418"/>
                <a:gd name="connsiteY466" fmla="*/ 1343025 h 3419507"/>
                <a:gd name="connsiteX467" fmla="*/ 471488 w 4690418"/>
                <a:gd name="connsiteY467" fmla="*/ 1323975 h 3419507"/>
                <a:gd name="connsiteX468" fmla="*/ 438150 w 4690418"/>
                <a:gd name="connsiteY468" fmla="*/ 1281112 h 3419507"/>
                <a:gd name="connsiteX469" fmla="*/ 423863 w 4690418"/>
                <a:gd name="connsiteY469" fmla="*/ 1271587 h 3419507"/>
                <a:gd name="connsiteX470" fmla="*/ 409575 w 4690418"/>
                <a:gd name="connsiteY470" fmla="*/ 1243012 h 3419507"/>
                <a:gd name="connsiteX471" fmla="*/ 433388 w 4690418"/>
                <a:gd name="connsiteY471" fmla="*/ 1190625 h 3419507"/>
                <a:gd name="connsiteX472" fmla="*/ 457200 w 4690418"/>
                <a:gd name="connsiteY472" fmla="*/ 1162050 h 3419507"/>
                <a:gd name="connsiteX473" fmla="*/ 461963 w 4690418"/>
                <a:gd name="connsiteY473" fmla="*/ 1147762 h 3419507"/>
                <a:gd name="connsiteX474" fmla="*/ 447675 w 4690418"/>
                <a:gd name="connsiteY474" fmla="*/ 1143000 h 3419507"/>
                <a:gd name="connsiteX475" fmla="*/ 419100 w 4690418"/>
                <a:gd name="connsiteY475" fmla="*/ 1138237 h 3419507"/>
                <a:gd name="connsiteX476" fmla="*/ 523875 w 4690418"/>
                <a:gd name="connsiteY476" fmla="*/ 1071562 h 3419507"/>
                <a:gd name="connsiteX477" fmla="*/ 452438 w 4690418"/>
                <a:gd name="connsiteY477" fmla="*/ 1052512 h 3419507"/>
                <a:gd name="connsiteX478" fmla="*/ 395288 w 4690418"/>
                <a:gd name="connsiteY478" fmla="*/ 1057275 h 3419507"/>
                <a:gd name="connsiteX479" fmla="*/ 385763 w 4690418"/>
                <a:gd name="connsiteY479" fmla="*/ 1057275 h 3419507"/>
                <a:gd name="connsiteX480" fmla="*/ 228600 w 4690418"/>
                <a:gd name="connsiteY480" fmla="*/ 942975 h 3419507"/>
                <a:gd name="connsiteX481" fmla="*/ 66675 w 4690418"/>
                <a:gd name="connsiteY481" fmla="*/ 857250 h 3419507"/>
                <a:gd name="connsiteX482" fmla="*/ 11932 w 4690418"/>
                <a:gd name="connsiteY482" fmla="*/ 898960 h 3419507"/>
                <a:gd name="connsiteX483" fmla="*/ 9525 w 4690418"/>
                <a:gd name="connsiteY483" fmla="*/ 895350 h 3419507"/>
                <a:gd name="connsiteX484" fmla="*/ 0 w 4690418"/>
                <a:gd name="connsiteY484" fmla="*/ 595312 h 3419507"/>
                <a:gd name="connsiteX485" fmla="*/ 66675 w 4690418"/>
                <a:gd name="connsiteY485" fmla="*/ 604837 h 3419507"/>
                <a:gd name="connsiteX486" fmla="*/ 195263 w 4690418"/>
                <a:gd name="connsiteY486" fmla="*/ 495300 h 3419507"/>
                <a:gd name="connsiteX487" fmla="*/ 157163 w 4690418"/>
                <a:gd name="connsiteY487" fmla="*/ 481012 h 3419507"/>
                <a:gd name="connsiteX488" fmla="*/ 152400 w 4690418"/>
                <a:gd name="connsiteY488" fmla="*/ 461962 h 3419507"/>
                <a:gd name="connsiteX489" fmla="*/ 166688 w 4690418"/>
                <a:gd name="connsiteY489" fmla="*/ 452437 h 3419507"/>
                <a:gd name="connsiteX490" fmla="*/ 190500 w 4690418"/>
                <a:gd name="connsiteY490" fmla="*/ 423862 h 3419507"/>
                <a:gd name="connsiteX491" fmla="*/ 195263 w 4690418"/>
                <a:gd name="connsiteY491" fmla="*/ 409575 h 3419507"/>
                <a:gd name="connsiteX492" fmla="*/ 180975 w 4690418"/>
                <a:gd name="connsiteY492" fmla="*/ 361950 h 3419507"/>
                <a:gd name="connsiteX493" fmla="*/ 171450 w 4690418"/>
                <a:gd name="connsiteY493" fmla="*/ 347662 h 3419507"/>
                <a:gd name="connsiteX494" fmla="*/ 214313 w 4690418"/>
                <a:gd name="connsiteY494" fmla="*/ 347662 h 3419507"/>
                <a:gd name="connsiteX495" fmla="*/ 352425 w 4690418"/>
                <a:gd name="connsiteY495" fmla="*/ 404812 h 3419507"/>
                <a:gd name="connsiteX496" fmla="*/ 366713 w 4690418"/>
                <a:gd name="connsiteY496" fmla="*/ 366712 h 3419507"/>
                <a:gd name="connsiteX497" fmla="*/ 381000 w 4690418"/>
                <a:gd name="connsiteY497" fmla="*/ 352425 h 3419507"/>
                <a:gd name="connsiteX498" fmla="*/ 366713 w 4690418"/>
                <a:gd name="connsiteY498" fmla="*/ 309562 h 3419507"/>
                <a:gd name="connsiteX499" fmla="*/ 414338 w 4690418"/>
                <a:gd name="connsiteY499" fmla="*/ 171450 h 3419507"/>
                <a:gd name="connsiteX500" fmla="*/ 471488 w 4690418"/>
                <a:gd name="connsiteY500" fmla="*/ 161925 h 3419507"/>
                <a:gd name="connsiteX501" fmla="*/ 490538 w 4690418"/>
                <a:gd name="connsiteY501" fmla="*/ 223837 h 3419507"/>
                <a:gd name="connsiteX502" fmla="*/ 533400 w 4690418"/>
                <a:gd name="connsiteY502" fmla="*/ 209550 h 3419507"/>
                <a:gd name="connsiteX503" fmla="*/ 647700 w 4690418"/>
                <a:gd name="connsiteY503" fmla="*/ 242887 h 3419507"/>
                <a:gd name="connsiteX504" fmla="*/ 700088 w 4690418"/>
                <a:gd name="connsiteY504" fmla="*/ 338137 h 3419507"/>
                <a:gd name="connsiteX505" fmla="*/ 809625 w 4690418"/>
                <a:gd name="connsiteY505" fmla="*/ 347662 h 3419507"/>
                <a:gd name="connsiteX506" fmla="*/ 866775 w 4690418"/>
                <a:gd name="connsiteY506" fmla="*/ 428625 h 3419507"/>
                <a:gd name="connsiteX507" fmla="*/ 881063 w 4690418"/>
                <a:gd name="connsiteY507" fmla="*/ 509587 h 3419507"/>
                <a:gd name="connsiteX508" fmla="*/ 957263 w 4690418"/>
                <a:gd name="connsiteY508" fmla="*/ 504825 h 3419507"/>
                <a:gd name="connsiteX509" fmla="*/ 1057275 w 4690418"/>
                <a:gd name="connsiteY509" fmla="*/ 619125 h 3419507"/>
                <a:gd name="connsiteX510" fmla="*/ 1147763 w 4690418"/>
                <a:gd name="connsiteY510" fmla="*/ 566737 h 3419507"/>
                <a:gd name="connsiteX511" fmla="*/ 1104900 w 4690418"/>
                <a:gd name="connsiteY511" fmla="*/ 561975 h 3419507"/>
                <a:gd name="connsiteX512" fmla="*/ 1090613 w 4690418"/>
                <a:gd name="connsiteY512" fmla="*/ 514350 h 3419507"/>
                <a:gd name="connsiteX513" fmla="*/ 1104900 w 4690418"/>
                <a:gd name="connsiteY513" fmla="*/ 500062 h 3419507"/>
                <a:gd name="connsiteX514" fmla="*/ 1123950 w 4690418"/>
                <a:gd name="connsiteY514" fmla="*/ 495300 h 3419507"/>
                <a:gd name="connsiteX515" fmla="*/ 1162050 w 4690418"/>
                <a:gd name="connsiteY515" fmla="*/ 500062 h 3419507"/>
                <a:gd name="connsiteX516" fmla="*/ 1166813 w 4690418"/>
                <a:gd name="connsiteY516" fmla="*/ 500062 h 3419507"/>
                <a:gd name="connsiteX517" fmla="*/ 1166813 w 4690418"/>
                <a:gd name="connsiteY517" fmla="*/ 414337 h 3419507"/>
                <a:gd name="connsiteX518" fmla="*/ 1071563 w 4690418"/>
                <a:gd name="connsiteY518" fmla="*/ 352425 h 3419507"/>
                <a:gd name="connsiteX519" fmla="*/ 1066800 w 4690418"/>
                <a:gd name="connsiteY519" fmla="*/ 309562 h 3419507"/>
                <a:gd name="connsiteX520" fmla="*/ 1085850 w 4690418"/>
                <a:gd name="connsiteY520" fmla="*/ 300037 h 3419507"/>
                <a:gd name="connsiteX521" fmla="*/ 1076325 w 4690418"/>
                <a:gd name="connsiteY521" fmla="*/ 138112 h 3419507"/>
                <a:gd name="connsiteX522" fmla="*/ 1295400 w 4690418"/>
                <a:gd name="connsiteY522" fmla="*/ 33337 h 3419507"/>
                <a:gd name="connsiteX523" fmla="*/ 1328738 w 4690418"/>
                <a:gd name="connsiteY523" fmla="*/ 80962 h 3419507"/>
                <a:gd name="connsiteX524" fmla="*/ 1376363 w 4690418"/>
                <a:gd name="connsiteY524" fmla="*/ 76200 h 3419507"/>
                <a:gd name="connsiteX525" fmla="*/ 1390650 w 4690418"/>
                <a:gd name="connsiteY525" fmla="*/ 61912 h 3419507"/>
                <a:gd name="connsiteX526" fmla="*/ 1423988 w 4690418"/>
                <a:gd name="connsiteY526" fmla="*/ 42862 h 3419507"/>
                <a:gd name="connsiteX527" fmla="*/ 1443038 w 4690418"/>
                <a:gd name="connsiteY527" fmla="*/ 47625 h 3419507"/>
                <a:gd name="connsiteX528" fmla="*/ 1481138 w 4690418"/>
                <a:gd name="connsiteY528" fmla="*/ 100012 h 3419507"/>
                <a:gd name="connsiteX529" fmla="*/ 1504950 w 4690418"/>
                <a:gd name="connsiteY529" fmla="*/ 95250 h 3419507"/>
                <a:gd name="connsiteX530" fmla="*/ 1514475 w 4690418"/>
                <a:gd name="connsiteY530" fmla="*/ 80962 h 3419507"/>
                <a:gd name="connsiteX531" fmla="*/ 1528763 w 4690418"/>
                <a:gd name="connsiteY531" fmla="*/ 61912 h 3419507"/>
                <a:gd name="connsiteX532" fmla="*/ 1538288 w 4690418"/>
                <a:gd name="connsiteY532" fmla="*/ 47625 h 3419507"/>
                <a:gd name="connsiteX533" fmla="*/ 1566863 w 4690418"/>
                <a:gd name="connsiteY533" fmla="*/ 47625 h 3419507"/>
                <a:gd name="connsiteX534" fmla="*/ 1647825 w 4690418"/>
                <a:gd name="connsiteY534" fmla="*/ 52387 h 3419507"/>
                <a:gd name="connsiteX535" fmla="*/ 1638300 w 4690418"/>
                <a:gd name="connsiteY535" fmla="*/ 114300 h 3419507"/>
                <a:gd name="connsiteX536" fmla="*/ 1704975 w 4690418"/>
                <a:gd name="connsiteY536" fmla="*/ 176212 h 3419507"/>
                <a:gd name="connsiteX537" fmla="*/ 1766888 w 4690418"/>
                <a:gd name="connsiteY537" fmla="*/ 166687 h 3419507"/>
                <a:gd name="connsiteX538" fmla="*/ 1905000 w 4690418"/>
                <a:gd name="connsiteY538" fmla="*/ 261937 h 3419507"/>
                <a:gd name="connsiteX539" fmla="*/ 2276475 w 4690418"/>
                <a:gd name="connsiteY539" fmla="*/ 119062 h 3419507"/>
                <a:gd name="connsiteX540" fmla="*/ 2300288 w 4690418"/>
                <a:gd name="connsiteY540" fmla="*/ 85725 h 3419507"/>
                <a:gd name="connsiteX541" fmla="*/ 2305050 w 4690418"/>
                <a:gd name="connsiteY541" fmla="*/ 66675 h 3419507"/>
                <a:gd name="connsiteX542" fmla="*/ 2309813 w 4690418"/>
                <a:gd name="connsiteY542" fmla="*/ 52387 h 3419507"/>
                <a:gd name="connsiteX543" fmla="*/ 2328863 w 4690418"/>
                <a:gd name="connsiteY543" fmla="*/ 23812 h 3419507"/>
                <a:gd name="connsiteX544" fmla="*/ 2343150 w 4690418"/>
                <a:gd name="connsiteY544" fmla="*/ 4762 h 3419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Lst>
              <a:rect l="l" t="t" r="r" b="b"/>
              <a:pathLst>
                <a:path w="4690418" h="3419507">
                  <a:moveTo>
                    <a:pt x="1472281" y="2752861"/>
                  </a:moveTo>
                  <a:lnTo>
                    <a:pt x="1471148" y="2755081"/>
                  </a:lnTo>
                  <a:cubicBezTo>
                    <a:pt x="1470363" y="2756584"/>
                    <a:pt x="1471144" y="2754980"/>
                    <a:pt x="1472146" y="2753082"/>
                  </a:cubicBezTo>
                  <a:close/>
                  <a:moveTo>
                    <a:pt x="1778538" y="2516539"/>
                  </a:moveTo>
                  <a:lnTo>
                    <a:pt x="1776548" y="2518036"/>
                  </a:lnTo>
                  <a:lnTo>
                    <a:pt x="1776615" y="2517981"/>
                  </a:lnTo>
                  <a:cubicBezTo>
                    <a:pt x="1778462" y="2516569"/>
                    <a:pt x="1780028" y="2515405"/>
                    <a:pt x="1778538" y="2516539"/>
                  </a:cubicBezTo>
                  <a:close/>
                  <a:moveTo>
                    <a:pt x="471488" y="1557337"/>
                  </a:moveTo>
                  <a:lnTo>
                    <a:pt x="463628" y="1569127"/>
                  </a:lnTo>
                  <a:lnTo>
                    <a:pt x="463628" y="1569127"/>
                  </a:lnTo>
                  <a:close/>
                  <a:moveTo>
                    <a:pt x="2505075" y="0"/>
                  </a:moveTo>
                  <a:cubicBezTo>
                    <a:pt x="2524743" y="52446"/>
                    <a:pt x="2529968" y="50829"/>
                    <a:pt x="2514600" y="123825"/>
                  </a:cubicBezTo>
                  <a:cubicBezTo>
                    <a:pt x="2513566" y="128737"/>
                    <a:pt x="2505282" y="127877"/>
                    <a:pt x="2500313" y="128587"/>
                  </a:cubicBezTo>
                  <a:cubicBezTo>
                    <a:pt x="2482955" y="131067"/>
                    <a:pt x="2465388" y="131762"/>
                    <a:pt x="2447925" y="133350"/>
                  </a:cubicBezTo>
                  <a:cubicBezTo>
                    <a:pt x="2443163" y="136525"/>
                    <a:pt x="2433638" y="137151"/>
                    <a:pt x="2433638" y="142875"/>
                  </a:cubicBezTo>
                  <a:cubicBezTo>
                    <a:pt x="2433638" y="154766"/>
                    <a:pt x="2454832" y="159464"/>
                    <a:pt x="2462213" y="161925"/>
                  </a:cubicBezTo>
                  <a:cubicBezTo>
                    <a:pt x="2466975" y="166687"/>
                    <a:pt x="2472764" y="170608"/>
                    <a:pt x="2476500" y="176212"/>
                  </a:cubicBezTo>
                  <a:cubicBezTo>
                    <a:pt x="2479285" y="180389"/>
                    <a:pt x="2481263" y="190500"/>
                    <a:pt x="2481263" y="190500"/>
                  </a:cubicBezTo>
                  <a:lnTo>
                    <a:pt x="2495550" y="209550"/>
                  </a:lnTo>
                  <a:lnTo>
                    <a:pt x="2524125" y="323850"/>
                  </a:lnTo>
                  <a:cubicBezTo>
                    <a:pt x="2538413" y="322262"/>
                    <a:pt x="2552892" y="321906"/>
                    <a:pt x="2566988" y="319087"/>
                  </a:cubicBezTo>
                  <a:cubicBezTo>
                    <a:pt x="2576833" y="317118"/>
                    <a:pt x="2595563" y="309562"/>
                    <a:pt x="2595563" y="309562"/>
                  </a:cubicBezTo>
                  <a:cubicBezTo>
                    <a:pt x="2603500" y="311150"/>
                    <a:pt x="2612135" y="310705"/>
                    <a:pt x="2619375" y="314325"/>
                  </a:cubicBezTo>
                  <a:cubicBezTo>
                    <a:pt x="2628545" y="318910"/>
                    <a:pt x="2637717" y="334693"/>
                    <a:pt x="2643188" y="342900"/>
                  </a:cubicBezTo>
                  <a:cubicBezTo>
                    <a:pt x="2644775" y="347662"/>
                    <a:pt x="2646732" y="352317"/>
                    <a:pt x="2647950" y="357187"/>
                  </a:cubicBezTo>
                  <a:cubicBezTo>
                    <a:pt x="2649913" y="365040"/>
                    <a:pt x="2652713" y="381000"/>
                    <a:pt x="2652713" y="381000"/>
                  </a:cubicBezTo>
                  <a:lnTo>
                    <a:pt x="2781300" y="285750"/>
                  </a:lnTo>
                  <a:cubicBezTo>
                    <a:pt x="2794000" y="292100"/>
                    <a:pt x="2814254" y="291566"/>
                    <a:pt x="2819400" y="304800"/>
                  </a:cubicBezTo>
                  <a:cubicBezTo>
                    <a:pt x="2827476" y="325567"/>
                    <a:pt x="2817241" y="349346"/>
                    <a:pt x="2814638" y="371475"/>
                  </a:cubicBezTo>
                  <a:cubicBezTo>
                    <a:pt x="2814051" y="376461"/>
                    <a:pt x="2812120" y="381272"/>
                    <a:pt x="2809875" y="385762"/>
                  </a:cubicBezTo>
                  <a:cubicBezTo>
                    <a:pt x="2804523" y="396466"/>
                    <a:pt x="2795092" y="406813"/>
                    <a:pt x="2786063" y="414337"/>
                  </a:cubicBezTo>
                  <a:cubicBezTo>
                    <a:pt x="2781666" y="418001"/>
                    <a:pt x="2776538" y="420687"/>
                    <a:pt x="2771775" y="423862"/>
                  </a:cubicBezTo>
                  <a:cubicBezTo>
                    <a:pt x="2766009" y="441162"/>
                    <a:pt x="2767013" y="433130"/>
                    <a:pt x="2767013" y="447675"/>
                  </a:cubicBezTo>
                  <a:lnTo>
                    <a:pt x="2843213" y="476250"/>
                  </a:lnTo>
                  <a:cubicBezTo>
                    <a:pt x="2846388" y="490537"/>
                    <a:pt x="2854194" y="504549"/>
                    <a:pt x="2852738" y="519112"/>
                  </a:cubicBezTo>
                  <a:cubicBezTo>
                    <a:pt x="2852238" y="524107"/>
                    <a:pt x="2843470" y="523875"/>
                    <a:pt x="2838450" y="523875"/>
                  </a:cubicBezTo>
                  <a:cubicBezTo>
                    <a:pt x="2819334" y="523875"/>
                    <a:pt x="2800350" y="520700"/>
                    <a:pt x="2781300" y="519112"/>
                  </a:cubicBezTo>
                  <a:cubicBezTo>
                    <a:pt x="2774950" y="517525"/>
                    <a:pt x="2768544" y="516148"/>
                    <a:pt x="2762250" y="514350"/>
                  </a:cubicBezTo>
                  <a:cubicBezTo>
                    <a:pt x="2757423" y="512971"/>
                    <a:pt x="2748948" y="504664"/>
                    <a:pt x="2747963" y="509587"/>
                  </a:cubicBezTo>
                  <a:cubicBezTo>
                    <a:pt x="2737529" y="561758"/>
                    <a:pt x="2740571" y="557924"/>
                    <a:pt x="2767013" y="566737"/>
                  </a:cubicBezTo>
                  <a:cubicBezTo>
                    <a:pt x="2774388" y="571654"/>
                    <a:pt x="2789801" y="579284"/>
                    <a:pt x="2790825" y="590550"/>
                  </a:cubicBezTo>
                  <a:cubicBezTo>
                    <a:pt x="2792168" y="605320"/>
                    <a:pt x="2787912" y="634051"/>
                    <a:pt x="2776538" y="647700"/>
                  </a:cubicBezTo>
                  <a:cubicBezTo>
                    <a:pt x="2772874" y="652097"/>
                    <a:pt x="2767013" y="654050"/>
                    <a:pt x="2762250" y="657225"/>
                  </a:cubicBezTo>
                  <a:cubicBezTo>
                    <a:pt x="2760663" y="661987"/>
                    <a:pt x="2759465" y="666898"/>
                    <a:pt x="2757488" y="671512"/>
                  </a:cubicBezTo>
                  <a:cubicBezTo>
                    <a:pt x="2757481" y="671528"/>
                    <a:pt x="2745585" y="695317"/>
                    <a:pt x="2743200" y="700087"/>
                  </a:cubicBezTo>
                  <a:lnTo>
                    <a:pt x="2743200" y="704850"/>
                  </a:lnTo>
                  <a:cubicBezTo>
                    <a:pt x="2744708" y="718422"/>
                    <a:pt x="2744748" y="746045"/>
                    <a:pt x="2752725" y="762000"/>
                  </a:cubicBezTo>
                  <a:cubicBezTo>
                    <a:pt x="2755285" y="767119"/>
                    <a:pt x="2759690" y="771168"/>
                    <a:pt x="2762250" y="776287"/>
                  </a:cubicBezTo>
                  <a:cubicBezTo>
                    <a:pt x="2764495" y="780777"/>
                    <a:pt x="2763877" y="786655"/>
                    <a:pt x="2767013" y="790575"/>
                  </a:cubicBezTo>
                  <a:cubicBezTo>
                    <a:pt x="2770589" y="795044"/>
                    <a:pt x="2776538" y="796925"/>
                    <a:pt x="2781300" y="800100"/>
                  </a:cubicBezTo>
                  <a:cubicBezTo>
                    <a:pt x="2789238" y="798512"/>
                    <a:pt x="2797534" y="798179"/>
                    <a:pt x="2805113" y="795337"/>
                  </a:cubicBezTo>
                  <a:cubicBezTo>
                    <a:pt x="2815720" y="791359"/>
                    <a:pt x="2826277" y="778935"/>
                    <a:pt x="2833688" y="771525"/>
                  </a:cubicBezTo>
                  <a:cubicBezTo>
                    <a:pt x="2847975" y="773112"/>
                    <a:pt x="2862604" y="772801"/>
                    <a:pt x="2876550" y="776287"/>
                  </a:cubicBezTo>
                  <a:cubicBezTo>
                    <a:pt x="2918173" y="786692"/>
                    <a:pt x="2877900" y="785812"/>
                    <a:pt x="2895600" y="785812"/>
                  </a:cubicBezTo>
                  <a:lnTo>
                    <a:pt x="2943225" y="762000"/>
                  </a:lnTo>
                  <a:cubicBezTo>
                    <a:pt x="2955925" y="757237"/>
                    <a:pt x="2968457" y="752001"/>
                    <a:pt x="2981325" y="747712"/>
                  </a:cubicBezTo>
                  <a:cubicBezTo>
                    <a:pt x="2987535" y="745642"/>
                    <a:pt x="2994521" y="745877"/>
                    <a:pt x="3000375" y="742950"/>
                  </a:cubicBezTo>
                  <a:cubicBezTo>
                    <a:pt x="3010614" y="737831"/>
                    <a:pt x="3028950" y="723900"/>
                    <a:pt x="3028950" y="723900"/>
                  </a:cubicBezTo>
                  <a:cubicBezTo>
                    <a:pt x="3027363" y="712787"/>
                    <a:pt x="3026389" y="701569"/>
                    <a:pt x="3024188" y="690562"/>
                  </a:cubicBezTo>
                  <a:cubicBezTo>
                    <a:pt x="3021621" y="677725"/>
                    <a:pt x="3014663" y="652462"/>
                    <a:pt x="3014663" y="652462"/>
                  </a:cubicBezTo>
                  <a:cubicBezTo>
                    <a:pt x="3016306" y="637678"/>
                    <a:pt x="3012945" y="608116"/>
                    <a:pt x="3028950" y="595312"/>
                  </a:cubicBezTo>
                  <a:cubicBezTo>
                    <a:pt x="3032870" y="592176"/>
                    <a:pt x="3038475" y="592137"/>
                    <a:pt x="3043238" y="590550"/>
                  </a:cubicBezTo>
                  <a:cubicBezTo>
                    <a:pt x="3057525" y="592137"/>
                    <a:pt x="3072753" y="589973"/>
                    <a:pt x="3086100" y="595312"/>
                  </a:cubicBezTo>
                  <a:cubicBezTo>
                    <a:pt x="3090761" y="597177"/>
                    <a:pt x="3089774" y="604699"/>
                    <a:pt x="3090863" y="609600"/>
                  </a:cubicBezTo>
                  <a:cubicBezTo>
                    <a:pt x="3092958" y="619026"/>
                    <a:pt x="3093530" y="628749"/>
                    <a:pt x="3095625" y="638175"/>
                  </a:cubicBezTo>
                  <a:cubicBezTo>
                    <a:pt x="3096714" y="643075"/>
                    <a:pt x="3095727" y="650598"/>
                    <a:pt x="3100388" y="652462"/>
                  </a:cubicBezTo>
                  <a:cubicBezTo>
                    <a:pt x="3113735" y="657801"/>
                    <a:pt x="3128963" y="655637"/>
                    <a:pt x="3143250" y="657225"/>
                  </a:cubicBezTo>
                  <a:cubicBezTo>
                    <a:pt x="3144838" y="663575"/>
                    <a:pt x="3145435" y="670259"/>
                    <a:pt x="3148013" y="676275"/>
                  </a:cubicBezTo>
                  <a:cubicBezTo>
                    <a:pt x="3150268" y="681536"/>
                    <a:pt x="3156597" y="684916"/>
                    <a:pt x="3157538" y="690562"/>
                  </a:cubicBezTo>
                  <a:cubicBezTo>
                    <a:pt x="3158363" y="695514"/>
                    <a:pt x="3154363" y="700087"/>
                    <a:pt x="3152775" y="704850"/>
                  </a:cubicBezTo>
                  <a:cubicBezTo>
                    <a:pt x="3151188" y="714375"/>
                    <a:pt x="3146947" y="723828"/>
                    <a:pt x="3148013" y="733425"/>
                  </a:cubicBezTo>
                  <a:cubicBezTo>
                    <a:pt x="3148645" y="739114"/>
                    <a:pt x="3151814" y="747712"/>
                    <a:pt x="3157538" y="747712"/>
                  </a:cubicBezTo>
                  <a:cubicBezTo>
                    <a:pt x="3164273" y="747712"/>
                    <a:pt x="3166651" y="737737"/>
                    <a:pt x="3171825" y="733425"/>
                  </a:cubicBezTo>
                  <a:cubicBezTo>
                    <a:pt x="3185946" y="721658"/>
                    <a:pt x="3188528" y="724356"/>
                    <a:pt x="3205163" y="714375"/>
                  </a:cubicBezTo>
                  <a:cubicBezTo>
                    <a:pt x="3214979" y="708485"/>
                    <a:pt x="3224213" y="701675"/>
                    <a:pt x="3233738" y="695325"/>
                  </a:cubicBezTo>
                  <a:lnTo>
                    <a:pt x="3248025" y="685800"/>
                  </a:lnTo>
                  <a:cubicBezTo>
                    <a:pt x="3251200" y="679450"/>
                    <a:pt x="3254028" y="672914"/>
                    <a:pt x="3257550" y="666750"/>
                  </a:cubicBezTo>
                  <a:cubicBezTo>
                    <a:pt x="3260390" y="661780"/>
                    <a:pt x="3264750" y="657693"/>
                    <a:pt x="3267075" y="652462"/>
                  </a:cubicBezTo>
                  <a:cubicBezTo>
                    <a:pt x="3271153" y="643287"/>
                    <a:pt x="3271031" y="632241"/>
                    <a:pt x="3276600" y="623887"/>
                  </a:cubicBezTo>
                  <a:cubicBezTo>
                    <a:pt x="3279775" y="619125"/>
                    <a:pt x="3283565" y="614719"/>
                    <a:pt x="3286125" y="609600"/>
                  </a:cubicBezTo>
                  <a:cubicBezTo>
                    <a:pt x="3305843" y="570166"/>
                    <a:pt x="3273117" y="621968"/>
                    <a:pt x="3300413" y="581025"/>
                  </a:cubicBezTo>
                  <a:cubicBezTo>
                    <a:pt x="3305186" y="566704"/>
                    <a:pt x="3304441" y="564760"/>
                    <a:pt x="3314700" y="552450"/>
                  </a:cubicBezTo>
                  <a:cubicBezTo>
                    <a:pt x="3319012" y="547276"/>
                    <a:pt x="3325073" y="543643"/>
                    <a:pt x="3328988" y="538162"/>
                  </a:cubicBezTo>
                  <a:cubicBezTo>
                    <a:pt x="3328992" y="538157"/>
                    <a:pt x="3340892" y="514353"/>
                    <a:pt x="3343275" y="509587"/>
                  </a:cubicBezTo>
                  <a:lnTo>
                    <a:pt x="3490913" y="471487"/>
                  </a:lnTo>
                  <a:cubicBezTo>
                    <a:pt x="3505200" y="465137"/>
                    <a:pt x="3519791" y="459429"/>
                    <a:pt x="3533775" y="452437"/>
                  </a:cubicBezTo>
                  <a:cubicBezTo>
                    <a:pt x="3538895" y="449877"/>
                    <a:pt x="3542943" y="445472"/>
                    <a:pt x="3548063" y="442912"/>
                  </a:cubicBezTo>
                  <a:cubicBezTo>
                    <a:pt x="3554892" y="439497"/>
                    <a:pt x="3575301" y="434912"/>
                    <a:pt x="3581400" y="433387"/>
                  </a:cubicBezTo>
                  <a:cubicBezTo>
                    <a:pt x="3600450" y="434975"/>
                    <a:pt x="3622423" y="427887"/>
                    <a:pt x="3638550" y="438150"/>
                  </a:cubicBezTo>
                  <a:cubicBezTo>
                    <a:pt x="3646697" y="443334"/>
                    <a:pt x="3642308" y="462181"/>
                    <a:pt x="3633788" y="466725"/>
                  </a:cubicBezTo>
                  <a:cubicBezTo>
                    <a:pt x="3613979" y="477290"/>
                    <a:pt x="3589338" y="473075"/>
                    <a:pt x="3567113" y="476250"/>
                  </a:cubicBezTo>
                  <a:cubicBezTo>
                    <a:pt x="3563938" y="485775"/>
                    <a:pt x="3554413" y="495300"/>
                    <a:pt x="3557588" y="504825"/>
                  </a:cubicBezTo>
                  <a:cubicBezTo>
                    <a:pt x="3559175" y="509587"/>
                    <a:pt x="3557736" y="517135"/>
                    <a:pt x="3562350" y="519112"/>
                  </a:cubicBezTo>
                  <a:cubicBezTo>
                    <a:pt x="3571105" y="522864"/>
                    <a:pt x="3581400" y="519112"/>
                    <a:pt x="3590925" y="519112"/>
                  </a:cubicBezTo>
                  <a:lnTo>
                    <a:pt x="3824288" y="428625"/>
                  </a:lnTo>
                  <a:lnTo>
                    <a:pt x="3957638" y="442912"/>
                  </a:lnTo>
                  <a:cubicBezTo>
                    <a:pt x="3971925" y="439737"/>
                    <a:pt x="3985915" y="434602"/>
                    <a:pt x="4000500" y="433387"/>
                  </a:cubicBezTo>
                  <a:cubicBezTo>
                    <a:pt x="4005503" y="432970"/>
                    <a:pt x="4009887" y="437061"/>
                    <a:pt x="4014788" y="438150"/>
                  </a:cubicBezTo>
                  <a:cubicBezTo>
                    <a:pt x="4038566" y="443434"/>
                    <a:pt x="4036314" y="442912"/>
                    <a:pt x="4052888" y="442912"/>
                  </a:cubicBezTo>
                  <a:lnTo>
                    <a:pt x="4286250" y="419100"/>
                  </a:lnTo>
                  <a:cubicBezTo>
                    <a:pt x="4321537" y="373731"/>
                    <a:pt x="4319588" y="394338"/>
                    <a:pt x="4319588" y="366712"/>
                  </a:cubicBezTo>
                  <a:lnTo>
                    <a:pt x="4405313" y="328612"/>
                  </a:lnTo>
                  <a:lnTo>
                    <a:pt x="4524375" y="566737"/>
                  </a:lnTo>
                  <a:lnTo>
                    <a:pt x="4543425" y="642937"/>
                  </a:lnTo>
                  <a:lnTo>
                    <a:pt x="4667250" y="781050"/>
                  </a:lnTo>
                  <a:cubicBezTo>
                    <a:pt x="4664447" y="809087"/>
                    <a:pt x="4657917" y="838775"/>
                    <a:pt x="4667250" y="866775"/>
                  </a:cubicBezTo>
                  <a:cubicBezTo>
                    <a:pt x="4669760" y="874305"/>
                    <a:pt x="4676775" y="879475"/>
                    <a:pt x="4681538" y="885825"/>
                  </a:cubicBezTo>
                  <a:cubicBezTo>
                    <a:pt x="4688858" y="907785"/>
                    <a:pt x="4697188" y="926416"/>
                    <a:pt x="4681538" y="952500"/>
                  </a:cubicBezTo>
                  <a:cubicBezTo>
                    <a:pt x="4674233" y="964676"/>
                    <a:pt x="4655252" y="963674"/>
                    <a:pt x="4643438" y="971550"/>
                  </a:cubicBezTo>
                  <a:cubicBezTo>
                    <a:pt x="4633913" y="977900"/>
                    <a:pt x="4625102" y="985480"/>
                    <a:pt x="4614863" y="990600"/>
                  </a:cubicBezTo>
                  <a:cubicBezTo>
                    <a:pt x="4608513" y="993775"/>
                    <a:pt x="4601901" y="996472"/>
                    <a:pt x="4595813" y="1000125"/>
                  </a:cubicBezTo>
                  <a:cubicBezTo>
                    <a:pt x="4585997" y="1006015"/>
                    <a:pt x="4567238" y="1019175"/>
                    <a:pt x="4567238" y="1019175"/>
                  </a:cubicBezTo>
                  <a:cubicBezTo>
                    <a:pt x="4564063" y="1023937"/>
                    <a:pt x="4559219" y="1027940"/>
                    <a:pt x="4557713" y="1033462"/>
                  </a:cubicBezTo>
                  <a:cubicBezTo>
                    <a:pt x="4555912" y="1040067"/>
                    <a:pt x="4561957" y="1081087"/>
                    <a:pt x="4538663" y="1081087"/>
                  </a:cubicBezTo>
                  <a:cubicBezTo>
                    <a:pt x="4534173" y="1081087"/>
                    <a:pt x="4532313" y="1074737"/>
                    <a:pt x="4529138" y="1071562"/>
                  </a:cubicBezTo>
                  <a:lnTo>
                    <a:pt x="4495800" y="923925"/>
                  </a:lnTo>
                  <a:cubicBezTo>
                    <a:pt x="4481513" y="920750"/>
                    <a:pt x="4466927" y="918704"/>
                    <a:pt x="4452938" y="914400"/>
                  </a:cubicBezTo>
                  <a:cubicBezTo>
                    <a:pt x="4446152" y="912312"/>
                    <a:pt x="4440376" y="907758"/>
                    <a:pt x="4433888" y="904875"/>
                  </a:cubicBezTo>
                  <a:cubicBezTo>
                    <a:pt x="4426076" y="901403"/>
                    <a:pt x="4417887" y="898822"/>
                    <a:pt x="4410075" y="895350"/>
                  </a:cubicBezTo>
                  <a:cubicBezTo>
                    <a:pt x="4400092" y="890913"/>
                    <a:pt x="4385495" y="883597"/>
                    <a:pt x="4376738" y="876300"/>
                  </a:cubicBezTo>
                  <a:cubicBezTo>
                    <a:pt x="4371564" y="871988"/>
                    <a:pt x="4367213" y="866775"/>
                    <a:pt x="4362450" y="862012"/>
                  </a:cubicBezTo>
                  <a:cubicBezTo>
                    <a:pt x="4360863" y="857250"/>
                    <a:pt x="4360824" y="851645"/>
                    <a:pt x="4357688" y="847725"/>
                  </a:cubicBezTo>
                  <a:cubicBezTo>
                    <a:pt x="4343956" y="830560"/>
                    <a:pt x="4329660" y="840163"/>
                    <a:pt x="4310063" y="842962"/>
                  </a:cubicBezTo>
                  <a:cubicBezTo>
                    <a:pt x="4298569" y="860204"/>
                    <a:pt x="4303098" y="852130"/>
                    <a:pt x="4295775" y="866775"/>
                  </a:cubicBezTo>
                  <a:lnTo>
                    <a:pt x="4324350" y="938212"/>
                  </a:lnTo>
                  <a:lnTo>
                    <a:pt x="4219575" y="1171575"/>
                  </a:lnTo>
                  <a:lnTo>
                    <a:pt x="4205288" y="1352550"/>
                  </a:lnTo>
                  <a:lnTo>
                    <a:pt x="4324350" y="1485900"/>
                  </a:lnTo>
                  <a:lnTo>
                    <a:pt x="4276725" y="1681162"/>
                  </a:lnTo>
                  <a:lnTo>
                    <a:pt x="4238625" y="1857375"/>
                  </a:lnTo>
                  <a:lnTo>
                    <a:pt x="4100513" y="1843087"/>
                  </a:lnTo>
                  <a:lnTo>
                    <a:pt x="4000500" y="1957387"/>
                  </a:lnTo>
                  <a:lnTo>
                    <a:pt x="4024313" y="2028825"/>
                  </a:lnTo>
                  <a:lnTo>
                    <a:pt x="3943350" y="2095500"/>
                  </a:lnTo>
                  <a:lnTo>
                    <a:pt x="3805238" y="1924050"/>
                  </a:lnTo>
                  <a:lnTo>
                    <a:pt x="3738563" y="1809750"/>
                  </a:lnTo>
                  <a:cubicBezTo>
                    <a:pt x="3732213" y="1822450"/>
                    <a:pt x="3725106" y="1834799"/>
                    <a:pt x="3719513" y="1847850"/>
                  </a:cubicBezTo>
                  <a:cubicBezTo>
                    <a:pt x="3715558" y="1857078"/>
                    <a:pt x="3714066" y="1867250"/>
                    <a:pt x="3709988" y="1876425"/>
                  </a:cubicBezTo>
                  <a:cubicBezTo>
                    <a:pt x="3707663" y="1881655"/>
                    <a:pt x="3703023" y="1885593"/>
                    <a:pt x="3700463" y="1890712"/>
                  </a:cubicBezTo>
                  <a:cubicBezTo>
                    <a:pt x="3698218" y="1895202"/>
                    <a:pt x="3699557" y="1901786"/>
                    <a:pt x="3695700" y="1905000"/>
                  </a:cubicBezTo>
                  <a:cubicBezTo>
                    <a:pt x="3689133" y="1910473"/>
                    <a:pt x="3679825" y="1911350"/>
                    <a:pt x="3671888" y="1914525"/>
                  </a:cubicBezTo>
                  <a:cubicBezTo>
                    <a:pt x="3667125" y="1919287"/>
                    <a:pt x="3662774" y="1924500"/>
                    <a:pt x="3657600" y="1928812"/>
                  </a:cubicBezTo>
                  <a:cubicBezTo>
                    <a:pt x="3653203" y="1932476"/>
                    <a:pt x="3647360" y="1934290"/>
                    <a:pt x="3643313" y="1938337"/>
                  </a:cubicBezTo>
                  <a:cubicBezTo>
                    <a:pt x="3639266" y="1942385"/>
                    <a:pt x="3637452" y="1948228"/>
                    <a:pt x="3633788" y="1952625"/>
                  </a:cubicBezTo>
                  <a:cubicBezTo>
                    <a:pt x="3604026" y="1988339"/>
                    <a:pt x="3635236" y="1940684"/>
                    <a:pt x="3605213" y="1990725"/>
                  </a:cubicBezTo>
                  <a:cubicBezTo>
                    <a:pt x="3603625" y="1997075"/>
                    <a:pt x="3602331" y="2003506"/>
                    <a:pt x="3600450" y="2009775"/>
                  </a:cubicBezTo>
                  <a:cubicBezTo>
                    <a:pt x="3597565" y="2019392"/>
                    <a:pt x="3590925" y="2028310"/>
                    <a:pt x="3590925" y="2038350"/>
                  </a:cubicBezTo>
                  <a:lnTo>
                    <a:pt x="3590925" y="2066925"/>
                  </a:lnTo>
                  <a:lnTo>
                    <a:pt x="3676650" y="2119312"/>
                  </a:lnTo>
                  <a:lnTo>
                    <a:pt x="3790950" y="2233612"/>
                  </a:lnTo>
                  <a:lnTo>
                    <a:pt x="3819525" y="2286000"/>
                  </a:lnTo>
                  <a:cubicBezTo>
                    <a:pt x="3817938" y="2300287"/>
                    <a:pt x="3817126" y="2314682"/>
                    <a:pt x="3814763" y="2328862"/>
                  </a:cubicBezTo>
                  <a:cubicBezTo>
                    <a:pt x="3813938" y="2333814"/>
                    <a:pt x="3813136" y="2339230"/>
                    <a:pt x="3810000" y="2343150"/>
                  </a:cubicBezTo>
                  <a:cubicBezTo>
                    <a:pt x="3806424" y="2347619"/>
                    <a:pt x="3800475" y="2349500"/>
                    <a:pt x="3795713" y="2352675"/>
                  </a:cubicBezTo>
                  <a:cubicBezTo>
                    <a:pt x="3784943" y="2368830"/>
                    <a:pt x="3790235" y="2362915"/>
                    <a:pt x="3781425" y="2371725"/>
                  </a:cubicBezTo>
                  <a:lnTo>
                    <a:pt x="3805238" y="2414587"/>
                  </a:lnTo>
                  <a:lnTo>
                    <a:pt x="3843338" y="2552700"/>
                  </a:lnTo>
                  <a:lnTo>
                    <a:pt x="3971925" y="2719387"/>
                  </a:lnTo>
                  <a:lnTo>
                    <a:pt x="3867150" y="2714625"/>
                  </a:lnTo>
                  <a:cubicBezTo>
                    <a:pt x="3854450" y="2708275"/>
                    <a:pt x="3841976" y="2701451"/>
                    <a:pt x="3829050" y="2695575"/>
                  </a:cubicBezTo>
                  <a:cubicBezTo>
                    <a:pt x="3798067" y="2681491"/>
                    <a:pt x="3831786" y="2702160"/>
                    <a:pt x="3800475" y="2681287"/>
                  </a:cubicBezTo>
                  <a:cubicBezTo>
                    <a:pt x="3784600" y="2682875"/>
                    <a:pt x="3765613" y="2676477"/>
                    <a:pt x="3752850" y="2686050"/>
                  </a:cubicBezTo>
                  <a:cubicBezTo>
                    <a:pt x="3750469" y="2687836"/>
                    <a:pt x="3740261" y="2738623"/>
                    <a:pt x="3738563" y="2747962"/>
                  </a:cubicBezTo>
                  <a:cubicBezTo>
                    <a:pt x="3736836" y="2757463"/>
                    <a:pt x="3741017" y="2770122"/>
                    <a:pt x="3733800" y="2776537"/>
                  </a:cubicBezTo>
                  <a:cubicBezTo>
                    <a:pt x="3724016" y="2785234"/>
                    <a:pt x="3695700" y="2786062"/>
                    <a:pt x="3695700" y="2786062"/>
                  </a:cubicBezTo>
                  <a:lnTo>
                    <a:pt x="3667125" y="2814637"/>
                  </a:lnTo>
                  <a:cubicBezTo>
                    <a:pt x="3653271" y="2828492"/>
                    <a:pt x="3654454" y="2832211"/>
                    <a:pt x="3633788" y="2833687"/>
                  </a:cubicBezTo>
                  <a:cubicBezTo>
                    <a:pt x="3595752" y="2836404"/>
                    <a:pt x="3557588" y="2836862"/>
                    <a:pt x="3519488" y="2838450"/>
                  </a:cubicBezTo>
                  <a:cubicBezTo>
                    <a:pt x="3517900" y="2844800"/>
                    <a:pt x="3514725" y="2850955"/>
                    <a:pt x="3514725" y="2857500"/>
                  </a:cubicBezTo>
                  <a:cubicBezTo>
                    <a:pt x="3514725" y="2866270"/>
                    <a:pt x="3518386" y="2893397"/>
                    <a:pt x="3524250" y="2905125"/>
                  </a:cubicBezTo>
                  <a:cubicBezTo>
                    <a:pt x="3526810" y="2910244"/>
                    <a:pt x="3530600" y="2914650"/>
                    <a:pt x="3533775" y="2919412"/>
                  </a:cubicBezTo>
                  <a:cubicBezTo>
                    <a:pt x="3534526" y="2929929"/>
                    <a:pt x="3532477" y="2978730"/>
                    <a:pt x="3543300" y="3000375"/>
                  </a:cubicBezTo>
                  <a:cubicBezTo>
                    <a:pt x="3544304" y="3002383"/>
                    <a:pt x="3546475" y="3003550"/>
                    <a:pt x="3548063" y="3005137"/>
                  </a:cubicBezTo>
                  <a:lnTo>
                    <a:pt x="3048000" y="3186112"/>
                  </a:lnTo>
                  <a:cubicBezTo>
                    <a:pt x="3038475" y="3197225"/>
                    <a:pt x="3028568" y="3208021"/>
                    <a:pt x="3019425" y="3219450"/>
                  </a:cubicBezTo>
                  <a:cubicBezTo>
                    <a:pt x="3015849" y="3223919"/>
                    <a:pt x="3011406" y="3228215"/>
                    <a:pt x="3009900" y="3233737"/>
                  </a:cubicBezTo>
                  <a:cubicBezTo>
                    <a:pt x="3006532" y="3246085"/>
                    <a:pt x="3009443" y="3259784"/>
                    <a:pt x="3005138" y="3271837"/>
                  </a:cubicBezTo>
                  <a:cubicBezTo>
                    <a:pt x="2999364" y="3288006"/>
                    <a:pt x="2982988" y="3306725"/>
                    <a:pt x="2967038" y="3314700"/>
                  </a:cubicBezTo>
                  <a:cubicBezTo>
                    <a:pt x="2961184" y="3317627"/>
                    <a:pt x="2954338" y="3317875"/>
                    <a:pt x="2947988" y="3319462"/>
                  </a:cubicBezTo>
                  <a:cubicBezTo>
                    <a:pt x="2941638" y="3324225"/>
                    <a:pt x="2934965" y="3328584"/>
                    <a:pt x="2928938" y="3333750"/>
                  </a:cubicBezTo>
                  <a:cubicBezTo>
                    <a:pt x="2915268" y="3345467"/>
                    <a:pt x="2907077" y="3357504"/>
                    <a:pt x="2895600" y="3371850"/>
                  </a:cubicBezTo>
                  <a:cubicBezTo>
                    <a:pt x="2884791" y="3425893"/>
                    <a:pt x="2901781" y="3423402"/>
                    <a:pt x="2867025" y="3414712"/>
                  </a:cubicBezTo>
                  <a:lnTo>
                    <a:pt x="2838450" y="3395662"/>
                  </a:lnTo>
                  <a:cubicBezTo>
                    <a:pt x="2833688" y="3392487"/>
                    <a:pt x="2829593" y="3387947"/>
                    <a:pt x="2824163" y="3386137"/>
                  </a:cubicBezTo>
                  <a:cubicBezTo>
                    <a:pt x="2784501" y="3372918"/>
                    <a:pt x="2813416" y="3381180"/>
                    <a:pt x="2728913" y="3376612"/>
                  </a:cubicBezTo>
                  <a:lnTo>
                    <a:pt x="2633663" y="3371850"/>
                  </a:lnTo>
                  <a:cubicBezTo>
                    <a:pt x="2573833" y="3351905"/>
                    <a:pt x="2654039" y="3377149"/>
                    <a:pt x="2486025" y="3362325"/>
                  </a:cubicBezTo>
                  <a:cubicBezTo>
                    <a:pt x="2463617" y="3360348"/>
                    <a:pt x="2457307" y="3350365"/>
                    <a:pt x="2438400" y="3343275"/>
                  </a:cubicBezTo>
                  <a:cubicBezTo>
                    <a:pt x="2432271" y="3340977"/>
                    <a:pt x="2425700" y="3340100"/>
                    <a:pt x="2419350" y="3338512"/>
                  </a:cubicBezTo>
                  <a:cubicBezTo>
                    <a:pt x="2414588" y="3335337"/>
                    <a:pt x="2410182" y="3331547"/>
                    <a:pt x="2405063" y="3328987"/>
                  </a:cubicBezTo>
                  <a:cubicBezTo>
                    <a:pt x="2393342" y="3323127"/>
                    <a:pt x="2373168" y="3321290"/>
                    <a:pt x="2362200" y="3319462"/>
                  </a:cubicBezTo>
                  <a:cubicBezTo>
                    <a:pt x="2349500" y="3321050"/>
                    <a:pt x="2336571" y="3321347"/>
                    <a:pt x="2324100" y="3324225"/>
                  </a:cubicBezTo>
                  <a:cubicBezTo>
                    <a:pt x="2315770" y="3326147"/>
                    <a:pt x="2308398" y="3331047"/>
                    <a:pt x="2300288" y="3333750"/>
                  </a:cubicBezTo>
                  <a:cubicBezTo>
                    <a:pt x="2294078" y="3335820"/>
                    <a:pt x="2287532" y="3336714"/>
                    <a:pt x="2281238" y="3338512"/>
                  </a:cubicBezTo>
                  <a:cubicBezTo>
                    <a:pt x="2276411" y="3339891"/>
                    <a:pt x="2271713" y="3341687"/>
                    <a:pt x="2266950" y="3343275"/>
                  </a:cubicBezTo>
                  <a:cubicBezTo>
                    <a:pt x="2260600" y="3341687"/>
                    <a:pt x="2254340" y="3339683"/>
                    <a:pt x="2247900" y="3338512"/>
                  </a:cubicBezTo>
                  <a:cubicBezTo>
                    <a:pt x="2236856" y="3336504"/>
                    <a:pt x="2225501" y="3336274"/>
                    <a:pt x="2214563" y="3333750"/>
                  </a:cubicBezTo>
                  <a:cubicBezTo>
                    <a:pt x="2204780" y="3331492"/>
                    <a:pt x="2195513" y="3327400"/>
                    <a:pt x="2185988" y="3324225"/>
                  </a:cubicBezTo>
                  <a:cubicBezTo>
                    <a:pt x="2174660" y="3320449"/>
                    <a:pt x="2164616" y="3316694"/>
                    <a:pt x="2152650" y="3314700"/>
                  </a:cubicBezTo>
                  <a:cubicBezTo>
                    <a:pt x="2149518" y="3314178"/>
                    <a:pt x="2146300" y="3314700"/>
                    <a:pt x="2143125" y="3314700"/>
                  </a:cubicBezTo>
                  <a:lnTo>
                    <a:pt x="1428750" y="2919412"/>
                  </a:lnTo>
                  <a:lnTo>
                    <a:pt x="1395947" y="2873518"/>
                  </a:lnTo>
                  <a:lnTo>
                    <a:pt x="1396053" y="2872655"/>
                  </a:lnTo>
                  <a:cubicBezTo>
                    <a:pt x="1397245" y="2866604"/>
                    <a:pt x="1399283" y="2860793"/>
                    <a:pt x="1403350" y="2855912"/>
                  </a:cubicBezTo>
                  <a:cubicBezTo>
                    <a:pt x="1405793" y="2852981"/>
                    <a:pt x="1410023" y="2852097"/>
                    <a:pt x="1412875" y="2849562"/>
                  </a:cubicBezTo>
                  <a:cubicBezTo>
                    <a:pt x="1419587" y="2843596"/>
                    <a:pt x="1431925" y="2830512"/>
                    <a:pt x="1431925" y="2830512"/>
                  </a:cubicBezTo>
                  <a:cubicBezTo>
                    <a:pt x="1432983" y="2827337"/>
                    <a:pt x="1433414" y="2823878"/>
                    <a:pt x="1435100" y="2820987"/>
                  </a:cubicBezTo>
                  <a:cubicBezTo>
                    <a:pt x="1440868" y="2811099"/>
                    <a:pt x="1450530" y="2803272"/>
                    <a:pt x="1454150" y="2792412"/>
                  </a:cubicBezTo>
                  <a:cubicBezTo>
                    <a:pt x="1455208" y="2789237"/>
                    <a:pt x="1455828" y="2785880"/>
                    <a:pt x="1457325" y="2782887"/>
                  </a:cubicBezTo>
                  <a:cubicBezTo>
                    <a:pt x="1473268" y="2751001"/>
                    <a:pt x="1453326" y="2799626"/>
                    <a:pt x="1470025" y="2760662"/>
                  </a:cubicBezTo>
                  <a:cubicBezTo>
                    <a:pt x="1473529" y="2752487"/>
                    <a:pt x="1474560" y="2749642"/>
                    <a:pt x="1474464" y="2749317"/>
                  </a:cubicBezTo>
                  <a:lnTo>
                    <a:pt x="1472281" y="2752861"/>
                  </a:lnTo>
                  <a:lnTo>
                    <a:pt x="1473669" y="2750144"/>
                  </a:lnTo>
                  <a:cubicBezTo>
                    <a:pt x="1475013" y="2747488"/>
                    <a:pt x="1476918" y="2743702"/>
                    <a:pt x="1479550" y="2738437"/>
                  </a:cubicBezTo>
                  <a:cubicBezTo>
                    <a:pt x="1480608" y="2733145"/>
                    <a:pt x="1481416" y="2727797"/>
                    <a:pt x="1482725" y="2722562"/>
                  </a:cubicBezTo>
                  <a:cubicBezTo>
                    <a:pt x="1483537" y="2719315"/>
                    <a:pt x="1484981" y="2716255"/>
                    <a:pt x="1485900" y="2713037"/>
                  </a:cubicBezTo>
                  <a:cubicBezTo>
                    <a:pt x="1487099" y="2708841"/>
                    <a:pt x="1488017" y="2704570"/>
                    <a:pt x="1489075" y="2700337"/>
                  </a:cubicBezTo>
                  <a:cubicBezTo>
                    <a:pt x="1488017" y="2678112"/>
                    <a:pt x="1487607" y="2655847"/>
                    <a:pt x="1485900" y="2633662"/>
                  </a:cubicBezTo>
                  <a:cubicBezTo>
                    <a:pt x="1482805" y="2593424"/>
                    <a:pt x="1470337" y="2645517"/>
                    <a:pt x="1485900" y="2563812"/>
                  </a:cubicBezTo>
                  <a:cubicBezTo>
                    <a:pt x="1488246" y="2551497"/>
                    <a:pt x="1496215" y="2550849"/>
                    <a:pt x="1504950" y="2547937"/>
                  </a:cubicBezTo>
                  <a:cubicBezTo>
                    <a:pt x="1508125" y="2544762"/>
                    <a:pt x="1510739" y="2540903"/>
                    <a:pt x="1514475" y="2538412"/>
                  </a:cubicBezTo>
                  <a:cubicBezTo>
                    <a:pt x="1517330" y="2536509"/>
                    <a:pt x="1534848" y="2532591"/>
                    <a:pt x="1536700" y="2532062"/>
                  </a:cubicBezTo>
                  <a:cubicBezTo>
                    <a:pt x="1539918" y="2531143"/>
                    <a:pt x="1542884" y="2529089"/>
                    <a:pt x="1546225" y="2528887"/>
                  </a:cubicBezTo>
                  <a:cubicBezTo>
                    <a:pt x="1577934" y="2526965"/>
                    <a:pt x="1609725" y="2526770"/>
                    <a:pt x="1641475" y="2525712"/>
                  </a:cubicBezTo>
                  <a:cubicBezTo>
                    <a:pt x="1648991" y="2523207"/>
                    <a:pt x="1659212" y="2519362"/>
                    <a:pt x="1666875" y="2519362"/>
                  </a:cubicBezTo>
                  <a:cubicBezTo>
                    <a:pt x="1680674" y="2519362"/>
                    <a:pt x="1694392" y="2521479"/>
                    <a:pt x="1708150" y="2522537"/>
                  </a:cubicBezTo>
                  <a:cubicBezTo>
                    <a:pt x="1711325" y="2525712"/>
                    <a:pt x="1713939" y="2529571"/>
                    <a:pt x="1717675" y="2532062"/>
                  </a:cubicBezTo>
                  <a:cubicBezTo>
                    <a:pt x="1726959" y="2538251"/>
                    <a:pt x="1736111" y="2533905"/>
                    <a:pt x="1746250" y="2532062"/>
                  </a:cubicBezTo>
                  <a:cubicBezTo>
                    <a:pt x="1751559" y="2531097"/>
                    <a:pt x="1756833" y="2529945"/>
                    <a:pt x="1762125" y="2528887"/>
                  </a:cubicBezTo>
                  <a:lnTo>
                    <a:pt x="1776548" y="2518036"/>
                  </a:lnTo>
                  <a:lnTo>
                    <a:pt x="1773004" y="2520908"/>
                  </a:lnTo>
                  <a:cubicBezTo>
                    <a:pt x="1773368" y="2520764"/>
                    <a:pt x="1776225" y="2518815"/>
                    <a:pt x="1784350" y="2513012"/>
                  </a:cubicBezTo>
                  <a:cubicBezTo>
                    <a:pt x="1788656" y="2509936"/>
                    <a:pt x="1792456" y="2506112"/>
                    <a:pt x="1797050" y="2503487"/>
                  </a:cubicBezTo>
                  <a:cubicBezTo>
                    <a:pt x="1799956" y="2501827"/>
                    <a:pt x="1803441" y="2501487"/>
                    <a:pt x="1806575" y="2500312"/>
                  </a:cubicBezTo>
                  <a:cubicBezTo>
                    <a:pt x="1840705" y="2487513"/>
                    <a:pt x="1804321" y="2499288"/>
                    <a:pt x="1838325" y="2490787"/>
                  </a:cubicBezTo>
                  <a:cubicBezTo>
                    <a:pt x="1841572" y="2489975"/>
                    <a:pt x="1844583" y="2488338"/>
                    <a:pt x="1847850" y="2487612"/>
                  </a:cubicBezTo>
                  <a:cubicBezTo>
                    <a:pt x="1854134" y="2486215"/>
                    <a:pt x="1860616" y="2485834"/>
                    <a:pt x="1866900" y="2484437"/>
                  </a:cubicBezTo>
                  <a:cubicBezTo>
                    <a:pt x="1870167" y="2483711"/>
                    <a:pt x="1873143" y="2481918"/>
                    <a:pt x="1876425" y="2481262"/>
                  </a:cubicBezTo>
                  <a:cubicBezTo>
                    <a:pt x="1883763" y="2479794"/>
                    <a:pt x="1891268" y="2479317"/>
                    <a:pt x="1898650" y="2478087"/>
                  </a:cubicBezTo>
                  <a:cubicBezTo>
                    <a:pt x="1903973" y="2477200"/>
                    <a:pt x="1909233" y="2475970"/>
                    <a:pt x="1914525" y="2474912"/>
                  </a:cubicBezTo>
                  <a:cubicBezTo>
                    <a:pt x="1922992" y="2475970"/>
                    <a:pt x="1931721" y="2475743"/>
                    <a:pt x="1939925" y="2478087"/>
                  </a:cubicBezTo>
                  <a:cubicBezTo>
                    <a:pt x="1954099" y="2482137"/>
                    <a:pt x="1966899" y="2490387"/>
                    <a:pt x="1981200" y="2493962"/>
                  </a:cubicBezTo>
                  <a:lnTo>
                    <a:pt x="1993900" y="2497137"/>
                  </a:lnTo>
                  <a:cubicBezTo>
                    <a:pt x="1999192" y="2496079"/>
                    <a:pt x="2005384" y="2497099"/>
                    <a:pt x="2009775" y="2493962"/>
                  </a:cubicBezTo>
                  <a:cubicBezTo>
                    <a:pt x="2019922" y="2486714"/>
                    <a:pt x="2019230" y="2446687"/>
                    <a:pt x="2019300" y="2446337"/>
                  </a:cubicBezTo>
                  <a:cubicBezTo>
                    <a:pt x="2020228" y="2441696"/>
                    <a:pt x="2023533" y="2437870"/>
                    <a:pt x="2025650" y="2433637"/>
                  </a:cubicBezTo>
                  <a:cubicBezTo>
                    <a:pt x="2026708" y="2426229"/>
                    <a:pt x="2027524" y="2418782"/>
                    <a:pt x="2028825" y="2411412"/>
                  </a:cubicBezTo>
                  <a:cubicBezTo>
                    <a:pt x="2035002" y="2376410"/>
                    <a:pt x="2035296" y="2386328"/>
                    <a:pt x="2038350" y="2354262"/>
                  </a:cubicBezTo>
                  <a:cubicBezTo>
                    <a:pt x="2039658" y="2340525"/>
                    <a:pt x="2037631" y="2326225"/>
                    <a:pt x="2041525" y="2312987"/>
                  </a:cubicBezTo>
                  <a:cubicBezTo>
                    <a:pt x="2043857" y="2305057"/>
                    <a:pt x="2069339" y="2290648"/>
                    <a:pt x="2073275" y="2287587"/>
                  </a:cubicBezTo>
                  <a:cubicBezTo>
                    <a:pt x="2076819" y="2284830"/>
                    <a:pt x="2079351" y="2280937"/>
                    <a:pt x="2082800" y="2278062"/>
                  </a:cubicBezTo>
                  <a:cubicBezTo>
                    <a:pt x="2101371" y="2262587"/>
                    <a:pt x="2083597" y="2283349"/>
                    <a:pt x="2101850" y="2259012"/>
                  </a:cubicBezTo>
                  <a:cubicBezTo>
                    <a:pt x="2100792" y="2245254"/>
                    <a:pt x="2102022" y="2231124"/>
                    <a:pt x="2098675" y="2217737"/>
                  </a:cubicBezTo>
                  <a:cubicBezTo>
                    <a:pt x="2097586" y="2213381"/>
                    <a:pt x="2091760" y="2211866"/>
                    <a:pt x="2089150" y="2208212"/>
                  </a:cubicBezTo>
                  <a:cubicBezTo>
                    <a:pt x="2086399" y="2204361"/>
                    <a:pt x="2085514" y="2199389"/>
                    <a:pt x="2082800" y="2195512"/>
                  </a:cubicBezTo>
                  <a:cubicBezTo>
                    <a:pt x="2074050" y="2183012"/>
                    <a:pt x="2067338" y="2176875"/>
                    <a:pt x="2057400" y="2166937"/>
                  </a:cubicBezTo>
                  <a:cubicBezTo>
                    <a:pt x="2056342" y="2162704"/>
                    <a:pt x="2057311" y="2157323"/>
                    <a:pt x="2054225" y="2154237"/>
                  </a:cubicBezTo>
                  <a:cubicBezTo>
                    <a:pt x="2050195" y="2150207"/>
                    <a:pt x="2043797" y="2149563"/>
                    <a:pt x="2038350" y="2147887"/>
                  </a:cubicBezTo>
                  <a:cubicBezTo>
                    <a:pt x="2029587" y="2145191"/>
                    <a:pt x="2007983" y="2140180"/>
                    <a:pt x="1997075" y="2138362"/>
                  </a:cubicBezTo>
                  <a:cubicBezTo>
                    <a:pt x="1989693" y="2137132"/>
                    <a:pt x="1982258" y="2136245"/>
                    <a:pt x="1974850" y="2135187"/>
                  </a:cubicBezTo>
                  <a:cubicBezTo>
                    <a:pt x="1971675" y="2134129"/>
                    <a:pt x="1968372" y="2133397"/>
                    <a:pt x="1965325" y="2132012"/>
                  </a:cubicBezTo>
                  <a:cubicBezTo>
                    <a:pt x="1944068" y="2122350"/>
                    <a:pt x="1941743" y="2120403"/>
                    <a:pt x="1924050" y="2109787"/>
                  </a:cubicBezTo>
                  <a:cubicBezTo>
                    <a:pt x="1921933" y="2103437"/>
                    <a:pt x="1917700" y="2097087"/>
                    <a:pt x="1924050" y="2090737"/>
                  </a:cubicBezTo>
                  <a:cubicBezTo>
                    <a:pt x="1926417" y="2088370"/>
                    <a:pt x="1930400" y="2088620"/>
                    <a:pt x="1933575" y="2087562"/>
                  </a:cubicBezTo>
                  <a:cubicBezTo>
                    <a:pt x="1936750" y="2083329"/>
                    <a:pt x="1940530" y="2079488"/>
                    <a:pt x="1943100" y="2074862"/>
                  </a:cubicBezTo>
                  <a:cubicBezTo>
                    <a:pt x="1945868" y="2069880"/>
                    <a:pt x="1946429" y="2063820"/>
                    <a:pt x="1949450" y="2058987"/>
                  </a:cubicBezTo>
                  <a:cubicBezTo>
                    <a:pt x="1951830" y="2055179"/>
                    <a:pt x="1955800" y="2052637"/>
                    <a:pt x="1958975" y="2049462"/>
                  </a:cubicBezTo>
                  <a:cubicBezTo>
                    <a:pt x="1961885" y="2037823"/>
                    <a:pt x="1964127" y="2030287"/>
                    <a:pt x="1965325" y="2017712"/>
                  </a:cubicBezTo>
                  <a:cubicBezTo>
                    <a:pt x="1966833" y="2001873"/>
                    <a:pt x="1966250" y="1985837"/>
                    <a:pt x="1968500" y="1970087"/>
                  </a:cubicBezTo>
                  <a:cubicBezTo>
                    <a:pt x="1969447" y="1963461"/>
                    <a:pt x="1974850" y="1951037"/>
                    <a:pt x="1974850" y="1951037"/>
                  </a:cubicBezTo>
                  <a:cubicBezTo>
                    <a:pt x="1972685" y="1920722"/>
                    <a:pt x="1967483" y="1892007"/>
                    <a:pt x="1978025" y="1862137"/>
                  </a:cubicBezTo>
                  <a:cubicBezTo>
                    <a:pt x="1979786" y="1857147"/>
                    <a:pt x="1986419" y="1855688"/>
                    <a:pt x="1990725" y="1852612"/>
                  </a:cubicBezTo>
                  <a:cubicBezTo>
                    <a:pt x="2001496" y="1844918"/>
                    <a:pt x="1997979" y="1847019"/>
                    <a:pt x="2009775" y="1843087"/>
                  </a:cubicBezTo>
                  <a:cubicBezTo>
                    <a:pt x="2015067" y="1844145"/>
                    <a:pt x="2020719" y="1844070"/>
                    <a:pt x="2025650" y="1846262"/>
                  </a:cubicBezTo>
                  <a:cubicBezTo>
                    <a:pt x="2030486" y="1848411"/>
                    <a:pt x="2033756" y="1853162"/>
                    <a:pt x="2038350" y="1855787"/>
                  </a:cubicBezTo>
                  <a:cubicBezTo>
                    <a:pt x="2041256" y="1857447"/>
                    <a:pt x="2044700" y="1857904"/>
                    <a:pt x="2047875" y="1858962"/>
                  </a:cubicBezTo>
                  <a:cubicBezTo>
                    <a:pt x="2057400" y="1857904"/>
                    <a:pt x="2066978" y="1857244"/>
                    <a:pt x="2076450" y="1855787"/>
                  </a:cubicBezTo>
                  <a:cubicBezTo>
                    <a:pt x="2080763" y="1855123"/>
                    <a:pt x="2084902" y="1851613"/>
                    <a:pt x="2089150" y="1852612"/>
                  </a:cubicBezTo>
                  <a:cubicBezTo>
                    <a:pt x="2103499" y="1855988"/>
                    <a:pt x="2116794" y="1862874"/>
                    <a:pt x="2130425" y="1868487"/>
                  </a:cubicBezTo>
                  <a:cubicBezTo>
                    <a:pt x="2134802" y="1870289"/>
                    <a:pt x="2139274" y="1872086"/>
                    <a:pt x="2143125" y="1874837"/>
                  </a:cubicBezTo>
                  <a:cubicBezTo>
                    <a:pt x="2146779" y="1877447"/>
                    <a:pt x="2149475" y="1881187"/>
                    <a:pt x="2152650" y="1884362"/>
                  </a:cubicBezTo>
                  <a:cubicBezTo>
                    <a:pt x="2153708" y="1887537"/>
                    <a:pt x="2153969" y="1891102"/>
                    <a:pt x="2155825" y="1893887"/>
                  </a:cubicBezTo>
                  <a:cubicBezTo>
                    <a:pt x="2160247" y="1900520"/>
                    <a:pt x="2172181" y="1908535"/>
                    <a:pt x="2178050" y="1912937"/>
                  </a:cubicBezTo>
                  <a:cubicBezTo>
                    <a:pt x="2190574" y="1911798"/>
                    <a:pt x="2217312" y="1906398"/>
                    <a:pt x="2232025" y="1912937"/>
                  </a:cubicBezTo>
                  <a:cubicBezTo>
                    <a:pt x="2236128" y="1914761"/>
                    <a:pt x="2238375" y="1919287"/>
                    <a:pt x="2241550" y="1922462"/>
                  </a:cubicBezTo>
                  <a:cubicBezTo>
                    <a:pt x="2245211" y="1933446"/>
                    <a:pt x="2248255" y="1937626"/>
                    <a:pt x="2241550" y="1951037"/>
                  </a:cubicBezTo>
                  <a:cubicBezTo>
                    <a:pt x="2239843" y="1954450"/>
                    <a:pt x="2235438" y="1955680"/>
                    <a:pt x="2232025" y="1957387"/>
                  </a:cubicBezTo>
                  <a:cubicBezTo>
                    <a:pt x="2229032" y="1958884"/>
                    <a:pt x="2225493" y="1959065"/>
                    <a:pt x="2222500" y="1960562"/>
                  </a:cubicBezTo>
                  <a:cubicBezTo>
                    <a:pt x="2197881" y="1972872"/>
                    <a:pt x="2227391" y="1962107"/>
                    <a:pt x="2203450" y="1970087"/>
                  </a:cubicBezTo>
                  <a:cubicBezTo>
                    <a:pt x="2200398" y="1975173"/>
                    <a:pt x="2189852" y="1991830"/>
                    <a:pt x="2187575" y="1998662"/>
                  </a:cubicBezTo>
                  <a:cubicBezTo>
                    <a:pt x="2185868" y="2003782"/>
                    <a:pt x="2185365" y="2009228"/>
                    <a:pt x="2184400" y="2014537"/>
                  </a:cubicBezTo>
                  <a:cubicBezTo>
                    <a:pt x="2183248" y="2020871"/>
                    <a:pt x="2184308" y="2027935"/>
                    <a:pt x="2181225" y="2033587"/>
                  </a:cubicBezTo>
                  <a:cubicBezTo>
                    <a:pt x="2173348" y="2048028"/>
                    <a:pt x="2163138" y="2050844"/>
                    <a:pt x="2149475" y="2055812"/>
                  </a:cubicBezTo>
                  <a:cubicBezTo>
                    <a:pt x="2130172" y="2062831"/>
                    <a:pt x="2136564" y="2062162"/>
                    <a:pt x="2124075" y="2062162"/>
                  </a:cubicBezTo>
                  <a:lnTo>
                    <a:pt x="2184400" y="2201862"/>
                  </a:lnTo>
                  <a:lnTo>
                    <a:pt x="2219325" y="2195512"/>
                  </a:lnTo>
                  <a:cubicBezTo>
                    <a:pt x="2223604" y="2194656"/>
                    <a:pt x="2227721" y="2193054"/>
                    <a:pt x="2232025" y="2192337"/>
                  </a:cubicBezTo>
                  <a:cubicBezTo>
                    <a:pt x="2240441" y="2190934"/>
                    <a:pt x="2249039" y="2190734"/>
                    <a:pt x="2257425" y="2189162"/>
                  </a:cubicBezTo>
                  <a:cubicBezTo>
                    <a:pt x="2266003" y="2187554"/>
                    <a:pt x="2282825" y="2182812"/>
                    <a:pt x="2282825" y="2182812"/>
                  </a:cubicBezTo>
                  <a:cubicBezTo>
                    <a:pt x="2283883" y="2177520"/>
                    <a:pt x="2290627" y="2169713"/>
                    <a:pt x="2286000" y="2166937"/>
                  </a:cubicBezTo>
                  <a:cubicBezTo>
                    <a:pt x="2275976" y="2160923"/>
                    <a:pt x="2262416" y="2166597"/>
                    <a:pt x="2251075" y="2163762"/>
                  </a:cubicBezTo>
                  <a:cubicBezTo>
                    <a:pt x="2247488" y="2162865"/>
                    <a:pt x="2217045" y="2142134"/>
                    <a:pt x="2216150" y="2141537"/>
                  </a:cubicBezTo>
                  <a:cubicBezTo>
                    <a:pt x="2215092" y="2138362"/>
                    <a:pt x="2212094" y="2135241"/>
                    <a:pt x="2212975" y="2132012"/>
                  </a:cubicBezTo>
                  <a:cubicBezTo>
                    <a:pt x="2225668" y="2085471"/>
                    <a:pt x="2221115" y="2121635"/>
                    <a:pt x="2232025" y="2097087"/>
                  </a:cubicBezTo>
                  <a:cubicBezTo>
                    <a:pt x="2234743" y="2090970"/>
                    <a:pt x="2235605" y="2084131"/>
                    <a:pt x="2238375" y="2078037"/>
                  </a:cubicBezTo>
                  <a:cubicBezTo>
                    <a:pt x="2240042" y="2074370"/>
                    <a:pt x="2250550" y="2057725"/>
                    <a:pt x="2254250" y="2052637"/>
                  </a:cubicBezTo>
                  <a:cubicBezTo>
                    <a:pt x="2260475" y="2044078"/>
                    <a:pt x="2267855" y="2036312"/>
                    <a:pt x="2273300" y="2027237"/>
                  </a:cubicBezTo>
                  <a:cubicBezTo>
                    <a:pt x="2276475" y="2021945"/>
                    <a:pt x="2279512" y="2016568"/>
                    <a:pt x="2282825" y="2011362"/>
                  </a:cubicBezTo>
                  <a:cubicBezTo>
                    <a:pt x="2286922" y="2004923"/>
                    <a:pt x="2295525" y="1992312"/>
                    <a:pt x="2295525" y="1992312"/>
                  </a:cubicBezTo>
                  <a:cubicBezTo>
                    <a:pt x="2296583" y="1987020"/>
                    <a:pt x="2298069" y="1981796"/>
                    <a:pt x="2298700" y="1976437"/>
                  </a:cubicBezTo>
                  <a:cubicBezTo>
                    <a:pt x="2299239" y="1971856"/>
                    <a:pt x="2295690" y="1937766"/>
                    <a:pt x="2308225" y="1928812"/>
                  </a:cubicBezTo>
                  <a:cubicBezTo>
                    <a:pt x="2314663" y="1924214"/>
                    <a:pt x="2328898" y="1921262"/>
                    <a:pt x="2336800" y="1919287"/>
                  </a:cubicBezTo>
                  <a:cubicBezTo>
                    <a:pt x="2364317" y="1920345"/>
                    <a:pt x="2391933" y="1919892"/>
                    <a:pt x="2419350" y="1922462"/>
                  </a:cubicBezTo>
                  <a:cubicBezTo>
                    <a:pt x="2426569" y="1923139"/>
                    <a:pt x="2446863" y="1932691"/>
                    <a:pt x="2454275" y="1935162"/>
                  </a:cubicBezTo>
                  <a:cubicBezTo>
                    <a:pt x="2471898" y="1941036"/>
                    <a:pt x="2475802" y="1941372"/>
                    <a:pt x="2492375" y="1944687"/>
                  </a:cubicBezTo>
                  <a:cubicBezTo>
                    <a:pt x="2525404" y="1977716"/>
                    <a:pt x="2481728" y="1932795"/>
                    <a:pt x="2508250" y="1963737"/>
                  </a:cubicBezTo>
                  <a:cubicBezTo>
                    <a:pt x="2518515" y="1975713"/>
                    <a:pt x="2519240" y="1975297"/>
                    <a:pt x="2530475" y="1982787"/>
                  </a:cubicBezTo>
                  <a:cubicBezTo>
                    <a:pt x="2532592" y="1985962"/>
                    <a:pt x="2534127" y="1989614"/>
                    <a:pt x="2536825" y="1992312"/>
                  </a:cubicBezTo>
                  <a:cubicBezTo>
                    <a:pt x="2539523" y="1995010"/>
                    <a:pt x="2543966" y="1995682"/>
                    <a:pt x="2546350" y="1998662"/>
                  </a:cubicBezTo>
                  <a:cubicBezTo>
                    <a:pt x="2548441" y="2001275"/>
                    <a:pt x="2549525" y="2008187"/>
                    <a:pt x="2549525" y="2008187"/>
                  </a:cubicBezTo>
                  <a:lnTo>
                    <a:pt x="2600325" y="2065337"/>
                  </a:lnTo>
                  <a:lnTo>
                    <a:pt x="2682875" y="2062162"/>
                  </a:lnTo>
                  <a:cubicBezTo>
                    <a:pt x="2676525" y="2053695"/>
                    <a:pt x="2665638" y="2047189"/>
                    <a:pt x="2663825" y="2036762"/>
                  </a:cubicBezTo>
                  <a:cubicBezTo>
                    <a:pt x="2661338" y="2022465"/>
                    <a:pt x="2668855" y="1994415"/>
                    <a:pt x="2673350" y="1976437"/>
                  </a:cubicBezTo>
                  <a:cubicBezTo>
                    <a:pt x="2672292" y="1953154"/>
                    <a:pt x="2671725" y="1929843"/>
                    <a:pt x="2670175" y="1906587"/>
                  </a:cubicBezTo>
                  <a:cubicBezTo>
                    <a:pt x="2669607" y="1898073"/>
                    <a:pt x="2669069" y="1889465"/>
                    <a:pt x="2667000" y="1881187"/>
                  </a:cubicBezTo>
                  <a:cubicBezTo>
                    <a:pt x="2665852" y="1876595"/>
                    <a:pt x="2662312" y="1872919"/>
                    <a:pt x="2660650" y="1868487"/>
                  </a:cubicBezTo>
                  <a:cubicBezTo>
                    <a:pt x="2659118" y="1864401"/>
                    <a:pt x="2660011" y="1859338"/>
                    <a:pt x="2657475" y="1855787"/>
                  </a:cubicBezTo>
                  <a:cubicBezTo>
                    <a:pt x="2635387" y="1824864"/>
                    <a:pt x="2652279" y="1864444"/>
                    <a:pt x="2638425" y="1836737"/>
                  </a:cubicBezTo>
                  <a:cubicBezTo>
                    <a:pt x="2637952" y="1835790"/>
                    <a:pt x="2638425" y="1834620"/>
                    <a:pt x="2638425" y="1833562"/>
                  </a:cubicBezTo>
                  <a:lnTo>
                    <a:pt x="2406650" y="1751012"/>
                  </a:lnTo>
                  <a:cubicBezTo>
                    <a:pt x="2413586" y="1739914"/>
                    <a:pt x="2429272" y="1713656"/>
                    <a:pt x="2438400" y="1703387"/>
                  </a:cubicBezTo>
                  <a:cubicBezTo>
                    <a:pt x="2440935" y="1700535"/>
                    <a:pt x="2444750" y="1699154"/>
                    <a:pt x="2447925" y="1697037"/>
                  </a:cubicBezTo>
                  <a:cubicBezTo>
                    <a:pt x="2450042" y="1692804"/>
                    <a:pt x="2453960" y="1689060"/>
                    <a:pt x="2454275" y="1684337"/>
                  </a:cubicBezTo>
                  <a:cubicBezTo>
                    <a:pt x="2455053" y="1672673"/>
                    <a:pt x="2453254" y="1660901"/>
                    <a:pt x="2451100" y="1649412"/>
                  </a:cubicBezTo>
                  <a:cubicBezTo>
                    <a:pt x="2449574" y="1641272"/>
                    <a:pt x="2441833" y="1628561"/>
                    <a:pt x="2438400" y="1620837"/>
                  </a:cubicBezTo>
                  <a:cubicBezTo>
                    <a:pt x="2436085" y="1615629"/>
                    <a:pt x="2434051" y="1610298"/>
                    <a:pt x="2432050" y="1604962"/>
                  </a:cubicBezTo>
                  <a:cubicBezTo>
                    <a:pt x="2430875" y="1601828"/>
                    <a:pt x="2430535" y="1598343"/>
                    <a:pt x="2428875" y="1595437"/>
                  </a:cubicBezTo>
                  <a:cubicBezTo>
                    <a:pt x="2426250" y="1590843"/>
                    <a:pt x="2422525" y="1586970"/>
                    <a:pt x="2419350" y="1582737"/>
                  </a:cubicBezTo>
                  <a:cubicBezTo>
                    <a:pt x="2409546" y="1583350"/>
                    <a:pt x="2373346" y="1582526"/>
                    <a:pt x="2355850" y="1589087"/>
                  </a:cubicBezTo>
                  <a:cubicBezTo>
                    <a:pt x="2351418" y="1590749"/>
                    <a:pt x="2347383" y="1593320"/>
                    <a:pt x="2343150" y="1595437"/>
                  </a:cubicBezTo>
                  <a:cubicBezTo>
                    <a:pt x="2297888" y="1592922"/>
                    <a:pt x="2298944" y="1600566"/>
                    <a:pt x="2273300" y="1585912"/>
                  </a:cubicBezTo>
                  <a:cubicBezTo>
                    <a:pt x="2269987" y="1584019"/>
                    <a:pt x="2267188" y="1581269"/>
                    <a:pt x="2263775" y="1579562"/>
                  </a:cubicBezTo>
                  <a:cubicBezTo>
                    <a:pt x="2260782" y="1578065"/>
                    <a:pt x="2257243" y="1577884"/>
                    <a:pt x="2254250" y="1576387"/>
                  </a:cubicBezTo>
                  <a:cubicBezTo>
                    <a:pt x="2247070" y="1572797"/>
                    <a:pt x="2246015" y="1571327"/>
                    <a:pt x="2241550" y="1566862"/>
                  </a:cubicBezTo>
                  <a:lnTo>
                    <a:pt x="2143125" y="1662112"/>
                  </a:lnTo>
                  <a:cubicBezTo>
                    <a:pt x="2135717" y="1654704"/>
                    <a:pt x="2127534" y="1647996"/>
                    <a:pt x="2120900" y="1639887"/>
                  </a:cubicBezTo>
                  <a:cubicBezTo>
                    <a:pt x="2106504" y="1622292"/>
                    <a:pt x="2114550" y="1589357"/>
                    <a:pt x="2114550" y="1573212"/>
                  </a:cubicBezTo>
                  <a:lnTo>
                    <a:pt x="2139950" y="1550987"/>
                  </a:lnTo>
                  <a:lnTo>
                    <a:pt x="2257425" y="1423987"/>
                  </a:lnTo>
                  <a:cubicBezTo>
                    <a:pt x="2263775" y="1415520"/>
                    <a:pt x="2270250" y="1407146"/>
                    <a:pt x="2276475" y="1398587"/>
                  </a:cubicBezTo>
                  <a:cubicBezTo>
                    <a:pt x="2278719" y="1395501"/>
                    <a:pt x="2279894" y="1391505"/>
                    <a:pt x="2282825" y="1389062"/>
                  </a:cubicBezTo>
                  <a:cubicBezTo>
                    <a:pt x="2286461" y="1386032"/>
                    <a:pt x="2291292" y="1384829"/>
                    <a:pt x="2295525" y="1382712"/>
                  </a:cubicBezTo>
                  <a:cubicBezTo>
                    <a:pt x="2296583" y="1379537"/>
                    <a:pt x="2297525" y="1376321"/>
                    <a:pt x="2298700" y="1373187"/>
                  </a:cubicBezTo>
                  <a:cubicBezTo>
                    <a:pt x="2300701" y="1367851"/>
                    <a:pt x="2304343" y="1362967"/>
                    <a:pt x="2305050" y="1357312"/>
                  </a:cubicBezTo>
                  <a:cubicBezTo>
                    <a:pt x="2306494" y="1345760"/>
                    <a:pt x="2305050" y="1334029"/>
                    <a:pt x="2305050" y="1322387"/>
                  </a:cubicBezTo>
                  <a:lnTo>
                    <a:pt x="2390775" y="1103312"/>
                  </a:lnTo>
                  <a:cubicBezTo>
                    <a:pt x="2382308" y="1092729"/>
                    <a:pt x="2372893" y="1082839"/>
                    <a:pt x="2365375" y="1071562"/>
                  </a:cubicBezTo>
                  <a:cubicBezTo>
                    <a:pt x="2362844" y="1067766"/>
                    <a:pt x="2357855" y="1052176"/>
                    <a:pt x="2355850" y="1046162"/>
                  </a:cubicBezTo>
                  <a:cubicBezTo>
                    <a:pt x="2356908" y="1037695"/>
                    <a:pt x="2354066" y="1027705"/>
                    <a:pt x="2359025" y="1020762"/>
                  </a:cubicBezTo>
                  <a:cubicBezTo>
                    <a:pt x="2362332" y="1016132"/>
                    <a:pt x="2379546" y="1029151"/>
                    <a:pt x="2381250" y="1030287"/>
                  </a:cubicBezTo>
                  <a:cubicBezTo>
                    <a:pt x="2382308" y="1033462"/>
                    <a:pt x="2382928" y="1036819"/>
                    <a:pt x="2384425" y="1039812"/>
                  </a:cubicBezTo>
                  <a:cubicBezTo>
                    <a:pt x="2386132" y="1043225"/>
                    <a:pt x="2388753" y="1046101"/>
                    <a:pt x="2390775" y="1049337"/>
                  </a:cubicBezTo>
                  <a:cubicBezTo>
                    <a:pt x="2394046" y="1054570"/>
                    <a:pt x="2397303" y="1059817"/>
                    <a:pt x="2400300" y="1065212"/>
                  </a:cubicBezTo>
                  <a:cubicBezTo>
                    <a:pt x="2402599" y="1069349"/>
                    <a:pt x="2403620" y="1074276"/>
                    <a:pt x="2406650" y="1077912"/>
                  </a:cubicBezTo>
                  <a:cubicBezTo>
                    <a:pt x="2411384" y="1083593"/>
                    <a:pt x="2419199" y="1085270"/>
                    <a:pt x="2425700" y="1087437"/>
                  </a:cubicBezTo>
                  <a:cubicBezTo>
                    <a:pt x="2429933" y="1086379"/>
                    <a:pt x="2435087" y="1087102"/>
                    <a:pt x="2438400" y="1084262"/>
                  </a:cubicBezTo>
                  <a:cubicBezTo>
                    <a:pt x="2451343" y="1073168"/>
                    <a:pt x="2450034" y="1057783"/>
                    <a:pt x="2444750" y="1042987"/>
                  </a:cubicBezTo>
                  <a:cubicBezTo>
                    <a:pt x="2442183" y="1035800"/>
                    <a:pt x="2437120" y="1029641"/>
                    <a:pt x="2432050" y="1023937"/>
                  </a:cubicBezTo>
                  <a:cubicBezTo>
                    <a:pt x="2400545" y="988493"/>
                    <a:pt x="2433645" y="1035854"/>
                    <a:pt x="2413000" y="1004887"/>
                  </a:cubicBezTo>
                  <a:cubicBezTo>
                    <a:pt x="2410883" y="996420"/>
                    <a:pt x="2408649" y="987982"/>
                    <a:pt x="2406650" y="979487"/>
                  </a:cubicBezTo>
                  <a:cubicBezTo>
                    <a:pt x="2404415" y="969989"/>
                    <a:pt x="2403386" y="960169"/>
                    <a:pt x="2400300" y="950912"/>
                  </a:cubicBezTo>
                  <a:cubicBezTo>
                    <a:pt x="2398167" y="944513"/>
                    <a:pt x="2384822" y="931366"/>
                    <a:pt x="2381250" y="928687"/>
                  </a:cubicBezTo>
                  <a:cubicBezTo>
                    <a:pt x="2377464" y="925847"/>
                    <a:pt x="2372783" y="924454"/>
                    <a:pt x="2368550" y="922337"/>
                  </a:cubicBezTo>
                  <a:cubicBezTo>
                    <a:pt x="2348289" y="924870"/>
                    <a:pt x="2342321" y="922140"/>
                    <a:pt x="2327275" y="935037"/>
                  </a:cubicBezTo>
                  <a:cubicBezTo>
                    <a:pt x="2320386" y="940942"/>
                    <a:pt x="2320976" y="946559"/>
                    <a:pt x="2317750" y="954087"/>
                  </a:cubicBezTo>
                  <a:cubicBezTo>
                    <a:pt x="2315886" y="958437"/>
                    <a:pt x="2313881" y="962756"/>
                    <a:pt x="2311400" y="966787"/>
                  </a:cubicBezTo>
                  <a:cubicBezTo>
                    <a:pt x="2305400" y="976536"/>
                    <a:pt x="2299219" y="986204"/>
                    <a:pt x="2292350" y="995362"/>
                  </a:cubicBezTo>
                  <a:cubicBezTo>
                    <a:pt x="2289175" y="999595"/>
                    <a:pt x="2286567" y="1004320"/>
                    <a:pt x="2282825" y="1008062"/>
                  </a:cubicBezTo>
                  <a:cubicBezTo>
                    <a:pt x="2278033" y="1012854"/>
                    <a:pt x="2272874" y="1017471"/>
                    <a:pt x="2266950" y="1020762"/>
                  </a:cubicBezTo>
                  <a:cubicBezTo>
                    <a:pt x="2263136" y="1022881"/>
                    <a:pt x="2258483" y="1022879"/>
                    <a:pt x="2254250" y="1023937"/>
                  </a:cubicBezTo>
                  <a:cubicBezTo>
                    <a:pt x="2243667" y="1016529"/>
                    <a:pt x="2228001" y="1013401"/>
                    <a:pt x="2222500" y="1001712"/>
                  </a:cubicBezTo>
                  <a:cubicBezTo>
                    <a:pt x="2217904" y="991946"/>
                    <a:pt x="2230624" y="980608"/>
                    <a:pt x="2228850" y="969962"/>
                  </a:cubicBezTo>
                  <a:cubicBezTo>
                    <a:pt x="2228072" y="965293"/>
                    <a:pt x="2220865" y="964022"/>
                    <a:pt x="2216150" y="963612"/>
                  </a:cubicBezTo>
                  <a:cubicBezTo>
                    <a:pt x="2196117" y="961870"/>
                    <a:pt x="2175933" y="963612"/>
                    <a:pt x="2155825" y="963612"/>
                  </a:cubicBezTo>
                  <a:lnTo>
                    <a:pt x="1952625" y="989012"/>
                  </a:lnTo>
                  <a:cubicBezTo>
                    <a:pt x="1933575" y="982662"/>
                    <a:pt x="1914346" y="976824"/>
                    <a:pt x="1895475" y="969962"/>
                  </a:cubicBezTo>
                  <a:cubicBezTo>
                    <a:pt x="1888486" y="967421"/>
                    <a:pt x="1862830" y="952215"/>
                    <a:pt x="1860550" y="950912"/>
                  </a:cubicBezTo>
                  <a:cubicBezTo>
                    <a:pt x="1800549" y="956912"/>
                    <a:pt x="1802493" y="937757"/>
                    <a:pt x="1790700" y="973137"/>
                  </a:cubicBezTo>
                  <a:cubicBezTo>
                    <a:pt x="1789320" y="977277"/>
                    <a:pt x="1788583" y="981604"/>
                    <a:pt x="1787525" y="985837"/>
                  </a:cubicBezTo>
                  <a:cubicBezTo>
                    <a:pt x="1788583" y="1001712"/>
                    <a:pt x="1787056" y="1017975"/>
                    <a:pt x="1790700" y="1033462"/>
                  </a:cubicBezTo>
                  <a:cubicBezTo>
                    <a:pt x="1791574" y="1037176"/>
                    <a:pt x="1796751" y="1038233"/>
                    <a:pt x="1800225" y="1039812"/>
                  </a:cubicBezTo>
                  <a:cubicBezTo>
                    <a:pt x="1808457" y="1043554"/>
                    <a:pt x="1817127" y="1046247"/>
                    <a:pt x="1825625" y="1049337"/>
                  </a:cubicBezTo>
                  <a:cubicBezTo>
                    <a:pt x="1828770" y="1050481"/>
                    <a:pt x="1831975" y="1051454"/>
                    <a:pt x="1835150" y="1052512"/>
                  </a:cubicBezTo>
                  <a:cubicBezTo>
                    <a:pt x="1847850" y="1051454"/>
                    <a:pt x="1860654" y="1047399"/>
                    <a:pt x="1873250" y="1049337"/>
                  </a:cubicBezTo>
                  <a:cubicBezTo>
                    <a:pt x="1876558" y="1049846"/>
                    <a:pt x="1876425" y="1055515"/>
                    <a:pt x="1876425" y="1058862"/>
                  </a:cubicBezTo>
                  <a:cubicBezTo>
                    <a:pt x="1876425" y="1066346"/>
                    <a:pt x="1874308" y="1073679"/>
                    <a:pt x="1873250" y="1081087"/>
                  </a:cubicBezTo>
                  <a:cubicBezTo>
                    <a:pt x="1872192" y="1099079"/>
                    <a:pt x="1872406" y="1117191"/>
                    <a:pt x="1870075" y="1135062"/>
                  </a:cubicBezTo>
                  <a:cubicBezTo>
                    <a:pt x="1867184" y="1157226"/>
                    <a:pt x="1864778" y="1148831"/>
                    <a:pt x="1857375" y="1163637"/>
                  </a:cubicBezTo>
                  <a:cubicBezTo>
                    <a:pt x="1855878" y="1166630"/>
                    <a:pt x="1855258" y="1169987"/>
                    <a:pt x="1854200" y="1173162"/>
                  </a:cubicBezTo>
                  <a:cubicBezTo>
                    <a:pt x="1841500" y="1169987"/>
                    <a:pt x="1828255" y="1168499"/>
                    <a:pt x="1816100" y="1163637"/>
                  </a:cubicBezTo>
                  <a:cubicBezTo>
                    <a:pt x="1811931" y="1161969"/>
                    <a:pt x="1810311" y="1156603"/>
                    <a:pt x="1806575" y="1154112"/>
                  </a:cubicBezTo>
                  <a:cubicBezTo>
                    <a:pt x="1803790" y="1152256"/>
                    <a:pt x="1800126" y="1152255"/>
                    <a:pt x="1797050" y="1150937"/>
                  </a:cubicBezTo>
                  <a:cubicBezTo>
                    <a:pt x="1792700" y="1149073"/>
                    <a:pt x="1788583" y="1146704"/>
                    <a:pt x="1784350" y="1144587"/>
                  </a:cubicBezTo>
                  <a:cubicBezTo>
                    <a:pt x="1772708" y="1145645"/>
                    <a:pt x="1759151" y="1141278"/>
                    <a:pt x="1749425" y="1147762"/>
                  </a:cubicBezTo>
                  <a:cubicBezTo>
                    <a:pt x="1743198" y="1151913"/>
                    <a:pt x="1745676" y="1162525"/>
                    <a:pt x="1746250" y="1169987"/>
                  </a:cubicBezTo>
                  <a:cubicBezTo>
                    <a:pt x="1747253" y="1183024"/>
                    <a:pt x="1754446" y="1190477"/>
                    <a:pt x="1758950" y="1201737"/>
                  </a:cubicBezTo>
                  <a:cubicBezTo>
                    <a:pt x="1761436" y="1207952"/>
                    <a:pt x="1765300" y="1220787"/>
                    <a:pt x="1765300" y="1220787"/>
                  </a:cubicBezTo>
                  <a:cubicBezTo>
                    <a:pt x="1773436" y="1310285"/>
                    <a:pt x="1774069" y="1285582"/>
                    <a:pt x="1768475" y="1389062"/>
                  </a:cubicBezTo>
                  <a:cubicBezTo>
                    <a:pt x="1768128" y="1395490"/>
                    <a:pt x="1767150" y="1401946"/>
                    <a:pt x="1765300" y="1408112"/>
                  </a:cubicBezTo>
                  <a:cubicBezTo>
                    <a:pt x="1763940" y="1412645"/>
                    <a:pt x="1760814" y="1416462"/>
                    <a:pt x="1758950" y="1420812"/>
                  </a:cubicBezTo>
                  <a:cubicBezTo>
                    <a:pt x="1744037" y="1455609"/>
                    <a:pt x="1754528" y="1444284"/>
                    <a:pt x="1743075" y="1455737"/>
                  </a:cubicBezTo>
                  <a:lnTo>
                    <a:pt x="1692275" y="1493837"/>
                  </a:lnTo>
                  <a:cubicBezTo>
                    <a:pt x="1677458" y="1501245"/>
                    <a:pt x="1663206" y="1509910"/>
                    <a:pt x="1647825" y="1516062"/>
                  </a:cubicBezTo>
                  <a:cubicBezTo>
                    <a:pt x="1642533" y="1518179"/>
                    <a:pt x="1637448" y="1520912"/>
                    <a:pt x="1631950" y="1522412"/>
                  </a:cubicBezTo>
                  <a:cubicBezTo>
                    <a:pt x="1625739" y="1524106"/>
                    <a:pt x="1619195" y="1524238"/>
                    <a:pt x="1612900" y="1525587"/>
                  </a:cubicBezTo>
                  <a:cubicBezTo>
                    <a:pt x="1579673" y="1532707"/>
                    <a:pt x="1597954" y="1531937"/>
                    <a:pt x="1577975" y="1531937"/>
                  </a:cubicBezTo>
                  <a:lnTo>
                    <a:pt x="1450975" y="1531937"/>
                  </a:lnTo>
                  <a:lnTo>
                    <a:pt x="1320800" y="1465262"/>
                  </a:lnTo>
                  <a:lnTo>
                    <a:pt x="1168400" y="1439862"/>
                  </a:lnTo>
                  <a:lnTo>
                    <a:pt x="1022350" y="1373187"/>
                  </a:lnTo>
                  <a:cubicBezTo>
                    <a:pt x="1014942" y="1363662"/>
                    <a:pt x="1004421" y="1355888"/>
                    <a:pt x="1000125" y="1344612"/>
                  </a:cubicBezTo>
                  <a:cubicBezTo>
                    <a:pt x="995588" y="1332703"/>
                    <a:pt x="998634" y="1319144"/>
                    <a:pt x="996950" y="1306512"/>
                  </a:cubicBezTo>
                  <a:cubicBezTo>
                    <a:pt x="996508" y="1303195"/>
                    <a:pt x="995720" y="1299710"/>
                    <a:pt x="993775" y="1296987"/>
                  </a:cubicBezTo>
                  <a:cubicBezTo>
                    <a:pt x="990295" y="1292115"/>
                    <a:pt x="985947" y="1287767"/>
                    <a:pt x="981075" y="1284287"/>
                  </a:cubicBezTo>
                  <a:cubicBezTo>
                    <a:pt x="978352" y="1282342"/>
                    <a:pt x="974725" y="1282170"/>
                    <a:pt x="971550" y="1281112"/>
                  </a:cubicBezTo>
                  <a:cubicBezTo>
                    <a:pt x="967317" y="1275820"/>
                    <a:pt x="963950" y="1269699"/>
                    <a:pt x="958850" y="1265237"/>
                  </a:cubicBezTo>
                  <a:cubicBezTo>
                    <a:pt x="955288" y="1262120"/>
                    <a:pt x="949712" y="1262004"/>
                    <a:pt x="946150" y="1258887"/>
                  </a:cubicBezTo>
                  <a:cubicBezTo>
                    <a:pt x="921120" y="1236985"/>
                    <a:pt x="944936" y="1246841"/>
                    <a:pt x="923925" y="1239837"/>
                  </a:cubicBezTo>
                  <a:cubicBezTo>
                    <a:pt x="921808" y="1236662"/>
                    <a:pt x="918202" y="1234076"/>
                    <a:pt x="917575" y="1230312"/>
                  </a:cubicBezTo>
                  <a:cubicBezTo>
                    <a:pt x="916041" y="1221110"/>
                    <a:pt x="924710" y="1218147"/>
                    <a:pt x="930275" y="1214437"/>
                  </a:cubicBezTo>
                  <a:cubicBezTo>
                    <a:pt x="932392" y="1211262"/>
                    <a:pt x="934282" y="1207924"/>
                    <a:pt x="936625" y="1204912"/>
                  </a:cubicBezTo>
                  <a:cubicBezTo>
                    <a:pt x="941700" y="1198387"/>
                    <a:pt x="947915" y="1192740"/>
                    <a:pt x="952500" y="1185862"/>
                  </a:cubicBezTo>
                  <a:cubicBezTo>
                    <a:pt x="954356" y="1183077"/>
                    <a:pt x="954617" y="1179512"/>
                    <a:pt x="955675" y="1176337"/>
                  </a:cubicBezTo>
                  <a:cubicBezTo>
                    <a:pt x="953558" y="1167870"/>
                    <a:pt x="953228" y="1158743"/>
                    <a:pt x="949325" y="1150937"/>
                  </a:cubicBezTo>
                  <a:cubicBezTo>
                    <a:pt x="938655" y="1129597"/>
                    <a:pt x="935234" y="1128843"/>
                    <a:pt x="920750" y="1119187"/>
                  </a:cubicBezTo>
                  <a:cubicBezTo>
                    <a:pt x="902266" y="1120727"/>
                    <a:pt x="885012" y="1117416"/>
                    <a:pt x="869950" y="1128712"/>
                  </a:cubicBezTo>
                  <a:cubicBezTo>
                    <a:pt x="865161" y="1132304"/>
                    <a:pt x="861483" y="1137179"/>
                    <a:pt x="857250" y="1141412"/>
                  </a:cubicBezTo>
                  <a:cubicBezTo>
                    <a:pt x="858308" y="1149879"/>
                    <a:pt x="856609" y="1159180"/>
                    <a:pt x="860425" y="1166812"/>
                  </a:cubicBezTo>
                  <a:cubicBezTo>
                    <a:pt x="862542" y="1171045"/>
                    <a:pt x="869016" y="1170814"/>
                    <a:pt x="873125" y="1173162"/>
                  </a:cubicBezTo>
                  <a:cubicBezTo>
                    <a:pt x="876438" y="1175055"/>
                    <a:pt x="879475" y="1177395"/>
                    <a:pt x="882650" y="1179512"/>
                  </a:cubicBezTo>
                  <a:cubicBezTo>
                    <a:pt x="884767" y="1183745"/>
                    <a:pt x="888529" y="1187502"/>
                    <a:pt x="889000" y="1192212"/>
                  </a:cubicBezTo>
                  <a:cubicBezTo>
                    <a:pt x="890392" y="1206135"/>
                    <a:pt x="886677" y="1213375"/>
                    <a:pt x="876300" y="1220787"/>
                  </a:cubicBezTo>
                  <a:cubicBezTo>
                    <a:pt x="872449" y="1223538"/>
                    <a:pt x="867659" y="1224702"/>
                    <a:pt x="863600" y="1227137"/>
                  </a:cubicBezTo>
                  <a:cubicBezTo>
                    <a:pt x="827554" y="1248764"/>
                    <a:pt x="838939" y="1248214"/>
                    <a:pt x="806450" y="1255712"/>
                  </a:cubicBezTo>
                  <a:cubicBezTo>
                    <a:pt x="800177" y="1257160"/>
                    <a:pt x="793750" y="1257829"/>
                    <a:pt x="787400" y="1258887"/>
                  </a:cubicBezTo>
                  <a:cubicBezTo>
                    <a:pt x="781050" y="1256770"/>
                    <a:pt x="773705" y="1256553"/>
                    <a:pt x="768350" y="1252537"/>
                  </a:cubicBezTo>
                  <a:cubicBezTo>
                    <a:pt x="761152" y="1247138"/>
                    <a:pt x="760016" y="1226743"/>
                    <a:pt x="758825" y="1220787"/>
                  </a:cubicBezTo>
                  <a:cubicBezTo>
                    <a:pt x="757969" y="1216508"/>
                    <a:pt x="758376" y="1211494"/>
                    <a:pt x="755650" y="1208087"/>
                  </a:cubicBezTo>
                  <a:cubicBezTo>
                    <a:pt x="753559" y="1205474"/>
                    <a:pt x="749300" y="1205970"/>
                    <a:pt x="746125" y="1204912"/>
                  </a:cubicBezTo>
                  <a:cubicBezTo>
                    <a:pt x="733425" y="1205970"/>
                    <a:pt x="720551" y="1205738"/>
                    <a:pt x="708025" y="1208087"/>
                  </a:cubicBezTo>
                  <a:cubicBezTo>
                    <a:pt x="703373" y="1208959"/>
                    <a:pt x="699339" y="1211929"/>
                    <a:pt x="695325" y="1214437"/>
                  </a:cubicBezTo>
                  <a:cubicBezTo>
                    <a:pt x="672062" y="1228977"/>
                    <a:pt x="692899" y="1218611"/>
                    <a:pt x="669925" y="1236662"/>
                  </a:cubicBezTo>
                  <a:cubicBezTo>
                    <a:pt x="659767" y="1244643"/>
                    <a:pt x="648687" y="1251378"/>
                    <a:pt x="638175" y="1258887"/>
                  </a:cubicBezTo>
                  <a:cubicBezTo>
                    <a:pt x="633869" y="1261963"/>
                    <a:pt x="628650" y="1264179"/>
                    <a:pt x="625475" y="1268412"/>
                  </a:cubicBezTo>
                  <a:cubicBezTo>
                    <a:pt x="622300" y="1272645"/>
                    <a:pt x="619394" y="1277094"/>
                    <a:pt x="615950" y="1281112"/>
                  </a:cubicBezTo>
                  <a:cubicBezTo>
                    <a:pt x="613028" y="1284521"/>
                    <a:pt x="609035" y="1286983"/>
                    <a:pt x="606425" y="1290637"/>
                  </a:cubicBezTo>
                  <a:cubicBezTo>
                    <a:pt x="603674" y="1294488"/>
                    <a:pt x="601997" y="1299012"/>
                    <a:pt x="600075" y="1303337"/>
                  </a:cubicBezTo>
                  <a:cubicBezTo>
                    <a:pt x="592480" y="1320425"/>
                    <a:pt x="594124" y="1317219"/>
                    <a:pt x="590550" y="1335087"/>
                  </a:cubicBezTo>
                  <a:cubicBezTo>
                    <a:pt x="593003" y="1396392"/>
                    <a:pt x="586901" y="1397066"/>
                    <a:pt x="590032" y="1406242"/>
                  </a:cubicBezTo>
                  <a:lnTo>
                    <a:pt x="593854" y="1414350"/>
                  </a:lnTo>
                  <a:lnTo>
                    <a:pt x="533400" y="1409700"/>
                  </a:lnTo>
                  <a:cubicBezTo>
                    <a:pt x="530225" y="1403350"/>
                    <a:pt x="522708" y="1397653"/>
                    <a:pt x="523875" y="1390650"/>
                  </a:cubicBezTo>
                  <a:cubicBezTo>
                    <a:pt x="524816" y="1385004"/>
                    <a:pt x="538163" y="1386849"/>
                    <a:pt x="538163" y="1381125"/>
                  </a:cubicBezTo>
                  <a:cubicBezTo>
                    <a:pt x="538163" y="1375401"/>
                    <a:pt x="528995" y="1374160"/>
                    <a:pt x="523875" y="1371600"/>
                  </a:cubicBezTo>
                  <a:cubicBezTo>
                    <a:pt x="519385" y="1369355"/>
                    <a:pt x="514078" y="1369082"/>
                    <a:pt x="509588" y="1366837"/>
                  </a:cubicBezTo>
                  <a:cubicBezTo>
                    <a:pt x="502623" y="1363354"/>
                    <a:pt x="480566" y="1346262"/>
                    <a:pt x="476250" y="1343025"/>
                  </a:cubicBezTo>
                  <a:cubicBezTo>
                    <a:pt x="474663" y="1336675"/>
                    <a:pt x="474415" y="1329829"/>
                    <a:pt x="471488" y="1323975"/>
                  </a:cubicBezTo>
                  <a:cubicBezTo>
                    <a:pt x="463902" y="1308802"/>
                    <a:pt x="451589" y="1292312"/>
                    <a:pt x="438150" y="1281112"/>
                  </a:cubicBezTo>
                  <a:cubicBezTo>
                    <a:pt x="433753" y="1277448"/>
                    <a:pt x="428625" y="1274762"/>
                    <a:pt x="423863" y="1271587"/>
                  </a:cubicBezTo>
                  <a:cubicBezTo>
                    <a:pt x="419047" y="1264363"/>
                    <a:pt x="409575" y="1252871"/>
                    <a:pt x="409575" y="1243012"/>
                  </a:cubicBezTo>
                  <a:cubicBezTo>
                    <a:pt x="409575" y="1218487"/>
                    <a:pt x="419759" y="1211068"/>
                    <a:pt x="433388" y="1190625"/>
                  </a:cubicBezTo>
                  <a:cubicBezTo>
                    <a:pt x="446650" y="1170732"/>
                    <a:pt x="438864" y="1180386"/>
                    <a:pt x="457200" y="1162050"/>
                  </a:cubicBezTo>
                  <a:cubicBezTo>
                    <a:pt x="458788" y="1157287"/>
                    <a:pt x="464208" y="1152252"/>
                    <a:pt x="461963" y="1147762"/>
                  </a:cubicBezTo>
                  <a:cubicBezTo>
                    <a:pt x="459718" y="1143272"/>
                    <a:pt x="452545" y="1144218"/>
                    <a:pt x="447675" y="1143000"/>
                  </a:cubicBezTo>
                  <a:cubicBezTo>
                    <a:pt x="427377" y="1137926"/>
                    <a:pt x="430963" y="1138237"/>
                    <a:pt x="419100" y="1138237"/>
                  </a:cubicBezTo>
                  <a:lnTo>
                    <a:pt x="523875" y="1071562"/>
                  </a:lnTo>
                  <a:cubicBezTo>
                    <a:pt x="500063" y="1065212"/>
                    <a:pt x="476932" y="1055233"/>
                    <a:pt x="452438" y="1052512"/>
                  </a:cubicBezTo>
                  <a:cubicBezTo>
                    <a:pt x="433439" y="1050401"/>
                    <a:pt x="414355" y="1055913"/>
                    <a:pt x="395288" y="1057275"/>
                  </a:cubicBezTo>
                  <a:cubicBezTo>
                    <a:pt x="392121" y="1057501"/>
                    <a:pt x="388938" y="1057275"/>
                    <a:pt x="385763" y="1057275"/>
                  </a:cubicBezTo>
                  <a:lnTo>
                    <a:pt x="228600" y="942975"/>
                  </a:lnTo>
                  <a:lnTo>
                    <a:pt x="66675" y="857250"/>
                  </a:lnTo>
                  <a:lnTo>
                    <a:pt x="11932" y="898960"/>
                  </a:lnTo>
                  <a:lnTo>
                    <a:pt x="9525" y="895350"/>
                  </a:lnTo>
                  <a:lnTo>
                    <a:pt x="0" y="595312"/>
                  </a:lnTo>
                  <a:lnTo>
                    <a:pt x="66675" y="604837"/>
                  </a:lnTo>
                  <a:lnTo>
                    <a:pt x="195263" y="495300"/>
                  </a:lnTo>
                  <a:cubicBezTo>
                    <a:pt x="182563" y="490537"/>
                    <a:pt x="167869" y="489339"/>
                    <a:pt x="157163" y="481012"/>
                  </a:cubicBezTo>
                  <a:cubicBezTo>
                    <a:pt x="151996" y="476993"/>
                    <a:pt x="150330" y="468172"/>
                    <a:pt x="152400" y="461962"/>
                  </a:cubicBezTo>
                  <a:cubicBezTo>
                    <a:pt x="154210" y="456532"/>
                    <a:pt x="162291" y="456101"/>
                    <a:pt x="166688" y="452437"/>
                  </a:cubicBezTo>
                  <a:cubicBezTo>
                    <a:pt x="175717" y="444913"/>
                    <a:pt x="185148" y="434566"/>
                    <a:pt x="190500" y="423862"/>
                  </a:cubicBezTo>
                  <a:cubicBezTo>
                    <a:pt x="192745" y="419372"/>
                    <a:pt x="193675" y="414337"/>
                    <a:pt x="195263" y="409575"/>
                  </a:cubicBezTo>
                  <a:cubicBezTo>
                    <a:pt x="186600" y="348939"/>
                    <a:pt x="198303" y="396607"/>
                    <a:pt x="180975" y="361950"/>
                  </a:cubicBezTo>
                  <a:cubicBezTo>
                    <a:pt x="173078" y="346156"/>
                    <a:pt x="182066" y="347662"/>
                    <a:pt x="171450" y="347662"/>
                  </a:cubicBezTo>
                  <a:lnTo>
                    <a:pt x="214313" y="347662"/>
                  </a:lnTo>
                  <a:lnTo>
                    <a:pt x="352425" y="404812"/>
                  </a:lnTo>
                  <a:cubicBezTo>
                    <a:pt x="357188" y="392112"/>
                    <a:pt x="360218" y="378619"/>
                    <a:pt x="366713" y="366712"/>
                  </a:cubicBezTo>
                  <a:cubicBezTo>
                    <a:pt x="369938" y="360799"/>
                    <a:pt x="380390" y="359132"/>
                    <a:pt x="381000" y="352425"/>
                  </a:cubicBezTo>
                  <a:cubicBezTo>
                    <a:pt x="383517" y="324736"/>
                    <a:pt x="378572" y="321424"/>
                    <a:pt x="366713" y="309562"/>
                  </a:cubicBezTo>
                  <a:lnTo>
                    <a:pt x="414338" y="171450"/>
                  </a:lnTo>
                  <a:lnTo>
                    <a:pt x="471488" y="161925"/>
                  </a:lnTo>
                  <a:lnTo>
                    <a:pt x="490538" y="223837"/>
                  </a:lnTo>
                  <a:lnTo>
                    <a:pt x="533400" y="209550"/>
                  </a:lnTo>
                  <a:lnTo>
                    <a:pt x="647700" y="242887"/>
                  </a:lnTo>
                  <a:lnTo>
                    <a:pt x="700088" y="338137"/>
                  </a:lnTo>
                  <a:lnTo>
                    <a:pt x="809625" y="347662"/>
                  </a:lnTo>
                  <a:lnTo>
                    <a:pt x="866775" y="428625"/>
                  </a:lnTo>
                  <a:lnTo>
                    <a:pt x="881063" y="509587"/>
                  </a:lnTo>
                  <a:lnTo>
                    <a:pt x="957263" y="504825"/>
                  </a:lnTo>
                  <a:lnTo>
                    <a:pt x="1057275" y="619125"/>
                  </a:lnTo>
                  <a:lnTo>
                    <a:pt x="1147763" y="566737"/>
                  </a:lnTo>
                  <a:cubicBezTo>
                    <a:pt x="1133475" y="565150"/>
                    <a:pt x="1117028" y="569693"/>
                    <a:pt x="1104900" y="561975"/>
                  </a:cubicBezTo>
                  <a:cubicBezTo>
                    <a:pt x="1101452" y="559781"/>
                    <a:pt x="1092499" y="521894"/>
                    <a:pt x="1090613" y="514350"/>
                  </a:cubicBezTo>
                  <a:cubicBezTo>
                    <a:pt x="1095375" y="509587"/>
                    <a:pt x="1099052" y="503404"/>
                    <a:pt x="1104900" y="500062"/>
                  </a:cubicBezTo>
                  <a:cubicBezTo>
                    <a:pt x="1110583" y="496815"/>
                    <a:pt x="1117405" y="495300"/>
                    <a:pt x="1123950" y="495300"/>
                  </a:cubicBezTo>
                  <a:cubicBezTo>
                    <a:pt x="1136749" y="495300"/>
                    <a:pt x="1149329" y="498649"/>
                    <a:pt x="1162050" y="500062"/>
                  </a:cubicBezTo>
                  <a:cubicBezTo>
                    <a:pt x="1163628" y="500237"/>
                    <a:pt x="1165225" y="500062"/>
                    <a:pt x="1166813" y="500062"/>
                  </a:cubicBezTo>
                  <a:lnTo>
                    <a:pt x="1166813" y="414337"/>
                  </a:lnTo>
                  <a:lnTo>
                    <a:pt x="1071563" y="352425"/>
                  </a:lnTo>
                  <a:cubicBezTo>
                    <a:pt x="1069975" y="338137"/>
                    <a:pt x="1063018" y="323431"/>
                    <a:pt x="1066800" y="309562"/>
                  </a:cubicBezTo>
                  <a:cubicBezTo>
                    <a:pt x="1068668" y="302713"/>
                    <a:pt x="1085850" y="300037"/>
                    <a:pt x="1085850" y="300037"/>
                  </a:cubicBezTo>
                  <a:lnTo>
                    <a:pt x="1076325" y="138112"/>
                  </a:lnTo>
                  <a:lnTo>
                    <a:pt x="1295400" y="33337"/>
                  </a:lnTo>
                  <a:cubicBezTo>
                    <a:pt x="1297154" y="36845"/>
                    <a:pt x="1310640" y="79570"/>
                    <a:pt x="1328738" y="80962"/>
                  </a:cubicBezTo>
                  <a:cubicBezTo>
                    <a:pt x="1344645" y="82186"/>
                    <a:pt x="1360488" y="77787"/>
                    <a:pt x="1376363" y="76200"/>
                  </a:cubicBezTo>
                  <a:cubicBezTo>
                    <a:pt x="1381125" y="71437"/>
                    <a:pt x="1385476" y="66224"/>
                    <a:pt x="1390650" y="61912"/>
                  </a:cubicBezTo>
                  <a:cubicBezTo>
                    <a:pt x="1400746" y="53499"/>
                    <a:pt x="1412345" y="48684"/>
                    <a:pt x="1423988" y="42862"/>
                  </a:cubicBezTo>
                  <a:cubicBezTo>
                    <a:pt x="1430338" y="44450"/>
                    <a:pt x="1438173" y="43246"/>
                    <a:pt x="1443038" y="47625"/>
                  </a:cubicBezTo>
                  <a:cubicBezTo>
                    <a:pt x="1451928" y="55626"/>
                    <a:pt x="1471143" y="85019"/>
                    <a:pt x="1481138" y="100012"/>
                  </a:cubicBezTo>
                  <a:cubicBezTo>
                    <a:pt x="1489075" y="98425"/>
                    <a:pt x="1497922" y="99266"/>
                    <a:pt x="1504950" y="95250"/>
                  </a:cubicBezTo>
                  <a:cubicBezTo>
                    <a:pt x="1509920" y="92410"/>
                    <a:pt x="1511148" y="85620"/>
                    <a:pt x="1514475" y="80962"/>
                  </a:cubicBezTo>
                  <a:cubicBezTo>
                    <a:pt x="1519089" y="74503"/>
                    <a:pt x="1524149" y="68371"/>
                    <a:pt x="1528763" y="61912"/>
                  </a:cubicBezTo>
                  <a:cubicBezTo>
                    <a:pt x="1532090" y="57255"/>
                    <a:pt x="1532929" y="49635"/>
                    <a:pt x="1538288" y="47625"/>
                  </a:cubicBezTo>
                  <a:cubicBezTo>
                    <a:pt x="1547207" y="44281"/>
                    <a:pt x="1557338" y="47625"/>
                    <a:pt x="1566863" y="47625"/>
                  </a:cubicBezTo>
                  <a:lnTo>
                    <a:pt x="1647825" y="52387"/>
                  </a:lnTo>
                  <a:lnTo>
                    <a:pt x="1638300" y="114300"/>
                  </a:lnTo>
                  <a:lnTo>
                    <a:pt x="1704975" y="176212"/>
                  </a:lnTo>
                  <a:lnTo>
                    <a:pt x="1766888" y="166687"/>
                  </a:lnTo>
                  <a:lnTo>
                    <a:pt x="1905000" y="261937"/>
                  </a:lnTo>
                  <a:lnTo>
                    <a:pt x="2276475" y="119062"/>
                  </a:lnTo>
                  <a:cubicBezTo>
                    <a:pt x="2284413" y="107950"/>
                    <a:pt x="2293749" y="97714"/>
                    <a:pt x="2300288" y="85725"/>
                  </a:cubicBezTo>
                  <a:cubicBezTo>
                    <a:pt x="2303422" y="79979"/>
                    <a:pt x="2303252" y="72969"/>
                    <a:pt x="2305050" y="66675"/>
                  </a:cubicBezTo>
                  <a:cubicBezTo>
                    <a:pt x="2306429" y="61848"/>
                    <a:pt x="2307375" y="56776"/>
                    <a:pt x="2309813" y="52387"/>
                  </a:cubicBezTo>
                  <a:cubicBezTo>
                    <a:pt x="2315372" y="42380"/>
                    <a:pt x="2322513" y="33337"/>
                    <a:pt x="2328863" y="23812"/>
                  </a:cubicBezTo>
                  <a:cubicBezTo>
                    <a:pt x="2339633" y="7658"/>
                    <a:pt x="2334341" y="13572"/>
                    <a:pt x="2343150" y="4762"/>
                  </a:cubicBezTo>
                  <a:close/>
                </a:path>
              </a:pathLst>
            </a:custGeom>
            <a:solidFill>
              <a:schemeClr val="accent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sym typeface="Arial"/>
              </a:endParaRPr>
            </a:p>
          </p:txBody>
        </p:sp>
        <p:sp>
          <p:nvSpPr>
            <p:cNvPr id="10" name="Freeform 9"/>
            <p:cNvSpPr/>
            <p:nvPr/>
          </p:nvSpPr>
          <p:spPr bwMode="gray">
            <a:xfrm>
              <a:off x="1282700" y="4137025"/>
              <a:ext cx="2657475" cy="2000250"/>
            </a:xfrm>
            <a:custGeom>
              <a:avLst/>
              <a:gdLst>
                <a:gd name="connsiteX0" fmla="*/ 2343150 w 2657475"/>
                <a:gd name="connsiteY0" fmla="*/ 0 h 2000250"/>
                <a:gd name="connsiteX1" fmla="*/ 2355850 w 2657475"/>
                <a:gd name="connsiteY1" fmla="*/ 6350 h 2000250"/>
                <a:gd name="connsiteX2" fmla="*/ 2374900 w 2657475"/>
                <a:gd name="connsiteY2" fmla="*/ 28575 h 2000250"/>
                <a:gd name="connsiteX3" fmla="*/ 2381250 w 2657475"/>
                <a:gd name="connsiteY3" fmla="*/ 57150 h 2000250"/>
                <a:gd name="connsiteX4" fmla="*/ 2387600 w 2657475"/>
                <a:gd name="connsiteY4" fmla="*/ 82550 h 2000250"/>
                <a:gd name="connsiteX5" fmla="*/ 2406650 w 2657475"/>
                <a:gd name="connsiteY5" fmla="*/ 101600 h 2000250"/>
                <a:gd name="connsiteX6" fmla="*/ 2419350 w 2657475"/>
                <a:gd name="connsiteY6" fmla="*/ 120650 h 2000250"/>
                <a:gd name="connsiteX7" fmla="*/ 2413000 w 2657475"/>
                <a:gd name="connsiteY7" fmla="*/ 161925 h 2000250"/>
                <a:gd name="connsiteX8" fmla="*/ 2400300 w 2657475"/>
                <a:gd name="connsiteY8" fmla="*/ 165100 h 2000250"/>
                <a:gd name="connsiteX9" fmla="*/ 2381250 w 2657475"/>
                <a:gd name="connsiteY9" fmla="*/ 155575 h 2000250"/>
                <a:gd name="connsiteX10" fmla="*/ 2374900 w 2657475"/>
                <a:gd name="connsiteY10" fmla="*/ 142875 h 2000250"/>
                <a:gd name="connsiteX11" fmla="*/ 2365375 w 2657475"/>
                <a:gd name="connsiteY11" fmla="*/ 127000 h 2000250"/>
                <a:gd name="connsiteX12" fmla="*/ 2359025 w 2657475"/>
                <a:gd name="connsiteY12" fmla="*/ 117475 h 2000250"/>
                <a:gd name="connsiteX13" fmla="*/ 2355850 w 2657475"/>
                <a:gd name="connsiteY13" fmla="*/ 107950 h 2000250"/>
                <a:gd name="connsiteX14" fmla="*/ 2333625 w 2657475"/>
                <a:gd name="connsiteY14" fmla="*/ 98425 h 2000250"/>
                <a:gd name="connsiteX15" fmla="*/ 2330450 w 2657475"/>
                <a:gd name="connsiteY15" fmla="*/ 123825 h 2000250"/>
                <a:gd name="connsiteX16" fmla="*/ 2339975 w 2657475"/>
                <a:gd name="connsiteY16" fmla="*/ 149225 h 2000250"/>
                <a:gd name="connsiteX17" fmla="*/ 2365375 w 2657475"/>
                <a:gd name="connsiteY17" fmla="*/ 180975 h 2000250"/>
                <a:gd name="connsiteX18" fmla="*/ 2279650 w 2657475"/>
                <a:gd name="connsiteY18" fmla="*/ 400050 h 2000250"/>
                <a:gd name="connsiteX19" fmla="*/ 2279650 w 2657475"/>
                <a:gd name="connsiteY19" fmla="*/ 434975 h 2000250"/>
                <a:gd name="connsiteX20" fmla="*/ 2273300 w 2657475"/>
                <a:gd name="connsiteY20" fmla="*/ 450850 h 2000250"/>
                <a:gd name="connsiteX21" fmla="*/ 2270125 w 2657475"/>
                <a:gd name="connsiteY21" fmla="*/ 460375 h 2000250"/>
                <a:gd name="connsiteX22" fmla="*/ 2257425 w 2657475"/>
                <a:gd name="connsiteY22" fmla="*/ 466725 h 2000250"/>
                <a:gd name="connsiteX23" fmla="*/ 2251075 w 2657475"/>
                <a:gd name="connsiteY23" fmla="*/ 476250 h 2000250"/>
                <a:gd name="connsiteX24" fmla="*/ 2232025 w 2657475"/>
                <a:gd name="connsiteY24" fmla="*/ 501650 h 2000250"/>
                <a:gd name="connsiteX25" fmla="*/ 2114550 w 2657475"/>
                <a:gd name="connsiteY25" fmla="*/ 628650 h 2000250"/>
                <a:gd name="connsiteX26" fmla="*/ 2089150 w 2657475"/>
                <a:gd name="connsiteY26" fmla="*/ 650875 h 2000250"/>
                <a:gd name="connsiteX27" fmla="*/ 2095500 w 2657475"/>
                <a:gd name="connsiteY27" fmla="*/ 717550 h 2000250"/>
                <a:gd name="connsiteX28" fmla="*/ 2117725 w 2657475"/>
                <a:gd name="connsiteY28" fmla="*/ 739775 h 2000250"/>
                <a:gd name="connsiteX29" fmla="*/ 2216150 w 2657475"/>
                <a:gd name="connsiteY29" fmla="*/ 644525 h 2000250"/>
                <a:gd name="connsiteX30" fmla="*/ 2228850 w 2657475"/>
                <a:gd name="connsiteY30" fmla="*/ 654050 h 2000250"/>
                <a:gd name="connsiteX31" fmla="*/ 2238375 w 2657475"/>
                <a:gd name="connsiteY31" fmla="*/ 657225 h 2000250"/>
                <a:gd name="connsiteX32" fmla="*/ 2247900 w 2657475"/>
                <a:gd name="connsiteY32" fmla="*/ 663575 h 2000250"/>
                <a:gd name="connsiteX33" fmla="*/ 2317750 w 2657475"/>
                <a:gd name="connsiteY33" fmla="*/ 673100 h 2000250"/>
                <a:gd name="connsiteX34" fmla="*/ 2330450 w 2657475"/>
                <a:gd name="connsiteY34" fmla="*/ 666750 h 2000250"/>
                <a:gd name="connsiteX35" fmla="*/ 2393950 w 2657475"/>
                <a:gd name="connsiteY35" fmla="*/ 660400 h 2000250"/>
                <a:gd name="connsiteX36" fmla="*/ 2403475 w 2657475"/>
                <a:gd name="connsiteY36" fmla="*/ 673100 h 2000250"/>
                <a:gd name="connsiteX37" fmla="*/ 2406650 w 2657475"/>
                <a:gd name="connsiteY37" fmla="*/ 682625 h 2000250"/>
                <a:gd name="connsiteX38" fmla="*/ 2413000 w 2657475"/>
                <a:gd name="connsiteY38" fmla="*/ 698500 h 2000250"/>
                <a:gd name="connsiteX39" fmla="*/ 2425700 w 2657475"/>
                <a:gd name="connsiteY39" fmla="*/ 727075 h 2000250"/>
                <a:gd name="connsiteX40" fmla="*/ 2428875 w 2657475"/>
                <a:gd name="connsiteY40" fmla="*/ 762000 h 2000250"/>
                <a:gd name="connsiteX41" fmla="*/ 2422525 w 2657475"/>
                <a:gd name="connsiteY41" fmla="*/ 774700 h 2000250"/>
                <a:gd name="connsiteX42" fmla="*/ 2413000 w 2657475"/>
                <a:gd name="connsiteY42" fmla="*/ 781050 h 2000250"/>
                <a:gd name="connsiteX43" fmla="*/ 2381250 w 2657475"/>
                <a:gd name="connsiteY43" fmla="*/ 828675 h 2000250"/>
                <a:gd name="connsiteX44" fmla="*/ 2613025 w 2657475"/>
                <a:gd name="connsiteY44" fmla="*/ 911225 h 2000250"/>
                <a:gd name="connsiteX45" fmla="*/ 2613025 w 2657475"/>
                <a:gd name="connsiteY45" fmla="*/ 914400 h 2000250"/>
                <a:gd name="connsiteX46" fmla="*/ 2632075 w 2657475"/>
                <a:gd name="connsiteY46" fmla="*/ 933450 h 2000250"/>
                <a:gd name="connsiteX47" fmla="*/ 2635250 w 2657475"/>
                <a:gd name="connsiteY47" fmla="*/ 946150 h 2000250"/>
                <a:gd name="connsiteX48" fmla="*/ 2641600 w 2657475"/>
                <a:gd name="connsiteY48" fmla="*/ 958850 h 2000250"/>
                <a:gd name="connsiteX49" fmla="*/ 2644775 w 2657475"/>
                <a:gd name="connsiteY49" fmla="*/ 984250 h 2000250"/>
                <a:gd name="connsiteX50" fmla="*/ 2647950 w 2657475"/>
                <a:gd name="connsiteY50" fmla="*/ 1054100 h 2000250"/>
                <a:gd name="connsiteX51" fmla="*/ 2638425 w 2657475"/>
                <a:gd name="connsiteY51" fmla="*/ 1114425 h 2000250"/>
                <a:gd name="connsiteX52" fmla="*/ 2657475 w 2657475"/>
                <a:gd name="connsiteY52" fmla="*/ 1139825 h 2000250"/>
                <a:gd name="connsiteX53" fmla="*/ 2574925 w 2657475"/>
                <a:gd name="connsiteY53" fmla="*/ 1143000 h 2000250"/>
                <a:gd name="connsiteX54" fmla="*/ 2524125 w 2657475"/>
                <a:gd name="connsiteY54" fmla="*/ 1085850 h 2000250"/>
                <a:gd name="connsiteX55" fmla="*/ 2520950 w 2657475"/>
                <a:gd name="connsiteY55" fmla="*/ 1076325 h 2000250"/>
                <a:gd name="connsiteX56" fmla="*/ 2511425 w 2657475"/>
                <a:gd name="connsiteY56" fmla="*/ 1069975 h 2000250"/>
                <a:gd name="connsiteX57" fmla="*/ 2505075 w 2657475"/>
                <a:gd name="connsiteY57" fmla="*/ 1060450 h 2000250"/>
                <a:gd name="connsiteX58" fmla="*/ 2482850 w 2657475"/>
                <a:gd name="connsiteY58" fmla="*/ 1041400 h 2000250"/>
                <a:gd name="connsiteX59" fmla="*/ 2466975 w 2657475"/>
                <a:gd name="connsiteY59" fmla="*/ 1022350 h 2000250"/>
                <a:gd name="connsiteX60" fmla="*/ 2428875 w 2657475"/>
                <a:gd name="connsiteY60" fmla="*/ 1012825 h 2000250"/>
                <a:gd name="connsiteX61" fmla="*/ 2393950 w 2657475"/>
                <a:gd name="connsiteY61" fmla="*/ 1000125 h 2000250"/>
                <a:gd name="connsiteX62" fmla="*/ 2311400 w 2657475"/>
                <a:gd name="connsiteY62" fmla="*/ 996950 h 2000250"/>
                <a:gd name="connsiteX63" fmla="*/ 2282825 w 2657475"/>
                <a:gd name="connsiteY63" fmla="*/ 1006475 h 2000250"/>
                <a:gd name="connsiteX64" fmla="*/ 2273300 w 2657475"/>
                <a:gd name="connsiteY64" fmla="*/ 1054100 h 2000250"/>
                <a:gd name="connsiteX65" fmla="*/ 2270125 w 2657475"/>
                <a:gd name="connsiteY65" fmla="*/ 1069975 h 2000250"/>
                <a:gd name="connsiteX66" fmla="*/ 2257425 w 2657475"/>
                <a:gd name="connsiteY66" fmla="*/ 1089025 h 2000250"/>
                <a:gd name="connsiteX67" fmla="*/ 2247900 w 2657475"/>
                <a:gd name="connsiteY67" fmla="*/ 1104900 h 2000250"/>
                <a:gd name="connsiteX68" fmla="*/ 2228850 w 2657475"/>
                <a:gd name="connsiteY68" fmla="*/ 1130300 h 2000250"/>
                <a:gd name="connsiteX69" fmla="*/ 2212975 w 2657475"/>
                <a:gd name="connsiteY69" fmla="*/ 1155700 h 2000250"/>
                <a:gd name="connsiteX70" fmla="*/ 2206625 w 2657475"/>
                <a:gd name="connsiteY70" fmla="*/ 1174750 h 2000250"/>
                <a:gd name="connsiteX71" fmla="*/ 2187575 w 2657475"/>
                <a:gd name="connsiteY71" fmla="*/ 1209675 h 2000250"/>
                <a:gd name="connsiteX72" fmla="*/ 2190750 w 2657475"/>
                <a:gd name="connsiteY72" fmla="*/ 1219200 h 2000250"/>
                <a:gd name="connsiteX73" fmla="*/ 2225675 w 2657475"/>
                <a:gd name="connsiteY73" fmla="*/ 1241425 h 2000250"/>
                <a:gd name="connsiteX74" fmla="*/ 2260600 w 2657475"/>
                <a:gd name="connsiteY74" fmla="*/ 1244600 h 2000250"/>
                <a:gd name="connsiteX75" fmla="*/ 2257425 w 2657475"/>
                <a:gd name="connsiteY75" fmla="*/ 1260475 h 2000250"/>
                <a:gd name="connsiteX76" fmla="*/ 2232025 w 2657475"/>
                <a:gd name="connsiteY76" fmla="*/ 1266825 h 2000250"/>
                <a:gd name="connsiteX77" fmla="*/ 2206625 w 2657475"/>
                <a:gd name="connsiteY77" fmla="*/ 1270000 h 2000250"/>
                <a:gd name="connsiteX78" fmla="*/ 2193925 w 2657475"/>
                <a:gd name="connsiteY78" fmla="*/ 1273175 h 2000250"/>
                <a:gd name="connsiteX79" fmla="*/ 2159000 w 2657475"/>
                <a:gd name="connsiteY79" fmla="*/ 1279525 h 2000250"/>
                <a:gd name="connsiteX80" fmla="*/ 2098675 w 2657475"/>
                <a:gd name="connsiteY80" fmla="*/ 1139825 h 2000250"/>
                <a:gd name="connsiteX81" fmla="*/ 2124075 w 2657475"/>
                <a:gd name="connsiteY81" fmla="*/ 1133475 h 2000250"/>
                <a:gd name="connsiteX82" fmla="*/ 2155825 w 2657475"/>
                <a:gd name="connsiteY82" fmla="*/ 1111250 h 2000250"/>
                <a:gd name="connsiteX83" fmla="*/ 2159000 w 2657475"/>
                <a:gd name="connsiteY83" fmla="*/ 1092200 h 2000250"/>
                <a:gd name="connsiteX84" fmla="*/ 2162175 w 2657475"/>
                <a:gd name="connsiteY84" fmla="*/ 1076325 h 2000250"/>
                <a:gd name="connsiteX85" fmla="*/ 2178050 w 2657475"/>
                <a:gd name="connsiteY85" fmla="*/ 1047750 h 2000250"/>
                <a:gd name="connsiteX86" fmla="*/ 2197100 w 2657475"/>
                <a:gd name="connsiteY86" fmla="*/ 1038225 h 2000250"/>
                <a:gd name="connsiteX87" fmla="*/ 2206625 w 2657475"/>
                <a:gd name="connsiteY87" fmla="*/ 1035050 h 2000250"/>
                <a:gd name="connsiteX88" fmla="*/ 2216150 w 2657475"/>
                <a:gd name="connsiteY88" fmla="*/ 1028700 h 2000250"/>
                <a:gd name="connsiteX89" fmla="*/ 2216150 w 2657475"/>
                <a:gd name="connsiteY89" fmla="*/ 1000125 h 2000250"/>
                <a:gd name="connsiteX90" fmla="*/ 2206625 w 2657475"/>
                <a:gd name="connsiteY90" fmla="*/ 990600 h 2000250"/>
                <a:gd name="connsiteX91" fmla="*/ 2152650 w 2657475"/>
                <a:gd name="connsiteY91" fmla="*/ 990600 h 2000250"/>
                <a:gd name="connsiteX92" fmla="*/ 2130425 w 2657475"/>
                <a:gd name="connsiteY92" fmla="*/ 971550 h 2000250"/>
                <a:gd name="connsiteX93" fmla="*/ 2127250 w 2657475"/>
                <a:gd name="connsiteY93" fmla="*/ 962025 h 2000250"/>
                <a:gd name="connsiteX94" fmla="*/ 2117725 w 2657475"/>
                <a:gd name="connsiteY94" fmla="*/ 952500 h 2000250"/>
                <a:gd name="connsiteX95" fmla="*/ 2105025 w 2657475"/>
                <a:gd name="connsiteY95" fmla="*/ 946150 h 2000250"/>
                <a:gd name="connsiteX96" fmla="*/ 2063750 w 2657475"/>
                <a:gd name="connsiteY96" fmla="*/ 930275 h 2000250"/>
                <a:gd name="connsiteX97" fmla="*/ 2051050 w 2657475"/>
                <a:gd name="connsiteY97" fmla="*/ 933450 h 2000250"/>
                <a:gd name="connsiteX98" fmla="*/ 2022475 w 2657475"/>
                <a:gd name="connsiteY98" fmla="*/ 936625 h 2000250"/>
                <a:gd name="connsiteX99" fmla="*/ 2012950 w 2657475"/>
                <a:gd name="connsiteY99" fmla="*/ 933450 h 2000250"/>
                <a:gd name="connsiteX100" fmla="*/ 2000250 w 2657475"/>
                <a:gd name="connsiteY100" fmla="*/ 923925 h 2000250"/>
                <a:gd name="connsiteX101" fmla="*/ 1984375 w 2657475"/>
                <a:gd name="connsiteY101" fmla="*/ 920750 h 2000250"/>
                <a:gd name="connsiteX102" fmla="*/ 1965325 w 2657475"/>
                <a:gd name="connsiteY102" fmla="*/ 930275 h 2000250"/>
                <a:gd name="connsiteX103" fmla="*/ 1952625 w 2657475"/>
                <a:gd name="connsiteY103" fmla="*/ 939800 h 2000250"/>
                <a:gd name="connsiteX104" fmla="*/ 1949450 w 2657475"/>
                <a:gd name="connsiteY104" fmla="*/ 1028700 h 2000250"/>
                <a:gd name="connsiteX105" fmla="*/ 1943100 w 2657475"/>
                <a:gd name="connsiteY105" fmla="*/ 1047750 h 2000250"/>
                <a:gd name="connsiteX106" fmla="*/ 1939925 w 2657475"/>
                <a:gd name="connsiteY106" fmla="*/ 1095375 h 2000250"/>
                <a:gd name="connsiteX107" fmla="*/ 1933575 w 2657475"/>
                <a:gd name="connsiteY107" fmla="*/ 1127125 h 2000250"/>
                <a:gd name="connsiteX108" fmla="*/ 1924050 w 2657475"/>
                <a:gd name="connsiteY108" fmla="*/ 1136650 h 2000250"/>
                <a:gd name="connsiteX109" fmla="*/ 1917700 w 2657475"/>
                <a:gd name="connsiteY109" fmla="*/ 1152525 h 2000250"/>
                <a:gd name="connsiteX110" fmla="*/ 1908175 w 2657475"/>
                <a:gd name="connsiteY110" fmla="*/ 1165225 h 2000250"/>
                <a:gd name="connsiteX111" fmla="*/ 1898650 w 2657475"/>
                <a:gd name="connsiteY111" fmla="*/ 1168400 h 2000250"/>
                <a:gd name="connsiteX112" fmla="*/ 1898650 w 2657475"/>
                <a:gd name="connsiteY112" fmla="*/ 1187450 h 2000250"/>
                <a:gd name="connsiteX113" fmla="*/ 1939925 w 2657475"/>
                <a:gd name="connsiteY113" fmla="*/ 1209675 h 2000250"/>
                <a:gd name="connsiteX114" fmla="*/ 1949450 w 2657475"/>
                <a:gd name="connsiteY114" fmla="*/ 1212850 h 2000250"/>
                <a:gd name="connsiteX115" fmla="*/ 1971675 w 2657475"/>
                <a:gd name="connsiteY115" fmla="*/ 1216025 h 2000250"/>
                <a:gd name="connsiteX116" fmla="*/ 2012950 w 2657475"/>
                <a:gd name="connsiteY116" fmla="*/ 1225550 h 2000250"/>
                <a:gd name="connsiteX117" fmla="*/ 2028825 w 2657475"/>
                <a:gd name="connsiteY117" fmla="*/ 1231900 h 2000250"/>
                <a:gd name="connsiteX118" fmla="*/ 2032000 w 2657475"/>
                <a:gd name="connsiteY118" fmla="*/ 1244600 h 2000250"/>
                <a:gd name="connsiteX119" fmla="*/ 2057400 w 2657475"/>
                <a:gd name="connsiteY119" fmla="*/ 1273175 h 2000250"/>
                <a:gd name="connsiteX120" fmla="*/ 2063750 w 2657475"/>
                <a:gd name="connsiteY120" fmla="*/ 1285875 h 2000250"/>
                <a:gd name="connsiteX121" fmla="*/ 2073275 w 2657475"/>
                <a:gd name="connsiteY121" fmla="*/ 1295400 h 2000250"/>
                <a:gd name="connsiteX122" fmla="*/ 2076450 w 2657475"/>
                <a:gd name="connsiteY122" fmla="*/ 1336675 h 2000250"/>
                <a:gd name="connsiteX123" fmla="*/ 2057400 w 2657475"/>
                <a:gd name="connsiteY123" fmla="*/ 1355725 h 2000250"/>
                <a:gd name="connsiteX124" fmla="*/ 2047875 w 2657475"/>
                <a:gd name="connsiteY124" fmla="*/ 1365250 h 2000250"/>
                <a:gd name="connsiteX125" fmla="*/ 2016125 w 2657475"/>
                <a:gd name="connsiteY125" fmla="*/ 1390650 h 2000250"/>
                <a:gd name="connsiteX126" fmla="*/ 2012950 w 2657475"/>
                <a:gd name="connsiteY126" fmla="*/ 1431925 h 2000250"/>
                <a:gd name="connsiteX127" fmla="*/ 2003425 w 2657475"/>
                <a:gd name="connsiteY127" fmla="*/ 1489075 h 2000250"/>
                <a:gd name="connsiteX128" fmla="*/ 2000250 w 2657475"/>
                <a:gd name="connsiteY128" fmla="*/ 1511300 h 2000250"/>
                <a:gd name="connsiteX129" fmla="*/ 1993900 w 2657475"/>
                <a:gd name="connsiteY129" fmla="*/ 1524000 h 2000250"/>
                <a:gd name="connsiteX130" fmla="*/ 1984375 w 2657475"/>
                <a:gd name="connsiteY130" fmla="*/ 1571625 h 2000250"/>
                <a:gd name="connsiteX131" fmla="*/ 1968500 w 2657475"/>
                <a:gd name="connsiteY131" fmla="*/ 1574800 h 2000250"/>
                <a:gd name="connsiteX132" fmla="*/ 1955800 w 2657475"/>
                <a:gd name="connsiteY132" fmla="*/ 1571625 h 2000250"/>
                <a:gd name="connsiteX133" fmla="*/ 1914525 w 2657475"/>
                <a:gd name="connsiteY133" fmla="*/ 1555750 h 2000250"/>
                <a:gd name="connsiteX134" fmla="*/ 1889125 w 2657475"/>
                <a:gd name="connsiteY134" fmla="*/ 1552575 h 2000250"/>
                <a:gd name="connsiteX135" fmla="*/ 1873250 w 2657475"/>
                <a:gd name="connsiteY135" fmla="*/ 1555750 h 2000250"/>
                <a:gd name="connsiteX136" fmla="*/ 1851025 w 2657475"/>
                <a:gd name="connsiteY136" fmla="*/ 1558925 h 2000250"/>
                <a:gd name="connsiteX137" fmla="*/ 1841500 w 2657475"/>
                <a:gd name="connsiteY137" fmla="*/ 1562100 h 2000250"/>
                <a:gd name="connsiteX138" fmla="*/ 1822450 w 2657475"/>
                <a:gd name="connsiteY138" fmla="*/ 1565275 h 2000250"/>
                <a:gd name="connsiteX139" fmla="*/ 1812925 w 2657475"/>
                <a:gd name="connsiteY139" fmla="*/ 1568450 h 2000250"/>
                <a:gd name="connsiteX140" fmla="*/ 1781175 w 2657475"/>
                <a:gd name="connsiteY140" fmla="*/ 1577975 h 2000250"/>
                <a:gd name="connsiteX141" fmla="*/ 1771650 w 2657475"/>
                <a:gd name="connsiteY141" fmla="*/ 1581150 h 2000250"/>
                <a:gd name="connsiteX142" fmla="*/ 1758950 w 2657475"/>
                <a:gd name="connsiteY142" fmla="*/ 1590675 h 2000250"/>
                <a:gd name="connsiteX143" fmla="*/ 1747604 w 2657475"/>
                <a:gd name="connsiteY143" fmla="*/ 1598571 h 2000250"/>
                <a:gd name="connsiteX144" fmla="*/ 1751148 w 2657475"/>
                <a:gd name="connsiteY144" fmla="*/ 1595699 h 2000250"/>
                <a:gd name="connsiteX145" fmla="*/ 1753138 w 2657475"/>
                <a:gd name="connsiteY145" fmla="*/ 1594202 h 2000250"/>
                <a:gd name="connsiteX146" fmla="*/ 1751215 w 2657475"/>
                <a:gd name="connsiteY146" fmla="*/ 1595644 h 2000250"/>
                <a:gd name="connsiteX147" fmla="*/ 1751148 w 2657475"/>
                <a:gd name="connsiteY147" fmla="*/ 1595699 h 2000250"/>
                <a:gd name="connsiteX148" fmla="*/ 1736725 w 2657475"/>
                <a:gd name="connsiteY148" fmla="*/ 1606550 h 2000250"/>
                <a:gd name="connsiteX149" fmla="*/ 1720850 w 2657475"/>
                <a:gd name="connsiteY149" fmla="*/ 1609725 h 2000250"/>
                <a:gd name="connsiteX150" fmla="*/ 1692275 w 2657475"/>
                <a:gd name="connsiteY150" fmla="*/ 1609725 h 2000250"/>
                <a:gd name="connsiteX151" fmla="*/ 1682750 w 2657475"/>
                <a:gd name="connsiteY151" fmla="*/ 1600200 h 2000250"/>
                <a:gd name="connsiteX152" fmla="*/ 1641475 w 2657475"/>
                <a:gd name="connsiteY152" fmla="*/ 1597025 h 2000250"/>
                <a:gd name="connsiteX153" fmla="*/ 1616075 w 2657475"/>
                <a:gd name="connsiteY153" fmla="*/ 1603375 h 2000250"/>
                <a:gd name="connsiteX154" fmla="*/ 1520825 w 2657475"/>
                <a:gd name="connsiteY154" fmla="*/ 1606550 h 2000250"/>
                <a:gd name="connsiteX155" fmla="*/ 1511300 w 2657475"/>
                <a:gd name="connsiteY155" fmla="*/ 1609725 h 2000250"/>
                <a:gd name="connsiteX156" fmla="*/ 1489075 w 2657475"/>
                <a:gd name="connsiteY156" fmla="*/ 1616075 h 2000250"/>
                <a:gd name="connsiteX157" fmla="*/ 1479550 w 2657475"/>
                <a:gd name="connsiteY157" fmla="*/ 1625600 h 2000250"/>
                <a:gd name="connsiteX158" fmla="*/ 1460500 w 2657475"/>
                <a:gd name="connsiteY158" fmla="*/ 1641475 h 2000250"/>
                <a:gd name="connsiteX159" fmla="*/ 1460500 w 2657475"/>
                <a:gd name="connsiteY159" fmla="*/ 1711325 h 2000250"/>
                <a:gd name="connsiteX160" fmla="*/ 1463675 w 2657475"/>
                <a:gd name="connsiteY160" fmla="*/ 1778000 h 2000250"/>
                <a:gd name="connsiteX161" fmla="*/ 1460500 w 2657475"/>
                <a:gd name="connsiteY161" fmla="*/ 1790700 h 2000250"/>
                <a:gd name="connsiteX162" fmla="*/ 1457325 w 2657475"/>
                <a:gd name="connsiteY162" fmla="*/ 1800225 h 2000250"/>
                <a:gd name="connsiteX163" fmla="*/ 1454150 w 2657475"/>
                <a:gd name="connsiteY163" fmla="*/ 1816100 h 2000250"/>
                <a:gd name="connsiteX164" fmla="*/ 1448269 w 2657475"/>
                <a:gd name="connsiteY164" fmla="*/ 1827807 h 2000250"/>
                <a:gd name="connsiteX165" fmla="*/ 1446881 w 2657475"/>
                <a:gd name="connsiteY165" fmla="*/ 1830524 h 2000250"/>
                <a:gd name="connsiteX166" fmla="*/ 1446746 w 2657475"/>
                <a:gd name="connsiteY166" fmla="*/ 1830745 h 2000250"/>
                <a:gd name="connsiteX167" fmla="*/ 1445748 w 2657475"/>
                <a:gd name="connsiteY167" fmla="*/ 1832744 h 2000250"/>
                <a:gd name="connsiteX168" fmla="*/ 1446881 w 2657475"/>
                <a:gd name="connsiteY168" fmla="*/ 1830524 h 2000250"/>
                <a:gd name="connsiteX169" fmla="*/ 1449064 w 2657475"/>
                <a:gd name="connsiteY169" fmla="*/ 1826980 h 2000250"/>
                <a:gd name="connsiteX170" fmla="*/ 1444625 w 2657475"/>
                <a:gd name="connsiteY170" fmla="*/ 1838325 h 2000250"/>
                <a:gd name="connsiteX171" fmla="*/ 1431925 w 2657475"/>
                <a:gd name="connsiteY171" fmla="*/ 1860550 h 2000250"/>
                <a:gd name="connsiteX172" fmla="*/ 1428750 w 2657475"/>
                <a:gd name="connsiteY172" fmla="*/ 1870075 h 2000250"/>
                <a:gd name="connsiteX173" fmla="*/ 1409700 w 2657475"/>
                <a:gd name="connsiteY173" fmla="*/ 1898650 h 2000250"/>
                <a:gd name="connsiteX174" fmla="*/ 1406525 w 2657475"/>
                <a:gd name="connsiteY174" fmla="*/ 1908175 h 2000250"/>
                <a:gd name="connsiteX175" fmla="*/ 1387475 w 2657475"/>
                <a:gd name="connsiteY175" fmla="*/ 1927225 h 2000250"/>
                <a:gd name="connsiteX176" fmla="*/ 1377950 w 2657475"/>
                <a:gd name="connsiteY176" fmla="*/ 1933575 h 2000250"/>
                <a:gd name="connsiteX177" fmla="*/ 1368425 w 2657475"/>
                <a:gd name="connsiteY177" fmla="*/ 1968500 h 2000250"/>
                <a:gd name="connsiteX178" fmla="*/ 1365250 w 2657475"/>
                <a:gd name="connsiteY178" fmla="*/ 2000250 h 2000250"/>
                <a:gd name="connsiteX179" fmla="*/ 996950 w 2657475"/>
                <a:gd name="connsiteY179" fmla="*/ 2000250 h 2000250"/>
                <a:gd name="connsiteX180" fmla="*/ 977900 w 2657475"/>
                <a:gd name="connsiteY180" fmla="*/ 1974850 h 2000250"/>
                <a:gd name="connsiteX181" fmla="*/ 974725 w 2657475"/>
                <a:gd name="connsiteY181" fmla="*/ 1955800 h 2000250"/>
                <a:gd name="connsiteX182" fmla="*/ 968375 w 2657475"/>
                <a:gd name="connsiteY182" fmla="*/ 1943100 h 2000250"/>
                <a:gd name="connsiteX183" fmla="*/ 965200 w 2657475"/>
                <a:gd name="connsiteY183" fmla="*/ 1933575 h 2000250"/>
                <a:gd name="connsiteX184" fmla="*/ 946150 w 2657475"/>
                <a:gd name="connsiteY184" fmla="*/ 1911350 h 2000250"/>
                <a:gd name="connsiteX185" fmla="*/ 936625 w 2657475"/>
                <a:gd name="connsiteY185" fmla="*/ 1908175 h 2000250"/>
                <a:gd name="connsiteX186" fmla="*/ 904875 w 2657475"/>
                <a:gd name="connsiteY186" fmla="*/ 1879600 h 2000250"/>
                <a:gd name="connsiteX187" fmla="*/ 879475 w 2657475"/>
                <a:gd name="connsiteY187" fmla="*/ 1863725 h 2000250"/>
                <a:gd name="connsiteX188" fmla="*/ 869950 w 2657475"/>
                <a:gd name="connsiteY188" fmla="*/ 1692275 h 2000250"/>
                <a:gd name="connsiteX189" fmla="*/ 876300 w 2657475"/>
                <a:gd name="connsiteY189" fmla="*/ 1682750 h 2000250"/>
                <a:gd name="connsiteX190" fmla="*/ 901700 w 2657475"/>
                <a:gd name="connsiteY190" fmla="*/ 1625600 h 2000250"/>
                <a:gd name="connsiteX191" fmla="*/ 889000 w 2657475"/>
                <a:gd name="connsiteY191" fmla="*/ 1581150 h 2000250"/>
                <a:gd name="connsiteX192" fmla="*/ 876300 w 2657475"/>
                <a:gd name="connsiteY192" fmla="*/ 1565275 h 2000250"/>
                <a:gd name="connsiteX193" fmla="*/ 854075 w 2657475"/>
                <a:gd name="connsiteY193" fmla="*/ 1555750 h 2000250"/>
                <a:gd name="connsiteX194" fmla="*/ 844550 w 2657475"/>
                <a:gd name="connsiteY194" fmla="*/ 1552575 h 2000250"/>
                <a:gd name="connsiteX195" fmla="*/ 822325 w 2657475"/>
                <a:gd name="connsiteY195" fmla="*/ 1546225 h 2000250"/>
                <a:gd name="connsiteX196" fmla="*/ 777875 w 2657475"/>
                <a:gd name="connsiteY196" fmla="*/ 1543050 h 2000250"/>
                <a:gd name="connsiteX197" fmla="*/ 768350 w 2657475"/>
                <a:gd name="connsiteY197" fmla="*/ 1536700 h 2000250"/>
                <a:gd name="connsiteX198" fmla="*/ 758825 w 2657475"/>
                <a:gd name="connsiteY198" fmla="*/ 1533525 h 2000250"/>
                <a:gd name="connsiteX199" fmla="*/ 749300 w 2657475"/>
                <a:gd name="connsiteY199" fmla="*/ 1527175 h 2000250"/>
                <a:gd name="connsiteX200" fmla="*/ 730250 w 2657475"/>
                <a:gd name="connsiteY200" fmla="*/ 1524000 h 2000250"/>
                <a:gd name="connsiteX201" fmla="*/ 657225 w 2657475"/>
                <a:gd name="connsiteY201" fmla="*/ 1520825 h 2000250"/>
                <a:gd name="connsiteX202" fmla="*/ 644525 w 2657475"/>
                <a:gd name="connsiteY202" fmla="*/ 1527175 h 2000250"/>
                <a:gd name="connsiteX203" fmla="*/ 635000 w 2657475"/>
                <a:gd name="connsiteY203" fmla="*/ 1543050 h 2000250"/>
                <a:gd name="connsiteX204" fmla="*/ 625475 w 2657475"/>
                <a:gd name="connsiteY204" fmla="*/ 1555750 h 2000250"/>
                <a:gd name="connsiteX205" fmla="*/ 606425 w 2657475"/>
                <a:gd name="connsiteY205" fmla="*/ 1543050 h 2000250"/>
                <a:gd name="connsiteX206" fmla="*/ 603250 w 2657475"/>
                <a:gd name="connsiteY206" fmla="*/ 1485900 h 2000250"/>
                <a:gd name="connsiteX207" fmla="*/ 593725 w 2657475"/>
                <a:gd name="connsiteY207" fmla="*/ 1482725 h 2000250"/>
                <a:gd name="connsiteX208" fmla="*/ 584200 w 2657475"/>
                <a:gd name="connsiteY208" fmla="*/ 1473200 h 2000250"/>
                <a:gd name="connsiteX209" fmla="*/ 555625 w 2657475"/>
                <a:gd name="connsiteY209" fmla="*/ 1450975 h 2000250"/>
                <a:gd name="connsiteX210" fmla="*/ 546100 w 2657475"/>
                <a:gd name="connsiteY210" fmla="*/ 1447800 h 2000250"/>
                <a:gd name="connsiteX211" fmla="*/ 533400 w 2657475"/>
                <a:gd name="connsiteY211" fmla="*/ 1435100 h 2000250"/>
                <a:gd name="connsiteX212" fmla="*/ 514350 w 2657475"/>
                <a:gd name="connsiteY212" fmla="*/ 1425575 h 2000250"/>
                <a:gd name="connsiteX213" fmla="*/ 501650 w 2657475"/>
                <a:gd name="connsiteY213" fmla="*/ 1419225 h 2000250"/>
                <a:gd name="connsiteX214" fmla="*/ 498475 w 2657475"/>
                <a:gd name="connsiteY214" fmla="*/ 1374775 h 2000250"/>
                <a:gd name="connsiteX215" fmla="*/ 492125 w 2657475"/>
                <a:gd name="connsiteY215" fmla="*/ 1365250 h 2000250"/>
                <a:gd name="connsiteX216" fmla="*/ 469900 w 2657475"/>
                <a:gd name="connsiteY216" fmla="*/ 1327150 h 2000250"/>
                <a:gd name="connsiteX217" fmla="*/ 444500 w 2657475"/>
                <a:gd name="connsiteY217" fmla="*/ 1304925 h 2000250"/>
                <a:gd name="connsiteX218" fmla="*/ 431800 w 2657475"/>
                <a:gd name="connsiteY218" fmla="*/ 1263650 h 2000250"/>
                <a:gd name="connsiteX219" fmla="*/ 431800 w 2657475"/>
                <a:gd name="connsiteY219" fmla="*/ 1212850 h 2000250"/>
                <a:gd name="connsiteX220" fmla="*/ 428625 w 2657475"/>
                <a:gd name="connsiteY220" fmla="*/ 1203325 h 2000250"/>
                <a:gd name="connsiteX221" fmla="*/ 428625 w 2657475"/>
                <a:gd name="connsiteY221" fmla="*/ 1117600 h 2000250"/>
                <a:gd name="connsiteX222" fmla="*/ 438150 w 2657475"/>
                <a:gd name="connsiteY222" fmla="*/ 1104900 h 2000250"/>
                <a:gd name="connsiteX223" fmla="*/ 441325 w 2657475"/>
                <a:gd name="connsiteY223" fmla="*/ 1095375 h 2000250"/>
                <a:gd name="connsiteX224" fmla="*/ 450850 w 2657475"/>
                <a:gd name="connsiteY224" fmla="*/ 1016000 h 2000250"/>
                <a:gd name="connsiteX225" fmla="*/ 358775 w 2657475"/>
                <a:gd name="connsiteY225" fmla="*/ 939800 h 2000250"/>
                <a:gd name="connsiteX226" fmla="*/ 339725 w 2657475"/>
                <a:gd name="connsiteY226" fmla="*/ 942975 h 2000250"/>
                <a:gd name="connsiteX227" fmla="*/ 327025 w 2657475"/>
                <a:gd name="connsiteY227" fmla="*/ 958850 h 2000250"/>
                <a:gd name="connsiteX228" fmla="*/ 301625 w 2657475"/>
                <a:gd name="connsiteY228" fmla="*/ 939800 h 2000250"/>
                <a:gd name="connsiteX229" fmla="*/ 298450 w 2657475"/>
                <a:gd name="connsiteY229" fmla="*/ 930275 h 2000250"/>
                <a:gd name="connsiteX230" fmla="*/ 292100 w 2657475"/>
                <a:gd name="connsiteY230" fmla="*/ 920750 h 2000250"/>
                <a:gd name="connsiteX231" fmla="*/ 288925 w 2657475"/>
                <a:gd name="connsiteY231" fmla="*/ 911225 h 2000250"/>
                <a:gd name="connsiteX232" fmla="*/ 273050 w 2657475"/>
                <a:gd name="connsiteY232" fmla="*/ 889000 h 2000250"/>
                <a:gd name="connsiteX233" fmla="*/ 196850 w 2657475"/>
                <a:gd name="connsiteY233" fmla="*/ 885825 h 2000250"/>
                <a:gd name="connsiteX234" fmla="*/ 193675 w 2657475"/>
                <a:gd name="connsiteY234" fmla="*/ 844550 h 2000250"/>
                <a:gd name="connsiteX235" fmla="*/ 168275 w 2657475"/>
                <a:gd name="connsiteY235" fmla="*/ 800100 h 2000250"/>
                <a:gd name="connsiteX236" fmla="*/ 98425 w 2657475"/>
                <a:gd name="connsiteY236" fmla="*/ 784225 h 2000250"/>
                <a:gd name="connsiteX237" fmla="*/ 0 w 2657475"/>
                <a:gd name="connsiteY237" fmla="*/ 688975 h 2000250"/>
                <a:gd name="connsiteX238" fmla="*/ 11967 w 2657475"/>
                <a:gd name="connsiteY238" fmla="*/ 685556 h 2000250"/>
                <a:gd name="connsiteX239" fmla="*/ 74613 w 2657475"/>
                <a:gd name="connsiteY239" fmla="*/ 706438 h 2000250"/>
                <a:gd name="connsiteX240" fmla="*/ 150813 w 2657475"/>
                <a:gd name="connsiteY240" fmla="*/ 682625 h 2000250"/>
                <a:gd name="connsiteX241" fmla="*/ 236538 w 2657475"/>
                <a:gd name="connsiteY241" fmla="*/ 725488 h 2000250"/>
                <a:gd name="connsiteX242" fmla="*/ 327025 w 2657475"/>
                <a:gd name="connsiteY242" fmla="*/ 692150 h 2000250"/>
                <a:gd name="connsiteX243" fmla="*/ 417513 w 2657475"/>
                <a:gd name="connsiteY243" fmla="*/ 677863 h 2000250"/>
                <a:gd name="connsiteX244" fmla="*/ 446088 w 2657475"/>
                <a:gd name="connsiteY244" fmla="*/ 635000 h 2000250"/>
                <a:gd name="connsiteX245" fmla="*/ 569913 w 2657475"/>
                <a:gd name="connsiteY245" fmla="*/ 677863 h 2000250"/>
                <a:gd name="connsiteX246" fmla="*/ 636588 w 2657475"/>
                <a:gd name="connsiteY246" fmla="*/ 654050 h 2000250"/>
                <a:gd name="connsiteX247" fmla="*/ 646113 w 2657475"/>
                <a:gd name="connsiteY247" fmla="*/ 568325 h 2000250"/>
                <a:gd name="connsiteX248" fmla="*/ 612775 w 2657475"/>
                <a:gd name="connsiteY248" fmla="*/ 530225 h 2000250"/>
                <a:gd name="connsiteX249" fmla="*/ 598488 w 2657475"/>
                <a:gd name="connsiteY249" fmla="*/ 506413 h 2000250"/>
                <a:gd name="connsiteX250" fmla="*/ 569913 w 2657475"/>
                <a:gd name="connsiteY250" fmla="*/ 492125 h 2000250"/>
                <a:gd name="connsiteX251" fmla="*/ 568454 w 2657475"/>
                <a:gd name="connsiteY251" fmla="*/ 492013 h 2000250"/>
                <a:gd name="connsiteX252" fmla="*/ 564632 w 2657475"/>
                <a:gd name="connsiteY252" fmla="*/ 483905 h 2000250"/>
                <a:gd name="connsiteX253" fmla="*/ 565150 w 2657475"/>
                <a:gd name="connsiteY253" fmla="*/ 412750 h 2000250"/>
                <a:gd name="connsiteX254" fmla="*/ 574675 w 2657475"/>
                <a:gd name="connsiteY254" fmla="*/ 381000 h 2000250"/>
                <a:gd name="connsiteX255" fmla="*/ 581025 w 2657475"/>
                <a:gd name="connsiteY255" fmla="*/ 368300 h 2000250"/>
                <a:gd name="connsiteX256" fmla="*/ 590550 w 2657475"/>
                <a:gd name="connsiteY256" fmla="*/ 358775 h 2000250"/>
                <a:gd name="connsiteX257" fmla="*/ 600075 w 2657475"/>
                <a:gd name="connsiteY257" fmla="*/ 346075 h 2000250"/>
                <a:gd name="connsiteX258" fmla="*/ 612775 w 2657475"/>
                <a:gd name="connsiteY258" fmla="*/ 336550 h 2000250"/>
                <a:gd name="connsiteX259" fmla="*/ 644525 w 2657475"/>
                <a:gd name="connsiteY259" fmla="*/ 314325 h 2000250"/>
                <a:gd name="connsiteX260" fmla="*/ 669925 w 2657475"/>
                <a:gd name="connsiteY260" fmla="*/ 292100 h 2000250"/>
                <a:gd name="connsiteX261" fmla="*/ 682625 w 2657475"/>
                <a:gd name="connsiteY261" fmla="*/ 285750 h 2000250"/>
                <a:gd name="connsiteX262" fmla="*/ 720725 w 2657475"/>
                <a:gd name="connsiteY262" fmla="*/ 282575 h 2000250"/>
                <a:gd name="connsiteX263" fmla="*/ 730250 w 2657475"/>
                <a:gd name="connsiteY263" fmla="*/ 285750 h 2000250"/>
                <a:gd name="connsiteX264" fmla="*/ 733425 w 2657475"/>
                <a:gd name="connsiteY264" fmla="*/ 298450 h 2000250"/>
                <a:gd name="connsiteX265" fmla="*/ 742950 w 2657475"/>
                <a:gd name="connsiteY265" fmla="*/ 330200 h 2000250"/>
                <a:gd name="connsiteX266" fmla="*/ 762000 w 2657475"/>
                <a:gd name="connsiteY266" fmla="*/ 336550 h 2000250"/>
                <a:gd name="connsiteX267" fmla="*/ 781050 w 2657475"/>
                <a:gd name="connsiteY267" fmla="*/ 333375 h 2000250"/>
                <a:gd name="connsiteX268" fmla="*/ 838200 w 2657475"/>
                <a:gd name="connsiteY268" fmla="*/ 304800 h 2000250"/>
                <a:gd name="connsiteX269" fmla="*/ 850900 w 2657475"/>
                <a:gd name="connsiteY269" fmla="*/ 298450 h 2000250"/>
                <a:gd name="connsiteX270" fmla="*/ 863600 w 2657475"/>
                <a:gd name="connsiteY270" fmla="*/ 269875 h 2000250"/>
                <a:gd name="connsiteX271" fmla="*/ 857250 w 2657475"/>
                <a:gd name="connsiteY271" fmla="*/ 257175 h 2000250"/>
                <a:gd name="connsiteX272" fmla="*/ 847725 w 2657475"/>
                <a:gd name="connsiteY272" fmla="*/ 250825 h 2000250"/>
                <a:gd name="connsiteX273" fmla="*/ 835025 w 2657475"/>
                <a:gd name="connsiteY273" fmla="*/ 244475 h 2000250"/>
                <a:gd name="connsiteX274" fmla="*/ 831850 w 2657475"/>
                <a:gd name="connsiteY274" fmla="*/ 219075 h 2000250"/>
                <a:gd name="connsiteX275" fmla="*/ 844550 w 2657475"/>
                <a:gd name="connsiteY275" fmla="*/ 206375 h 2000250"/>
                <a:gd name="connsiteX276" fmla="*/ 895350 w 2657475"/>
                <a:gd name="connsiteY276" fmla="*/ 196850 h 2000250"/>
                <a:gd name="connsiteX277" fmla="*/ 923925 w 2657475"/>
                <a:gd name="connsiteY277" fmla="*/ 228600 h 2000250"/>
                <a:gd name="connsiteX278" fmla="*/ 930275 w 2657475"/>
                <a:gd name="connsiteY278" fmla="*/ 254000 h 2000250"/>
                <a:gd name="connsiteX279" fmla="*/ 927100 w 2657475"/>
                <a:gd name="connsiteY279" fmla="*/ 263525 h 2000250"/>
                <a:gd name="connsiteX280" fmla="*/ 911225 w 2657475"/>
                <a:gd name="connsiteY280" fmla="*/ 282575 h 2000250"/>
                <a:gd name="connsiteX281" fmla="*/ 904875 w 2657475"/>
                <a:gd name="connsiteY281" fmla="*/ 292100 h 2000250"/>
                <a:gd name="connsiteX282" fmla="*/ 892175 w 2657475"/>
                <a:gd name="connsiteY282" fmla="*/ 307975 h 2000250"/>
                <a:gd name="connsiteX283" fmla="*/ 898525 w 2657475"/>
                <a:gd name="connsiteY283" fmla="*/ 317500 h 2000250"/>
                <a:gd name="connsiteX284" fmla="*/ 920750 w 2657475"/>
                <a:gd name="connsiteY284" fmla="*/ 336550 h 2000250"/>
                <a:gd name="connsiteX285" fmla="*/ 933450 w 2657475"/>
                <a:gd name="connsiteY285" fmla="*/ 342900 h 2000250"/>
                <a:gd name="connsiteX286" fmla="*/ 946150 w 2657475"/>
                <a:gd name="connsiteY286" fmla="*/ 358775 h 2000250"/>
                <a:gd name="connsiteX287" fmla="*/ 955675 w 2657475"/>
                <a:gd name="connsiteY287" fmla="*/ 361950 h 2000250"/>
                <a:gd name="connsiteX288" fmla="*/ 968375 w 2657475"/>
                <a:gd name="connsiteY288" fmla="*/ 374650 h 2000250"/>
                <a:gd name="connsiteX289" fmla="*/ 971550 w 2657475"/>
                <a:gd name="connsiteY289" fmla="*/ 384175 h 2000250"/>
                <a:gd name="connsiteX290" fmla="*/ 974725 w 2657475"/>
                <a:gd name="connsiteY290" fmla="*/ 422275 h 2000250"/>
                <a:gd name="connsiteX291" fmla="*/ 996950 w 2657475"/>
                <a:gd name="connsiteY291" fmla="*/ 450850 h 2000250"/>
                <a:gd name="connsiteX292" fmla="*/ 1143000 w 2657475"/>
                <a:gd name="connsiteY292" fmla="*/ 517525 h 2000250"/>
                <a:gd name="connsiteX293" fmla="*/ 1295400 w 2657475"/>
                <a:gd name="connsiteY293" fmla="*/ 542925 h 2000250"/>
                <a:gd name="connsiteX294" fmla="*/ 1425575 w 2657475"/>
                <a:gd name="connsiteY294" fmla="*/ 609600 h 2000250"/>
                <a:gd name="connsiteX295" fmla="*/ 1552575 w 2657475"/>
                <a:gd name="connsiteY295" fmla="*/ 609600 h 2000250"/>
                <a:gd name="connsiteX296" fmla="*/ 1587500 w 2657475"/>
                <a:gd name="connsiteY296" fmla="*/ 603250 h 2000250"/>
                <a:gd name="connsiteX297" fmla="*/ 1606550 w 2657475"/>
                <a:gd name="connsiteY297" fmla="*/ 600075 h 2000250"/>
                <a:gd name="connsiteX298" fmla="*/ 1622425 w 2657475"/>
                <a:gd name="connsiteY298" fmla="*/ 593725 h 2000250"/>
                <a:gd name="connsiteX299" fmla="*/ 1666875 w 2657475"/>
                <a:gd name="connsiteY299" fmla="*/ 571500 h 2000250"/>
                <a:gd name="connsiteX300" fmla="*/ 1717675 w 2657475"/>
                <a:gd name="connsiteY300" fmla="*/ 533400 h 2000250"/>
                <a:gd name="connsiteX301" fmla="*/ 1733550 w 2657475"/>
                <a:gd name="connsiteY301" fmla="*/ 498475 h 2000250"/>
                <a:gd name="connsiteX302" fmla="*/ 1739900 w 2657475"/>
                <a:gd name="connsiteY302" fmla="*/ 485775 h 2000250"/>
                <a:gd name="connsiteX303" fmla="*/ 1743075 w 2657475"/>
                <a:gd name="connsiteY303" fmla="*/ 466725 h 2000250"/>
                <a:gd name="connsiteX304" fmla="*/ 1739900 w 2657475"/>
                <a:gd name="connsiteY304" fmla="*/ 298450 h 2000250"/>
                <a:gd name="connsiteX305" fmla="*/ 1733550 w 2657475"/>
                <a:gd name="connsiteY305" fmla="*/ 279400 h 2000250"/>
                <a:gd name="connsiteX306" fmla="*/ 1720850 w 2657475"/>
                <a:gd name="connsiteY306" fmla="*/ 247650 h 2000250"/>
                <a:gd name="connsiteX307" fmla="*/ 1724025 w 2657475"/>
                <a:gd name="connsiteY307" fmla="*/ 225425 h 2000250"/>
                <a:gd name="connsiteX308" fmla="*/ 1758950 w 2657475"/>
                <a:gd name="connsiteY308" fmla="*/ 222250 h 2000250"/>
                <a:gd name="connsiteX309" fmla="*/ 1771650 w 2657475"/>
                <a:gd name="connsiteY309" fmla="*/ 228600 h 2000250"/>
                <a:gd name="connsiteX310" fmla="*/ 1781175 w 2657475"/>
                <a:gd name="connsiteY310" fmla="*/ 231775 h 2000250"/>
                <a:gd name="connsiteX311" fmla="*/ 1790700 w 2657475"/>
                <a:gd name="connsiteY311" fmla="*/ 241300 h 2000250"/>
                <a:gd name="connsiteX312" fmla="*/ 1828800 w 2657475"/>
                <a:gd name="connsiteY312" fmla="*/ 250825 h 2000250"/>
                <a:gd name="connsiteX313" fmla="*/ 1831975 w 2657475"/>
                <a:gd name="connsiteY313" fmla="*/ 241300 h 2000250"/>
                <a:gd name="connsiteX314" fmla="*/ 1844675 w 2657475"/>
                <a:gd name="connsiteY314" fmla="*/ 212725 h 2000250"/>
                <a:gd name="connsiteX315" fmla="*/ 1847850 w 2657475"/>
                <a:gd name="connsiteY315" fmla="*/ 158750 h 2000250"/>
                <a:gd name="connsiteX316" fmla="*/ 1851025 w 2657475"/>
                <a:gd name="connsiteY316" fmla="*/ 136525 h 2000250"/>
                <a:gd name="connsiteX317" fmla="*/ 1847850 w 2657475"/>
                <a:gd name="connsiteY317" fmla="*/ 127000 h 2000250"/>
                <a:gd name="connsiteX318" fmla="*/ 1809750 w 2657475"/>
                <a:gd name="connsiteY318" fmla="*/ 130175 h 2000250"/>
                <a:gd name="connsiteX319" fmla="*/ 1800225 w 2657475"/>
                <a:gd name="connsiteY319" fmla="*/ 127000 h 2000250"/>
                <a:gd name="connsiteX320" fmla="*/ 1774825 w 2657475"/>
                <a:gd name="connsiteY320" fmla="*/ 117475 h 2000250"/>
                <a:gd name="connsiteX321" fmla="*/ 1765300 w 2657475"/>
                <a:gd name="connsiteY321" fmla="*/ 111125 h 2000250"/>
                <a:gd name="connsiteX322" fmla="*/ 1762125 w 2657475"/>
                <a:gd name="connsiteY322" fmla="*/ 63500 h 2000250"/>
                <a:gd name="connsiteX323" fmla="*/ 1765300 w 2657475"/>
                <a:gd name="connsiteY323" fmla="*/ 50800 h 2000250"/>
                <a:gd name="connsiteX324" fmla="*/ 1835150 w 2657475"/>
                <a:gd name="connsiteY324" fmla="*/ 28575 h 2000250"/>
                <a:gd name="connsiteX325" fmla="*/ 1870075 w 2657475"/>
                <a:gd name="connsiteY325" fmla="*/ 47625 h 2000250"/>
                <a:gd name="connsiteX326" fmla="*/ 1927225 w 2657475"/>
                <a:gd name="connsiteY326" fmla="*/ 66675 h 2000250"/>
                <a:gd name="connsiteX327" fmla="*/ 2130425 w 2657475"/>
                <a:gd name="connsiteY327" fmla="*/ 41275 h 2000250"/>
                <a:gd name="connsiteX328" fmla="*/ 2190750 w 2657475"/>
                <a:gd name="connsiteY328" fmla="*/ 41275 h 2000250"/>
                <a:gd name="connsiteX329" fmla="*/ 2203450 w 2657475"/>
                <a:gd name="connsiteY329" fmla="*/ 47625 h 2000250"/>
                <a:gd name="connsiteX330" fmla="*/ 2197100 w 2657475"/>
                <a:gd name="connsiteY330" fmla="*/ 79375 h 2000250"/>
                <a:gd name="connsiteX331" fmla="*/ 2228850 w 2657475"/>
                <a:gd name="connsiteY331" fmla="*/ 101600 h 2000250"/>
                <a:gd name="connsiteX332" fmla="*/ 2241550 w 2657475"/>
                <a:gd name="connsiteY332" fmla="*/ 98425 h 2000250"/>
                <a:gd name="connsiteX333" fmla="*/ 2257425 w 2657475"/>
                <a:gd name="connsiteY333" fmla="*/ 85725 h 2000250"/>
                <a:gd name="connsiteX334" fmla="*/ 2266950 w 2657475"/>
                <a:gd name="connsiteY334" fmla="*/ 73025 h 2000250"/>
                <a:gd name="connsiteX335" fmla="*/ 2286000 w 2657475"/>
                <a:gd name="connsiteY335" fmla="*/ 44450 h 2000250"/>
                <a:gd name="connsiteX336" fmla="*/ 2292350 w 2657475"/>
                <a:gd name="connsiteY336" fmla="*/ 31750 h 2000250"/>
                <a:gd name="connsiteX337" fmla="*/ 2301875 w 2657475"/>
                <a:gd name="connsiteY337" fmla="*/ 12700 h 2000250"/>
                <a:gd name="connsiteX338" fmla="*/ 2343150 w 2657475"/>
                <a:gd name="connsiteY338" fmla="*/ 0 h 2000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Lst>
              <a:rect l="l" t="t" r="r" b="b"/>
              <a:pathLst>
                <a:path w="2657475" h="2000250">
                  <a:moveTo>
                    <a:pt x="2343150" y="0"/>
                  </a:moveTo>
                  <a:cubicBezTo>
                    <a:pt x="2347383" y="2117"/>
                    <a:pt x="2352064" y="3510"/>
                    <a:pt x="2355850" y="6350"/>
                  </a:cubicBezTo>
                  <a:cubicBezTo>
                    <a:pt x="2359422" y="9029"/>
                    <a:pt x="2372767" y="22176"/>
                    <a:pt x="2374900" y="28575"/>
                  </a:cubicBezTo>
                  <a:cubicBezTo>
                    <a:pt x="2377986" y="37832"/>
                    <a:pt x="2379015" y="47652"/>
                    <a:pt x="2381250" y="57150"/>
                  </a:cubicBezTo>
                  <a:cubicBezTo>
                    <a:pt x="2383249" y="65645"/>
                    <a:pt x="2385483" y="74083"/>
                    <a:pt x="2387600" y="82550"/>
                  </a:cubicBezTo>
                  <a:cubicBezTo>
                    <a:pt x="2408245" y="113517"/>
                    <a:pt x="2375145" y="66156"/>
                    <a:pt x="2406650" y="101600"/>
                  </a:cubicBezTo>
                  <a:cubicBezTo>
                    <a:pt x="2411720" y="107304"/>
                    <a:pt x="2416783" y="113463"/>
                    <a:pt x="2419350" y="120650"/>
                  </a:cubicBezTo>
                  <a:cubicBezTo>
                    <a:pt x="2424634" y="135446"/>
                    <a:pt x="2425943" y="150831"/>
                    <a:pt x="2413000" y="161925"/>
                  </a:cubicBezTo>
                  <a:cubicBezTo>
                    <a:pt x="2409687" y="164765"/>
                    <a:pt x="2404533" y="164042"/>
                    <a:pt x="2400300" y="165100"/>
                  </a:cubicBezTo>
                  <a:cubicBezTo>
                    <a:pt x="2393799" y="162933"/>
                    <a:pt x="2385984" y="161256"/>
                    <a:pt x="2381250" y="155575"/>
                  </a:cubicBezTo>
                  <a:cubicBezTo>
                    <a:pt x="2378220" y="151939"/>
                    <a:pt x="2377199" y="147012"/>
                    <a:pt x="2374900" y="142875"/>
                  </a:cubicBezTo>
                  <a:cubicBezTo>
                    <a:pt x="2371903" y="137480"/>
                    <a:pt x="2368646" y="132233"/>
                    <a:pt x="2365375" y="127000"/>
                  </a:cubicBezTo>
                  <a:cubicBezTo>
                    <a:pt x="2363353" y="123764"/>
                    <a:pt x="2360732" y="120888"/>
                    <a:pt x="2359025" y="117475"/>
                  </a:cubicBezTo>
                  <a:cubicBezTo>
                    <a:pt x="2357528" y="114482"/>
                    <a:pt x="2356908" y="111125"/>
                    <a:pt x="2355850" y="107950"/>
                  </a:cubicBezTo>
                  <a:cubicBezTo>
                    <a:pt x="2354146" y="106814"/>
                    <a:pt x="2336932" y="93795"/>
                    <a:pt x="2333625" y="98425"/>
                  </a:cubicBezTo>
                  <a:cubicBezTo>
                    <a:pt x="2328666" y="105368"/>
                    <a:pt x="2331508" y="115358"/>
                    <a:pt x="2330450" y="123825"/>
                  </a:cubicBezTo>
                  <a:cubicBezTo>
                    <a:pt x="2332455" y="129839"/>
                    <a:pt x="2337444" y="145429"/>
                    <a:pt x="2339975" y="149225"/>
                  </a:cubicBezTo>
                  <a:cubicBezTo>
                    <a:pt x="2347493" y="160502"/>
                    <a:pt x="2356908" y="170392"/>
                    <a:pt x="2365375" y="180975"/>
                  </a:cubicBezTo>
                  <a:lnTo>
                    <a:pt x="2279650" y="400050"/>
                  </a:lnTo>
                  <a:cubicBezTo>
                    <a:pt x="2279650" y="411692"/>
                    <a:pt x="2281094" y="423423"/>
                    <a:pt x="2279650" y="434975"/>
                  </a:cubicBezTo>
                  <a:cubicBezTo>
                    <a:pt x="2278943" y="440630"/>
                    <a:pt x="2275301" y="445514"/>
                    <a:pt x="2273300" y="450850"/>
                  </a:cubicBezTo>
                  <a:cubicBezTo>
                    <a:pt x="2272125" y="453984"/>
                    <a:pt x="2271183" y="457200"/>
                    <a:pt x="2270125" y="460375"/>
                  </a:cubicBezTo>
                  <a:cubicBezTo>
                    <a:pt x="2265892" y="462492"/>
                    <a:pt x="2261061" y="463695"/>
                    <a:pt x="2257425" y="466725"/>
                  </a:cubicBezTo>
                  <a:cubicBezTo>
                    <a:pt x="2254494" y="469168"/>
                    <a:pt x="2253319" y="473164"/>
                    <a:pt x="2251075" y="476250"/>
                  </a:cubicBezTo>
                  <a:cubicBezTo>
                    <a:pt x="2244850" y="484809"/>
                    <a:pt x="2238375" y="493183"/>
                    <a:pt x="2232025" y="501650"/>
                  </a:cubicBezTo>
                  <a:lnTo>
                    <a:pt x="2114550" y="628650"/>
                  </a:lnTo>
                  <a:lnTo>
                    <a:pt x="2089150" y="650875"/>
                  </a:lnTo>
                  <a:cubicBezTo>
                    <a:pt x="2089150" y="667020"/>
                    <a:pt x="2081104" y="699955"/>
                    <a:pt x="2095500" y="717550"/>
                  </a:cubicBezTo>
                  <a:cubicBezTo>
                    <a:pt x="2102134" y="725659"/>
                    <a:pt x="2110317" y="732367"/>
                    <a:pt x="2117725" y="739775"/>
                  </a:cubicBezTo>
                  <a:lnTo>
                    <a:pt x="2216150" y="644525"/>
                  </a:lnTo>
                  <a:cubicBezTo>
                    <a:pt x="2220615" y="648990"/>
                    <a:pt x="2221670" y="650460"/>
                    <a:pt x="2228850" y="654050"/>
                  </a:cubicBezTo>
                  <a:cubicBezTo>
                    <a:pt x="2231843" y="655547"/>
                    <a:pt x="2235382" y="655728"/>
                    <a:pt x="2238375" y="657225"/>
                  </a:cubicBezTo>
                  <a:cubicBezTo>
                    <a:pt x="2241788" y="658932"/>
                    <a:pt x="2244587" y="661682"/>
                    <a:pt x="2247900" y="663575"/>
                  </a:cubicBezTo>
                  <a:cubicBezTo>
                    <a:pt x="2273544" y="678229"/>
                    <a:pt x="2272488" y="670585"/>
                    <a:pt x="2317750" y="673100"/>
                  </a:cubicBezTo>
                  <a:cubicBezTo>
                    <a:pt x="2321983" y="670983"/>
                    <a:pt x="2326018" y="668412"/>
                    <a:pt x="2330450" y="666750"/>
                  </a:cubicBezTo>
                  <a:cubicBezTo>
                    <a:pt x="2347946" y="660189"/>
                    <a:pt x="2384146" y="661013"/>
                    <a:pt x="2393950" y="660400"/>
                  </a:cubicBezTo>
                  <a:cubicBezTo>
                    <a:pt x="2397125" y="664633"/>
                    <a:pt x="2400850" y="668506"/>
                    <a:pt x="2403475" y="673100"/>
                  </a:cubicBezTo>
                  <a:cubicBezTo>
                    <a:pt x="2405135" y="676006"/>
                    <a:pt x="2405475" y="679491"/>
                    <a:pt x="2406650" y="682625"/>
                  </a:cubicBezTo>
                  <a:cubicBezTo>
                    <a:pt x="2408651" y="687961"/>
                    <a:pt x="2410685" y="693292"/>
                    <a:pt x="2413000" y="698500"/>
                  </a:cubicBezTo>
                  <a:cubicBezTo>
                    <a:pt x="2416433" y="706224"/>
                    <a:pt x="2424174" y="718935"/>
                    <a:pt x="2425700" y="727075"/>
                  </a:cubicBezTo>
                  <a:cubicBezTo>
                    <a:pt x="2427854" y="738564"/>
                    <a:pt x="2429653" y="750336"/>
                    <a:pt x="2428875" y="762000"/>
                  </a:cubicBezTo>
                  <a:cubicBezTo>
                    <a:pt x="2428560" y="766723"/>
                    <a:pt x="2424642" y="770467"/>
                    <a:pt x="2422525" y="774700"/>
                  </a:cubicBezTo>
                  <a:cubicBezTo>
                    <a:pt x="2419350" y="776817"/>
                    <a:pt x="2415535" y="778198"/>
                    <a:pt x="2413000" y="781050"/>
                  </a:cubicBezTo>
                  <a:cubicBezTo>
                    <a:pt x="2403872" y="791319"/>
                    <a:pt x="2388186" y="817577"/>
                    <a:pt x="2381250" y="828675"/>
                  </a:cubicBezTo>
                  <a:lnTo>
                    <a:pt x="2613025" y="911225"/>
                  </a:lnTo>
                  <a:cubicBezTo>
                    <a:pt x="2613025" y="912283"/>
                    <a:pt x="2612552" y="913453"/>
                    <a:pt x="2613025" y="914400"/>
                  </a:cubicBezTo>
                  <a:cubicBezTo>
                    <a:pt x="2626879" y="942107"/>
                    <a:pt x="2609987" y="902527"/>
                    <a:pt x="2632075" y="933450"/>
                  </a:cubicBezTo>
                  <a:cubicBezTo>
                    <a:pt x="2634611" y="937001"/>
                    <a:pt x="2633718" y="942064"/>
                    <a:pt x="2635250" y="946150"/>
                  </a:cubicBezTo>
                  <a:cubicBezTo>
                    <a:pt x="2636912" y="950582"/>
                    <a:pt x="2640452" y="954258"/>
                    <a:pt x="2641600" y="958850"/>
                  </a:cubicBezTo>
                  <a:cubicBezTo>
                    <a:pt x="2643669" y="967128"/>
                    <a:pt x="2644207" y="975736"/>
                    <a:pt x="2644775" y="984250"/>
                  </a:cubicBezTo>
                  <a:cubicBezTo>
                    <a:pt x="2646325" y="1007506"/>
                    <a:pt x="2646892" y="1030817"/>
                    <a:pt x="2647950" y="1054100"/>
                  </a:cubicBezTo>
                  <a:cubicBezTo>
                    <a:pt x="2643455" y="1072078"/>
                    <a:pt x="2635938" y="1100128"/>
                    <a:pt x="2638425" y="1114425"/>
                  </a:cubicBezTo>
                  <a:cubicBezTo>
                    <a:pt x="2640238" y="1124852"/>
                    <a:pt x="2651125" y="1131358"/>
                    <a:pt x="2657475" y="1139825"/>
                  </a:cubicBezTo>
                  <a:lnTo>
                    <a:pt x="2574925" y="1143000"/>
                  </a:lnTo>
                  <a:lnTo>
                    <a:pt x="2524125" y="1085850"/>
                  </a:lnTo>
                  <a:cubicBezTo>
                    <a:pt x="2524125" y="1085850"/>
                    <a:pt x="2523041" y="1078938"/>
                    <a:pt x="2520950" y="1076325"/>
                  </a:cubicBezTo>
                  <a:cubicBezTo>
                    <a:pt x="2518566" y="1073345"/>
                    <a:pt x="2514123" y="1072673"/>
                    <a:pt x="2511425" y="1069975"/>
                  </a:cubicBezTo>
                  <a:cubicBezTo>
                    <a:pt x="2508727" y="1067277"/>
                    <a:pt x="2507192" y="1063625"/>
                    <a:pt x="2505075" y="1060450"/>
                  </a:cubicBezTo>
                  <a:cubicBezTo>
                    <a:pt x="2493840" y="1052960"/>
                    <a:pt x="2493115" y="1053376"/>
                    <a:pt x="2482850" y="1041400"/>
                  </a:cubicBezTo>
                  <a:cubicBezTo>
                    <a:pt x="2456328" y="1010458"/>
                    <a:pt x="2500004" y="1055379"/>
                    <a:pt x="2466975" y="1022350"/>
                  </a:cubicBezTo>
                  <a:cubicBezTo>
                    <a:pt x="2450402" y="1019035"/>
                    <a:pt x="2446498" y="1018699"/>
                    <a:pt x="2428875" y="1012825"/>
                  </a:cubicBezTo>
                  <a:cubicBezTo>
                    <a:pt x="2421463" y="1010354"/>
                    <a:pt x="2401169" y="1000802"/>
                    <a:pt x="2393950" y="1000125"/>
                  </a:cubicBezTo>
                  <a:cubicBezTo>
                    <a:pt x="2366533" y="997555"/>
                    <a:pt x="2338917" y="998008"/>
                    <a:pt x="2311400" y="996950"/>
                  </a:cubicBezTo>
                  <a:cubicBezTo>
                    <a:pt x="2303498" y="998925"/>
                    <a:pt x="2289263" y="1001877"/>
                    <a:pt x="2282825" y="1006475"/>
                  </a:cubicBezTo>
                  <a:cubicBezTo>
                    <a:pt x="2270290" y="1015429"/>
                    <a:pt x="2273839" y="1049519"/>
                    <a:pt x="2273300" y="1054100"/>
                  </a:cubicBezTo>
                  <a:cubicBezTo>
                    <a:pt x="2272669" y="1059459"/>
                    <a:pt x="2271183" y="1064683"/>
                    <a:pt x="2270125" y="1069975"/>
                  </a:cubicBezTo>
                  <a:cubicBezTo>
                    <a:pt x="2270125" y="1069975"/>
                    <a:pt x="2261522" y="1082586"/>
                    <a:pt x="2257425" y="1089025"/>
                  </a:cubicBezTo>
                  <a:cubicBezTo>
                    <a:pt x="2254112" y="1094231"/>
                    <a:pt x="2251075" y="1099608"/>
                    <a:pt x="2247900" y="1104900"/>
                  </a:cubicBezTo>
                  <a:cubicBezTo>
                    <a:pt x="2242455" y="1113975"/>
                    <a:pt x="2235075" y="1121741"/>
                    <a:pt x="2228850" y="1130300"/>
                  </a:cubicBezTo>
                  <a:cubicBezTo>
                    <a:pt x="2225150" y="1135388"/>
                    <a:pt x="2214642" y="1152033"/>
                    <a:pt x="2212975" y="1155700"/>
                  </a:cubicBezTo>
                  <a:cubicBezTo>
                    <a:pt x="2210205" y="1161794"/>
                    <a:pt x="2209343" y="1168633"/>
                    <a:pt x="2206625" y="1174750"/>
                  </a:cubicBezTo>
                  <a:cubicBezTo>
                    <a:pt x="2195715" y="1199298"/>
                    <a:pt x="2200268" y="1163134"/>
                    <a:pt x="2187575" y="1209675"/>
                  </a:cubicBezTo>
                  <a:cubicBezTo>
                    <a:pt x="2186694" y="1212904"/>
                    <a:pt x="2189692" y="1216025"/>
                    <a:pt x="2190750" y="1219200"/>
                  </a:cubicBezTo>
                  <a:cubicBezTo>
                    <a:pt x="2191645" y="1219797"/>
                    <a:pt x="2222088" y="1240528"/>
                    <a:pt x="2225675" y="1241425"/>
                  </a:cubicBezTo>
                  <a:cubicBezTo>
                    <a:pt x="2237016" y="1244260"/>
                    <a:pt x="2250576" y="1238586"/>
                    <a:pt x="2260600" y="1244600"/>
                  </a:cubicBezTo>
                  <a:cubicBezTo>
                    <a:pt x="2265227" y="1247376"/>
                    <a:pt x="2258483" y="1255183"/>
                    <a:pt x="2257425" y="1260475"/>
                  </a:cubicBezTo>
                  <a:cubicBezTo>
                    <a:pt x="2257425" y="1260475"/>
                    <a:pt x="2240603" y="1265217"/>
                    <a:pt x="2232025" y="1266825"/>
                  </a:cubicBezTo>
                  <a:cubicBezTo>
                    <a:pt x="2223639" y="1268397"/>
                    <a:pt x="2215041" y="1268597"/>
                    <a:pt x="2206625" y="1270000"/>
                  </a:cubicBezTo>
                  <a:cubicBezTo>
                    <a:pt x="2202321" y="1270717"/>
                    <a:pt x="2198204" y="1272319"/>
                    <a:pt x="2193925" y="1273175"/>
                  </a:cubicBezTo>
                  <a:lnTo>
                    <a:pt x="2159000" y="1279525"/>
                  </a:lnTo>
                  <a:lnTo>
                    <a:pt x="2098675" y="1139825"/>
                  </a:lnTo>
                  <a:cubicBezTo>
                    <a:pt x="2111164" y="1139825"/>
                    <a:pt x="2104772" y="1140494"/>
                    <a:pt x="2124075" y="1133475"/>
                  </a:cubicBezTo>
                  <a:cubicBezTo>
                    <a:pt x="2137738" y="1128507"/>
                    <a:pt x="2147948" y="1125691"/>
                    <a:pt x="2155825" y="1111250"/>
                  </a:cubicBezTo>
                  <a:cubicBezTo>
                    <a:pt x="2158908" y="1105598"/>
                    <a:pt x="2157848" y="1098534"/>
                    <a:pt x="2159000" y="1092200"/>
                  </a:cubicBezTo>
                  <a:cubicBezTo>
                    <a:pt x="2159965" y="1086891"/>
                    <a:pt x="2160468" y="1081445"/>
                    <a:pt x="2162175" y="1076325"/>
                  </a:cubicBezTo>
                  <a:cubicBezTo>
                    <a:pt x="2164452" y="1069493"/>
                    <a:pt x="2174998" y="1052836"/>
                    <a:pt x="2178050" y="1047750"/>
                  </a:cubicBezTo>
                  <a:cubicBezTo>
                    <a:pt x="2201991" y="1039770"/>
                    <a:pt x="2172481" y="1050535"/>
                    <a:pt x="2197100" y="1038225"/>
                  </a:cubicBezTo>
                  <a:cubicBezTo>
                    <a:pt x="2200093" y="1036728"/>
                    <a:pt x="2203632" y="1036547"/>
                    <a:pt x="2206625" y="1035050"/>
                  </a:cubicBezTo>
                  <a:cubicBezTo>
                    <a:pt x="2210038" y="1033343"/>
                    <a:pt x="2214443" y="1032113"/>
                    <a:pt x="2216150" y="1028700"/>
                  </a:cubicBezTo>
                  <a:cubicBezTo>
                    <a:pt x="2222855" y="1015289"/>
                    <a:pt x="2219811" y="1011109"/>
                    <a:pt x="2216150" y="1000125"/>
                  </a:cubicBezTo>
                  <a:cubicBezTo>
                    <a:pt x="2212975" y="996950"/>
                    <a:pt x="2210728" y="992424"/>
                    <a:pt x="2206625" y="990600"/>
                  </a:cubicBezTo>
                  <a:cubicBezTo>
                    <a:pt x="2191912" y="984061"/>
                    <a:pt x="2165174" y="989461"/>
                    <a:pt x="2152650" y="990600"/>
                  </a:cubicBezTo>
                  <a:cubicBezTo>
                    <a:pt x="2146781" y="986198"/>
                    <a:pt x="2134847" y="978183"/>
                    <a:pt x="2130425" y="971550"/>
                  </a:cubicBezTo>
                  <a:cubicBezTo>
                    <a:pt x="2128569" y="968765"/>
                    <a:pt x="2128308" y="965200"/>
                    <a:pt x="2127250" y="962025"/>
                  </a:cubicBezTo>
                  <a:cubicBezTo>
                    <a:pt x="2124075" y="958850"/>
                    <a:pt x="2121379" y="955110"/>
                    <a:pt x="2117725" y="952500"/>
                  </a:cubicBezTo>
                  <a:cubicBezTo>
                    <a:pt x="2113874" y="949749"/>
                    <a:pt x="2109402" y="947952"/>
                    <a:pt x="2105025" y="946150"/>
                  </a:cubicBezTo>
                  <a:cubicBezTo>
                    <a:pt x="2091394" y="940537"/>
                    <a:pt x="2078099" y="933651"/>
                    <a:pt x="2063750" y="930275"/>
                  </a:cubicBezTo>
                  <a:cubicBezTo>
                    <a:pt x="2059502" y="929276"/>
                    <a:pt x="2055363" y="932786"/>
                    <a:pt x="2051050" y="933450"/>
                  </a:cubicBezTo>
                  <a:cubicBezTo>
                    <a:pt x="2041578" y="934907"/>
                    <a:pt x="2032000" y="935567"/>
                    <a:pt x="2022475" y="936625"/>
                  </a:cubicBezTo>
                  <a:cubicBezTo>
                    <a:pt x="2019300" y="935567"/>
                    <a:pt x="2015856" y="935110"/>
                    <a:pt x="2012950" y="933450"/>
                  </a:cubicBezTo>
                  <a:cubicBezTo>
                    <a:pt x="2008356" y="930825"/>
                    <a:pt x="2005086" y="926074"/>
                    <a:pt x="2000250" y="923925"/>
                  </a:cubicBezTo>
                  <a:cubicBezTo>
                    <a:pt x="1995319" y="921733"/>
                    <a:pt x="1989667" y="921808"/>
                    <a:pt x="1984375" y="920750"/>
                  </a:cubicBezTo>
                  <a:cubicBezTo>
                    <a:pt x="1972579" y="924682"/>
                    <a:pt x="1976096" y="922581"/>
                    <a:pt x="1965325" y="930275"/>
                  </a:cubicBezTo>
                  <a:cubicBezTo>
                    <a:pt x="1961019" y="933351"/>
                    <a:pt x="1954386" y="934810"/>
                    <a:pt x="1952625" y="939800"/>
                  </a:cubicBezTo>
                  <a:cubicBezTo>
                    <a:pt x="1942083" y="969670"/>
                    <a:pt x="1947285" y="998385"/>
                    <a:pt x="1949450" y="1028700"/>
                  </a:cubicBezTo>
                  <a:cubicBezTo>
                    <a:pt x="1949450" y="1028700"/>
                    <a:pt x="1944047" y="1041124"/>
                    <a:pt x="1943100" y="1047750"/>
                  </a:cubicBezTo>
                  <a:cubicBezTo>
                    <a:pt x="1940850" y="1063500"/>
                    <a:pt x="1941433" y="1079536"/>
                    <a:pt x="1939925" y="1095375"/>
                  </a:cubicBezTo>
                  <a:cubicBezTo>
                    <a:pt x="1938727" y="1107950"/>
                    <a:pt x="1936485" y="1115486"/>
                    <a:pt x="1933575" y="1127125"/>
                  </a:cubicBezTo>
                  <a:cubicBezTo>
                    <a:pt x="1930400" y="1130300"/>
                    <a:pt x="1926430" y="1132842"/>
                    <a:pt x="1924050" y="1136650"/>
                  </a:cubicBezTo>
                  <a:cubicBezTo>
                    <a:pt x="1921029" y="1141483"/>
                    <a:pt x="1920468" y="1147543"/>
                    <a:pt x="1917700" y="1152525"/>
                  </a:cubicBezTo>
                  <a:cubicBezTo>
                    <a:pt x="1915130" y="1157151"/>
                    <a:pt x="1911350" y="1160992"/>
                    <a:pt x="1908175" y="1165225"/>
                  </a:cubicBezTo>
                  <a:cubicBezTo>
                    <a:pt x="1905000" y="1166283"/>
                    <a:pt x="1901017" y="1166033"/>
                    <a:pt x="1898650" y="1168400"/>
                  </a:cubicBezTo>
                  <a:cubicBezTo>
                    <a:pt x="1892300" y="1174750"/>
                    <a:pt x="1896533" y="1181100"/>
                    <a:pt x="1898650" y="1187450"/>
                  </a:cubicBezTo>
                  <a:cubicBezTo>
                    <a:pt x="1916343" y="1198066"/>
                    <a:pt x="1918668" y="1200013"/>
                    <a:pt x="1939925" y="1209675"/>
                  </a:cubicBezTo>
                  <a:cubicBezTo>
                    <a:pt x="1942972" y="1211060"/>
                    <a:pt x="1946275" y="1211792"/>
                    <a:pt x="1949450" y="1212850"/>
                  </a:cubicBezTo>
                  <a:cubicBezTo>
                    <a:pt x="1956858" y="1213908"/>
                    <a:pt x="1964293" y="1214795"/>
                    <a:pt x="1971675" y="1216025"/>
                  </a:cubicBezTo>
                  <a:cubicBezTo>
                    <a:pt x="1982583" y="1217843"/>
                    <a:pt x="2004187" y="1222854"/>
                    <a:pt x="2012950" y="1225550"/>
                  </a:cubicBezTo>
                  <a:cubicBezTo>
                    <a:pt x="2018397" y="1227226"/>
                    <a:pt x="2024795" y="1227870"/>
                    <a:pt x="2028825" y="1231900"/>
                  </a:cubicBezTo>
                  <a:cubicBezTo>
                    <a:pt x="2031911" y="1234986"/>
                    <a:pt x="2030942" y="1240367"/>
                    <a:pt x="2032000" y="1244600"/>
                  </a:cubicBezTo>
                  <a:cubicBezTo>
                    <a:pt x="2041938" y="1254538"/>
                    <a:pt x="2048650" y="1260675"/>
                    <a:pt x="2057400" y="1273175"/>
                  </a:cubicBezTo>
                  <a:cubicBezTo>
                    <a:pt x="2060114" y="1277052"/>
                    <a:pt x="2060999" y="1282024"/>
                    <a:pt x="2063750" y="1285875"/>
                  </a:cubicBezTo>
                  <a:cubicBezTo>
                    <a:pt x="2066360" y="1289529"/>
                    <a:pt x="2072186" y="1291044"/>
                    <a:pt x="2073275" y="1295400"/>
                  </a:cubicBezTo>
                  <a:cubicBezTo>
                    <a:pt x="2076622" y="1308787"/>
                    <a:pt x="2075392" y="1322917"/>
                    <a:pt x="2076450" y="1336675"/>
                  </a:cubicBezTo>
                  <a:cubicBezTo>
                    <a:pt x="2058197" y="1361012"/>
                    <a:pt x="2075971" y="1340250"/>
                    <a:pt x="2057400" y="1355725"/>
                  </a:cubicBezTo>
                  <a:cubicBezTo>
                    <a:pt x="2053951" y="1358600"/>
                    <a:pt x="2051419" y="1362493"/>
                    <a:pt x="2047875" y="1365250"/>
                  </a:cubicBezTo>
                  <a:cubicBezTo>
                    <a:pt x="2043939" y="1368311"/>
                    <a:pt x="2018457" y="1382720"/>
                    <a:pt x="2016125" y="1390650"/>
                  </a:cubicBezTo>
                  <a:cubicBezTo>
                    <a:pt x="2012231" y="1403888"/>
                    <a:pt x="2014258" y="1418188"/>
                    <a:pt x="2012950" y="1431925"/>
                  </a:cubicBezTo>
                  <a:cubicBezTo>
                    <a:pt x="2009896" y="1463991"/>
                    <a:pt x="2009602" y="1454073"/>
                    <a:pt x="2003425" y="1489075"/>
                  </a:cubicBezTo>
                  <a:cubicBezTo>
                    <a:pt x="2002124" y="1496445"/>
                    <a:pt x="2001308" y="1503892"/>
                    <a:pt x="2000250" y="1511300"/>
                  </a:cubicBezTo>
                  <a:cubicBezTo>
                    <a:pt x="1998133" y="1515533"/>
                    <a:pt x="1994828" y="1519359"/>
                    <a:pt x="1993900" y="1524000"/>
                  </a:cubicBezTo>
                  <a:cubicBezTo>
                    <a:pt x="1993830" y="1524350"/>
                    <a:pt x="1994522" y="1564377"/>
                    <a:pt x="1984375" y="1571625"/>
                  </a:cubicBezTo>
                  <a:cubicBezTo>
                    <a:pt x="1979984" y="1574762"/>
                    <a:pt x="1973792" y="1573742"/>
                    <a:pt x="1968500" y="1574800"/>
                  </a:cubicBezTo>
                  <a:lnTo>
                    <a:pt x="1955800" y="1571625"/>
                  </a:lnTo>
                  <a:cubicBezTo>
                    <a:pt x="1941499" y="1568050"/>
                    <a:pt x="1928699" y="1559800"/>
                    <a:pt x="1914525" y="1555750"/>
                  </a:cubicBezTo>
                  <a:cubicBezTo>
                    <a:pt x="1906321" y="1553406"/>
                    <a:pt x="1897592" y="1553633"/>
                    <a:pt x="1889125" y="1552575"/>
                  </a:cubicBezTo>
                  <a:cubicBezTo>
                    <a:pt x="1883833" y="1553633"/>
                    <a:pt x="1878573" y="1554863"/>
                    <a:pt x="1873250" y="1555750"/>
                  </a:cubicBezTo>
                  <a:cubicBezTo>
                    <a:pt x="1865868" y="1556980"/>
                    <a:pt x="1858363" y="1557457"/>
                    <a:pt x="1851025" y="1558925"/>
                  </a:cubicBezTo>
                  <a:cubicBezTo>
                    <a:pt x="1847743" y="1559581"/>
                    <a:pt x="1844767" y="1561374"/>
                    <a:pt x="1841500" y="1562100"/>
                  </a:cubicBezTo>
                  <a:cubicBezTo>
                    <a:pt x="1835216" y="1563497"/>
                    <a:pt x="1828734" y="1563878"/>
                    <a:pt x="1822450" y="1565275"/>
                  </a:cubicBezTo>
                  <a:cubicBezTo>
                    <a:pt x="1819183" y="1566001"/>
                    <a:pt x="1816172" y="1567638"/>
                    <a:pt x="1812925" y="1568450"/>
                  </a:cubicBezTo>
                  <a:cubicBezTo>
                    <a:pt x="1778921" y="1576951"/>
                    <a:pt x="1815305" y="1565176"/>
                    <a:pt x="1781175" y="1577975"/>
                  </a:cubicBezTo>
                  <a:cubicBezTo>
                    <a:pt x="1778041" y="1579150"/>
                    <a:pt x="1774556" y="1579490"/>
                    <a:pt x="1771650" y="1581150"/>
                  </a:cubicBezTo>
                  <a:cubicBezTo>
                    <a:pt x="1767056" y="1583775"/>
                    <a:pt x="1763256" y="1587599"/>
                    <a:pt x="1758950" y="1590675"/>
                  </a:cubicBezTo>
                  <a:cubicBezTo>
                    <a:pt x="1750825" y="1596478"/>
                    <a:pt x="1747968" y="1598427"/>
                    <a:pt x="1747604" y="1598571"/>
                  </a:cubicBezTo>
                  <a:lnTo>
                    <a:pt x="1751148" y="1595699"/>
                  </a:lnTo>
                  <a:lnTo>
                    <a:pt x="1753138" y="1594202"/>
                  </a:lnTo>
                  <a:cubicBezTo>
                    <a:pt x="1754628" y="1593068"/>
                    <a:pt x="1753062" y="1594232"/>
                    <a:pt x="1751215" y="1595644"/>
                  </a:cubicBezTo>
                  <a:lnTo>
                    <a:pt x="1751148" y="1595699"/>
                  </a:lnTo>
                  <a:lnTo>
                    <a:pt x="1736725" y="1606550"/>
                  </a:lnTo>
                  <a:cubicBezTo>
                    <a:pt x="1731433" y="1607608"/>
                    <a:pt x="1726159" y="1608760"/>
                    <a:pt x="1720850" y="1609725"/>
                  </a:cubicBezTo>
                  <a:cubicBezTo>
                    <a:pt x="1710711" y="1611568"/>
                    <a:pt x="1701559" y="1615914"/>
                    <a:pt x="1692275" y="1609725"/>
                  </a:cubicBezTo>
                  <a:cubicBezTo>
                    <a:pt x="1688539" y="1607234"/>
                    <a:pt x="1685925" y="1603375"/>
                    <a:pt x="1682750" y="1600200"/>
                  </a:cubicBezTo>
                  <a:cubicBezTo>
                    <a:pt x="1668992" y="1599142"/>
                    <a:pt x="1655274" y="1597025"/>
                    <a:pt x="1641475" y="1597025"/>
                  </a:cubicBezTo>
                  <a:cubicBezTo>
                    <a:pt x="1633812" y="1597025"/>
                    <a:pt x="1623591" y="1600870"/>
                    <a:pt x="1616075" y="1603375"/>
                  </a:cubicBezTo>
                  <a:cubicBezTo>
                    <a:pt x="1584325" y="1604433"/>
                    <a:pt x="1552534" y="1604628"/>
                    <a:pt x="1520825" y="1606550"/>
                  </a:cubicBezTo>
                  <a:cubicBezTo>
                    <a:pt x="1517484" y="1606752"/>
                    <a:pt x="1514518" y="1608806"/>
                    <a:pt x="1511300" y="1609725"/>
                  </a:cubicBezTo>
                  <a:cubicBezTo>
                    <a:pt x="1509448" y="1610254"/>
                    <a:pt x="1491930" y="1614172"/>
                    <a:pt x="1489075" y="1616075"/>
                  </a:cubicBezTo>
                  <a:cubicBezTo>
                    <a:pt x="1485339" y="1618566"/>
                    <a:pt x="1482725" y="1622425"/>
                    <a:pt x="1479550" y="1625600"/>
                  </a:cubicBezTo>
                  <a:cubicBezTo>
                    <a:pt x="1470815" y="1628512"/>
                    <a:pt x="1462846" y="1629160"/>
                    <a:pt x="1460500" y="1641475"/>
                  </a:cubicBezTo>
                  <a:cubicBezTo>
                    <a:pt x="1444937" y="1723180"/>
                    <a:pt x="1457405" y="1671087"/>
                    <a:pt x="1460500" y="1711325"/>
                  </a:cubicBezTo>
                  <a:cubicBezTo>
                    <a:pt x="1462207" y="1733510"/>
                    <a:pt x="1462617" y="1755775"/>
                    <a:pt x="1463675" y="1778000"/>
                  </a:cubicBezTo>
                  <a:cubicBezTo>
                    <a:pt x="1462617" y="1782233"/>
                    <a:pt x="1461699" y="1786504"/>
                    <a:pt x="1460500" y="1790700"/>
                  </a:cubicBezTo>
                  <a:cubicBezTo>
                    <a:pt x="1459581" y="1793918"/>
                    <a:pt x="1458137" y="1796978"/>
                    <a:pt x="1457325" y="1800225"/>
                  </a:cubicBezTo>
                  <a:cubicBezTo>
                    <a:pt x="1456016" y="1805460"/>
                    <a:pt x="1455208" y="1810808"/>
                    <a:pt x="1454150" y="1816100"/>
                  </a:cubicBezTo>
                  <a:cubicBezTo>
                    <a:pt x="1451518" y="1821365"/>
                    <a:pt x="1449613" y="1825151"/>
                    <a:pt x="1448269" y="1827807"/>
                  </a:cubicBezTo>
                  <a:lnTo>
                    <a:pt x="1446881" y="1830524"/>
                  </a:lnTo>
                  <a:lnTo>
                    <a:pt x="1446746" y="1830745"/>
                  </a:lnTo>
                  <a:cubicBezTo>
                    <a:pt x="1445744" y="1832643"/>
                    <a:pt x="1444963" y="1834247"/>
                    <a:pt x="1445748" y="1832744"/>
                  </a:cubicBezTo>
                  <a:lnTo>
                    <a:pt x="1446881" y="1830524"/>
                  </a:lnTo>
                  <a:lnTo>
                    <a:pt x="1449064" y="1826980"/>
                  </a:lnTo>
                  <a:cubicBezTo>
                    <a:pt x="1449160" y="1827305"/>
                    <a:pt x="1448129" y="1830150"/>
                    <a:pt x="1444625" y="1838325"/>
                  </a:cubicBezTo>
                  <a:cubicBezTo>
                    <a:pt x="1427926" y="1877289"/>
                    <a:pt x="1447868" y="1828664"/>
                    <a:pt x="1431925" y="1860550"/>
                  </a:cubicBezTo>
                  <a:cubicBezTo>
                    <a:pt x="1430428" y="1863543"/>
                    <a:pt x="1429808" y="1866900"/>
                    <a:pt x="1428750" y="1870075"/>
                  </a:cubicBezTo>
                  <a:cubicBezTo>
                    <a:pt x="1425130" y="1880935"/>
                    <a:pt x="1415468" y="1888762"/>
                    <a:pt x="1409700" y="1898650"/>
                  </a:cubicBezTo>
                  <a:cubicBezTo>
                    <a:pt x="1408014" y="1901541"/>
                    <a:pt x="1407583" y="1905000"/>
                    <a:pt x="1406525" y="1908175"/>
                  </a:cubicBezTo>
                  <a:cubicBezTo>
                    <a:pt x="1406525" y="1908175"/>
                    <a:pt x="1394187" y="1921259"/>
                    <a:pt x="1387475" y="1927225"/>
                  </a:cubicBezTo>
                  <a:cubicBezTo>
                    <a:pt x="1384623" y="1929760"/>
                    <a:pt x="1380393" y="1930644"/>
                    <a:pt x="1377950" y="1933575"/>
                  </a:cubicBezTo>
                  <a:cubicBezTo>
                    <a:pt x="1369816" y="1943336"/>
                    <a:pt x="1369799" y="1956819"/>
                    <a:pt x="1368425" y="1968500"/>
                  </a:cubicBezTo>
                  <a:cubicBezTo>
                    <a:pt x="1367182" y="1979063"/>
                    <a:pt x="1366308" y="1989667"/>
                    <a:pt x="1365250" y="2000250"/>
                  </a:cubicBezTo>
                  <a:lnTo>
                    <a:pt x="996950" y="2000250"/>
                  </a:lnTo>
                  <a:cubicBezTo>
                    <a:pt x="988825" y="1992125"/>
                    <a:pt x="983029" y="1987159"/>
                    <a:pt x="977900" y="1974850"/>
                  </a:cubicBezTo>
                  <a:cubicBezTo>
                    <a:pt x="975424" y="1968908"/>
                    <a:pt x="975783" y="1962150"/>
                    <a:pt x="974725" y="1955800"/>
                  </a:cubicBezTo>
                  <a:cubicBezTo>
                    <a:pt x="972608" y="1951567"/>
                    <a:pt x="970239" y="1947450"/>
                    <a:pt x="968375" y="1943100"/>
                  </a:cubicBezTo>
                  <a:cubicBezTo>
                    <a:pt x="967057" y="1940024"/>
                    <a:pt x="966860" y="1936481"/>
                    <a:pt x="965200" y="1933575"/>
                  </a:cubicBezTo>
                  <a:cubicBezTo>
                    <a:pt x="959769" y="1924071"/>
                    <a:pt x="953657" y="1918857"/>
                    <a:pt x="946150" y="1911350"/>
                  </a:cubicBezTo>
                  <a:cubicBezTo>
                    <a:pt x="942975" y="1910292"/>
                    <a:pt x="939531" y="1909835"/>
                    <a:pt x="936625" y="1908175"/>
                  </a:cubicBezTo>
                  <a:cubicBezTo>
                    <a:pt x="919881" y="1898607"/>
                    <a:pt x="922338" y="1893321"/>
                    <a:pt x="904875" y="1879600"/>
                  </a:cubicBezTo>
                  <a:cubicBezTo>
                    <a:pt x="897024" y="1873431"/>
                    <a:pt x="887942" y="1869017"/>
                    <a:pt x="879475" y="1863725"/>
                  </a:cubicBezTo>
                  <a:lnTo>
                    <a:pt x="869950" y="1692275"/>
                  </a:lnTo>
                  <a:cubicBezTo>
                    <a:pt x="876194" y="1692275"/>
                    <a:pt x="873668" y="1693279"/>
                    <a:pt x="876300" y="1682750"/>
                  </a:cubicBezTo>
                  <a:cubicBezTo>
                    <a:pt x="886900" y="1640350"/>
                    <a:pt x="875165" y="1665403"/>
                    <a:pt x="901700" y="1625600"/>
                  </a:cubicBezTo>
                  <a:lnTo>
                    <a:pt x="889000" y="1581150"/>
                  </a:lnTo>
                  <a:cubicBezTo>
                    <a:pt x="883817" y="1570784"/>
                    <a:pt x="887498" y="1576473"/>
                    <a:pt x="876300" y="1565275"/>
                  </a:cubicBezTo>
                  <a:cubicBezTo>
                    <a:pt x="849869" y="1558667"/>
                    <a:pt x="876001" y="1566713"/>
                    <a:pt x="854075" y="1555750"/>
                  </a:cubicBezTo>
                  <a:cubicBezTo>
                    <a:pt x="851082" y="1554253"/>
                    <a:pt x="847756" y="1553537"/>
                    <a:pt x="844550" y="1552575"/>
                  </a:cubicBezTo>
                  <a:lnTo>
                    <a:pt x="822325" y="1546225"/>
                  </a:lnTo>
                  <a:cubicBezTo>
                    <a:pt x="807508" y="1545167"/>
                    <a:pt x="792503" y="1545631"/>
                    <a:pt x="777875" y="1543050"/>
                  </a:cubicBezTo>
                  <a:cubicBezTo>
                    <a:pt x="774117" y="1542387"/>
                    <a:pt x="771763" y="1538407"/>
                    <a:pt x="768350" y="1536700"/>
                  </a:cubicBezTo>
                  <a:cubicBezTo>
                    <a:pt x="765357" y="1535203"/>
                    <a:pt x="761818" y="1535022"/>
                    <a:pt x="758825" y="1533525"/>
                  </a:cubicBezTo>
                  <a:cubicBezTo>
                    <a:pt x="755412" y="1531818"/>
                    <a:pt x="752920" y="1528382"/>
                    <a:pt x="749300" y="1527175"/>
                  </a:cubicBezTo>
                  <a:cubicBezTo>
                    <a:pt x="743193" y="1525139"/>
                    <a:pt x="736672" y="1524443"/>
                    <a:pt x="730250" y="1524000"/>
                  </a:cubicBezTo>
                  <a:cubicBezTo>
                    <a:pt x="705943" y="1522324"/>
                    <a:pt x="681567" y="1521883"/>
                    <a:pt x="657225" y="1520825"/>
                  </a:cubicBezTo>
                  <a:cubicBezTo>
                    <a:pt x="652992" y="1522942"/>
                    <a:pt x="647872" y="1523828"/>
                    <a:pt x="644525" y="1527175"/>
                  </a:cubicBezTo>
                  <a:cubicBezTo>
                    <a:pt x="640161" y="1531539"/>
                    <a:pt x="638423" y="1537915"/>
                    <a:pt x="635000" y="1543050"/>
                  </a:cubicBezTo>
                  <a:cubicBezTo>
                    <a:pt x="632065" y="1547453"/>
                    <a:pt x="628650" y="1551517"/>
                    <a:pt x="625475" y="1555750"/>
                  </a:cubicBezTo>
                  <a:cubicBezTo>
                    <a:pt x="625475" y="1555750"/>
                    <a:pt x="608739" y="1550322"/>
                    <a:pt x="606425" y="1543050"/>
                  </a:cubicBezTo>
                  <a:cubicBezTo>
                    <a:pt x="600640" y="1524869"/>
                    <a:pt x="607181" y="1504570"/>
                    <a:pt x="603250" y="1485900"/>
                  </a:cubicBezTo>
                  <a:cubicBezTo>
                    <a:pt x="602561" y="1482625"/>
                    <a:pt x="596510" y="1484581"/>
                    <a:pt x="593725" y="1482725"/>
                  </a:cubicBezTo>
                  <a:cubicBezTo>
                    <a:pt x="589989" y="1480234"/>
                    <a:pt x="587375" y="1476375"/>
                    <a:pt x="584200" y="1473200"/>
                  </a:cubicBezTo>
                  <a:cubicBezTo>
                    <a:pt x="562165" y="1465855"/>
                    <a:pt x="587750" y="1475961"/>
                    <a:pt x="555625" y="1450975"/>
                  </a:cubicBezTo>
                  <a:cubicBezTo>
                    <a:pt x="552983" y="1448920"/>
                    <a:pt x="548823" y="1449745"/>
                    <a:pt x="546100" y="1447800"/>
                  </a:cubicBezTo>
                  <a:cubicBezTo>
                    <a:pt x="541228" y="1444320"/>
                    <a:pt x="537633" y="1439333"/>
                    <a:pt x="533400" y="1435100"/>
                  </a:cubicBezTo>
                  <a:cubicBezTo>
                    <a:pt x="515936" y="1429279"/>
                    <a:pt x="531584" y="1435423"/>
                    <a:pt x="514350" y="1425575"/>
                  </a:cubicBezTo>
                  <a:cubicBezTo>
                    <a:pt x="510241" y="1423227"/>
                    <a:pt x="503062" y="1423743"/>
                    <a:pt x="501650" y="1419225"/>
                  </a:cubicBezTo>
                  <a:cubicBezTo>
                    <a:pt x="497219" y="1405047"/>
                    <a:pt x="499533" y="1389592"/>
                    <a:pt x="498475" y="1374775"/>
                  </a:cubicBezTo>
                  <a:cubicBezTo>
                    <a:pt x="496358" y="1371600"/>
                    <a:pt x="494018" y="1368563"/>
                    <a:pt x="492125" y="1365250"/>
                  </a:cubicBezTo>
                  <a:cubicBezTo>
                    <a:pt x="483296" y="1349800"/>
                    <a:pt x="484093" y="1343526"/>
                    <a:pt x="469900" y="1327150"/>
                  </a:cubicBezTo>
                  <a:cubicBezTo>
                    <a:pt x="462532" y="1318648"/>
                    <a:pt x="452967" y="1312333"/>
                    <a:pt x="444500" y="1304925"/>
                  </a:cubicBezTo>
                  <a:lnTo>
                    <a:pt x="431800" y="1263650"/>
                  </a:lnTo>
                  <a:cubicBezTo>
                    <a:pt x="431800" y="1246717"/>
                    <a:pt x="432690" y="1229760"/>
                    <a:pt x="431800" y="1212850"/>
                  </a:cubicBezTo>
                  <a:cubicBezTo>
                    <a:pt x="431624" y="1209508"/>
                    <a:pt x="428872" y="1206663"/>
                    <a:pt x="428625" y="1203325"/>
                  </a:cubicBezTo>
                  <a:cubicBezTo>
                    <a:pt x="423202" y="1130109"/>
                    <a:pt x="417689" y="1150409"/>
                    <a:pt x="428625" y="1117600"/>
                  </a:cubicBezTo>
                  <a:lnTo>
                    <a:pt x="438150" y="1104900"/>
                  </a:lnTo>
                  <a:cubicBezTo>
                    <a:pt x="440158" y="1102223"/>
                    <a:pt x="440267" y="1098550"/>
                    <a:pt x="441325" y="1095375"/>
                  </a:cubicBezTo>
                  <a:cubicBezTo>
                    <a:pt x="454043" y="1057222"/>
                    <a:pt x="447323" y="1083009"/>
                    <a:pt x="450850" y="1016000"/>
                  </a:cubicBezTo>
                  <a:lnTo>
                    <a:pt x="358775" y="939800"/>
                  </a:lnTo>
                  <a:cubicBezTo>
                    <a:pt x="354625" y="939800"/>
                    <a:pt x="343068" y="938796"/>
                    <a:pt x="339725" y="942975"/>
                  </a:cubicBezTo>
                  <a:cubicBezTo>
                    <a:pt x="323778" y="962909"/>
                    <a:pt x="349863" y="951237"/>
                    <a:pt x="327025" y="958850"/>
                  </a:cubicBezTo>
                  <a:cubicBezTo>
                    <a:pt x="314608" y="952642"/>
                    <a:pt x="310540" y="952281"/>
                    <a:pt x="301625" y="939800"/>
                  </a:cubicBezTo>
                  <a:cubicBezTo>
                    <a:pt x="299680" y="937077"/>
                    <a:pt x="299947" y="933268"/>
                    <a:pt x="298450" y="930275"/>
                  </a:cubicBezTo>
                  <a:cubicBezTo>
                    <a:pt x="296743" y="926862"/>
                    <a:pt x="293807" y="924163"/>
                    <a:pt x="292100" y="920750"/>
                  </a:cubicBezTo>
                  <a:cubicBezTo>
                    <a:pt x="290603" y="917757"/>
                    <a:pt x="290647" y="914095"/>
                    <a:pt x="288925" y="911225"/>
                  </a:cubicBezTo>
                  <a:cubicBezTo>
                    <a:pt x="284241" y="903418"/>
                    <a:pt x="278342" y="896408"/>
                    <a:pt x="273050" y="889000"/>
                  </a:cubicBezTo>
                  <a:lnTo>
                    <a:pt x="196850" y="885825"/>
                  </a:lnTo>
                  <a:cubicBezTo>
                    <a:pt x="196850" y="885825"/>
                    <a:pt x="195199" y="858265"/>
                    <a:pt x="193675" y="844550"/>
                  </a:cubicBezTo>
                  <a:cubicBezTo>
                    <a:pt x="191007" y="820537"/>
                    <a:pt x="187388" y="824674"/>
                    <a:pt x="168275" y="800100"/>
                  </a:cubicBezTo>
                  <a:lnTo>
                    <a:pt x="98425" y="784225"/>
                  </a:lnTo>
                  <a:lnTo>
                    <a:pt x="0" y="688975"/>
                  </a:lnTo>
                  <a:lnTo>
                    <a:pt x="11967" y="685556"/>
                  </a:lnTo>
                  <a:lnTo>
                    <a:pt x="74613" y="706438"/>
                  </a:lnTo>
                  <a:lnTo>
                    <a:pt x="150813" y="682625"/>
                  </a:lnTo>
                  <a:lnTo>
                    <a:pt x="236538" y="725488"/>
                  </a:lnTo>
                  <a:lnTo>
                    <a:pt x="327025" y="692150"/>
                  </a:lnTo>
                  <a:lnTo>
                    <a:pt x="417513" y="677863"/>
                  </a:lnTo>
                  <a:lnTo>
                    <a:pt x="446088" y="635000"/>
                  </a:lnTo>
                  <a:lnTo>
                    <a:pt x="569913" y="677863"/>
                  </a:lnTo>
                  <a:lnTo>
                    <a:pt x="636588" y="654050"/>
                  </a:lnTo>
                  <a:lnTo>
                    <a:pt x="646113" y="568325"/>
                  </a:lnTo>
                  <a:cubicBezTo>
                    <a:pt x="635000" y="555625"/>
                    <a:pt x="623064" y="543601"/>
                    <a:pt x="612775" y="530225"/>
                  </a:cubicBezTo>
                  <a:cubicBezTo>
                    <a:pt x="607131" y="522888"/>
                    <a:pt x="604512" y="513441"/>
                    <a:pt x="598488" y="506413"/>
                  </a:cubicBezTo>
                  <a:cubicBezTo>
                    <a:pt x="593384" y="500458"/>
                    <a:pt x="577912" y="493125"/>
                    <a:pt x="569913" y="492125"/>
                  </a:cubicBezTo>
                  <a:lnTo>
                    <a:pt x="568454" y="492013"/>
                  </a:lnTo>
                  <a:lnTo>
                    <a:pt x="564632" y="483905"/>
                  </a:lnTo>
                  <a:cubicBezTo>
                    <a:pt x="561501" y="474729"/>
                    <a:pt x="567603" y="474055"/>
                    <a:pt x="565150" y="412750"/>
                  </a:cubicBezTo>
                  <a:cubicBezTo>
                    <a:pt x="568724" y="394882"/>
                    <a:pt x="567080" y="398088"/>
                    <a:pt x="574675" y="381000"/>
                  </a:cubicBezTo>
                  <a:cubicBezTo>
                    <a:pt x="576597" y="376675"/>
                    <a:pt x="578274" y="372151"/>
                    <a:pt x="581025" y="368300"/>
                  </a:cubicBezTo>
                  <a:cubicBezTo>
                    <a:pt x="583635" y="364646"/>
                    <a:pt x="587628" y="362184"/>
                    <a:pt x="590550" y="358775"/>
                  </a:cubicBezTo>
                  <a:cubicBezTo>
                    <a:pt x="593994" y="354757"/>
                    <a:pt x="596900" y="350308"/>
                    <a:pt x="600075" y="346075"/>
                  </a:cubicBezTo>
                  <a:cubicBezTo>
                    <a:pt x="603250" y="341842"/>
                    <a:pt x="608469" y="339626"/>
                    <a:pt x="612775" y="336550"/>
                  </a:cubicBezTo>
                  <a:cubicBezTo>
                    <a:pt x="623287" y="329041"/>
                    <a:pt x="634367" y="322306"/>
                    <a:pt x="644525" y="314325"/>
                  </a:cubicBezTo>
                  <a:cubicBezTo>
                    <a:pt x="667499" y="296274"/>
                    <a:pt x="646662" y="306640"/>
                    <a:pt x="669925" y="292100"/>
                  </a:cubicBezTo>
                  <a:cubicBezTo>
                    <a:pt x="673939" y="289592"/>
                    <a:pt x="677973" y="286622"/>
                    <a:pt x="682625" y="285750"/>
                  </a:cubicBezTo>
                  <a:cubicBezTo>
                    <a:pt x="695151" y="283401"/>
                    <a:pt x="708025" y="283633"/>
                    <a:pt x="720725" y="282575"/>
                  </a:cubicBezTo>
                  <a:cubicBezTo>
                    <a:pt x="723900" y="283633"/>
                    <a:pt x="728159" y="283137"/>
                    <a:pt x="730250" y="285750"/>
                  </a:cubicBezTo>
                  <a:cubicBezTo>
                    <a:pt x="732976" y="289157"/>
                    <a:pt x="732569" y="294171"/>
                    <a:pt x="733425" y="298450"/>
                  </a:cubicBezTo>
                  <a:cubicBezTo>
                    <a:pt x="734616" y="304406"/>
                    <a:pt x="735752" y="324801"/>
                    <a:pt x="742950" y="330200"/>
                  </a:cubicBezTo>
                  <a:cubicBezTo>
                    <a:pt x="748305" y="334216"/>
                    <a:pt x="755650" y="334433"/>
                    <a:pt x="762000" y="336550"/>
                  </a:cubicBezTo>
                  <a:cubicBezTo>
                    <a:pt x="768350" y="335492"/>
                    <a:pt x="774777" y="334823"/>
                    <a:pt x="781050" y="333375"/>
                  </a:cubicBezTo>
                  <a:cubicBezTo>
                    <a:pt x="813539" y="325877"/>
                    <a:pt x="802154" y="326427"/>
                    <a:pt x="838200" y="304800"/>
                  </a:cubicBezTo>
                  <a:cubicBezTo>
                    <a:pt x="842259" y="302365"/>
                    <a:pt x="847049" y="301201"/>
                    <a:pt x="850900" y="298450"/>
                  </a:cubicBezTo>
                  <a:cubicBezTo>
                    <a:pt x="861277" y="291038"/>
                    <a:pt x="864992" y="283798"/>
                    <a:pt x="863600" y="269875"/>
                  </a:cubicBezTo>
                  <a:cubicBezTo>
                    <a:pt x="863129" y="265165"/>
                    <a:pt x="859367" y="261408"/>
                    <a:pt x="857250" y="257175"/>
                  </a:cubicBezTo>
                  <a:cubicBezTo>
                    <a:pt x="854075" y="255058"/>
                    <a:pt x="851038" y="252718"/>
                    <a:pt x="847725" y="250825"/>
                  </a:cubicBezTo>
                  <a:cubicBezTo>
                    <a:pt x="843616" y="248477"/>
                    <a:pt x="837142" y="248708"/>
                    <a:pt x="835025" y="244475"/>
                  </a:cubicBezTo>
                  <a:cubicBezTo>
                    <a:pt x="831209" y="236843"/>
                    <a:pt x="832908" y="227542"/>
                    <a:pt x="831850" y="219075"/>
                  </a:cubicBezTo>
                  <a:cubicBezTo>
                    <a:pt x="836083" y="214842"/>
                    <a:pt x="839761" y="209967"/>
                    <a:pt x="844550" y="206375"/>
                  </a:cubicBezTo>
                  <a:cubicBezTo>
                    <a:pt x="859612" y="195079"/>
                    <a:pt x="876866" y="198390"/>
                    <a:pt x="895350" y="196850"/>
                  </a:cubicBezTo>
                  <a:cubicBezTo>
                    <a:pt x="909834" y="206506"/>
                    <a:pt x="913255" y="207260"/>
                    <a:pt x="923925" y="228600"/>
                  </a:cubicBezTo>
                  <a:cubicBezTo>
                    <a:pt x="927828" y="236406"/>
                    <a:pt x="928158" y="245533"/>
                    <a:pt x="930275" y="254000"/>
                  </a:cubicBezTo>
                  <a:cubicBezTo>
                    <a:pt x="929217" y="257175"/>
                    <a:pt x="928956" y="260740"/>
                    <a:pt x="927100" y="263525"/>
                  </a:cubicBezTo>
                  <a:cubicBezTo>
                    <a:pt x="922515" y="270403"/>
                    <a:pt x="916300" y="276050"/>
                    <a:pt x="911225" y="282575"/>
                  </a:cubicBezTo>
                  <a:cubicBezTo>
                    <a:pt x="908882" y="285587"/>
                    <a:pt x="906992" y="288925"/>
                    <a:pt x="904875" y="292100"/>
                  </a:cubicBezTo>
                  <a:cubicBezTo>
                    <a:pt x="899310" y="295810"/>
                    <a:pt x="890641" y="298773"/>
                    <a:pt x="892175" y="307975"/>
                  </a:cubicBezTo>
                  <a:cubicBezTo>
                    <a:pt x="892802" y="311739"/>
                    <a:pt x="896408" y="314325"/>
                    <a:pt x="898525" y="317500"/>
                  </a:cubicBezTo>
                  <a:cubicBezTo>
                    <a:pt x="919536" y="324504"/>
                    <a:pt x="895720" y="314648"/>
                    <a:pt x="920750" y="336550"/>
                  </a:cubicBezTo>
                  <a:cubicBezTo>
                    <a:pt x="924312" y="339667"/>
                    <a:pt x="929888" y="339783"/>
                    <a:pt x="933450" y="342900"/>
                  </a:cubicBezTo>
                  <a:cubicBezTo>
                    <a:pt x="938550" y="347362"/>
                    <a:pt x="941917" y="353483"/>
                    <a:pt x="946150" y="358775"/>
                  </a:cubicBezTo>
                  <a:cubicBezTo>
                    <a:pt x="949325" y="359833"/>
                    <a:pt x="952952" y="360005"/>
                    <a:pt x="955675" y="361950"/>
                  </a:cubicBezTo>
                  <a:cubicBezTo>
                    <a:pt x="960547" y="365430"/>
                    <a:pt x="964895" y="369778"/>
                    <a:pt x="968375" y="374650"/>
                  </a:cubicBezTo>
                  <a:cubicBezTo>
                    <a:pt x="970320" y="377373"/>
                    <a:pt x="971108" y="380858"/>
                    <a:pt x="971550" y="384175"/>
                  </a:cubicBezTo>
                  <a:cubicBezTo>
                    <a:pt x="973234" y="396807"/>
                    <a:pt x="970188" y="410366"/>
                    <a:pt x="974725" y="422275"/>
                  </a:cubicBezTo>
                  <a:cubicBezTo>
                    <a:pt x="979021" y="433551"/>
                    <a:pt x="989542" y="441325"/>
                    <a:pt x="996950" y="450850"/>
                  </a:cubicBezTo>
                  <a:lnTo>
                    <a:pt x="1143000" y="517525"/>
                  </a:lnTo>
                  <a:lnTo>
                    <a:pt x="1295400" y="542925"/>
                  </a:lnTo>
                  <a:lnTo>
                    <a:pt x="1425575" y="609600"/>
                  </a:lnTo>
                  <a:lnTo>
                    <a:pt x="1552575" y="609600"/>
                  </a:lnTo>
                  <a:cubicBezTo>
                    <a:pt x="1572554" y="609600"/>
                    <a:pt x="1554273" y="610370"/>
                    <a:pt x="1587500" y="603250"/>
                  </a:cubicBezTo>
                  <a:cubicBezTo>
                    <a:pt x="1593795" y="601901"/>
                    <a:pt x="1600339" y="601769"/>
                    <a:pt x="1606550" y="600075"/>
                  </a:cubicBezTo>
                  <a:cubicBezTo>
                    <a:pt x="1612048" y="598575"/>
                    <a:pt x="1617133" y="595842"/>
                    <a:pt x="1622425" y="593725"/>
                  </a:cubicBezTo>
                  <a:cubicBezTo>
                    <a:pt x="1637806" y="587573"/>
                    <a:pt x="1652058" y="578908"/>
                    <a:pt x="1666875" y="571500"/>
                  </a:cubicBezTo>
                  <a:lnTo>
                    <a:pt x="1717675" y="533400"/>
                  </a:lnTo>
                  <a:cubicBezTo>
                    <a:pt x="1729128" y="521947"/>
                    <a:pt x="1718637" y="533272"/>
                    <a:pt x="1733550" y="498475"/>
                  </a:cubicBezTo>
                  <a:cubicBezTo>
                    <a:pt x="1735414" y="494125"/>
                    <a:pt x="1738540" y="490308"/>
                    <a:pt x="1739900" y="485775"/>
                  </a:cubicBezTo>
                  <a:cubicBezTo>
                    <a:pt x="1741750" y="479609"/>
                    <a:pt x="1742728" y="473153"/>
                    <a:pt x="1743075" y="466725"/>
                  </a:cubicBezTo>
                  <a:cubicBezTo>
                    <a:pt x="1748669" y="363245"/>
                    <a:pt x="1748036" y="387948"/>
                    <a:pt x="1739900" y="298450"/>
                  </a:cubicBezTo>
                  <a:cubicBezTo>
                    <a:pt x="1739900" y="298450"/>
                    <a:pt x="1736036" y="285615"/>
                    <a:pt x="1733550" y="279400"/>
                  </a:cubicBezTo>
                  <a:cubicBezTo>
                    <a:pt x="1729046" y="268140"/>
                    <a:pt x="1721853" y="260687"/>
                    <a:pt x="1720850" y="247650"/>
                  </a:cubicBezTo>
                  <a:cubicBezTo>
                    <a:pt x="1720276" y="240188"/>
                    <a:pt x="1717798" y="229576"/>
                    <a:pt x="1724025" y="225425"/>
                  </a:cubicBezTo>
                  <a:cubicBezTo>
                    <a:pt x="1733751" y="218941"/>
                    <a:pt x="1747308" y="223308"/>
                    <a:pt x="1758950" y="222250"/>
                  </a:cubicBezTo>
                  <a:cubicBezTo>
                    <a:pt x="1763183" y="224367"/>
                    <a:pt x="1767300" y="226736"/>
                    <a:pt x="1771650" y="228600"/>
                  </a:cubicBezTo>
                  <a:cubicBezTo>
                    <a:pt x="1774726" y="229918"/>
                    <a:pt x="1778390" y="229919"/>
                    <a:pt x="1781175" y="231775"/>
                  </a:cubicBezTo>
                  <a:cubicBezTo>
                    <a:pt x="1784911" y="234266"/>
                    <a:pt x="1786531" y="239632"/>
                    <a:pt x="1790700" y="241300"/>
                  </a:cubicBezTo>
                  <a:cubicBezTo>
                    <a:pt x="1802855" y="246162"/>
                    <a:pt x="1816100" y="247650"/>
                    <a:pt x="1828800" y="250825"/>
                  </a:cubicBezTo>
                  <a:cubicBezTo>
                    <a:pt x="1829858" y="247650"/>
                    <a:pt x="1830478" y="244293"/>
                    <a:pt x="1831975" y="241300"/>
                  </a:cubicBezTo>
                  <a:cubicBezTo>
                    <a:pt x="1839378" y="226494"/>
                    <a:pt x="1841784" y="234889"/>
                    <a:pt x="1844675" y="212725"/>
                  </a:cubicBezTo>
                  <a:cubicBezTo>
                    <a:pt x="1847006" y="194854"/>
                    <a:pt x="1846792" y="176742"/>
                    <a:pt x="1847850" y="158750"/>
                  </a:cubicBezTo>
                  <a:cubicBezTo>
                    <a:pt x="1848908" y="151342"/>
                    <a:pt x="1851025" y="144009"/>
                    <a:pt x="1851025" y="136525"/>
                  </a:cubicBezTo>
                  <a:cubicBezTo>
                    <a:pt x="1851025" y="133178"/>
                    <a:pt x="1851158" y="127509"/>
                    <a:pt x="1847850" y="127000"/>
                  </a:cubicBezTo>
                  <a:cubicBezTo>
                    <a:pt x="1835254" y="125062"/>
                    <a:pt x="1822450" y="129117"/>
                    <a:pt x="1809750" y="130175"/>
                  </a:cubicBezTo>
                  <a:cubicBezTo>
                    <a:pt x="1806575" y="129117"/>
                    <a:pt x="1803370" y="128144"/>
                    <a:pt x="1800225" y="127000"/>
                  </a:cubicBezTo>
                  <a:cubicBezTo>
                    <a:pt x="1791727" y="123910"/>
                    <a:pt x="1783057" y="121217"/>
                    <a:pt x="1774825" y="117475"/>
                  </a:cubicBezTo>
                  <a:cubicBezTo>
                    <a:pt x="1771351" y="115896"/>
                    <a:pt x="1766174" y="114839"/>
                    <a:pt x="1765300" y="111125"/>
                  </a:cubicBezTo>
                  <a:cubicBezTo>
                    <a:pt x="1761656" y="95638"/>
                    <a:pt x="1763183" y="79375"/>
                    <a:pt x="1762125" y="63500"/>
                  </a:cubicBezTo>
                  <a:cubicBezTo>
                    <a:pt x="1763183" y="59267"/>
                    <a:pt x="1763920" y="54940"/>
                    <a:pt x="1765300" y="50800"/>
                  </a:cubicBezTo>
                  <a:cubicBezTo>
                    <a:pt x="1777093" y="15420"/>
                    <a:pt x="1775149" y="34575"/>
                    <a:pt x="1835150" y="28575"/>
                  </a:cubicBezTo>
                  <a:cubicBezTo>
                    <a:pt x="1837430" y="29878"/>
                    <a:pt x="1863086" y="45084"/>
                    <a:pt x="1870075" y="47625"/>
                  </a:cubicBezTo>
                  <a:cubicBezTo>
                    <a:pt x="1888946" y="54487"/>
                    <a:pt x="1908175" y="60325"/>
                    <a:pt x="1927225" y="66675"/>
                  </a:cubicBezTo>
                  <a:lnTo>
                    <a:pt x="2130425" y="41275"/>
                  </a:lnTo>
                  <a:cubicBezTo>
                    <a:pt x="2150533" y="41275"/>
                    <a:pt x="2170717" y="39533"/>
                    <a:pt x="2190750" y="41275"/>
                  </a:cubicBezTo>
                  <a:cubicBezTo>
                    <a:pt x="2195465" y="41685"/>
                    <a:pt x="2202672" y="42956"/>
                    <a:pt x="2203450" y="47625"/>
                  </a:cubicBezTo>
                  <a:cubicBezTo>
                    <a:pt x="2205224" y="58271"/>
                    <a:pt x="2192504" y="69609"/>
                    <a:pt x="2197100" y="79375"/>
                  </a:cubicBezTo>
                  <a:cubicBezTo>
                    <a:pt x="2202601" y="91064"/>
                    <a:pt x="2218267" y="94192"/>
                    <a:pt x="2228850" y="101600"/>
                  </a:cubicBezTo>
                  <a:cubicBezTo>
                    <a:pt x="2233083" y="100542"/>
                    <a:pt x="2237736" y="100544"/>
                    <a:pt x="2241550" y="98425"/>
                  </a:cubicBezTo>
                  <a:cubicBezTo>
                    <a:pt x="2247474" y="95134"/>
                    <a:pt x="2252633" y="90517"/>
                    <a:pt x="2257425" y="85725"/>
                  </a:cubicBezTo>
                  <a:cubicBezTo>
                    <a:pt x="2261167" y="81983"/>
                    <a:pt x="2263775" y="77258"/>
                    <a:pt x="2266950" y="73025"/>
                  </a:cubicBezTo>
                  <a:cubicBezTo>
                    <a:pt x="2273819" y="63867"/>
                    <a:pt x="2280000" y="54199"/>
                    <a:pt x="2286000" y="44450"/>
                  </a:cubicBezTo>
                  <a:cubicBezTo>
                    <a:pt x="2288481" y="40419"/>
                    <a:pt x="2290486" y="36100"/>
                    <a:pt x="2292350" y="31750"/>
                  </a:cubicBezTo>
                  <a:cubicBezTo>
                    <a:pt x="2295576" y="24222"/>
                    <a:pt x="2294986" y="18605"/>
                    <a:pt x="2301875" y="12700"/>
                  </a:cubicBezTo>
                  <a:cubicBezTo>
                    <a:pt x="2316921" y="-197"/>
                    <a:pt x="2322889" y="2533"/>
                    <a:pt x="2343150" y="0"/>
                  </a:cubicBezTo>
                  <a:close/>
                </a:path>
              </a:pathLst>
            </a:custGeom>
            <a:solidFill>
              <a:schemeClr val="accent2"/>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sym typeface="Arial"/>
              </a:endParaRPr>
            </a:p>
          </p:txBody>
        </p:sp>
        <p:sp>
          <p:nvSpPr>
            <p:cNvPr id="11" name="Freeform 10"/>
            <p:cNvSpPr/>
            <p:nvPr/>
          </p:nvSpPr>
          <p:spPr bwMode="gray">
            <a:xfrm>
              <a:off x="5327650" y="3489325"/>
              <a:ext cx="317500" cy="166680"/>
            </a:xfrm>
            <a:custGeom>
              <a:avLst/>
              <a:gdLst>
                <a:gd name="connsiteX0" fmla="*/ 0 w 317500"/>
                <a:gd name="connsiteY0" fmla="*/ 161925 h 166680"/>
                <a:gd name="connsiteX1" fmla="*/ 0 w 317500"/>
                <a:gd name="connsiteY1" fmla="*/ 161925 h 166680"/>
                <a:gd name="connsiteX2" fmla="*/ 3175 w 317500"/>
                <a:gd name="connsiteY2" fmla="*/ 79375 h 166680"/>
                <a:gd name="connsiteX3" fmla="*/ 22225 w 317500"/>
                <a:gd name="connsiteY3" fmla="*/ 66675 h 166680"/>
                <a:gd name="connsiteX4" fmla="*/ 63500 w 317500"/>
                <a:gd name="connsiteY4" fmla="*/ 63500 h 166680"/>
                <a:gd name="connsiteX5" fmla="*/ 76200 w 317500"/>
                <a:gd name="connsiteY5" fmla="*/ 57150 h 166680"/>
                <a:gd name="connsiteX6" fmla="*/ 85725 w 317500"/>
                <a:gd name="connsiteY6" fmla="*/ 53975 h 166680"/>
                <a:gd name="connsiteX7" fmla="*/ 95250 w 317500"/>
                <a:gd name="connsiteY7" fmla="*/ 47625 h 166680"/>
                <a:gd name="connsiteX8" fmla="*/ 107950 w 317500"/>
                <a:gd name="connsiteY8" fmla="*/ 50800 h 166680"/>
                <a:gd name="connsiteX9" fmla="*/ 117475 w 317500"/>
                <a:gd name="connsiteY9" fmla="*/ 60325 h 166680"/>
                <a:gd name="connsiteX10" fmla="*/ 127000 w 317500"/>
                <a:gd name="connsiteY10" fmla="*/ 66675 h 166680"/>
                <a:gd name="connsiteX11" fmla="*/ 196850 w 317500"/>
                <a:gd name="connsiteY11" fmla="*/ 63500 h 166680"/>
                <a:gd name="connsiteX12" fmla="*/ 206375 w 317500"/>
                <a:gd name="connsiteY12" fmla="*/ 50800 h 166680"/>
                <a:gd name="connsiteX13" fmla="*/ 209550 w 317500"/>
                <a:gd name="connsiteY13" fmla="*/ 38100 h 166680"/>
                <a:gd name="connsiteX14" fmla="*/ 215900 w 317500"/>
                <a:gd name="connsiteY14" fmla="*/ 25400 h 166680"/>
                <a:gd name="connsiteX15" fmla="*/ 219075 w 317500"/>
                <a:gd name="connsiteY15" fmla="*/ 15875 h 166680"/>
                <a:gd name="connsiteX16" fmla="*/ 225425 w 317500"/>
                <a:gd name="connsiteY16" fmla="*/ 6350 h 166680"/>
                <a:gd name="connsiteX17" fmla="*/ 244475 w 317500"/>
                <a:gd name="connsiteY17" fmla="*/ 0 h 166680"/>
                <a:gd name="connsiteX18" fmla="*/ 266700 w 317500"/>
                <a:gd name="connsiteY18" fmla="*/ 6350 h 166680"/>
                <a:gd name="connsiteX19" fmla="*/ 288925 w 317500"/>
                <a:gd name="connsiteY19" fmla="*/ 12700 h 166680"/>
                <a:gd name="connsiteX20" fmla="*/ 298450 w 317500"/>
                <a:gd name="connsiteY20" fmla="*/ 19050 h 166680"/>
                <a:gd name="connsiteX21" fmla="*/ 304800 w 317500"/>
                <a:gd name="connsiteY21" fmla="*/ 28575 h 166680"/>
                <a:gd name="connsiteX22" fmla="*/ 314325 w 317500"/>
                <a:gd name="connsiteY22" fmla="*/ 38100 h 166680"/>
                <a:gd name="connsiteX23" fmla="*/ 317500 w 317500"/>
                <a:gd name="connsiteY23" fmla="*/ 47625 h 166680"/>
                <a:gd name="connsiteX24" fmla="*/ 298450 w 317500"/>
                <a:gd name="connsiteY24" fmla="*/ 60325 h 166680"/>
                <a:gd name="connsiteX25" fmla="*/ 288925 w 317500"/>
                <a:gd name="connsiteY25" fmla="*/ 66675 h 166680"/>
                <a:gd name="connsiteX26" fmla="*/ 279400 w 317500"/>
                <a:gd name="connsiteY26" fmla="*/ 69850 h 166680"/>
                <a:gd name="connsiteX27" fmla="*/ 260350 w 317500"/>
                <a:gd name="connsiteY27" fmla="*/ 82550 h 166680"/>
                <a:gd name="connsiteX28" fmla="*/ 231775 w 317500"/>
                <a:gd name="connsiteY28" fmla="*/ 92075 h 166680"/>
                <a:gd name="connsiteX29" fmla="*/ 222250 w 317500"/>
                <a:gd name="connsiteY29" fmla="*/ 95250 h 166680"/>
                <a:gd name="connsiteX30" fmla="*/ 219075 w 317500"/>
                <a:gd name="connsiteY30" fmla="*/ 104775 h 166680"/>
                <a:gd name="connsiteX31" fmla="*/ 215900 w 317500"/>
                <a:gd name="connsiteY31" fmla="*/ 133350 h 166680"/>
                <a:gd name="connsiteX32" fmla="*/ 209550 w 317500"/>
                <a:gd name="connsiteY32" fmla="*/ 142875 h 166680"/>
                <a:gd name="connsiteX33" fmla="*/ 190500 w 317500"/>
                <a:gd name="connsiteY33" fmla="*/ 152400 h 166680"/>
                <a:gd name="connsiteX34" fmla="*/ 149225 w 317500"/>
                <a:gd name="connsiteY34" fmla="*/ 161925 h 166680"/>
                <a:gd name="connsiteX35" fmla="*/ 63500 w 317500"/>
                <a:gd name="connsiteY35" fmla="*/ 165100 h 166680"/>
                <a:gd name="connsiteX36" fmla="*/ 0 w 317500"/>
                <a:gd name="connsiteY36" fmla="*/ 161925 h 166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17500" h="166680">
                  <a:moveTo>
                    <a:pt x="0" y="161925"/>
                  </a:moveTo>
                  <a:lnTo>
                    <a:pt x="0" y="161925"/>
                  </a:lnTo>
                  <a:cubicBezTo>
                    <a:pt x="1058" y="134408"/>
                    <a:pt x="-588" y="106654"/>
                    <a:pt x="3175" y="79375"/>
                  </a:cubicBezTo>
                  <a:cubicBezTo>
                    <a:pt x="4095" y="72708"/>
                    <a:pt x="16618" y="67376"/>
                    <a:pt x="22225" y="66675"/>
                  </a:cubicBezTo>
                  <a:cubicBezTo>
                    <a:pt x="35917" y="64963"/>
                    <a:pt x="49742" y="64558"/>
                    <a:pt x="63500" y="63500"/>
                  </a:cubicBezTo>
                  <a:cubicBezTo>
                    <a:pt x="67733" y="61383"/>
                    <a:pt x="71850" y="59014"/>
                    <a:pt x="76200" y="57150"/>
                  </a:cubicBezTo>
                  <a:cubicBezTo>
                    <a:pt x="79276" y="55832"/>
                    <a:pt x="82732" y="55472"/>
                    <a:pt x="85725" y="53975"/>
                  </a:cubicBezTo>
                  <a:cubicBezTo>
                    <a:pt x="89138" y="52268"/>
                    <a:pt x="92075" y="49742"/>
                    <a:pt x="95250" y="47625"/>
                  </a:cubicBezTo>
                  <a:cubicBezTo>
                    <a:pt x="99483" y="48683"/>
                    <a:pt x="104161" y="48635"/>
                    <a:pt x="107950" y="50800"/>
                  </a:cubicBezTo>
                  <a:cubicBezTo>
                    <a:pt x="111849" y="53028"/>
                    <a:pt x="114026" y="57450"/>
                    <a:pt x="117475" y="60325"/>
                  </a:cubicBezTo>
                  <a:cubicBezTo>
                    <a:pt x="120406" y="62768"/>
                    <a:pt x="123825" y="64558"/>
                    <a:pt x="127000" y="66675"/>
                  </a:cubicBezTo>
                  <a:cubicBezTo>
                    <a:pt x="150283" y="65617"/>
                    <a:pt x="173995" y="68071"/>
                    <a:pt x="196850" y="63500"/>
                  </a:cubicBezTo>
                  <a:cubicBezTo>
                    <a:pt x="202039" y="62462"/>
                    <a:pt x="204008" y="55533"/>
                    <a:pt x="206375" y="50800"/>
                  </a:cubicBezTo>
                  <a:cubicBezTo>
                    <a:pt x="208326" y="46897"/>
                    <a:pt x="208018" y="42186"/>
                    <a:pt x="209550" y="38100"/>
                  </a:cubicBezTo>
                  <a:cubicBezTo>
                    <a:pt x="211212" y="33668"/>
                    <a:pt x="214036" y="29750"/>
                    <a:pt x="215900" y="25400"/>
                  </a:cubicBezTo>
                  <a:cubicBezTo>
                    <a:pt x="217218" y="22324"/>
                    <a:pt x="217578" y="18868"/>
                    <a:pt x="219075" y="15875"/>
                  </a:cubicBezTo>
                  <a:cubicBezTo>
                    <a:pt x="220782" y="12462"/>
                    <a:pt x="222189" y="8372"/>
                    <a:pt x="225425" y="6350"/>
                  </a:cubicBezTo>
                  <a:cubicBezTo>
                    <a:pt x="231101" y="2802"/>
                    <a:pt x="244475" y="0"/>
                    <a:pt x="244475" y="0"/>
                  </a:cubicBezTo>
                  <a:cubicBezTo>
                    <a:pt x="284177" y="9926"/>
                    <a:pt x="234816" y="-2760"/>
                    <a:pt x="266700" y="6350"/>
                  </a:cubicBezTo>
                  <a:cubicBezTo>
                    <a:pt x="271447" y="7706"/>
                    <a:pt x="283850" y="10162"/>
                    <a:pt x="288925" y="12700"/>
                  </a:cubicBezTo>
                  <a:cubicBezTo>
                    <a:pt x="292338" y="14407"/>
                    <a:pt x="295275" y="16933"/>
                    <a:pt x="298450" y="19050"/>
                  </a:cubicBezTo>
                  <a:cubicBezTo>
                    <a:pt x="300567" y="22225"/>
                    <a:pt x="302357" y="25644"/>
                    <a:pt x="304800" y="28575"/>
                  </a:cubicBezTo>
                  <a:cubicBezTo>
                    <a:pt x="307675" y="32024"/>
                    <a:pt x="311834" y="34364"/>
                    <a:pt x="314325" y="38100"/>
                  </a:cubicBezTo>
                  <a:cubicBezTo>
                    <a:pt x="316181" y="40885"/>
                    <a:pt x="316442" y="44450"/>
                    <a:pt x="317500" y="47625"/>
                  </a:cubicBezTo>
                  <a:lnTo>
                    <a:pt x="298450" y="60325"/>
                  </a:lnTo>
                  <a:cubicBezTo>
                    <a:pt x="295275" y="62442"/>
                    <a:pt x="292545" y="65468"/>
                    <a:pt x="288925" y="66675"/>
                  </a:cubicBezTo>
                  <a:cubicBezTo>
                    <a:pt x="285750" y="67733"/>
                    <a:pt x="282326" y="68225"/>
                    <a:pt x="279400" y="69850"/>
                  </a:cubicBezTo>
                  <a:cubicBezTo>
                    <a:pt x="272729" y="73556"/>
                    <a:pt x="267590" y="80137"/>
                    <a:pt x="260350" y="82550"/>
                  </a:cubicBezTo>
                  <a:lnTo>
                    <a:pt x="231775" y="92075"/>
                  </a:lnTo>
                  <a:lnTo>
                    <a:pt x="222250" y="95250"/>
                  </a:lnTo>
                  <a:cubicBezTo>
                    <a:pt x="221192" y="98425"/>
                    <a:pt x="219625" y="101474"/>
                    <a:pt x="219075" y="104775"/>
                  </a:cubicBezTo>
                  <a:cubicBezTo>
                    <a:pt x="217499" y="114228"/>
                    <a:pt x="218224" y="124053"/>
                    <a:pt x="215900" y="133350"/>
                  </a:cubicBezTo>
                  <a:cubicBezTo>
                    <a:pt x="214975" y="137052"/>
                    <a:pt x="212248" y="140177"/>
                    <a:pt x="209550" y="142875"/>
                  </a:cubicBezTo>
                  <a:cubicBezTo>
                    <a:pt x="204131" y="148294"/>
                    <a:pt x="197601" y="150463"/>
                    <a:pt x="190500" y="152400"/>
                  </a:cubicBezTo>
                  <a:cubicBezTo>
                    <a:pt x="189020" y="152804"/>
                    <a:pt x="155629" y="161525"/>
                    <a:pt x="149225" y="161925"/>
                  </a:cubicBezTo>
                  <a:cubicBezTo>
                    <a:pt x="120686" y="163709"/>
                    <a:pt x="92075" y="164042"/>
                    <a:pt x="63500" y="165100"/>
                  </a:cubicBezTo>
                  <a:cubicBezTo>
                    <a:pt x="35055" y="169841"/>
                    <a:pt x="10583" y="162454"/>
                    <a:pt x="0" y="161925"/>
                  </a:cubicBezTo>
                  <a:close/>
                </a:path>
              </a:pathLst>
            </a:custGeom>
            <a:grp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sym typeface="Arial"/>
              </a:endParaRPr>
            </a:p>
          </p:txBody>
        </p:sp>
        <p:sp>
          <p:nvSpPr>
            <p:cNvPr id="12" name="Freeform 11"/>
            <p:cNvSpPr/>
            <p:nvPr/>
          </p:nvSpPr>
          <p:spPr bwMode="gray">
            <a:xfrm>
              <a:off x="3683000" y="3825875"/>
              <a:ext cx="149225" cy="149225"/>
            </a:xfrm>
            <a:custGeom>
              <a:avLst/>
              <a:gdLst>
                <a:gd name="connsiteX0" fmla="*/ 79375 w 149225"/>
                <a:gd name="connsiteY0" fmla="*/ 149225 h 149225"/>
                <a:gd name="connsiteX1" fmla="*/ 79375 w 149225"/>
                <a:gd name="connsiteY1" fmla="*/ 149225 h 149225"/>
                <a:gd name="connsiteX2" fmla="*/ 50800 w 149225"/>
                <a:gd name="connsiteY2" fmla="*/ 117475 h 149225"/>
                <a:gd name="connsiteX3" fmla="*/ 41275 w 149225"/>
                <a:gd name="connsiteY3" fmla="*/ 111125 h 149225"/>
                <a:gd name="connsiteX4" fmla="*/ 15875 w 149225"/>
                <a:gd name="connsiteY4" fmla="*/ 104775 h 149225"/>
                <a:gd name="connsiteX5" fmla="*/ 3175 w 149225"/>
                <a:gd name="connsiteY5" fmla="*/ 73025 h 149225"/>
                <a:gd name="connsiteX6" fmla="*/ 0 w 149225"/>
                <a:gd name="connsiteY6" fmla="*/ 63500 h 149225"/>
                <a:gd name="connsiteX7" fmla="*/ 3175 w 149225"/>
                <a:gd name="connsiteY7" fmla="*/ 31750 h 149225"/>
                <a:gd name="connsiteX8" fmla="*/ 19050 w 149225"/>
                <a:gd name="connsiteY8" fmla="*/ 15875 h 149225"/>
                <a:gd name="connsiteX9" fmla="*/ 31750 w 149225"/>
                <a:gd name="connsiteY9" fmla="*/ 12700 h 149225"/>
                <a:gd name="connsiteX10" fmla="*/ 47625 w 149225"/>
                <a:gd name="connsiteY10" fmla="*/ 6350 h 149225"/>
                <a:gd name="connsiteX11" fmla="*/ 63500 w 149225"/>
                <a:gd name="connsiteY11" fmla="*/ 3175 h 149225"/>
                <a:gd name="connsiteX12" fmla="*/ 73025 w 149225"/>
                <a:gd name="connsiteY12" fmla="*/ 0 h 149225"/>
                <a:gd name="connsiteX13" fmla="*/ 120650 w 149225"/>
                <a:gd name="connsiteY13" fmla="*/ 9525 h 149225"/>
                <a:gd name="connsiteX14" fmla="*/ 130175 w 149225"/>
                <a:gd name="connsiteY14" fmla="*/ 15875 h 149225"/>
                <a:gd name="connsiteX15" fmla="*/ 136525 w 149225"/>
                <a:gd name="connsiteY15" fmla="*/ 25400 h 149225"/>
                <a:gd name="connsiteX16" fmla="*/ 146050 w 149225"/>
                <a:gd name="connsiteY16" fmla="*/ 34925 h 149225"/>
                <a:gd name="connsiteX17" fmla="*/ 149225 w 149225"/>
                <a:gd name="connsiteY17" fmla="*/ 44450 h 149225"/>
                <a:gd name="connsiteX18" fmla="*/ 146050 w 149225"/>
                <a:gd name="connsiteY18" fmla="*/ 92075 h 149225"/>
                <a:gd name="connsiteX19" fmla="*/ 123825 w 149225"/>
                <a:gd name="connsiteY19" fmla="*/ 120650 h 149225"/>
                <a:gd name="connsiteX20" fmla="*/ 114300 w 149225"/>
                <a:gd name="connsiteY20" fmla="*/ 127000 h 149225"/>
                <a:gd name="connsiteX21" fmla="*/ 104775 w 149225"/>
                <a:gd name="connsiteY21" fmla="*/ 136525 h 149225"/>
                <a:gd name="connsiteX22" fmla="*/ 79375 w 149225"/>
                <a:gd name="connsiteY22" fmla="*/ 149225 h 149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49225" h="149225">
                  <a:moveTo>
                    <a:pt x="79375" y="149225"/>
                  </a:moveTo>
                  <a:lnTo>
                    <a:pt x="79375" y="149225"/>
                  </a:lnTo>
                  <a:cubicBezTo>
                    <a:pt x="75249" y="144411"/>
                    <a:pt x="59012" y="124319"/>
                    <a:pt x="50800" y="117475"/>
                  </a:cubicBezTo>
                  <a:cubicBezTo>
                    <a:pt x="47869" y="115032"/>
                    <a:pt x="44861" y="112429"/>
                    <a:pt x="41275" y="111125"/>
                  </a:cubicBezTo>
                  <a:cubicBezTo>
                    <a:pt x="33073" y="108143"/>
                    <a:pt x="15875" y="104775"/>
                    <a:pt x="15875" y="104775"/>
                  </a:cubicBezTo>
                  <a:cubicBezTo>
                    <a:pt x="6532" y="86088"/>
                    <a:pt x="11022" y="96565"/>
                    <a:pt x="3175" y="73025"/>
                  </a:cubicBezTo>
                  <a:lnTo>
                    <a:pt x="0" y="63500"/>
                  </a:lnTo>
                  <a:cubicBezTo>
                    <a:pt x="1058" y="52917"/>
                    <a:pt x="783" y="42114"/>
                    <a:pt x="3175" y="31750"/>
                  </a:cubicBezTo>
                  <a:cubicBezTo>
                    <a:pt x="4724" y="25039"/>
                    <a:pt x="13268" y="18353"/>
                    <a:pt x="19050" y="15875"/>
                  </a:cubicBezTo>
                  <a:cubicBezTo>
                    <a:pt x="23061" y="14156"/>
                    <a:pt x="27610" y="14080"/>
                    <a:pt x="31750" y="12700"/>
                  </a:cubicBezTo>
                  <a:cubicBezTo>
                    <a:pt x="37157" y="10898"/>
                    <a:pt x="42166" y="7988"/>
                    <a:pt x="47625" y="6350"/>
                  </a:cubicBezTo>
                  <a:cubicBezTo>
                    <a:pt x="52794" y="4799"/>
                    <a:pt x="58265" y="4484"/>
                    <a:pt x="63500" y="3175"/>
                  </a:cubicBezTo>
                  <a:cubicBezTo>
                    <a:pt x="66747" y="2363"/>
                    <a:pt x="69850" y="1058"/>
                    <a:pt x="73025" y="0"/>
                  </a:cubicBezTo>
                  <a:cubicBezTo>
                    <a:pt x="84077" y="1228"/>
                    <a:pt x="109393" y="2021"/>
                    <a:pt x="120650" y="9525"/>
                  </a:cubicBezTo>
                  <a:lnTo>
                    <a:pt x="130175" y="15875"/>
                  </a:lnTo>
                  <a:cubicBezTo>
                    <a:pt x="132292" y="19050"/>
                    <a:pt x="134082" y="22469"/>
                    <a:pt x="136525" y="25400"/>
                  </a:cubicBezTo>
                  <a:cubicBezTo>
                    <a:pt x="139400" y="28849"/>
                    <a:pt x="143559" y="31189"/>
                    <a:pt x="146050" y="34925"/>
                  </a:cubicBezTo>
                  <a:cubicBezTo>
                    <a:pt x="147906" y="37710"/>
                    <a:pt x="148167" y="41275"/>
                    <a:pt x="149225" y="44450"/>
                  </a:cubicBezTo>
                  <a:cubicBezTo>
                    <a:pt x="148167" y="60325"/>
                    <a:pt x="149735" y="76597"/>
                    <a:pt x="146050" y="92075"/>
                  </a:cubicBezTo>
                  <a:cubicBezTo>
                    <a:pt x="144297" y="99436"/>
                    <a:pt x="130840" y="114804"/>
                    <a:pt x="123825" y="120650"/>
                  </a:cubicBezTo>
                  <a:cubicBezTo>
                    <a:pt x="120894" y="123093"/>
                    <a:pt x="117231" y="124557"/>
                    <a:pt x="114300" y="127000"/>
                  </a:cubicBezTo>
                  <a:cubicBezTo>
                    <a:pt x="110851" y="129875"/>
                    <a:pt x="108224" y="133650"/>
                    <a:pt x="104775" y="136525"/>
                  </a:cubicBezTo>
                  <a:cubicBezTo>
                    <a:pt x="99028" y="141314"/>
                    <a:pt x="83608" y="147108"/>
                    <a:pt x="79375" y="149225"/>
                  </a:cubicBezTo>
                  <a:close/>
                </a:path>
              </a:pathLst>
            </a:custGeom>
            <a:grp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sym typeface="Arial"/>
              </a:endParaRPr>
            </a:p>
          </p:txBody>
        </p:sp>
        <p:sp>
          <p:nvSpPr>
            <p:cNvPr id="13" name="Freeform 12"/>
            <p:cNvSpPr/>
            <p:nvPr/>
          </p:nvSpPr>
          <p:spPr bwMode="gray">
            <a:xfrm>
              <a:off x="5477534" y="3686175"/>
              <a:ext cx="142216" cy="96246"/>
            </a:xfrm>
            <a:custGeom>
              <a:avLst/>
              <a:gdLst>
                <a:gd name="connsiteX0" fmla="*/ 123166 w 142216"/>
                <a:gd name="connsiteY0" fmla="*/ 92075 h 96246"/>
                <a:gd name="connsiteX1" fmla="*/ 123166 w 142216"/>
                <a:gd name="connsiteY1" fmla="*/ 92075 h 96246"/>
                <a:gd name="connsiteX2" fmla="*/ 5691 w 142216"/>
                <a:gd name="connsiteY2" fmla="*/ 88900 h 96246"/>
                <a:gd name="connsiteX3" fmla="*/ 8866 w 142216"/>
                <a:gd name="connsiteY3" fmla="*/ 44450 h 96246"/>
                <a:gd name="connsiteX4" fmla="*/ 12041 w 142216"/>
                <a:gd name="connsiteY4" fmla="*/ 34925 h 96246"/>
                <a:gd name="connsiteX5" fmla="*/ 31091 w 142216"/>
                <a:gd name="connsiteY5" fmla="*/ 19050 h 96246"/>
                <a:gd name="connsiteX6" fmla="*/ 53316 w 142216"/>
                <a:gd name="connsiteY6" fmla="*/ 3175 h 96246"/>
                <a:gd name="connsiteX7" fmla="*/ 62841 w 142216"/>
                <a:gd name="connsiteY7" fmla="*/ 0 h 96246"/>
                <a:gd name="connsiteX8" fmla="*/ 113641 w 142216"/>
                <a:gd name="connsiteY8" fmla="*/ 0 h 96246"/>
                <a:gd name="connsiteX9" fmla="*/ 142216 w 142216"/>
                <a:gd name="connsiteY9" fmla="*/ 3175 h 96246"/>
                <a:gd name="connsiteX10" fmla="*/ 123166 w 142216"/>
                <a:gd name="connsiteY10" fmla="*/ 92075 h 96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216" h="96246">
                  <a:moveTo>
                    <a:pt x="123166" y="92075"/>
                  </a:moveTo>
                  <a:lnTo>
                    <a:pt x="123166" y="92075"/>
                  </a:lnTo>
                  <a:cubicBezTo>
                    <a:pt x="84008" y="91017"/>
                    <a:pt x="41850" y="103966"/>
                    <a:pt x="5691" y="88900"/>
                  </a:cubicBezTo>
                  <a:cubicBezTo>
                    <a:pt x="-8021" y="83187"/>
                    <a:pt x="7130" y="59203"/>
                    <a:pt x="8866" y="44450"/>
                  </a:cubicBezTo>
                  <a:cubicBezTo>
                    <a:pt x="9257" y="41126"/>
                    <a:pt x="10185" y="37710"/>
                    <a:pt x="12041" y="34925"/>
                  </a:cubicBezTo>
                  <a:cubicBezTo>
                    <a:pt x="17432" y="26839"/>
                    <a:pt x="23637" y="24375"/>
                    <a:pt x="31091" y="19050"/>
                  </a:cubicBezTo>
                  <a:cubicBezTo>
                    <a:pt x="34447" y="16653"/>
                    <a:pt x="48328" y="5669"/>
                    <a:pt x="53316" y="3175"/>
                  </a:cubicBezTo>
                  <a:cubicBezTo>
                    <a:pt x="56309" y="1678"/>
                    <a:pt x="59666" y="1058"/>
                    <a:pt x="62841" y="0"/>
                  </a:cubicBezTo>
                  <a:cubicBezTo>
                    <a:pt x="98635" y="7159"/>
                    <a:pt x="55024" y="0"/>
                    <a:pt x="113641" y="0"/>
                  </a:cubicBezTo>
                  <a:cubicBezTo>
                    <a:pt x="123225" y="0"/>
                    <a:pt x="132691" y="2117"/>
                    <a:pt x="142216" y="3175"/>
                  </a:cubicBezTo>
                  <a:lnTo>
                    <a:pt x="123166" y="92075"/>
                  </a:lnTo>
                  <a:close/>
                </a:path>
              </a:pathLst>
            </a:custGeom>
            <a:grp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sym typeface="Arial"/>
              </a:endParaRPr>
            </a:p>
          </p:txBody>
        </p:sp>
        <p:sp>
          <p:nvSpPr>
            <p:cNvPr id="14" name="Freeform 13"/>
            <p:cNvSpPr/>
            <p:nvPr/>
          </p:nvSpPr>
          <p:spPr bwMode="gray">
            <a:xfrm>
              <a:off x="2276475" y="3890963"/>
              <a:ext cx="133350" cy="85725"/>
            </a:xfrm>
            <a:custGeom>
              <a:avLst/>
              <a:gdLst>
                <a:gd name="connsiteX0" fmla="*/ 114300 w 133350"/>
                <a:gd name="connsiteY0" fmla="*/ 85725 h 85725"/>
                <a:gd name="connsiteX1" fmla="*/ 114300 w 133350"/>
                <a:gd name="connsiteY1" fmla="*/ 85725 h 85725"/>
                <a:gd name="connsiteX2" fmla="*/ 76200 w 133350"/>
                <a:gd name="connsiteY2" fmla="*/ 71437 h 85725"/>
                <a:gd name="connsiteX3" fmla="*/ 14288 w 133350"/>
                <a:gd name="connsiteY3" fmla="*/ 61912 h 85725"/>
                <a:gd name="connsiteX4" fmla="*/ 9525 w 133350"/>
                <a:gd name="connsiteY4" fmla="*/ 47625 h 85725"/>
                <a:gd name="connsiteX5" fmla="*/ 0 w 133350"/>
                <a:gd name="connsiteY5" fmla="*/ 33337 h 85725"/>
                <a:gd name="connsiteX6" fmla="*/ 9525 w 133350"/>
                <a:gd name="connsiteY6" fmla="*/ 0 h 85725"/>
                <a:gd name="connsiteX7" fmla="*/ 80963 w 133350"/>
                <a:gd name="connsiteY7" fmla="*/ 4762 h 85725"/>
                <a:gd name="connsiteX8" fmla="*/ 109538 w 133350"/>
                <a:gd name="connsiteY8" fmla="*/ 14287 h 85725"/>
                <a:gd name="connsiteX9" fmla="*/ 133350 w 133350"/>
                <a:gd name="connsiteY9" fmla="*/ 19050 h 85725"/>
                <a:gd name="connsiteX10" fmla="*/ 119063 w 133350"/>
                <a:gd name="connsiteY10" fmla="*/ 33337 h 85725"/>
                <a:gd name="connsiteX11" fmla="*/ 114300 w 133350"/>
                <a:gd name="connsiteY11" fmla="*/ 85725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3350" h="85725">
                  <a:moveTo>
                    <a:pt x="114300" y="85725"/>
                  </a:moveTo>
                  <a:lnTo>
                    <a:pt x="114300" y="85725"/>
                  </a:lnTo>
                  <a:cubicBezTo>
                    <a:pt x="101600" y="80962"/>
                    <a:pt x="89441" y="74379"/>
                    <a:pt x="76200" y="71437"/>
                  </a:cubicBezTo>
                  <a:cubicBezTo>
                    <a:pt x="-34283" y="46885"/>
                    <a:pt x="61917" y="77791"/>
                    <a:pt x="14288" y="61912"/>
                  </a:cubicBezTo>
                  <a:cubicBezTo>
                    <a:pt x="12700" y="57150"/>
                    <a:pt x="11770" y="52115"/>
                    <a:pt x="9525" y="47625"/>
                  </a:cubicBezTo>
                  <a:cubicBezTo>
                    <a:pt x="6965" y="42505"/>
                    <a:pt x="0" y="39061"/>
                    <a:pt x="0" y="33337"/>
                  </a:cubicBezTo>
                  <a:cubicBezTo>
                    <a:pt x="0" y="21780"/>
                    <a:pt x="6350" y="11112"/>
                    <a:pt x="9525" y="0"/>
                  </a:cubicBezTo>
                  <a:cubicBezTo>
                    <a:pt x="33338" y="1587"/>
                    <a:pt x="57337" y="1387"/>
                    <a:pt x="80963" y="4762"/>
                  </a:cubicBezTo>
                  <a:cubicBezTo>
                    <a:pt x="90902" y="6182"/>
                    <a:pt x="99693" y="12318"/>
                    <a:pt x="109538" y="14287"/>
                  </a:cubicBezTo>
                  <a:lnTo>
                    <a:pt x="133350" y="19050"/>
                  </a:lnTo>
                  <a:cubicBezTo>
                    <a:pt x="128588" y="23812"/>
                    <a:pt x="122334" y="27450"/>
                    <a:pt x="119063" y="33337"/>
                  </a:cubicBezTo>
                  <a:cubicBezTo>
                    <a:pt x="108032" y="53193"/>
                    <a:pt x="115094" y="76994"/>
                    <a:pt x="114300" y="85725"/>
                  </a:cubicBezTo>
                  <a:close/>
                </a:path>
              </a:pathLst>
            </a:custGeom>
            <a:grp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sym typeface="Arial"/>
              </a:endParaRPr>
            </a:p>
          </p:txBody>
        </p:sp>
        <p:sp>
          <p:nvSpPr>
            <p:cNvPr id="15" name="Freeform 14"/>
            <p:cNvSpPr/>
            <p:nvPr/>
          </p:nvSpPr>
          <p:spPr bwMode="gray">
            <a:xfrm>
              <a:off x="2447925" y="3619401"/>
              <a:ext cx="66675" cy="83121"/>
            </a:xfrm>
            <a:custGeom>
              <a:avLst/>
              <a:gdLst>
                <a:gd name="connsiteX0" fmla="*/ 42863 w 66675"/>
                <a:gd name="connsiteY0" fmla="*/ 76299 h 83121"/>
                <a:gd name="connsiteX1" fmla="*/ 42863 w 66675"/>
                <a:gd name="connsiteY1" fmla="*/ 76299 h 83121"/>
                <a:gd name="connsiteX2" fmla="*/ 57150 w 66675"/>
                <a:gd name="connsiteY2" fmla="*/ 38199 h 83121"/>
                <a:gd name="connsiteX3" fmla="*/ 66675 w 66675"/>
                <a:gd name="connsiteY3" fmla="*/ 9624 h 83121"/>
                <a:gd name="connsiteX4" fmla="*/ 52388 w 66675"/>
                <a:gd name="connsiteY4" fmla="*/ 99 h 83121"/>
                <a:gd name="connsiteX5" fmla="*/ 14288 w 66675"/>
                <a:gd name="connsiteY5" fmla="*/ 9624 h 83121"/>
                <a:gd name="connsiteX6" fmla="*/ 4763 w 66675"/>
                <a:gd name="connsiteY6" fmla="*/ 23912 h 83121"/>
                <a:gd name="connsiteX7" fmla="*/ 0 w 66675"/>
                <a:gd name="connsiteY7" fmla="*/ 42962 h 83121"/>
                <a:gd name="connsiteX8" fmla="*/ 14288 w 66675"/>
                <a:gd name="connsiteY8" fmla="*/ 71537 h 83121"/>
                <a:gd name="connsiteX9" fmla="*/ 42863 w 66675"/>
                <a:gd name="connsiteY9" fmla="*/ 76299 h 83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75" h="83121">
                  <a:moveTo>
                    <a:pt x="42863" y="76299"/>
                  </a:moveTo>
                  <a:lnTo>
                    <a:pt x="42863" y="76299"/>
                  </a:lnTo>
                  <a:cubicBezTo>
                    <a:pt x="47625" y="63599"/>
                    <a:pt x="52588" y="50972"/>
                    <a:pt x="57150" y="38199"/>
                  </a:cubicBezTo>
                  <a:cubicBezTo>
                    <a:pt x="60527" y="28744"/>
                    <a:pt x="66675" y="9624"/>
                    <a:pt x="66675" y="9624"/>
                  </a:cubicBezTo>
                  <a:cubicBezTo>
                    <a:pt x="61913" y="6449"/>
                    <a:pt x="58067" y="809"/>
                    <a:pt x="52388" y="99"/>
                  </a:cubicBezTo>
                  <a:cubicBezTo>
                    <a:pt x="44030" y="-946"/>
                    <a:pt x="23618" y="6514"/>
                    <a:pt x="14288" y="9624"/>
                  </a:cubicBezTo>
                  <a:cubicBezTo>
                    <a:pt x="11113" y="14387"/>
                    <a:pt x="7018" y="18651"/>
                    <a:pt x="4763" y="23912"/>
                  </a:cubicBezTo>
                  <a:cubicBezTo>
                    <a:pt x="2185" y="29928"/>
                    <a:pt x="0" y="36417"/>
                    <a:pt x="0" y="42962"/>
                  </a:cubicBezTo>
                  <a:cubicBezTo>
                    <a:pt x="0" y="52819"/>
                    <a:pt x="9474" y="64315"/>
                    <a:pt x="14288" y="71537"/>
                  </a:cubicBezTo>
                  <a:cubicBezTo>
                    <a:pt x="20139" y="94943"/>
                    <a:pt x="38101" y="75505"/>
                    <a:pt x="42863" y="76299"/>
                  </a:cubicBezTo>
                  <a:close/>
                </a:path>
              </a:pathLst>
            </a:custGeom>
            <a:grp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sym typeface="Arial"/>
              </a:endParaRPr>
            </a:p>
          </p:txBody>
        </p:sp>
        <p:sp>
          <p:nvSpPr>
            <p:cNvPr id="16" name="Freeform 15"/>
            <p:cNvSpPr/>
            <p:nvPr/>
          </p:nvSpPr>
          <p:spPr bwMode="gray">
            <a:xfrm>
              <a:off x="666750" y="4071938"/>
              <a:ext cx="1262063" cy="790575"/>
            </a:xfrm>
            <a:custGeom>
              <a:avLst/>
              <a:gdLst>
                <a:gd name="connsiteX0" fmla="*/ 657225 w 1262063"/>
                <a:gd name="connsiteY0" fmla="*/ 0 h 790575"/>
                <a:gd name="connsiteX1" fmla="*/ 557213 w 1262063"/>
                <a:gd name="connsiteY1" fmla="*/ 76200 h 790575"/>
                <a:gd name="connsiteX2" fmla="*/ 485775 w 1262063"/>
                <a:gd name="connsiteY2" fmla="*/ 85725 h 790575"/>
                <a:gd name="connsiteX3" fmla="*/ 390525 w 1262063"/>
                <a:gd name="connsiteY3" fmla="*/ 152400 h 790575"/>
                <a:gd name="connsiteX4" fmla="*/ 352425 w 1262063"/>
                <a:gd name="connsiteY4" fmla="*/ 133350 h 790575"/>
                <a:gd name="connsiteX5" fmla="*/ 342900 w 1262063"/>
                <a:gd name="connsiteY5" fmla="*/ 119062 h 790575"/>
                <a:gd name="connsiteX6" fmla="*/ 333375 w 1262063"/>
                <a:gd name="connsiteY6" fmla="*/ 109537 h 790575"/>
                <a:gd name="connsiteX7" fmla="*/ 276225 w 1262063"/>
                <a:gd name="connsiteY7" fmla="*/ 109537 h 790575"/>
                <a:gd name="connsiteX8" fmla="*/ 104775 w 1262063"/>
                <a:gd name="connsiteY8" fmla="*/ 123825 h 790575"/>
                <a:gd name="connsiteX9" fmla="*/ 85725 w 1262063"/>
                <a:gd name="connsiteY9" fmla="*/ 185737 h 790575"/>
                <a:gd name="connsiteX10" fmla="*/ 95250 w 1262063"/>
                <a:gd name="connsiteY10" fmla="*/ 242887 h 790575"/>
                <a:gd name="connsiteX11" fmla="*/ 9525 w 1262063"/>
                <a:gd name="connsiteY11" fmla="*/ 347662 h 790575"/>
                <a:gd name="connsiteX12" fmla="*/ 0 w 1262063"/>
                <a:gd name="connsiteY12" fmla="*/ 390525 h 790575"/>
                <a:gd name="connsiteX13" fmla="*/ 23813 w 1262063"/>
                <a:gd name="connsiteY13" fmla="*/ 419100 h 790575"/>
                <a:gd name="connsiteX14" fmla="*/ 38100 w 1262063"/>
                <a:gd name="connsiteY14" fmla="*/ 433387 h 790575"/>
                <a:gd name="connsiteX15" fmla="*/ 57150 w 1262063"/>
                <a:gd name="connsiteY15" fmla="*/ 438150 h 790575"/>
                <a:gd name="connsiteX16" fmla="*/ 104775 w 1262063"/>
                <a:gd name="connsiteY16" fmla="*/ 442912 h 790575"/>
                <a:gd name="connsiteX17" fmla="*/ 133350 w 1262063"/>
                <a:gd name="connsiteY17" fmla="*/ 466725 h 790575"/>
                <a:gd name="connsiteX18" fmla="*/ 147638 w 1262063"/>
                <a:gd name="connsiteY18" fmla="*/ 481012 h 790575"/>
                <a:gd name="connsiteX19" fmla="*/ 176213 w 1262063"/>
                <a:gd name="connsiteY19" fmla="*/ 490537 h 790575"/>
                <a:gd name="connsiteX20" fmla="*/ 219075 w 1262063"/>
                <a:gd name="connsiteY20" fmla="*/ 452437 h 790575"/>
                <a:gd name="connsiteX21" fmla="*/ 247650 w 1262063"/>
                <a:gd name="connsiteY21" fmla="*/ 471487 h 790575"/>
                <a:gd name="connsiteX22" fmla="*/ 261938 w 1262063"/>
                <a:gd name="connsiteY22" fmla="*/ 476250 h 790575"/>
                <a:gd name="connsiteX23" fmla="*/ 319088 w 1262063"/>
                <a:gd name="connsiteY23" fmla="*/ 481012 h 790575"/>
                <a:gd name="connsiteX24" fmla="*/ 438150 w 1262063"/>
                <a:gd name="connsiteY24" fmla="*/ 557212 h 790575"/>
                <a:gd name="connsiteX25" fmla="*/ 485775 w 1262063"/>
                <a:gd name="connsiteY25" fmla="*/ 585787 h 790575"/>
                <a:gd name="connsiteX26" fmla="*/ 538163 w 1262063"/>
                <a:gd name="connsiteY26" fmla="*/ 657225 h 790575"/>
                <a:gd name="connsiteX27" fmla="*/ 552450 w 1262063"/>
                <a:gd name="connsiteY27" fmla="*/ 695325 h 790575"/>
                <a:gd name="connsiteX28" fmla="*/ 585788 w 1262063"/>
                <a:gd name="connsiteY28" fmla="*/ 719137 h 790575"/>
                <a:gd name="connsiteX29" fmla="*/ 590550 w 1262063"/>
                <a:gd name="connsiteY29" fmla="*/ 733425 h 790575"/>
                <a:gd name="connsiteX30" fmla="*/ 604838 w 1262063"/>
                <a:gd name="connsiteY30" fmla="*/ 742950 h 790575"/>
                <a:gd name="connsiteX31" fmla="*/ 690563 w 1262063"/>
                <a:gd name="connsiteY31" fmla="*/ 771525 h 790575"/>
                <a:gd name="connsiteX32" fmla="*/ 766763 w 1262063"/>
                <a:gd name="connsiteY32" fmla="*/ 747712 h 790575"/>
                <a:gd name="connsiteX33" fmla="*/ 852488 w 1262063"/>
                <a:gd name="connsiteY33" fmla="*/ 790575 h 790575"/>
                <a:gd name="connsiteX34" fmla="*/ 942975 w 1262063"/>
                <a:gd name="connsiteY34" fmla="*/ 757237 h 790575"/>
                <a:gd name="connsiteX35" fmla="*/ 1033463 w 1262063"/>
                <a:gd name="connsiteY35" fmla="*/ 742950 h 790575"/>
                <a:gd name="connsiteX36" fmla="*/ 1062038 w 1262063"/>
                <a:gd name="connsiteY36" fmla="*/ 700087 h 790575"/>
                <a:gd name="connsiteX37" fmla="*/ 1185863 w 1262063"/>
                <a:gd name="connsiteY37" fmla="*/ 742950 h 790575"/>
                <a:gd name="connsiteX38" fmla="*/ 1252538 w 1262063"/>
                <a:gd name="connsiteY38" fmla="*/ 719137 h 790575"/>
                <a:gd name="connsiteX39" fmla="*/ 1262063 w 1262063"/>
                <a:gd name="connsiteY39" fmla="*/ 633412 h 790575"/>
                <a:gd name="connsiteX40" fmla="*/ 1228725 w 1262063"/>
                <a:gd name="connsiteY40" fmla="*/ 595312 h 790575"/>
                <a:gd name="connsiteX41" fmla="*/ 1214438 w 1262063"/>
                <a:gd name="connsiteY41" fmla="*/ 571500 h 790575"/>
                <a:gd name="connsiteX42" fmla="*/ 1185863 w 1262063"/>
                <a:gd name="connsiteY42" fmla="*/ 557212 h 790575"/>
                <a:gd name="connsiteX43" fmla="*/ 1123950 w 1262063"/>
                <a:gd name="connsiteY43" fmla="*/ 552450 h 790575"/>
                <a:gd name="connsiteX44" fmla="*/ 1114425 w 1262063"/>
                <a:gd name="connsiteY44" fmla="*/ 533400 h 790575"/>
                <a:gd name="connsiteX45" fmla="*/ 1128713 w 1262063"/>
                <a:gd name="connsiteY45" fmla="*/ 523875 h 790575"/>
                <a:gd name="connsiteX46" fmla="*/ 1114425 w 1262063"/>
                <a:gd name="connsiteY46" fmla="*/ 514350 h 790575"/>
                <a:gd name="connsiteX47" fmla="*/ 1100138 w 1262063"/>
                <a:gd name="connsiteY47" fmla="*/ 509587 h 790575"/>
                <a:gd name="connsiteX48" fmla="*/ 1066800 w 1262063"/>
                <a:gd name="connsiteY48" fmla="*/ 485775 h 790575"/>
                <a:gd name="connsiteX49" fmla="*/ 1062038 w 1262063"/>
                <a:gd name="connsiteY49" fmla="*/ 466725 h 790575"/>
                <a:gd name="connsiteX50" fmla="*/ 1028700 w 1262063"/>
                <a:gd name="connsiteY50" fmla="*/ 423862 h 790575"/>
                <a:gd name="connsiteX51" fmla="*/ 1014413 w 1262063"/>
                <a:gd name="connsiteY51" fmla="*/ 414337 h 790575"/>
                <a:gd name="connsiteX52" fmla="*/ 1000125 w 1262063"/>
                <a:gd name="connsiteY52" fmla="*/ 385762 h 790575"/>
                <a:gd name="connsiteX53" fmla="*/ 1023938 w 1262063"/>
                <a:gd name="connsiteY53" fmla="*/ 333375 h 790575"/>
                <a:gd name="connsiteX54" fmla="*/ 1047750 w 1262063"/>
                <a:gd name="connsiteY54" fmla="*/ 304800 h 790575"/>
                <a:gd name="connsiteX55" fmla="*/ 1052513 w 1262063"/>
                <a:gd name="connsiteY55" fmla="*/ 290512 h 790575"/>
                <a:gd name="connsiteX56" fmla="*/ 1038225 w 1262063"/>
                <a:gd name="connsiteY56" fmla="*/ 285750 h 790575"/>
                <a:gd name="connsiteX57" fmla="*/ 1009650 w 1262063"/>
                <a:gd name="connsiteY57" fmla="*/ 280987 h 790575"/>
                <a:gd name="connsiteX58" fmla="*/ 1114425 w 1262063"/>
                <a:gd name="connsiteY58" fmla="*/ 214312 h 790575"/>
                <a:gd name="connsiteX59" fmla="*/ 1042988 w 1262063"/>
                <a:gd name="connsiteY59" fmla="*/ 195262 h 790575"/>
                <a:gd name="connsiteX60" fmla="*/ 985838 w 1262063"/>
                <a:gd name="connsiteY60" fmla="*/ 200025 h 790575"/>
                <a:gd name="connsiteX61" fmla="*/ 976313 w 1262063"/>
                <a:gd name="connsiteY61" fmla="*/ 200025 h 790575"/>
                <a:gd name="connsiteX62" fmla="*/ 819150 w 1262063"/>
                <a:gd name="connsiteY62" fmla="*/ 85725 h 790575"/>
                <a:gd name="connsiteX63" fmla="*/ 657225 w 1262063"/>
                <a:gd name="connsiteY63" fmla="*/ 0 h 790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262063" h="790575">
                  <a:moveTo>
                    <a:pt x="657225" y="0"/>
                  </a:moveTo>
                  <a:lnTo>
                    <a:pt x="557213" y="76200"/>
                  </a:lnTo>
                  <a:lnTo>
                    <a:pt x="485775" y="85725"/>
                  </a:lnTo>
                  <a:lnTo>
                    <a:pt x="390525" y="152400"/>
                  </a:lnTo>
                  <a:cubicBezTo>
                    <a:pt x="377825" y="146050"/>
                    <a:pt x="364057" y="141493"/>
                    <a:pt x="352425" y="133350"/>
                  </a:cubicBezTo>
                  <a:cubicBezTo>
                    <a:pt x="347736" y="130067"/>
                    <a:pt x="346476" y="123532"/>
                    <a:pt x="342900" y="119062"/>
                  </a:cubicBezTo>
                  <a:cubicBezTo>
                    <a:pt x="340095" y="115556"/>
                    <a:pt x="336550" y="112712"/>
                    <a:pt x="333375" y="109537"/>
                  </a:cubicBezTo>
                  <a:lnTo>
                    <a:pt x="276225" y="109537"/>
                  </a:lnTo>
                  <a:lnTo>
                    <a:pt x="104775" y="123825"/>
                  </a:lnTo>
                  <a:lnTo>
                    <a:pt x="85725" y="185737"/>
                  </a:lnTo>
                  <a:lnTo>
                    <a:pt x="95250" y="242887"/>
                  </a:lnTo>
                  <a:lnTo>
                    <a:pt x="9525" y="347662"/>
                  </a:lnTo>
                  <a:cubicBezTo>
                    <a:pt x="6350" y="361950"/>
                    <a:pt x="0" y="375889"/>
                    <a:pt x="0" y="390525"/>
                  </a:cubicBezTo>
                  <a:cubicBezTo>
                    <a:pt x="0" y="408799"/>
                    <a:pt x="13361" y="410390"/>
                    <a:pt x="23813" y="419100"/>
                  </a:cubicBezTo>
                  <a:cubicBezTo>
                    <a:pt x="28987" y="423412"/>
                    <a:pt x="32252" y="430045"/>
                    <a:pt x="38100" y="433387"/>
                  </a:cubicBezTo>
                  <a:cubicBezTo>
                    <a:pt x="43783" y="436634"/>
                    <a:pt x="50670" y="437224"/>
                    <a:pt x="57150" y="438150"/>
                  </a:cubicBezTo>
                  <a:cubicBezTo>
                    <a:pt x="72944" y="440406"/>
                    <a:pt x="88900" y="441325"/>
                    <a:pt x="104775" y="442912"/>
                  </a:cubicBezTo>
                  <a:cubicBezTo>
                    <a:pt x="146509" y="484646"/>
                    <a:pt x="93575" y="433580"/>
                    <a:pt x="133350" y="466725"/>
                  </a:cubicBezTo>
                  <a:cubicBezTo>
                    <a:pt x="138524" y="471037"/>
                    <a:pt x="141750" y="477741"/>
                    <a:pt x="147638" y="481012"/>
                  </a:cubicBezTo>
                  <a:cubicBezTo>
                    <a:pt x="156415" y="485888"/>
                    <a:pt x="176213" y="490537"/>
                    <a:pt x="176213" y="490537"/>
                  </a:cubicBezTo>
                  <a:cubicBezTo>
                    <a:pt x="208835" y="457915"/>
                    <a:pt x="193580" y="469434"/>
                    <a:pt x="219075" y="452437"/>
                  </a:cubicBezTo>
                  <a:cubicBezTo>
                    <a:pt x="253049" y="463762"/>
                    <a:pt x="211975" y="447704"/>
                    <a:pt x="247650" y="471487"/>
                  </a:cubicBezTo>
                  <a:cubicBezTo>
                    <a:pt x="251827" y="474272"/>
                    <a:pt x="257111" y="474871"/>
                    <a:pt x="261938" y="476250"/>
                  </a:cubicBezTo>
                  <a:cubicBezTo>
                    <a:pt x="289385" y="484092"/>
                    <a:pt x="282056" y="481012"/>
                    <a:pt x="319088" y="481012"/>
                  </a:cubicBezTo>
                  <a:lnTo>
                    <a:pt x="438150" y="557212"/>
                  </a:lnTo>
                  <a:lnTo>
                    <a:pt x="485775" y="585787"/>
                  </a:lnTo>
                  <a:lnTo>
                    <a:pt x="538163" y="657225"/>
                  </a:lnTo>
                  <a:cubicBezTo>
                    <a:pt x="542925" y="669925"/>
                    <a:pt x="545168" y="683882"/>
                    <a:pt x="552450" y="695325"/>
                  </a:cubicBezTo>
                  <a:cubicBezTo>
                    <a:pt x="554626" y="698745"/>
                    <a:pt x="580366" y="715523"/>
                    <a:pt x="585788" y="719137"/>
                  </a:cubicBezTo>
                  <a:cubicBezTo>
                    <a:pt x="587375" y="723900"/>
                    <a:pt x="587414" y="729505"/>
                    <a:pt x="590550" y="733425"/>
                  </a:cubicBezTo>
                  <a:cubicBezTo>
                    <a:pt x="594126" y="737895"/>
                    <a:pt x="604838" y="742950"/>
                    <a:pt x="604838" y="742950"/>
                  </a:cubicBezTo>
                  <a:lnTo>
                    <a:pt x="690563" y="771525"/>
                  </a:lnTo>
                  <a:lnTo>
                    <a:pt x="766763" y="747712"/>
                  </a:lnTo>
                  <a:lnTo>
                    <a:pt x="852488" y="790575"/>
                  </a:lnTo>
                  <a:lnTo>
                    <a:pt x="942975" y="757237"/>
                  </a:lnTo>
                  <a:lnTo>
                    <a:pt x="1033463" y="742950"/>
                  </a:lnTo>
                  <a:lnTo>
                    <a:pt x="1062038" y="700087"/>
                  </a:lnTo>
                  <a:lnTo>
                    <a:pt x="1185863" y="742950"/>
                  </a:lnTo>
                  <a:lnTo>
                    <a:pt x="1252538" y="719137"/>
                  </a:lnTo>
                  <a:lnTo>
                    <a:pt x="1262063" y="633412"/>
                  </a:lnTo>
                  <a:cubicBezTo>
                    <a:pt x="1250950" y="620712"/>
                    <a:pt x="1239014" y="608688"/>
                    <a:pt x="1228725" y="595312"/>
                  </a:cubicBezTo>
                  <a:cubicBezTo>
                    <a:pt x="1223081" y="587975"/>
                    <a:pt x="1220462" y="578528"/>
                    <a:pt x="1214438" y="571500"/>
                  </a:cubicBezTo>
                  <a:cubicBezTo>
                    <a:pt x="1209334" y="565545"/>
                    <a:pt x="1193862" y="558212"/>
                    <a:pt x="1185863" y="557212"/>
                  </a:cubicBezTo>
                  <a:cubicBezTo>
                    <a:pt x="1165324" y="554645"/>
                    <a:pt x="1144588" y="554037"/>
                    <a:pt x="1123950" y="552450"/>
                  </a:cubicBezTo>
                  <a:cubicBezTo>
                    <a:pt x="1120775" y="546100"/>
                    <a:pt x="1113258" y="540403"/>
                    <a:pt x="1114425" y="533400"/>
                  </a:cubicBezTo>
                  <a:cubicBezTo>
                    <a:pt x="1115366" y="527754"/>
                    <a:pt x="1128713" y="529599"/>
                    <a:pt x="1128713" y="523875"/>
                  </a:cubicBezTo>
                  <a:cubicBezTo>
                    <a:pt x="1128713" y="518151"/>
                    <a:pt x="1119545" y="516910"/>
                    <a:pt x="1114425" y="514350"/>
                  </a:cubicBezTo>
                  <a:cubicBezTo>
                    <a:pt x="1109935" y="512105"/>
                    <a:pt x="1104628" y="511832"/>
                    <a:pt x="1100138" y="509587"/>
                  </a:cubicBezTo>
                  <a:cubicBezTo>
                    <a:pt x="1093173" y="506104"/>
                    <a:pt x="1071116" y="489012"/>
                    <a:pt x="1066800" y="485775"/>
                  </a:cubicBezTo>
                  <a:cubicBezTo>
                    <a:pt x="1065213" y="479425"/>
                    <a:pt x="1064965" y="472579"/>
                    <a:pt x="1062038" y="466725"/>
                  </a:cubicBezTo>
                  <a:cubicBezTo>
                    <a:pt x="1054452" y="451552"/>
                    <a:pt x="1042139" y="435062"/>
                    <a:pt x="1028700" y="423862"/>
                  </a:cubicBezTo>
                  <a:cubicBezTo>
                    <a:pt x="1024303" y="420198"/>
                    <a:pt x="1019175" y="417512"/>
                    <a:pt x="1014413" y="414337"/>
                  </a:cubicBezTo>
                  <a:cubicBezTo>
                    <a:pt x="1009597" y="407113"/>
                    <a:pt x="1000125" y="395621"/>
                    <a:pt x="1000125" y="385762"/>
                  </a:cubicBezTo>
                  <a:cubicBezTo>
                    <a:pt x="1000125" y="361237"/>
                    <a:pt x="1010309" y="353818"/>
                    <a:pt x="1023938" y="333375"/>
                  </a:cubicBezTo>
                  <a:cubicBezTo>
                    <a:pt x="1037200" y="313482"/>
                    <a:pt x="1029414" y="323136"/>
                    <a:pt x="1047750" y="304800"/>
                  </a:cubicBezTo>
                  <a:cubicBezTo>
                    <a:pt x="1049338" y="300037"/>
                    <a:pt x="1054758" y="295002"/>
                    <a:pt x="1052513" y="290512"/>
                  </a:cubicBezTo>
                  <a:cubicBezTo>
                    <a:pt x="1050268" y="286022"/>
                    <a:pt x="1043095" y="286968"/>
                    <a:pt x="1038225" y="285750"/>
                  </a:cubicBezTo>
                  <a:cubicBezTo>
                    <a:pt x="1017927" y="280676"/>
                    <a:pt x="1021513" y="280987"/>
                    <a:pt x="1009650" y="280987"/>
                  </a:cubicBezTo>
                  <a:lnTo>
                    <a:pt x="1114425" y="214312"/>
                  </a:lnTo>
                  <a:cubicBezTo>
                    <a:pt x="1090613" y="207962"/>
                    <a:pt x="1067482" y="197983"/>
                    <a:pt x="1042988" y="195262"/>
                  </a:cubicBezTo>
                  <a:cubicBezTo>
                    <a:pt x="1023989" y="193151"/>
                    <a:pt x="1004905" y="198663"/>
                    <a:pt x="985838" y="200025"/>
                  </a:cubicBezTo>
                  <a:cubicBezTo>
                    <a:pt x="982671" y="200251"/>
                    <a:pt x="979488" y="200025"/>
                    <a:pt x="976313" y="200025"/>
                  </a:cubicBezTo>
                  <a:lnTo>
                    <a:pt x="819150" y="85725"/>
                  </a:lnTo>
                  <a:lnTo>
                    <a:pt x="657225" y="0"/>
                  </a:lnTo>
                  <a:close/>
                </a:path>
              </a:pathLst>
            </a:custGeom>
            <a:grp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sym typeface="Arial"/>
              </a:endParaRPr>
            </a:p>
          </p:txBody>
        </p:sp>
      </p:grpSp>
      <p:sp>
        <p:nvSpPr>
          <p:cNvPr id="17" name="Rectangle 16"/>
          <p:cNvSpPr>
            <a:spLocks/>
          </p:cNvSpPr>
          <p:nvPr/>
        </p:nvSpPr>
        <p:spPr>
          <a:xfrm>
            <a:off x="491939" y="1463960"/>
            <a:ext cx="2327770" cy="2567148"/>
          </a:xfrm>
          <a:prstGeom prst="rect">
            <a:avLst/>
          </a:prstGeom>
          <a:solidFill>
            <a:srgbClr val="F0F6E3">
              <a:alpha val="80000"/>
            </a:srgbClr>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sym typeface="Arial"/>
            </a:endParaRPr>
          </a:p>
        </p:txBody>
      </p:sp>
      <p:grpSp>
        <p:nvGrpSpPr>
          <p:cNvPr id="18" name="Group 17"/>
          <p:cNvGrpSpPr>
            <a:grpSpLocks/>
          </p:cNvGrpSpPr>
          <p:nvPr/>
        </p:nvGrpSpPr>
        <p:grpSpPr>
          <a:xfrm>
            <a:off x="529107" y="1531626"/>
            <a:ext cx="2356510" cy="178639"/>
            <a:chOff x="117754" y="1594671"/>
            <a:chExt cx="7375861" cy="208479"/>
          </a:xfrm>
        </p:grpSpPr>
        <p:sp>
          <p:nvSpPr>
            <p:cNvPr id="19" name="TextBox 18"/>
            <p:cNvSpPr txBox="1"/>
            <p:nvPr>
              <p:custDataLst>
                <p:tags r:id="rId32"/>
              </p:custDataLst>
            </p:nvPr>
          </p:nvSpPr>
          <p:spPr>
            <a:xfrm>
              <a:off x="443348" y="1594671"/>
              <a:ext cx="7050267" cy="17959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429" rtl="0" eaLnBrk="1" fontAlgn="base" latinLnBrk="0" hangingPunct="1">
                <a:lnSpc>
                  <a:spcPct val="100000"/>
                </a:lnSpc>
                <a:spcBef>
                  <a:spcPct val="0"/>
                </a:spcBef>
                <a:spcAft>
                  <a:spcPct val="0"/>
                </a:spcAft>
                <a:buClr>
                  <a:srgbClr val="000000"/>
                </a:buClr>
                <a:buSzTx/>
                <a:buFont typeface="Arial"/>
                <a:buNone/>
                <a:tabLst/>
                <a:defRPr/>
              </a:pPr>
              <a:r>
                <a:rPr kumimoji="0" lang="en-US" sz="1000" b="1" i="0" u="none" strike="noStrike" kern="1200" cap="none" spc="0" normalizeH="0" baseline="0" noProof="0" dirty="0">
                  <a:ln>
                    <a:noFill/>
                  </a:ln>
                  <a:solidFill>
                    <a:srgbClr val="01632F"/>
                  </a:solidFill>
                  <a:effectLst/>
                  <a:uLnTx/>
                  <a:uFillTx/>
                  <a:latin typeface="Arial"/>
                  <a:ea typeface="+mn-ea"/>
                  <a:cs typeface="Arial"/>
                  <a:sym typeface="Arial"/>
                </a:rPr>
                <a:t>Amhara</a:t>
              </a:r>
            </a:p>
          </p:txBody>
        </p:sp>
        <p:cxnSp>
          <p:nvCxnSpPr>
            <p:cNvPr id="20" name="Straight Connector 19"/>
            <p:cNvCxnSpPr/>
            <p:nvPr>
              <p:custDataLst>
                <p:tags r:id="rId33"/>
              </p:custDataLst>
            </p:nvPr>
          </p:nvCxnSpPr>
          <p:spPr>
            <a:xfrm>
              <a:off x="117754" y="1803150"/>
              <a:ext cx="7050266"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21" name="TextBox 20"/>
          <p:cNvSpPr txBox="1">
            <a:spLocks/>
          </p:cNvSpPr>
          <p:nvPr/>
        </p:nvSpPr>
        <p:spPr>
          <a:xfrm>
            <a:off x="518288" y="1755002"/>
            <a:ext cx="2220148" cy="230832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117475" marR="0" lvl="1" indent="-117475" algn="l" defTabSz="913429" rtl="0" eaLnBrk="1" fontAlgn="base" latinLnBrk="0" hangingPunct="1">
              <a:lnSpc>
                <a:spcPct val="100000"/>
              </a:lnSpc>
              <a:spcBef>
                <a:spcPct val="50000"/>
              </a:spcBef>
              <a:spcAft>
                <a:spcPct val="0"/>
              </a:spcAft>
              <a:buClr>
                <a:srgbClr val="000000"/>
              </a:buClr>
              <a:buSzPct val="125000"/>
              <a:buFont typeface="Arial" charset="0"/>
              <a:buChar char="▪"/>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Pr>
              <a:t>Central highlands, the </a:t>
            </a:r>
            <a:r>
              <a:rPr kumimoji="0" lang="en-US" sz="1000" b="1" i="0" u="none" strike="noStrike" kern="1200" cap="none" spc="0" normalizeH="0" baseline="0" noProof="0" dirty="0">
                <a:ln>
                  <a:noFill/>
                </a:ln>
                <a:solidFill>
                  <a:srgbClr val="01632F"/>
                </a:solidFill>
                <a:effectLst/>
                <a:uLnTx/>
                <a:uFillTx/>
                <a:latin typeface="Arial"/>
                <a:ea typeface="+mn-ea"/>
                <a:cs typeface="Arial"/>
                <a:sym typeface="Arial"/>
              </a:rPr>
              <a:t>agro-climatic zone </a:t>
            </a: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Pr>
              <a:t>with the </a:t>
            </a:r>
            <a:r>
              <a:rPr kumimoji="0" lang="en-US" sz="1000" b="1" i="0" u="none" strike="noStrike" kern="1200" cap="none" spc="0" normalizeH="0" baseline="0" noProof="0" dirty="0">
                <a:ln>
                  <a:noFill/>
                </a:ln>
                <a:solidFill>
                  <a:srgbClr val="01632F"/>
                </a:solidFill>
                <a:effectLst/>
                <a:uLnTx/>
                <a:uFillTx/>
                <a:latin typeface="Arial"/>
                <a:ea typeface="+mn-ea"/>
                <a:cs typeface="Arial"/>
                <a:sym typeface="Arial"/>
              </a:rPr>
              <a:t>highest potential for agricultural production</a:t>
            </a:r>
          </a:p>
          <a:p>
            <a:pPr marL="117475" marR="0" lvl="1" indent="-117475" algn="l" defTabSz="913429" rtl="0" eaLnBrk="1" fontAlgn="base" latinLnBrk="0" hangingPunct="1">
              <a:lnSpc>
                <a:spcPct val="100000"/>
              </a:lnSpc>
              <a:spcBef>
                <a:spcPct val="50000"/>
              </a:spcBef>
              <a:spcAft>
                <a:spcPct val="0"/>
              </a:spcAft>
              <a:buClr>
                <a:srgbClr val="000000"/>
              </a:buClr>
              <a:buSzPct val="125000"/>
              <a:buFont typeface="Arial" charset="0"/>
              <a:buChar char="▪"/>
              <a:tabLst/>
              <a:defRPr/>
            </a:pPr>
            <a:r>
              <a:rPr kumimoji="0" lang="en-US" sz="1000" b="1" i="0" u="none" strike="noStrike" kern="1200" cap="none" spc="0" normalizeH="0" baseline="0" noProof="0" dirty="0">
                <a:ln>
                  <a:noFill/>
                </a:ln>
                <a:solidFill>
                  <a:srgbClr val="01632F"/>
                </a:solidFill>
                <a:effectLst/>
                <a:uLnTx/>
                <a:uFillTx/>
                <a:latin typeface="Arial"/>
                <a:ea typeface="+mn-ea"/>
                <a:cs typeface="Arial"/>
                <a:sym typeface="Arial"/>
              </a:rPr>
              <a:t>Population of ~17M</a:t>
            </a: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Pr>
              <a:t>, 88% of whom reside in rural areas. </a:t>
            </a:r>
            <a:r>
              <a:rPr kumimoji="0" lang="en-US" sz="1000" b="1" i="0" u="none" strike="noStrike" kern="1200" cap="none" spc="0" normalizeH="0" baseline="0" noProof="0" dirty="0">
                <a:ln>
                  <a:noFill/>
                </a:ln>
                <a:solidFill>
                  <a:srgbClr val="01632F"/>
                </a:solidFill>
                <a:effectLst/>
                <a:uLnTx/>
                <a:uFillTx/>
                <a:latin typeface="Arial" charset="0"/>
                <a:ea typeface="+mn-ea"/>
                <a:cs typeface="Arial"/>
                <a:sym typeface="Arial"/>
              </a:rPr>
              <a:t>Direct farmer reach target:  759,535</a:t>
            </a:r>
            <a:endParaRPr kumimoji="0" lang="en-US" sz="1000" b="0" i="0" u="none" strike="noStrike" kern="1200" cap="none" spc="0" normalizeH="0" baseline="0" noProof="0" dirty="0">
              <a:ln>
                <a:noFill/>
              </a:ln>
              <a:solidFill>
                <a:srgbClr val="000000"/>
              </a:solidFill>
              <a:effectLst/>
              <a:uLnTx/>
              <a:uFillTx/>
              <a:latin typeface="Arial"/>
              <a:ea typeface="+mn-ea"/>
              <a:cs typeface="Arial"/>
              <a:sym typeface="Arial"/>
            </a:endParaRPr>
          </a:p>
          <a:p>
            <a:pPr marL="117475" marR="0" lvl="1" indent="-117475" algn="l" defTabSz="913429" rtl="0" eaLnBrk="1" fontAlgn="base" latinLnBrk="0" hangingPunct="1">
              <a:lnSpc>
                <a:spcPct val="100000"/>
              </a:lnSpc>
              <a:spcBef>
                <a:spcPct val="50000"/>
              </a:spcBef>
              <a:spcAft>
                <a:spcPct val="0"/>
              </a:spcAft>
              <a:buClr>
                <a:srgbClr val="000000"/>
              </a:buClr>
              <a:buSzPct val="125000"/>
              <a:buFont typeface="Arial" charset="0"/>
              <a:buChar char="▪"/>
              <a:tabLst/>
              <a:defRPr/>
            </a:pPr>
            <a:r>
              <a:rPr kumimoji="0" lang="en-US" sz="1000" b="1" i="0" u="none" strike="noStrike" kern="1200" cap="none" spc="0" normalizeH="0" baseline="0" noProof="0" dirty="0">
                <a:ln>
                  <a:noFill/>
                </a:ln>
                <a:solidFill>
                  <a:srgbClr val="01632F"/>
                </a:solidFill>
                <a:effectLst/>
                <a:uLnTx/>
                <a:uFillTx/>
                <a:latin typeface="Arial"/>
                <a:ea typeface="+mn-ea"/>
                <a:cs typeface="Arial"/>
                <a:sym typeface="Arial"/>
              </a:rPr>
              <a:t>2</a:t>
            </a:r>
            <a:r>
              <a:rPr kumimoji="0" lang="en-US" sz="1000" b="1" i="0" u="none" strike="noStrike" kern="1200" cap="none" spc="0" normalizeH="0" baseline="30000" noProof="0" dirty="0">
                <a:ln>
                  <a:noFill/>
                </a:ln>
                <a:solidFill>
                  <a:srgbClr val="01632F"/>
                </a:solidFill>
                <a:effectLst/>
                <a:uLnTx/>
                <a:uFillTx/>
                <a:latin typeface="Arial"/>
                <a:ea typeface="+mn-ea"/>
                <a:cs typeface="Arial"/>
                <a:sym typeface="Arial"/>
              </a:rPr>
              <a:t>nd</a:t>
            </a:r>
            <a:r>
              <a:rPr kumimoji="0" lang="en-US" sz="1000" b="1" i="0" u="none" strike="noStrike" kern="1200" cap="none" spc="0" normalizeH="0" baseline="0" noProof="0" dirty="0">
                <a:ln>
                  <a:noFill/>
                </a:ln>
                <a:solidFill>
                  <a:srgbClr val="01632F"/>
                </a:solidFill>
                <a:effectLst/>
                <a:uLnTx/>
                <a:uFillTx/>
                <a:latin typeface="Arial"/>
                <a:ea typeface="+mn-ea"/>
                <a:cs typeface="Arial"/>
                <a:sym typeface="Arial"/>
              </a:rPr>
              <a:t> leading producer </a:t>
            </a: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Pr>
              <a:t>of </a:t>
            </a:r>
            <a:r>
              <a:rPr kumimoji="0" lang="en-US" sz="1000" b="1" i="0" u="none" strike="noStrike" kern="1200" cap="none" spc="0" normalizeH="0" baseline="0" noProof="0" dirty="0">
                <a:ln>
                  <a:noFill/>
                </a:ln>
                <a:solidFill>
                  <a:srgbClr val="01632F"/>
                </a:solidFill>
                <a:effectLst/>
                <a:uLnTx/>
                <a:uFillTx/>
                <a:latin typeface="Arial"/>
                <a:ea typeface="+mn-ea"/>
                <a:cs typeface="Arial"/>
                <a:sym typeface="Arial"/>
              </a:rPr>
              <a:t>maize</a:t>
            </a: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Pr>
              <a:t> and </a:t>
            </a:r>
            <a:r>
              <a:rPr kumimoji="0" lang="en-US" sz="1000" b="1" i="0" u="none" strike="noStrike" kern="1200" cap="none" spc="0" normalizeH="0" baseline="0" noProof="0" dirty="0">
                <a:ln>
                  <a:noFill/>
                </a:ln>
                <a:solidFill>
                  <a:srgbClr val="01632F"/>
                </a:solidFill>
                <a:effectLst/>
                <a:uLnTx/>
                <a:uFillTx/>
                <a:latin typeface="Arial"/>
                <a:ea typeface="+mn-ea"/>
                <a:cs typeface="Arial"/>
                <a:sym typeface="Arial"/>
              </a:rPr>
              <a:t>wheat</a:t>
            </a: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Pr>
              <a:t>  (20% of the country’s maize)</a:t>
            </a:r>
          </a:p>
          <a:p>
            <a:pPr marL="117475" marR="0" lvl="1" indent="-117475" algn="l" defTabSz="913429" rtl="0" eaLnBrk="1" fontAlgn="base" latinLnBrk="0" hangingPunct="1">
              <a:lnSpc>
                <a:spcPct val="100000"/>
              </a:lnSpc>
              <a:spcBef>
                <a:spcPct val="50000"/>
              </a:spcBef>
              <a:spcAft>
                <a:spcPct val="0"/>
              </a:spcAft>
              <a:buClr>
                <a:srgbClr val="000000"/>
              </a:buClr>
              <a:buSzPct val="125000"/>
              <a:buFont typeface="Arial" charset="0"/>
              <a:buChar char="▪"/>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Pr>
              <a:t>Several of AGRA’s core develop-ment partners, including ATA and USAID-AGP are in the Region</a:t>
            </a:r>
          </a:p>
          <a:p>
            <a:pPr marL="117475" marR="0" lvl="1" indent="-117475" algn="l" defTabSz="913429" rtl="0" eaLnBrk="1" fontAlgn="base" latinLnBrk="0" hangingPunct="1">
              <a:lnSpc>
                <a:spcPct val="100000"/>
              </a:lnSpc>
              <a:spcBef>
                <a:spcPct val="50000"/>
              </a:spcBef>
              <a:spcAft>
                <a:spcPct val="0"/>
              </a:spcAft>
              <a:buClr>
                <a:srgbClr val="000000"/>
              </a:buClr>
              <a:buSzPct val="125000"/>
              <a:buFont typeface="Arial" charset="0"/>
              <a:buChar char="▪"/>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Pr>
              <a:t>Challenges: Access to inputs, marketing</a:t>
            </a:r>
            <a:endParaRPr kumimoji="0" lang="en-US" sz="1000" b="1" i="0" u="none" strike="noStrike" kern="1200" cap="none" spc="0" normalizeH="0" baseline="0" noProof="0" dirty="0">
              <a:ln>
                <a:noFill/>
              </a:ln>
              <a:solidFill>
                <a:srgbClr val="000000"/>
              </a:solidFill>
              <a:effectLst/>
              <a:uLnTx/>
              <a:uFillTx/>
              <a:latin typeface="Arial"/>
              <a:ea typeface="+mn-ea"/>
              <a:cs typeface="Arial"/>
              <a:sym typeface="Arial"/>
            </a:endParaRPr>
          </a:p>
        </p:txBody>
      </p:sp>
      <p:sp>
        <p:nvSpPr>
          <p:cNvPr id="22" name="Rectangle 21"/>
          <p:cNvSpPr>
            <a:spLocks/>
          </p:cNvSpPr>
          <p:nvPr/>
        </p:nvSpPr>
        <p:spPr>
          <a:xfrm>
            <a:off x="5955631" y="5061401"/>
            <a:ext cx="3369533" cy="1721856"/>
          </a:xfrm>
          <a:prstGeom prst="rect">
            <a:avLst/>
          </a:prstGeom>
          <a:solidFill>
            <a:srgbClr val="F0F6E3">
              <a:alpha val="80000"/>
            </a:srgbClr>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sym typeface="Arial"/>
            </a:endParaRPr>
          </a:p>
        </p:txBody>
      </p:sp>
      <p:sp>
        <p:nvSpPr>
          <p:cNvPr id="23" name="Rectangle 22"/>
          <p:cNvSpPr>
            <a:spLocks/>
          </p:cNvSpPr>
          <p:nvPr/>
        </p:nvSpPr>
        <p:spPr>
          <a:xfrm>
            <a:off x="5948351" y="944262"/>
            <a:ext cx="3369533" cy="1964902"/>
          </a:xfrm>
          <a:prstGeom prst="rect">
            <a:avLst/>
          </a:prstGeom>
          <a:solidFill>
            <a:srgbClr val="F0F6E3">
              <a:alpha val="80000"/>
            </a:srgb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sym typeface="Arial"/>
            </a:endParaRPr>
          </a:p>
        </p:txBody>
      </p:sp>
      <p:sp>
        <p:nvSpPr>
          <p:cNvPr id="24" name="Rectangle 23"/>
          <p:cNvSpPr>
            <a:spLocks/>
          </p:cNvSpPr>
          <p:nvPr/>
        </p:nvSpPr>
        <p:spPr>
          <a:xfrm>
            <a:off x="5952906" y="2994917"/>
            <a:ext cx="3369533" cy="2044054"/>
          </a:xfrm>
          <a:prstGeom prst="rect">
            <a:avLst/>
          </a:prstGeom>
          <a:solidFill>
            <a:srgbClr val="F0F6E3">
              <a:alpha val="80000"/>
            </a:srgbClr>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sym typeface="Arial"/>
            </a:endParaRPr>
          </a:p>
        </p:txBody>
      </p:sp>
      <p:sp>
        <p:nvSpPr>
          <p:cNvPr id="25" name="Title 1"/>
          <p:cNvSpPr txBox="1">
            <a:spLocks/>
          </p:cNvSpPr>
          <p:nvPr/>
        </p:nvSpPr>
        <p:spPr bwMode="auto">
          <a:xfrm>
            <a:off x="550616" y="83394"/>
            <a:ext cx="7367869"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pPr marL="0" marR="0" lvl="0" indent="0" algn="l" defTabSz="913429" rtl="0" eaLnBrk="1" fontAlgn="base" latinLnBrk="0" hangingPunct="1">
              <a:lnSpc>
                <a:spcPct val="100000"/>
              </a:lnSpc>
              <a:spcBef>
                <a:spcPct val="0"/>
              </a:spcBef>
              <a:spcAft>
                <a:spcPct val="0"/>
              </a:spcAft>
              <a:buClrTx/>
              <a:buSzTx/>
              <a:buFont typeface="Arial"/>
              <a:buNone/>
              <a:tabLst>
                <a:tab pos="275324" algn="l"/>
              </a:tabLst>
              <a:defRPr/>
            </a:pPr>
            <a:r>
              <a:rPr kumimoji="0" lang="en-US" sz="1800" b="1" i="0" u="none" strike="noStrike" kern="0" cap="none" spc="0" normalizeH="0" baseline="0" noProof="0" dirty="0" smtClean="0">
                <a:ln>
                  <a:noFill/>
                </a:ln>
                <a:solidFill>
                  <a:srgbClr val="000000"/>
                </a:solidFill>
                <a:effectLst/>
                <a:uLnTx/>
                <a:uFillTx/>
                <a:latin typeface="Arial" panose="020B0604020202020204" pitchFamily="34" charset="0"/>
                <a:ea typeface="Arial"/>
                <a:cs typeface="Arial" panose="020B0604020202020204" pitchFamily="34" charset="0"/>
                <a:sym typeface="Arial"/>
              </a:rPr>
              <a:t>Transformation at the farmer and system level can be driven by focusing on selected commodity value chains in 4 regions</a:t>
            </a:r>
            <a:endParaRPr kumimoji="0" lang="en-US" sz="1800" b="1" i="0" u="none" strike="noStrike" kern="0" cap="none" spc="0" normalizeH="0" baseline="0" noProof="0" dirty="0">
              <a:ln>
                <a:noFill/>
              </a:ln>
              <a:solidFill>
                <a:srgbClr val="000000"/>
              </a:solidFill>
              <a:effectLst/>
              <a:uLnTx/>
              <a:uFillTx/>
              <a:latin typeface="Arial" panose="020B0604020202020204" pitchFamily="34" charset="0"/>
              <a:ea typeface="Arial"/>
              <a:cs typeface="Arial" panose="020B0604020202020204" pitchFamily="34" charset="0"/>
              <a:sym typeface="Arial"/>
            </a:endParaRPr>
          </a:p>
        </p:txBody>
      </p:sp>
      <p:sp>
        <p:nvSpPr>
          <p:cNvPr id="26" name="TextBox 25"/>
          <p:cNvSpPr txBox="1">
            <a:spLocks/>
          </p:cNvSpPr>
          <p:nvPr/>
        </p:nvSpPr>
        <p:spPr>
          <a:xfrm>
            <a:off x="6047402" y="5359791"/>
            <a:ext cx="3180872" cy="142346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117475" marR="0" lvl="1" indent="-115888" algn="l" defTabSz="913429" rtl="0" eaLnBrk="1" fontAlgn="base" latinLnBrk="0" hangingPunct="1">
              <a:lnSpc>
                <a:spcPct val="100000"/>
              </a:lnSpc>
              <a:spcBef>
                <a:spcPts val="300"/>
              </a:spcBef>
              <a:spcAft>
                <a:spcPct val="0"/>
              </a:spcAft>
              <a:buClr>
                <a:srgbClr val="000000"/>
              </a:buClr>
              <a:buSzPct val="125000"/>
              <a:buFont typeface="Arial" charset="0"/>
              <a:buChar char="▪"/>
              <a:tabLst/>
              <a:defRPr/>
            </a:pPr>
            <a:r>
              <a:rPr kumimoji="0" lang="en-US" sz="1000" b="1" i="0" u="none" strike="noStrike" kern="1200" cap="none" spc="0" normalizeH="0" baseline="0" noProof="0" dirty="0">
                <a:ln>
                  <a:noFill/>
                </a:ln>
                <a:solidFill>
                  <a:srgbClr val="01632F"/>
                </a:solidFill>
                <a:effectLst/>
                <a:uLnTx/>
                <a:uFillTx/>
                <a:latin typeface="Arial"/>
                <a:ea typeface="+mn-ea"/>
                <a:cs typeface="Arial"/>
                <a:sym typeface="Arial"/>
              </a:rPr>
              <a:t>3</a:t>
            </a:r>
            <a:r>
              <a:rPr kumimoji="0" lang="en-US" sz="1000" b="1" i="0" u="none" strike="noStrike" kern="1200" cap="none" spc="0" normalizeH="0" baseline="30000" noProof="0" dirty="0">
                <a:ln>
                  <a:noFill/>
                </a:ln>
                <a:solidFill>
                  <a:srgbClr val="01632F"/>
                </a:solidFill>
                <a:effectLst/>
                <a:uLnTx/>
                <a:uFillTx/>
                <a:latin typeface="Arial"/>
                <a:ea typeface="+mn-ea"/>
                <a:cs typeface="Arial"/>
                <a:sym typeface="Arial"/>
              </a:rPr>
              <a:t>rd</a:t>
            </a:r>
            <a:r>
              <a:rPr kumimoji="0" lang="en-US" sz="1000" b="1" i="0" u="none" strike="noStrike" kern="1200" cap="none" spc="0" normalizeH="0" baseline="0" noProof="0" dirty="0">
                <a:ln>
                  <a:noFill/>
                </a:ln>
                <a:solidFill>
                  <a:srgbClr val="01632F"/>
                </a:solidFill>
                <a:effectLst/>
                <a:uLnTx/>
                <a:uFillTx/>
                <a:latin typeface="Arial"/>
                <a:ea typeface="+mn-ea"/>
                <a:cs typeface="Arial"/>
                <a:sym typeface="Arial"/>
              </a:rPr>
              <a:t> in overall agricultural production </a:t>
            </a: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Pr>
              <a:t>in Ethiopia</a:t>
            </a:r>
          </a:p>
          <a:p>
            <a:pPr marL="117475" marR="0" lvl="1" indent="-115888" algn="l" defTabSz="913429" rtl="0" eaLnBrk="1" fontAlgn="base" latinLnBrk="0" hangingPunct="1">
              <a:lnSpc>
                <a:spcPct val="100000"/>
              </a:lnSpc>
              <a:spcBef>
                <a:spcPts val="300"/>
              </a:spcBef>
              <a:spcAft>
                <a:spcPct val="0"/>
              </a:spcAft>
              <a:buClr>
                <a:srgbClr val="000000"/>
              </a:buClr>
              <a:buSzPct val="125000"/>
              <a:buFont typeface="Arial" charset="0"/>
              <a:buChar char="▪"/>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Pr>
              <a:t>Producer of maize, wheat, and beans</a:t>
            </a:r>
          </a:p>
          <a:p>
            <a:pPr marL="117475" marR="0" lvl="1" indent="-115888" algn="l" defTabSz="913429" rtl="0" eaLnBrk="1" fontAlgn="base" latinLnBrk="0" hangingPunct="1">
              <a:lnSpc>
                <a:spcPct val="100000"/>
              </a:lnSpc>
              <a:spcBef>
                <a:spcPts val="300"/>
              </a:spcBef>
              <a:spcAft>
                <a:spcPct val="0"/>
              </a:spcAft>
              <a:buClr>
                <a:srgbClr val="000000"/>
              </a:buClr>
              <a:buSzPct val="125000"/>
              <a:buFont typeface="Arial" charset="0"/>
              <a:buChar char="▪"/>
              <a:tabLst/>
              <a:defRPr/>
            </a:pPr>
            <a:r>
              <a:rPr kumimoji="0" lang="en-US" sz="1000" b="1" i="0" u="none" strike="noStrike" kern="1200" cap="none" spc="0" normalizeH="0" baseline="0" noProof="0" dirty="0">
                <a:ln>
                  <a:noFill/>
                </a:ln>
                <a:solidFill>
                  <a:srgbClr val="01632F"/>
                </a:solidFill>
                <a:effectLst/>
                <a:uLnTx/>
                <a:uFillTx/>
                <a:latin typeface="Arial"/>
                <a:ea typeface="+mn-ea"/>
                <a:cs typeface="Arial"/>
                <a:sym typeface="Arial"/>
              </a:rPr>
              <a:t>~15M resident</a:t>
            </a: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Pr>
              <a:t>s, 79% of whom live in rural areas. </a:t>
            </a:r>
            <a:r>
              <a:rPr kumimoji="0" lang="en-US" sz="1000" b="1" i="0" u="none" strike="noStrike" kern="1200" cap="none" spc="0" normalizeH="0" baseline="0" noProof="0" dirty="0">
                <a:ln>
                  <a:noFill/>
                </a:ln>
                <a:solidFill>
                  <a:srgbClr val="01632F"/>
                </a:solidFill>
                <a:effectLst/>
                <a:uLnTx/>
                <a:uFillTx/>
                <a:latin typeface="Arial" charset="0"/>
                <a:ea typeface="+mn-ea"/>
                <a:cs typeface="Arial"/>
                <a:sym typeface="Arial"/>
              </a:rPr>
              <a:t>Direct farmer reach target:  670,178</a:t>
            </a:r>
            <a:endParaRPr kumimoji="0" lang="en-US" sz="1000" b="0" i="0" u="none" strike="noStrike" kern="1200" cap="none" spc="0" normalizeH="0" baseline="0" noProof="0" dirty="0">
              <a:ln>
                <a:noFill/>
              </a:ln>
              <a:solidFill>
                <a:srgbClr val="000000"/>
              </a:solidFill>
              <a:effectLst/>
              <a:uLnTx/>
              <a:uFillTx/>
              <a:latin typeface="Arial"/>
              <a:ea typeface="+mn-ea"/>
              <a:cs typeface="Arial"/>
              <a:sym typeface="Arial"/>
            </a:endParaRPr>
          </a:p>
          <a:p>
            <a:pPr marL="117475" marR="0" lvl="1" indent="-115888" algn="l" defTabSz="913429" rtl="0" eaLnBrk="1" fontAlgn="base" latinLnBrk="0" hangingPunct="1">
              <a:lnSpc>
                <a:spcPct val="100000"/>
              </a:lnSpc>
              <a:spcBef>
                <a:spcPts val="300"/>
              </a:spcBef>
              <a:spcAft>
                <a:spcPct val="0"/>
              </a:spcAft>
              <a:buClr>
                <a:srgbClr val="000000"/>
              </a:buClr>
              <a:buSzPct val="125000"/>
              <a:buFont typeface="Arial" charset="0"/>
              <a:buChar char="▪"/>
              <a:tabLst/>
              <a:defRPr/>
            </a:pPr>
            <a:r>
              <a:rPr kumimoji="0" lang="en-US" sz="1000" b="1" i="0" u="none" strike="noStrike" kern="1200" cap="none" spc="0" normalizeH="0" baseline="0" noProof="0" dirty="0">
                <a:ln>
                  <a:noFill/>
                </a:ln>
                <a:solidFill>
                  <a:srgbClr val="01632F"/>
                </a:solidFill>
                <a:effectLst/>
                <a:uLnTx/>
                <a:uFillTx/>
                <a:latin typeface="Arial"/>
                <a:ea typeface="+mn-ea"/>
                <a:cs typeface="Arial"/>
                <a:sym typeface="Arial"/>
              </a:rPr>
              <a:t>Marketable surpluses </a:t>
            </a: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Pr>
              <a:t>in </a:t>
            </a:r>
            <a:r>
              <a:rPr kumimoji="0" lang="en-US" sz="1000" b="1" i="0" u="none" strike="noStrike" kern="1200" cap="none" spc="0" normalizeH="0" baseline="0" noProof="0" dirty="0">
                <a:ln>
                  <a:noFill/>
                </a:ln>
                <a:solidFill>
                  <a:srgbClr val="01632F"/>
                </a:solidFill>
                <a:effectLst/>
                <a:uLnTx/>
                <a:uFillTx/>
                <a:latin typeface="Arial"/>
                <a:ea typeface="+mn-ea"/>
                <a:cs typeface="Arial"/>
                <a:sym typeface="Arial"/>
              </a:rPr>
              <a:t>bread wheat</a:t>
            </a: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Pr>
              <a:t> (177K),</a:t>
            </a:r>
            <a:r>
              <a:rPr kumimoji="0" lang="en-US" sz="1000" b="1" i="0" u="none" strike="noStrike" kern="1200" cap="none" spc="0" normalizeH="0" baseline="0" noProof="0" dirty="0">
                <a:ln>
                  <a:noFill/>
                </a:ln>
                <a:solidFill>
                  <a:srgbClr val="01632F"/>
                </a:solidFill>
                <a:effectLst/>
                <a:uLnTx/>
                <a:uFillTx/>
                <a:latin typeface="Arial"/>
                <a:ea typeface="+mn-ea"/>
                <a:cs typeface="Arial"/>
                <a:sym typeface="Arial"/>
              </a:rPr>
              <a:t> teff (18K), maize </a:t>
            </a: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Pr>
              <a:t>(71K), and </a:t>
            </a:r>
            <a:r>
              <a:rPr kumimoji="0" lang="en-US" sz="1000" b="1" i="0" u="none" strike="noStrike" kern="1200" cap="none" spc="0" normalizeH="0" baseline="0" noProof="0" dirty="0">
                <a:ln>
                  <a:noFill/>
                </a:ln>
                <a:solidFill>
                  <a:srgbClr val="01632F"/>
                </a:solidFill>
                <a:effectLst/>
                <a:uLnTx/>
                <a:uFillTx/>
                <a:latin typeface="Arial"/>
                <a:ea typeface="+mn-ea"/>
                <a:cs typeface="Arial"/>
                <a:sym typeface="Arial"/>
              </a:rPr>
              <a:t>haricot bean</a:t>
            </a: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Pr>
              <a:t> (51K)</a:t>
            </a:r>
          </a:p>
          <a:p>
            <a:pPr marL="117475" marR="0" lvl="1" indent="-115888" algn="l" defTabSz="913429" rtl="0" eaLnBrk="1" fontAlgn="base" latinLnBrk="0" hangingPunct="1">
              <a:lnSpc>
                <a:spcPct val="100000"/>
              </a:lnSpc>
              <a:spcBef>
                <a:spcPts val="300"/>
              </a:spcBef>
              <a:spcAft>
                <a:spcPct val="0"/>
              </a:spcAft>
              <a:buClr>
                <a:srgbClr val="000000"/>
              </a:buClr>
              <a:buSzPct val="125000"/>
              <a:buFont typeface="Arial" charset="0"/>
              <a:buChar char="▪"/>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Pr>
              <a:t>Challenges: Access to inputs, unstructured markets</a:t>
            </a:r>
          </a:p>
          <a:p>
            <a:pPr marL="117475" marR="0" lvl="1" indent="-115888" algn="l" defTabSz="913429" rtl="0" eaLnBrk="1" fontAlgn="base" latinLnBrk="0" hangingPunct="1">
              <a:lnSpc>
                <a:spcPct val="100000"/>
              </a:lnSpc>
              <a:spcBef>
                <a:spcPts val="300"/>
              </a:spcBef>
              <a:spcAft>
                <a:spcPct val="0"/>
              </a:spcAft>
              <a:buClr>
                <a:srgbClr val="000000"/>
              </a:buClr>
              <a:buSzPct val="125000"/>
              <a:buFont typeface="Arial" charset="0"/>
              <a:buChar char="▪"/>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Pr>
              <a:t>Implementation capacity</a:t>
            </a:r>
          </a:p>
        </p:txBody>
      </p:sp>
      <p:cxnSp>
        <p:nvCxnSpPr>
          <p:cNvPr id="27" name="Straight Arrow Connector 26"/>
          <p:cNvCxnSpPr>
            <a:stCxn id="22" idx="1"/>
          </p:cNvCxnSpPr>
          <p:nvPr/>
        </p:nvCxnSpPr>
        <p:spPr>
          <a:xfrm flipH="1" flipV="1">
            <a:off x="3395062" y="4155613"/>
            <a:ext cx="2560568" cy="1766716"/>
          </a:xfrm>
          <a:prstGeom prst="straightConnector1">
            <a:avLst/>
          </a:prstGeom>
          <a:ln w="19050">
            <a:solidFill>
              <a:schemeClr val="accent4"/>
            </a:solidFill>
            <a:tailEnd type="oval"/>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669318" y="862764"/>
            <a:ext cx="4309083" cy="53860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429" rtl="0" eaLnBrk="1" fontAlgn="base" latinLnBrk="0" hangingPunct="1">
              <a:lnSpc>
                <a:spcPct val="100000"/>
              </a:lnSpc>
              <a:spcBef>
                <a:spcPct val="50000"/>
              </a:spcBef>
              <a:spcAft>
                <a:spcPct val="0"/>
              </a:spcAft>
              <a:buClr>
                <a:srgbClr val="000000"/>
              </a:buClr>
              <a:buSzTx/>
              <a:buFont typeface="Arial"/>
              <a:buNone/>
              <a:tabLst/>
              <a:defRPr/>
            </a:pPr>
            <a:r>
              <a:rPr kumimoji="0" lang="en-US" sz="1000" b="1" i="0" u="none" strike="noStrike" kern="1200" cap="none" spc="0" normalizeH="0" baseline="0" noProof="0" dirty="0">
                <a:ln>
                  <a:noFill/>
                </a:ln>
                <a:solidFill>
                  <a:srgbClr val="01632F"/>
                </a:solidFill>
                <a:effectLst/>
                <a:uLnTx/>
                <a:uFillTx/>
                <a:latin typeface="Arial"/>
                <a:ea typeface="+mn-ea"/>
                <a:cs typeface="Arial"/>
                <a:sym typeface="Arial"/>
              </a:rPr>
              <a:t>To prioritize interventions, regions were assessed based on:</a:t>
            </a:r>
          </a:p>
          <a:p>
            <a:pPr marL="197586" marR="0" lvl="1" indent="-195966" algn="l" defTabSz="913429" rtl="0" eaLnBrk="1" fontAlgn="base" latinLnBrk="0" hangingPunct="1">
              <a:lnSpc>
                <a:spcPct val="100000"/>
              </a:lnSpc>
              <a:spcBef>
                <a:spcPct val="25000"/>
              </a:spcBef>
              <a:spcAft>
                <a:spcPct val="0"/>
              </a:spcAft>
              <a:buClr>
                <a:srgbClr val="000000"/>
              </a:buClr>
              <a:buSzPct val="125000"/>
              <a:buFont typeface="Arial" charset="0"/>
              <a:buChar char="▪"/>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Pr>
              <a:t>Possible impact</a:t>
            </a:r>
          </a:p>
          <a:p>
            <a:pPr marL="197586" marR="0" lvl="1" indent="-195966" algn="l" defTabSz="913429" rtl="0" eaLnBrk="1" fontAlgn="base" latinLnBrk="0" hangingPunct="1">
              <a:lnSpc>
                <a:spcPct val="100000"/>
              </a:lnSpc>
              <a:spcBef>
                <a:spcPct val="25000"/>
              </a:spcBef>
              <a:spcAft>
                <a:spcPct val="0"/>
              </a:spcAft>
              <a:buClr>
                <a:srgbClr val="000000"/>
              </a:buClr>
              <a:buSzPct val="125000"/>
              <a:buFont typeface="Arial" charset="0"/>
              <a:buChar char="▪"/>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Pr>
              <a:t>Ease of delivery</a:t>
            </a:r>
          </a:p>
        </p:txBody>
      </p:sp>
      <p:grpSp>
        <p:nvGrpSpPr>
          <p:cNvPr id="29" name="Group 28"/>
          <p:cNvGrpSpPr>
            <a:grpSpLocks/>
          </p:cNvGrpSpPr>
          <p:nvPr/>
        </p:nvGrpSpPr>
        <p:grpSpPr>
          <a:xfrm>
            <a:off x="6047402" y="944538"/>
            <a:ext cx="3180872" cy="187527"/>
            <a:chOff x="228600" y="1692800"/>
            <a:chExt cx="7050266" cy="218853"/>
          </a:xfrm>
        </p:grpSpPr>
        <p:sp>
          <p:nvSpPr>
            <p:cNvPr id="30" name="TextBox 29"/>
            <p:cNvSpPr txBox="1"/>
            <p:nvPr>
              <p:custDataLst>
                <p:tags r:id="rId30"/>
              </p:custDataLst>
            </p:nvPr>
          </p:nvSpPr>
          <p:spPr>
            <a:xfrm>
              <a:off x="228600" y="1692800"/>
              <a:ext cx="7050266" cy="17959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429" rtl="0" eaLnBrk="1" fontAlgn="base" latinLnBrk="0" hangingPunct="1">
                <a:lnSpc>
                  <a:spcPct val="100000"/>
                </a:lnSpc>
                <a:spcBef>
                  <a:spcPct val="0"/>
                </a:spcBef>
                <a:spcAft>
                  <a:spcPct val="0"/>
                </a:spcAft>
                <a:buClr>
                  <a:srgbClr val="000000"/>
                </a:buClr>
                <a:buSzTx/>
                <a:buFont typeface="Arial"/>
                <a:buNone/>
                <a:tabLst/>
                <a:defRPr/>
              </a:pPr>
              <a:r>
                <a:rPr kumimoji="0" lang="en-US" sz="1000" b="1" i="0" u="none" strike="noStrike" kern="1200" cap="none" spc="0" normalizeH="0" baseline="0" noProof="0" dirty="0">
                  <a:ln>
                    <a:noFill/>
                  </a:ln>
                  <a:solidFill>
                    <a:srgbClr val="01632F"/>
                  </a:solidFill>
                  <a:effectLst/>
                  <a:uLnTx/>
                  <a:uFillTx/>
                  <a:latin typeface="Arial"/>
                  <a:ea typeface="+mn-ea"/>
                  <a:cs typeface="Arial"/>
                  <a:sym typeface="Arial"/>
                </a:rPr>
                <a:t>Tigray</a:t>
              </a:r>
            </a:p>
          </p:txBody>
        </p:sp>
        <p:cxnSp>
          <p:nvCxnSpPr>
            <p:cNvPr id="31" name="Straight Connector 30"/>
            <p:cNvCxnSpPr/>
            <p:nvPr>
              <p:custDataLst>
                <p:tags r:id="rId31"/>
              </p:custDataLst>
            </p:nvPr>
          </p:nvCxnSpPr>
          <p:spPr>
            <a:xfrm>
              <a:off x="228600" y="1911653"/>
              <a:ext cx="7050266"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32" name="TextBox 31"/>
          <p:cNvSpPr txBox="1">
            <a:spLocks/>
          </p:cNvSpPr>
          <p:nvPr/>
        </p:nvSpPr>
        <p:spPr>
          <a:xfrm>
            <a:off x="6047402" y="1151859"/>
            <a:ext cx="3180872" cy="173124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117475" marR="0" lvl="1" indent="-115888" algn="l" defTabSz="913429" rtl="0" eaLnBrk="1" fontAlgn="base" latinLnBrk="0" hangingPunct="1">
              <a:lnSpc>
                <a:spcPct val="100000"/>
              </a:lnSpc>
              <a:spcBef>
                <a:spcPct val="25000"/>
              </a:spcBef>
              <a:spcAft>
                <a:spcPct val="0"/>
              </a:spcAft>
              <a:buClr>
                <a:srgbClr val="000000"/>
              </a:buClr>
              <a:buSzPct val="125000"/>
              <a:buFont typeface="Arial" charset="0"/>
              <a:buChar char="▪"/>
              <a:tabLst/>
              <a:defRPr/>
            </a:pPr>
            <a:r>
              <a:rPr kumimoji="0" lang="en-US" sz="1000" b="1" i="0" u="none" strike="noStrike" kern="1200" cap="none" spc="0" normalizeH="0" baseline="0" noProof="0" dirty="0">
                <a:ln>
                  <a:noFill/>
                </a:ln>
                <a:solidFill>
                  <a:srgbClr val="01632F"/>
                </a:solidFill>
                <a:effectLst/>
                <a:uLnTx/>
                <a:uFillTx/>
                <a:latin typeface="Arial"/>
                <a:ea typeface="+mn-ea"/>
                <a:cs typeface="Arial"/>
                <a:sym typeface="Arial"/>
              </a:rPr>
              <a:t>Population of 4.3M. Direct farmer reach target: 192,118</a:t>
            </a:r>
            <a:endParaRPr kumimoji="0" lang="en-US" sz="1000" b="0" i="0" u="none" strike="noStrike" kern="1200" cap="none" spc="0" normalizeH="0" baseline="0" noProof="0" dirty="0">
              <a:ln>
                <a:noFill/>
              </a:ln>
              <a:solidFill>
                <a:srgbClr val="000000"/>
              </a:solidFill>
              <a:effectLst/>
              <a:uLnTx/>
              <a:uFillTx/>
              <a:latin typeface="Arial"/>
              <a:ea typeface="+mn-ea"/>
              <a:cs typeface="Arial"/>
              <a:sym typeface="Arial"/>
            </a:endParaRPr>
          </a:p>
          <a:p>
            <a:pPr marL="117475" marR="0" lvl="1" indent="-115888" algn="l" defTabSz="913429" rtl="0" eaLnBrk="1" fontAlgn="base" latinLnBrk="0" hangingPunct="1">
              <a:lnSpc>
                <a:spcPct val="100000"/>
              </a:lnSpc>
              <a:spcBef>
                <a:spcPct val="25000"/>
              </a:spcBef>
              <a:spcAft>
                <a:spcPct val="0"/>
              </a:spcAft>
              <a:buClr>
                <a:srgbClr val="000000"/>
              </a:buClr>
              <a:buSzPct val="125000"/>
              <a:buFont typeface="Arial" charset="0"/>
              <a:buChar char="▪"/>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Pr>
              <a:t>Area is composed of highlands, lowland plains and mountain peaks; with diverse of agro-ecologies</a:t>
            </a:r>
          </a:p>
          <a:p>
            <a:pPr marL="117475" marR="0" lvl="1" indent="-115888" algn="l" defTabSz="913429" rtl="0" eaLnBrk="1" fontAlgn="base" latinLnBrk="0" hangingPunct="1">
              <a:lnSpc>
                <a:spcPct val="100000"/>
              </a:lnSpc>
              <a:spcBef>
                <a:spcPct val="25000"/>
              </a:spcBef>
              <a:spcAft>
                <a:spcPct val="0"/>
              </a:spcAft>
              <a:buClr>
                <a:srgbClr val="000000"/>
              </a:buClr>
              <a:buSzPct val="125000"/>
              <a:buFont typeface="Arial" charset="0"/>
              <a:buChar char="▪"/>
              <a:tabLst/>
              <a:defRPr/>
            </a:pPr>
            <a:r>
              <a:rPr kumimoji="0" lang="en-US" sz="1000" b="1" i="0" u="none" strike="noStrike" kern="1200" cap="none" spc="0" normalizeH="0" baseline="0" noProof="0" dirty="0">
                <a:ln>
                  <a:noFill/>
                </a:ln>
                <a:solidFill>
                  <a:srgbClr val="01632F"/>
                </a:solidFill>
                <a:effectLst/>
                <a:uLnTx/>
                <a:uFillTx/>
                <a:latin typeface="Arial"/>
                <a:ea typeface="+mn-ea"/>
                <a:cs typeface="Arial"/>
                <a:sym typeface="Arial"/>
              </a:rPr>
              <a:t>&gt;90% of the region</a:t>
            </a: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Pr>
              <a:t> is categorized as </a:t>
            </a:r>
            <a:r>
              <a:rPr kumimoji="0" lang="en-US" sz="1000" b="1" i="0" u="none" strike="noStrike" kern="1200" cap="none" spc="0" normalizeH="0" baseline="0" noProof="0" dirty="0">
                <a:ln>
                  <a:noFill/>
                </a:ln>
                <a:solidFill>
                  <a:srgbClr val="01632F"/>
                </a:solidFill>
                <a:effectLst/>
                <a:uLnTx/>
                <a:uFillTx/>
                <a:latin typeface="Arial"/>
                <a:ea typeface="+mn-ea"/>
                <a:cs typeface="Arial"/>
                <a:sym typeface="Arial"/>
              </a:rPr>
              <a:t>semi-arid</a:t>
            </a:r>
          </a:p>
          <a:p>
            <a:pPr marL="117475" marR="0" lvl="1" indent="-115888" algn="l" defTabSz="913429" rtl="0" eaLnBrk="1" fontAlgn="base" latinLnBrk="0" hangingPunct="1">
              <a:lnSpc>
                <a:spcPct val="100000"/>
              </a:lnSpc>
              <a:spcBef>
                <a:spcPct val="25000"/>
              </a:spcBef>
              <a:spcAft>
                <a:spcPct val="0"/>
              </a:spcAft>
              <a:buClr>
                <a:srgbClr val="000000"/>
              </a:buClr>
              <a:buSzPct val="125000"/>
              <a:buFont typeface="Arial" charset="0"/>
              <a:buChar char="▪"/>
              <a:tabLst/>
              <a:defRPr/>
            </a:pPr>
            <a:r>
              <a:rPr kumimoji="0" lang="en-US" sz="1000" b="1" i="0" u="none" strike="noStrike" kern="1200" cap="none" spc="0" normalizeH="0" baseline="0" noProof="0" dirty="0">
                <a:ln>
                  <a:noFill/>
                </a:ln>
                <a:solidFill>
                  <a:srgbClr val="01632F"/>
                </a:solidFill>
                <a:effectLst/>
                <a:uLnTx/>
                <a:uFillTx/>
                <a:latin typeface="Arial"/>
                <a:ea typeface="+mn-ea"/>
                <a:cs typeface="Arial"/>
                <a:sym typeface="Arial"/>
              </a:rPr>
              <a:t>Hardest hit by the famine of 1983-1984 </a:t>
            </a: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Pr>
              <a:t>and remains prone to regular drought</a:t>
            </a:r>
          </a:p>
          <a:p>
            <a:pPr marL="117475" marR="0" lvl="1" indent="-115888" algn="l" defTabSz="913429" rtl="0" eaLnBrk="1" fontAlgn="base" latinLnBrk="0" hangingPunct="1">
              <a:lnSpc>
                <a:spcPct val="100000"/>
              </a:lnSpc>
              <a:spcBef>
                <a:spcPct val="25000"/>
              </a:spcBef>
              <a:spcAft>
                <a:spcPct val="0"/>
              </a:spcAft>
              <a:buClr>
                <a:srgbClr val="000000"/>
              </a:buClr>
              <a:buSzPct val="125000"/>
              <a:buFont typeface="Arial" charset="0"/>
              <a:buChar char="▪"/>
              <a:tabLst/>
              <a:defRPr/>
            </a:pPr>
            <a:r>
              <a:rPr kumimoji="0" lang="en-US" sz="1000" b="1" i="0" u="none" strike="noStrike" kern="1200" cap="none" spc="0" normalizeH="0" baseline="0" noProof="0" dirty="0">
                <a:ln>
                  <a:noFill/>
                </a:ln>
                <a:solidFill>
                  <a:srgbClr val="01632F"/>
                </a:solidFill>
                <a:effectLst/>
                <a:uLnTx/>
                <a:uFillTx/>
                <a:latin typeface="Arial"/>
                <a:ea typeface="+mn-ea"/>
                <a:cs typeface="Arial"/>
                <a:sym typeface="Arial"/>
              </a:rPr>
              <a:t>Marketable surpluses </a:t>
            </a: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Pr>
              <a:t>in </a:t>
            </a:r>
            <a:r>
              <a:rPr kumimoji="0" lang="en-US" sz="1000" b="1" i="0" u="none" strike="noStrike" kern="1200" cap="none" spc="0" normalizeH="0" baseline="0" noProof="0" dirty="0">
                <a:ln>
                  <a:noFill/>
                </a:ln>
                <a:solidFill>
                  <a:srgbClr val="01632F"/>
                </a:solidFill>
                <a:effectLst/>
                <a:uLnTx/>
                <a:uFillTx/>
                <a:latin typeface="Arial"/>
                <a:ea typeface="+mn-ea"/>
                <a:cs typeface="Arial"/>
                <a:sym typeface="Arial"/>
              </a:rPr>
              <a:t>teff</a:t>
            </a: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Pr>
              <a:t> (21K MT) and bread </a:t>
            </a:r>
            <a:r>
              <a:rPr kumimoji="0" lang="en-US" sz="1000" b="1" i="0" u="none" strike="noStrike" kern="1200" cap="none" spc="0" normalizeH="0" baseline="0" noProof="0" dirty="0">
                <a:ln>
                  <a:noFill/>
                </a:ln>
                <a:solidFill>
                  <a:srgbClr val="01632F"/>
                </a:solidFill>
                <a:effectLst/>
                <a:uLnTx/>
                <a:uFillTx/>
                <a:latin typeface="Arial"/>
                <a:ea typeface="+mn-ea"/>
                <a:cs typeface="Arial"/>
                <a:sym typeface="Arial"/>
              </a:rPr>
              <a:t>wheat</a:t>
            </a: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Pr>
              <a:t> (88K MT)</a:t>
            </a:r>
          </a:p>
          <a:p>
            <a:pPr marL="117475" marR="0" lvl="1" indent="-115888" algn="l" defTabSz="913429" rtl="0" eaLnBrk="1" fontAlgn="base" latinLnBrk="0" hangingPunct="1">
              <a:lnSpc>
                <a:spcPct val="100000"/>
              </a:lnSpc>
              <a:spcBef>
                <a:spcPct val="25000"/>
              </a:spcBef>
              <a:spcAft>
                <a:spcPct val="0"/>
              </a:spcAft>
              <a:buClr>
                <a:srgbClr val="000000"/>
              </a:buClr>
              <a:buSzPct val="125000"/>
              <a:buFont typeface="Arial" charset="0"/>
              <a:buChar char="▪"/>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Pr>
              <a:t>Challenges: Access to inputs, low farmer awareness </a:t>
            </a:r>
          </a:p>
        </p:txBody>
      </p:sp>
      <p:sp>
        <p:nvSpPr>
          <p:cNvPr id="33" name="TextBox 32"/>
          <p:cNvSpPr txBox="1">
            <a:spLocks/>
          </p:cNvSpPr>
          <p:nvPr/>
        </p:nvSpPr>
        <p:spPr>
          <a:xfrm>
            <a:off x="6042681" y="3357404"/>
            <a:ext cx="3180872" cy="169277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117475" marR="0" lvl="1" indent="-115888" algn="l" defTabSz="913429" rtl="0" eaLnBrk="1" fontAlgn="base" latinLnBrk="0" hangingPunct="1">
              <a:lnSpc>
                <a:spcPct val="100000"/>
              </a:lnSpc>
              <a:spcBef>
                <a:spcPts val="0"/>
              </a:spcBef>
              <a:spcAft>
                <a:spcPct val="0"/>
              </a:spcAft>
              <a:buClr>
                <a:srgbClr val="000000"/>
              </a:buClr>
              <a:buSzPct val="125000"/>
              <a:buFont typeface="Arial" charset="0"/>
              <a:buChar char="▪"/>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Pr>
              <a:t>Population of ~27M – the largest and most populous region in Ethiopia. </a:t>
            </a:r>
            <a:r>
              <a:rPr kumimoji="0" lang="en-US" sz="1000" b="1" i="0" u="none" strike="noStrike" kern="1200" cap="none" spc="0" normalizeH="0" baseline="0" noProof="0" dirty="0">
                <a:ln>
                  <a:noFill/>
                </a:ln>
                <a:solidFill>
                  <a:srgbClr val="01632F"/>
                </a:solidFill>
                <a:effectLst/>
                <a:uLnTx/>
                <a:uFillTx/>
                <a:latin typeface="Arial"/>
                <a:ea typeface="+mn-ea"/>
                <a:cs typeface="Arial"/>
                <a:sym typeface="Arial"/>
              </a:rPr>
              <a:t>Direct farmer </a:t>
            </a:r>
            <a:r>
              <a:rPr kumimoji="0" lang="en-US" sz="1000" b="1" i="0" u="none" strike="noStrike" kern="1200" cap="none" spc="0" normalizeH="0" baseline="0" noProof="0" dirty="0">
                <a:ln>
                  <a:noFill/>
                </a:ln>
                <a:solidFill>
                  <a:srgbClr val="01632F"/>
                </a:solidFill>
                <a:effectLst/>
                <a:uLnTx/>
                <a:uFillTx/>
                <a:latin typeface="Arial" charset="0"/>
                <a:ea typeface="+mn-ea"/>
                <a:cs typeface="Arial"/>
                <a:sym typeface="Arial"/>
              </a:rPr>
              <a:t>reach target: 1,206,320</a:t>
            </a:r>
            <a:endParaRPr kumimoji="0" lang="en-US" sz="1000" b="0" i="0" u="none" strike="noStrike" kern="1200" cap="none" spc="0" normalizeH="0" baseline="0" noProof="0" dirty="0">
              <a:ln>
                <a:noFill/>
              </a:ln>
              <a:solidFill>
                <a:srgbClr val="000000"/>
              </a:solidFill>
              <a:effectLst/>
              <a:uLnTx/>
              <a:uFillTx/>
              <a:latin typeface="Arial"/>
              <a:ea typeface="+mn-ea"/>
              <a:cs typeface="Arial"/>
              <a:sym typeface="Arial"/>
            </a:endParaRPr>
          </a:p>
          <a:p>
            <a:pPr marL="117475" marR="0" lvl="1" indent="-115888" algn="l" defTabSz="913429" rtl="0" eaLnBrk="1" fontAlgn="base" latinLnBrk="0" hangingPunct="1">
              <a:lnSpc>
                <a:spcPct val="100000"/>
              </a:lnSpc>
              <a:spcBef>
                <a:spcPts val="0"/>
              </a:spcBef>
              <a:spcAft>
                <a:spcPct val="0"/>
              </a:spcAft>
              <a:buClr>
                <a:srgbClr val="000000"/>
              </a:buClr>
              <a:buSzPct val="125000"/>
              <a:buFont typeface="Arial" charset="0"/>
              <a:buChar char="▪"/>
              <a:tabLst/>
              <a:defRPr/>
            </a:pPr>
            <a:r>
              <a:rPr kumimoji="0" lang="en-US" sz="1000" b="1" i="0" u="none" strike="noStrike" kern="1200" cap="none" spc="0" normalizeH="0" baseline="0" noProof="0" dirty="0">
                <a:ln>
                  <a:noFill/>
                </a:ln>
                <a:solidFill>
                  <a:srgbClr val="01632F"/>
                </a:solidFill>
                <a:effectLst/>
                <a:uLnTx/>
                <a:uFillTx/>
                <a:latin typeface="Arial"/>
                <a:ea typeface="+mn-ea"/>
                <a:cs typeface="Arial"/>
                <a:sym typeface="Arial"/>
              </a:rPr>
              <a:t>Majority of Ethiopia’s wheat and maize production: 70% and 60%</a:t>
            </a: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Pr>
              <a:t>, respectively</a:t>
            </a:r>
            <a:endParaRPr kumimoji="0" lang="en-US" sz="1000" b="1" i="0" u="none" strike="noStrike" kern="1200" cap="none" spc="0" normalizeH="0" baseline="0" noProof="0" dirty="0">
              <a:ln>
                <a:noFill/>
              </a:ln>
              <a:solidFill>
                <a:srgbClr val="01632F"/>
              </a:solidFill>
              <a:effectLst/>
              <a:uLnTx/>
              <a:uFillTx/>
              <a:latin typeface="Arial"/>
              <a:ea typeface="+mn-ea"/>
              <a:cs typeface="Arial"/>
              <a:sym typeface="Arial"/>
            </a:endParaRPr>
          </a:p>
          <a:p>
            <a:pPr marL="117475" marR="0" lvl="1" indent="-115888" algn="l" defTabSz="913429" rtl="0" eaLnBrk="1" fontAlgn="base" latinLnBrk="0" hangingPunct="1">
              <a:lnSpc>
                <a:spcPct val="100000"/>
              </a:lnSpc>
              <a:spcBef>
                <a:spcPts val="0"/>
              </a:spcBef>
              <a:spcAft>
                <a:spcPct val="0"/>
              </a:spcAft>
              <a:buClr>
                <a:srgbClr val="000000"/>
              </a:buClr>
              <a:buSzPct val="125000"/>
              <a:buFont typeface="Arial" charset="0"/>
              <a:buChar char="▪"/>
              <a:tabLst/>
              <a:defRPr/>
            </a:pPr>
            <a:r>
              <a:rPr kumimoji="0" lang="en-US" sz="1000" b="1" i="0" u="none" strike="noStrike" kern="1200" cap="none" spc="0" normalizeH="0" baseline="0" noProof="0" dirty="0">
                <a:ln>
                  <a:noFill/>
                </a:ln>
                <a:solidFill>
                  <a:srgbClr val="01632F"/>
                </a:solidFill>
                <a:effectLst/>
                <a:uLnTx/>
                <a:uFillTx/>
                <a:latin typeface="Arial"/>
                <a:ea typeface="+mn-ea"/>
                <a:cs typeface="Arial"/>
                <a:sym typeface="Arial"/>
              </a:rPr>
              <a:t>Highland bioclimatic characteristics </a:t>
            </a: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Pr>
              <a:t>make it highly suitable for agriculture</a:t>
            </a:r>
          </a:p>
          <a:p>
            <a:pPr marL="117475" marR="0" lvl="1" indent="-115888" algn="l" defTabSz="913429" rtl="0" eaLnBrk="1" fontAlgn="base" latinLnBrk="0" hangingPunct="1">
              <a:lnSpc>
                <a:spcPct val="100000"/>
              </a:lnSpc>
              <a:spcBef>
                <a:spcPts val="0"/>
              </a:spcBef>
              <a:spcAft>
                <a:spcPct val="0"/>
              </a:spcAft>
              <a:buClr>
                <a:srgbClr val="000000"/>
              </a:buClr>
              <a:buSzPct val="125000"/>
              <a:buFont typeface="Arial" charset="0"/>
              <a:buChar char="▪"/>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Pr>
              <a:t>Most farmers occupy &lt;1 ha of land per household</a:t>
            </a:r>
          </a:p>
          <a:p>
            <a:pPr marL="117475" marR="0" lvl="1" indent="-115888" algn="l" defTabSz="913429" rtl="0" eaLnBrk="1" fontAlgn="base" latinLnBrk="0" hangingPunct="1">
              <a:lnSpc>
                <a:spcPct val="100000"/>
              </a:lnSpc>
              <a:spcBef>
                <a:spcPts val="0"/>
              </a:spcBef>
              <a:spcAft>
                <a:spcPct val="0"/>
              </a:spcAft>
              <a:buClr>
                <a:srgbClr val="000000"/>
              </a:buClr>
              <a:buSzPct val="125000"/>
              <a:buFont typeface="Arial" charset="0"/>
              <a:buChar char="▪"/>
              <a:tabLst/>
              <a:defRPr/>
            </a:pPr>
            <a:r>
              <a:rPr kumimoji="0" lang="en-US" sz="1000" b="1" i="0" u="none" strike="noStrike" kern="1200" cap="none" spc="0" normalizeH="0" baseline="0" noProof="0" dirty="0">
                <a:ln>
                  <a:noFill/>
                </a:ln>
                <a:solidFill>
                  <a:srgbClr val="01632F"/>
                </a:solidFill>
                <a:effectLst/>
                <a:uLnTx/>
                <a:uFillTx/>
                <a:latin typeface="Arial"/>
                <a:ea typeface="+mn-ea"/>
                <a:cs typeface="Arial"/>
                <a:sym typeface="Arial"/>
              </a:rPr>
              <a:t>Marketable surpluses </a:t>
            </a: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Pr>
              <a:t>in</a:t>
            </a:r>
            <a:r>
              <a:rPr kumimoji="0" lang="en-US" sz="1000" b="1" i="0" u="none" strike="noStrike" kern="1200" cap="none" spc="0" normalizeH="0" baseline="0" noProof="0" dirty="0">
                <a:ln>
                  <a:noFill/>
                </a:ln>
                <a:solidFill>
                  <a:srgbClr val="01632F"/>
                </a:solidFill>
                <a:effectLst/>
                <a:uLnTx/>
                <a:uFillTx/>
                <a:latin typeface="Arial"/>
                <a:ea typeface="+mn-ea"/>
                <a:cs typeface="Arial"/>
                <a:sym typeface="Arial"/>
              </a:rPr>
              <a:t> maize </a:t>
            </a: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Pr>
              <a:t>(141K MT), </a:t>
            </a:r>
            <a:r>
              <a:rPr kumimoji="0" lang="en-US" sz="1000" b="1" i="0" u="none" strike="noStrike" kern="1200" cap="none" spc="0" normalizeH="0" baseline="0" noProof="0" dirty="0">
                <a:ln>
                  <a:noFill/>
                </a:ln>
                <a:solidFill>
                  <a:srgbClr val="01632F"/>
                </a:solidFill>
                <a:effectLst/>
                <a:uLnTx/>
                <a:uFillTx/>
                <a:latin typeface="Arial"/>
                <a:ea typeface="+mn-ea"/>
                <a:cs typeface="Arial"/>
                <a:sym typeface="Arial"/>
              </a:rPr>
              <a:t>teff</a:t>
            </a: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Pr>
              <a:t> (114K MT), and</a:t>
            </a:r>
            <a:r>
              <a:rPr kumimoji="0" lang="en-US" sz="1000" b="1" i="0" u="none" strike="noStrike" kern="1200" cap="none" spc="0" normalizeH="0" baseline="0" noProof="0" dirty="0">
                <a:ln>
                  <a:noFill/>
                </a:ln>
                <a:solidFill>
                  <a:srgbClr val="01632F"/>
                </a:solidFill>
                <a:effectLst/>
                <a:uLnTx/>
                <a:uFillTx/>
                <a:latin typeface="Arial"/>
                <a:ea typeface="+mn-ea"/>
                <a:cs typeface="Arial"/>
                <a:sym typeface="Arial"/>
              </a:rPr>
              <a:t> bread wheat </a:t>
            </a: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Pr>
              <a:t>(171K MT)</a:t>
            </a:r>
          </a:p>
          <a:p>
            <a:pPr marL="117475" marR="0" lvl="1" indent="-115888" algn="l" defTabSz="913429" rtl="0" eaLnBrk="1" fontAlgn="base" latinLnBrk="0" hangingPunct="1">
              <a:lnSpc>
                <a:spcPct val="100000"/>
              </a:lnSpc>
              <a:spcBef>
                <a:spcPts val="0"/>
              </a:spcBef>
              <a:spcAft>
                <a:spcPct val="0"/>
              </a:spcAft>
              <a:buClr>
                <a:srgbClr val="000000"/>
              </a:buClr>
              <a:buSzPct val="125000"/>
              <a:buFont typeface="Arial" charset="0"/>
              <a:buChar char="▪"/>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Pr>
              <a:t>Challenges: input distribution, market devpt &amp; PHL</a:t>
            </a:r>
          </a:p>
        </p:txBody>
      </p:sp>
      <p:grpSp>
        <p:nvGrpSpPr>
          <p:cNvPr id="34" name="Group 33"/>
          <p:cNvGrpSpPr/>
          <p:nvPr/>
        </p:nvGrpSpPr>
        <p:grpSpPr>
          <a:xfrm>
            <a:off x="6031115" y="3108253"/>
            <a:ext cx="3180872" cy="199908"/>
            <a:chOff x="5650115" y="1188953"/>
            <a:chExt cx="3180872" cy="199908"/>
          </a:xfrm>
        </p:grpSpPr>
        <p:sp>
          <p:nvSpPr>
            <p:cNvPr id="35" name="TextBox 34"/>
            <p:cNvSpPr txBox="1"/>
            <p:nvPr>
              <p:custDataLst>
                <p:tags r:id="rId28"/>
              </p:custDataLst>
            </p:nvPr>
          </p:nvSpPr>
          <p:spPr>
            <a:xfrm>
              <a:off x="5650115" y="1188953"/>
              <a:ext cx="3180872"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429" rtl="0" eaLnBrk="1" fontAlgn="base" latinLnBrk="0" hangingPunct="1">
                <a:lnSpc>
                  <a:spcPct val="100000"/>
                </a:lnSpc>
                <a:spcBef>
                  <a:spcPct val="0"/>
                </a:spcBef>
                <a:spcAft>
                  <a:spcPct val="0"/>
                </a:spcAft>
                <a:buClr>
                  <a:srgbClr val="000000"/>
                </a:buClr>
                <a:buSzTx/>
                <a:buFont typeface="Arial"/>
                <a:buNone/>
                <a:tabLst/>
                <a:defRPr/>
              </a:pPr>
              <a:r>
                <a:rPr kumimoji="0" lang="en-US" sz="1000" b="1" i="0" u="none" strike="noStrike" kern="1200" cap="none" spc="0" normalizeH="0" baseline="0" noProof="0" dirty="0">
                  <a:ln>
                    <a:noFill/>
                  </a:ln>
                  <a:solidFill>
                    <a:srgbClr val="01632F"/>
                  </a:solidFill>
                  <a:effectLst/>
                  <a:uLnTx/>
                  <a:uFillTx/>
                  <a:latin typeface="Arial"/>
                  <a:ea typeface="+mn-ea"/>
                  <a:cs typeface="Arial"/>
                  <a:sym typeface="Arial"/>
                </a:rPr>
                <a:t>Oromia</a:t>
              </a:r>
            </a:p>
          </p:txBody>
        </p:sp>
        <p:cxnSp>
          <p:nvCxnSpPr>
            <p:cNvPr id="36" name="Straight Connector 35"/>
            <p:cNvCxnSpPr/>
            <p:nvPr>
              <p:custDataLst>
                <p:tags r:id="rId29"/>
              </p:custDataLst>
            </p:nvPr>
          </p:nvCxnSpPr>
          <p:spPr>
            <a:xfrm>
              <a:off x="5650115" y="1388861"/>
              <a:ext cx="318087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cxnSp>
        <p:nvCxnSpPr>
          <p:cNvPr id="37" name="Straight Arrow Connector 36"/>
          <p:cNvCxnSpPr>
            <a:stCxn id="24" idx="1"/>
          </p:cNvCxnSpPr>
          <p:nvPr/>
        </p:nvCxnSpPr>
        <p:spPr>
          <a:xfrm flipH="1" flipV="1">
            <a:off x="4932989" y="3637196"/>
            <a:ext cx="1019916" cy="379748"/>
          </a:xfrm>
          <a:prstGeom prst="straightConnector1">
            <a:avLst/>
          </a:prstGeom>
          <a:ln w="19050">
            <a:solidFill>
              <a:schemeClr val="accent4"/>
            </a:solidFill>
            <a:tailEnd type="oval"/>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23" idx="1"/>
          </p:cNvCxnSpPr>
          <p:nvPr/>
        </p:nvCxnSpPr>
        <p:spPr>
          <a:xfrm flipH="1">
            <a:off x="4276668" y="1926713"/>
            <a:ext cx="1671682" cy="126"/>
          </a:xfrm>
          <a:prstGeom prst="straightConnector1">
            <a:avLst/>
          </a:prstGeom>
          <a:ln w="19050">
            <a:solidFill>
              <a:schemeClr val="accent1"/>
            </a:solidFill>
            <a:tailEnd type="oval"/>
          </a:ln>
        </p:spPr>
        <p:style>
          <a:lnRef idx="1">
            <a:schemeClr val="accent1"/>
          </a:lnRef>
          <a:fillRef idx="0">
            <a:schemeClr val="accent1"/>
          </a:fillRef>
          <a:effectRef idx="0">
            <a:schemeClr val="accent1"/>
          </a:effectRef>
          <a:fontRef idx="minor">
            <a:schemeClr val="tx1"/>
          </a:fontRef>
        </p:style>
      </p:cxnSp>
      <p:grpSp>
        <p:nvGrpSpPr>
          <p:cNvPr id="39" name="Group 38"/>
          <p:cNvGrpSpPr>
            <a:grpSpLocks/>
          </p:cNvGrpSpPr>
          <p:nvPr/>
        </p:nvGrpSpPr>
        <p:grpSpPr>
          <a:xfrm>
            <a:off x="6047402" y="5100917"/>
            <a:ext cx="3180872" cy="187527"/>
            <a:chOff x="228600" y="1692800"/>
            <a:chExt cx="7050266" cy="218853"/>
          </a:xfrm>
        </p:grpSpPr>
        <p:sp>
          <p:nvSpPr>
            <p:cNvPr id="40" name="TextBox 39"/>
            <p:cNvSpPr txBox="1"/>
            <p:nvPr>
              <p:custDataLst>
                <p:tags r:id="rId26"/>
              </p:custDataLst>
            </p:nvPr>
          </p:nvSpPr>
          <p:spPr>
            <a:xfrm>
              <a:off x="228600" y="1692800"/>
              <a:ext cx="7050266" cy="17959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429" rtl="0" eaLnBrk="1" fontAlgn="base" latinLnBrk="0" hangingPunct="1">
                <a:lnSpc>
                  <a:spcPct val="100000"/>
                </a:lnSpc>
                <a:spcBef>
                  <a:spcPct val="0"/>
                </a:spcBef>
                <a:spcAft>
                  <a:spcPct val="0"/>
                </a:spcAft>
                <a:buClr>
                  <a:srgbClr val="000000"/>
                </a:buClr>
                <a:buSzTx/>
                <a:buFont typeface="Arial"/>
                <a:buNone/>
                <a:tabLst/>
                <a:defRPr/>
              </a:pPr>
              <a:r>
                <a:rPr kumimoji="0" lang="en-US" sz="1000" b="1" i="0" u="none" strike="noStrike" kern="1200" cap="none" spc="0" normalizeH="0" baseline="0" noProof="0" dirty="0">
                  <a:ln>
                    <a:noFill/>
                  </a:ln>
                  <a:solidFill>
                    <a:srgbClr val="01632F"/>
                  </a:solidFill>
                  <a:effectLst/>
                  <a:uLnTx/>
                  <a:uFillTx/>
                  <a:latin typeface="Arial"/>
                  <a:ea typeface="+mn-ea"/>
                  <a:cs typeface="Arial"/>
                  <a:sym typeface="Arial"/>
                </a:rPr>
                <a:t>SNNP</a:t>
              </a:r>
            </a:p>
          </p:txBody>
        </p:sp>
        <p:cxnSp>
          <p:nvCxnSpPr>
            <p:cNvPr id="41" name="Straight Connector 40"/>
            <p:cNvCxnSpPr/>
            <p:nvPr>
              <p:custDataLst>
                <p:tags r:id="rId27"/>
              </p:custDataLst>
            </p:nvPr>
          </p:nvCxnSpPr>
          <p:spPr>
            <a:xfrm>
              <a:off x="228600" y="1911653"/>
              <a:ext cx="7050266"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42" name="Group 41"/>
          <p:cNvGrpSpPr/>
          <p:nvPr/>
        </p:nvGrpSpPr>
        <p:grpSpPr>
          <a:xfrm>
            <a:off x="509756" y="4811151"/>
            <a:ext cx="2954742" cy="1743900"/>
            <a:chOff x="342886" y="5008126"/>
            <a:chExt cx="2954742" cy="1743900"/>
          </a:xfrm>
        </p:grpSpPr>
        <p:sp>
          <p:nvSpPr>
            <p:cNvPr id="43" name="Rectangle 42"/>
            <p:cNvSpPr/>
            <p:nvPr/>
          </p:nvSpPr>
          <p:spPr>
            <a:xfrm>
              <a:off x="342886" y="5008126"/>
              <a:ext cx="2954742" cy="1743900"/>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 typeface="Arial"/>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sym typeface="Arial"/>
              </a:endParaRPr>
            </a:p>
          </p:txBody>
        </p:sp>
        <p:sp>
          <p:nvSpPr>
            <p:cNvPr id="44" name="TextBox 43"/>
            <p:cNvSpPr txBox="1"/>
            <p:nvPr>
              <p:custDataLst>
                <p:tags r:id="rId1"/>
              </p:custDataLst>
            </p:nvPr>
          </p:nvSpPr>
          <p:spPr>
            <a:xfrm>
              <a:off x="436603" y="5439132"/>
              <a:ext cx="816401"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429" rtl="0" eaLnBrk="1" fontAlgn="base" latinLnBrk="0" hangingPunct="1">
                <a:lnSpc>
                  <a:spcPct val="100000"/>
                </a:lnSpc>
                <a:spcBef>
                  <a:spcPct val="0"/>
                </a:spcBef>
                <a:spcAft>
                  <a:spcPct val="0"/>
                </a:spcAft>
                <a:buClr>
                  <a:srgbClr val="000000"/>
                </a:buClr>
                <a:buSzTx/>
                <a:buFont typeface="Arial"/>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Pr>
                <a:t>Maize</a:t>
              </a:r>
            </a:p>
          </p:txBody>
        </p:sp>
        <p:sp>
          <p:nvSpPr>
            <p:cNvPr id="45" name="TextBox 44"/>
            <p:cNvSpPr txBox="1"/>
            <p:nvPr>
              <p:custDataLst>
                <p:tags r:id="rId2"/>
              </p:custDataLst>
            </p:nvPr>
          </p:nvSpPr>
          <p:spPr>
            <a:xfrm>
              <a:off x="436603" y="5718113"/>
              <a:ext cx="816401"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429" rtl="0" eaLnBrk="1" fontAlgn="base" latinLnBrk="0" hangingPunct="1">
                <a:lnSpc>
                  <a:spcPct val="100000"/>
                </a:lnSpc>
                <a:spcBef>
                  <a:spcPct val="0"/>
                </a:spcBef>
                <a:spcAft>
                  <a:spcPct val="0"/>
                </a:spcAft>
                <a:buClr>
                  <a:srgbClr val="000000"/>
                </a:buClr>
                <a:buSzTx/>
                <a:buFont typeface="Arial"/>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Pr>
                <a:t>Wheat</a:t>
              </a:r>
            </a:p>
          </p:txBody>
        </p:sp>
        <p:sp>
          <p:nvSpPr>
            <p:cNvPr id="46" name="TextBox 45"/>
            <p:cNvSpPr txBox="1"/>
            <p:nvPr>
              <p:custDataLst>
                <p:tags r:id="rId3"/>
              </p:custDataLst>
            </p:nvPr>
          </p:nvSpPr>
          <p:spPr>
            <a:xfrm>
              <a:off x="436603" y="5997093"/>
              <a:ext cx="816401"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429" rtl="0" eaLnBrk="1" fontAlgn="base" latinLnBrk="0" hangingPunct="1">
                <a:lnSpc>
                  <a:spcPct val="100000"/>
                </a:lnSpc>
                <a:spcBef>
                  <a:spcPct val="0"/>
                </a:spcBef>
                <a:spcAft>
                  <a:spcPct val="0"/>
                </a:spcAft>
                <a:buClr>
                  <a:srgbClr val="000000"/>
                </a:buClr>
                <a:buSzTx/>
                <a:buFont typeface="Arial"/>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Pr>
                <a:t>Teff</a:t>
              </a:r>
            </a:p>
          </p:txBody>
        </p:sp>
        <p:sp>
          <p:nvSpPr>
            <p:cNvPr id="47" name="TextBox 46"/>
            <p:cNvSpPr txBox="1"/>
            <p:nvPr>
              <p:custDataLst>
                <p:tags r:id="rId4"/>
              </p:custDataLst>
            </p:nvPr>
          </p:nvSpPr>
          <p:spPr>
            <a:xfrm>
              <a:off x="436603" y="6276072"/>
              <a:ext cx="816401"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429" rtl="0" eaLnBrk="1" fontAlgn="base" latinLnBrk="0" hangingPunct="1">
                <a:lnSpc>
                  <a:spcPct val="100000"/>
                </a:lnSpc>
                <a:spcBef>
                  <a:spcPct val="0"/>
                </a:spcBef>
                <a:spcAft>
                  <a:spcPct val="0"/>
                </a:spcAft>
                <a:buClr>
                  <a:srgbClr val="000000"/>
                </a:buClr>
                <a:buSzTx/>
                <a:buFont typeface="Arial"/>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Pr>
                <a:t>Beans</a:t>
              </a:r>
            </a:p>
          </p:txBody>
        </p:sp>
        <p:sp>
          <p:nvSpPr>
            <p:cNvPr id="48" name="TextBox 47"/>
            <p:cNvSpPr txBox="1"/>
            <p:nvPr>
              <p:custDataLst>
                <p:tags r:id="rId5"/>
              </p:custDataLst>
            </p:nvPr>
          </p:nvSpPr>
          <p:spPr>
            <a:xfrm>
              <a:off x="1371236" y="5439132"/>
              <a:ext cx="898041"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429" rtl="0" eaLnBrk="1" fontAlgn="base" latinLnBrk="0" hangingPunct="1">
                <a:lnSpc>
                  <a:spcPct val="100000"/>
                </a:lnSpc>
                <a:spcBef>
                  <a:spcPct val="0"/>
                </a:spcBef>
                <a:spcAft>
                  <a:spcPct val="0"/>
                </a:spcAft>
                <a:buClr>
                  <a:srgbClr val="000000"/>
                </a:buClr>
                <a:buSzTx/>
                <a:buFont typeface="Arial"/>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Pr>
                <a:t>2.0</a:t>
              </a:r>
            </a:p>
          </p:txBody>
        </p:sp>
        <p:sp>
          <p:nvSpPr>
            <p:cNvPr id="49" name="TextBox 48"/>
            <p:cNvSpPr txBox="1"/>
            <p:nvPr>
              <p:custDataLst>
                <p:tags r:id="rId6"/>
              </p:custDataLst>
            </p:nvPr>
          </p:nvSpPr>
          <p:spPr>
            <a:xfrm>
              <a:off x="1371236" y="5718113"/>
              <a:ext cx="898041"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429" rtl="0" eaLnBrk="1" fontAlgn="base" latinLnBrk="0" hangingPunct="1">
                <a:lnSpc>
                  <a:spcPct val="100000"/>
                </a:lnSpc>
                <a:spcBef>
                  <a:spcPct val="0"/>
                </a:spcBef>
                <a:spcAft>
                  <a:spcPct val="0"/>
                </a:spcAft>
                <a:buClr>
                  <a:srgbClr val="000000"/>
                </a:buClr>
                <a:buSzTx/>
                <a:buFont typeface="Arial"/>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Pr>
                <a:t>1.7</a:t>
              </a:r>
            </a:p>
          </p:txBody>
        </p:sp>
        <p:sp>
          <p:nvSpPr>
            <p:cNvPr id="50" name="TextBox 49"/>
            <p:cNvSpPr txBox="1"/>
            <p:nvPr>
              <p:custDataLst>
                <p:tags r:id="rId7"/>
              </p:custDataLst>
            </p:nvPr>
          </p:nvSpPr>
          <p:spPr>
            <a:xfrm>
              <a:off x="1371236" y="5997093"/>
              <a:ext cx="898041"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429" rtl="0" eaLnBrk="1" fontAlgn="base" latinLnBrk="0" hangingPunct="1">
                <a:lnSpc>
                  <a:spcPct val="100000"/>
                </a:lnSpc>
                <a:spcBef>
                  <a:spcPct val="0"/>
                </a:spcBef>
                <a:spcAft>
                  <a:spcPct val="0"/>
                </a:spcAft>
                <a:buClr>
                  <a:srgbClr val="000000"/>
                </a:buClr>
                <a:buSzTx/>
                <a:buFont typeface="Arial"/>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Pr>
                <a:t>3.0</a:t>
              </a:r>
            </a:p>
          </p:txBody>
        </p:sp>
        <p:sp>
          <p:nvSpPr>
            <p:cNvPr id="51" name="TextBox 50"/>
            <p:cNvSpPr txBox="1"/>
            <p:nvPr>
              <p:custDataLst>
                <p:tags r:id="rId8"/>
              </p:custDataLst>
            </p:nvPr>
          </p:nvSpPr>
          <p:spPr>
            <a:xfrm>
              <a:off x="1371236" y="6276072"/>
              <a:ext cx="898041"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429" rtl="0" eaLnBrk="1" fontAlgn="base" latinLnBrk="0" hangingPunct="1">
                <a:lnSpc>
                  <a:spcPct val="100000"/>
                </a:lnSpc>
                <a:spcBef>
                  <a:spcPct val="0"/>
                </a:spcBef>
                <a:spcAft>
                  <a:spcPct val="0"/>
                </a:spcAft>
                <a:buClr>
                  <a:srgbClr val="000000"/>
                </a:buClr>
                <a:buSzTx/>
                <a:buFont typeface="Arial"/>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Pr>
                <a:t>1.6</a:t>
              </a:r>
            </a:p>
          </p:txBody>
        </p:sp>
        <p:sp>
          <p:nvSpPr>
            <p:cNvPr id="52" name="TextBox 51"/>
            <p:cNvSpPr txBox="1"/>
            <p:nvPr>
              <p:custDataLst>
                <p:tags r:id="rId9"/>
              </p:custDataLst>
            </p:nvPr>
          </p:nvSpPr>
          <p:spPr>
            <a:xfrm>
              <a:off x="2387511" y="5116207"/>
              <a:ext cx="816401"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429" rtl="0" eaLnBrk="1" fontAlgn="base" latinLnBrk="0" hangingPunct="1">
                <a:lnSpc>
                  <a:spcPct val="100000"/>
                </a:lnSpc>
                <a:spcBef>
                  <a:spcPct val="0"/>
                </a:spcBef>
                <a:spcAft>
                  <a:spcPct val="0"/>
                </a:spcAft>
                <a:buClr>
                  <a:srgbClr val="000000"/>
                </a:buClr>
                <a:buSzTx/>
                <a:buFont typeface="Arial"/>
                <a:buNone/>
                <a:tabLst/>
                <a:defRPr/>
              </a:pPr>
              <a:r>
                <a:rPr kumimoji="0" lang="en-US" sz="1000" b="1" i="0" u="none" strike="noStrike" kern="1200" cap="none" spc="0" normalizeH="0" baseline="0" noProof="0" dirty="0">
                  <a:ln>
                    <a:noFill/>
                  </a:ln>
                  <a:solidFill>
                    <a:srgbClr val="01632F"/>
                  </a:solidFill>
                  <a:effectLst/>
                  <a:uLnTx/>
                  <a:uFillTx/>
                  <a:latin typeface="Arial"/>
                  <a:ea typeface="+mn-ea"/>
                  <a:cs typeface="Arial"/>
                  <a:sym typeface="Arial"/>
                </a:rPr>
                <a:t>Farmers,</a:t>
              </a:r>
              <a:r>
                <a:rPr kumimoji="0" lang="en-US" sz="1000" b="0" i="0" u="none" strike="noStrike" kern="1200" cap="none" spc="0" normalizeH="0" baseline="0" noProof="0" dirty="0">
                  <a:ln>
                    <a:noFill/>
                  </a:ln>
                  <a:solidFill>
                    <a:srgbClr val="01632F"/>
                  </a:solidFill>
                  <a:effectLst/>
                  <a:uLnTx/>
                  <a:uFillTx/>
                  <a:latin typeface="Arial"/>
                  <a:ea typeface="+mn-ea"/>
                  <a:cs typeface="Arial"/>
                  <a:sym typeface="Arial"/>
                </a:rPr>
                <a:t> </a:t>
              </a:r>
              <a:r>
                <a:rPr kumimoji="0" lang="en-US" sz="1000" b="0" i="0" u="none" strike="noStrike" kern="1200" cap="none" spc="0" normalizeH="0" baseline="0" noProof="0" dirty="0">
                  <a:ln>
                    <a:noFill/>
                  </a:ln>
                  <a:solidFill>
                    <a:srgbClr val="808080"/>
                  </a:solidFill>
                  <a:effectLst/>
                  <a:uLnTx/>
                  <a:uFillTx/>
                  <a:latin typeface="Arial"/>
                  <a:ea typeface="+mn-ea"/>
                  <a:cs typeface="Arial"/>
                  <a:sym typeface="Arial"/>
                </a:rPr>
                <a:t>M</a:t>
              </a:r>
              <a:endParaRPr kumimoji="0" lang="en-US" sz="1000" b="1" i="0" u="none" strike="noStrike" kern="1200" cap="none" spc="0" normalizeH="0" baseline="0" noProof="0" dirty="0">
                <a:ln>
                  <a:noFill/>
                </a:ln>
                <a:solidFill>
                  <a:srgbClr val="808080"/>
                </a:solidFill>
                <a:effectLst/>
                <a:uLnTx/>
                <a:uFillTx/>
                <a:latin typeface="Arial"/>
                <a:ea typeface="+mn-ea"/>
                <a:cs typeface="Arial"/>
                <a:sym typeface="Arial"/>
              </a:endParaRPr>
            </a:p>
          </p:txBody>
        </p:sp>
        <p:sp>
          <p:nvSpPr>
            <p:cNvPr id="53" name="TextBox 52"/>
            <p:cNvSpPr txBox="1"/>
            <p:nvPr>
              <p:custDataLst>
                <p:tags r:id="rId10"/>
              </p:custDataLst>
            </p:nvPr>
          </p:nvSpPr>
          <p:spPr>
            <a:xfrm>
              <a:off x="2387511" y="5439132"/>
              <a:ext cx="816401"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429" rtl="0" eaLnBrk="1" fontAlgn="base" latinLnBrk="0" hangingPunct="1">
                <a:lnSpc>
                  <a:spcPct val="100000"/>
                </a:lnSpc>
                <a:spcBef>
                  <a:spcPct val="0"/>
                </a:spcBef>
                <a:spcAft>
                  <a:spcPct val="0"/>
                </a:spcAft>
                <a:buClr>
                  <a:srgbClr val="000000"/>
                </a:buClr>
                <a:buSzTx/>
                <a:buFont typeface="Arial"/>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Pr>
                <a:t>8.7</a:t>
              </a:r>
            </a:p>
          </p:txBody>
        </p:sp>
        <p:sp>
          <p:nvSpPr>
            <p:cNvPr id="54" name="TextBox 53"/>
            <p:cNvSpPr txBox="1"/>
            <p:nvPr>
              <p:custDataLst>
                <p:tags r:id="rId11"/>
              </p:custDataLst>
            </p:nvPr>
          </p:nvSpPr>
          <p:spPr>
            <a:xfrm>
              <a:off x="2387511" y="5718113"/>
              <a:ext cx="816401"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429" rtl="0" eaLnBrk="1" fontAlgn="base" latinLnBrk="0" hangingPunct="1">
                <a:lnSpc>
                  <a:spcPct val="100000"/>
                </a:lnSpc>
                <a:spcBef>
                  <a:spcPct val="0"/>
                </a:spcBef>
                <a:spcAft>
                  <a:spcPct val="0"/>
                </a:spcAft>
                <a:buClr>
                  <a:srgbClr val="000000"/>
                </a:buClr>
                <a:buSzTx/>
                <a:buFont typeface="Arial"/>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Pr>
                <a:t>4.6</a:t>
              </a:r>
            </a:p>
          </p:txBody>
        </p:sp>
        <p:sp>
          <p:nvSpPr>
            <p:cNvPr id="55" name="TextBox 54"/>
            <p:cNvSpPr txBox="1"/>
            <p:nvPr>
              <p:custDataLst>
                <p:tags r:id="rId12"/>
              </p:custDataLst>
            </p:nvPr>
          </p:nvSpPr>
          <p:spPr>
            <a:xfrm>
              <a:off x="2387511" y="5997093"/>
              <a:ext cx="816401"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429" rtl="0" eaLnBrk="1" fontAlgn="base" latinLnBrk="0" hangingPunct="1">
                <a:lnSpc>
                  <a:spcPct val="100000"/>
                </a:lnSpc>
                <a:spcBef>
                  <a:spcPct val="0"/>
                </a:spcBef>
                <a:spcAft>
                  <a:spcPct val="0"/>
                </a:spcAft>
                <a:buClr>
                  <a:srgbClr val="000000"/>
                </a:buClr>
                <a:buSzTx/>
                <a:buFont typeface="Arial"/>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Pr>
                <a:t>6.3</a:t>
              </a:r>
            </a:p>
          </p:txBody>
        </p:sp>
        <p:sp>
          <p:nvSpPr>
            <p:cNvPr id="56" name="TextBox 55"/>
            <p:cNvSpPr txBox="1"/>
            <p:nvPr>
              <p:custDataLst>
                <p:tags r:id="rId13"/>
              </p:custDataLst>
            </p:nvPr>
          </p:nvSpPr>
          <p:spPr>
            <a:xfrm>
              <a:off x="2387511" y="6276072"/>
              <a:ext cx="816401"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429" rtl="0" eaLnBrk="1" fontAlgn="base" latinLnBrk="0" hangingPunct="1">
                <a:lnSpc>
                  <a:spcPct val="100000"/>
                </a:lnSpc>
                <a:spcBef>
                  <a:spcPct val="0"/>
                </a:spcBef>
                <a:spcAft>
                  <a:spcPct val="0"/>
                </a:spcAft>
                <a:buClr>
                  <a:srgbClr val="000000"/>
                </a:buClr>
                <a:buSzTx/>
                <a:buFont typeface="Arial"/>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Pr>
                <a:t>2.2</a:t>
              </a:r>
            </a:p>
          </p:txBody>
        </p:sp>
        <p:cxnSp>
          <p:nvCxnSpPr>
            <p:cNvPr id="57" name="Straight Connector 56"/>
            <p:cNvCxnSpPr/>
            <p:nvPr>
              <p:custDataLst>
                <p:tags r:id="rId14"/>
              </p:custDataLst>
            </p:nvPr>
          </p:nvCxnSpPr>
          <p:spPr>
            <a:xfrm>
              <a:off x="436603" y="5354614"/>
              <a:ext cx="816401"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custDataLst>
                <p:tags r:id="rId15"/>
              </p:custDataLst>
            </p:nvPr>
          </p:nvCxnSpPr>
          <p:spPr>
            <a:xfrm>
              <a:off x="1371236" y="5354614"/>
              <a:ext cx="898041"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custDataLst>
                <p:tags r:id="rId16"/>
              </p:custDataLst>
            </p:nvPr>
          </p:nvCxnSpPr>
          <p:spPr>
            <a:xfrm>
              <a:off x="2387511" y="5354614"/>
              <a:ext cx="816401"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custDataLst>
                <p:tags r:id="rId17"/>
              </p:custDataLst>
            </p:nvPr>
          </p:nvCxnSpPr>
          <p:spPr>
            <a:xfrm>
              <a:off x="436603" y="5633594"/>
              <a:ext cx="2767309"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custDataLst>
                <p:tags r:id="rId18"/>
              </p:custDataLst>
            </p:nvPr>
          </p:nvCxnSpPr>
          <p:spPr>
            <a:xfrm>
              <a:off x="436603" y="5912575"/>
              <a:ext cx="2767309"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custDataLst>
                <p:tags r:id="rId19"/>
              </p:custDataLst>
            </p:nvPr>
          </p:nvCxnSpPr>
          <p:spPr>
            <a:xfrm>
              <a:off x="436603" y="6191554"/>
              <a:ext cx="2767309"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63" name="TextBox 62"/>
            <p:cNvSpPr txBox="1"/>
            <p:nvPr>
              <p:custDataLst>
                <p:tags r:id="rId20"/>
              </p:custDataLst>
            </p:nvPr>
          </p:nvSpPr>
          <p:spPr>
            <a:xfrm>
              <a:off x="436603" y="5116207"/>
              <a:ext cx="816401"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429" rtl="0" eaLnBrk="1" fontAlgn="base" latinLnBrk="0" hangingPunct="1">
                <a:lnSpc>
                  <a:spcPct val="100000"/>
                </a:lnSpc>
                <a:spcBef>
                  <a:spcPct val="0"/>
                </a:spcBef>
                <a:spcAft>
                  <a:spcPct val="0"/>
                </a:spcAft>
                <a:buClr>
                  <a:srgbClr val="000000"/>
                </a:buClr>
                <a:buSzTx/>
                <a:buFont typeface="Arial"/>
                <a:buNone/>
                <a:tabLst/>
                <a:defRPr/>
              </a:pPr>
              <a:r>
                <a:rPr kumimoji="0" lang="en-US" sz="1000" b="1" i="0" u="none" strike="noStrike" kern="1200" cap="none" spc="0" normalizeH="0" baseline="0" noProof="0" dirty="0">
                  <a:ln>
                    <a:noFill/>
                  </a:ln>
                  <a:solidFill>
                    <a:srgbClr val="01632F"/>
                  </a:solidFill>
                  <a:effectLst/>
                  <a:uLnTx/>
                  <a:uFillTx/>
                  <a:latin typeface="Arial"/>
                  <a:ea typeface="+mn-ea"/>
                  <a:cs typeface="Arial"/>
                  <a:sym typeface="Arial"/>
                </a:rPr>
                <a:t>Crop</a:t>
              </a:r>
            </a:p>
          </p:txBody>
        </p:sp>
        <p:sp>
          <p:nvSpPr>
            <p:cNvPr id="64" name="TextBox 63"/>
            <p:cNvSpPr txBox="1"/>
            <p:nvPr>
              <p:custDataLst>
                <p:tags r:id="rId21"/>
              </p:custDataLst>
            </p:nvPr>
          </p:nvSpPr>
          <p:spPr>
            <a:xfrm>
              <a:off x="1371236" y="5116207"/>
              <a:ext cx="898041"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429" rtl="0" eaLnBrk="1" fontAlgn="base" latinLnBrk="0" hangingPunct="1">
                <a:lnSpc>
                  <a:spcPct val="100000"/>
                </a:lnSpc>
                <a:spcBef>
                  <a:spcPct val="0"/>
                </a:spcBef>
                <a:spcAft>
                  <a:spcPct val="0"/>
                </a:spcAft>
                <a:buClr>
                  <a:srgbClr val="000000"/>
                </a:buClr>
                <a:buSzTx/>
                <a:buFont typeface="Arial"/>
                <a:buNone/>
                <a:tabLst/>
                <a:defRPr/>
              </a:pPr>
              <a:r>
                <a:rPr kumimoji="0" lang="en-US" sz="1000" b="1" i="0" u="none" strike="noStrike" kern="1200" cap="none" spc="0" normalizeH="0" baseline="0" noProof="0" dirty="0">
                  <a:ln>
                    <a:noFill/>
                  </a:ln>
                  <a:solidFill>
                    <a:srgbClr val="01632F"/>
                  </a:solidFill>
                  <a:effectLst/>
                  <a:uLnTx/>
                  <a:uFillTx/>
                  <a:latin typeface="Arial"/>
                  <a:ea typeface="+mn-ea"/>
                  <a:cs typeface="Arial"/>
                  <a:sym typeface="Arial"/>
                </a:rPr>
                <a:t>Acreage,</a:t>
              </a:r>
              <a:r>
                <a:rPr kumimoji="0" lang="en-US" sz="1000" b="0" i="0" u="none" strike="noStrike" kern="1200" cap="none" spc="0" normalizeH="0" baseline="0" noProof="0" dirty="0">
                  <a:ln>
                    <a:noFill/>
                  </a:ln>
                  <a:solidFill>
                    <a:srgbClr val="01632F"/>
                  </a:solidFill>
                  <a:effectLst/>
                  <a:uLnTx/>
                  <a:uFillTx/>
                  <a:latin typeface="Arial"/>
                  <a:ea typeface="+mn-ea"/>
                  <a:cs typeface="Arial"/>
                  <a:sym typeface="Arial"/>
                </a:rPr>
                <a:t> </a:t>
              </a:r>
              <a:r>
                <a:rPr kumimoji="0" lang="en-US" sz="1000" b="0" i="0" u="none" strike="noStrike" kern="1200" cap="none" spc="0" normalizeH="0" baseline="0" noProof="0" dirty="0">
                  <a:ln>
                    <a:noFill/>
                  </a:ln>
                  <a:solidFill>
                    <a:srgbClr val="808080"/>
                  </a:solidFill>
                  <a:effectLst/>
                  <a:uLnTx/>
                  <a:uFillTx/>
                  <a:latin typeface="Arial"/>
                  <a:ea typeface="+mn-ea"/>
                  <a:cs typeface="Arial"/>
                  <a:sym typeface="Arial"/>
                </a:rPr>
                <a:t>M</a:t>
              </a:r>
              <a:r>
                <a:rPr kumimoji="0" lang="en-US" sz="1000" b="0" i="0" u="none" strike="noStrike" kern="1200" cap="none" spc="0" normalizeH="0" baseline="0" noProof="0" dirty="0">
                  <a:ln>
                    <a:noFill/>
                  </a:ln>
                  <a:solidFill>
                    <a:srgbClr val="01632F"/>
                  </a:solidFill>
                  <a:effectLst/>
                  <a:uLnTx/>
                  <a:uFillTx/>
                  <a:latin typeface="Arial"/>
                  <a:ea typeface="+mn-ea"/>
                  <a:cs typeface="Arial"/>
                  <a:sym typeface="Arial"/>
                </a:rPr>
                <a:t> </a:t>
              </a:r>
              <a:r>
                <a:rPr kumimoji="0" lang="en-US" sz="1000" b="0" i="0" u="none" strike="noStrike" kern="1200" cap="none" spc="0" normalizeH="0" baseline="0" noProof="0" dirty="0">
                  <a:ln>
                    <a:noFill/>
                  </a:ln>
                  <a:solidFill>
                    <a:srgbClr val="808080"/>
                  </a:solidFill>
                  <a:effectLst/>
                  <a:uLnTx/>
                  <a:uFillTx/>
                  <a:latin typeface="Arial"/>
                  <a:ea typeface="+mn-ea"/>
                  <a:cs typeface="Arial"/>
                  <a:sym typeface="Arial"/>
                </a:rPr>
                <a:t>ha</a:t>
              </a:r>
              <a:endParaRPr kumimoji="0" lang="en-US" sz="1000" b="1" i="0" u="none" strike="noStrike" kern="1200" cap="none" spc="0" normalizeH="0" baseline="0" noProof="0" dirty="0">
                <a:ln>
                  <a:noFill/>
                </a:ln>
                <a:solidFill>
                  <a:srgbClr val="808080"/>
                </a:solidFill>
                <a:effectLst/>
                <a:uLnTx/>
                <a:uFillTx/>
                <a:latin typeface="Arial"/>
                <a:ea typeface="+mn-ea"/>
                <a:cs typeface="Arial"/>
                <a:sym typeface="Arial"/>
              </a:endParaRPr>
            </a:p>
          </p:txBody>
        </p:sp>
        <p:grpSp>
          <p:nvGrpSpPr>
            <p:cNvPr id="65" name="Group 64"/>
            <p:cNvGrpSpPr/>
            <p:nvPr/>
          </p:nvGrpSpPr>
          <p:grpSpPr>
            <a:xfrm>
              <a:off x="436603" y="6470533"/>
              <a:ext cx="2767309" cy="238406"/>
              <a:chOff x="436603" y="6914178"/>
              <a:chExt cx="2767309" cy="238406"/>
            </a:xfrm>
          </p:grpSpPr>
          <p:sp>
            <p:nvSpPr>
              <p:cNvPr id="66" name="TextBox 65"/>
              <p:cNvSpPr txBox="1"/>
              <p:nvPr>
                <p:custDataLst>
                  <p:tags r:id="rId22"/>
                </p:custDataLst>
              </p:nvPr>
            </p:nvSpPr>
            <p:spPr>
              <a:xfrm>
                <a:off x="436603" y="6998696"/>
                <a:ext cx="816401"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429" rtl="0" eaLnBrk="1" fontAlgn="base" latinLnBrk="0" hangingPunct="1">
                  <a:lnSpc>
                    <a:spcPct val="100000"/>
                  </a:lnSpc>
                  <a:spcBef>
                    <a:spcPct val="0"/>
                  </a:spcBef>
                  <a:spcAft>
                    <a:spcPct val="0"/>
                  </a:spcAft>
                  <a:buClr>
                    <a:srgbClr val="000000"/>
                  </a:buClr>
                  <a:buSzTx/>
                  <a:buFont typeface="Arial"/>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Pr>
                  <a:t>Sorghum</a:t>
                </a:r>
              </a:p>
            </p:txBody>
          </p:sp>
          <p:sp>
            <p:nvSpPr>
              <p:cNvPr id="67" name="TextBox 66"/>
              <p:cNvSpPr txBox="1"/>
              <p:nvPr>
                <p:custDataLst>
                  <p:tags r:id="rId23"/>
                </p:custDataLst>
              </p:nvPr>
            </p:nvSpPr>
            <p:spPr>
              <a:xfrm>
                <a:off x="1371236" y="6998696"/>
                <a:ext cx="898041"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429" rtl="0" eaLnBrk="1" fontAlgn="base" latinLnBrk="0" hangingPunct="1">
                  <a:lnSpc>
                    <a:spcPct val="100000"/>
                  </a:lnSpc>
                  <a:spcBef>
                    <a:spcPct val="0"/>
                  </a:spcBef>
                  <a:spcAft>
                    <a:spcPct val="0"/>
                  </a:spcAft>
                  <a:buClr>
                    <a:srgbClr val="000000"/>
                  </a:buClr>
                  <a:buSzTx/>
                  <a:buFont typeface="Arial"/>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Pr>
                  <a:t>1.7</a:t>
                </a:r>
              </a:p>
            </p:txBody>
          </p:sp>
          <p:sp>
            <p:nvSpPr>
              <p:cNvPr id="68" name="TextBox 67"/>
              <p:cNvSpPr txBox="1"/>
              <p:nvPr>
                <p:custDataLst>
                  <p:tags r:id="rId24"/>
                </p:custDataLst>
              </p:nvPr>
            </p:nvSpPr>
            <p:spPr>
              <a:xfrm>
                <a:off x="2387511" y="6998696"/>
                <a:ext cx="816401"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429" rtl="0" eaLnBrk="1" fontAlgn="base" latinLnBrk="0" hangingPunct="1">
                  <a:lnSpc>
                    <a:spcPct val="100000"/>
                  </a:lnSpc>
                  <a:spcBef>
                    <a:spcPct val="0"/>
                  </a:spcBef>
                  <a:spcAft>
                    <a:spcPct val="0"/>
                  </a:spcAft>
                  <a:buClr>
                    <a:srgbClr val="000000"/>
                  </a:buClr>
                  <a:buSzTx/>
                  <a:buFont typeface="Arial"/>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Arial"/>
                    <a:sym typeface="Arial"/>
                  </a:rPr>
                  <a:t>4.9</a:t>
                </a:r>
              </a:p>
            </p:txBody>
          </p:sp>
          <p:cxnSp>
            <p:nvCxnSpPr>
              <p:cNvPr id="69" name="Straight Connector 68"/>
              <p:cNvCxnSpPr/>
              <p:nvPr>
                <p:custDataLst>
                  <p:tags r:id="rId25"/>
                </p:custDataLst>
              </p:nvPr>
            </p:nvCxnSpPr>
            <p:spPr>
              <a:xfrm>
                <a:off x="436603" y="6914178"/>
                <a:ext cx="2767309"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grpSp>
      </p:grpSp>
      <p:cxnSp>
        <p:nvCxnSpPr>
          <p:cNvPr id="70" name="Straight Arrow Connector 69"/>
          <p:cNvCxnSpPr>
            <a:stCxn id="17" idx="3"/>
          </p:cNvCxnSpPr>
          <p:nvPr/>
        </p:nvCxnSpPr>
        <p:spPr>
          <a:xfrm flipV="1">
            <a:off x="2837528" y="2458977"/>
            <a:ext cx="867701" cy="377964"/>
          </a:xfrm>
          <a:prstGeom prst="straightConnector1">
            <a:avLst/>
          </a:prstGeom>
          <a:ln w="19050">
            <a:solidFill>
              <a:schemeClr val="accent4"/>
            </a:solidFill>
            <a:tailEnd type="oval"/>
          </a:ln>
        </p:spPr>
        <p:style>
          <a:lnRef idx="1">
            <a:schemeClr val="accent1"/>
          </a:lnRef>
          <a:fillRef idx="0">
            <a:schemeClr val="accent1"/>
          </a:fillRef>
          <a:effectRef idx="0">
            <a:schemeClr val="accent1"/>
          </a:effectRef>
          <a:fontRef idx="minor">
            <a:schemeClr val="tx1"/>
          </a:fontRef>
        </p:style>
      </p:cxnSp>
      <p:sp>
        <p:nvSpPr>
          <p:cNvPr id="71" name="TextBox 70"/>
          <p:cNvSpPr txBox="1">
            <a:spLocks/>
          </p:cNvSpPr>
          <p:nvPr/>
        </p:nvSpPr>
        <p:spPr>
          <a:xfrm>
            <a:off x="509757" y="4082987"/>
            <a:ext cx="2386083" cy="607089"/>
          </a:xfrm>
          <a:prstGeom prst="rect">
            <a:avLst/>
          </a:prstGeom>
          <a:solidFill>
            <a:schemeClr val="accent3"/>
          </a:solidFill>
          <a:ln w="19050">
            <a:solidFill>
              <a:schemeClr val="accent6"/>
            </a:solidFill>
            <a:miter lim="800000"/>
            <a:headEnd/>
            <a:tailEnd/>
          </a:ln>
          <a:effectLst/>
        </p:spPr>
        <p:txBody>
          <a:bodyPr vert="horz" wrap="square" lIns="72009" tIns="72009" rIns="72009" bIns="72009" numCol="1" anchor="ctr"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429" rtl="0" eaLnBrk="1" fontAlgn="base" latinLnBrk="0" hangingPunct="1">
              <a:lnSpc>
                <a:spcPct val="100000"/>
              </a:lnSpc>
              <a:spcBef>
                <a:spcPct val="100000"/>
              </a:spcBef>
              <a:spcAft>
                <a:spcPct val="0"/>
              </a:spcAft>
              <a:buClr>
                <a:srgbClr val="FFFFFF"/>
              </a:buClr>
              <a:buSzTx/>
              <a:buFont typeface="Arial"/>
              <a:buNone/>
              <a:tabLst/>
              <a:defRPr/>
            </a:pPr>
            <a:r>
              <a:rPr kumimoji="0" lang="en-US" sz="1000" b="1" i="0" u="none" strike="noStrike" kern="1200" cap="none" spc="0" normalizeH="0" baseline="0" noProof="0" dirty="0">
                <a:ln>
                  <a:noFill/>
                </a:ln>
                <a:solidFill>
                  <a:srgbClr val="FFFFFF"/>
                </a:solidFill>
                <a:effectLst/>
                <a:uLnTx/>
                <a:uFillTx/>
                <a:latin typeface="Arial"/>
                <a:ea typeface="+mn-ea"/>
                <a:cs typeface="Arial"/>
                <a:sym typeface="Arial"/>
              </a:rPr>
              <a:t>Core national strengths: extension system and capable coordinating partner (i.e., ATA)</a:t>
            </a:r>
            <a:endParaRPr kumimoji="0" lang="en-US" sz="1000" b="0" i="0" u="none" strike="noStrike" kern="1200" cap="none" spc="0" normalizeH="0" baseline="0" noProof="0" dirty="0">
              <a:ln>
                <a:noFill/>
              </a:ln>
              <a:solidFill>
                <a:srgbClr val="FFFFFF"/>
              </a:solidFill>
              <a:effectLst/>
              <a:uLnTx/>
              <a:uFillTx/>
              <a:latin typeface="Arial"/>
              <a:ea typeface="+mn-ea"/>
              <a:cs typeface="Arial"/>
              <a:sym typeface="Arial"/>
            </a:endParaRPr>
          </a:p>
        </p:txBody>
      </p:sp>
      <p:cxnSp>
        <p:nvCxnSpPr>
          <p:cNvPr id="72" name="Straight Connector 71"/>
          <p:cNvCxnSpPr>
            <a:stCxn id="71" idx="3"/>
            <a:endCxn id="10" idx="206"/>
          </p:cNvCxnSpPr>
          <p:nvPr/>
        </p:nvCxnSpPr>
        <p:spPr>
          <a:xfrm flipV="1">
            <a:off x="2895839" y="4285809"/>
            <a:ext cx="282206" cy="100722"/>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73" name="Rectangle 72"/>
          <p:cNvSpPr/>
          <p:nvPr/>
        </p:nvSpPr>
        <p:spPr>
          <a:xfrm>
            <a:off x="3587564" y="5230904"/>
            <a:ext cx="2243964" cy="553998"/>
          </a:xfrm>
          <a:prstGeom prst="rect">
            <a:avLst/>
          </a:prstGeom>
          <a:solidFill>
            <a:schemeClr val="accent1">
              <a:lumMod val="20000"/>
              <a:lumOff val="80000"/>
            </a:schemeClr>
          </a:solidFill>
          <a:ln w="19050">
            <a:solidFill>
              <a:schemeClr val="accent3"/>
            </a:solidFill>
          </a:ln>
        </p:spPr>
        <p:txBody>
          <a:bodyPr wrap="square">
            <a:spAutoFit/>
          </a:bodyPr>
          <a:lstStyle/>
          <a:p>
            <a:pPr marL="0" marR="0" lvl="1" indent="0" algn="l" defTabSz="914400" rtl="0" eaLnBrk="1" fontAlgn="base" latinLnBrk="0" hangingPunct="1">
              <a:lnSpc>
                <a:spcPct val="100000"/>
              </a:lnSpc>
              <a:spcBef>
                <a:spcPct val="50000"/>
              </a:spcBef>
              <a:spcAft>
                <a:spcPct val="0"/>
              </a:spcAft>
              <a:buClr>
                <a:srgbClr val="000000"/>
              </a:buClr>
              <a:buSzTx/>
              <a:buFont typeface="Arial"/>
              <a:buNone/>
              <a:tabLst/>
              <a:defRPr/>
            </a:pPr>
            <a:r>
              <a:rPr kumimoji="0" lang="en-US" sz="1000" b="0" i="0" u="none" strike="noStrike" kern="1200" cap="none" spc="0" normalizeH="0" baseline="0" noProof="0" dirty="0">
                <a:ln>
                  <a:noFill/>
                </a:ln>
                <a:solidFill>
                  <a:srgbClr val="000000"/>
                </a:solidFill>
                <a:effectLst/>
                <a:uLnTx/>
                <a:uFillTx/>
                <a:latin typeface="Arial" charset="0"/>
                <a:ea typeface="+mn-ea"/>
                <a:cs typeface="Arial" panose="020B0604020202020204" pitchFamily="34" charset="0"/>
                <a:sym typeface="Arial"/>
              </a:rPr>
              <a:t>Total number of farmers targeted for reach by AGRA interventions in 3 regions – </a:t>
            </a:r>
            <a:r>
              <a:rPr kumimoji="0" lang="en-US" sz="1000" b="1" i="0" u="none" strike="noStrike" kern="1200" cap="none" spc="0" normalizeH="0" baseline="0" noProof="0" dirty="0">
                <a:ln>
                  <a:noFill/>
                </a:ln>
                <a:solidFill>
                  <a:srgbClr val="000000"/>
                </a:solidFill>
                <a:effectLst/>
                <a:uLnTx/>
                <a:uFillTx/>
                <a:latin typeface="Arial" charset="0"/>
                <a:ea typeface="+mn-ea"/>
                <a:cs typeface="Arial" panose="020B0604020202020204" pitchFamily="34" charset="0"/>
                <a:sym typeface="Arial"/>
              </a:rPr>
              <a:t>2,828,151.</a:t>
            </a:r>
            <a:r>
              <a:rPr kumimoji="0" lang="en-US" sz="1000" b="0" i="0" u="none" strike="noStrike" kern="1200" cap="none" spc="0" normalizeH="0" baseline="0" noProof="0" dirty="0">
                <a:ln>
                  <a:noFill/>
                </a:ln>
                <a:solidFill>
                  <a:srgbClr val="000000"/>
                </a:solidFill>
                <a:effectLst/>
                <a:uLnTx/>
                <a:uFillTx/>
                <a:latin typeface="Arial" charset="0"/>
                <a:ea typeface="+mn-ea"/>
                <a:cs typeface="Arial" panose="020B0604020202020204" pitchFamily="34" charset="0"/>
                <a:sym typeface="Arial"/>
              </a:rPr>
              <a:t> </a:t>
            </a:r>
          </a:p>
        </p:txBody>
      </p:sp>
      <p:sp>
        <p:nvSpPr>
          <p:cNvPr id="74" name="Rectangle 73"/>
          <p:cNvSpPr/>
          <p:nvPr/>
        </p:nvSpPr>
        <p:spPr>
          <a:xfrm>
            <a:off x="3587564" y="5842671"/>
            <a:ext cx="2243964" cy="861774"/>
          </a:xfrm>
          <a:prstGeom prst="rect">
            <a:avLst/>
          </a:prstGeom>
          <a:solidFill>
            <a:schemeClr val="accent1">
              <a:lumMod val="20000"/>
              <a:lumOff val="80000"/>
            </a:schemeClr>
          </a:solidFill>
          <a:ln w="19050">
            <a:solidFill>
              <a:schemeClr val="accent3"/>
            </a:solidFill>
          </a:ln>
        </p:spPr>
        <p:txBody>
          <a:bodyPr wrap="square">
            <a:spAutoFit/>
          </a:bodyPr>
          <a:lstStyle/>
          <a:p>
            <a:pPr marL="0" marR="0" lvl="1" indent="0" algn="l" defTabSz="914400" rtl="0" eaLnBrk="1" fontAlgn="base" latinLnBrk="0" hangingPunct="1">
              <a:lnSpc>
                <a:spcPct val="100000"/>
              </a:lnSpc>
              <a:spcBef>
                <a:spcPct val="50000"/>
              </a:spcBef>
              <a:spcAft>
                <a:spcPct val="0"/>
              </a:spcAft>
              <a:buClr>
                <a:srgbClr val="000000"/>
              </a:buClr>
              <a:buSzTx/>
              <a:buFont typeface="Arial"/>
              <a:buNone/>
              <a:tabLst/>
              <a:defRPr/>
            </a:pPr>
            <a:r>
              <a:rPr kumimoji="0" lang="en-US" sz="1000" b="0" i="0" u="none" strike="noStrike" kern="1200" cap="none" spc="0" normalizeH="0" baseline="0" noProof="0" dirty="0">
                <a:ln>
                  <a:noFill/>
                </a:ln>
                <a:solidFill>
                  <a:srgbClr val="000000"/>
                </a:solidFill>
                <a:effectLst/>
                <a:uLnTx/>
                <a:uFillTx/>
                <a:latin typeface="Arial" charset="0"/>
                <a:ea typeface="+mn-ea"/>
                <a:cs typeface="Arial" panose="020B0604020202020204" pitchFamily="34" charset="0"/>
                <a:sym typeface="Arial"/>
              </a:rPr>
              <a:t>Ethiopia  will also reach an additional estimate of 3,413,068 farmers through government engagement and  other national level interventions</a:t>
            </a:r>
          </a:p>
        </p:txBody>
      </p:sp>
    </p:spTree>
    <p:extLst>
      <p:ext uri="{BB962C8B-B14F-4D97-AF65-F5344CB8AC3E}">
        <p14:creationId xmlns:p14="http://schemas.microsoft.com/office/powerpoint/2010/main" val="278689243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73"/>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713604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1207" name="think-cell Slide" r:id="rId5" imgW="327" imgH="327" progId="TCLayout.ActiveDocument.1">
                  <p:embed/>
                </p:oleObj>
              </mc:Choice>
              <mc:Fallback>
                <p:oleObj name="think-cell Slide" r:id="rId5" imgW="327" imgH="32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74" name="Google Shape;174;p27"/>
          <p:cNvPicPr preferRelativeResize="0"/>
          <p:nvPr/>
        </p:nvPicPr>
        <p:blipFill rotWithShape="1">
          <a:blip r:embed="rId7">
            <a:alphaModFix/>
          </a:blip>
          <a:srcRect/>
          <a:stretch/>
        </p:blipFill>
        <p:spPr>
          <a:xfrm>
            <a:off x="1588" y="1588"/>
            <a:ext cx="1588" cy="1588"/>
          </a:xfrm>
          <a:prstGeom prst="rect">
            <a:avLst/>
          </a:prstGeom>
          <a:noFill/>
          <a:ln>
            <a:noFill/>
          </a:ln>
        </p:spPr>
      </p:pic>
      <p:sp>
        <p:nvSpPr>
          <p:cNvPr id="175" name="Google Shape;175;p27"/>
          <p:cNvSpPr txBox="1">
            <a:spLocks noGrp="1"/>
          </p:cNvSpPr>
          <p:nvPr>
            <p:ph type="title"/>
          </p:nvPr>
        </p:nvSpPr>
        <p:spPr>
          <a:xfrm>
            <a:off x="450741" y="134054"/>
            <a:ext cx="7245459" cy="582389"/>
          </a:xfrm>
          <a:prstGeom prst="rect">
            <a:avLst/>
          </a:prstGeom>
          <a:noFill/>
          <a:ln>
            <a:noFill/>
          </a:ln>
        </p:spPr>
        <p:txBody>
          <a:bodyPr spcFirstLastPara="1" wrap="square" lIns="0" tIns="0" rIns="0" bIns="0" anchor="b" anchorCtr="0">
            <a:noAutofit/>
          </a:bodyPr>
          <a:lstStyle/>
          <a:p>
            <a:pPr marL="0" marR="0" lvl="0" indent="0" algn="l" rtl="0">
              <a:lnSpc>
                <a:spcPct val="90000"/>
              </a:lnSpc>
              <a:spcBef>
                <a:spcPts val="0"/>
              </a:spcBef>
              <a:spcAft>
                <a:spcPts val="0"/>
              </a:spcAft>
              <a:buClr>
                <a:schemeClr val="dk1"/>
              </a:buClr>
              <a:buSzPts val="2200"/>
              <a:buFont typeface="Arial"/>
              <a:buNone/>
            </a:pPr>
            <a:r>
              <a:rPr lang="en-US" sz="2200" b="1" i="0" u="none" strike="noStrike" cap="none" dirty="0">
                <a:solidFill>
                  <a:schemeClr val="tx1"/>
                </a:solidFill>
                <a:latin typeface="Arial"/>
                <a:ea typeface="Arial"/>
                <a:cs typeface="Arial"/>
                <a:sym typeface="Arial"/>
              </a:rPr>
              <a:t>ACRONYMS</a:t>
            </a:r>
            <a:endParaRPr sz="2200" b="1" i="0" u="none" strike="noStrike" cap="none" dirty="0">
              <a:solidFill>
                <a:schemeClr val="tx1"/>
              </a:solidFill>
              <a:latin typeface="Arial"/>
              <a:ea typeface="Arial"/>
              <a:cs typeface="Arial"/>
              <a:sym typeface="Arial"/>
            </a:endParaRPr>
          </a:p>
        </p:txBody>
      </p:sp>
      <p:graphicFrame>
        <p:nvGraphicFramePr>
          <p:cNvPr id="12" name="Table 11"/>
          <p:cNvGraphicFramePr>
            <a:graphicFrameLocks noGrp="1"/>
          </p:cNvGraphicFramePr>
          <p:nvPr>
            <p:extLst/>
          </p:nvPr>
        </p:nvGraphicFramePr>
        <p:xfrm>
          <a:off x="450741" y="1066801"/>
          <a:ext cx="3953093" cy="4036140"/>
        </p:xfrm>
        <a:graphic>
          <a:graphicData uri="http://schemas.openxmlformats.org/drawingml/2006/table">
            <a:tbl>
              <a:tblPr firstRow="1" bandRow="1">
                <a:tableStyleId>{318E6629-4EBB-4D30-9DD3-6ACEAB857B28}</a:tableStyleId>
              </a:tblPr>
              <a:tblGrid>
                <a:gridCol w="1199540">
                  <a:extLst>
                    <a:ext uri="{9D8B030D-6E8A-4147-A177-3AD203B41FA5}">
                      <a16:colId xmlns:a16="http://schemas.microsoft.com/office/drawing/2014/main" val="3153618087"/>
                    </a:ext>
                  </a:extLst>
                </a:gridCol>
                <a:gridCol w="2753553">
                  <a:extLst>
                    <a:ext uri="{9D8B030D-6E8A-4147-A177-3AD203B41FA5}">
                      <a16:colId xmlns:a16="http://schemas.microsoft.com/office/drawing/2014/main" val="126538761"/>
                    </a:ext>
                  </a:extLst>
                </a:gridCol>
              </a:tblGrid>
              <a:tr h="281513">
                <a:tc>
                  <a:txBody>
                    <a:bodyPr/>
                    <a:lstStyle/>
                    <a:p>
                      <a:pPr algn="l" rtl="0" fontAlgn="ctr"/>
                      <a:r>
                        <a:rPr lang="en-US" sz="1100" b="0" i="0" u="none" strike="noStrike" dirty="0" err="1">
                          <a:solidFill>
                            <a:srgbClr val="000000"/>
                          </a:solidFill>
                          <a:effectLst/>
                          <a:latin typeface="Arial" panose="020B0604020202020204" pitchFamily="34" charset="0"/>
                        </a:rPr>
                        <a:t>AfDB</a:t>
                      </a:r>
                      <a:endParaRPr lang="en-US" sz="1100" b="0" i="0" u="none" strike="noStrike" dirty="0">
                        <a:solidFill>
                          <a:srgbClr val="000000"/>
                        </a:solidFill>
                        <a:effectLst/>
                        <a:latin typeface="Arial" panose="020B0604020202020204" pitchFamily="34" charset="0"/>
                      </a:endParaRPr>
                    </a:p>
                  </a:txBody>
                  <a:tcPr marL="0" marR="0" marT="0" marB="0" anchor="ctr"/>
                </a:tc>
                <a:tc>
                  <a:txBody>
                    <a:bodyPr/>
                    <a:lstStyle/>
                    <a:p>
                      <a:pPr algn="l" rtl="0" fontAlgn="ctr"/>
                      <a:r>
                        <a:rPr lang="en-US" sz="1100" b="0" i="0" u="none" strike="noStrike">
                          <a:solidFill>
                            <a:srgbClr val="000000"/>
                          </a:solidFill>
                          <a:effectLst/>
                          <a:latin typeface="Arial" panose="020B0604020202020204" pitchFamily="34" charset="0"/>
                        </a:rPr>
                        <a:t>African Development Bank</a:t>
                      </a:r>
                    </a:p>
                  </a:txBody>
                  <a:tcPr marL="0" marR="0" marT="0" marB="0" anchor="ctr"/>
                </a:tc>
                <a:extLst>
                  <a:ext uri="{0D108BD9-81ED-4DB2-BD59-A6C34878D82A}">
                    <a16:rowId xmlns:a16="http://schemas.microsoft.com/office/drawing/2014/main" val="3216275197"/>
                  </a:ext>
                </a:extLst>
              </a:tr>
              <a:tr h="281513">
                <a:tc>
                  <a:txBody>
                    <a:bodyPr/>
                    <a:lstStyle/>
                    <a:p>
                      <a:pPr algn="l" rtl="0" fontAlgn="ctr"/>
                      <a:r>
                        <a:rPr lang="en-US" sz="1100" b="0" i="0" u="none" strike="noStrike">
                          <a:solidFill>
                            <a:srgbClr val="000000"/>
                          </a:solidFill>
                          <a:effectLst/>
                          <a:latin typeface="Arial" panose="020B0604020202020204" pitchFamily="34" charset="0"/>
                        </a:rPr>
                        <a:t>AGRA</a:t>
                      </a:r>
                    </a:p>
                  </a:txBody>
                  <a:tcPr marL="0" marR="0" marT="0" marB="0" anchor="ctr"/>
                </a:tc>
                <a:tc>
                  <a:txBody>
                    <a:bodyPr/>
                    <a:lstStyle/>
                    <a:p>
                      <a:pPr algn="l" rtl="0" fontAlgn="ctr"/>
                      <a:r>
                        <a:rPr lang="en-US" sz="1100" b="0" i="0" u="none" strike="noStrike">
                          <a:solidFill>
                            <a:srgbClr val="000000"/>
                          </a:solidFill>
                          <a:effectLst/>
                          <a:latin typeface="Arial" panose="020B0604020202020204" pitchFamily="34" charset="0"/>
                        </a:rPr>
                        <a:t>Alliance For A Green Revolution In Africa</a:t>
                      </a:r>
                    </a:p>
                  </a:txBody>
                  <a:tcPr marL="0" marR="0" marT="0" marB="0" anchor="ctr"/>
                </a:tc>
                <a:extLst>
                  <a:ext uri="{0D108BD9-81ED-4DB2-BD59-A6C34878D82A}">
                    <a16:rowId xmlns:a16="http://schemas.microsoft.com/office/drawing/2014/main" val="4200837519"/>
                  </a:ext>
                </a:extLst>
              </a:tr>
              <a:tr h="281513">
                <a:tc>
                  <a:txBody>
                    <a:bodyPr/>
                    <a:lstStyle/>
                    <a:p>
                      <a:pPr algn="l" rtl="0" fontAlgn="ctr"/>
                      <a:r>
                        <a:rPr lang="en-US" sz="1100" b="0" i="0" u="none" strike="noStrike">
                          <a:solidFill>
                            <a:srgbClr val="000000"/>
                          </a:solidFill>
                          <a:effectLst/>
                          <a:latin typeface="Arial" panose="020B0604020202020204" pitchFamily="34" charset="0"/>
                        </a:rPr>
                        <a:t>AGRF</a:t>
                      </a:r>
                    </a:p>
                  </a:txBody>
                  <a:tcPr marL="0" marR="0" marT="0" marB="0" anchor="ctr"/>
                </a:tc>
                <a:tc>
                  <a:txBody>
                    <a:bodyPr/>
                    <a:lstStyle/>
                    <a:p>
                      <a:pPr algn="l" rtl="0" fontAlgn="ctr"/>
                      <a:r>
                        <a:rPr lang="en-US" sz="1100" b="0" i="0" u="none" strike="noStrike">
                          <a:solidFill>
                            <a:srgbClr val="000000"/>
                          </a:solidFill>
                          <a:effectLst/>
                          <a:latin typeface="Arial" panose="020B0604020202020204" pitchFamily="34" charset="0"/>
                        </a:rPr>
                        <a:t>Africa Green Revolution Forum </a:t>
                      </a:r>
                    </a:p>
                  </a:txBody>
                  <a:tcPr marL="0" marR="0" marT="0" marB="0" anchor="ctr"/>
                </a:tc>
                <a:extLst>
                  <a:ext uri="{0D108BD9-81ED-4DB2-BD59-A6C34878D82A}">
                    <a16:rowId xmlns:a16="http://schemas.microsoft.com/office/drawing/2014/main" val="2713028857"/>
                  </a:ext>
                </a:extLst>
              </a:tr>
              <a:tr h="322705">
                <a:tc>
                  <a:txBody>
                    <a:bodyPr/>
                    <a:lstStyle/>
                    <a:p>
                      <a:pPr algn="l" rtl="0" fontAlgn="ctr"/>
                      <a:r>
                        <a:rPr lang="en-US" sz="1100" b="0" i="0" u="none" strike="noStrike" dirty="0" smtClean="0">
                          <a:solidFill>
                            <a:srgbClr val="000000"/>
                          </a:solidFill>
                          <a:effectLst/>
                          <a:latin typeface="Arial" panose="020B0604020202020204" pitchFamily="34" charset="0"/>
                        </a:rPr>
                        <a:t>ATA</a:t>
                      </a:r>
                      <a:endParaRPr lang="en-US" sz="1100" b="0" i="0" u="none" strike="noStrike" dirty="0">
                        <a:solidFill>
                          <a:srgbClr val="000000"/>
                        </a:solidFill>
                        <a:effectLst/>
                        <a:latin typeface="Arial" panose="020B0604020202020204" pitchFamily="34" charset="0"/>
                      </a:endParaRPr>
                    </a:p>
                  </a:txBody>
                  <a:tcPr marL="0" marR="0" marT="0" marB="0" anchor="ctr"/>
                </a:tc>
                <a:tc>
                  <a:txBody>
                    <a:bodyPr/>
                    <a:lstStyle/>
                    <a:p>
                      <a:pPr algn="l" rtl="0" fontAlgn="ctr"/>
                      <a:r>
                        <a:rPr lang="en-US" sz="1100" b="0" i="0" u="none" strike="noStrike" dirty="0">
                          <a:solidFill>
                            <a:srgbClr val="000000"/>
                          </a:solidFill>
                          <a:effectLst/>
                          <a:latin typeface="Arial" panose="020B0604020202020204" pitchFamily="34" charset="0"/>
                        </a:rPr>
                        <a:t>Agricultural </a:t>
                      </a:r>
                      <a:r>
                        <a:rPr lang="en-US" sz="1100" b="0" i="0" u="none" strike="noStrike" dirty="0" smtClean="0">
                          <a:solidFill>
                            <a:srgbClr val="000000"/>
                          </a:solidFill>
                          <a:effectLst/>
                          <a:latin typeface="Arial" panose="020B0604020202020204" pitchFamily="34" charset="0"/>
                        </a:rPr>
                        <a:t>Transformation Agency</a:t>
                      </a:r>
                      <a:endParaRPr lang="en-US" sz="1100" b="0" i="0" u="none" strike="noStrike" dirty="0">
                        <a:solidFill>
                          <a:srgbClr val="000000"/>
                        </a:solidFill>
                        <a:effectLst/>
                        <a:latin typeface="Arial" panose="020B0604020202020204" pitchFamily="34" charset="0"/>
                      </a:endParaRPr>
                    </a:p>
                  </a:txBody>
                  <a:tcPr marL="0" marR="0" marT="0" marB="0" anchor="ctr"/>
                </a:tc>
                <a:extLst>
                  <a:ext uri="{0D108BD9-81ED-4DB2-BD59-A6C34878D82A}">
                    <a16:rowId xmlns:a16="http://schemas.microsoft.com/office/drawing/2014/main" val="1062696234"/>
                  </a:ext>
                </a:extLst>
              </a:tr>
              <a:tr h="281513">
                <a:tc>
                  <a:txBody>
                    <a:bodyPr/>
                    <a:lstStyle/>
                    <a:p>
                      <a:pPr algn="l" rtl="0" fontAlgn="ctr"/>
                      <a:r>
                        <a:rPr lang="en-US" sz="1100" b="0" i="0" u="none" strike="noStrike" dirty="0">
                          <a:solidFill>
                            <a:srgbClr val="000000"/>
                          </a:solidFill>
                          <a:effectLst/>
                          <a:latin typeface="Arial" panose="020B0604020202020204" pitchFamily="34" charset="0"/>
                        </a:rPr>
                        <a:t>BDS</a:t>
                      </a:r>
                    </a:p>
                  </a:txBody>
                  <a:tcPr marL="0" marR="0" marT="0" marB="0" anchor="ctr"/>
                </a:tc>
                <a:tc>
                  <a:txBody>
                    <a:bodyPr/>
                    <a:lstStyle/>
                    <a:p>
                      <a:pPr algn="l" rtl="0" fontAlgn="ctr"/>
                      <a:r>
                        <a:rPr lang="en-US" sz="1100" b="0" i="0" u="none" strike="noStrike">
                          <a:solidFill>
                            <a:srgbClr val="000000"/>
                          </a:solidFill>
                          <a:effectLst/>
                          <a:latin typeface="Arial" panose="020B0604020202020204" pitchFamily="34" charset="0"/>
                        </a:rPr>
                        <a:t>Business Development Services</a:t>
                      </a:r>
                    </a:p>
                  </a:txBody>
                  <a:tcPr marL="0" marR="0" marT="0" marB="0" anchor="ctr"/>
                </a:tc>
                <a:extLst>
                  <a:ext uri="{0D108BD9-81ED-4DB2-BD59-A6C34878D82A}">
                    <a16:rowId xmlns:a16="http://schemas.microsoft.com/office/drawing/2014/main" val="2051653629"/>
                  </a:ext>
                </a:extLst>
              </a:tr>
              <a:tr h="563025">
                <a:tc>
                  <a:txBody>
                    <a:bodyPr/>
                    <a:lstStyle/>
                    <a:p>
                      <a:pPr algn="l" rtl="0" fontAlgn="ctr"/>
                      <a:r>
                        <a:rPr lang="en-US" sz="1100" b="0" i="0" u="none" strike="noStrike">
                          <a:solidFill>
                            <a:srgbClr val="000000"/>
                          </a:solidFill>
                          <a:effectLst/>
                          <a:latin typeface="Arial" panose="020B0604020202020204" pitchFamily="34" charset="0"/>
                        </a:rPr>
                        <a:t>CAADP </a:t>
                      </a:r>
                    </a:p>
                  </a:txBody>
                  <a:tcPr marL="0" marR="0" marT="0" marB="0" anchor="ctr"/>
                </a:tc>
                <a:tc>
                  <a:txBody>
                    <a:bodyPr/>
                    <a:lstStyle/>
                    <a:p>
                      <a:pPr algn="l" rtl="0" fontAlgn="ctr"/>
                      <a:r>
                        <a:rPr lang="en-US" sz="1100" b="0" i="0" u="none" strike="noStrike">
                          <a:solidFill>
                            <a:srgbClr val="000000"/>
                          </a:solidFill>
                          <a:effectLst/>
                          <a:latin typeface="Arial" panose="020B0604020202020204" pitchFamily="34" charset="0"/>
                        </a:rPr>
                        <a:t>Comprehensive Africa Agricultural Development Program </a:t>
                      </a:r>
                    </a:p>
                  </a:txBody>
                  <a:tcPr marL="0" marR="0" marT="0" marB="0" anchor="ctr"/>
                </a:tc>
                <a:extLst>
                  <a:ext uri="{0D108BD9-81ED-4DB2-BD59-A6C34878D82A}">
                    <a16:rowId xmlns:a16="http://schemas.microsoft.com/office/drawing/2014/main" val="2237187762"/>
                  </a:ext>
                </a:extLst>
              </a:tr>
              <a:tr h="281513">
                <a:tc>
                  <a:txBody>
                    <a:bodyPr/>
                    <a:lstStyle/>
                    <a:p>
                      <a:pPr algn="l" rtl="0" fontAlgn="ctr"/>
                      <a:r>
                        <a:rPr lang="en-US" sz="1100" b="0" i="0" u="none" strike="noStrike">
                          <a:solidFill>
                            <a:srgbClr val="000000"/>
                          </a:solidFill>
                          <a:effectLst/>
                          <a:latin typeface="Arial" panose="020B0604020202020204" pitchFamily="34" charset="0"/>
                        </a:rPr>
                        <a:t>CIDP</a:t>
                      </a:r>
                    </a:p>
                  </a:txBody>
                  <a:tcPr marL="0" marR="0" marT="0" marB="0" anchor="ctr"/>
                </a:tc>
                <a:tc>
                  <a:txBody>
                    <a:bodyPr/>
                    <a:lstStyle/>
                    <a:p>
                      <a:pPr algn="l" rtl="0" fontAlgn="ctr"/>
                      <a:r>
                        <a:rPr lang="en-US" sz="1100" b="0" i="0" u="none" strike="noStrike">
                          <a:solidFill>
                            <a:srgbClr val="000000"/>
                          </a:solidFill>
                          <a:effectLst/>
                          <a:latin typeface="Arial" panose="020B0604020202020204" pitchFamily="34" charset="0"/>
                        </a:rPr>
                        <a:t>County Integrated Development Plans</a:t>
                      </a:r>
                    </a:p>
                  </a:txBody>
                  <a:tcPr marL="0" marR="0" marT="0" marB="0" anchor="ctr"/>
                </a:tc>
                <a:extLst>
                  <a:ext uri="{0D108BD9-81ED-4DB2-BD59-A6C34878D82A}">
                    <a16:rowId xmlns:a16="http://schemas.microsoft.com/office/drawing/2014/main" val="2237445269"/>
                  </a:ext>
                </a:extLst>
              </a:tr>
              <a:tr h="281513">
                <a:tc>
                  <a:txBody>
                    <a:bodyPr/>
                    <a:lstStyle/>
                    <a:p>
                      <a:pPr algn="l" rtl="0" fontAlgn="ctr"/>
                      <a:r>
                        <a:rPr lang="en-US" sz="1100" b="0" i="0" u="none" strike="noStrike" dirty="0">
                          <a:solidFill>
                            <a:srgbClr val="000000"/>
                          </a:solidFill>
                          <a:effectLst/>
                          <a:latin typeface="Arial" panose="020B0604020202020204" pitchFamily="34" charset="0"/>
                        </a:rPr>
                        <a:t>EBA</a:t>
                      </a:r>
                    </a:p>
                  </a:txBody>
                  <a:tcPr marL="0" marR="0" marT="0" marB="0" anchor="ctr"/>
                </a:tc>
                <a:tc>
                  <a:txBody>
                    <a:bodyPr/>
                    <a:lstStyle/>
                    <a:p>
                      <a:pPr algn="l" rtl="0" fontAlgn="ctr"/>
                      <a:r>
                        <a:rPr lang="en-US" sz="1100" b="0" i="0" u="none" strike="noStrike">
                          <a:solidFill>
                            <a:srgbClr val="000000"/>
                          </a:solidFill>
                          <a:effectLst/>
                          <a:latin typeface="Arial" panose="020B0604020202020204" pitchFamily="34" charset="0"/>
                        </a:rPr>
                        <a:t>Enabling Business Of Agriculture </a:t>
                      </a:r>
                    </a:p>
                  </a:txBody>
                  <a:tcPr marL="0" marR="0" marT="0" marB="0" anchor="ctr"/>
                </a:tc>
                <a:extLst>
                  <a:ext uri="{0D108BD9-81ED-4DB2-BD59-A6C34878D82A}">
                    <a16:rowId xmlns:a16="http://schemas.microsoft.com/office/drawing/2014/main" val="938601498"/>
                  </a:ext>
                </a:extLst>
              </a:tr>
              <a:tr h="281513">
                <a:tc>
                  <a:txBody>
                    <a:bodyPr/>
                    <a:lstStyle/>
                    <a:p>
                      <a:pPr algn="l" rtl="0" fontAlgn="ctr"/>
                      <a:r>
                        <a:rPr lang="en-US" sz="1100" b="0" i="0" u="none" strike="noStrike" dirty="0">
                          <a:solidFill>
                            <a:srgbClr val="000000"/>
                          </a:solidFill>
                          <a:effectLst/>
                          <a:latin typeface="Arial" panose="020B0604020202020204" pitchFamily="34" charset="0"/>
                        </a:rPr>
                        <a:t>FAO</a:t>
                      </a:r>
                    </a:p>
                  </a:txBody>
                  <a:tcPr marL="0" marR="0" marT="0" marB="0" anchor="ctr"/>
                </a:tc>
                <a:tc>
                  <a:txBody>
                    <a:bodyPr/>
                    <a:lstStyle/>
                    <a:p>
                      <a:pPr algn="l" rtl="0" fontAlgn="ctr"/>
                      <a:r>
                        <a:rPr lang="en-US" sz="1100" b="0" i="0" u="none" strike="noStrike" dirty="0">
                          <a:solidFill>
                            <a:srgbClr val="000000"/>
                          </a:solidFill>
                          <a:effectLst/>
                          <a:latin typeface="Arial" panose="020B0604020202020204" pitchFamily="34" charset="0"/>
                        </a:rPr>
                        <a:t>Food And Agriculture Organization </a:t>
                      </a:r>
                    </a:p>
                  </a:txBody>
                  <a:tcPr marL="0" marR="0" marT="0" marB="0" anchor="ctr"/>
                </a:tc>
                <a:extLst>
                  <a:ext uri="{0D108BD9-81ED-4DB2-BD59-A6C34878D82A}">
                    <a16:rowId xmlns:a16="http://schemas.microsoft.com/office/drawing/2014/main" val="3814543466"/>
                  </a:ext>
                </a:extLst>
              </a:tr>
              <a:tr h="281513">
                <a:tc>
                  <a:txBody>
                    <a:bodyPr/>
                    <a:lstStyle/>
                    <a:p>
                      <a:pPr algn="l" rtl="0" fontAlgn="ctr"/>
                      <a:r>
                        <a:rPr lang="en-US" sz="1100" b="0" i="0" u="none" strike="noStrike" dirty="0" err="1" smtClean="0">
                          <a:solidFill>
                            <a:srgbClr val="000000"/>
                          </a:solidFill>
                          <a:effectLst/>
                          <a:latin typeface="Arial" panose="020B0604020202020204" pitchFamily="34" charset="0"/>
                        </a:rPr>
                        <a:t>GoE</a:t>
                      </a:r>
                      <a:endParaRPr lang="en-US" sz="1100" b="0" i="0" u="none" strike="noStrike" dirty="0">
                        <a:solidFill>
                          <a:srgbClr val="000000"/>
                        </a:solidFill>
                        <a:effectLst/>
                        <a:latin typeface="Arial" panose="020B0604020202020204" pitchFamily="34" charset="0"/>
                      </a:endParaRPr>
                    </a:p>
                  </a:txBody>
                  <a:tcPr marL="0" marR="0" marT="0" marB="0" anchor="ctr"/>
                </a:tc>
                <a:tc>
                  <a:txBody>
                    <a:bodyPr/>
                    <a:lstStyle/>
                    <a:p>
                      <a:pPr algn="l" rtl="0" fontAlgn="ctr"/>
                      <a:r>
                        <a:rPr lang="en-US" sz="1100" b="0" i="0" u="none" strike="noStrike" dirty="0">
                          <a:solidFill>
                            <a:srgbClr val="000000"/>
                          </a:solidFill>
                          <a:effectLst/>
                          <a:latin typeface="Arial" panose="020B0604020202020204" pitchFamily="34" charset="0"/>
                        </a:rPr>
                        <a:t>Government Of </a:t>
                      </a:r>
                      <a:r>
                        <a:rPr lang="en-US" sz="1100" b="0" i="0" u="none" strike="noStrike" dirty="0" smtClean="0">
                          <a:solidFill>
                            <a:srgbClr val="000000"/>
                          </a:solidFill>
                          <a:effectLst/>
                          <a:latin typeface="Arial" panose="020B0604020202020204" pitchFamily="34" charset="0"/>
                        </a:rPr>
                        <a:t>Ethiopia </a:t>
                      </a:r>
                      <a:endParaRPr lang="en-US" sz="1100" b="0" i="0" u="none" strike="noStrike" dirty="0">
                        <a:solidFill>
                          <a:srgbClr val="000000"/>
                        </a:solidFill>
                        <a:effectLst/>
                        <a:latin typeface="Arial" panose="020B0604020202020204" pitchFamily="34" charset="0"/>
                      </a:endParaRPr>
                    </a:p>
                  </a:txBody>
                  <a:tcPr marL="0" marR="0" marT="0" marB="0" anchor="ctr"/>
                </a:tc>
                <a:extLst>
                  <a:ext uri="{0D108BD9-81ED-4DB2-BD59-A6C34878D82A}">
                    <a16:rowId xmlns:a16="http://schemas.microsoft.com/office/drawing/2014/main" val="10009"/>
                  </a:ext>
                </a:extLst>
              </a:tr>
              <a:tr h="281513">
                <a:tc>
                  <a:txBody>
                    <a:bodyPr/>
                    <a:lstStyle/>
                    <a:p>
                      <a:pPr algn="l" rtl="0" fontAlgn="ctr"/>
                      <a:r>
                        <a:rPr lang="en-US" sz="1100" b="0" i="0" u="none" strike="noStrike" dirty="0">
                          <a:solidFill>
                            <a:srgbClr val="000000"/>
                          </a:solidFill>
                          <a:effectLst/>
                          <a:latin typeface="Arial" panose="020B0604020202020204" pitchFamily="34" charset="0"/>
                        </a:rPr>
                        <a:t>ICT</a:t>
                      </a:r>
                    </a:p>
                  </a:txBody>
                  <a:tcPr marL="0" marR="0" marT="0" marB="0" anchor="ctr"/>
                </a:tc>
                <a:tc>
                  <a:txBody>
                    <a:bodyPr/>
                    <a:lstStyle/>
                    <a:p>
                      <a:pPr algn="l" rtl="0" fontAlgn="ctr"/>
                      <a:r>
                        <a:rPr lang="en-US" sz="1100" b="0" i="0" u="none" strike="noStrike" dirty="0">
                          <a:solidFill>
                            <a:srgbClr val="000000"/>
                          </a:solidFill>
                          <a:effectLst/>
                          <a:latin typeface="Arial" panose="020B0604020202020204" pitchFamily="34" charset="0"/>
                        </a:rPr>
                        <a:t>Information And Communications Technology</a:t>
                      </a:r>
                    </a:p>
                  </a:txBody>
                  <a:tcPr marL="0" marR="0" marT="0" marB="0" anchor="ctr"/>
                </a:tc>
                <a:extLst>
                  <a:ext uri="{0D108BD9-81ED-4DB2-BD59-A6C34878D82A}">
                    <a16:rowId xmlns:a16="http://schemas.microsoft.com/office/drawing/2014/main" val="10010"/>
                  </a:ext>
                </a:extLst>
              </a:tr>
              <a:tr h="281513">
                <a:tc>
                  <a:txBody>
                    <a:bodyPr/>
                    <a:lstStyle/>
                    <a:p>
                      <a:pPr algn="l" rtl="0" fontAlgn="ctr"/>
                      <a:r>
                        <a:rPr lang="en-US" sz="1100" b="0" i="0" u="none" strike="noStrike" dirty="0" smtClean="0">
                          <a:solidFill>
                            <a:srgbClr val="000000"/>
                          </a:solidFill>
                          <a:effectLst/>
                          <a:latin typeface="Arial" panose="020B0604020202020204" pitchFamily="34" charset="0"/>
                        </a:rPr>
                        <a:t>GTP</a:t>
                      </a:r>
                      <a:endParaRPr lang="en-US" sz="1100" b="0" i="0" u="none" strike="noStrike" dirty="0">
                        <a:solidFill>
                          <a:srgbClr val="000000"/>
                        </a:solidFill>
                        <a:effectLst/>
                        <a:latin typeface="Arial" panose="020B0604020202020204" pitchFamily="34" charset="0"/>
                      </a:endParaRPr>
                    </a:p>
                  </a:txBody>
                  <a:tcPr marL="0" marR="0" marT="0" marB="0" anchor="ctr"/>
                </a:tc>
                <a:tc>
                  <a:txBody>
                    <a:bodyPr/>
                    <a:lstStyle/>
                    <a:p>
                      <a:pPr algn="l" rtl="0" fontAlgn="ctr"/>
                      <a:r>
                        <a:rPr lang="en-US" sz="1100" b="0" i="0" u="none" strike="noStrike" dirty="0" smtClean="0">
                          <a:solidFill>
                            <a:srgbClr val="000000"/>
                          </a:solidFill>
                          <a:effectLst/>
                          <a:latin typeface="Arial" panose="020B0604020202020204" pitchFamily="34" charset="0"/>
                        </a:rPr>
                        <a:t>Growth and Transformation Plan</a:t>
                      </a:r>
                      <a:endParaRPr lang="en-US" sz="1100" b="0" i="0" u="none" strike="noStrike" dirty="0">
                        <a:solidFill>
                          <a:srgbClr val="000000"/>
                        </a:solidFill>
                        <a:effectLst/>
                        <a:latin typeface="Arial" panose="020B0604020202020204" pitchFamily="34" charset="0"/>
                      </a:endParaRPr>
                    </a:p>
                  </a:txBody>
                  <a:tcPr marL="0" marR="0" marT="0" marB="0" anchor="ctr"/>
                </a:tc>
                <a:extLst>
                  <a:ext uri="{0D108BD9-81ED-4DB2-BD59-A6C34878D82A}">
                    <a16:rowId xmlns:a16="http://schemas.microsoft.com/office/drawing/2014/main" val="10011"/>
                  </a:ext>
                </a:extLst>
              </a:tr>
              <a:tr h="281513">
                <a:tc>
                  <a:txBody>
                    <a:bodyPr/>
                    <a:lstStyle/>
                    <a:p>
                      <a:pPr algn="l" rtl="0" fontAlgn="ctr"/>
                      <a:r>
                        <a:rPr lang="en-US" sz="1100" b="0" i="0" u="none" strike="noStrike">
                          <a:solidFill>
                            <a:srgbClr val="000000"/>
                          </a:solidFill>
                          <a:effectLst/>
                          <a:latin typeface="Arial" panose="020B0604020202020204" pitchFamily="34" charset="0"/>
                        </a:rPr>
                        <a:t>IFDC</a:t>
                      </a:r>
                    </a:p>
                  </a:txBody>
                  <a:tcPr marL="0" marR="0" marT="0" marB="0" anchor="ctr"/>
                </a:tc>
                <a:tc>
                  <a:txBody>
                    <a:bodyPr/>
                    <a:lstStyle/>
                    <a:p>
                      <a:pPr algn="l" rtl="0" fontAlgn="ctr"/>
                      <a:r>
                        <a:rPr lang="en-US" sz="1100" b="0" i="0" u="none" strike="noStrike" dirty="0">
                          <a:solidFill>
                            <a:srgbClr val="000000"/>
                          </a:solidFill>
                          <a:effectLst/>
                          <a:latin typeface="Arial" panose="020B0604020202020204" pitchFamily="34" charset="0"/>
                        </a:rPr>
                        <a:t>International Fertilizer Development Center</a:t>
                      </a:r>
                    </a:p>
                  </a:txBody>
                  <a:tcPr marL="0" marR="0" marT="0" marB="0" anchor="ctr"/>
                </a:tc>
                <a:extLst>
                  <a:ext uri="{0D108BD9-81ED-4DB2-BD59-A6C34878D82A}">
                    <a16:rowId xmlns:a16="http://schemas.microsoft.com/office/drawing/2014/main" val="10012"/>
                  </a:ext>
                </a:extLst>
              </a:tr>
            </a:tbl>
          </a:graphicData>
        </a:graphic>
      </p:graphicFrame>
      <p:graphicFrame>
        <p:nvGraphicFramePr>
          <p:cNvPr id="13" name="Table 12"/>
          <p:cNvGraphicFramePr>
            <a:graphicFrameLocks noGrp="1"/>
          </p:cNvGraphicFramePr>
          <p:nvPr>
            <p:extLst/>
          </p:nvPr>
        </p:nvGraphicFramePr>
        <p:xfrm>
          <a:off x="4918841" y="1066801"/>
          <a:ext cx="4540469" cy="3444389"/>
        </p:xfrm>
        <a:graphic>
          <a:graphicData uri="http://schemas.openxmlformats.org/drawingml/2006/table">
            <a:tbl>
              <a:tblPr firstRow="1" bandRow="1">
                <a:tableStyleId>{318E6629-4EBB-4D30-9DD3-6ACEAB857B28}</a:tableStyleId>
              </a:tblPr>
              <a:tblGrid>
                <a:gridCol w="1377775">
                  <a:extLst>
                    <a:ext uri="{9D8B030D-6E8A-4147-A177-3AD203B41FA5}">
                      <a16:colId xmlns:a16="http://schemas.microsoft.com/office/drawing/2014/main" val="3066649366"/>
                    </a:ext>
                  </a:extLst>
                </a:gridCol>
                <a:gridCol w="3162694">
                  <a:extLst>
                    <a:ext uri="{9D8B030D-6E8A-4147-A177-3AD203B41FA5}">
                      <a16:colId xmlns:a16="http://schemas.microsoft.com/office/drawing/2014/main" val="1972616489"/>
                    </a:ext>
                  </a:extLst>
                </a:gridCol>
              </a:tblGrid>
              <a:tr h="264953">
                <a:tc>
                  <a:txBody>
                    <a:bodyPr/>
                    <a:lstStyle/>
                    <a:p>
                      <a:pPr algn="l" rtl="0" fontAlgn="ctr"/>
                      <a:r>
                        <a:rPr lang="en-US" sz="1100" b="0" i="0" u="none" strike="noStrike" dirty="0">
                          <a:solidFill>
                            <a:srgbClr val="000000"/>
                          </a:solidFill>
                          <a:effectLst/>
                          <a:latin typeface="Arial" panose="020B0604020202020204" pitchFamily="34" charset="0"/>
                        </a:rPr>
                        <a:t>GDP</a:t>
                      </a:r>
                    </a:p>
                  </a:txBody>
                  <a:tcPr marL="0" marR="0" marT="0" marB="0" anchor="ctr"/>
                </a:tc>
                <a:tc>
                  <a:txBody>
                    <a:bodyPr/>
                    <a:lstStyle/>
                    <a:p>
                      <a:pPr algn="l" rtl="0" fontAlgn="ctr"/>
                      <a:r>
                        <a:rPr lang="en-US" sz="1100" b="0" i="0" u="none" strike="noStrike" dirty="0">
                          <a:solidFill>
                            <a:srgbClr val="000000"/>
                          </a:solidFill>
                          <a:effectLst/>
                          <a:latin typeface="Arial" panose="020B0604020202020204" pitchFamily="34" charset="0"/>
                        </a:rPr>
                        <a:t>Gross Domestic Product</a:t>
                      </a:r>
                    </a:p>
                  </a:txBody>
                  <a:tcPr marL="0" marR="0" marT="0" marB="0" anchor="ctr"/>
                </a:tc>
                <a:extLst>
                  <a:ext uri="{0D108BD9-81ED-4DB2-BD59-A6C34878D82A}">
                    <a16:rowId xmlns:a16="http://schemas.microsoft.com/office/drawing/2014/main" val="434015171"/>
                  </a:ext>
                </a:extLst>
              </a:tr>
              <a:tr h="264953">
                <a:tc>
                  <a:txBody>
                    <a:bodyPr/>
                    <a:lstStyle/>
                    <a:p>
                      <a:pPr algn="l" rtl="0" fontAlgn="ctr"/>
                      <a:r>
                        <a:rPr lang="en-US" sz="1100" b="0" i="0" u="none" strike="noStrike" dirty="0" err="1">
                          <a:solidFill>
                            <a:srgbClr val="000000"/>
                          </a:solidFill>
                          <a:effectLst/>
                          <a:latin typeface="Arial" panose="020B0604020202020204" pitchFamily="34" charset="0"/>
                        </a:rPr>
                        <a:t>JSR</a:t>
                      </a:r>
                      <a:endParaRPr lang="en-US" sz="1100" b="0" i="0" u="none" strike="noStrike" dirty="0">
                        <a:solidFill>
                          <a:srgbClr val="000000"/>
                        </a:solidFill>
                        <a:effectLst/>
                        <a:latin typeface="Arial" panose="020B0604020202020204" pitchFamily="34" charset="0"/>
                      </a:endParaRPr>
                    </a:p>
                  </a:txBody>
                  <a:tcPr marL="0" marR="0" marT="0" marB="0" anchor="ctr"/>
                </a:tc>
                <a:tc>
                  <a:txBody>
                    <a:bodyPr/>
                    <a:lstStyle/>
                    <a:p>
                      <a:pPr algn="l" rtl="0" fontAlgn="ctr"/>
                      <a:r>
                        <a:rPr lang="en-US" sz="1100" b="0" i="0" u="none" strike="noStrike" dirty="0">
                          <a:solidFill>
                            <a:srgbClr val="000000"/>
                          </a:solidFill>
                          <a:effectLst/>
                          <a:latin typeface="Arial" panose="020B0604020202020204" pitchFamily="34" charset="0"/>
                        </a:rPr>
                        <a:t>Joint Sector Review </a:t>
                      </a:r>
                    </a:p>
                  </a:txBody>
                  <a:tcPr marL="0" marR="0" marT="0" marB="0" anchor="ctr"/>
                </a:tc>
                <a:extLst>
                  <a:ext uri="{0D108BD9-81ED-4DB2-BD59-A6C34878D82A}">
                    <a16:rowId xmlns:a16="http://schemas.microsoft.com/office/drawing/2014/main" val="4179995071"/>
                  </a:ext>
                </a:extLst>
              </a:tr>
              <a:tr h="264953">
                <a:tc>
                  <a:txBody>
                    <a:bodyPr/>
                    <a:lstStyle/>
                    <a:p>
                      <a:pPr algn="l" rtl="0" fontAlgn="ctr"/>
                      <a:r>
                        <a:rPr lang="en-US" sz="1100" b="0" i="0" u="none" strike="noStrike" cap="none" dirty="0" err="1">
                          <a:solidFill>
                            <a:srgbClr val="000000"/>
                          </a:solidFill>
                          <a:effectLst/>
                          <a:latin typeface="Arial" panose="020B0604020202020204" pitchFamily="34" charset="0"/>
                          <a:ea typeface="Calibri"/>
                          <a:cs typeface="Calibri"/>
                          <a:sym typeface="Arial"/>
                        </a:rPr>
                        <a:t>M&amp;E</a:t>
                      </a:r>
                      <a:endParaRPr lang="en-US" sz="1100" b="0" i="0" u="none" strike="noStrike" cap="none" dirty="0">
                        <a:solidFill>
                          <a:srgbClr val="000000"/>
                        </a:solidFill>
                        <a:effectLst/>
                        <a:latin typeface="Arial" panose="020B0604020202020204" pitchFamily="34" charset="0"/>
                        <a:ea typeface="Calibri"/>
                        <a:cs typeface="Calibri"/>
                        <a:sym typeface="Arial"/>
                      </a:endParaRPr>
                    </a:p>
                  </a:txBody>
                  <a:tcPr marL="0" marR="0" marT="0" marB="0" anchor="ctr"/>
                </a:tc>
                <a:tc>
                  <a:txBody>
                    <a:bodyPr/>
                    <a:lstStyle/>
                    <a:p>
                      <a:pPr algn="l" rtl="0" fontAlgn="ctr"/>
                      <a:r>
                        <a:rPr lang="en-US" sz="1100" b="0" i="0" u="none" strike="noStrike" dirty="0" smtClean="0">
                          <a:solidFill>
                            <a:srgbClr val="000000"/>
                          </a:solidFill>
                          <a:effectLst/>
                          <a:latin typeface="Arial" panose="020B0604020202020204" pitchFamily="34" charset="0"/>
                        </a:rPr>
                        <a:t>Monitoring </a:t>
                      </a:r>
                      <a:r>
                        <a:rPr lang="en-US" sz="1100" b="0" i="0" u="none" strike="noStrike" dirty="0">
                          <a:solidFill>
                            <a:srgbClr val="000000"/>
                          </a:solidFill>
                          <a:effectLst/>
                          <a:latin typeface="Arial" panose="020B0604020202020204" pitchFamily="34" charset="0"/>
                        </a:rPr>
                        <a:t>And Evaluation</a:t>
                      </a:r>
                    </a:p>
                  </a:txBody>
                  <a:tcPr marL="0" marR="0" marT="0" marB="0" anchor="ctr"/>
                </a:tc>
                <a:extLst>
                  <a:ext uri="{0D108BD9-81ED-4DB2-BD59-A6C34878D82A}">
                    <a16:rowId xmlns:a16="http://schemas.microsoft.com/office/drawing/2014/main" val="1382226273"/>
                  </a:ext>
                </a:extLst>
              </a:tr>
              <a:tr h="264953">
                <a:tc>
                  <a:txBody>
                    <a:bodyPr/>
                    <a:lstStyle/>
                    <a:p>
                      <a:pPr algn="l" rtl="0" fontAlgn="ctr"/>
                      <a:r>
                        <a:rPr lang="en-US" sz="1100" b="0" i="0" u="none" strike="noStrike" dirty="0" smtClean="0">
                          <a:solidFill>
                            <a:srgbClr val="000000"/>
                          </a:solidFill>
                          <a:effectLst/>
                          <a:latin typeface="Arial" panose="020B0604020202020204" pitchFamily="34" charset="0"/>
                        </a:rPr>
                        <a:t>MFI</a:t>
                      </a:r>
                      <a:endParaRPr lang="en-US" sz="1100" b="0" i="0" u="none" strike="noStrike" dirty="0">
                        <a:solidFill>
                          <a:srgbClr val="000000"/>
                        </a:solidFill>
                        <a:effectLst/>
                        <a:latin typeface="Arial" panose="020B0604020202020204" pitchFamily="34" charset="0"/>
                      </a:endParaRPr>
                    </a:p>
                  </a:txBody>
                  <a:tcPr marL="0" marR="0" marT="0" marB="0" anchor="ctr"/>
                </a:tc>
                <a:tc>
                  <a:txBody>
                    <a:bodyPr/>
                    <a:lstStyle/>
                    <a:p>
                      <a:pPr algn="l" rtl="0" fontAlgn="ctr"/>
                      <a:r>
                        <a:rPr lang="en-US" sz="1100" b="0" i="0" u="none" strike="noStrike" dirty="0" smtClean="0">
                          <a:solidFill>
                            <a:srgbClr val="000000"/>
                          </a:solidFill>
                          <a:effectLst/>
                          <a:latin typeface="Arial" panose="020B0604020202020204" pitchFamily="34" charset="0"/>
                        </a:rPr>
                        <a:t>Micro Finance Institutes</a:t>
                      </a:r>
                      <a:endParaRPr lang="en-US" sz="1100" b="0" i="0" u="none" strike="noStrike" dirty="0">
                        <a:solidFill>
                          <a:srgbClr val="000000"/>
                        </a:solidFill>
                        <a:effectLst/>
                        <a:latin typeface="Arial" panose="020B0604020202020204" pitchFamily="34" charset="0"/>
                      </a:endParaRPr>
                    </a:p>
                  </a:txBody>
                  <a:tcPr marL="0" marR="0" marT="0" marB="0" anchor="ctr"/>
                </a:tc>
                <a:extLst>
                  <a:ext uri="{0D108BD9-81ED-4DB2-BD59-A6C34878D82A}">
                    <a16:rowId xmlns:a16="http://schemas.microsoft.com/office/drawing/2014/main" val="3830304440"/>
                  </a:ext>
                </a:extLst>
              </a:tr>
              <a:tr h="264953">
                <a:tc>
                  <a:txBody>
                    <a:bodyPr/>
                    <a:lstStyle/>
                    <a:p>
                      <a:pPr algn="l" rtl="0" fontAlgn="ctr"/>
                      <a:r>
                        <a:rPr lang="en-US" sz="1100" b="0" i="0" u="none" strike="noStrike" dirty="0" smtClean="0">
                          <a:solidFill>
                            <a:srgbClr val="000000"/>
                          </a:solidFill>
                          <a:effectLst/>
                          <a:latin typeface="Arial" panose="020B0604020202020204" pitchFamily="34" charset="0"/>
                        </a:rPr>
                        <a:t>MOA</a:t>
                      </a:r>
                      <a:endParaRPr lang="en-US" sz="1100" b="0" i="0" u="none" strike="noStrike" dirty="0">
                        <a:solidFill>
                          <a:srgbClr val="000000"/>
                        </a:solidFill>
                        <a:effectLst/>
                        <a:latin typeface="Arial" panose="020B0604020202020204" pitchFamily="34" charset="0"/>
                      </a:endParaRPr>
                    </a:p>
                  </a:txBody>
                  <a:tcPr marL="0" marR="0" marT="0" marB="0" anchor="ctr"/>
                </a:tc>
                <a:tc>
                  <a:txBody>
                    <a:bodyPr/>
                    <a:lstStyle/>
                    <a:p>
                      <a:pPr algn="l" rtl="0" fontAlgn="ctr"/>
                      <a:r>
                        <a:rPr lang="en-US" sz="1100" b="0" i="0" u="none" strike="noStrike" dirty="0">
                          <a:solidFill>
                            <a:srgbClr val="000000"/>
                          </a:solidFill>
                          <a:effectLst/>
                          <a:latin typeface="Arial" panose="020B0604020202020204" pitchFamily="34" charset="0"/>
                        </a:rPr>
                        <a:t>Ministry Of </a:t>
                      </a:r>
                      <a:r>
                        <a:rPr lang="en-US" sz="1100" b="0" i="0" u="none" strike="noStrike" dirty="0" smtClean="0">
                          <a:solidFill>
                            <a:srgbClr val="000000"/>
                          </a:solidFill>
                          <a:effectLst/>
                          <a:latin typeface="Arial" panose="020B0604020202020204" pitchFamily="34" charset="0"/>
                        </a:rPr>
                        <a:t>Agriculture</a:t>
                      </a:r>
                      <a:endParaRPr lang="en-US" sz="1100" b="0" i="0" u="none" strike="noStrike" dirty="0">
                        <a:solidFill>
                          <a:srgbClr val="000000"/>
                        </a:solidFill>
                        <a:effectLst/>
                        <a:latin typeface="Arial" panose="020B0604020202020204" pitchFamily="34" charset="0"/>
                      </a:endParaRPr>
                    </a:p>
                  </a:txBody>
                  <a:tcPr marL="0" marR="0" marT="0" marB="0" anchor="ctr"/>
                </a:tc>
                <a:extLst>
                  <a:ext uri="{0D108BD9-81ED-4DB2-BD59-A6C34878D82A}">
                    <a16:rowId xmlns:a16="http://schemas.microsoft.com/office/drawing/2014/main" val="1808938837"/>
                  </a:ext>
                </a:extLst>
              </a:tr>
              <a:tr h="264953">
                <a:tc>
                  <a:txBody>
                    <a:bodyPr/>
                    <a:lstStyle/>
                    <a:p>
                      <a:pPr algn="l" rtl="0" fontAlgn="ctr"/>
                      <a:r>
                        <a:rPr lang="en-US" sz="1100" b="0" i="0" u="none" strike="noStrike">
                          <a:solidFill>
                            <a:srgbClr val="000000"/>
                          </a:solidFill>
                          <a:effectLst/>
                          <a:latin typeface="Arial" panose="020B0604020202020204" pitchFamily="34" charset="0"/>
                        </a:rPr>
                        <a:t>MoU</a:t>
                      </a:r>
                    </a:p>
                  </a:txBody>
                  <a:tcPr marL="0" marR="0" marT="0" marB="0" anchor="ctr"/>
                </a:tc>
                <a:tc>
                  <a:txBody>
                    <a:bodyPr/>
                    <a:lstStyle/>
                    <a:p>
                      <a:pPr algn="l" rtl="0" fontAlgn="ctr"/>
                      <a:r>
                        <a:rPr lang="en-US" sz="1100" b="0" i="0" u="none" strike="noStrike" dirty="0">
                          <a:solidFill>
                            <a:srgbClr val="000000"/>
                          </a:solidFill>
                          <a:effectLst/>
                          <a:latin typeface="Arial" panose="020B0604020202020204" pitchFamily="34" charset="0"/>
                        </a:rPr>
                        <a:t>Memorandum Of Understanding</a:t>
                      </a:r>
                    </a:p>
                  </a:txBody>
                  <a:tcPr marL="0" marR="0" marT="0" marB="0" anchor="ctr"/>
                </a:tc>
                <a:extLst>
                  <a:ext uri="{0D108BD9-81ED-4DB2-BD59-A6C34878D82A}">
                    <a16:rowId xmlns:a16="http://schemas.microsoft.com/office/drawing/2014/main" val="4278902154"/>
                  </a:ext>
                </a:extLst>
              </a:tr>
              <a:tr h="264953">
                <a:tc>
                  <a:txBody>
                    <a:bodyPr/>
                    <a:lstStyle/>
                    <a:p>
                      <a:pPr algn="l" rtl="0" fontAlgn="ctr"/>
                      <a:r>
                        <a:rPr lang="en-US" sz="1100" b="0" i="0" u="none" strike="noStrike">
                          <a:solidFill>
                            <a:srgbClr val="000000"/>
                          </a:solidFill>
                          <a:effectLst/>
                          <a:latin typeface="Arial" panose="020B0604020202020204" pitchFamily="34" charset="0"/>
                        </a:rPr>
                        <a:t>MSE</a:t>
                      </a:r>
                    </a:p>
                  </a:txBody>
                  <a:tcPr marL="0" marR="0" marT="0" marB="0" anchor="ctr"/>
                </a:tc>
                <a:tc>
                  <a:txBody>
                    <a:bodyPr/>
                    <a:lstStyle/>
                    <a:p>
                      <a:pPr algn="l" rtl="0" fontAlgn="ctr"/>
                      <a:r>
                        <a:rPr lang="en-US" sz="1100" b="0" i="0" u="none" strike="noStrike" dirty="0">
                          <a:solidFill>
                            <a:srgbClr val="000000"/>
                          </a:solidFill>
                          <a:effectLst/>
                          <a:latin typeface="Arial" panose="020B0604020202020204" pitchFamily="34" charset="0"/>
                        </a:rPr>
                        <a:t>Micro And Small Enterprises </a:t>
                      </a:r>
                    </a:p>
                  </a:txBody>
                  <a:tcPr marL="0" marR="0" marT="0" marB="0" anchor="ctr"/>
                </a:tc>
                <a:extLst>
                  <a:ext uri="{0D108BD9-81ED-4DB2-BD59-A6C34878D82A}">
                    <a16:rowId xmlns:a16="http://schemas.microsoft.com/office/drawing/2014/main" val="2930753368"/>
                  </a:ext>
                </a:extLst>
              </a:tr>
              <a:tr h="264953">
                <a:tc>
                  <a:txBody>
                    <a:bodyPr/>
                    <a:lstStyle/>
                    <a:p>
                      <a:pPr algn="l" rtl="0" fontAlgn="ctr"/>
                      <a:r>
                        <a:rPr lang="en-US" sz="1100" b="0" i="0" u="none" strike="noStrike">
                          <a:solidFill>
                            <a:srgbClr val="000000"/>
                          </a:solidFill>
                          <a:effectLst/>
                          <a:latin typeface="Arial" panose="020B0604020202020204" pitchFamily="34" charset="0"/>
                        </a:rPr>
                        <a:t>NAIP</a:t>
                      </a:r>
                    </a:p>
                  </a:txBody>
                  <a:tcPr marL="0" marR="0" marT="0" marB="0" anchor="ctr"/>
                </a:tc>
                <a:tc>
                  <a:txBody>
                    <a:bodyPr/>
                    <a:lstStyle/>
                    <a:p>
                      <a:pPr algn="l" rtl="0" fontAlgn="ctr"/>
                      <a:r>
                        <a:rPr lang="en-US" sz="1100" b="0" i="0" u="none" strike="noStrike" dirty="0">
                          <a:solidFill>
                            <a:srgbClr val="000000"/>
                          </a:solidFill>
                          <a:effectLst/>
                          <a:latin typeface="Arial" panose="020B0604020202020204" pitchFamily="34" charset="0"/>
                        </a:rPr>
                        <a:t>National Agriculture Investment Plan</a:t>
                      </a:r>
                    </a:p>
                  </a:txBody>
                  <a:tcPr marL="0" marR="0" marT="0" marB="0" anchor="ctr"/>
                </a:tc>
                <a:extLst>
                  <a:ext uri="{0D108BD9-81ED-4DB2-BD59-A6C34878D82A}">
                    <a16:rowId xmlns:a16="http://schemas.microsoft.com/office/drawing/2014/main" val="2930818600"/>
                  </a:ext>
                </a:extLst>
              </a:tr>
              <a:tr h="264953">
                <a:tc>
                  <a:txBody>
                    <a:bodyPr/>
                    <a:lstStyle/>
                    <a:p>
                      <a:pPr algn="l" rtl="0" fontAlgn="ctr"/>
                      <a:r>
                        <a:rPr lang="en-US" sz="1100" b="0" i="0" u="none" strike="noStrike" dirty="0" smtClean="0">
                          <a:solidFill>
                            <a:srgbClr val="000000"/>
                          </a:solidFill>
                          <a:effectLst/>
                          <a:latin typeface="Arial" panose="020B0604020202020204" pitchFamily="34" charset="0"/>
                        </a:rPr>
                        <a:t>OCP</a:t>
                      </a:r>
                      <a:endParaRPr lang="en-US" sz="1100" b="0" i="0" u="none" strike="noStrike" dirty="0">
                        <a:solidFill>
                          <a:srgbClr val="000000"/>
                        </a:solidFill>
                        <a:effectLst/>
                        <a:latin typeface="Arial" panose="020B0604020202020204" pitchFamily="34" charset="0"/>
                      </a:endParaRPr>
                    </a:p>
                  </a:txBody>
                  <a:tcPr marL="0" marR="0" marT="0" marB="0" anchor="ctr"/>
                </a:tc>
                <a:tc>
                  <a:txBody>
                    <a:bodyPr/>
                    <a:lstStyle/>
                    <a:p>
                      <a:pPr marR="0" algn="l" rtl="0" fontAlgn="ctr">
                        <a:lnSpc>
                          <a:spcPct val="100000"/>
                        </a:lnSpc>
                        <a:spcBef>
                          <a:spcPts val="0"/>
                        </a:spcBef>
                        <a:spcAft>
                          <a:spcPts val="0"/>
                        </a:spcAft>
                        <a:buClr>
                          <a:srgbClr val="000000"/>
                        </a:buClr>
                        <a:buFont typeface="Arial"/>
                      </a:pPr>
                      <a:r>
                        <a:rPr lang="en-US" sz="1100" b="0" i="0" u="none" strike="noStrike" cap="none" dirty="0" smtClean="0">
                          <a:solidFill>
                            <a:srgbClr val="000000"/>
                          </a:solidFill>
                          <a:effectLst/>
                          <a:latin typeface="Arial" panose="020B0604020202020204" pitchFamily="34" charset="0"/>
                          <a:ea typeface="Calibri"/>
                          <a:cs typeface="Calibri"/>
                          <a:sym typeface="Arial"/>
                        </a:rPr>
                        <a:t>Office </a:t>
                      </a:r>
                      <a:r>
                        <a:rPr lang="en-US" sz="1100" b="0" i="0" u="none" strike="noStrike" cap="none" dirty="0" err="1" smtClean="0">
                          <a:solidFill>
                            <a:srgbClr val="000000"/>
                          </a:solidFill>
                          <a:effectLst/>
                          <a:latin typeface="Arial" panose="020B0604020202020204" pitchFamily="34" charset="0"/>
                          <a:ea typeface="Calibri"/>
                          <a:cs typeface="Calibri"/>
                          <a:sym typeface="Arial"/>
                        </a:rPr>
                        <a:t>Chérifien</a:t>
                      </a:r>
                      <a:r>
                        <a:rPr lang="en-US" sz="1100" b="0" i="0" u="none" strike="noStrike" cap="none" dirty="0" smtClean="0">
                          <a:solidFill>
                            <a:srgbClr val="000000"/>
                          </a:solidFill>
                          <a:effectLst/>
                          <a:latin typeface="Arial" panose="020B0604020202020204" pitchFamily="34" charset="0"/>
                          <a:ea typeface="Calibri"/>
                          <a:cs typeface="Calibri"/>
                          <a:sym typeface="Arial"/>
                        </a:rPr>
                        <a:t> des Phosphates</a:t>
                      </a:r>
                      <a:endParaRPr lang="en-US" sz="1100" b="0" i="0" u="none" strike="noStrike" cap="none" dirty="0">
                        <a:solidFill>
                          <a:srgbClr val="000000"/>
                        </a:solidFill>
                        <a:effectLst/>
                        <a:latin typeface="Arial" panose="020B0604020202020204" pitchFamily="34" charset="0"/>
                        <a:ea typeface="Calibri"/>
                        <a:cs typeface="Calibri"/>
                        <a:sym typeface="Arial"/>
                      </a:endParaRPr>
                    </a:p>
                  </a:txBody>
                  <a:tcPr marL="0" marR="0" marT="0" marB="0" anchor="ctr"/>
                </a:tc>
                <a:extLst>
                  <a:ext uri="{0D108BD9-81ED-4DB2-BD59-A6C34878D82A}">
                    <a16:rowId xmlns:a16="http://schemas.microsoft.com/office/drawing/2014/main" val="2006229901"/>
                  </a:ext>
                </a:extLst>
              </a:tr>
              <a:tr h="264953">
                <a:tc>
                  <a:txBody>
                    <a:bodyPr/>
                    <a:lstStyle/>
                    <a:p>
                      <a:pPr algn="l" rtl="0" fontAlgn="ctr"/>
                      <a:r>
                        <a:rPr lang="en-US" sz="1100" b="0" i="0" u="none" strike="noStrike">
                          <a:solidFill>
                            <a:srgbClr val="000000"/>
                          </a:solidFill>
                          <a:effectLst/>
                          <a:latin typeface="Arial" panose="020B0604020202020204" pitchFamily="34" charset="0"/>
                        </a:rPr>
                        <a:t>PIU</a:t>
                      </a:r>
                    </a:p>
                  </a:txBody>
                  <a:tcPr marL="0" marR="0" marT="0" marB="0" anchor="ctr"/>
                </a:tc>
                <a:tc>
                  <a:txBody>
                    <a:bodyPr/>
                    <a:lstStyle/>
                    <a:p>
                      <a:pPr algn="l" rtl="0" fontAlgn="ctr"/>
                      <a:r>
                        <a:rPr lang="en-US" sz="1100" b="0" i="0" u="none" strike="noStrike" dirty="0">
                          <a:solidFill>
                            <a:srgbClr val="000000"/>
                          </a:solidFill>
                          <a:effectLst/>
                          <a:latin typeface="Arial" panose="020B0604020202020204" pitchFamily="34" charset="0"/>
                        </a:rPr>
                        <a:t>Project Implementation </a:t>
                      </a:r>
                    </a:p>
                  </a:txBody>
                  <a:tcPr marL="0" marR="0" marT="0" marB="0" anchor="ctr"/>
                </a:tc>
                <a:extLst>
                  <a:ext uri="{0D108BD9-81ED-4DB2-BD59-A6C34878D82A}">
                    <a16:rowId xmlns:a16="http://schemas.microsoft.com/office/drawing/2014/main" val="1373459426"/>
                  </a:ext>
                </a:extLst>
              </a:tr>
              <a:tr h="264953">
                <a:tc>
                  <a:txBody>
                    <a:bodyPr/>
                    <a:lstStyle/>
                    <a:p>
                      <a:pPr algn="l" rtl="0" fontAlgn="ctr"/>
                      <a:r>
                        <a:rPr lang="en-US" sz="1100" b="0" i="0" u="none" strike="noStrike">
                          <a:solidFill>
                            <a:srgbClr val="000000"/>
                          </a:solidFill>
                          <a:effectLst/>
                          <a:latin typeface="Arial" panose="020B0604020202020204" pitchFamily="34" charset="0"/>
                        </a:rPr>
                        <a:t>SHF</a:t>
                      </a:r>
                    </a:p>
                  </a:txBody>
                  <a:tcPr marL="0" marR="0" marT="0" marB="0" anchor="ctr"/>
                </a:tc>
                <a:tc>
                  <a:txBody>
                    <a:bodyPr/>
                    <a:lstStyle/>
                    <a:p>
                      <a:pPr algn="l" rtl="0" fontAlgn="ctr"/>
                      <a:r>
                        <a:rPr lang="en-US" sz="1100" b="0" i="0" u="none" strike="noStrike" dirty="0">
                          <a:solidFill>
                            <a:srgbClr val="000000"/>
                          </a:solidFill>
                          <a:effectLst/>
                          <a:latin typeface="Arial" panose="020B0604020202020204" pitchFamily="34" charset="0"/>
                        </a:rPr>
                        <a:t>Small Holder Farmer</a:t>
                      </a:r>
                    </a:p>
                  </a:txBody>
                  <a:tcPr marL="0" marR="0" marT="0" marB="0" anchor="ctr"/>
                </a:tc>
                <a:extLst>
                  <a:ext uri="{0D108BD9-81ED-4DB2-BD59-A6C34878D82A}">
                    <a16:rowId xmlns:a16="http://schemas.microsoft.com/office/drawing/2014/main" val="1328806406"/>
                  </a:ext>
                </a:extLst>
              </a:tr>
              <a:tr h="264953">
                <a:tc>
                  <a:txBody>
                    <a:bodyPr/>
                    <a:lstStyle/>
                    <a:p>
                      <a:pPr algn="l" rtl="0" fontAlgn="ctr"/>
                      <a:r>
                        <a:rPr lang="en-US" sz="1100" b="0" i="0" u="none" strike="noStrike">
                          <a:solidFill>
                            <a:srgbClr val="000000"/>
                          </a:solidFill>
                          <a:effectLst/>
                          <a:latin typeface="Arial" panose="020B0604020202020204" pitchFamily="34" charset="0"/>
                        </a:rPr>
                        <a:t>TA</a:t>
                      </a:r>
                    </a:p>
                  </a:txBody>
                  <a:tcPr marL="0" marR="0" marT="0" marB="0" anchor="ctr"/>
                </a:tc>
                <a:tc>
                  <a:txBody>
                    <a:bodyPr/>
                    <a:lstStyle/>
                    <a:p>
                      <a:pPr algn="l" rtl="0" fontAlgn="ctr"/>
                      <a:r>
                        <a:rPr lang="en-US" sz="1100" b="0" i="0" u="none" strike="noStrike" dirty="0">
                          <a:solidFill>
                            <a:srgbClr val="000000"/>
                          </a:solidFill>
                          <a:effectLst/>
                          <a:latin typeface="Arial" panose="020B0604020202020204" pitchFamily="34" charset="0"/>
                        </a:rPr>
                        <a:t>Technical Assistance</a:t>
                      </a:r>
                    </a:p>
                  </a:txBody>
                  <a:tcPr marL="0" marR="0" marT="0" marB="0" anchor="ctr"/>
                </a:tc>
                <a:extLst>
                  <a:ext uri="{0D108BD9-81ED-4DB2-BD59-A6C34878D82A}">
                    <a16:rowId xmlns:a16="http://schemas.microsoft.com/office/drawing/2014/main" val="3426035812"/>
                  </a:ext>
                </a:extLst>
              </a:tr>
              <a:tr h="264953">
                <a:tc>
                  <a:txBody>
                    <a:bodyPr/>
                    <a:lstStyle/>
                    <a:p>
                      <a:pPr algn="l" rtl="0" fontAlgn="ctr"/>
                      <a:r>
                        <a:rPr lang="en-US" sz="1100" b="0" i="0" u="none" strike="noStrike">
                          <a:solidFill>
                            <a:srgbClr val="000000"/>
                          </a:solidFill>
                          <a:effectLst/>
                          <a:latin typeface="Arial" panose="020B0604020202020204" pitchFamily="34" charset="0"/>
                        </a:rPr>
                        <a:t>TA</a:t>
                      </a:r>
                    </a:p>
                  </a:txBody>
                  <a:tcPr marL="0" marR="0" marT="0" marB="0" anchor="ctr"/>
                </a:tc>
                <a:tc>
                  <a:txBody>
                    <a:bodyPr/>
                    <a:lstStyle/>
                    <a:p>
                      <a:pPr algn="l" rtl="0" fontAlgn="ctr"/>
                      <a:r>
                        <a:rPr lang="en-US" sz="1100" b="0" i="0" u="none" strike="noStrike" dirty="0">
                          <a:solidFill>
                            <a:srgbClr val="000000"/>
                          </a:solidFill>
                          <a:effectLst/>
                          <a:latin typeface="Arial" panose="020B0604020202020204" pitchFamily="34" charset="0"/>
                        </a:rPr>
                        <a:t>Technical Assistance</a:t>
                      </a:r>
                    </a:p>
                  </a:txBody>
                  <a:tcPr marL="0" marR="0" marT="0" marB="0" anchor="ctr"/>
                </a:tc>
                <a:extLst>
                  <a:ext uri="{0D108BD9-81ED-4DB2-BD59-A6C34878D82A}">
                    <a16:rowId xmlns:a16="http://schemas.microsoft.com/office/drawing/2014/main" val="1567054841"/>
                  </a:ext>
                </a:extLst>
              </a:tr>
            </a:tbl>
          </a:graphicData>
        </a:graphic>
      </p:graphicFrame>
    </p:spTree>
    <p:extLst>
      <p:ext uri="{BB962C8B-B14F-4D97-AF65-F5344CB8AC3E}">
        <p14:creationId xmlns:p14="http://schemas.microsoft.com/office/powerpoint/2010/main" val="136515735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3254" name="think-cell Slide" r:id="rId5" imgW="327" imgH="327" progId="TCLayout.ActiveDocument.1">
                  <p:embed/>
                </p:oleObj>
              </mc:Choice>
              <mc:Fallback>
                <p:oleObj name="think-cell Slide" r:id="rId5" imgW="327" imgH="32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200" b="1" dirty="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450741" y="134054"/>
            <a:ext cx="7852431" cy="582389"/>
          </a:xfrm>
        </p:spPr>
        <p:txBody>
          <a:bodyPr lIns="0" tIns="0" rIns="0" bIns="0" anchor="b"/>
          <a:lstStyle/>
          <a:p>
            <a:r>
              <a:rPr lang="en-US" dirty="0"/>
              <a:t>AGRA’s Approach in </a:t>
            </a:r>
            <a:r>
              <a:rPr lang="en-US" dirty="0" smtClean="0"/>
              <a:t>Ethiopia is </a:t>
            </a:r>
            <a:r>
              <a:rPr lang="en-US" dirty="0"/>
              <a:t>Aligned to the National Agriculture Strategy…</a:t>
            </a:r>
          </a:p>
        </p:txBody>
      </p:sp>
      <p:sp>
        <p:nvSpPr>
          <p:cNvPr id="13" name="TextBox 12"/>
          <p:cNvSpPr txBox="1">
            <a:spLocks/>
          </p:cNvSpPr>
          <p:nvPr/>
        </p:nvSpPr>
        <p:spPr>
          <a:xfrm>
            <a:off x="450274" y="1070267"/>
            <a:ext cx="8669287" cy="642070"/>
          </a:xfrm>
          <a:prstGeom prst="rect">
            <a:avLst/>
          </a:prstGeom>
          <a:solidFill>
            <a:schemeClr val="bg1"/>
          </a:solidFill>
          <a:ln w="9525">
            <a:noFill/>
            <a:miter lim="800000"/>
            <a:headEnd/>
            <a:tailEnd/>
          </a:ln>
          <a:effectLst/>
        </p:spPr>
        <p:txBody>
          <a:bodyPr vert="horz" wrap="square" lIns="66470" tIns="66470" rIns="66470" bIns="66470" numCol="1" anchor="ctr"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en-GB" sz="1100" dirty="0"/>
              <a:t>Having worked in Ethiopia</a:t>
            </a:r>
            <a:r>
              <a:rPr lang="en-GB" sz="1100" dirty="0">
                <a:solidFill>
                  <a:srgbClr val="FF0000"/>
                </a:solidFill>
              </a:rPr>
              <a:t> </a:t>
            </a:r>
            <a:r>
              <a:rPr lang="en-GB" sz="1100" dirty="0"/>
              <a:t>over the last 10 years, AGRA and partners have built an asset base in technologies, partnerships and models that if scaled can have significant </a:t>
            </a:r>
            <a:r>
              <a:rPr lang="en-GB" sz="1100" dirty="0" smtClean="0"/>
              <a:t>contribution to transforming agriculture </a:t>
            </a:r>
            <a:r>
              <a:rPr lang="en-GB" sz="1100" dirty="0"/>
              <a:t>in Ethiopia.  </a:t>
            </a:r>
            <a:r>
              <a:rPr lang="en-GB" sz="1100" dirty="0" err="1"/>
              <a:t>AGRA’s</a:t>
            </a:r>
            <a:r>
              <a:rPr lang="en-GB" sz="1100" dirty="0"/>
              <a:t> new strategy seeks to bring all of these elements together with the following vision For </a:t>
            </a:r>
            <a:r>
              <a:rPr lang="en-GB" sz="1100" dirty="0" smtClean="0"/>
              <a:t>Ethiopia in alignment with </a:t>
            </a:r>
            <a:r>
              <a:rPr lang="en-GB" sz="1100" dirty="0" err="1" smtClean="0"/>
              <a:t>GoE’s</a:t>
            </a:r>
            <a:r>
              <a:rPr lang="en-GB" sz="1100" dirty="0" smtClean="0"/>
              <a:t> priorities</a:t>
            </a:r>
            <a:endParaRPr lang="en-US" sz="1100" dirty="0">
              <a:cs typeface="Times New Roman" panose="02020603050405020304" pitchFamily="18" charset="0"/>
            </a:endParaRPr>
          </a:p>
        </p:txBody>
      </p:sp>
      <p:grpSp>
        <p:nvGrpSpPr>
          <p:cNvPr id="12" name="Group 11"/>
          <p:cNvGrpSpPr/>
          <p:nvPr/>
        </p:nvGrpSpPr>
        <p:grpSpPr>
          <a:xfrm>
            <a:off x="450272" y="2114952"/>
            <a:ext cx="8810393" cy="2866952"/>
            <a:chOff x="450272" y="1827754"/>
            <a:chExt cx="8810393" cy="3280274"/>
          </a:xfrm>
        </p:grpSpPr>
        <p:sp>
          <p:nvSpPr>
            <p:cNvPr id="3" name="Rounded Rectangle 2"/>
            <p:cNvSpPr/>
            <p:nvPr/>
          </p:nvSpPr>
          <p:spPr>
            <a:xfrm>
              <a:off x="450272" y="1827755"/>
              <a:ext cx="3416712" cy="3280273"/>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defTabSz="779082">
                <a:lnSpc>
                  <a:spcPct val="107000"/>
                </a:lnSpc>
                <a:defRPr/>
              </a:pPr>
              <a:r>
                <a:rPr lang="en-US" altLang="en-US" sz="1100" b="1" dirty="0">
                  <a:solidFill>
                    <a:schemeClr val="tx1"/>
                  </a:solidFill>
                  <a:ea typeface="Calibri" panose="020F0502020204030204" pitchFamily="34" charset="0"/>
                  <a:cs typeface="Arial" panose="020B0604020202020204" pitchFamily="34" charset="0"/>
                </a:rPr>
                <a:t>Ethiopia’s Vision for Agriculture Development</a:t>
              </a:r>
            </a:p>
            <a:p>
              <a:pPr defTabSz="843984"/>
              <a:r>
                <a:rPr lang="en-US" sz="1100" dirty="0">
                  <a:cs typeface="Times New Roman" panose="02020603050405020304" pitchFamily="18" charset="0"/>
                </a:rPr>
                <a:t>Ethiopia’s GTP aims to bring about systemic changes in input delivery systems, structured market systems, access to finance and improving the enabling environment to effect sustainable productivity gains on major staple food </a:t>
              </a:r>
              <a:r>
                <a:rPr lang="en-US" sz="1100" dirty="0" smtClean="0">
                  <a:cs typeface="Times New Roman" panose="02020603050405020304" pitchFamily="18" charset="0"/>
                </a:rPr>
                <a:t>crops by commercializing agriculture and increasing private sector investment.</a:t>
              </a:r>
              <a:endParaRPr lang="en-US" sz="1100" dirty="0">
                <a:cs typeface="Times New Roman" panose="02020603050405020304" pitchFamily="18" charset="0"/>
              </a:endParaRPr>
            </a:p>
            <a:p>
              <a:pPr marL="171450" indent="-171450" defTabSz="843984">
                <a:buFont typeface="Arial" panose="020B0604020202020204" pitchFamily="34" charset="0"/>
                <a:buChar char="•"/>
              </a:pPr>
              <a:r>
                <a:rPr lang="en-US" sz="1100" b="1" dirty="0">
                  <a:solidFill>
                    <a:schemeClr val="tx1"/>
                  </a:solidFill>
                </a:rPr>
                <a:t>AMHARA</a:t>
              </a:r>
              <a:r>
                <a:rPr lang="en-US" sz="1100" dirty="0">
                  <a:solidFill>
                    <a:schemeClr val="tx1"/>
                  </a:solidFill>
                </a:rPr>
                <a:t>: </a:t>
              </a:r>
              <a:r>
                <a:rPr lang="en-US" sz="1100" dirty="0" err="1">
                  <a:solidFill>
                    <a:schemeClr val="tx1"/>
                  </a:solidFill>
                  <a:cs typeface="Times New Roman" panose="02020603050405020304" pitchFamily="18" charset="0"/>
                </a:rPr>
                <a:t>Teff</a:t>
              </a:r>
              <a:r>
                <a:rPr lang="en-US" sz="1100" dirty="0">
                  <a:solidFill>
                    <a:schemeClr val="tx1"/>
                  </a:solidFill>
                  <a:cs typeface="Times New Roman" panose="02020603050405020304" pitchFamily="18" charset="0"/>
                </a:rPr>
                <a:t>, Wheat, Maize and Rice</a:t>
              </a:r>
            </a:p>
            <a:p>
              <a:pPr marL="171450" indent="-171450" defTabSz="843984">
                <a:buFont typeface="Arial" panose="020B0604020202020204" pitchFamily="34" charset="0"/>
                <a:buChar char="•"/>
              </a:pPr>
              <a:r>
                <a:rPr lang="en-US" sz="1100" b="1" dirty="0">
                  <a:solidFill>
                    <a:schemeClr val="tx1"/>
                  </a:solidFill>
                </a:rPr>
                <a:t>OROMIA</a:t>
              </a:r>
              <a:r>
                <a:rPr lang="en-US" sz="1100" dirty="0">
                  <a:solidFill>
                    <a:schemeClr val="tx1"/>
                  </a:solidFill>
                </a:rPr>
                <a:t>: </a:t>
              </a:r>
              <a:r>
                <a:rPr lang="en-US" sz="1100" dirty="0">
                  <a:solidFill>
                    <a:schemeClr val="tx1"/>
                  </a:solidFill>
                  <a:cs typeface="Times New Roman" panose="02020603050405020304" pitchFamily="18" charset="0"/>
                </a:rPr>
                <a:t>maize, Wheat, </a:t>
              </a:r>
              <a:r>
                <a:rPr lang="en-US" sz="1100" dirty="0" err="1">
                  <a:solidFill>
                    <a:schemeClr val="tx1"/>
                  </a:solidFill>
                  <a:cs typeface="Times New Roman" panose="02020603050405020304" pitchFamily="18" charset="0"/>
                </a:rPr>
                <a:t>Teff</a:t>
              </a:r>
              <a:r>
                <a:rPr lang="en-US" sz="1100" dirty="0">
                  <a:solidFill>
                    <a:schemeClr val="tx1"/>
                  </a:solidFill>
                  <a:cs typeface="Times New Roman" panose="02020603050405020304" pitchFamily="18" charset="0"/>
                </a:rPr>
                <a:t>, Barley, Fruits and Cut Flowers, Sesame</a:t>
              </a:r>
            </a:p>
            <a:p>
              <a:pPr marL="171450" indent="-171450" defTabSz="843984">
                <a:buFont typeface="Arial" panose="020B0604020202020204" pitchFamily="34" charset="0"/>
                <a:buChar char="•"/>
              </a:pPr>
              <a:r>
                <a:rPr lang="en-US" sz="1100" b="1" dirty="0">
                  <a:solidFill>
                    <a:schemeClr val="tx1"/>
                  </a:solidFill>
                </a:rPr>
                <a:t>TIGRAY: </a:t>
              </a:r>
              <a:r>
                <a:rPr lang="en-US" sz="1100" dirty="0">
                  <a:solidFill>
                    <a:schemeClr val="tx1"/>
                  </a:solidFill>
                  <a:cs typeface="Times New Roman" panose="02020603050405020304" pitchFamily="18" charset="0"/>
                </a:rPr>
                <a:t>Maize, Sorghum, </a:t>
              </a:r>
              <a:r>
                <a:rPr lang="en-US" sz="1100" dirty="0" err="1">
                  <a:solidFill>
                    <a:schemeClr val="tx1"/>
                  </a:solidFill>
                  <a:cs typeface="Times New Roman" panose="02020603050405020304" pitchFamily="18" charset="0"/>
                </a:rPr>
                <a:t>Teff</a:t>
              </a:r>
              <a:r>
                <a:rPr lang="en-US" sz="1100" dirty="0">
                  <a:solidFill>
                    <a:schemeClr val="tx1"/>
                  </a:solidFill>
                  <a:cs typeface="Times New Roman" panose="02020603050405020304" pitchFamily="18" charset="0"/>
                </a:rPr>
                <a:t>, Sesame</a:t>
              </a:r>
            </a:p>
            <a:p>
              <a:pPr marL="171450" indent="-171450" defTabSz="843984">
                <a:buFont typeface="Arial" panose="020B0604020202020204" pitchFamily="34" charset="0"/>
                <a:buChar char="•"/>
              </a:pPr>
              <a:r>
                <a:rPr lang="en-US" sz="1100" b="1" dirty="0">
                  <a:solidFill>
                    <a:schemeClr val="tx1"/>
                  </a:solidFill>
                </a:rPr>
                <a:t>SNNP: </a:t>
              </a:r>
              <a:r>
                <a:rPr lang="en-US" sz="1100" dirty="0">
                  <a:solidFill>
                    <a:schemeClr val="tx1"/>
                  </a:solidFill>
                  <a:cs typeface="Times New Roman" panose="02020603050405020304" pitchFamily="18" charset="0"/>
                </a:rPr>
                <a:t>Maize, Wheat, </a:t>
              </a:r>
              <a:r>
                <a:rPr lang="en-US" sz="1100" dirty="0" err="1">
                  <a:solidFill>
                    <a:schemeClr val="tx1"/>
                  </a:solidFill>
                  <a:cs typeface="Times New Roman" panose="02020603050405020304" pitchFamily="18" charset="0"/>
                </a:rPr>
                <a:t>Teff</a:t>
              </a:r>
              <a:r>
                <a:rPr lang="en-US" sz="1100" dirty="0">
                  <a:solidFill>
                    <a:schemeClr val="tx1"/>
                  </a:solidFill>
                  <a:cs typeface="Times New Roman" panose="02020603050405020304" pitchFamily="18" charset="0"/>
                </a:rPr>
                <a:t>, Haricot Beans</a:t>
              </a:r>
            </a:p>
            <a:p>
              <a:pPr marL="171450" indent="-171450" defTabSz="843984">
                <a:buFont typeface="Arial" panose="020B0604020202020204" pitchFamily="34" charset="0"/>
                <a:buChar char="•"/>
              </a:pPr>
              <a:endParaRPr lang="en-US" sz="1100" dirty="0">
                <a:solidFill>
                  <a:srgbClr val="C00000"/>
                </a:solidFill>
              </a:endParaRPr>
            </a:p>
          </p:txBody>
        </p:sp>
        <p:sp>
          <p:nvSpPr>
            <p:cNvPr id="8" name="Rounded Rectangle 7"/>
            <p:cNvSpPr/>
            <p:nvPr/>
          </p:nvSpPr>
          <p:spPr>
            <a:xfrm>
              <a:off x="5328745" y="1827754"/>
              <a:ext cx="3931920" cy="3280274"/>
            </a:xfrm>
            <a:prstGeom prst="roundRect">
              <a:avLst/>
            </a:prstGeom>
            <a:ln/>
          </p:spPr>
          <p:style>
            <a:lnRef idx="2">
              <a:schemeClr val="accent6"/>
            </a:lnRef>
            <a:fillRef idx="1">
              <a:schemeClr val="lt1"/>
            </a:fillRef>
            <a:effectRef idx="0">
              <a:schemeClr val="accent6"/>
            </a:effectRef>
            <a:fontRef idx="minor">
              <a:schemeClr val="dk1"/>
            </a:fontRef>
          </p:style>
          <p:txBody>
            <a:bodyPr rtlCol="0" anchor="ctr"/>
            <a:lstStyle/>
            <a:p>
              <a:pPr defTabSz="844083" fontAlgn="base">
                <a:defRPr/>
              </a:pPr>
              <a:r>
                <a:rPr lang="en-US" altLang="en-US" sz="1100" b="1" dirty="0">
                  <a:solidFill>
                    <a:schemeClr val="tx1"/>
                  </a:solidFill>
                  <a:ea typeface="Calibri" panose="020F0502020204030204" pitchFamily="34" charset="0"/>
                  <a:cs typeface="Arial" panose="020B0604020202020204" pitchFamily="34" charset="0"/>
                </a:rPr>
                <a:t>AGRA’s goals in </a:t>
              </a:r>
              <a:r>
                <a:rPr lang="en-US" altLang="en-US" sz="1100" b="1" dirty="0" smtClean="0">
                  <a:solidFill>
                    <a:schemeClr val="tx1"/>
                  </a:solidFill>
                  <a:ea typeface="Calibri" panose="020F0502020204030204" pitchFamily="34" charset="0"/>
                  <a:cs typeface="Arial" panose="020B0604020202020204" pitchFamily="34" charset="0"/>
                </a:rPr>
                <a:t>Ethiopia</a:t>
              </a:r>
              <a:endParaRPr lang="en-US" altLang="en-US" sz="1100" b="1" dirty="0">
                <a:solidFill>
                  <a:schemeClr val="tx1"/>
                </a:solidFill>
                <a:ea typeface="Calibri" panose="020F0502020204030204" pitchFamily="34" charset="0"/>
                <a:cs typeface="Arial" panose="020B0604020202020204" pitchFamily="34" charset="0"/>
              </a:endParaRPr>
            </a:p>
            <a:p>
              <a:pPr defTabSz="844083" fontAlgn="base">
                <a:defRPr/>
              </a:pPr>
              <a:r>
                <a:rPr lang="en-US" sz="1100" dirty="0">
                  <a:solidFill>
                    <a:schemeClr val="tx1"/>
                  </a:solidFill>
                </a:rPr>
                <a:t>catalyze and sustain inclusive agriculture transformation in Ethiopia by contributing to: increasing incomes and improving food security for 4.7 million smallholder households and to support Ethiopia on a pathway to attain and sustain an agriculture transformation. </a:t>
              </a:r>
              <a:r>
                <a:rPr lang="en-US" sz="1100" dirty="0" smtClean="0">
                  <a:cs typeface="Arial" panose="020B0604020202020204" pitchFamily="34" charset="0"/>
                </a:rPr>
                <a:t>F</a:t>
              </a:r>
              <a:r>
                <a:rPr lang="en-US" sz="1100" dirty="0" smtClean="0">
                  <a:solidFill>
                    <a:schemeClr val="tx1"/>
                  </a:solidFill>
                  <a:cs typeface="Arial" panose="020B0604020202020204" pitchFamily="34" charset="0"/>
                </a:rPr>
                <a:t>ocus crops:</a:t>
              </a:r>
            </a:p>
            <a:p>
              <a:pPr marL="171450" indent="-171450" defTabSz="843984">
                <a:buFont typeface="Arial" panose="020B0604020202020204" pitchFamily="34" charset="0"/>
                <a:buChar char="•"/>
              </a:pPr>
              <a:r>
                <a:rPr lang="en-US" sz="1100" b="1" dirty="0">
                  <a:solidFill>
                    <a:schemeClr val="tx1"/>
                  </a:solidFill>
                </a:rPr>
                <a:t>AMHARA</a:t>
              </a:r>
              <a:r>
                <a:rPr lang="en-US" sz="1100" dirty="0">
                  <a:solidFill>
                    <a:schemeClr val="tx1"/>
                  </a:solidFill>
                </a:rPr>
                <a:t>: </a:t>
              </a:r>
              <a:r>
                <a:rPr lang="en-US" sz="1100" dirty="0" err="1">
                  <a:solidFill>
                    <a:schemeClr val="tx1"/>
                  </a:solidFill>
                  <a:cs typeface="Times New Roman" panose="02020603050405020304" pitchFamily="18" charset="0"/>
                </a:rPr>
                <a:t>Teff</a:t>
              </a:r>
              <a:r>
                <a:rPr lang="en-US" sz="1100" dirty="0">
                  <a:solidFill>
                    <a:schemeClr val="tx1"/>
                  </a:solidFill>
                  <a:cs typeface="Times New Roman" panose="02020603050405020304" pitchFamily="18" charset="0"/>
                </a:rPr>
                <a:t>, Wheat, </a:t>
              </a:r>
              <a:r>
                <a:rPr lang="en-US" sz="1100" dirty="0" smtClean="0">
                  <a:solidFill>
                    <a:schemeClr val="tx1"/>
                  </a:solidFill>
                  <a:cs typeface="Times New Roman" panose="02020603050405020304" pitchFamily="18" charset="0"/>
                </a:rPr>
                <a:t>Maize</a:t>
              </a:r>
              <a:endParaRPr lang="en-US" sz="1100" dirty="0">
                <a:solidFill>
                  <a:schemeClr val="tx1"/>
                </a:solidFill>
                <a:cs typeface="Times New Roman" panose="02020603050405020304" pitchFamily="18" charset="0"/>
              </a:endParaRPr>
            </a:p>
            <a:p>
              <a:pPr marL="171450" indent="-171450" defTabSz="843984">
                <a:buFont typeface="Arial" panose="020B0604020202020204" pitchFamily="34" charset="0"/>
                <a:buChar char="•"/>
              </a:pPr>
              <a:r>
                <a:rPr lang="en-US" sz="1100" b="1" dirty="0">
                  <a:solidFill>
                    <a:schemeClr val="tx1"/>
                  </a:solidFill>
                </a:rPr>
                <a:t>OROMIA</a:t>
              </a:r>
              <a:r>
                <a:rPr lang="en-US" sz="1100" dirty="0">
                  <a:solidFill>
                    <a:schemeClr val="tx1"/>
                  </a:solidFill>
                </a:rPr>
                <a:t>: </a:t>
              </a:r>
              <a:r>
                <a:rPr lang="en-US" sz="1100" dirty="0">
                  <a:solidFill>
                    <a:schemeClr val="tx1"/>
                  </a:solidFill>
                  <a:cs typeface="Times New Roman" panose="02020603050405020304" pitchFamily="18" charset="0"/>
                </a:rPr>
                <a:t>maize, Wheat, </a:t>
              </a:r>
              <a:r>
                <a:rPr lang="en-US" sz="1100" dirty="0" err="1" smtClean="0">
                  <a:solidFill>
                    <a:schemeClr val="tx1"/>
                  </a:solidFill>
                  <a:cs typeface="Times New Roman" panose="02020603050405020304" pitchFamily="18" charset="0"/>
                </a:rPr>
                <a:t>Teff</a:t>
              </a:r>
              <a:endParaRPr lang="en-US" sz="1100" dirty="0" smtClean="0">
                <a:solidFill>
                  <a:schemeClr val="tx1"/>
                </a:solidFill>
                <a:cs typeface="Times New Roman" panose="02020603050405020304" pitchFamily="18" charset="0"/>
              </a:endParaRPr>
            </a:p>
            <a:p>
              <a:pPr marL="171450" indent="-171450" defTabSz="843984">
                <a:buFont typeface="Arial" panose="020B0604020202020204" pitchFamily="34" charset="0"/>
                <a:buChar char="•"/>
              </a:pPr>
              <a:r>
                <a:rPr lang="en-US" sz="1100" b="1" dirty="0" smtClean="0">
                  <a:solidFill>
                    <a:schemeClr val="tx1"/>
                  </a:solidFill>
                </a:rPr>
                <a:t>TIGRAY</a:t>
              </a:r>
              <a:r>
                <a:rPr lang="en-US" sz="1100" b="1" dirty="0">
                  <a:solidFill>
                    <a:schemeClr val="tx1"/>
                  </a:solidFill>
                </a:rPr>
                <a:t>: </a:t>
              </a:r>
              <a:r>
                <a:rPr lang="en-US" sz="1100" dirty="0">
                  <a:solidFill>
                    <a:schemeClr val="tx1"/>
                  </a:solidFill>
                  <a:cs typeface="Times New Roman" panose="02020603050405020304" pitchFamily="18" charset="0"/>
                </a:rPr>
                <a:t>Maize, Sorghum, </a:t>
              </a:r>
              <a:r>
                <a:rPr lang="en-US" sz="1100" dirty="0" err="1" smtClean="0">
                  <a:solidFill>
                    <a:schemeClr val="tx1"/>
                  </a:solidFill>
                  <a:cs typeface="Times New Roman" panose="02020603050405020304" pitchFamily="18" charset="0"/>
                </a:rPr>
                <a:t>Teff</a:t>
              </a:r>
              <a:endParaRPr lang="en-US" sz="1100" dirty="0" smtClean="0">
                <a:solidFill>
                  <a:schemeClr val="tx1"/>
                </a:solidFill>
                <a:cs typeface="Times New Roman" panose="02020603050405020304" pitchFamily="18" charset="0"/>
              </a:endParaRPr>
            </a:p>
            <a:p>
              <a:pPr defTabSz="843984"/>
              <a:r>
                <a:rPr lang="en-US" sz="1100" b="1" dirty="0" smtClean="0">
                  <a:solidFill>
                    <a:schemeClr val="tx1"/>
                  </a:solidFill>
                  <a:cs typeface="Times New Roman" panose="02020603050405020304" pitchFamily="18" charset="0"/>
                </a:rPr>
                <a:t>Other focus areas:</a:t>
              </a:r>
            </a:p>
            <a:p>
              <a:pPr marL="171450" indent="-171450" defTabSz="843984">
                <a:buFont typeface="Arial" panose="020B0604020202020204" pitchFamily="34" charset="0"/>
                <a:buChar char="•"/>
              </a:pPr>
              <a:r>
                <a:rPr lang="en-US" sz="1100" dirty="0" smtClean="0"/>
                <a:t>Extension, Inputs and Marketing Systems</a:t>
              </a:r>
            </a:p>
            <a:p>
              <a:pPr marL="171450" indent="-171450" defTabSz="843984">
                <a:buFont typeface="Arial" panose="020B0604020202020204" pitchFamily="34" charset="0"/>
                <a:buChar char="•"/>
              </a:pPr>
              <a:r>
                <a:rPr lang="en-US" sz="1100" dirty="0" smtClean="0"/>
                <a:t>Access to finance</a:t>
              </a:r>
            </a:p>
            <a:p>
              <a:pPr marL="171450" indent="-171450" defTabSz="843984">
                <a:buFont typeface="Arial" panose="020B0604020202020204" pitchFamily="34" charset="0"/>
                <a:buChar char="•"/>
              </a:pPr>
              <a:r>
                <a:rPr lang="en-US" sz="1100" dirty="0"/>
                <a:t>GTP </a:t>
              </a:r>
              <a:r>
                <a:rPr lang="en-US" sz="1100" dirty="0" smtClean="0"/>
                <a:t>II Implementation support</a:t>
              </a:r>
              <a:endParaRPr lang="en-US" sz="1100" dirty="0">
                <a:solidFill>
                  <a:schemeClr val="tx1"/>
                </a:solidFill>
                <a:cs typeface="Times New Roman" panose="02020603050405020304" pitchFamily="18" charset="0"/>
              </a:endParaRPr>
            </a:p>
          </p:txBody>
        </p:sp>
        <p:grpSp>
          <p:nvGrpSpPr>
            <p:cNvPr id="6" name="Group 5"/>
            <p:cNvGrpSpPr/>
            <p:nvPr/>
          </p:nvGrpSpPr>
          <p:grpSpPr>
            <a:xfrm>
              <a:off x="4298730" y="1827754"/>
              <a:ext cx="451947" cy="3122792"/>
              <a:chOff x="4650824" y="1827753"/>
              <a:chExt cx="451947" cy="3042746"/>
            </a:xfrm>
          </p:grpSpPr>
          <p:sp>
            <p:nvSpPr>
              <p:cNvPr id="5" name="Isosceles Triangle 4"/>
              <p:cNvSpPr/>
              <p:nvPr/>
            </p:nvSpPr>
            <p:spPr>
              <a:xfrm rot="16200000">
                <a:off x="4461531" y="2017048"/>
                <a:ext cx="830536" cy="451945"/>
              </a:xfrm>
              <a:prstGeom prst="triangle">
                <a:avLst>
                  <a:gd name="adj" fmla="val 47534"/>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sz="1100" dirty="0"/>
              </a:p>
            </p:txBody>
          </p:sp>
          <p:sp>
            <p:nvSpPr>
              <p:cNvPr id="11" name="Isosceles Triangle 10"/>
              <p:cNvSpPr/>
              <p:nvPr/>
            </p:nvSpPr>
            <p:spPr>
              <a:xfrm rot="5400000" flipH="1">
                <a:off x="4405629" y="4173359"/>
                <a:ext cx="942335" cy="451945"/>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grpSp>
      </p:grpSp>
      <p:sp>
        <p:nvSpPr>
          <p:cNvPr id="14" name="Isosceles Triangle 13"/>
          <p:cNvSpPr/>
          <p:nvPr/>
        </p:nvSpPr>
        <p:spPr>
          <a:xfrm rot="10800000" flipH="1">
            <a:off x="2359571" y="5079921"/>
            <a:ext cx="4330262" cy="394687"/>
          </a:xfrm>
          <a:prstGeom prst="triangle">
            <a:avLst/>
          </a:prstGeom>
          <a:solidFill>
            <a:srgbClr val="00B050"/>
          </a:solidFill>
          <a:ln w="3175">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sp>
        <p:nvSpPr>
          <p:cNvPr id="9" name="Rounded Rectangle 8"/>
          <p:cNvSpPr/>
          <p:nvPr/>
        </p:nvSpPr>
        <p:spPr>
          <a:xfrm>
            <a:off x="367863" y="5573179"/>
            <a:ext cx="8892802" cy="654339"/>
          </a:xfrm>
          <a:prstGeom prst="roundRect">
            <a:avLst/>
          </a:prstGeom>
          <a:solidFill>
            <a:srgbClr val="00B050"/>
          </a:solidFill>
        </p:spPr>
        <p:style>
          <a:lnRef idx="3">
            <a:schemeClr val="lt1"/>
          </a:lnRef>
          <a:fillRef idx="1">
            <a:schemeClr val="accent6"/>
          </a:fillRef>
          <a:effectRef idx="1">
            <a:schemeClr val="accent6"/>
          </a:effectRef>
          <a:fontRef idx="minor">
            <a:schemeClr val="lt1"/>
          </a:fontRef>
        </p:style>
        <p:txBody>
          <a:bodyPr rtlCol="0" anchor="ctr"/>
          <a:lstStyle/>
          <a:p>
            <a:pPr algn="ctr"/>
            <a:r>
              <a:rPr lang="en-US" altLang="en-US" sz="1200" dirty="0"/>
              <a:t>Ethiopia </a:t>
            </a:r>
            <a:r>
              <a:rPr lang="en-US" sz="1200" dirty="0"/>
              <a:t>/AGRA Collaboration </a:t>
            </a:r>
          </a:p>
          <a:p>
            <a:pPr algn="ctr"/>
            <a:r>
              <a:rPr lang="en-US" altLang="en-US" sz="1200" dirty="0"/>
              <a:t>Ethiopia </a:t>
            </a:r>
            <a:r>
              <a:rPr lang="en-US" sz="1200" dirty="0"/>
              <a:t>Agriculture </a:t>
            </a:r>
            <a:r>
              <a:rPr lang="en-US" sz="1200" dirty="0" smtClean="0"/>
              <a:t>Transformation</a:t>
            </a:r>
          </a:p>
          <a:p>
            <a:pPr algn="ctr"/>
            <a:r>
              <a:rPr lang="en-US" sz="1200" dirty="0" smtClean="0"/>
              <a:t>Improved Livelihoods for SHF’s</a:t>
            </a:r>
            <a:endParaRPr lang="en-US" sz="1200" dirty="0"/>
          </a:p>
        </p:txBody>
      </p:sp>
      <p:sp>
        <p:nvSpPr>
          <p:cNvPr id="10" name="TextBox 9"/>
          <p:cNvSpPr txBox="1"/>
          <p:nvPr/>
        </p:nvSpPr>
        <p:spPr>
          <a:xfrm>
            <a:off x="4045660" y="2941511"/>
            <a:ext cx="1104409" cy="1015663"/>
          </a:xfrm>
          <a:prstGeom prst="rect">
            <a:avLst/>
          </a:prstGeom>
          <a:noFill/>
        </p:spPr>
        <p:txBody>
          <a:bodyPr wrap="square" rtlCol="0">
            <a:spAutoFit/>
          </a:bodyPr>
          <a:lstStyle/>
          <a:p>
            <a:r>
              <a:rPr lang="en-US" sz="1200" dirty="0" smtClean="0"/>
              <a:t>Ethiopia Government Vison and AGRA Goal Alignment </a:t>
            </a:r>
            <a:endParaRPr lang="en-US" sz="1200" dirty="0"/>
          </a:p>
        </p:txBody>
      </p:sp>
    </p:spTree>
    <p:extLst>
      <p:ext uri="{BB962C8B-B14F-4D97-AF65-F5344CB8AC3E}">
        <p14:creationId xmlns:p14="http://schemas.microsoft.com/office/powerpoint/2010/main" val="96774147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331"/>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641" name="think-cell Slide" r:id="rId5" imgW="440" imgH="440" progId="TCLayout.ActiveDocument.1">
                  <p:embed/>
                </p:oleObj>
              </mc:Choice>
              <mc:Fallback>
                <p:oleObj name="think-cell Slide" r:id="rId5" imgW="440" imgH="440"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332" name="Google Shape;332;p46"/>
          <p:cNvPicPr preferRelativeResize="0"/>
          <p:nvPr/>
        </p:nvPicPr>
        <p:blipFill rotWithShape="1">
          <a:blip r:embed="rId7">
            <a:alphaModFix/>
          </a:blip>
          <a:srcRect/>
          <a:stretch/>
        </p:blipFill>
        <p:spPr>
          <a:xfrm>
            <a:off x="1588" y="1588"/>
            <a:ext cx="1588" cy="1588"/>
          </a:xfrm>
          <a:prstGeom prst="rect">
            <a:avLst/>
          </a:prstGeom>
          <a:noFill/>
          <a:ln>
            <a:noFill/>
          </a:ln>
        </p:spPr>
      </p:pic>
      <p:sp>
        <p:nvSpPr>
          <p:cNvPr id="333" name="Google Shape;333;p46"/>
          <p:cNvSpPr txBox="1">
            <a:spLocks noGrp="1"/>
          </p:cNvSpPr>
          <p:nvPr>
            <p:ph type="title"/>
          </p:nvPr>
        </p:nvSpPr>
        <p:spPr>
          <a:xfrm>
            <a:off x="279400" y="134054"/>
            <a:ext cx="8812047" cy="582389"/>
          </a:xfrm>
          <a:prstGeom prst="rect">
            <a:avLst/>
          </a:prstGeom>
          <a:noFill/>
          <a:ln>
            <a:noFill/>
          </a:ln>
        </p:spPr>
        <p:txBody>
          <a:bodyPr spcFirstLastPara="1" wrap="square" lIns="0" tIns="0" rIns="0" bIns="0" anchor="b" anchorCtr="0"/>
          <a:lstStyle/>
          <a:p>
            <a:pPr defTabSz="914395"/>
            <a:r>
              <a:rPr lang="en-US" dirty="0"/>
              <a:t>AGRA will continue partnering with public and private entities to catalyze agricultural </a:t>
            </a:r>
            <a:r>
              <a:rPr lang="en-US"/>
              <a:t>transformation </a:t>
            </a:r>
            <a:endParaRPr lang="en-US" dirty="0"/>
          </a:p>
        </p:txBody>
      </p:sp>
      <p:cxnSp>
        <p:nvCxnSpPr>
          <p:cNvPr id="334" name="Google Shape;334;p46"/>
          <p:cNvCxnSpPr/>
          <p:nvPr/>
        </p:nvCxnSpPr>
        <p:spPr>
          <a:xfrm>
            <a:off x="234748" y="1511502"/>
            <a:ext cx="9254756" cy="0"/>
          </a:xfrm>
          <a:prstGeom prst="straightConnector1">
            <a:avLst/>
          </a:prstGeom>
          <a:noFill/>
          <a:ln w="9525" cap="flat" cmpd="sng">
            <a:solidFill>
              <a:schemeClr val="dk1"/>
            </a:solidFill>
            <a:prstDash val="solid"/>
            <a:miter lim="800000"/>
            <a:headEnd type="none" w="sm" len="sm"/>
            <a:tailEnd type="none" w="sm" len="sm"/>
          </a:ln>
        </p:spPr>
      </p:cxnSp>
      <p:sp>
        <p:nvSpPr>
          <p:cNvPr id="335" name="Google Shape;335;p46"/>
          <p:cNvSpPr/>
          <p:nvPr/>
        </p:nvSpPr>
        <p:spPr>
          <a:xfrm>
            <a:off x="254287" y="1021684"/>
            <a:ext cx="9254756" cy="415107"/>
          </a:xfrm>
          <a:prstGeom prst="rect">
            <a:avLst/>
          </a:prstGeom>
          <a:solidFill>
            <a:srgbClr val="C4E0B2"/>
          </a:solidFill>
          <a:ln w="9525" cap="flat" cmpd="sng">
            <a:solidFill>
              <a:srgbClr val="A8D08C"/>
            </a:solidFill>
            <a:prstDash val="solid"/>
            <a:miter lim="800000"/>
            <a:headEnd type="none" w="sm" len="sm"/>
            <a:tailEnd type="none" w="sm" len="sm"/>
          </a:ln>
        </p:spPr>
        <p:txBody>
          <a:bodyPr spcFirstLastPara="1" wrap="square" lIns="91425" tIns="45700" rIns="91425" bIns="45700" anchor="ctr" anchorCtr="0">
            <a:noAutofit/>
          </a:bodyPr>
          <a:lstStyle/>
          <a:p>
            <a:pPr>
              <a:spcAft>
                <a:spcPts val="554"/>
              </a:spcAft>
            </a:pPr>
            <a:r>
              <a:rPr lang="en-US" sz="1200" dirty="0">
                <a:ea typeface="MS Mincho" panose="02020609040205080304" pitchFamily="49" charset="-128"/>
                <a:cs typeface="Arial" panose="020B0604020202020204" pitchFamily="34" charset="0"/>
              </a:rPr>
              <a:t>AGRA recognizes that with </a:t>
            </a:r>
            <a:r>
              <a:rPr lang="en-US" sz="1200" dirty="0">
                <a:solidFill>
                  <a:schemeClr val="tx1"/>
                </a:solidFill>
                <a:ea typeface="MS Mincho" panose="02020609040205080304" pitchFamily="49" charset="-128"/>
                <a:cs typeface="Arial" panose="020B0604020202020204" pitchFamily="34" charset="0"/>
              </a:rPr>
              <a:t>US$ </a:t>
            </a:r>
            <a:r>
              <a:rPr lang="en-US" sz="1200" dirty="0" smtClean="0">
                <a:solidFill>
                  <a:schemeClr val="tx1"/>
                </a:solidFill>
                <a:ea typeface="MS Mincho" panose="02020609040205080304" pitchFamily="49" charset="-128"/>
                <a:cs typeface="Arial" panose="020B0604020202020204" pitchFamily="34" charset="0"/>
              </a:rPr>
              <a:t>15.3 M</a:t>
            </a:r>
            <a:r>
              <a:rPr lang="en-US" sz="1200" dirty="0">
                <a:ea typeface="MS Mincho" panose="02020609040205080304" pitchFamily="49" charset="-128"/>
                <a:cs typeface="Arial" panose="020B0604020202020204" pitchFamily="34" charset="0"/>
              </a:rPr>
              <a:t>, its investments are &lt;1% need to drive an inclusive agriculture transformation in Ethiopia </a:t>
            </a:r>
          </a:p>
        </p:txBody>
      </p:sp>
      <p:sp>
        <p:nvSpPr>
          <p:cNvPr id="337" name="Google Shape;337;p46"/>
          <p:cNvSpPr/>
          <p:nvPr/>
        </p:nvSpPr>
        <p:spPr>
          <a:xfrm>
            <a:off x="234748" y="1840454"/>
            <a:ext cx="5065834" cy="307777"/>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400" b="1" dirty="0">
                <a:solidFill>
                  <a:srgbClr val="000000"/>
                </a:solidFill>
                <a:latin typeface="+mn-lt"/>
                <a:ea typeface="Arial"/>
                <a:cs typeface="Arial"/>
                <a:sym typeface="Arial"/>
              </a:rPr>
              <a:t>Proposed expenditure and investments</a:t>
            </a:r>
            <a:r>
              <a:rPr lang="en-US" sz="1400" b="1" baseline="30000" dirty="0">
                <a:solidFill>
                  <a:srgbClr val="000000"/>
                </a:solidFill>
                <a:latin typeface="+mn-lt"/>
                <a:ea typeface="Arial"/>
                <a:cs typeface="Arial"/>
                <a:sym typeface="Arial"/>
              </a:rPr>
              <a:t>1</a:t>
            </a:r>
            <a:endParaRPr sz="1400" b="1" baseline="30000" dirty="0">
              <a:solidFill>
                <a:srgbClr val="000000"/>
              </a:solidFill>
              <a:latin typeface="+mn-lt"/>
              <a:ea typeface="Arial"/>
              <a:cs typeface="Arial"/>
              <a:sym typeface="Arial"/>
            </a:endParaRPr>
          </a:p>
        </p:txBody>
      </p:sp>
      <p:sp>
        <p:nvSpPr>
          <p:cNvPr id="336" name="Google Shape;336;p46"/>
          <p:cNvSpPr/>
          <p:nvPr/>
        </p:nvSpPr>
        <p:spPr>
          <a:xfrm>
            <a:off x="5230163" y="2350211"/>
            <a:ext cx="3644031" cy="3226574"/>
          </a:xfrm>
          <a:prstGeom prst="rect">
            <a:avLst/>
          </a:prstGeom>
          <a:noFill/>
          <a:ln>
            <a:noFill/>
          </a:ln>
        </p:spPr>
        <p:txBody>
          <a:bodyPr spcFirstLastPara="1" wrap="square" lIns="91425" tIns="45700" rIns="91425" bIns="45700" anchor="t" anchorCtr="0">
            <a:noAutofit/>
          </a:bodyPr>
          <a:lstStyle/>
          <a:p>
            <a:pPr marL="263776" indent="-263776">
              <a:spcAft>
                <a:spcPts val="554"/>
              </a:spcAft>
              <a:buFont typeface="Arial" panose="020B0604020202020204" pitchFamily="34" charset="0"/>
              <a:buChar char="•"/>
            </a:pPr>
            <a:r>
              <a:rPr lang="en-US" sz="1100" dirty="0" err="1">
                <a:ea typeface="MS Mincho" panose="02020609040205080304" pitchFamily="49" charset="-128"/>
                <a:cs typeface="Arial" panose="020B0604020202020204" pitchFamily="34" charset="0"/>
              </a:rPr>
              <a:t>AGRA’s</a:t>
            </a:r>
            <a:r>
              <a:rPr lang="en-US" sz="1100" dirty="0">
                <a:ea typeface="MS Mincho" panose="02020609040205080304" pitchFamily="49" charset="-128"/>
                <a:cs typeface="Arial" panose="020B0604020202020204" pitchFamily="34" charset="0"/>
              </a:rPr>
              <a:t> strategic vision in Ethiopia can only be achieved through strong partnerships with other players in Ethiopia</a:t>
            </a:r>
          </a:p>
          <a:p>
            <a:pPr marL="263776" indent="-263776">
              <a:spcAft>
                <a:spcPts val="554"/>
              </a:spcAft>
              <a:buFont typeface="Arial" panose="020B0604020202020204" pitchFamily="34" charset="0"/>
              <a:buChar char="•"/>
            </a:pPr>
            <a:r>
              <a:rPr lang="en-US" sz="1100" dirty="0">
                <a:ea typeface="MS Mincho" panose="02020609040205080304" pitchFamily="49" charset="-128"/>
                <a:cs typeface="Arial" panose="020B0604020202020204" pitchFamily="34" charset="0"/>
              </a:rPr>
              <a:t>AGRA will prioritize interventions that catalyze and complement funding committed by the Government and donors</a:t>
            </a:r>
          </a:p>
          <a:p>
            <a:pPr marL="263776" indent="-263776">
              <a:spcAft>
                <a:spcPts val="554"/>
              </a:spcAft>
              <a:buFont typeface="Arial" panose="020B0604020202020204" pitchFamily="34" charset="0"/>
              <a:buChar char="•"/>
            </a:pPr>
            <a:r>
              <a:rPr lang="en-US" sz="1100" dirty="0">
                <a:ea typeface="MS Mincho" panose="02020609040205080304" pitchFamily="49" charset="-128"/>
                <a:cs typeface="Arial" panose="020B0604020202020204" pitchFamily="34" charset="0"/>
              </a:rPr>
              <a:t>As such, AGRA is committed to:</a:t>
            </a:r>
          </a:p>
          <a:p>
            <a:pPr marL="685817" lvl="1" indent="-263776">
              <a:spcAft>
                <a:spcPts val="554"/>
              </a:spcAft>
              <a:buFont typeface="Calibri" panose="020F0502020204030204" pitchFamily="34" charset="0"/>
              <a:buChar char="‒"/>
            </a:pPr>
            <a:r>
              <a:rPr lang="en-US" sz="1100" dirty="0">
                <a:ea typeface="MS Mincho" panose="02020609040205080304" pitchFamily="49" charset="-128"/>
                <a:cs typeface="Arial" panose="020B0604020202020204" pitchFamily="34" charset="0"/>
              </a:rPr>
              <a:t>Alignment with Government priorities and programs</a:t>
            </a:r>
          </a:p>
          <a:p>
            <a:pPr marL="685817" lvl="1" indent="-263776">
              <a:spcAft>
                <a:spcPts val="554"/>
              </a:spcAft>
              <a:buFont typeface="Calibri" panose="020F0502020204030204" pitchFamily="34" charset="0"/>
              <a:buChar char="‒"/>
            </a:pPr>
            <a:r>
              <a:rPr lang="en-US" sz="1100" dirty="0">
                <a:ea typeface="MS Mincho" panose="02020609040205080304" pitchFamily="49" charset="-128"/>
                <a:cs typeface="Arial" panose="020B0604020202020204" pitchFamily="34" charset="0"/>
              </a:rPr>
              <a:t>Boosting government capacity for strategic planning and implementation</a:t>
            </a:r>
          </a:p>
          <a:p>
            <a:pPr marL="685817" lvl="1" indent="-263776">
              <a:spcAft>
                <a:spcPts val="554"/>
              </a:spcAft>
              <a:buFont typeface="Calibri" panose="020F0502020204030204" pitchFamily="34" charset="0"/>
              <a:buChar char="‒"/>
            </a:pPr>
            <a:r>
              <a:rPr lang="en-US" sz="1100" dirty="0">
                <a:ea typeface="MS Mincho" panose="02020609040205080304" pitchFamily="49" charset="-128"/>
                <a:cs typeface="Arial" panose="020B0604020202020204" pitchFamily="34" charset="0"/>
              </a:rPr>
              <a:t>Participating in and supporting government coordinating mechanisms</a:t>
            </a:r>
          </a:p>
          <a:p>
            <a:pPr marL="685817" lvl="1" indent="-263776">
              <a:spcAft>
                <a:spcPts val="554"/>
              </a:spcAft>
              <a:buFont typeface="Calibri" panose="020F0502020204030204" pitchFamily="34" charset="0"/>
              <a:buChar char="‒"/>
            </a:pPr>
            <a:r>
              <a:rPr lang="en-US" sz="1100" dirty="0">
                <a:ea typeface="MS Mincho" panose="02020609040205080304" pitchFamily="49" charset="-128"/>
                <a:cs typeface="Arial" panose="020B0604020202020204" pitchFamily="34" charset="0"/>
              </a:rPr>
              <a:t>Catalytic system investments to scale known models and technologies </a:t>
            </a:r>
          </a:p>
        </p:txBody>
      </p:sp>
      <p:sp>
        <p:nvSpPr>
          <p:cNvPr id="22" name="Text Placeholder 7"/>
          <p:cNvSpPr txBox="1">
            <a:spLocks/>
          </p:cNvSpPr>
          <p:nvPr/>
        </p:nvSpPr>
        <p:spPr>
          <a:xfrm>
            <a:off x="450275" y="5643322"/>
            <a:ext cx="8251341" cy="677108"/>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228600" indent="-228600">
              <a:buFont typeface="+mj-lt"/>
              <a:buAutoNum type="arabicPeriod"/>
            </a:pPr>
            <a:r>
              <a:rPr lang="en-US" sz="800" dirty="0" err="1"/>
              <a:t>1Figure</a:t>
            </a:r>
            <a:r>
              <a:rPr lang="en-US" sz="800" dirty="0"/>
              <a:t> not drawn to scale</a:t>
            </a:r>
          </a:p>
          <a:p>
            <a:pPr marL="228600" indent="-228600">
              <a:buFont typeface="+mj-lt"/>
              <a:buAutoNum type="arabicPeriod"/>
            </a:pPr>
            <a:r>
              <a:rPr lang="en-US" sz="800" dirty="0"/>
              <a:t>Proposed country investments for country strategy 2017 – 2021</a:t>
            </a:r>
          </a:p>
          <a:p>
            <a:pPr marL="228600" indent="-228600">
              <a:buFont typeface="+mj-lt"/>
              <a:buAutoNum type="arabicPeriod"/>
            </a:pPr>
            <a:r>
              <a:rPr lang="en-US" sz="800" dirty="0" err="1"/>
              <a:t>FAOSTAT</a:t>
            </a:r>
            <a:r>
              <a:rPr lang="en-US" sz="800" dirty="0"/>
              <a:t> 2014 data flat-lined for 5 years</a:t>
            </a:r>
          </a:p>
          <a:p>
            <a:pPr marL="228600" indent="-228600">
              <a:buFont typeface="+mj-lt"/>
              <a:buAutoNum type="arabicPeriod"/>
            </a:pPr>
            <a:r>
              <a:rPr lang="en-US" sz="800" dirty="0"/>
              <a:t>Official Development Assistance (</a:t>
            </a:r>
            <a:r>
              <a:rPr lang="en-US" sz="800" dirty="0" err="1"/>
              <a:t>ODA</a:t>
            </a:r>
            <a:r>
              <a:rPr lang="en-US" sz="800" dirty="0"/>
              <a:t>) flows, Other Official Flows (</a:t>
            </a:r>
            <a:r>
              <a:rPr lang="en-US" sz="800" dirty="0" err="1"/>
              <a:t>OOFs</a:t>
            </a:r>
            <a:r>
              <a:rPr lang="en-US" sz="800" dirty="0"/>
              <a:t>) and Private Grant/Flows reported by donor countries, multinational organizations and private entities to OECD DAC Directorate for all purposes related to agriculture except forestry and general environment protection</a:t>
            </a:r>
          </a:p>
          <a:p>
            <a:pPr marL="228600" indent="-228600">
              <a:buFont typeface="+mj-lt"/>
              <a:buAutoNum type="arabicPeriod"/>
            </a:pPr>
            <a:r>
              <a:rPr lang="en-US" sz="800" dirty="0"/>
              <a:t>Exact estimates for private sector investment are unknown and therefore conceptual</a:t>
            </a:r>
          </a:p>
          <a:p>
            <a:r>
              <a:rPr lang="en-US" sz="800" b="1" dirty="0" smtClean="0"/>
              <a:t>SOURCE</a:t>
            </a:r>
            <a:r>
              <a:rPr lang="en-US" sz="800" b="1" dirty="0"/>
              <a:t>: </a:t>
            </a:r>
            <a:r>
              <a:rPr lang="en-US" sz="800" b="1" dirty="0" err="1"/>
              <a:t>FAOSTAT</a:t>
            </a:r>
            <a:r>
              <a:rPr lang="en-US" sz="800" b="1" dirty="0"/>
              <a:t>; </a:t>
            </a:r>
            <a:r>
              <a:rPr lang="en-US" sz="800" b="1" dirty="0" err="1"/>
              <a:t>ReSAKKS</a:t>
            </a:r>
            <a:r>
              <a:rPr lang="en-US" sz="800" b="1" dirty="0"/>
              <a:t>; AGRA analysis</a:t>
            </a:r>
          </a:p>
        </p:txBody>
      </p:sp>
      <p:grpSp>
        <p:nvGrpSpPr>
          <p:cNvPr id="21" name="Group 20"/>
          <p:cNvGrpSpPr/>
          <p:nvPr/>
        </p:nvGrpSpPr>
        <p:grpSpPr>
          <a:xfrm flipV="1">
            <a:off x="276714" y="1903649"/>
            <a:ext cx="4783352" cy="3647551"/>
            <a:chOff x="304800" y="1524000"/>
            <a:chExt cx="5714999" cy="4256314"/>
          </a:xfrm>
        </p:grpSpPr>
        <p:sp>
          <p:nvSpPr>
            <p:cNvPr id="23" name="Freeform 10"/>
            <p:cNvSpPr>
              <a:spLocks/>
            </p:cNvSpPr>
            <p:nvPr/>
          </p:nvSpPr>
          <p:spPr bwMode="blackWhite">
            <a:xfrm rot="10800000">
              <a:off x="2185598" y="4293006"/>
              <a:ext cx="1967301" cy="1487308"/>
            </a:xfrm>
            <a:custGeom>
              <a:avLst/>
              <a:gdLst>
                <a:gd name="T0" fmla="*/ 0 w 939"/>
                <a:gd name="T1" fmla="*/ 818174 h 839"/>
                <a:gd name="T2" fmla="*/ 1011746 w 939"/>
                <a:gd name="T3" fmla="*/ 818174 h 839"/>
                <a:gd name="T4" fmla="*/ 505873 w 939"/>
                <a:gd name="T5" fmla="*/ 0 h 839"/>
                <a:gd name="T6" fmla="*/ 0 w 939"/>
                <a:gd name="T7" fmla="*/ 818174 h 83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39" h="839">
                  <a:moveTo>
                    <a:pt x="0" y="838"/>
                  </a:moveTo>
                  <a:lnTo>
                    <a:pt x="938" y="838"/>
                  </a:lnTo>
                  <a:lnTo>
                    <a:pt x="469" y="0"/>
                  </a:lnTo>
                  <a:lnTo>
                    <a:pt x="0" y="838"/>
                  </a:lnTo>
                </a:path>
              </a:pathLst>
            </a:custGeom>
            <a:solidFill>
              <a:schemeClr val="accent6">
                <a:lumMod val="60000"/>
                <a:lumOff val="40000"/>
              </a:schemeClr>
            </a:solidFill>
            <a:ln w="9525" cap="rnd" cmpd="sng">
              <a:solidFill>
                <a:schemeClr val="bg1"/>
              </a:solidFill>
              <a:prstDash val="solid"/>
              <a:round/>
              <a:headEnd type="none" w="sm" len="sm"/>
              <a:tailEnd type="none" w="sm" len="sm"/>
            </a:ln>
            <a:effectLst/>
          </p:spPr>
          <p:txBody>
            <a:bodyPr/>
            <a:lstStyle/>
            <a:p>
              <a:endParaRPr lang="en-US" sz="1292" dirty="0">
                <a:solidFill>
                  <a:schemeClr val="bg1"/>
                </a:solidFill>
                <a:latin typeface="+mj-lt"/>
                <a:ea typeface="Calibri" charset="0"/>
                <a:cs typeface="Calibri" charset="0"/>
              </a:endParaRPr>
            </a:p>
          </p:txBody>
        </p:sp>
        <p:sp>
          <p:nvSpPr>
            <p:cNvPr id="24" name="Freeform 9"/>
            <p:cNvSpPr>
              <a:spLocks/>
            </p:cNvSpPr>
            <p:nvPr/>
          </p:nvSpPr>
          <p:spPr bwMode="blackWhite">
            <a:xfrm rot="10800000">
              <a:off x="304800" y="1524000"/>
              <a:ext cx="5714999" cy="862393"/>
            </a:xfrm>
            <a:custGeom>
              <a:avLst/>
              <a:gdLst>
                <a:gd name="T0" fmla="*/ 291953 w 2676"/>
                <a:gd name="T1" fmla="*/ 0 h 484"/>
                <a:gd name="T2" fmla="*/ 0 w 2676"/>
                <a:gd name="T3" fmla="*/ 472098 h 484"/>
                <a:gd name="T4" fmla="*/ 2881823 w 2676"/>
                <a:gd name="T5" fmla="*/ 472098 h 484"/>
                <a:gd name="T6" fmla="*/ 2589870 w 2676"/>
                <a:gd name="T7" fmla="*/ 0 h 484"/>
                <a:gd name="T8" fmla="*/ 291953 w 2676"/>
                <a:gd name="T9" fmla="*/ 0 h 48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76" h="484">
                  <a:moveTo>
                    <a:pt x="271" y="0"/>
                  </a:moveTo>
                  <a:lnTo>
                    <a:pt x="0" y="483"/>
                  </a:lnTo>
                  <a:lnTo>
                    <a:pt x="2675" y="483"/>
                  </a:lnTo>
                  <a:lnTo>
                    <a:pt x="2404" y="0"/>
                  </a:lnTo>
                  <a:lnTo>
                    <a:pt x="271" y="0"/>
                  </a:lnTo>
                </a:path>
              </a:pathLst>
            </a:custGeom>
            <a:solidFill>
              <a:schemeClr val="accent6">
                <a:lumMod val="50000"/>
              </a:schemeClr>
            </a:solidFill>
            <a:ln w="9525" cap="rnd" cmpd="sng">
              <a:solidFill>
                <a:schemeClr val="bg1"/>
              </a:solidFill>
              <a:prstDash val="solid"/>
              <a:round/>
              <a:headEnd type="none" w="sm" len="sm"/>
              <a:tailEnd type="none" w="sm" len="sm"/>
            </a:ln>
            <a:effectLst/>
            <a:extLst/>
          </p:spPr>
          <p:txBody>
            <a:bodyPr/>
            <a:lstStyle/>
            <a:p>
              <a:endParaRPr lang="en-US" sz="1292" b="1" dirty="0">
                <a:solidFill>
                  <a:sysClr val="windowText" lastClr="000000"/>
                </a:solidFill>
                <a:latin typeface="+mj-lt"/>
                <a:ea typeface="Calibri" charset="0"/>
                <a:cs typeface="Calibri" charset="0"/>
              </a:endParaRPr>
            </a:p>
          </p:txBody>
        </p:sp>
        <p:sp>
          <p:nvSpPr>
            <p:cNvPr id="25" name="Freeform 11"/>
            <p:cNvSpPr>
              <a:spLocks/>
            </p:cNvSpPr>
            <p:nvPr/>
          </p:nvSpPr>
          <p:spPr bwMode="blackWhite">
            <a:xfrm rot="10800000">
              <a:off x="1522697" y="3335606"/>
              <a:ext cx="3279201" cy="949212"/>
            </a:xfrm>
            <a:custGeom>
              <a:avLst/>
              <a:gdLst>
                <a:gd name="T0" fmla="*/ 0 w 1536"/>
                <a:gd name="T1" fmla="*/ 519723 h 533"/>
                <a:gd name="T2" fmla="*/ 1653098 w 1536"/>
                <a:gd name="T3" fmla="*/ 519723 h 533"/>
                <a:gd name="T4" fmla="*/ 1332171 w 1536"/>
                <a:gd name="T5" fmla="*/ 0 h 533"/>
                <a:gd name="T6" fmla="*/ 322004 w 1536"/>
                <a:gd name="T7" fmla="*/ 0 h 533"/>
                <a:gd name="T8" fmla="*/ 0 w 1536"/>
                <a:gd name="T9" fmla="*/ 519723 h 53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36" h="533">
                  <a:moveTo>
                    <a:pt x="0" y="532"/>
                  </a:moveTo>
                  <a:lnTo>
                    <a:pt x="1535" y="532"/>
                  </a:lnTo>
                  <a:lnTo>
                    <a:pt x="1237" y="0"/>
                  </a:lnTo>
                  <a:lnTo>
                    <a:pt x="299" y="0"/>
                  </a:lnTo>
                  <a:lnTo>
                    <a:pt x="0" y="532"/>
                  </a:lnTo>
                </a:path>
              </a:pathLst>
            </a:custGeom>
            <a:solidFill>
              <a:schemeClr val="accent6">
                <a:lumMod val="50000"/>
              </a:schemeClr>
            </a:solidFill>
            <a:ln w="9525" cap="rnd" cmpd="sng">
              <a:solidFill>
                <a:schemeClr val="bg1"/>
              </a:solidFill>
              <a:prstDash val="solid"/>
              <a:round/>
              <a:headEnd type="none" w="sm" len="sm"/>
              <a:tailEnd type="none" w="sm" len="sm"/>
            </a:ln>
            <a:effectLst/>
          </p:spPr>
          <p:txBody>
            <a:bodyPr/>
            <a:lstStyle/>
            <a:p>
              <a:endParaRPr lang="en-US" sz="1292" b="1" dirty="0">
                <a:solidFill>
                  <a:sysClr val="windowText" lastClr="000000"/>
                </a:solidFill>
                <a:latin typeface="+mj-lt"/>
                <a:ea typeface="Calibri" charset="0"/>
                <a:cs typeface="Calibri" charset="0"/>
              </a:endParaRPr>
            </a:p>
          </p:txBody>
        </p:sp>
        <p:sp>
          <p:nvSpPr>
            <p:cNvPr id="26" name="Freeform 12"/>
            <p:cNvSpPr>
              <a:spLocks/>
            </p:cNvSpPr>
            <p:nvPr/>
          </p:nvSpPr>
          <p:spPr bwMode="blackWhite">
            <a:xfrm rot="10800000">
              <a:off x="883853" y="2383500"/>
              <a:ext cx="4556894" cy="955000"/>
            </a:xfrm>
            <a:custGeom>
              <a:avLst/>
              <a:gdLst>
                <a:gd name="T0" fmla="*/ 322077 w 2134"/>
                <a:gd name="T1" fmla="*/ 0 h 535"/>
                <a:gd name="T2" fmla="*/ 0 w 2134"/>
                <a:gd name="T3" fmla="*/ 522896 h 535"/>
                <a:gd name="T4" fmla="*/ 2297623 w 2134"/>
                <a:gd name="T5" fmla="*/ 522896 h 535"/>
                <a:gd name="T6" fmla="*/ 1975546 w 2134"/>
                <a:gd name="T7" fmla="*/ 0 h 535"/>
                <a:gd name="T8" fmla="*/ 322077 w 2134"/>
                <a:gd name="T9" fmla="*/ 0 h 53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34" h="535">
                  <a:moveTo>
                    <a:pt x="299" y="0"/>
                  </a:moveTo>
                  <a:lnTo>
                    <a:pt x="0" y="534"/>
                  </a:lnTo>
                  <a:lnTo>
                    <a:pt x="2133" y="534"/>
                  </a:lnTo>
                  <a:lnTo>
                    <a:pt x="1834" y="0"/>
                  </a:lnTo>
                  <a:lnTo>
                    <a:pt x="299" y="0"/>
                  </a:lnTo>
                </a:path>
              </a:pathLst>
            </a:custGeom>
            <a:solidFill>
              <a:schemeClr val="accent6">
                <a:lumMod val="50000"/>
              </a:schemeClr>
            </a:solidFill>
            <a:ln w="9525" cap="rnd" cmpd="sng">
              <a:solidFill>
                <a:schemeClr val="bg1"/>
              </a:solidFill>
              <a:prstDash val="solid"/>
              <a:round/>
              <a:headEnd type="none" w="sm" len="sm"/>
              <a:tailEnd type="none" w="sm" len="sm"/>
            </a:ln>
            <a:effectLst/>
            <a:extLst/>
          </p:spPr>
          <p:txBody>
            <a:bodyPr/>
            <a:lstStyle/>
            <a:p>
              <a:endParaRPr lang="en-US" sz="1292" b="1" dirty="0">
                <a:solidFill>
                  <a:sysClr val="windowText" lastClr="000000"/>
                </a:solidFill>
                <a:latin typeface="+mj-lt"/>
                <a:ea typeface="Calibri" charset="0"/>
                <a:cs typeface="Calibri" charset="0"/>
              </a:endParaRPr>
            </a:p>
          </p:txBody>
        </p:sp>
        <p:sp>
          <p:nvSpPr>
            <p:cNvPr id="27" name="Rectangle 13"/>
            <p:cNvSpPr>
              <a:spLocks noChangeArrowheads="1"/>
            </p:cNvSpPr>
            <p:nvPr/>
          </p:nvSpPr>
          <p:spPr bwMode="auto">
            <a:xfrm rot="10800000">
              <a:off x="2589541" y="4417692"/>
              <a:ext cx="1145518" cy="661273"/>
            </a:xfrm>
            <a:prstGeom prst="rect">
              <a:avLst/>
            </a:prstGeom>
            <a:noFill/>
            <a:ln>
              <a:noFill/>
            </a:ln>
            <a:effectLst/>
            <a:extLst>
              <a:ext uri="{91240B29-F687-4F45-9708-019B960494DF}">
                <a14:hiddenLine xmlns:a14="http://schemas.microsoft.com/office/drawing/2010/main" w="9525">
                  <a:solidFill>
                    <a:srgbClr val="003399"/>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ctr" anchorCtr="1">
              <a:spAutoFit/>
            </a:bodyPr>
            <a:lstStyle>
              <a:lvl1pPr defTabSz="787400">
                <a:lnSpc>
                  <a:spcPct val="106000"/>
                </a:lnSpc>
                <a:spcBef>
                  <a:spcPct val="80000"/>
                </a:spcBef>
                <a:buClr>
                  <a:schemeClr val="tx1"/>
                </a:buClr>
                <a:buFont typeface="Wingdings 2" charset="2"/>
                <a:buChar char="¡"/>
                <a:defRPr sz="1200">
                  <a:solidFill>
                    <a:schemeClr val="tx1"/>
                  </a:solidFill>
                  <a:latin typeface="Arial" charset="0"/>
                </a:defRPr>
              </a:lvl1pPr>
              <a:lvl2pPr marL="133350" indent="-131763" defTabSz="787400">
                <a:lnSpc>
                  <a:spcPct val="106000"/>
                </a:lnSpc>
                <a:spcBef>
                  <a:spcPct val="80000"/>
                </a:spcBef>
                <a:buClr>
                  <a:schemeClr val="tx1"/>
                </a:buClr>
                <a:buFont typeface="Arial" charset="0"/>
                <a:buChar char="–"/>
                <a:defRPr sz="1200">
                  <a:solidFill>
                    <a:schemeClr val="tx1"/>
                  </a:solidFill>
                  <a:latin typeface="Arial" charset="0"/>
                </a:defRPr>
              </a:lvl2pPr>
              <a:lvl3pPr marL="301625" indent="-150813" defTabSz="787400">
                <a:lnSpc>
                  <a:spcPct val="106000"/>
                </a:lnSpc>
                <a:spcBef>
                  <a:spcPct val="40000"/>
                </a:spcBef>
                <a:buClr>
                  <a:schemeClr val="tx1"/>
                </a:buClr>
                <a:buFont typeface="Wingdings" charset="2"/>
                <a:buChar char="§"/>
                <a:defRPr sz="1200">
                  <a:solidFill>
                    <a:schemeClr val="tx1"/>
                  </a:solidFill>
                  <a:latin typeface="Arial" charset="0"/>
                </a:defRPr>
              </a:lvl3pPr>
              <a:lvl4pPr marL="439738" indent="-136525" defTabSz="787400">
                <a:lnSpc>
                  <a:spcPct val="110000"/>
                </a:lnSpc>
                <a:spcBef>
                  <a:spcPct val="20000"/>
                </a:spcBef>
                <a:buClr>
                  <a:schemeClr val="tx1"/>
                </a:buClr>
                <a:buFont typeface="Arial" charset="0"/>
                <a:buChar char="–"/>
                <a:defRPr sz="1200">
                  <a:solidFill>
                    <a:schemeClr val="tx1"/>
                  </a:solidFill>
                  <a:latin typeface="Arial" charset="0"/>
                </a:defRPr>
              </a:lvl4pPr>
              <a:lvl5pPr marL="603250" indent="-142875" defTabSz="787400">
                <a:spcBef>
                  <a:spcPct val="20000"/>
                </a:spcBef>
                <a:buClr>
                  <a:schemeClr val="tx1"/>
                </a:buClr>
                <a:buFont typeface="Wingdings" charset="2"/>
                <a:buChar char="§"/>
                <a:defRPr sz="1200">
                  <a:solidFill>
                    <a:schemeClr val="tx1"/>
                  </a:solidFill>
                  <a:latin typeface="Arial" charset="0"/>
                </a:defRPr>
              </a:lvl5pPr>
              <a:lvl6pPr marL="1060450" indent="-142875" defTabSz="787400" eaLnBrk="0" fontAlgn="base" hangingPunct="0">
                <a:spcBef>
                  <a:spcPct val="20000"/>
                </a:spcBef>
                <a:spcAft>
                  <a:spcPct val="0"/>
                </a:spcAft>
                <a:buClr>
                  <a:schemeClr val="tx1"/>
                </a:buClr>
                <a:buFont typeface="Wingdings" charset="2"/>
                <a:buChar char="§"/>
                <a:defRPr sz="1200">
                  <a:solidFill>
                    <a:schemeClr val="tx1"/>
                  </a:solidFill>
                  <a:latin typeface="Arial" charset="0"/>
                </a:defRPr>
              </a:lvl6pPr>
              <a:lvl7pPr marL="1517650" indent="-142875" defTabSz="787400" eaLnBrk="0" fontAlgn="base" hangingPunct="0">
                <a:spcBef>
                  <a:spcPct val="20000"/>
                </a:spcBef>
                <a:spcAft>
                  <a:spcPct val="0"/>
                </a:spcAft>
                <a:buClr>
                  <a:schemeClr val="tx1"/>
                </a:buClr>
                <a:buFont typeface="Wingdings" charset="2"/>
                <a:buChar char="§"/>
                <a:defRPr sz="1200">
                  <a:solidFill>
                    <a:schemeClr val="tx1"/>
                  </a:solidFill>
                  <a:latin typeface="Arial" charset="0"/>
                </a:defRPr>
              </a:lvl7pPr>
              <a:lvl8pPr marL="1974850" indent="-142875" defTabSz="787400" eaLnBrk="0" fontAlgn="base" hangingPunct="0">
                <a:spcBef>
                  <a:spcPct val="20000"/>
                </a:spcBef>
                <a:spcAft>
                  <a:spcPct val="0"/>
                </a:spcAft>
                <a:buClr>
                  <a:schemeClr val="tx1"/>
                </a:buClr>
                <a:buFont typeface="Wingdings" charset="2"/>
                <a:buChar char="§"/>
                <a:defRPr sz="1200">
                  <a:solidFill>
                    <a:schemeClr val="tx1"/>
                  </a:solidFill>
                  <a:latin typeface="Arial" charset="0"/>
                </a:defRPr>
              </a:lvl8pPr>
              <a:lvl9pPr marL="2432050" indent="-142875" defTabSz="787400" eaLnBrk="0" fontAlgn="base" hangingPunct="0">
                <a:spcBef>
                  <a:spcPct val="20000"/>
                </a:spcBef>
                <a:spcAft>
                  <a:spcPct val="0"/>
                </a:spcAft>
                <a:buClr>
                  <a:schemeClr val="tx1"/>
                </a:buClr>
                <a:buFont typeface="Wingdings" charset="2"/>
                <a:buChar char="§"/>
                <a:defRPr sz="1200">
                  <a:solidFill>
                    <a:schemeClr val="tx1"/>
                  </a:solidFill>
                  <a:latin typeface="Arial" charset="0"/>
                </a:defRPr>
              </a:lvl9pPr>
            </a:lstStyle>
            <a:p>
              <a:pPr algn="ctr">
                <a:lnSpc>
                  <a:spcPct val="95000"/>
                </a:lnSpc>
                <a:spcBef>
                  <a:spcPts val="0"/>
                </a:spcBef>
                <a:buNone/>
              </a:pPr>
              <a:r>
                <a:rPr lang="en-AU" altLang="en-US" sz="1292" b="1" dirty="0" smtClean="0">
                  <a:solidFill>
                    <a:sysClr val="windowText" lastClr="000000"/>
                  </a:solidFill>
                  <a:latin typeface="+mj-lt"/>
                  <a:ea typeface="Calibri" charset="0"/>
                  <a:cs typeface="Calibri" charset="0"/>
                </a:rPr>
                <a:t>AGRA</a:t>
              </a:r>
              <a:r>
                <a:rPr lang="en-AU" altLang="en-US" sz="1292" b="1" baseline="30000" dirty="0">
                  <a:solidFill>
                    <a:sysClr val="windowText" lastClr="000000"/>
                  </a:solidFill>
                  <a:ea typeface="Calibri" charset="0"/>
                  <a:cs typeface="Calibri" charset="0"/>
                </a:rPr>
                <a:t>2</a:t>
              </a:r>
              <a:endParaRPr lang="en-AU" altLang="en-US" sz="1292" b="1" dirty="0">
                <a:solidFill>
                  <a:sysClr val="windowText" lastClr="000000"/>
                </a:solidFill>
                <a:latin typeface="+mj-lt"/>
                <a:ea typeface="Calibri" charset="0"/>
                <a:cs typeface="Calibri" charset="0"/>
              </a:endParaRPr>
            </a:p>
            <a:p>
              <a:pPr algn="ctr">
                <a:lnSpc>
                  <a:spcPct val="95000"/>
                </a:lnSpc>
                <a:spcBef>
                  <a:spcPts val="0"/>
                </a:spcBef>
                <a:buNone/>
              </a:pPr>
              <a:r>
                <a:rPr lang="en-AU" altLang="en-US" sz="1292" b="1" dirty="0" smtClean="0">
                  <a:solidFill>
                    <a:sysClr val="windowText" lastClr="000000"/>
                  </a:solidFill>
                  <a:latin typeface="+mj-lt"/>
                  <a:ea typeface="Calibri" charset="0"/>
                  <a:cs typeface="Calibri" charset="0"/>
                </a:rPr>
                <a:t>$15.3 million</a:t>
              </a:r>
              <a:endParaRPr lang="en-AU" altLang="en-US" sz="1292" b="1" dirty="0">
                <a:solidFill>
                  <a:sysClr val="windowText" lastClr="000000"/>
                </a:solidFill>
                <a:latin typeface="+mj-lt"/>
                <a:ea typeface="Calibri" charset="0"/>
                <a:cs typeface="Calibri" charset="0"/>
              </a:endParaRPr>
            </a:p>
          </p:txBody>
        </p:sp>
        <p:sp>
          <p:nvSpPr>
            <p:cNvPr id="28" name="Rectangle 14"/>
            <p:cNvSpPr>
              <a:spLocks noChangeArrowheads="1"/>
            </p:cNvSpPr>
            <p:nvPr/>
          </p:nvSpPr>
          <p:spPr bwMode="auto">
            <a:xfrm rot="10800000">
              <a:off x="1933388" y="3564177"/>
              <a:ext cx="2457827" cy="409423"/>
            </a:xfrm>
            <a:prstGeom prst="rect">
              <a:avLst/>
            </a:prstGeom>
            <a:noFill/>
            <a:ln>
              <a:noFill/>
            </a:ln>
            <a:effectLst/>
            <a:extLst>
              <a:ext uri="{91240B29-F687-4F45-9708-019B960494DF}">
                <a14:hiddenLine xmlns:a14="http://schemas.microsoft.com/office/drawing/2010/main" w="9525">
                  <a:solidFill>
                    <a:srgbClr val="003399"/>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ctr" anchorCtr="1">
              <a:spAutoFit/>
            </a:bodyPr>
            <a:lstStyle>
              <a:lvl1pPr defTabSz="787400">
                <a:lnSpc>
                  <a:spcPct val="106000"/>
                </a:lnSpc>
                <a:spcBef>
                  <a:spcPct val="80000"/>
                </a:spcBef>
                <a:buClr>
                  <a:schemeClr val="tx1"/>
                </a:buClr>
                <a:buFont typeface="Wingdings 2" charset="2"/>
                <a:buChar char="¡"/>
                <a:defRPr sz="1200">
                  <a:solidFill>
                    <a:schemeClr val="tx1"/>
                  </a:solidFill>
                  <a:latin typeface="Arial" charset="0"/>
                </a:defRPr>
              </a:lvl1pPr>
              <a:lvl2pPr marL="133350" indent="-131763" defTabSz="787400">
                <a:lnSpc>
                  <a:spcPct val="106000"/>
                </a:lnSpc>
                <a:spcBef>
                  <a:spcPct val="80000"/>
                </a:spcBef>
                <a:buClr>
                  <a:schemeClr val="tx1"/>
                </a:buClr>
                <a:buFont typeface="Arial" charset="0"/>
                <a:buChar char="–"/>
                <a:defRPr sz="1200">
                  <a:solidFill>
                    <a:schemeClr val="tx1"/>
                  </a:solidFill>
                  <a:latin typeface="Arial" charset="0"/>
                </a:defRPr>
              </a:lvl2pPr>
              <a:lvl3pPr marL="301625" indent="-150813" defTabSz="787400">
                <a:lnSpc>
                  <a:spcPct val="106000"/>
                </a:lnSpc>
                <a:spcBef>
                  <a:spcPct val="40000"/>
                </a:spcBef>
                <a:buClr>
                  <a:schemeClr val="tx1"/>
                </a:buClr>
                <a:buFont typeface="Wingdings" charset="2"/>
                <a:buChar char="§"/>
                <a:defRPr sz="1200">
                  <a:solidFill>
                    <a:schemeClr val="tx1"/>
                  </a:solidFill>
                  <a:latin typeface="Arial" charset="0"/>
                </a:defRPr>
              </a:lvl3pPr>
              <a:lvl4pPr marL="439738" indent="-136525" defTabSz="787400">
                <a:lnSpc>
                  <a:spcPct val="110000"/>
                </a:lnSpc>
                <a:spcBef>
                  <a:spcPct val="20000"/>
                </a:spcBef>
                <a:buClr>
                  <a:schemeClr val="tx1"/>
                </a:buClr>
                <a:buFont typeface="Arial" charset="0"/>
                <a:buChar char="–"/>
                <a:defRPr sz="1200">
                  <a:solidFill>
                    <a:schemeClr val="tx1"/>
                  </a:solidFill>
                  <a:latin typeface="Arial" charset="0"/>
                </a:defRPr>
              </a:lvl4pPr>
              <a:lvl5pPr marL="603250" indent="-142875" defTabSz="787400">
                <a:spcBef>
                  <a:spcPct val="20000"/>
                </a:spcBef>
                <a:buClr>
                  <a:schemeClr val="tx1"/>
                </a:buClr>
                <a:buFont typeface="Wingdings" charset="2"/>
                <a:buChar char="§"/>
                <a:defRPr sz="1200">
                  <a:solidFill>
                    <a:schemeClr val="tx1"/>
                  </a:solidFill>
                  <a:latin typeface="Arial" charset="0"/>
                </a:defRPr>
              </a:lvl5pPr>
              <a:lvl6pPr marL="1060450" indent="-142875" defTabSz="787400" eaLnBrk="0" fontAlgn="base" hangingPunct="0">
                <a:spcBef>
                  <a:spcPct val="20000"/>
                </a:spcBef>
                <a:spcAft>
                  <a:spcPct val="0"/>
                </a:spcAft>
                <a:buClr>
                  <a:schemeClr val="tx1"/>
                </a:buClr>
                <a:buFont typeface="Wingdings" charset="2"/>
                <a:buChar char="§"/>
                <a:defRPr sz="1200">
                  <a:solidFill>
                    <a:schemeClr val="tx1"/>
                  </a:solidFill>
                  <a:latin typeface="Arial" charset="0"/>
                </a:defRPr>
              </a:lvl6pPr>
              <a:lvl7pPr marL="1517650" indent="-142875" defTabSz="787400" eaLnBrk="0" fontAlgn="base" hangingPunct="0">
                <a:spcBef>
                  <a:spcPct val="20000"/>
                </a:spcBef>
                <a:spcAft>
                  <a:spcPct val="0"/>
                </a:spcAft>
                <a:buClr>
                  <a:schemeClr val="tx1"/>
                </a:buClr>
                <a:buFont typeface="Wingdings" charset="2"/>
                <a:buChar char="§"/>
                <a:defRPr sz="1200">
                  <a:solidFill>
                    <a:schemeClr val="tx1"/>
                  </a:solidFill>
                  <a:latin typeface="Arial" charset="0"/>
                </a:defRPr>
              </a:lvl7pPr>
              <a:lvl8pPr marL="1974850" indent="-142875" defTabSz="787400" eaLnBrk="0" fontAlgn="base" hangingPunct="0">
                <a:spcBef>
                  <a:spcPct val="20000"/>
                </a:spcBef>
                <a:spcAft>
                  <a:spcPct val="0"/>
                </a:spcAft>
                <a:buClr>
                  <a:schemeClr val="tx1"/>
                </a:buClr>
                <a:buFont typeface="Wingdings" charset="2"/>
                <a:buChar char="§"/>
                <a:defRPr sz="1200">
                  <a:solidFill>
                    <a:schemeClr val="tx1"/>
                  </a:solidFill>
                  <a:latin typeface="Arial" charset="0"/>
                </a:defRPr>
              </a:lvl8pPr>
              <a:lvl9pPr marL="2432050" indent="-142875" defTabSz="787400" eaLnBrk="0" fontAlgn="base" hangingPunct="0">
                <a:spcBef>
                  <a:spcPct val="20000"/>
                </a:spcBef>
                <a:spcAft>
                  <a:spcPct val="0"/>
                </a:spcAft>
                <a:buClr>
                  <a:schemeClr val="tx1"/>
                </a:buClr>
                <a:buFont typeface="Wingdings" charset="2"/>
                <a:buChar char="§"/>
                <a:defRPr sz="1200">
                  <a:solidFill>
                    <a:schemeClr val="tx1"/>
                  </a:solidFill>
                  <a:latin typeface="Arial" charset="0"/>
                </a:defRPr>
              </a:lvl9pPr>
            </a:lstStyle>
            <a:p>
              <a:pPr algn="ctr">
                <a:lnSpc>
                  <a:spcPct val="95000"/>
                </a:lnSpc>
                <a:spcBef>
                  <a:spcPts val="0"/>
                </a:spcBef>
                <a:buNone/>
              </a:pPr>
              <a:r>
                <a:rPr lang="en-AU" altLang="en-US" b="1" dirty="0">
                  <a:solidFill>
                    <a:schemeClr val="bg1"/>
                  </a:solidFill>
                  <a:latin typeface="+mn-lt"/>
                  <a:ea typeface="Calibri" charset="0"/>
                  <a:cs typeface="Calibri" charset="0"/>
                </a:rPr>
                <a:t>Private sector </a:t>
              </a:r>
              <a:r>
                <a:rPr lang="en-AU" altLang="en-US" b="1" dirty="0" smtClean="0">
                  <a:solidFill>
                    <a:schemeClr val="bg1"/>
                  </a:solidFill>
                  <a:latin typeface="+mn-lt"/>
                  <a:ea typeface="Calibri" charset="0"/>
                  <a:cs typeface="Calibri" charset="0"/>
                </a:rPr>
                <a:t>investment</a:t>
              </a:r>
              <a:r>
                <a:rPr lang="en-AU" altLang="en-US" b="1" baseline="30000" dirty="0">
                  <a:solidFill>
                    <a:schemeClr val="bg1"/>
                  </a:solidFill>
                  <a:latin typeface="+mn-lt"/>
                  <a:ea typeface="Calibri" charset="0"/>
                  <a:cs typeface="Calibri" charset="0"/>
                </a:rPr>
                <a:t>5</a:t>
              </a:r>
            </a:p>
            <a:p>
              <a:pPr algn="ctr">
                <a:lnSpc>
                  <a:spcPct val="95000"/>
                </a:lnSpc>
                <a:spcBef>
                  <a:spcPts val="0"/>
                </a:spcBef>
                <a:buNone/>
              </a:pPr>
              <a:r>
                <a:rPr lang="en-AU" altLang="en-US" b="1" dirty="0">
                  <a:solidFill>
                    <a:schemeClr val="bg1"/>
                  </a:solidFill>
                  <a:latin typeface="+mn-lt"/>
                  <a:ea typeface="Calibri" charset="0"/>
                  <a:cs typeface="Calibri" charset="0"/>
                </a:rPr>
                <a:t>(To be determined)</a:t>
              </a:r>
            </a:p>
          </p:txBody>
        </p:sp>
        <p:sp>
          <p:nvSpPr>
            <p:cNvPr id="29" name="Rectangle 15"/>
            <p:cNvSpPr>
              <a:spLocks noChangeArrowheads="1"/>
            </p:cNvSpPr>
            <p:nvPr/>
          </p:nvSpPr>
          <p:spPr bwMode="auto">
            <a:xfrm rot="10800000">
              <a:off x="1313424" y="2617220"/>
              <a:ext cx="3697754" cy="409423"/>
            </a:xfrm>
            <a:prstGeom prst="rect">
              <a:avLst/>
            </a:prstGeom>
            <a:noFill/>
            <a:ln>
              <a:noFill/>
            </a:ln>
            <a:effectLst/>
            <a:extLst>
              <a:ext uri="{91240B29-F687-4F45-9708-019B960494DF}">
                <a14:hiddenLine xmlns:a14="http://schemas.microsoft.com/office/drawing/2010/main" w="9525">
                  <a:solidFill>
                    <a:srgbClr val="003399"/>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ctr" anchorCtr="1">
              <a:spAutoFit/>
            </a:bodyPr>
            <a:lstStyle>
              <a:lvl1pPr defTabSz="787400">
                <a:lnSpc>
                  <a:spcPct val="106000"/>
                </a:lnSpc>
                <a:spcBef>
                  <a:spcPct val="80000"/>
                </a:spcBef>
                <a:buClr>
                  <a:schemeClr val="tx1"/>
                </a:buClr>
                <a:buFont typeface="Wingdings 2" charset="2"/>
                <a:buChar char="¡"/>
                <a:defRPr sz="1200">
                  <a:solidFill>
                    <a:schemeClr val="tx1"/>
                  </a:solidFill>
                  <a:latin typeface="Arial" charset="0"/>
                </a:defRPr>
              </a:lvl1pPr>
              <a:lvl2pPr marL="133350" indent="-131763" defTabSz="787400">
                <a:lnSpc>
                  <a:spcPct val="106000"/>
                </a:lnSpc>
                <a:spcBef>
                  <a:spcPct val="80000"/>
                </a:spcBef>
                <a:buClr>
                  <a:schemeClr val="tx1"/>
                </a:buClr>
                <a:buFont typeface="Arial" charset="0"/>
                <a:buChar char="–"/>
                <a:defRPr sz="1200">
                  <a:solidFill>
                    <a:schemeClr val="tx1"/>
                  </a:solidFill>
                  <a:latin typeface="Arial" charset="0"/>
                </a:defRPr>
              </a:lvl2pPr>
              <a:lvl3pPr marL="301625" indent="-150813" defTabSz="787400">
                <a:lnSpc>
                  <a:spcPct val="106000"/>
                </a:lnSpc>
                <a:spcBef>
                  <a:spcPct val="40000"/>
                </a:spcBef>
                <a:buClr>
                  <a:schemeClr val="tx1"/>
                </a:buClr>
                <a:buFont typeface="Wingdings" charset="2"/>
                <a:buChar char="§"/>
                <a:defRPr sz="1200">
                  <a:solidFill>
                    <a:schemeClr val="tx1"/>
                  </a:solidFill>
                  <a:latin typeface="Arial" charset="0"/>
                </a:defRPr>
              </a:lvl3pPr>
              <a:lvl4pPr marL="439738" indent="-136525" defTabSz="787400">
                <a:lnSpc>
                  <a:spcPct val="110000"/>
                </a:lnSpc>
                <a:spcBef>
                  <a:spcPct val="20000"/>
                </a:spcBef>
                <a:buClr>
                  <a:schemeClr val="tx1"/>
                </a:buClr>
                <a:buFont typeface="Arial" charset="0"/>
                <a:buChar char="–"/>
                <a:defRPr sz="1200">
                  <a:solidFill>
                    <a:schemeClr val="tx1"/>
                  </a:solidFill>
                  <a:latin typeface="Arial" charset="0"/>
                </a:defRPr>
              </a:lvl4pPr>
              <a:lvl5pPr marL="603250" indent="-142875" defTabSz="787400">
                <a:spcBef>
                  <a:spcPct val="20000"/>
                </a:spcBef>
                <a:buClr>
                  <a:schemeClr val="tx1"/>
                </a:buClr>
                <a:buFont typeface="Wingdings" charset="2"/>
                <a:buChar char="§"/>
                <a:defRPr sz="1200">
                  <a:solidFill>
                    <a:schemeClr val="tx1"/>
                  </a:solidFill>
                  <a:latin typeface="Arial" charset="0"/>
                </a:defRPr>
              </a:lvl5pPr>
              <a:lvl6pPr marL="1060450" indent="-142875" defTabSz="787400" eaLnBrk="0" fontAlgn="base" hangingPunct="0">
                <a:spcBef>
                  <a:spcPct val="20000"/>
                </a:spcBef>
                <a:spcAft>
                  <a:spcPct val="0"/>
                </a:spcAft>
                <a:buClr>
                  <a:schemeClr val="tx1"/>
                </a:buClr>
                <a:buFont typeface="Wingdings" charset="2"/>
                <a:buChar char="§"/>
                <a:defRPr sz="1200">
                  <a:solidFill>
                    <a:schemeClr val="tx1"/>
                  </a:solidFill>
                  <a:latin typeface="Arial" charset="0"/>
                </a:defRPr>
              </a:lvl6pPr>
              <a:lvl7pPr marL="1517650" indent="-142875" defTabSz="787400" eaLnBrk="0" fontAlgn="base" hangingPunct="0">
                <a:spcBef>
                  <a:spcPct val="20000"/>
                </a:spcBef>
                <a:spcAft>
                  <a:spcPct val="0"/>
                </a:spcAft>
                <a:buClr>
                  <a:schemeClr val="tx1"/>
                </a:buClr>
                <a:buFont typeface="Wingdings" charset="2"/>
                <a:buChar char="§"/>
                <a:defRPr sz="1200">
                  <a:solidFill>
                    <a:schemeClr val="tx1"/>
                  </a:solidFill>
                  <a:latin typeface="Arial" charset="0"/>
                </a:defRPr>
              </a:lvl7pPr>
              <a:lvl8pPr marL="1974850" indent="-142875" defTabSz="787400" eaLnBrk="0" fontAlgn="base" hangingPunct="0">
                <a:spcBef>
                  <a:spcPct val="20000"/>
                </a:spcBef>
                <a:spcAft>
                  <a:spcPct val="0"/>
                </a:spcAft>
                <a:buClr>
                  <a:schemeClr val="tx1"/>
                </a:buClr>
                <a:buFont typeface="Wingdings" charset="2"/>
                <a:buChar char="§"/>
                <a:defRPr sz="1200">
                  <a:solidFill>
                    <a:schemeClr val="tx1"/>
                  </a:solidFill>
                  <a:latin typeface="Arial" charset="0"/>
                </a:defRPr>
              </a:lvl8pPr>
              <a:lvl9pPr marL="2432050" indent="-142875" defTabSz="787400" eaLnBrk="0" fontAlgn="base" hangingPunct="0">
                <a:spcBef>
                  <a:spcPct val="20000"/>
                </a:spcBef>
                <a:spcAft>
                  <a:spcPct val="0"/>
                </a:spcAft>
                <a:buClr>
                  <a:schemeClr val="tx1"/>
                </a:buClr>
                <a:buFont typeface="Wingdings" charset="2"/>
                <a:buChar char="§"/>
                <a:defRPr sz="1200">
                  <a:solidFill>
                    <a:schemeClr val="tx1"/>
                  </a:solidFill>
                  <a:latin typeface="Arial" charset="0"/>
                </a:defRPr>
              </a:lvl9pPr>
            </a:lstStyle>
            <a:p>
              <a:pPr algn="ctr">
                <a:lnSpc>
                  <a:spcPct val="95000"/>
                </a:lnSpc>
                <a:spcBef>
                  <a:spcPts val="0"/>
                </a:spcBef>
                <a:buNone/>
              </a:pPr>
              <a:r>
                <a:rPr lang="en-AU" altLang="en-US" b="1" dirty="0">
                  <a:solidFill>
                    <a:schemeClr val="bg1"/>
                  </a:solidFill>
                  <a:latin typeface="+mn-lt"/>
                  <a:ea typeface="Calibri" charset="0"/>
                  <a:cs typeface="Calibri" charset="0"/>
                </a:rPr>
                <a:t>Government of </a:t>
              </a:r>
              <a:r>
                <a:rPr lang="en-AU" altLang="en-US" b="1" dirty="0" smtClean="0">
                  <a:solidFill>
                    <a:schemeClr val="bg1"/>
                  </a:solidFill>
                  <a:latin typeface="+mn-lt"/>
                  <a:ea typeface="Calibri" charset="0"/>
                  <a:cs typeface="Calibri" charset="0"/>
                </a:rPr>
                <a:t>Ethiopia</a:t>
              </a:r>
              <a:r>
                <a:rPr lang="en-AU" altLang="en-US" b="1" baseline="30000" dirty="0" smtClean="0">
                  <a:solidFill>
                    <a:schemeClr val="bg1"/>
                  </a:solidFill>
                  <a:latin typeface="+mn-lt"/>
                  <a:ea typeface="Calibri" charset="0"/>
                  <a:cs typeface="Calibri" charset="0"/>
                </a:rPr>
                <a:t>3</a:t>
              </a:r>
              <a:endParaRPr lang="en-AU" altLang="en-US" b="1" baseline="30000" dirty="0">
                <a:solidFill>
                  <a:schemeClr val="bg1"/>
                </a:solidFill>
                <a:latin typeface="+mn-lt"/>
                <a:ea typeface="Calibri" charset="0"/>
                <a:cs typeface="Calibri" charset="0"/>
              </a:endParaRPr>
            </a:p>
            <a:p>
              <a:pPr algn="ctr">
                <a:lnSpc>
                  <a:spcPct val="95000"/>
                </a:lnSpc>
                <a:spcBef>
                  <a:spcPts val="0"/>
                </a:spcBef>
                <a:buNone/>
              </a:pPr>
              <a:r>
                <a:rPr lang="en-AU" altLang="en-US" b="1" dirty="0" smtClean="0">
                  <a:solidFill>
                    <a:schemeClr val="bg1"/>
                  </a:solidFill>
                  <a:latin typeface="+mn-lt"/>
                  <a:ea typeface="Calibri" charset="0"/>
                  <a:cs typeface="Calibri" charset="0"/>
                </a:rPr>
                <a:t>~$3,165 </a:t>
              </a:r>
              <a:r>
                <a:rPr lang="en-AU" altLang="en-US" b="1" dirty="0">
                  <a:solidFill>
                    <a:schemeClr val="bg1"/>
                  </a:solidFill>
                  <a:latin typeface="+mn-lt"/>
                  <a:ea typeface="Calibri" charset="0"/>
                  <a:cs typeface="Calibri" charset="0"/>
                </a:rPr>
                <a:t>million</a:t>
              </a:r>
            </a:p>
          </p:txBody>
        </p:sp>
        <p:sp>
          <p:nvSpPr>
            <p:cNvPr id="30" name="Rectangle 16"/>
            <p:cNvSpPr>
              <a:spLocks noChangeArrowheads="1"/>
            </p:cNvSpPr>
            <p:nvPr/>
          </p:nvSpPr>
          <p:spPr bwMode="auto">
            <a:xfrm flipV="1">
              <a:off x="753250" y="1717204"/>
              <a:ext cx="4818098" cy="409423"/>
            </a:xfrm>
            <a:prstGeom prst="rect">
              <a:avLst/>
            </a:prstGeom>
            <a:noFill/>
            <a:ln>
              <a:noFill/>
            </a:ln>
            <a:effectLst/>
            <a:extLst>
              <a:ext uri="{91240B29-F687-4F45-9708-019B960494DF}">
                <a14:hiddenLine xmlns:a14="http://schemas.microsoft.com/office/drawing/2010/main" w="9525">
                  <a:solidFill>
                    <a:srgbClr val="003399"/>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ctr" anchorCtr="1">
              <a:spAutoFit/>
            </a:bodyPr>
            <a:lstStyle>
              <a:lvl1pPr defTabSz="787400">
                <a:lnSpc>
                  <a:spcPct val="106000"/>
                </a:lnSpc>
                <a:spcBef>
                  <a:spcPct val="80000"/>
                </a:spcBef>
                <a:buClr>
                  <a:schemeClr val="tx1"/>
                </a:buClr>
                <a:buFont typeface="Wingdings 2" charset="2"/>
                <a:buChar char="¡"/>
                <a:defRPr sz="1200">
                  <a:solidFill>
                    <a:schemeClr val="tx1"/>
                  </a:solidFill>
                  <a:latin typeface="Arial" charset="0"/>
                </a:defRPr>
              </a:lvl1pPr>
              <a:lvl2pPr marL="133350" indent="-131763" defTabSz="787400">
                <a:lnSpc>
                  <a:spcPct val="106000"/>
                </a:lnSpc>
                <a:spcBef>
                  <a:spcPct val="80000"/>
                </a:spcBef>
                <a:buClr>
                  <a:schemeClr val="tx1"/>
                </a:buClr>
                <a:buFont typeface="Arial" charset="0"/>
                <a:buChar char="–"/>
                <a:defRPr sz="1200">
                  <a:solidFill>
                    <a:schemeClr val="tx1"/>
                  </a:solidFill>
                  <a:latin typeface="Arial" charset="0"/>
                </a:defRPr>
              </a:lvl2pPr>
              <a:lvl3pPr marL="301625" indent="-150813" defTabSz="787400">
                <a:lnSpc>
                  <a:spcPct val="106000"/>
                </a:lnSpc>
                <a:spcBef>
                  <a:spcPct val="40000"/>
                </a:spcBef>
                <a:buClr>
                  <a:schemeClr val="tx1"/>
                </a:buClr>
                <a:buFont typeface="Wingdings" charset="2"/>
                <a:buChar char="§"/>
                <a:defRPr sz="1200">
                  <a:solidFill>
                    <a:schemeClr val="tx1"/>
                  </a:solidFill>
                  <a:latin typeface="Arial" charset="0"/>
                </a:defRPr>
              </a:lvl3pPr>
              <a:lvl4pPr marL="439738" indent="-136525" defTabSz="787400">
                <a:lnSpc>
                  <a:spcPct val="110000"/>
                </a:lnSpc>
                <a:spcBef>
                  <a:spcPct val="20000"/>
                </a:spcBef>
                <a:buClr>
                  <a:schemeClr val="tx1"/>
                </a:buClr>
                <a:buFont typeface="Arial" charset="0"/>
                <a:buChar char="–"/>
                <a:defRPr sz="1200">
                  <a:solidFill>
                    <a:schemeClr val="tx1"/>
                  </a:solidFill>
                  <a:latin typeface="Arial" charset="0"/>
                </a:defRPr>
              </a:lvl4pPr>
              <a:lvl5pPr marL="603250" indent="-142875" defTabSz="787400">
                <a:spcBef>
                  <a:spcPct val="20000"/>
                </a:spcBef>
                <a:buClr>
                  <a:schemeClr val="tx1"/>
                </a:buClr>
                <a:buFont typeface="Wingdings" charset="2"/>
                <a:buChar char="§"/>
                <a:defRPr sz="1200">
                  <a:solidFill>
                    <a:schemeClr val="tx1"/>
                  </a:solidFill>
                  <a:latin typeface="Arial" charset="0"/>
                </a:defRPr>
              </a:lvl5pPr>
              <a:lvl6pPr marL="1060450" indent="-142875" defTabSz="787400" eaLnBrk="0" fontAlgn="base" hangingPunct="0">
                <a:spcBef>
                  <a:spcPct val="20000"/>
                </a:spcBef>
                <a:spcAft>
                  <a:spcPct val="0"/>
                </a:spcAft>
                <a:buClr>
                  <a:schemeClr val="tx1"/>
                </a:buClr>
                <a:buFont typeface="Wingdings" charset="2"/>
                <a:buChar char="§"/>
                <a:defRPr sz="1200">
                  <a:solidFill>
                    <a:schemeClr val="tx1"/>
                  </a:solidFill>
                  <a:latin typeface="Arial" charset="0"/>
                </a:defRPr>
              </a:lvl6pPr>
              <a:lvl7pPr marL="1517650" indent="-142875" defTabSz="787400" eaLnBrk="0" fontAlgn="base" hangingPunct="0">
                <a:spcBef>
                  <a:spcPct val="20000"/>
                </a:spcBef>
                <a:spcAft>
                  <a:spcPct val="0"/>
                </a:spcAft>
                <a:buClr>
                  <a:schemeClr val="tx1"/>
                </a:buClr>
                <a:buFont typeface="Wingdings" charset="2"/>
                <a:buChar char="§"/>
                <a:defRPr sz="1200">
                  <a:solidFill>
                    <a:schemeClr val="tx1"/>
                  </a:solidFill>
                  <a:latin typeface="Arial" charset="0"/>
                </a:defRPr>
              </a:lvl7pPr>
              <a:lvl8pPr marL="1974850" indent="-142875" defTabSz="787400" eaLnBrk="0" fontAlgn="base" hangingPunct="0">
                <a:spcBef>
                  <a:spcPct val="20000"/>
                </a:spcBef>
                <a:spcAft>
                  <a:spcPct val="0"/>
                </a:spcAft>
                <a:buClr>
                  <a:schemeClr val="tx1"/>
                </a:buClr>
                <a:buFont typeface="Wingdings" charset="2"/>
                <a:buChar char="§"/>
                <a:defRPr sz="1200">
                  <a:solidFill>
                    <a:schemeClr val="tx1"/>
                  </a:solidFill>
                  <a:latin typeface="Arial" charset="0"/>
                </a:defRPr>
              </a:lvl8pPr>
              <a:lvl9pPr marL="2432050" indent="-142875" defTabSz="787400" eaLnBrk="0" fontAlgn="base" hangingPunct="0">
                <a:spcBef>
                  <a:spcPct val="20000"/>
                </a:spcBef>
                <a:spcAft>
                  <a:spcPct val="0"/>
                </a:spcAft>
                <a:buClr>
                  <a:schemeClr val="tx1"/>
                </a:buClr>
                <a:buFont typeface="Wingdings" charset="2"/>
                <a:buChar char="§"/>
                <a:defRPr sz="1200">
                  <a:solidFill>
                    <a:schemeClr val="tx1"/>
                  </a:solidFill>
                  <a:latin typeface="Arial" charset="0"/>
                </a:defRPr>
              </a:lvl9pPr>
            </a:lstStyle>
            <a:p>
              <a:pPr algn="ctr">
                <a:lnSpc>
                  <a:spcPct val="95000"/>
                </a:lnSpc>
                <a:spcBef>
                  <a:spcPts val="0"/>
                </a:spcBef>
                <a:buNone/>
              </a:pPr>
              <a:r>
                <a:rPr lang="en-AU" altLang="en-US" b="1" dirty="0" smtClean="0">
                  <a:solidFill>
                    <a:schemeClr val="bg1"/>
                  </a:solidFill>
                  <a:latin typeface="+mn-lt"/>
                  <a:ea typeface="Calibri" charset="0"/>
                  <a:cs typeface="Calibri" charset="0"/>
                </a:rPr>
                <a:t>Donors</a:t>
              </a:r>
              <a:r>
                <a:rPr lang="en-AU" altLang="en-US" b="1" baseline="30000" dirty="0">
                  <a:solidFill>
                    <a:schemeClr val="bg1"/>
                  </a:solidFill>
                  <a:latin typeface="+mn-lt"/>
                  <a:ea typeface="Calibri" charset="0"/>
                  <a:cs typeface="Calibri" charset="0"/>
                </a:rPr>
                <a:t>4</a:t>
              </a:r>
            </a:p>
            <a:p>
              <a:pPr algn="ctr">
                <a:lnSpc>
                  <a:spcPct val="95000"/>
                </a:lnSpc>
                <a:spcBef>
                  <a:spcPts val="0"/>
                </a:spcBef>
                <a:buNone/>
              </a:pPr>
              <a:r>
                <a:rPr lang="en-AU" altLang="en-US" b="1" dirty="0" smtClean="0">
                  <a:solidFill>
                    <a:schemeClr val="bg1"/>
                  </a:solidFill>
                  <a:latin typeface="+mn-lt"/>
                  <a:ea typeface="Calibri" charset="0"/>
                  <a:cs typeface="Calibri" charset="0"/>
                </a:rPr>
                <a:t>~$8,765 </a:t>
              </a:r>
              <a:r>
                <a:rPr lang="en-AU" altLang="en-US" b="1" dirty="0">
                  <a:solidFill>
                    <a:schemeClr val="bg1"/>
                  </a:solidFill>
                  <a:latin typeface="+mn-lt"/>
                  <a:ea typeface="Calibri" charset="0"/>
                  <a:cs typeface="Calibri" charset="0"/>
                </a:rPr>
                <a:t>million</a:t>
              </a:r>
            </a:p>
          </p:txBody>
        </p:sp>
      </p:grpSp>
    </p:spTree>
    <p:extLst>
      <p:ext uri="{BB962C8B-B14F-4D97-AF65-F5344CB8AC3E}">
        <p14:creationId xmlns:p14="http://schemas.microsoft.com/office/powerpoint/2010/main" val="151368430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ext uri="{D42A27DB-BD31-4B8C-83A1-F6EECF244321}">
                <p14:modId xmlns:p14="http://schemas.microsoft.com/office/powerpoint/2010/main" val="4244917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399" name="think-cell Slide" r:id="rId5" imgW="327" imgH="327" progId="TCLayout.ActiveDocument.1">
                  <p:embed/>
                </p:oleObj>
              </mc:Choice>
              <mc:Fallback>
                <p:oleObj name="think-cell Slide" r:id="rId5" imgW="327" imgH="32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200" b="1" dirty="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450741" y="134056"/>
            <a:ext cx="9302859" cy="582389"/>
          </a:xfrm>
          <a:noFill/>
          <a:ln>
            <a:noFill/>
          </a:ln>
        </p:spPr>
        <p:txBody>
          <a:bodyPr spcFirstLastPara="1" wrap="square" lIns="0" tIns="0" rIns="0" bIns="0" anchor="b" anchorCtr="0"/>
          <a:lstStyle/>
          <a:p>
            <a:pPr defTabSz="914395">
              <a:spcBef>
                <a:spcPts val="0"/>
              </a:spcBef>
              <a:buClr>
                <a:schemeClr val="dk1"/>
              </a:buClr>
              <a:buSzPts val="2200"/>
              <a:buFont typeface="Arial"/>
            </a:pPr>
            <a:r>
              <a:rPr lang="en-US" sz="2200" dirty="0">
                <a:solidFill>
                  <a:schemeClr val="dk1"/>
                </a:solidFill>
                <a:latin typeface="Arial"/>
                <a:cs typeface="Arial"/>
              </a:rPr>
              <a:t/>
            </a:r>
            <a:br>
              <a:rPr lang="en-US" sz="2200" dirty="0">
                <a:solidFill>
                  <a:schemeClr val="dk1"/>
                </a:solidFill>
                <a:latin typeface="Arial"/>
                <a:cs typeface="Arial"/>
              </a:rPr>
            </a:br>
            <a:r>
              <a:rPr lang="en-US" sz="2200" dirty="0">
                <a:solidFill>
                  <a:schemeClr val="dk1"/>
                </a:solidFill>
                <a:latin typeface="Arial"/>
                <a:cs typeface="Arial"/>
              </a:rPr>
              <a:t/>
            </a:r>
            <a:br>
              <a:rPr lang="en-US" sz="2200" dirty="0">
                <a:solidFill>
                  <a:schemeClr val="dk1"/>
                </a:solidFill>
                <a:latin typeface="Arial"/>
                <a:cs typeface="Arial"/>
              </a:rPr>
            </a:br>
            <a:r>
              <a:rPr lang="en-US" sz="2200" dirty="0">
                <a:solidFill>
                  <a:schemeClr val="dk1"/>
                </a:solidFill>
                <a:latin typeface="Arial"/>
                <a:cs typeface="Arial"/>
              </a:rPr>
              <a:t/>
            </a:r>
            <a:br>
              <a:rPr lang="en-US" sz="2200" dirty="0">
                <a:solidFill>
                  <a:schemeClr val="dk1"/>
                </a:solidFill>
                <a:latin typeface="Arial"/>
                <a:cs typeface="Arial"/>
              </a:rPr>
            </a:br>
            <a:r>
              <a:rPr lang="en-US" sz="2200" dirty="0">
                <a:solidFill>
                  <a:schemeClr val="dk1"/>
                </a:solidFill>
                <a:latin typeface="Arial"/>
                <a:cs typeface="Arial"/>
              </a:rPr>
              <a:t/>
            </a:r>
            <a:br>
              <a:rPr lang="en-US" sz="2200" dirty="0">
                <a:solidFill>
                  <a:schemeClr val="dk1"/>
                </a:solidFill>
                <a:latin typeface="Arial"/>
                <a:cs typeface="Arial"/>
              </a:rPr>
            </a:br>
            <a:r>
              <a:rPr lang="en-US" sz="2200" dirty="0">
                <a:solidFill>
                  <a:schemeClr val="dk1"/>
                </a:solidFill>
                <a:latin typeface="Arial"/>
                <a:cs typeface="Arial"/>
              </a:rPr>
              <a:t/>
            </a:r>
            <a:br>
              <a:rPr lang="en-US" sz="2200" dirty="0">
                <a:solidFill>
                  <a:schemeClr val="dk1"/>
                </a:solidFill>
                <a:latin typeface="Arial"/>
                <a:cs typeface="Arial"/>
              </a:rPr>
            </a:br>
            <a:r>
              <a:rPr lang="en-US" sz="2200" dirty="0">
                <a:solidFill>
                  <a:schemeClr val="dk1"/>
                </a:solidFill>
                <a:latin typeface="Arial"/>
                <a:cs typeface="Arial"/>
              </a:rPr>
              <a:t/>
            </a:r>
            <a:br>
              <a:rPr lang="en-US" sz="2200" dirty="0">
                <a:solidFill>
                  <a:schemeClr val="dk1"/>
                </a:solidFill>
                <a:latin typeface="Arial"/>
                <a:cs typeface="Arial"/>
              </a:rPr>
            </a:br>
            <a:r>
              <a:rPr lang="en-US" sz="2200" dirty="0">
                <a:solidFill>
                  <a:schemeClr val="dk1"/>
                </a:solidFill>
                <a:latin typeface="Arial"/>
                <a:cs typeface="Arial"/>
              </a:rPr>
              <a:t/>
            </a:r>
            <a:br>
              <a:rPr lang="en-US" sz="2200" dirty="0">
                <a:solidFill>
                  <a:schemeClr val="dk1"/>
                </a:solidFill>
                <a:latin typeface="Arial"/>
                <a:cs typeface="Arial"/>
              </a:rPr>
            </a:br>
            <a:r>
              <a:rPr lang="en-US" sz="2200" dirty="0">
                <a:solidFill>
                  <a:schemeClr val="dk1"/>
                </a:solidFill>
                <a:latin typeface="Arial"/>
                <a:cs typeface="Arial"/>
              </a:rPr>
              <a:t>AGRA’s Main Partners in </a:t>
            </a:r>
            <a:r>
              <a:rPr lang="en-US" sz="2200" dirty="0" smtClean="0">
                <a:solidFill>
                  <a:schemeClr val="dk1"/>
                </a:solidFill>
                <a:latin typeface="Arial"/>
                <a:cs typeface="Arial"/>
              </a:rPr>
              <a:t>Ethiopia</a:t>
            </a:r>
            <a:endParaRPr lang="en-US" sz="2200" dirty="0">
              <a:solidFill>
                <a:schemeClr val="dk1"/>
              </a:solidFill>
              <a:latin typeface="Arial"/>
              <a:cs typeface="Arial"/>
            </a:endParaRPr>
          </a:p>
        </p:txBody>
      </p:sp>
      <p:cxnSp>
        <p:nvCxnSpPr>
          <p:cNvPr id="22" name="Straight Connector 21"/>
          <p:cNvCxnSpPr/>
          <p:nvPr/>
        </p:nvCxnSpPr>
        <p:spPr>
          <a:xfrm flipH="1">
            <a:off x="3133165" y="1447679"/>
            <a:ext cx="7235" cy="4563156"/>
          </a:xfrm>
          <a:prstGeom prst="line">
            <a:avLst/>
          </a:prstGeom>
          <a:ln>
            <a:solidFill>
              <a:srgbClr val="92D050"/>
            </a:solidFill>
            <a:prstDash val="sysDash"/>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flipH="1">
            <a:off x="6431756" y="1447679"/>
            <a:ext cx="20719" cy="4527973"/>
          </a:xfrm>
          <a:prstGeom prst="line">
            <a:avLst/>
          </a:prstGeom>
          <a:ln>
            <a:solidFill>
              <a:srgbClr val="92D050"/>
            </a:solidFill>
            <a:prstDash val="sysDash"/>
          </a:ln>
        </p:spPr>
        <p:style>
          <a:lnRef idx="1">
            <a:schemeClr val="accent1"/>
          </a:lnRef>
          <a:fillRef idx="0">
            <a:schemeClr val="accent1"/>
          </a:fillRef>
          <a:effectRef idx="0">
            <a:schemeClr val="accent1"/>
          </a:effectRef>
          <a:fontRef idx="minor">
            <a:schemeClr val="tx1"/>
          </a:fontRef>
        </p:style>
      </p:cxnSp>
      <p:graphicFrame>
        <p:nvGraphicFramePr>
          <p:cNvPr id="3" name="Table 2"/>
          <p:cNvGraphicFramePr>
            <a:graphicFrameLocks noGrp="1"/>
          </p:cNvGraphicFramePr>
          <p:nvPr>
            <p:extLst>
              <p:ext uri="{D42A27DB-BD31-4B8C-83A1-F6EECF244321}">
                <p14:modId xmlns:p14="http://schemas.microsoft.com/office/powerpoint/2010/main" val="3936151779"/>
              </p:ext>
            </p:extLst>
          </p:nvPr>
        </p:nvGraphicFramePr>
        <p:xfrm>
          <a:off x="450741" y="956148"/>
          <a:ext cx="9019080" cy="370840"/>
        </p:xfrm>
        <a:graphic>
          <a:graphicData uri="http://schemas.openxmlformats.org/drawingml/2006/table">
            <a:tbl>
              <a:tblPr firstRow="1" bandRow="1">
                <a:tableStyleId>{318E6629-4EBB-4D30-9DD3-6ACEAB857B28}</a:tableStyleId>
              </a:tblPr>
              <a:tblGrid>
                <a:gridCol w="3006360">
                  <a:extLst>
                    <a:ext uri="{9D8B030D-6E8A-4147-A177-3AD203B41FA5}">
                      <a16:colId xmlns:a16="http://schemas.microsoft.com/office/drawing/2014/main" val="2218503882"/>
                    </a:ext>
                  </a:extLst>
                </a:gridCol>
                <a:gridCol w="3006360">
                  <a:extLst>
                    <a:ext uri="{9D8B030D-6E8A-4147-A177-3AD203B41FA5}">
                      <a16:colId xmlns:a16="http://schemas.microsoft.com/office/drawing/2014/main" val="2805077936"/>
                    </a:ext>
                  </a:extLst>
                </a:gridCol>
                <a:gridCol w="3006360">
                  <a:extLst>
                    <a:ext uri="{9D8B030D-6E8A-4147-A177-3AD203B41FA5}">
                      <a16:colId xmlns:a16="http://schemas.microsoft.com/office/drawing/2014/main" val="1232502373"/>
                    </a:ext>
                  </a:extLst>
                </a:gridCol>
              </a:tblGrid>
              <a:tr h="370840">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dirty="0" smtClean="0"/>
                        <a:t>System Development</a:t>
                      </a:r>
                    </a:p>
                  </a:txBody>
                  <a:tcPr/>
                </a:tc>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dirty="0" smtClean="0"/>
                        <a:t>Partnerships 	</a:t>
                      </a:r>
                    </a:p>
                  </a:txBody>
                  <a:tcPr/>
                </a:tc>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dirty="0" smtClean="0"/>
                        <a:t>Policy &amp; State Capability </a:t>
                      </a:r>
                    </a:p>
                  </a:txBody>
                  <a:tcPr/>
                </a:tc>
                <a:extLst>
                  <a:ext uri="{0D108BD9-81ED-4DB2-BD59-A6C34878D82A}">
                    <a16:rowId xmlns:a16="http://schemas.microsoft.com/office/drawing/2014/main" val="4152357150"/>
                  </a:ext>
                </a:extLst>
              </a:tr>
            </a:tbl>
          </a:graphicData>
        </a:graphic>
      </p:graphicFrame>
      <p:pic>
        <p:nvPicPr>
          <p:cNvPr id="31" name="Picture 30"/>
          <p:cNvPicPr>
            <a:picLocks noChangeAspect="1"/>
          </p:cNvPicPr>
          <p:nvPr/>
        </p:nvPicPr>
        <p:blipFill rotWithShape="1">
          <a:blip r:embed="rId7"/>
          <a:srcRect b="6587"/>
          <a:stretch/>
        </p:blipFill>
        <p:spPr>
          <a:xfrm>
            <a:off x="426761" y="2284579"/>
            <a:ext cx="1714500" cy="669986"/>
          </a:xfrm>
          <a:prstGeom prst="rect">
            <a:avLst/>
          </a:prstGeom>
        </p:spPr>
      </p:pic>
      <p:pic>
        <p:nvPicPr>
          <p:cNvPr id="32" name="Picture 31"/>
          <p:cNvPicPr>
            <a:picLocks noChangeAspect="1"/>
          </p:cNvPicPr>
          <p:nvPr/>
        </p:nvPicPr>
        <p:blipFill>
          <a:blip r:embed="rId8"/>
          <a:stretch>
            <a:fillRect/>
          </a:stretch>
        </p:blipFill>
        <p:spPr>
          <a:xfrm>
            <a:off x="297195" y="4064734"/>
            <a:ext cx="2248945" cy="552285"/>
          </a:xfrm>
          <a:prstGeom prst="rect">
            <a:avLst/>
          </a:prstGeom>
        </p:spPr>
      </p:pic>
      <p:pic>
        <p:nvPicPr>
          <p:cNvPr id="33" name="Picture 32"/>
          <p:cNvPicPr>
            <a:picLocks noChangeAspect="1"/>
          </p:cNvPicPr>
          <p:nvPr/>
        </p:nvPicPr>
        <p:blipFill>
          <a:blip r:embed="rId9"/>
          <a:stretch>
            <a:fillRect/>
          </a:stretch>
        </p:blipFill>
        <p:spPr>
          <a:xfrm>
            <a:off x="3141538" y="2574210"/>
            <a:ext cx="2087336" cy="1097534"/>
          </a:xfrm>
          <a:prstGeom prst="rect">
            <a:avLst/>
          </a:prstGeom>
        </p:spPr>
      </p:pic>
      <p:pic>
        <p:nvPicPr>
          <p:cNvPr id="35" name="Picture 34"/>
          <p:cNvPicPr>
            <a:picLocks noChangeAspect="1"/>
          </p:cNvPicPr>
          <p:nvPr/>
        </p:nvPicPr>
        <p:blipFill>
          <a:blip r:embed="rId10"/>
          <a:stretch>
            <a:fillRect/>
          </a:stretch>
        </p:blipFill>
        <p:spPr>
          <a:xfrm>
            <a:off x="3289933" y="3772111"/>
            <a:ext cx="2240509" cy="445429"/>
          </a:xfrm>
          <a:prstGeom prst="rect">
            <a:avLst/>
          </a:prstGeom>
        </p:spPr>
      </p:pic>
      <p:pic>
        <p:nvPicPr>
          <p:cNvPr id="37" name="Picture 36"/>
          <p:cNvPicPr>
            <a:picLocks noChangeAspect="1"/>
          </p:cNvPicPr>
          <p:nvPr/>
        </p:nvPicPr>
        <p:blipFill>
          <a:blip r:embed="rId11"/>
          <a:stretch>
            <a:fillRect/>
          </a:stretch>
        </p:blipFill>
        <p:spPr>
          <a:xfrm>
            <a:off x="234323" y="2921893"/>
            <a:ext cx="1186775" cy="1186775"/>
          </a:xfrm>
          <a:prstGeom prst="rect">
            <a:avLst/>
          </a:prstGeom>
        </p:spPr>
      </p:pic>
      <p:pic>
        <p:nvPicPr>
          <p:cNvPr id="39" name="Picture 38"/>
          <p:cNvPicPr>
            <a:picLocks noChangeAspect="1"/>
          </p:cNvPicPr>
          <p:nvPr/>
        </p:nvPicPr>
        <p:blipFill>
          <a:blip r:embed="rId12"/>
          <a:stretch>
            <a:fillRect/>
          </a:stretch>
        </p:blipFill>
        <p:spPr>
          <a:xfrm>
            <a:off x="1559315" y="2954566"/>
            <a:ext cx="1197543" cy="1110168"/>
          </a:xfrm>
          <a:prstGeom prst="rect">
            <a:avLst/>
          </a:prstGeom>
        </p:spPr>
      </p:pic>
      <p:pic>
        <p:nvPicPr>
          <p:cNvPr id="40" name="Picture 39"/>
          <p:cNvPicPr>
            <a:picLocks noChangeAspect="1"/>
          </p:cNvPicPr>
          <p:nvPr/>
        </p:nvPicPr>
        <p:blipFill>
          <a:blip r:embed="rId13"/>
          <a:stretch>
            <a:fillRect/>
          </a:stretch>
        </p:blipFill>
        <p:spPr>
          <a:xfrm>
            <a:off x="921218" y="4582143"/>
            <a:ext cx="2019300" cy="895350"/>
          </a:xfrm>
          <a:prstGeom prst="rect">
            <a:avLst/>
          </a:prstGeom>
        </p:spPr>
      </p:pic>
      <p:pic>
        <p:nvPicPr>
          <p:cNvPr id="5" name="Picture 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88651" y="1472427"/>
            <a:ext cx="1690519" cy="743940"/>
          </a:xfrm>
          <a:prstGeom prst="rect">
            <a:avLst/>
          </a:prstGeom>
        </p:spPr>
      </p:pic>
      <p:pic>
        <p:nvPicPr>
          <p:cNvPr id="18" name="Picture 17"/>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3393422" y="1348858"/>
            <a:ext cx="1194997" cy="620479"/>
          </a:xfrm>
          <a:prstGeom prst="rect">
            <a:avLst/>
          </a:prstGeom>
        </p:spPr>
      </p:pic>
      <p:pic>
        <p:nvPicPr>
          <p:cNvPr id="19" name="Picture 18"/>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4981569" y="1447679"/>
            <a:ext cx="983184" cy="562586"/>
          </a:xfrm>
          <a:prstGeom prst="rect">
            <a:avLst/>
          </a:prstGeom>
        </p:spPr>
      </p:pic>
      <p:pic>
        <p:nvPicPr>
          <p:cNvPr id="20" name="Picture 19"/>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402482" y="1953731"/>
            <a:ext cx="930020" cy="668237"/>
          </a:xfrm>
          <a:prstGeom prst="rect">
            <a:avLst/>
          </a:prstGeom>
        </p:spPr>
      </p:pic>
      <p:pic>
        <p:nvPicPr>
          <p:cNvPr id="38" name="Picture 37"/>
          <p:cNvPicPr>
            <a:picLocks noChangeAspect="1"/>
          </p:cNvPicPr>
          <p:nvPr/>
        </p:nvPicPr>
        <p:blipFill>
          <a:blip r:embed="rId18"/>
          <a:stretch>
            <a:fillRect/>
          </a:stretch>
        </p:blipFill>
        <p:spPr>
          <a:xfrm>
            <a:off x="234323" y="4698662"/>
            <a:ext cx="1064501" cy="408745"/>
          </a:xfrm>
          <a:prstGeom prst="rect">
            <a:avLst/>
          </a:prstGeom>
        </p:spPr>
      </p:pic>
      <p:pic>
        <p:nvPicPr>
          <p:cNvPr id="21" name="Picture 20"/>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687673" y="1467283"/>
            <a:ext cx="2662653" cy="1020684"/>
          </a:xfrm>
          <a:prstGeom prst="rect">
            <a:avLst/>
          </a:prstGeom>
        </p:spPr>
      </p:pic>
      <p:pic>
        <p:nvPicPr>
          <p:cNvPr id="24" name="Picture 23"/>
          <p:cNvPicPr>
            <a:picLocks noChangeAspect="1"/>
          </p:cNvPicPr>
          <p:nvPr/>
        </p:nvPicPr>
        <p:blipFill>
          <a:blip r:embed="rId8"/>
          <a:stretch>
            <a:fillRect/>
          </a:stretch>
        </p:blipFill>
        <p:spPr>
          <a:xfrm>
            <a:off x="6530884" y="2640912"/>
            <a:ext cx="2248945" cy="552285"/>
          </a:xfrm>
          <a:prstGeom prst="rect">
            <a:avLst/>
          </a:prstGeom>
        </p:spPr>
      </p:pic>
      <p:pic>
        <p:nvPicPr>
          <p:cNvPr id="6" name="Picture 5"/>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1931511" y="1578975"/>
            <a:ext cx="1209458" cy="551006"/>
          </a:xfrm>
          <a:prstGeom prst="rect">
            <a:avLst/>
          </a:prstGeom>
        </p:spPr>
      </p:pic>
      <p:pic>
        <p:nvPicPr>
          <p:cNvPr id="7" name="Picture 6"/>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5055861" y="2097952"/>
            <a:ext cx="990600" cy="914400"/>
          </a:xfrm>
          <a:prstGeom prst="rect">
            <a:avLst/>
          </a:prstGeom>
        </p:spPr>
      </p:pic>
      <p:pic>
        <p:nvPicPr>
          <p:cNvPr id="8" name="Picture 7"/>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378004" y="5689902"/>
            <a:ext cx="1771650" cy="571500"/>
          </a:xfrm>
          <a:prstGeom prst="rect">
            <a:avLst/>
          </a:prstGeom>
        </p:spPr>
      </p:pic>
      <p:pic>
        <p:nvPicPr>
          <p:cNvPr id="25" name="Picture 24"/>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685370" y="3453754"/>
            <a:ext cx="1209458" cy="551006"/>
          </a:xfrm>
          <a:prstGeom prst="rect">
            <a:avLst/>
          </a:prstGeom>
        </p:spPr>
      </p:pic>
    </p:spTree>
    <p:extLst>
      <p:ext uri="{BB962C8B-B14F-4D97-AF65-F5344CB8AC3E}">
        <p14:creationId xmlns:p14="http://schemas.microsoft.com/office/powerpoint/2010/main" val="217516305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989"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4400" dirty="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smtClean="0"/>
              <a:t>Results Framework and Targets</a:t>
            </a:r>
            <a:endParaRPr lang="en-US" dirty="0"/>
          </a:p>
        </p:txBody>
      </p:sp>
    </p:spTree>
    <p:extLst>
      <p:ext uri="{BB962C8B-B14F-4D97-AF65-F5344CB8AC3E}">
        <p14:creationId xmlns:p14="http://schemas.microsoft.com/office/powerpoint/2010/main" val="4212509150"/>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595960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015" name="think-cell Slide" r:id="rId5" imgW="327" imgH="327" progId="TCLayout.ActiveDocument.1">
                  <p:embed/>
                </p:oleObj>
              </mc:Choice>
              <mc:Fallback>
                <p:oleObj name="think-cell Slide" r:id="rId5" imgW="327" imgH="327"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200" b="1" dirty="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smtClean="0"/>
              <a:t>Ethiopia Country </a:t>
            </a:r>
            <a:r>
              <a:rPr lang="en-US" dirty="0"/>
              <a:t>Results </a:t>
            </a:r>
            <a:r>
              <a:rPr lang="en-US" dirty="0" smtClean="0"/>
              <a:t>Framework </a:t>
            </a: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2039854264"/>
              </p:ext>
            </p:extLst>
          </p:nvPr>
        </p:nvGraphicFramePr>
        <p:xfrm>
          <a:off x="450740" y="716443"/>
          <a:ext cx="9362961" cy="5454656"/>
        </p:xfrm>
        <a:graphic>
          <a:graphicData uri="http://schemas.openxmlformats.org/drawingml/2006/table">
            <a:tbl>
              <a:tblPr firstRow="1" firstCol="1" bandRow="1"/>
              <a:tblGrid>
                <a:gridCol w="2400118">
                  <a:extLst>
                    <a:ext uri="{9D8B030D-6E8A-4147-A177-3AD203B41FA5}">
                      <a16:colId xmlns:a16="http://schemas.microsoft.com/office/drawing/2014/main" val="20000"/>
                    </a:ext>
                  </a:extLst>
                </a:gridCol>
                <a:gridCol w="2573799">
                  <a:extLst>
                    <a:ext uri="{9D8B030D-6E8A-4147-A177-3AD203B41FA5}">
                      <a16:colId xmlns:a16="http://schemas.microsoft.com/office/drawing/2014/main" val="20001"/>
                    </a:ext>
                  </a:extLst>
                </a:gridCol>
                <a:gridCol w="4389044">
                  <a:extLst>
                    <a:ext uri="{9D8B030D-6E8A-4147-A177-3AD203B41FA5}">
                      <a16:colId xmlns:a16="http://schemas.microsoft.com/office/drawing/2014/main" val="20002"/>
                    </a:ext>
                  </a:extLst>
                </a:gridCol>
              </a:tblGrid>
              <a:tr h="282040">
                <a:tc>
                  <a:txBody>
                    <a:bodyPr/>
                    <a:lstStyle/>
                    <a:p>
                      <a:pPr marL="0" marR="0">
                        <a:lnSpc>
                          <a:spcPct val="107000"/>
                        </a:lnSpc>
                        <a:spcBef>
                          <a:spcPts val="0"/>
                        </a:spcBef>
                        <a:spcAft>
                          <a:spcPts val="0"/>
                        </a:spcAft>
                      </a:pPr>
                      <a:r>
                        <a:rPr lang="en-US" sz="1000" b="1" dirty="0">
                          <a:effectLst/>
                          <a:latin typeface="Arial" panose="020B0604020202020204" pitchFamily="34" charset="0"/>
                          <a:ea typeface="Calibri" panose="020F0502020204030204" pitchFamily="34" charset="0"/>
                        </a:rPr>
                        <a:t>Expected outcomes</a:t>
                      </a: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6EE"/>
                    </a:solidFill>
                  </a:tcPr>
                </a:tc>
                <a:tc>
                  <a:txBody>
                    <a:bodyPr/>
                    <a:lstStyle/>
                    <a:p>
                      <a:pPr marL="0" marR="0">
                        <a:lnSpc>
                          <a:spcPct val="107000"/>
                        </a:lnSpc>
                        <a:spcBef>
                          <a:spcPts val="0"/>
                        </a:spcBef>
                        <a:spcAft>
                          <a:spcPts val="0"/>
                        </a:spcAft>
                      </a:pPr>
                      <a:r>
                        <a:rPr lang="en-US" sz="1000" b="1">
                          <a:effectLst/>
                          <a:latin typeface="Arial" panose="020B0604020202020204" pitchFamily="34" charset="0"/>
                          <a:ea typeface="Calibri" panose="020F0502020204030204" pitchFamily="34" charset="0"/>
                        </a:rPr>
                        <a:t>Country Result area</a:t>
                      </a: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8D08D"/>
                    </a:solidFill>
                  </a:tcPr>
                </a:tc>
                <a:tc>
                  <a:txBody>
                    <a:bodyPr/>
                    <a:lstStyle/>
                    <a:p>
                      <a:pPr marL="0" marR="0">
                        <a:lnSpc>
                          <a:spcPct val="107000"/>
                        </a:lnSpc>
                        <a:spcBef>
                          <a:spcPts val="0"/>
                        </a:spcBef>
                        <a:spcAft>
                          <a:spcPts val="0"/>
                        </a:spcAft>
                      </a:pPr>
                      <a:r>
                        <a:rPr lang="en-US" sz="1000" b="1">
                          <a:effectLst/>
                          <a:latin typeface="Arial" panose="020B0604020202020204" pitchFamily="34" charset="0"/>
                          <a:ea typeface="Calibri" panose="020F0502020204030204" pitchFamily="34" charset="0"/>
                        </a:rPr>
                        <a:t>Key interventions</a:t>
                      </a: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a16="http://schemas.microsoft.com/office/drawing/2014/main" val="10000"/>
                  </a:ext>
                </a:extLst>
              </a:tr>
              <a:tr h="275931">
                <a:tc rowSpan="4">
                  <a:txBody>
                    <a:bodyPr/>
                    <a:lstStyle/>
                    <a:p>
                      <a:pPr marL="0" marR="0">
                        <a:lnSpc>
                          <a:spcPct val="107000"/>
                        </a:lnSpc>
                        <a:spcBef>
                          <a:spcPts val="0"/>
                        </a:spcBef>
                        <a:spcAft>
                          <a:spcPts val="0"/>
                        </a:spcAft>
                      </a:pPr>
                      <a:r>
                        <a:rPr lang="en-US" sz="1000" b="0" dirty="0">
                          <a:effectLst/>
                          <a:latin typeface="Arial" panose="020B0604020202020204" pitchFamily="34" charset="0"/>
                          <a:ea typeface="Calibri" panose="020F0502020204030204" pitchFamily="34" charset="0"/>
                        </a:rPr>
                        <a:t>Outcome 1: Strengthened national level agricultural sector system and</a:t>
                      </a:r>
                      <a:r>
                        <a:rPr lang="en-US" sz="1000" b="0" dirty="0">
                          <a:solidFill>
                            <a:srgbClr val="000000"/>
                          </a:solidFill>
                          <a:effectLst/>
                          <a:latin typeface="Arial" panose="020B0604020202020204" pitchFamily="34" charset="0"/>
                          <a:ea typeface="Times New Roman" panose="02020603050405020304" pitchFamily="18" charset="0"/>
                        </a:rPr>
                        <a:t> </a:t>
                      </a:r>
                      <a:r>
                        <a:rPr lang="en-US" sz="1000" b="0" dirty="0">
                          <a:effectLst/>
                          <a:latin typeface="Arial" panose="020B0604020202020204" pitchFamily="34" charset="0"/>
                          <a:ea typeface="Calibri" panose="020F0502020204030204" pitchFamily="34" charset="0"/>
                        </a:rPr>
                        <a:t>Strengthened agricultural enabling policy environment </a:t>
                      </a:r>
                      <a:endParaRPr lang="en-US" sz="1000" b="1" dirty="0">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6EE"/>
                    </a:solidFill>
                  </a:tcPr>
                </a:tc>
                <a:tc rowSpan="4">
                  <a:txBody>
                    <a:bodyPr/>
                    <a:lstStyle/>
                    <a:p>
                      <a:pPr marL="0" marR="0">
                        <a:lnSpc>
                          <a:spcPct val="107000"/>
                        </a:lnSpc>
                        <a:spcBef>
                          <a:spcPts val="0"/>
                        </a:spcBef>
                        <a:spcAft>
                          <a:spcPts val="0"/>
                        </a:spcAft>
                      </a:pPr>
                      <a:r>
                        <a:rPr lang="en-US" sz="1000" b="0" dirty="0">
                          <a:effectLst/>
                          <a:latin typeface="Arial" panose="020B0604020202020204" pitchFamily="34" charset="0"/>
                          <a:ea typeface="Calibri" panose="020F0502020204030204" pitchFamily="34" charset="0"/>
                        </a:rPr>
                        <a:t>Evidence based planning and accountability mechanisms strengthened</a:t>
                      </a:r>
                      <a:endParaRPr lang="en-US" sz="1000" b="1" dirty="0">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8D08D"/>
                    </a:solidFill>
                  </a:tcPr>
                </a:tc>
                <a:tc>
                  <a:txBody>
                    <a:bodyPr/>
                    <a:lstStyle/>
                    <a:p>
                      <a:pPr marL="0" marR="0">
                        <a:lnSpc>
                          <a:spcPct val="107000"/>
                        </a:lnSpc>
                        <a:spcBef>
                          <a:spcPts val="0"/>
                        </a:spcBef>
                        <a:spcAft>
                          <a:spcPts val="0"/>
                        </a:spcAft>
                      </a:pPr>
                      <a:r>
                        <a:rPr lang="en-US" sz="1000" b="0" dirty="0" smtClean="0">
                          <a:effectLst/>
                          <a:latin typeface="Arial" panose="020B0604020202020204" pitchFamily="34" charset="0"/>
                          <a:ea typeface="Calibri" panose="020F0502020204030204" pitchFamily="34" charset="0"/>
                        </a:rPr>
                        <a:t>Support formulation of appropriate policies that catalyze and sustain agricultural transformation</a:t>
                      </a:r>
                      <a:endParaRPr lang="en-US" sz="1000" b="1" dirty="0">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a16="http://schemas.microsoft.com/office/drawing/2014/main" val="10001"/>
                  </a:ext>
                </a:extLst>
              </a:tr>
              <a:tr h="539738">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US" sz="1000" b="0">
                          <a:effectLst/>
                          <a:latin typeface="Arial" panose="020B0604020202020204" pitchFamily="34" charset="0"/>
                          <a:ea typeface="Calibri" panose="020F0502020204030204" pitchFamily="34" charset="0"/>
                        </a:rPr>
                        <a:t>Support government to strengthen execution capacity while enhancing the transparency, accountability systems and policy environment for increased public and private sector investment in agriculture</a:t>
                      </a:r>
                      <a:endParaRPr lang="en-US" sz="1000" b="1">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a16="http://schemas.microsoft.com/office/drawing/2014/main" val="10002"/>
                  </a:ext>
                </a:extLst>
              </a:tr>
              <a:tr h="197701">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US" sz="1000" b="0">
                          <a:effectLst/>
                          <a:latin typeface="Arial" panose="020B0604020202020204" pitchFamily="34" charset="0"/>
                          <a:ea typeface="Calibri" panose="020F0502020204030204" pitchFamily="34" charset="0"/>
                        </a:rPr>
                        <a:t>Support strengthening Government M&amp;E systems</a:t>
                      </a:r>
                      <a:endParaRPr lang="en-US" sz="1000" b="1">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a16="http://schemas.microsoft.com/office/drawing/2014/main" val="10003"/>
                  </a:ext>
                </a:extLst>
              </a:tr>
              <a:tr h="137965">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US" sz="1000" b="0" dirty="0">
                          <a:effectLst/>
                          <a:latin typeface="Arial" panose="020B0604020202020204" pitchFamily="34" charset="0"/>
                          <a:ea typeface="Calibri" panose="020F0502020204030204" pitchFamily="34" charset="0"/>
                        </a:rPr>
                        <a:t>Second Technical Experts to </a:t>
                      </a:r>
                      <a:r>
                        <a:rPr lang="en-US" sz="1000" b="0" dirty="0" smtClean="0">
                          <a:effectLst/>
                          <a:latin typeface="Arial" panose="020B0604020202020204" pitchFamily="34" charset="0"/>
                          <a:ea typeface="Calibri" panose="020F0502020204030204" pitchFamily="34" charset="0"/>
                        </a:rPr>
                        <a:t>Ministry of Agriculture</a:t>
                      </a:r>
                      <a:endParaRPr lang="en-US" sz="1000" b="1" dirty="0">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a16="http://schemas.microsoft.com/office/drawing/2014/main" val="10004"/>
                  </a:ext>
                </a:extLst>
              </a:tr>
              <a:tr h="275931">
                <a:tc rowSpan="4">
                  <a:txBody>
                    <a:bodyPr/>
                    <a:lstStyle/>
                    <a:p>
                      <a:pPr marL="0" marR="0">
                        <a:lnSpc>
                          <a:spcPct val="107000"/>
                        </a:lnSpc>
                        <a:spcBef>
                          <a:spcPts val="0"/>
                        </a:spcBef>
                        <a:spcAft>
                          <a:spcPts val="0"/>
                        </a:spcAft>
                      </a:pPr>
                      <a:r>
                        <a:rPr lang="en-US" sz="1000" b="0" dirty="0">
                          <a:effectLst/>
                          <a:latin typeface="Arial" panose="020B0604020202020204" pitchFamily="34" charset="0"/>
                          <a:ea typeface="Calibri" panose="020F0502020204030204" pitchFamily="34" charset="0"/>
                        </a:rPr>
                        <a:t>Outcome 2: Strengthened agricultural input systems, technology development and supply chain</a:t>
                      </a:r>
                      <a:endParaRPr lang="en-US" sz="1000" b="1" dirty="0">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6EE"/>
                    </a:solidFill>
                  </a:tcPr>
                </a:tc>
                <a:tc rowSpan="4">
                  <a:txBody>
                    <a:bodyPr/>
                    <a:lstStyle/>
                    <a:p>
                      <a:pPr marL="0" marR="0">
                        <a:lnSpc>
                          <a:spcPct val="107000"/>
                        </a:lnSpc>
                        <a:spcBef>
                          <a:spcPts val="0"/>
                        </a:spcBef>
                        <a:spcAft>
                          <a:spcPts val="0"/>
                        </a:spcAft>
                      </a:pPr>
                      <a:r>
                        <a:rPr lang="en-US" sz="1000" b="0" dirty="0">
                          <a:effectLst/>
                          <a:latin typeface="Arial" panose="020B0604020202020204" pitchFamily="34" charset="0"/>
                          <a:ea typeface="Calibri" panose="020F0502020204030204" pitchFamily="34" charset="0"/>
                        </a:rPr>
                        <a:t>Increased availability and use of seeds and fertilizer for small holder farmers</a:t>
                      </a:r>
                      <a:endParaRPr lang="en-US" sz="1000" b="1" dirty="0">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8D08D"/>
                    </a:solidFill>
                  </a:tcPr>
                </a:tc>
                <a:tc>
                  <a:txBody>
                    <a:bodyPr/>
                    <a:lstStyle/>
                    <a:p>
                      <a:pPr marL="0" marR="0">
                        <a:lnSpc>
                          <a:spcPct val="107000"/>
                        </a:lnSpc>
                        <a:spcBef>
                          <a:spcPts val="0"/>
                        </a:spcBef>
                        <a:spcAft>
                          <a:spcPts val="0"/>
                        </a:spcAft>
                      </a:pPr>
                      <a:r>
                        <a:rPr lang="en-US" sz="1000" b="0">
                          <a:effectLst/>
                          <a:latin typeface="Arial" panose="020B0604020202020204" pitchFamily="34" charset="0"/>
                          <a:ea typeface="Calibri" panose="020F0502020204030204" pitchFamily="34" charset="0"/>
                        </a:rPr>
                        <a:t>Support the production of early generation seed, and scale up seed production. </a:t>
                      </a:r>
                      <a:endParaRPr lang="en-US" sz="1000" b="1">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a16="http://schemas.microsoft.com/office/drawing/2014/main" val="10005"/>
                  </a:ext>
                </a:extLst>
              </a:tr>
              <a:tr h="197701">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US" sz="1000" b="0">
                          <a:effectLst/>
                          <a:latin typeface="Arial" panose="020B0604020202020204" pitchFamily="34" charset="0"/>
                          <a:ea typeface="Calibri" panose="020F0502020204030204" pitchFamily="34" charset="0"/>
                        </a:rPr>
                        <a:t>Support and strengthen seed certification process</a:t>
                      </a:r>
                      <a:endParaRPr lang="en-US" sz="1000" b="1">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a16="http://schemas.microsoft.com/office/drawing/2014/main" val="10006"/>
                  </a:ext>
                </a:extLst>
              </a:tr>
              <a:tr h="197701">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US" sz="1000" b="0" dirty="0">
                          <a:effectLst/>
                          <a:latin typeface="Arial" panose="020B0604020202020204" pitchFamily="34" charset="0"/>
                          <a:ea typeface="Calibri" panose="020F0502020204030204" pitchFamily="34" charset="0"/>
                        </a:rPr>
                        <a:t>Support popularization of appropriate fertilizer plans</a:t>
                      </a:r>
                      <a:endParaRPr lang="en-US" sz="1000" b="1" dirty="0">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a16="http://schemas.microsoft.com/office/drawing/2014/main" val="10007"/>
                  </a:ext>
                </a:extLst>
              </a:tr>
              <a:tr h="269870">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US" sz="1000" b="0">
                          <a:effectLst/>
                          <a:latin typeface="Arial" panose="020B0604020202020204" pitchFamily="34" charset="0"/>
                          <a:ea typeface="Calibri" panose="020F0502020204030204" pitchFamily="34" charset="0"/>
                        </a:rPr>
                        <a:t>Conduct capacity building activities on the use of seed and fertilizer</a:t>
                      </a:r>
                      <a:endParaRPr lang="en-US" sz="1000" b="1">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a16="http://schemas.microsoft.com/office/drawing/2014/main" val="10008"/>
                  </a:ext>
                </a:extLst>
              </a:tr>
              <a:tr h="566509">
                <a:tc rowSpan="3">
                  <a:txBody>
                    <a:bodyPr/>
                    <a:lstStyle/>
                    <a:p>
                      <a:pPr marL="0" marR="0">
                        <a:lnSpc>
                          <a:spcPct val="107000"/>
                        </a:lnSpc>
                        <a:spcBef>
                          <a:spcPts val="0"/>
                        </a:spcBef>
                        <a:spcAft>
                          <a:spcPts val="0"/>
                        </a:spcAft>
                      </a:pPr>
                      <a:r>
                        <a:rPr lang="en-US" sz="1000" b="0" dirty="0">
                          <a:effectLst/>
                          <a:latin typeface="Arial" panose="020B0604020202020204" pitchFamily="34" charset="0"/>
                          <a:ea typeface="Calibri" panose="020F0502020204030204" pitchFamily="34" charset="0"/>
                        </a:rPr>
                        <a:t>Outcome 3: Increased use of structured markets</a:t>
                      </a:r>
                      <a:endParaRPr lang="en-US" sz="1000" b="1" dirty="0">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6EE"/>
                    </a:solidFill>
                  </a:tcPr>
                </a:tc>
                <a:tc rowSpan="2">
                  <a:txBody>
                    <a:bodyPr/>
                    <a:lstStyle/>
                    <a:p>
                      <a:pPr marL="0" marR="0">
                        <a:lnSpc>
                          <a:spcPct val="107000"/>
                        </a:lnSpc>
                        <a:spcBef>
                          <a:spcPts val="0"/>
                        </a:spcBef>
                        <a:spcAft>
                          <a:spcPts val="0"/>
                        </a:spcAft>
                      </a:pPr>
                      <a:r>
                        <a:rPr lang="en-US" sz="1000" b="0" dirty="0">
                          <a:effectLst/>
                          <a:latin typeface="Arial" panose="020B0604020202020204" pitchFamily="34" charset="0"/>
                          <a:ea typeface="Calibri" panose="020F0502020204030204" pitchFamily="34" charset="0"/>
                        </a:rPr>
                        <a:t>Increased quality of produce  by small holder farmers</a:t>
                      </a:r>
                      <a:endParaRPr lang="en-US" sz="1000" b="1" dirty="0">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8D08D"/>
                    </a:solidFill>
                  </a:tcPr>
                </a:tc>
                <a:tc>
                  <a:txBody>
                    <a:bodyPr/>
                    <a:lstStyle/>
                    <a:p>
                      <a:pPr marL="0" marR="0">
                        <a:lnSpc>
                          <a:spcPct val="107000"/>
                        </a:lnSpc>
                        <a:spcBef>
                          <a:spcPts val="0"/>
                        </a:spcBef>
                        <a:spcAft>
                          <a:spcPts val="0"/>
                        </a:spcAft>
                      </a:pPr>
                      <a:r>
                        <a:rPr lang="en-US" sz="1000" b="0">
                          <a:effectLst/>
                          <a:latin typeface="Arial" panose="020B0604020202020204" pitchFamily="34" charset="0"/>
                          <a:ea typeface="Calibri" panose="020F0502020204030204" pitchFamily="34" charset="0"/>
                        </a:rPr>
                        <a:t>Support initiatives to upgrade near farm aggregation centers  by facilitating access to PHH training, basic commodity handling equipment, enhanced management and linkages to output off-takers and input dealers</a:t>
                      </a:r>
                      <a:endParaRPr lang="en-US" sz="1000" b="1">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a16="http://schemas.microsoft.com/office/drawing/2014/main" val="10009"/>
                  </a:ext>
                </a:extLst>
              </a:tr>
              <a:tr h="380706">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US" sz="1000" b="0">
                          <a:effectLst/>
                          <a:latin typeface="Arial" panose="020B0604020202020204" pitchFamily="34" charset="0"/>
                          <a:ea typeface="Calibri" panose="020F0502020204030204" pitchFamily="34" charset="0"/>
                        </a:rPr>
                        <a:t>Build capacity of farmers on grain standards and post-harvest loss reduction</a:t>
                      </a:r>
                      <a:endParaRPr lang="en-US" sz="1000" b="1">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a16="http://schemas.microsoft.com/office/drawing/2014/main" val="10010"/>
                  </a:ext>
                </a:extLst>
              </a:tr>
              <a:tr h="413896">
                <a:tc vMerge="1">
                  <a:txBody>
                    <a:bodyPr/>
                    <a:lstStyle/>
                    <a:p>
                      <a:endParaRPr lang="en-US"/>
                    </a:p>
                  </a:txBody>
                  <a:tcPr/>
                </a:tc>
                <a:tc>
                  <a:txBody>
                    <a:bodyPr/>
                    <a:lstStyle/>
                    <a:p>
                      <a:pPr marL="0" marR="0">
                        <a:lnSpc>
                          <a:spcPct val="107000"/>
                        </a:lnSpc>
                        <a:spcBef>
                          <a:spcPts val="0"/>
                        </a:spcBef>
                        <a:spcAft>
                          <a:spcPts val="0"/>
                        </a:spcAft>
                      </a:pPr>
                      <a:r>
                        <a:rPr lang="en-US" sz="1000" b="0" dirty="0">
                          <a:effectLst/>
                          <a:latin typeface="Arial" panose="020B0604020202020204" pitchFamily="34" charset="0"/>
                          <a:ea typeface="Calibri" panose="020F0502020204030204" pitchFamily="34" charset="0"/>
                        </a:rPr>
                        <a:t>Increased capacity of SMEs and FOs to participate in structured markets</a:t>
                      </a:r>
                      <a:endParaRPr lang="en-US" sz="1000" b="1" dirty="0">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8D08D"/>
                    </a:solidFill>
                  </a:tcPr>
                </a:tc>
                <a:tc>
                  <a:txBody>
                    <a:bodyPr/>
                    <a:lstStyle/>
                    <a:p>
                      <a:pPr marL="0" marR="0">
                        <a:lnSpc>
                          <a:spcPct val="107000"/>
                        </a:lnSpc>
                        <a:spcBef>
                          <a:spcPts val="0"/>
                        </a:spcBef>
                        <a:spcAft>
                          <a:spcPts val="0"/>
                        </a:spcAft>
                      </a:pPr>
                      <a:r>
                        <a:rPr lang="en-US" sz="1000" b="0" dirty="0">
                          <a:effectLst/>
                          <a:latin typeface="Arial" panose="020B0604020202020204" pitchFamily="34" charset="0"/>
                          <a:ea typeface="Calibri" panose="020F0502020204030204" pitchFamily="34" charset="0"/>
                        </a:rPr>
                        <a:t>Develop integrated value chain system; including forward contracting, pricing, quantity projections, transportation </a:t>
                      </a:r>
                      <a:endParaRPr lang="en-US" sz="1000" b="1" dirty="0">
                        <a:effectLst/>
                        <a:latin typeface="Arial" panose="020B0604020202020204" pitchFamily="34" charset="0"/>
                        <a:ea typeface="Calibri" panose="020F0502020204030204" pitchFamily="34" charset="0"/>
                      </a:endParaRPr>
                    </a:p>
                    <a:p>
                      <a:pPr marL="0" marR="0">
                        <a:lnSpc>
                          <a:spcPct val="107000"/>
                        </a:lnSpc>
                        <a:spcBef>
                          <a:spcPts val="0"/>
                        </a:spcBef>
                        <a:spcAft>
                          <a:spcPts val="0"/>
                        </a:spcAft>
                      </a:pPr>
                      <a:r>
                        <a:rPr lang="en-US" sz="1000" b="0" dirty="0">
                          <a:effectLst/>
                          <a:latin typeface="Arial" panose="020B0604020202020204" pitchFamily="34" charset="0"/>
                          <a:ea typeface="Calibri" panose="020F0502020204030204" pitchFamily="34" charset="0"/>
                        </a:rPr>
                        <a:t> </a:t>
                      </a:r>
                      <a:endParaRPr lang="en-US" sz="1000" b="1" dirty="0">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a16="http://schemas.microsoft.com/office/drawing/2014/main" val="10011"/>
                  </a:ext>
                </a:extLst>
              </a:tr>
              <a:tr h="551862">
                <a:tc>
                  <a:txBody>
                    <a:bodyPr/>
                    <a:lstStyle/>
                    <a:p>
                      <a:pPr marL="0" marR="0">
                        <a:lnSpc>
                          <a:spcPct val="107000"/>
                        </a:lnSpc>
                        <a:spcBef>
                          <a:spcPts val="0"/>
                        </a:spcBef>
                        <a:spcAft>
                          <a:spcPts val="0"/>
                        </a:spcAft>
                      </a:pPr>
                      <a:r>
                        <a:rPr lang="en-US" sz="1000" b="0" dirty="0">
                          <a:effectLst/>
                          <a:latin typeface="Arial" panose="020B0604020202020204" pitchFamily="34" charset="0"/>
                          <a:ea typeface="Calibri" panose="020F0502020204030204" pitchFamily="34" charset="0"/>
                        </a:rPr>
                        <a:t>Outcome 4: Strengthened and expanded business development, financial and risk management services in agriculture value chain</a:t>
                      </a:r>
                      <a:endParaRPr lang="en-US" sz="1000" b="1" dirty="0">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6EE"/>
                    </a:solidFill>
                  </a:tcPr>
                </a:tc>
                <a:tc>
                  <a:txBody>
                    <a:bodyPr/>
                    <a:lstStyle/>
                    <a:p>
                      <a:pPr marL="0" marR="0">
                        <a:lnSpc>
                          <a:spcPct val="107000"/>
                        </a:lnSpc>
                        <a:spcBef>
                          <a:spcPts val="0"/>
                        </a:spcBef>
                        <a:spcAft>
                          <a:spcPts val="0"/>
                        </a:spcAft>
                      </a:pPr>
                      <a:r>
                        <a:rPr lang="en-US" sz="1000" b="0">
                          <a:effectLst/>
                          <a:latin typeface="Arial" panose="020B0604020202020204" pitchFamily="34" charset="0"/>
                          <a:ea typeface="Calibri" panose="020F0502020204030204" pitchFamily="34" charset="0"/>
                        </a:rPr>
                        <a:t>Increased supply and demand of sustainable financial services</a:t>
                      </a:r>
                      <a:endParaRPr lang="en-US" sz="1000" b="1">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8D08D"/>
                    </a:solidFill>
                  </a:tcPr>
                </a:tc>
                <a:tc>
                  <a:txBody>
                    <a:bodyPr/>
                    <a:lstStyle/>
                    <a:p>
                      <a:pPr marL="0" marR="0">
                        <a:lnSpc>
                          <a:spcPct val="107000"/>
                        </a:lnSpc>
                        <a:spcBef>
                          <a:spcPts val="0"/>
                        </a:spcBef>
                        <a:spcAft>
                          <a:spcPts val="0"/>
                        </a:spcAft>
                      </a:pPr>
                      <a:r>
                        <a:rPr lang="en-US" sz="1000" b="0" dirty="0">
                          <a:effectLst/>
                          <a:latin typeface="Arial" panose="020B0604020202020204" pitchFamily="34" charset="0"/>
                          <a:ea typeface="Calibri" panose="020F0502020204030204" pitchFamily="34" charset="0"/>
                        </a:rPr>
                        <a:t>Developing and strengthening  responsive agricultural finance and credit systems </a:t>
                      </a:r>
                      <a:endParaRPr lang="en-US" sz="1000" b="1" dirty="0">
                        <a:effectLst/>
                        <a:latin typeface="Arial" panose="020B0604020202020204" pitchFamily="34" charset="0"/>
                        <a:ea typeface="Calibri" panose="020F0502020204030204" pitchFamily="34" charset="0"/>
                      </a:endParaRPr>
                    </a:p>
                    <a:p>
                      <a:pPr marL="0" marR="0">
                        <a:lnSpc>
                          <a:spcPct val="107000"/>
                        </a:lnSpc>
                        <a:spcBef>
                          <a:spcPts val="0"/>
                        </a:spcBef>
                        <a:spcAft>
                          <a:spcPts val="0"/>
                        </a:spcAft>
                      </a:pPr>
                      <a:r>
                        <a:rPr lang="en-US" sz="1000" b="0" dirty="0">
                          <a:effectLst/>
                          <a:latin typeface="Arial" panose="020B0604020202020204" pitchFamily="34" charset="0"/>
                          <a:ea typeface="Calibri" panose="020F0502020204030204" pitchFamily="34" charset="0"/>
                        </a:rPr>
                        <a:t> </a:t>
                      </a:r>
                      <a:endParaRPr lang="en-US" sz="1000" b="1" dirty="0">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a16="http://schemas.microsoft.com/office/drawing/2014/main" val="10012"/>
                  </a:ext>
                </a:extLst>
              </a:tr>
              <a:tr h="539738">
                <a:tc rowSpan="2">
                  <a:txBody>
                    <a:bodyPr/>
                    <a:lstStyle/>
                    <a:p>
                      <a:pPr marL="0" marR="0">
                        <a:lnSpc>
                          <a:spcPct val="107000"/>
                        </a:lnSpc>
                        <a:spcBef>
                          <a:spcPts val="0"/>
                        </a:spcBef>
                        <a:spcAft>
                          <a:spcPts val="0"/>
                        </a:spcAft>
                      </a:pPr>
                      <a:r>
                        <a:rPr lang="en-US" sz="1000" b="0" dirty="0">
                          <a:effectLst/>
                          <a:latin typeface="Arial" panose="020B0604020202020204" pitchFamily="34" charset="0"/>
                          <a:ea typeface="Calibri" panose="020F0502020204030204" pitchFamily="34" charset="0"/>
                        </a:rPr>
                        <a:t>Outcome 5: Strengthened Public and Private Partnerships in agriculture</a:t>
                      </a:r>
                      <a:endParaRPr lang="en-US" sz="1000" b="1" dirty="0">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6EE"/>
                    </a:solidFill>
                  </a:tcPr>
                </a:tc>
                <a:tc rowSpan="2">
                  <a:txBody>
                    <a:bodyPr/>
                    <a:lstStyle/>
                    <a:p>
                      <a:pPr marL="0" marR="0">
                        <a:lnSpc>
                          <a:spcPct val="107000"/>
                        </a:lnSpc>
                        <a:spcBef>
                          <a:spcPts val="0"/>
                        </a:spcBef>
                        <a:spcAft>
                          <a:spcPts val="0"/>
                        </a:spcAft>
                      </a:pPr>
                      <a:r>
                        <a:rPr lang="en-US" sz="1000" b="0" dirty="0">
                          <a:effectLst/>
                          <a:latin typeface="Arial" panose="020B0604020202020204" pitchFamily="34" charset="0"/>
                          <a:ea typeface="Calibri" panose="020F0502020204030204" pitchFamily="34" charset="0"/>
                        </a:rPr>
                        <a:t>Increased public private partnerships and investments in agriculture from private sector</a:t>
                      </a:r>
                      <a:endParaRPr lang="en-US" sz="1000" b="1" dirty="0">
                        <a:effectLst/>
                        <a:latin typeface="Arial" panose="020B0604020202020204" pitchFamily="34" charset="0"/>
                        <a:ea typeface="Calibri" panose="020F0502020204030204" pitchFamily="34" charset="0"/>
                      </a:endParaRPr>
                    </a:p>
                    <a:p>
                      <a:pPr marL="0" marR="0">
                        <a:lnSpc>
                          <a:spcPct val="107000"/>
                        </a:lnSpc>
                        <a:spcBef>
                          <a:spcPts val="0"/>
                        </a:spcBef>
                        <a:spcAft>
                          <a:spcPts val="0"/>
                        </a:spcAft>
                      </a:pPr>
                      <a:r>
                        <a:rPr lang="en-US" sz="1000" b="0" dirty="0">
                          <a:effectLst/>
                          <a:latin typeface="Arial" panose="020B0604020202020204" pitchFamily="34" charset="0"/>
                          <a:ea typeface="Calibri" panose="020F0502020204030204" pitchFamily="34" charset="0"/>
                        </a:rPr>
                        <a:t> </a:t>
                      </a:r>
                      <a:endParaRPr lang="en-US" sz="1000" b="1" dirty="0">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8D08D"/>
                    </a:solidFill>
                  </a:tcPr>
                </a:tc>
                <a:tc>
                  <a:txBody>
                    <a:bodyPr/>
                    <a:lstStyle/>
                    <a:p>
                      <a:pPr marL="0" marR="0">
                        <a:lnSpc>
                          <a:spcPct val="107000"/>
                        </a:lnSpc>
                        <a:spcBef>
                          <a:spcPts val="0"/>
                        </a:spcBef>
                        <a:spcAft>
                          <a:spcPts val="0"/>
                        </a:spcAft>
                      </a:pPr>
                      <a:r>
                        <a:rPr lang="en-US" sz="1000" b="0" dirty="0">
                          <a:effectLst/>
                          <a:latin typeface="Arial" panose="020B0604020202020204" pitchFamily="34" charset="0"/>
                          <a:ea typeface="Calibri" panose="020F0502020204030204" pitchFamily="34" charset="0"/>
                        </a:rPr>
                        <a:t>Build partnerships with leading private sector champions to leverage entire ecosystem and build partnerships around knowledge and intelligence sharing</a:t>
                      </a:r>
                      <a:endParaRPr lang="en-US" sz="1000" b="1" dirty="0">
                        <a:effectLst/>
                        <a:latin typeface="Arial" panose="020B0604020202020204" pitchFamily="34" charset="0"/>
                        <a:ea typeface="Calibri" panose="020F0502020204030204" pitchFamily="34" charset="0"/>
                      </a:endParaRPr>
                    </a:p>
                    <a:p>
                      <a:pPr marL="0" marR="0">
                        <a:lnSpc>
                          <a:spcPct val="107000"/>
                        </a:lnSpc>
                        <a:spcBef>
                          <a:spcPts val="0"/>
                        </a:spcBef>
                        <a:spcAft>
                          <a:spcPts val="0"/>
                        </a:spcAft>
                      </a:pPr>
                      <a:r>
                        <a:rPr lang="en-US" sz="1000" b="0" dirty="0">
                          <a:effectLst/>
                          <a:latin typeface="Arial" panose="020B0604020202020204" pitchFamily="34" charset="0"/>
                          <a:ea typeface="Calibri" panose="020F0502020204030204" pitchFamily="34" charset="0"/>
                        </a:rPr>
                        <a:t> </a:t>
                      </a:r>
                      <a:endParaRPr lang="en-US" sz="1000" b="1" dirty="0">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a16="http://schemas.microsoft.com/office/drawing/2014/main" val="10013"/>
                  </a:ext>
                </a:extLst>
              </a:tr>
              <a:tr h="275931">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US" sz="1000" b="0" dirty="0">
                          <a:effectLst/>
                          <a:latin typeface="Arial" panose="020B0604020202020204" pitchFamily="34" charset="0"/>
                          <a:ea typeface="Calibri" panose="020F0502020204030204" pitchFamily="34" charset="0"/>
                        </a:rPr>
                        <a:t>Mobilizing inclusive investments in Agriculture</a:t>
                      </a:r>
                      <a:endParaRPr lang="en-US" sz="1000" b="1" dirty="0">
                        <a:effectLst/>
                        <a:latin typeface="Arial" panose="020B0604020202020204" pitchFamily="34" charset="0"/>
                        <a:ea typeface="Calibri" panose="020F0502020204030204" pitchFamily="34" charset="0"/>
                      </a:endParaRPr>
                    </a:p>
                    <a:p>
                      <a:pPr marL="0" marR="0">
                        <a:lnSpc>
                          <a:spcPct val="107000"/>
                        </a:lnSpc>
                        <a:spcBef>
                          <a:spcPts val="0"/>
                        </a:spcBef>
                        <a:spcAft>
                          <a:spcPts val="0"/>
                        </a:spcAft>
                      </a:pPr>
                      <a:r>
                        <a:rPr lang="en-US" sz="1000" b="0" dirty="0">
                          <a:effectLst/>
                          <a:latin typeface="Arial" panose="020B0604020202020204" pitchFamily="34" charset="0"/>
                          <a:ea typeface="Calibri" panose="020F0502020204030204" pitchFamily="34" charset="0"/>
                        </a:rPr>
                        <a:t> </a:t>
                      </a:r>
                      <a:endParaRPr lang="en-US" sz="1000" b="1" dirty="0">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a16="http://schemas.microsoft.com/office/drawing/2014/main" val="10014"/>
                  </a:ext>
                </a:extLst>
              </a:tr>
            </a:tbl>
          </a:graphicData>
        </a:graphic>
      </p:graphicFrame>
    </p:spTree>
    <p:extLst>
      <p:ext uri="{BB962C8B-B14F-4D97-AF65-F5344CB8AC3E}">
        <p14:creationId xmlns:p14="http://schemas.microsoft.com/office/powerpoint/2010/main" val="348346363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5" name="Object 254" hidden="1"/>
          <p:cNvGraphicFramePr>
            <a:graphicFrameLocks noChangeAspect="1"/>
          </p:cNvGraphicFramePr>
          <p:nvPr>
            <p:custDataLst>
              <p:tags r:id="rId2"/>
            </p:custDataLst>
            <p:extLst/>
          </p:nvPr>
        </p:nvGraphicFramePr>
        <p:xfrm>
          <a:off x="382590" y="1593"/>
          <a:ext cx="1587" cy="1587"/>
        </p:xfrm>
        <a:graphic>
          <a:graphicData uri="http://schemas.openxmlformats.org/presentationml/2006/ole">
            <mc:AlternateContent xmlns:mc="http://schemas.openxmlformats.org/markup-compatibility/2006">
              <mc:Choice xmlns:v="urn:schemas-microsoft-com:vml" Requires="v">
                <p:oleObj spid="_x0000_s210038" name="think-cell Slide" r:id="rId6" imgW="524" imgH="526" progId="TCLayout.ActiveDocument.1">
                  <p:embed/>
                </p:oleObj>
              </mc:Choice>
              <mc:Fallback>
                <p:oleObj name="think-cell Slide" r:id="rId6" imgW="524" imgH="526" progId="TCLayout.ActiveDocument.1">
                  <p:embed/>
                  <p:pic>
                    <p:nvPicPr>
                      <p:cNvPr id="255" name="Object 254" hidden="1"/>
                      <p:cNvPicPr/>
                      <p:nvPr/>
                    </p:nvPicPr>
                    <p:blipFill>
                      <a:blip r:embed="rId7"/>
                      <a:stretch>
                        <a:fillRect/>
                      </a:stretch>
                    </p:blipFill>
                    <p:spPr>
                      <a:xfrm>
                        <a:off x="382590" y="1593"/>
                        <a:ext cx="1587" cy="1587"/>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900" b="1" dirty="0" smtClean="0">
              <a:solidFill>
                <a:schemeClr val="tx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605425" y="328972"/>
            <a:ext cx="7391400" cy="292388"/>
          </a:xfrm>
        </p:spPr>
        <p:txBody>
          <a:bodyPr/>
          <a:lstStyle/>
          <a:p>
            <a:r>
              <a:rPr lang="en-US" dirty="0" smtClean="0"/>
              <a:t>Key Country Indicators and Targets</a:t>
            </a:r>
            <a:endParaRPr lang="en-US" dirty="0"/>
          </a:p>
        </p:txBody>
      </p:sp>
      <p:graphicFrame>
        <p:nvGraphicFramePr>
          <p:cNvPr id="94" name="Table 93"/>
          <p:cNvGraphicFramePr>
            <a:graphicFrameLocks noGrp="1"/>
          </p:cNvGraphicFramePr>
          <p:nvPr>
            <p:extLst>
              <p:ext uri="{D42A27DB-BD31-4B8C-83A1-F6EECF244321}">
                <p14:modId xmlns:p14="http://schemas.microsoft.com/office/powerpoint/2010/main" val="1468958133"/>
              </p:ext>
            </p:extLst>
          </p:nvPr>
        </p:nvGraphicFramePr>
        <p:xfrm>
          <a:off x="609600" y="1260509"/>
          <a:ext cx="8686800" cy="5684520"/>
        </p:xfrm>
        <a:graphic>
          <a:graphicData uri="http://schemas.openxmlformats.org/drawingml/2006/table">
            <a:tbl>
              <a:tblPr firstRow="1" bandRow="1">
                <a:tableStyleId>{5C22544A-7EE6-4342-B048-85BDC9FD1C3A}</a:tableStyleId>
              </a:tblPr>
              <a:tblGrid>
                <a:gridCol w="4572000">
                  <a:extLst>
                    <a:ext uri="{9D8B030D-6E8A-4147-A177-3AD203B41FA5}">
                      <a16:colId xmlns:a16="http://schemas.microsoft.com/office/drawing/2014/main" val="20000"/>
                    </a:ext>
                  </a:extLst>
                </a:gridCol>
                <a:gridCol w="822960">
                  <a:extLst>
                    <a:ext uri="{9D8B030D-6E8A-4147-A177-3AD203B41FA5}">
                      <a16:colId xmlns:a16="http://schemas.microsoft.com/office/drawing/2014/main" val="20001"/>
                    </a:ext>
                  </a:extLst>
                </a:gridCol>
                <a:gridCol w="822960">
                  <a:extLst>
                    <a:ext uri="{9D8B030D-6E8A-4147-A177-3AD203B41FA5}">
                      <a16:colId xmlns:a16="http://schemas.microsoft.com/office/drawing/2014/main" val="20002"/>
                    </a:ext>
                  </a:extLst>
                </a:gridCol>
                <a:gridCol w="822960">
                  <a:extLst>
                    <a:ext uri="{9D8B030D-6E8A-4147-A177-3AD203B41FA5}">
                      <a16:colId xmlns:a16="http://schemas.microsoft.com/office/drawing/2014/main" val="20003"/>
                    </a:ext>
                  </a:extLst>
                </a:gridCol>
                <a:gridCol w="822960">
                  <a:extLst>
                    <a:ext uri="{9D8B030D-6E8A-4147-A177-3AD203B41FA5}">
                      <a16:colId xmlns:a16="http://schemas.microsoft.com/office/drawing/2014/main" val="20004"/>
                    </a:ext>
                  </a:extLst>
                </a:gridCol>
                <a:gridCol w="822960">
                  <a:extLst>
                    <a:ext uri="{9D8B030D-6E8A-4147-A177-3AD203B41FA5}">
                      <a16:colId xmlns:a16="http://schemas.microsoft.com/office/drawing/2014/main" val="20005"/>
                    </a:ext>
                  </a:extLst>
                </a:gridCol>
              </a:tblGrid>
              <a:tr h="138688">
                <a:tc>
                  <a:txBody>
                    <a:bodyPr/>
                    <a:lstStyle/>
                    <a:p>
                      <a:r>
                        <a:rPr lang="en-US" sz="1050" dirty="0" smtClean="0">
                          <a:latin typeface="Arial" panose="020B0604020202020204" pitchFamily="34" charset="0"/>
                          <a:cs typeface="Arial" panose="020B0604020202020204" pitchFamily="34" charset="0"/>
                        </a:rPr>
                        <a:t>INDICATORS </a:t>
                      </a:r>
                      <a:endParaRPr lang="en-US" sz="1050" dirty="0">
                        <a:latin typeface="Arial" panose="020B0604020202020204" pitchFamily="34" charset="0"/>
                        <a:cs typeface="Arial" panose="020B0604020202020204" pitchFamily="34" charset="0"/>
                      </a:endParaRPr>
                    </a:p>
                  </a:txBody>
                  <a:tcPr>
                    <a:solidFill>
                      <a:schemeClr val="accent1">
                        <a:lumMod val="75000"/>
                      </a:schemeClr>
                    </a:solidFill>
                  </a:tcPr>
                </a:tc>
                <a:tc>
                  <a:txBody>
                    <a:bodyPr/>
                    <a:lstStyle/>
                    <a:p>
                      <a:r>
                        <a:rPr lang="en-US" sz="1050" dirty="0" smtClean="0">
                          <a:latin typeface="Arial" panose="020B0604020202020204" pitchFamily="34" charset="0"/>
                          <a:cs typeface="Arial" panose="020B0604020202020204" pitchFamily="34" charset="0"/>
                        </a:rPr>
                        <a:t>Baseline</a:t>
                      </a:r>
                    </a:p>
                    <a:p>
                      <a:r>
                        <a:rPr lang="en-US" sz="1050" dirty="0" smtClean="0">
                          <a:latin typeface="Arial" panose="020B0604020202020204" pitchFamily="34" charset="0"/>
                          <a:cs typeface="Arial" panose="020B0604020202020204" pitchFamily="34" charset="0"/>
                        </a:rPr>
                        <a:t>2017</a:t>
                      </a:r>
                      <a:endParaRPr lang="en-US" sz="1050" dirty="0">
                        <a:latin typeface="Arial" panose="020B0604020202020204" pitchFamily="34" charset="0"/>
                        <a:cs typeface="Arial" panose="020B0604020202020204" pitchFamily="34" charset="0"/>
                      </a:endParaRPr>
                    </a:p>
                  </a:txBody>
                  <a:tcPr>
                    <a:solidFill>
                      <a:schemeClr val="accent1">
                        <a:lumMod val="75000"/>
                      </a:schemeClr>
                    </a:solidFill>
                  </a:tcPr>
                </a:tc>
                <a:tc>
                  <a:txBody>
                    <a:bodyPr/>
                    <a:lstStyle/>
                    <a:p>
                      <a:r>
                        <a:rPr lang="en-US" sz="1050" dirty="0" smtClean="0">
                          <a:latin typeface="Arial" panose="020B0604020202020204" pitchFamily="34" charset="0"/>
                          <a:cs typeface="Arial" panose="020B0604020202020204" pitchFamily="34" charset="0"/>
                        </a:rPr>
                        <a:t>2018</a:t>
                      </a:r>
                      <a:r>
                        <a:rPr lang="en-US" sz="1050" baseline="0" dirty="0" smtClean="0">
                          <a:latin typeface="Arial" panose="020B0604020202020204" pitchFamily="34" charset="0"/>
                          <a:cs typeface="Arial" panose="020B0604020202020204" pitchFamily="34" charset="0"/>
                        </a:rPr>
                        <a:t> Target</a:t>
                      </a:r>
                      <a:endParaRPr lang="en-US" sz="1050" dirty="0">
                        <a:latin typeface="Arial" panose="020B0604020202020204" pitchFamily="34" charset="0"/>
                        <a:cs typeface="Arial" panose="020B0604020202020204" pitchFamily="34" charset="0"/>
                      </a:endParaRPr>
                    </a:p>
                  </a:txBody>
                  <a:tcPr>
                    <a:solidFill>
                      <a:schemeClr val="accent1">
                        <a:lumMod val="75000"/>
                      </a:schemeClr>
                    </a:solidFill>
                  </a:tcPr>
                </a:tc>
                <a:tc>
                  <a:txBody>
                    <a:bodyPr/>
                    <a:lstStyle/>
                    <a:p>
                      <a:r>
                        <a:rPr lang="en-US" sz="1050" dirty="0" smtClean="0">
                          <a:latin typeface="Arial" panose="020B0604020202020204" pitchFamily="34" charset="0"/>
                          <a:cs typeface="Arial" panose="020B0604020202020204" pitchFamily="34" charset="0"/>
                        </a:rPr>
                        <a:t>2019 Target</a:t>
                      </a:r>
                      <a:endParaRPr lang="en-US" sz="1050" dirty="0">
                        <a:latin typeface="Arial" panose="020B0604020202020204" pitchFamily="34" charset="0"/>
                        <a:cs typeface="Arial" panose="020B0604020202020204" pitchFamily="34" charset="0"/>
                      </a:endParaRPr>
                    </a:p>
                  </a:txBody>
                  <a:tcPr>
                    <a:solidFill>
                      <a:schemeClr val="accent1">
                        <a:lumMod val="75000"/>
                      </a:schemeClr>
                    </a:solidFill>
                  </a:tcPr>
                </a:tc>
                <a:tc>
                  <a:txBody>
                    <a:bodyPr/>
                    <a:lstStyle/>
                    <a:p>
                      <a:r>
                        <a:rPr lang="en-US" sz="1050" dirty="0" smtClean="0">
                          <a:latin typeface="Arial" panose="020B0604020202020204" pitchFamily="34" charset="0"/>
                          <a:cs typeface="Arial" panose="020B0604020202020204" pitchFamily="34" charset="0"/>
                        </a:rPr>
                        <a:t>2020 Target</a:t>
                      </a:r>
                      <a:endParaRPr lang="en-US" sz="1050" dirty="0">
                        <a:latin typeface="Arial" panose="020B0604020202020204" pitchFamily="34" charset="0"/>
                        <a:cs typeface="Arial" panose="020B0604020202020204" pitchFamily="34" charset="0"/>
                      </a:endParaRPr>
                    </a:p>
                  </a:txBody>
                  <a:tcPr>
                    <a:solidFill>
                      <a:schemeClr val="accent1">
                        <a:lumMod val="75000"/>
                      </a:schemeClr>
                    </a:solidFill>
                  </a:tcPr>
                </a:tc>
                <a:tc>
                  <a:txBody>
                    <a:bodyPr/>
                    <a:lstStyle/>
                    <a:p>
                      <a:r>
                        <a:rPr lang="en-US" sz="1050" dirty="0" smtClean="0">
                          <a:latin typeface="Arial" panose="020B0604020202020204" pitchFamily="34" charset="0"/>
                          <a:cs typeface="Arial" panose="020B0604020202020204" pitchFamily="34" charset="0"/>
                        </a:rPr>
                        <a:t>2021 Target </a:t>
                      </a:r>
                      <a:endParaRPr lang="en-US" sz="1050" dirty="0">
                        <a:latin typeface="Arial" panose="020B0604020202020204" pitchFamily="34" charset="0"/>
                        <a:cs typeface="Arial" panose="020B0604020202020204" pitchFamily="34" charset="0"/>
                      </a:endParaRPr>
                    </a:p>
                  </a:txBody>
                  <a:tcPr>
                    <a:solidFill>
                      <a:schemeClr val="accent1">
                        <a:lumMod val="75000"/>
                      </a:schemeClr>
                    </a:solidFill>
                  </a:tcPr>
                </a:tc>
                <a:extLst>
                  <a:ext uri="{0D108BD9-81ED-4DB2-BD59-A6C34878D82A}">
                    <a16:rowId xmlns:a16="http://schemas.microsoft.com/office/drawing/2014/main" val="10000"/>
                  </a:ext>
                </a:extLst>
              </a:tr>
              <a:tr h="0">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000" kern="1200" dirty="0" smtClean="0">
                          <a:solidFill>
                            <a:schemeClr val="bg1"/>
                          </a:solidFill>
                          <a:latin typeface="Arial" panose="020B0604020202020204" pitchFamily="34" charset="0"/>
                          <a:ea typeface="+mn-ea"/>
                          <a:cs typeface="Arial" panose="020B0604020202020204" pitchFamily="34" charset="0"/>
                        </a:rPr>
                        <a:t>Goal Level Impact Indicators</a:t>
                      </a:r>
                      <a:endParaRPr lang="en-US" sz="1000" kern="1200" dirty="0">
                        <a:solidFill>
                          <a:schemeClr val="bg1"/>
                        </a:solidFill>
                        <a:latin typeface="Arial" panose="020B0604020202020204" pitchFamily="34" charset="0"/>
                        <a:ea typeface="+mn-ea"/>
                        <a:cs typeface="Arial" panose="020B0604020202020204" pitchFamily="34" charset="0"/>
                      </a:endParaRPr>
                    </a:p>
                  </a:txBody>
                  <a:tcPr>
                    <a:solidFill>
                      <a:schemeClr val="accent1">
                        <a:lumMod val="75000"/>
                      </a:schemeClr>
                    </a:solidFill>
                  </a:tcPr>
                </a:tc>
                <a:tc>
                  <a:txBody>
                    <a:bodyPr/>
                    <a:lstStyle/>
                    <a:p>
                      <a:pPr marL="0" algn="l" defTabSz="932863" rtl="0" eaLnBrk="1" latinLnBrk="0" hangingPunct="1"/>
                      <a:endParaRPr lang="en-US" sz="1000" kern="1200" dirty="0">
                        <a:solidFill>
                          <a:schemeClr val="dk1"/>
                        </a:solidFill>
                        <a:latin typeface="Arial" panose="020B0604020202020204" pitchFamily="34" charset="0"/>
                        <a:ea typeface="+mn-ea"/>
                        <a:cs typeface="Arial" panose="020B0604020202020204" pitchFamily="34" charset="0"/>
                      </a:endParaRPr>
                    </a:p>
                  </a:txBody>
                  <a:tcPr>
                    <a:solidFill>
                      <a:schemeClr val="accent1">
                        <a:lumMod val="75000"/>
                      </a:schemeClr>
                    </a:solidFill>
                  </a:tcPr>
                </a:tc>
                <a:tc>
                  <a:txBody>
                    <a:bodyPr/>
                    <a:lstStyle/>
                    <a:p>
                      <a:pPr marL="0" algn="l" defTabSz="932863" rtl="0" eaLnBrk="1" latinLnBrk="0" hangingPunct="1"/>
                      <a:endParaRPr lang="en-US" sz="1000" kern="1200" dirty="0">
                        <a:solidFill>
                          <a:schemeClr val="dk1"/>
                        </a:solidFill>
                        <a:latin typeface="Arial" panose="020B0604020202020204" pitchFamily="34" charset="0"/>
                        <a:ea typeface="+mn-ea"/>
                        <a:cs typeface="Arial" panose="020B0604020202020204" pitchFamily="34" charset="0"/>
                      </a:endParaRPr>
                    </a:p>
                  </a:txBody>
                  <a:tcPr>
                    <a:solidFill>
                      <a:schemeClr val="accent1">
                        <a:lumMod val="75000"/>
                      </a:schemeClr>
                    </a:solidFill>
                  </a:tcPr>
                </a:tc>
                <a:tc>
                  <a:txBody>
                    <a:bodyPr/>
                    <a:lstStyle/>
                    <a:p>
                      <a:pPr marL="0" algn="l" defTabSz="932863" rtl="0" eaLnBrk="1" latinLnBrk="0" hangingPunct="1"/>
                      <a:endParaRPr lang="en-US" sz="1000" kern="1200" dirty="0">
                        <a:solidFill>
                          <a:schemeClr val="dk1"/>
                        </a:solidFill>
                        <a:latin typeface="Arial" panose="020B0604020202020204" pitchFamily="34" charset="0"/>
                        <a:ea typeface="+mn-ea"/>
                        <a:cs typeface="Arial" panose="020B0604020202020204" pitchFamily="34" charset="0"/>
                      </a:endParaRPr>
                    </a:p>
                  </a:txBody>
                  <a:tcPr>
                    <a:solidFill>
                      <a:schemeClr val="accent1">
                        <a:lumMod val="75000"/>
                      </a:schemeClr>
                    </a:solidFill>
                  </a:tcPr>
                </a:tc>
                <a:tc>
                  <a:txBody>
                    <a:bodyPr/>
                    <a:lstStyle/>
                    <a:p>
                      <a:pPr marL="0" algn="l" defTabSz="932863" rtl="0" eaLnBrk="1" latinLnBrk="0" hangingPunct="1"/>
                      <a:endParaRPr lang="en-US" sz="1000" kern="1200" dirty="0">
                        <a:solidFill>
                          <a:schemeClr val="dk1"/>
                        </a:solidFill>
                        <a:latin typeface="Arial" panose="020B0604020202020204" pitchFamily="34" charset="0"/>
                        <a:ea typeface="+mn-ea"/>
                        <a:cs typeface="Arial" panose="020B0604020202020204" pitchFamily="34" charset="0"/>
                      </a:endParaRPr>
                    </a:p>
                  </a:txBody>
                  <a:tcPr>
                    <a:solidFill>
                      <a:schemeClr val="accent1">
                        <a:lumMod val="75000"/>
                      </a:schemeClr>
                    </a:solidFill>
                  </a:tcPr>
                </a:tc>
                <a:tc>
                  <a:txBody>
                    <a:bodyPr/>
                    <a:lstStyle/>
                    <a:p>
                      <a:pPr marL="0" algn="l" defTabSz="932863" rtl="0" eaLnBrk="1" latinLnBrk="0" hangingPunct="1"/>
                      <a:endParaRPr lang="en-US" sz="1000" kern="1200" dirty="0">
                        <a:solidFill>
                          <a:schemeClr val="dk1"/>
                        </a:solidFill>
                        <a:latin typeface="Arial" panose="020B0604020202020204" pitchFamily="34" charset="0"/>
                        <a:ea typeface="+mn-ea"/>
                        <a:cs typeface="Arial" panose="020B0604020202020204" pitchFamily="34" charset="0"/>
                      </a:endParaRPr>
                    </a:p>
                  </a:txBody>
                  <a:tcPr>
                    <a:solidFill>
                      <a:schemeClr val="accent1">
                        <a:lumMod val="75000"/>
                      </a:schemeClr>
                    </a:solidFill>
                  </a:tcPr>
                </a:tc>
                <a:extLst>
                  <a:ext uri="{0D108BD9-81ED-4DB2-BD59-A6C34878D82A}">
                    <a16:rowId xmlns:a16="http://schemas.microsoft.com/office/drawing/2014/main" val="10001"/>
                  </a:ext>
                </a:extLst>
              </a:tr>
              <a:tr h="0">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000" dirty="0" smtClean="0">
                          <a:solidFill>
                            <a:schemeClr val="accent6">
                              <a:lumMod val="50000"/>
                            </a:schemeClr>
                          </a:solidFill>
                          <a:latin typeface="Arial" panose="020B0604020202020204" pitchFamily="34" charset="0"/>
                          <a:ea typeface="Times New Roman"/>
                          <a:cs typeface="Arial" panose="020B0604020202020204" pitchFamily="34" charset="0"/>
                        </a:rPr>
                        <a:t>Average number of months of adequate household food provision </a:t>
                      </a:r>
                      <a:endParaRPr lang="en-US" sz="1000" dirty="0">
                        <a:solidFill>
                          <a:schemeClr val="accent6">
                            <a:lumMod val="50000"/>
                          </a:schemeClr>
                        </a:solidFill>
                        <a:latin typeface="Arial" panose="020B0604020202020204" pitchFamily="34" charset="0"/>
                        <a:cs typeface="Arial" panose="020B0604020202020204" pitchFamily="34" charset="0"/>
                      </a:endParaRPr>
                    </a:p>
                  </a:txBody>
                  <a:tcPr/>
                </a:tc>
                <a:tc>
                  <a:txBody>
                    <a:bodyPr/>
                    <a:lstStyle/>
                    <a:p>
                      <a:pPr algn="ctr"/>
                      <a:r>
                        <a:rPr lang="en-US" sz="1100" dirty="0" smtClean="0">
                          <a:latin typeface="Arial" panose="020B0604020202020204" pitchFamily="34" charset="0"/>
                          <a:cs typeface="Arial" panose="020B0604020202020204" pitchFamily="34" charset="0"/>
                        </a:rPr>
                        <a:t>9.2</a:t>
                      </a:r>
                      <a:endParaRPr lang="en-US" sz="1100" dirty="0">
                        <a:latin typeface="Arial" panose="020B0604020202020204" pitchFamily="34" charset="0"/>
                        <a:cs typeface="Arial" panose="020B0604020202020204" pitchFamily="34" charset="0"/>
                      </a:endParaRPr>
                    </a:p>
                  </a:txBody>
                  <a:tcPr/>
                </a:tc>
                <a:tc>
                  <a:txBody>
                    <a:bodyPr/>
                    <a:lstStyle/>
                    <a:p>
                      <a:pPr algn="ct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latin typeface="Arial" panose="020B0604020202020204" pitchFamily="34" charset="0"/>
                          <a:cs typeface="Arial" panose="020B0604020202020204" pitchFamily="34" charset="0"/>
                        </a:rPr>
                        <a:t>↑by 2%</a:t>
                      </a:r>
                      <a:endParaRPr lang="en-US" sz="1100" dirty="0">
                        <a:latin typeface="Arial" panose="020B0604020202020204" pitchFamily="34" charset="0"/>
                        <a:cs typeface="Arial" panose="020B0604020202020204" pitchFamily="34" charset="0"/>
                      </a:endParaRPr>
                    </a:p>
                  </a:txBody>
                  <a:tcPr/>
                </a:tc>
                <a:tc>
                  <a:txBody>
                    <a:bodyPr/>
                    <a:lstStyle/>
                    <a:p>
                      <a:pPr algn="ct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latin typeface="Arial" panose="020B0604020202020204" pitchFamily="34" charset="0"/>
                          <a:cs typeface="Arial" panose="020B0604020202020204" pitchFamily="34" charset="0"/>
                        </a:rPr>
                        <a:t>↑by 4%</a:t>
                      </a:r>
                    </a:p>
                  </a:txBody>
                  <a:tcPr/>
                </a:tc>
                <a:extLst>
                  <a:ext uri="{0D108BD9-81ED-4DB2-BD59-A6C34878D82A}">
                    <a16:rowId xmlns:a16="http://schemas.microsoft.com/office/drawing/2014/main" val="10002"/>
                  </a:ext>
                </a:extLst>
              </a:tr>
              <a:tr h="0">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000" dirty="0" smtClean="0">
                          <a:solidFill>
                            <a:schemeClr val="accent6">
                              <a:lumMod val="50000"/>
                            </a:schemeClr>
                          </a:solidFill>
                          <a:latin typeface="Arial" panose="020B0604020202020204" pitchFamily="34" charset="0"/>
                          <a:ea typeface="Times New Roman"/>
                          <a:cs typeface="Arial" panose="020B0604020202020204" pitchFamily="34" charset="0"/>
                        </a:rPr>
                        <a:t>Improved food security: Household dietary diversity index</a:t>
                      </a:r>
                      <a:r>
                        <a:rPr lang="en-US" sz="1000" dirty="0" smtClean="0">
                          <a:solidFill>
                            <a:schemeClr val="accent6">
                              <a:lumMod val="50000"/>
                            </a:schemeClr>
                          </a:solidFill>
                          <a:latin typeface="Arial" panose="020B0604020202020204" pitchFamily="34" charset="0"/>
                          <a:cs typeface="Arial" panose="020B0604020202020204" pitchFamily="34" charset="0"/>
                        </a:rPr>
                        <a:t>)</a:t>
                      </a:r>
                      <a:endParaRPr lang="en-US" sz="1000" dirty="0">
                        <a:solidFill>
                          <a:schemeClr val="accent6">
                            <a:lumMod val="50000"/>
                          </a:schemeClr>
                        </a:solidFill>
                        <a:latin typeface="Arial" panose="020B0604020202020204" pitchFamily="34" charset="0"/>
                        <a:cs typeface="Arial" panose="020B0604020202020204" pitchFamily="34" charset="0"/>
                      </a:endParaRPr>
                    </a:p>
                  </a:txBody>
                  <a:tcPr/>
                </a:tc>
                <a:tc>
                  <a:txBody>
                    <a:bodyPr/>
                    <a:lstStyle/>
                    <a:p>
                      <a:pPr algn="ctr"/>
                      <a:endParaRPr lang="en-US" sz="1100" dirty="0">
                        <a:latin typeface="Arial" panose="020B0604020202020204" pitchFamily="34" charset="0"/>
                        <a:cs typeface="Arial" panose="020B0604020202020204" pitchFamily="34" charset="0"/>
                      </a:endParaRPr>
                    </a:p>
                  </a:txBody>
                  <a:tcPr/>
                </a:tc>
                <a:tc>
                  <a:txBody>
                    <a:bodyPr/>
                    <a:lstStyle/>
                    <a:p>
                      <a:pPr algn="ct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latin typeface="Arial" panose="020B0604020202020204" pitchFamily="34" charset="0"/>
                          <a:cs typeface="Arial" panose="020B0604020202020204" pitchFamily="34" charset="0"/>
                        </a:rPr>
                        <a:t>↑by 0.5 pts</a:t>
                      </a:r>
                      <a:endParaRPr lang="en-US" sz="1100" dirty="0">
                        <a:latin typeface="Arial" panose="020B0604020202020204" pitchFamily="34" charset="0"/>
                        <a:cs typeface="Arial" panose="020B0604020202020204" pitchFamily="34" charset="0"/>
                      </a:endParaRPr>
                    </a:p>
                  </a:txBody>
                  <a:tcPr/>
                </a:tc>
                <a:tc>
                  <a:txBody>
                    <a:bodyPr/>
                    <a:lstStyle/>
                    <a:p>
                      <a:pPr algn="ct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latin typeface="Arial" panose="020B0604020202020204" pitchFamily="34" charset="0"/>
                          <a:cs typeface="Arial" panose="020B0604020202020204" pitchFamily="34" charset="0"/>
                        </a:rPr>
                        <a:t>↑by 0.1 pts</a:t>
                      </a:r>
                      <a:endParaRPr lang="en-US" sz="11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3"/>
                  </a:ext>
                </a:extLst>
              </a:tr>
              <a:tr h="0">
                <a:tc>
                  <a:txBody>
                    <a:bodyPr/>
                    <a:lstStyle/>
                    <a:p>
                      <a:r>
                        <a:rPr lang="en-US" sz="1000" b="1" dirty="0" smtClean="0">
                          <a:solidFill>
                            <a:schemeClr val="bg1"/>
                          </a:solidFill>
                          <a:latin typeface="Arial" panose="020B0604020202020204" pitchFamily="34" charset="0"/>
                          <a:cs typeface="Arial" panose="020B0604020202020204" pitchFamily="34" charset="0"/>
                        </a:rPr>
                        <a:t>Objective Level Outcome Indicators </a:t>
                      </a:r>
                      <a:endParaRPr lang="en-US" sz="1000" b="1" dirty="0">
                        <a:solidFill>
                          <a:schemeClr val="bg1"/>
                        </a:solidFill>
                        <a:latin typeface="Arial" panose="020B0604020202020204" pitchFamily="34" charset="0"/>
                        <a:cs typeface="Arial" panose="020B0604020202020204" pitchFamily="34" charset="0"/>
                      </a:endParaRPr>
                    </a:p>
                  </a:txBody>
                  <a:tcPr>
                    <a:solidFill>
                      <a:schemeClr val="accent1">
                        <a:lumMod val="75000"/>
                      </a:schemeClr>
                    </a:solidFill>
                  </a:tcPr>
                </a:tc>
                <a:tc>
                  <a:txBody>
                    <a:bodyPr/>
                    <a:lstStyle/>
                    <a:p>
                      <a:pPr algn="ctr"/>
                      <a:endParaRPr lang="en-US" sz="1100" dirty="0">
                        <a:latin typeface="Arial" panose="020B0604020202020204" pitchFamily="34" charset="0"/>
                        <a:cs typeface="Arial" panose="020B0604020202020204" pitchFamily="34" charset="0"/>
                      </a:endParaRPr>
                    </a:p>
                  </a:txBody>
                  <a:tcPr>
                    <a:solidFill>
                      <a:schemeClr val="accent1">
                        <a:lumMod val="75000"/>
                      </a:schemeClr>
                    </a:solidFill>
                  </a:tcPr>
                </a:tc>
                <a:tc>
                  <a:txBody>
                    <a:bodyPr/>
                    <a:lstStyle/>
                    <a:p>
                      <a:pPr algn="ctr"/>
                      <a:endParaRPr lang="en-US" sz="1100" dirty="0">
                        <a:latin typeface="Arial" panose="020B0604020202020204" pitchFamily="34" charset="0"/>
                        <a:cs typeface="Arial" panose="020B0604020202020204" pitchFamily="34" charset="0"/>
                      </a:endParaRPr>
                    </a:p>
                  </a:txBody>
                  <a:tcPr>
                    <a:solidFill>
                      <a:schemeClr val="accent1">
                        <a:lumMod val="75000"/>
                      </a:schemeClr>
                    </a:solidFill>
                  </a:tcPr>
                </a:tc>
                <a:tc>
                  <a:txBody>
                    <a:bodyPr/>
                    <a:lstStyle/>
                    <a:p>
                      <a:pPr algn="ctr"/>
                      <a:endParaRPr lang="en-US" sz="1100" dirty="0">
                        <a:latin typeface="Arial" panose="020B0604020202020204" pitchFamily="34" charset="0"/>
                        <a:cs typeface="Arial" panose="020B0604020202020204" pitchFamily="34" charset="0"/>
                      </a:endParaRPr>
                    </a:p>
                  </a:txBody>
                  <a:tcPr>
                    <a:solidFill>
                      <a:schemeClr val="accent1">
                        <a:lumMod val="75000"/>
                      </a:schemeClr>
                    </a:solidFill>
                  </a:tcPr>
                </a:tc>
                <a:tc>
                  <a:txBody>
                    <a:bodyPr/>
                    <a:lstStyle/>
                    <a:p>
                      <a:pPr algn="ctr"/>
                      <a:endParaRPr lang="en-US" sz="1100" dirty="0">
                        <a:latin typeface="Arial" panose="020B0604020202020204" pitchFamily="34" charset="0"/>
                        <a:cs typeface="Arial" panose="020B0604020202020204" pitchFamily="34" charset="0"/>
                      </a:endParaRPr>
                    </a:p>
                  </a:txBody>
                  <a:tcPr>
                    <a:solidFill>
                      <a:schemeClr val="accent1">
                        <a:lumMod val="75000"/>
                      </a:schemeClr>
                    </a:solidFill>
                  </a:tcPr>
                </a:tc>
                <a:tc>
                  <a:txBody>
                    <a:bodyPr/>
                    <a:lstStyle/>
                    <a:p>
                      <a:pPr algn="ctr"/>
                      <a:endParaRPr lang="en-US" sz="1100" dirty="0">
                        <a:latin typeface="Arial" panose="020B0604020202020204" pitchFamily="34" charset="0"/>
                        <a:cs typeface="Arial" panose="020B0604020202020204" pitchFamily="34" charset="0"/>
                      </a:endParaRPr>
                    </a:p>
                  </a:txBody>
                  <a:tcPr>
                    <a:solidFill>
                      <a:schemeClr val="accent1">
                        <a:lumMod val="75000"/>
                      </a:schemeClr>
                    </a:solidFill>
                  </a:tcPr>
                </a:tc>
                <a:extLst>
                  <a:ext uri="{0D108BD9-81ED-4DB2-BD59-A6C34878D82A}">
                    <a16:rowId xmlns:a16="http://schemas.microsoft.com/office/drawing/2014/main" val="10004"/>
                  </a:ext>
                </a:extLst>
              </a:tr>
              <a:tr h="0">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000" dirty="0" smtClean="0">
                          <a:solidFill>
                            <a:schemeClr val="accent6">
                              <a:lumMod val="50000"/>
                            </a:schemeClr>
                          </a:solidFill>
                          <a:latin typeface="Arial" panose="020B0604020202020204" pitchFamily="34" charset="0"/>
                          <a:ea typeface="Times New Roman"/>
                          <a:cs typeface="Arial" panose="020B0604020202020204" pitchFamily="34" charset="0"/>
                        </a:rPr>
                        <a:t>Average yield (MT/ha) of  Maize  </a:t>
                      </a:r>
                      <a:endParaRPr lang="en-US" sz="1000" dirty="0">
                        <a:solidFill>
                          <a:schemeClr val="accent6">
                            <a:lumMod val="50000"/>
                          </a:schemeClr>
                        </a:solidFill>
                        <a:latin typeface="Arial" panose="020B0604020202020204" pitchFamily="34" charset="0"/>
                        <a:cs typeface="Arial" panose="020B0604020202020204" pitchFamily="34" charset="0"/>
                      </a:endParaRPr>
                    </a:p>
                  </a:txBody>
                  <a:tcPr/>
                </a:tc>
                <a:tc>
                  <a:txBody>
                    <a:bodyPr/>
                    <a:lstStyle/>
                    <a:p>
                      <a:pPr algn="ctr"/>
                      <a:r>
                        <a:rPr lang="en-US" sz="1100" dirty="0" smtClean="0">
                          <a:latin typeface="Arial" panose="020B0604020202020204" pitchFamily="34" charset="0"/>
                          <a:cs typeface="Arial" panose="020B0604020202020204" pitchFamily="34" charset="0"/>
                        </a:rPr>
                        <a:t>1.6</a:t>
                      </a: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latin typeface="Arial" panose="020B0604020202020204" pitchFamily="34" charset="0"/>
                          <a:cs typeface="Arial" panose="020B0604020202020204" pitchFamily="34" charset="0"/>
                        </a:rPr>
                        <a:t>2.05</a:t>
                      </a: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latin typeface="Arial" panose="020B0604020202020204" pitchFamily="34" charset="0"/>
                          <a:cs typeface="Arial" panose="020B0604020202020204" pitchFamily="34" charset="0"/>
                        </a:rPr>
                        <a:t>2.5</a:t>
                      </a: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latin typeface="Arial" panose="020B0604020202020204" pitchFamily="34" charset="0"/>
                          <a:cs typeface="Arial" panose="020B0604020202020204" pitchFamily="34" charset="0"/>
                        </a:rPr>
                        <a:t>3</a:t>
                      </a: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latin typeface="Arial" panose="020B0604020202020204" pitchFamily="34" charset="0"/>
                          <a:cs typeface="Arial" panose="020B0604020202020204" pitchFamily="34" charset="0"/>
                        </a:rPr>
                        <a:t>3</a:t>
                      </a:r>
                      <a:endParaRPr lang="en-US" sz="11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5"/>
                  </a:ext>
                </a:extLst>
              </a:tr>
              <a:tr h="0">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000" dirty="0" smtClean="0">
                          <a:solidFill>
                            <a:schemeClr val="accent6">
                              <a:lumMod val="50000"/>
                            </a:schemeClr>
                          </a:solidFill>
                          <a:latin typeface="Arial" panose="020B0604020202020204" pitchFamily="34" charset="0"/>
                          <a:ea typeface="Times New Roman"/>
                          <a:cs typeface="Arial" panose="020B0604020202020204" pitchFamily="34" charset="0"/>
                        </a:rPr>
                        <a:t>Average yield (MT/ha) of   Rice </a:t>
                      </a:r>
                      <a:endParaRPr lang="en-US" sz="1000" dirty="0">
                        <a:solidFill>
                          <a:schemeClr val="accent6">
                            <a:lumMod val="50000"/>
                          </a:schemeClr>
                        </a:solidFill>
                        <a:latin typeface="Arial" panose="020B0604020202020204" pitchFamily="34" charset="0"/>
                        <a:cs typeface="Arial" panose="020B0604020202020204" pitchFamily="34" charset="0"/>
                      </a:endParaRPr>
                    </a:p>
                  </a:txBody>
                  <a:tcPr/>
                </a:tc>
                <a:tc>
                  <a:txBody>
                    <a:bodyPr/>
                    <a:lstStyle/>
                    <a:p>
                      <a:pPr algn="ctr"/>
                      <a:r>
                        <a:rPr lang="en-US" sz="1100" dirty="0" smtClean="0">
                          <a:latin typeface="Arial" panose="020B0604020202020204" pitchFamily="34" charset="0"/>
                          <a:cs typeface="Arial" panose="020B0604020202020204" pitchFamily="34" charset="0"/>
                        </a:rPr>
                        <a:t>2</a:t>
                      </a: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latin typeface="Arial" panose="020B0604020202020204" pitchFamily="34" charset="0"/>
                          <a:cs typeface="Arial" panose="020B0604020202020204" pitchFamily="34" charset="0"/>
                        </a:rPr>
                        <a:t>2</a:t>
                      </a: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latin typeface="Arial" panose="020B0604020202020204" pitchFamily="34" charset="0"/>
                          <a:cs typeface="Arial" panose="020B0604020202020204" pitchFamily="34" charset="0"/>
                        </a:rPr>
                        <a:t>2.5</a:t>
                      </a: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latin typeface="Arial" panose="020B0604020202020204" pitchFamily="34" charset="0"/>
                          <a:cs typeface="Arial" panose="020B0604020202020204" pitchFamily="34" charset="0"/>
                        </a:rPr>
                        <a:t>3</a:t>
                      </a: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latin typeface="Arial" panose="020B0604020202020204" pitchFamily="34" charset="0"/>
                          <a:cs typeface="Arial" panose="020B0604020202020204" pitchFamily="34" charset="0"/>
                        </a:rPr>
                        <a:t>3</a:t>
                      </a:r>
                      <a:endParaRPr lang="en-US" sz="11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6"/>
                  </a:ext>
                </a:extLst>
              </a:tr>
              <a:tr h="0">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000" dirty="0" smtClean="0">
                          <a:solidFill>
                            <a:schemeClr val="accent6">
                              <a:lumMod val="50000"/>
                            </a:schemeClr>
                          </a:solidFill>
                          <a:latin typeface="Arial" panose="020B0604020202020204" pitchFamily="34" charset="0"/>
                          <a:ea typeface="Times New Roman"/>
                          <a:cs typeface="Arial" panose="020B0604020202020204" pitchFamily="34" charset="0"/>
                        </a:rPr>
                        <a:t>Average yield (MT/ha) of  Soya Bean</a:t>
                      </a:r>
                      <a:endParaRPr lang="en-US" sz="1000" dirty="0">
                        <a:solidFill>
                          <a:schemeClr val="accent6">
                            <a:lumMod val="50000"/>
                          </a:schemeClr>
                        </a:solidFill>
                        <a:latin typeface="Arial" panose="020B0604020202020204" pitchFamily="34" charset="0"/>
                        <a:cs typeface="Arial" panose="020B0604020202020204" pitchFamily="34" charset="0"/>
                      </a:endParaRPr>
                    </a:p>
                  </a:txBody>
                  <a:tcPr/>
                </a:tc>
                <a:tc>
                  <a:txBody>
                    <a:bodyPr/>
                    <a:lstStyle/>
                    <a:p>
                      <a:pPr algn="ctr"/>
                      <a:r>
                        <a:rPr lang="en-US" sz="1100" dirty="0" smtClean="0">
                          <a:latin typeface="Arial" panose="020B0604020202020204" pitchFamily="34" charset="0"/>
                          <a:cs typeface="Arial" panose="020B0604020202020204" pitchFamily="34" charset="0"/>
                        </a:rPr>
                        <a:t>0.8</a:t>
                      </a: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latin typeface="Arial" panose="020B0604020202020204" pitchFamily="34" charset="0"/>
                          <a:cs typeface="Arial" panose="020B0604020202020204" pitchFamily="34" charset="0"/>
                        </a:rPr>
                        <a:t>0.8</a:t>
                      </a: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latin typeface="Arial" panose="020B0604020202020204" pitchFamily="34" charset="0"/>
                          <a:cs typeface="Arial" panose="020B0604020202020204" pitchFamily="34" charset="0"/>
                        </a:rPr>
                        <a:t>1</a:t>
                      </a: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latin typeface="Arial" panose="020B0604020202020204" pitchFamily="34" charset="0"/>
                          <a:cs typeface="Arial" panose="020B0604020202020204" pitchFamily="34" charset="0"/>
                        </a:rPr>
                        <a:t>1.5</a:t>
                      </a: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latin typeface="Arial" panose="020B0604020202020204" pitchFamily="34" charset="0"/>
                          <a:cs typeface="Arial" panose="020B0604020202020204" pitchFamily="34" charset="0"/>
                        </a:rPr>
                        <a:t>2</a:t>
                      </a:r>
                      <a:endParaRPr lang="en-US" sz="11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7"/>
                  </a:ext>
                </a:extLst>
              </a:tr>
              <a:tr h="0">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000" dirty="0" smtClean="0">
                          <a:solidFill>
                            <a:schemeClr val="accent6">
                              <a:lumMod val="50000"/>
                            </a:schemeClr>
                          </a:solidFill>
                          <a:latin typeface="Arial" panose="020B0604020202020204" pitchFamily="34" charset="0"/>
                          <a:cs typeface="Arial" panose="020B0604020202020204" pitchFamily="34" charset="0"/>
                        </a:rPr>
                        <a:t>Primary Level Outcome Indicators </a:t>
                      </a:r>
                      <a:endParaRPr lang="en-US" sz="1000" dirty="0">
                        <a:solidFill>
                          <a:schemeClr val="accent6">
                            <a:lumMod val="50000"/>
                          </a:schemeClr>
                        </a:solidFill>
                        <a:latin typeface="Arial" panose="020B0604020202020204" pitchFamily="34" charset="0"/>
                        <a:cs typeface="Arial" panose="020B0604020202020204" pitchFamily="34" charset="0"/>
                      </a:endParaRPr>
                    </a:p>
                  </a:txBody>
                  <a:tcPr>
                    <a:solidFill>
                      <a:schemeClr val="accent1">
                        <a:lumMod val="75000"/>
                      </a:schemeClr>
                    </a:solidFill>
                  </a:tcPr>
                </a:tc>
                <a:tc>
                  <a:txBody>
                    <a:bodyPr/>
                    <a:lstStyle/>
                    <a:p>
                      <a:pPr algn="ctr"/>
                      <a:endParaRPr lang="en-US" sz="1100" dirty="0">
                        <a:latin typeface="Arial" panose="020B0604020202020204" pitchFamily="34" charset="0"/>
                        <a:cs typeface="Arial" panose="020B0604020202020204" pitchFamily="34" charset="0"/>
                      </a:endParaRPr>
                    </a:p>
                  </a:txBody>
                  <a:tcPr>
                    <a:solidFill>
                      <a:schemeClr val="accent1">
                        <a:lumMod val="75000"/>
                      </a:schemeClr>
                    </a:solidFill>
                  </a:tcPr>
                </a:tc>
                <a:tc>
                  <a:txBody>
                    <a:bodyPr/>
                    <a:lstStyle/>
                    <a:p>
                      <a:pPr algn="ctr"/>
                      <a:endParaRPr lang="en-US" sz="1100" dirty="0">
                        <a:latin typeface="Arial" panose="020B0604020202020204" pitchFamily="34" charset="0"/>
                        <a:cs typeface="Arial" panose="020B0604020202020204" pitchFamily="34" charset="0"/>
                      </a:endParaRPr>
                    </a:p>
                  </a:txBody>
                  <a:tcPr>
                    <a:solidFill>
                      <a:schemeClr val="accent1">
                        <a:lumMod val="75000"/>
                      </a:schemeClr>
                    </a:solidFill>
                  </a:tcPr>
                </a:tc>
                <a:tc>
                  <a:txBody>
                    <a:bodyPr/>
                    <a:lstStyle/>
                    <a:p>
                      <a:pPr algn="ctr"/>
                      <a:endParaRPr lang="en-US" sz="1100" dirty="0">
                        <a:latin typeface="Arial" panose="020B0604020202020204" pitchFamily="34" charset="0"/>
                        <a:cs typeface="Arial" panose="020B0604020202020204" pitchFamily="34" charset="0"/>
                      </a:endParaRPr>
                    </a:p>
                  </a:txBody>
                  <a:tcPr>
                    <a:solidFill>
                      <a:schemeClr val="accent1">
                        <a:lumMod val="75000"/>
                      </a:schemeClr>
                    </a:solidFill>
                  </a:tcPr>
                </a:tc>
                <a:tc>
                  <a:txBody>
                    <a:bodyPr/>
                    <a:lstStyle/>
                    <a:p>
                      <a:pPr algn="ctr"/>
                      <a:endParaRPr lang="en-US" sz="1100" dirty="0">
                        <a:latin typeface="Arial" panose="020B0604020202020204" pitchFamily="34" charset="0"/>
                        <a:cs typeface="Arial" panose="020B0604020202020204" pitchFamily="34" charset="0"/>
                      </a:endParaRPr>
                    </a:p>
                  </a:txBody>
                  <a:tcPr>
                    <a:solidFill>
                      <a:schemeClr val="accent1">
                        <a:lumMod val="75000"/>
                      </a:schemeClr>
                    </a:solidFill>
                  </a:tcPr>
                </a:tc>
                <a:tc>
                  <a:txBody>
                    <a:bodyPr/>
                    <a:lstStyle/>
                    <a:p>
                      <a:pPr algn="ctr"/>
                      <a:endParaRPr lang="en-US" sz="1100" dirty="0">
                        <a:latin typeface="Arial" panose="020B0604020202020204" pitchFamily="34" charset="0"/>
                        <a:cs typeface="Arial" panose="020B0604020202020204" pitchFamily="34" charset="0"/>
                      </a:endParaRPr>
                    </a:p>
                  </a:txBody>
                  <a:tcPr>
                    <a:solidFill>
                      <a:schemeClr val="accent1">
                        <a:lumMod val="75000"/>
                      </a:schemeClr>
                    </a:solidFill>
                  </a:tcPr>
                </a:tc>
                <a:extLst>
                  <a:ext uri="{0D108BD9-81ED-4DB2-BD59-A6C34878D82A}">
                    <a16:rowId xmlns:a16="http://schemas.microsoft.com/office/drawing/2014/main" val="10008"/>
                  </a:ext>
                </a:extLst>
              </a:tr>
              <a:tr h="0">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000" dirty="0" smtClean="0">
                          <a:solidFill>
                            <a:schemeClr val="accent6">
                              <a:lumMod val="50000"/>
                            </a:schemeClr>
                          </a:solidFill>
                          <a:latin typeface="Arial" panose="020B0604020202020204" pitchFamily="34" charset="0"/>
                          <a:ea typeface="Times New Roman"/>
                          <a:cs typeface="Arial" panose="020B0604020202020204" pitchFamily="34" charset="0"/>
                        </a:rPr>
                        <a:t>Adoption rate of target improved productivity technologies or management practices at farmer level</a:t>
                      </a:r>
                      <a:r>
                        <a:rPr lang="en-US" sz="1000" dirty="0" smtClean="0">
                          <a:solidFill>
                            <a:schemeClr val="accent6">
                              <a:lumMod val="50000"/>
                            </a:schemeClr>
                          </a:solidFill>
                          <a:latin typeface="Arial" panose="020B0604020202020204" pitchFamily="34" charset="0"/>
                          <a:cs typeface="Arial" panose="020B0604020202020204" pitchFamily="34" charset="0"/>
                        </a:rPr>
                        <a:t>)</a:t>
                      </a:r>
                      <a:endParaRPr lang="en-US" sz="1000" dirty="0">
                        <a:solidFill>
                          <a:schemeClr val="accent6">
                            <a:lumMod val="50000"/>
                          </a:schemeClr>
                        </a:solidFill>
                        <a:latin typeface="Arial" panose="020B0604020202020204" pitchFamily="34" charset="0"/>
                        <a:cs typeface="Arial" panose="020B0604020202020204" pitchFamily="34" charset="0"/>
                      </a:endParaRPr>
                    </a:p>
                  </a:txBody>
                  <a:tcPr/>
                </a:tc>
                <a:tc>
                  <a:txBody>
                    <a:bodyPr/>
                    <a:lstStyle/>
                    <a:p>
                      <a:pPr algn="ct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latin typeface="Arial" panose="020B0604020202020204" pitchFamily="34" charset="0"/>
                          <a:cs typeface="Arial" panose="020B0604020202020204" pitchFamily="34" charset="0"/>
                        </a:rPr>
                        <a:t>35%</a:t>
                      </a: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latin typeface="Arial" panose="020B0604020202020204" pitchFamily="34" charset="0"/>
                          <a:cs typeface="Arial" panose="020B0604020202020204" pitchFamily="34" charset="0"/>
                        </a:rPr>
                        <a:t>40%</a:t>
                      </a: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latin typeface="Arial" panose="020B0604020202020204" pitchFamily="34" charset="0"/>
                          <a:cs typeface="Arial" panose="020B0604020202020204" pitchFamily="34" charset="0"/>
                        </a:rPr>
                        <a:t>45%</a:t>
                      </a: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latin typeface="Arial" panose="020B0604020202020204" pitchFamily="34" charset="0"/>
                          <a:cs typeface="Arial" panose="020B0604020202020204" pitchFamily="34" charset="0"/>
                        </a:rPr>
                        <a:t>65%</a:t>
                      </a:r>
                      <a:endParaRPr lang="en-US" sz="11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9"/>
                  </a:ext>
                </a:extLst>
              </a:tr>
              <a:tr h="0">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000" dirty="0" smtClean="0">
                          <a:solidFill>
                            <a:schemeClr val="accent6">
                              <a:lumMod val="50000"/>
                            </a:schemeClr>
                          </a:solidFill>
                          <a:latin typeface="Arial" panose="020B0604020202020204" pitchFamily="34" charset="0"/>
                          <a:ea typeface="Times New Roman"/>
                          <a:cs typeface="Arial" panose="020B0604020202020204" pitchFamily="34" charset="0"/>
                        </a:rPr>
                        <a:t>Percent of crop losses ( After harvest, threshing and storage levels):</a:t>
                      </a:r>
                      <a:endParaRPr lang="en-US" sz="1000" dirty="0">
                        <a:solidFill>
                          <a:schemeClr val="accent6">
                            <a:lumMod val="50000"/>
                          </a:schemeClr>
                        </a:solidFill>
                        <a:latin typeface="Arial" panose="020B0604020202020204" pitchFamily="34" charset="0"/>
                        <a:cs typeface="Arial" panose="020B0604020202020204" pitchFamily="34" charset="0"/>
                      </a:endParaRPr>
                    </a:p>
                  </a:txBody>
                  <a:tcPr/>
                </a:tc>
                <a:tc>
                  <a:txBody>
                    <a:bodyPr/>
                    <a:lstStyle/>
                    <a:p>
                      <a:pPr algn="ctr"/>
                      <a:endParaRPr lang="en-US" sz="1100" dirty="0">
                        <a:latin typeface="Arial" panose="020B0604020202020204" pitchFamily="34" charset="0"/>
                        <a:cs typeface="Arial" panose="020B0604020202020204" pitchFamily="34" charset="0"/>
                      </a:endParaRPr>
                    </a:p>
                  </a:txBody>
                  <a:tcPr/>
                </a:tc>
                <a:tc>
                  <a:txBody>
                    <a:bodyPr/>
                    <a:lstStyle/>
                    <a:p>
                      <a:pPr algn="ctr"/>
                      <a:endParaRPr lang="en-US" sz="1100" dirty="0">
                        <a:latin typeface="Arial" panose="020B0604020202020204" pitchFamily="34" charset="0"/>
                        <a:cs typeface="Arial" panose="020B0604020202020204" pitchFamily="34" charset="0"/>
                      </a:endParaRPr>
                    </a:p>
                  </a:txBody>
                  <a:tcPr/>
                </a:tc>
                <a:tc>
                  <a:txBody>
                    <a:bodyPr/>
                    <a:lstStyle/>
                    <a:p>
                      <a:pPr algn="ctr"/>
                      <a:endParaRPr lang="en-US" sz="1100" dirty="0">
                        <a:latin typeface="Arial" panose="020B0604020202020204" pitchFamily="34" charset="0"/>
                        <a:cs typeface="Arial" panose="020B0604020202020204" pitchFamily="34" charset="0"/>
                      </a:endParaRPr>
                    </a:p>
                  </a:txBody>
                  <a:tcPr/>
                </a:tc>
                <a:tc>
                  <a:txBody>
                    <a:bodyPr/>
                    <a:lstStyle/>
                    <a:p>
                      <a:pPr algn="ctr"/>
                      <a:endParaRPr lang="en-US" sz="1100" dirty="0">
                        <a:latin typeface="Arial" panose="020B0604020202020204" pitchFamily="34" charset="0"/>
                        <a:cs typeface="Arial" panose="020B0604020202020204" pitchFamily="34" charset="0"/>
                      </a:endParaRPr>
                    </a:p>
                  </a:txBody>
                  <a:tcPr/>
                </a:tc>
                <a:tc>
                  <a:txBody>
                    <a:bodyPr/>
                    <a:lstStyle/>
                    <a:p>
                      <a:pPr algn="ctr"/>
                      <a:endParaRPr lang="en-US" sz="11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10"/>
                  </a:ext>
                </a:extLst>
              </a:tr>
              <a:tr h="0">
                <a:tc>
                  <a:txBody>
                    <a:bodyPr/>
                    <a:lstStyle/>
                    <a:p>
                      <a:pPr marL="466431" marR="0" lvl="1" indent="0" algn="l" defTabSz="932863" rtl="0" eaLnBrk="1" fontAlgn="auto" latinLnBrk="0" hangingPunct="1">
                        <a:lnSpc>
                          <a:spcPct val="100000"/>
                        </a:lnSpc>
                        <a:spcBef>
                          <a:spcPts val="0"/>
                        </a:spcBef>
                        <a:spcAft>
                          <a:spcPts val="0"/>
                        </a:spcAft>
                        <a:buClrTx/>
                        <a:buSzTx/>
                        <a:buFontTx/>
                        <a:buNone/>
                        <a:tabLst/>
                        <a:defRPr/>
                      </a:pPr>
                      <a:r>
                        <a:rPr lang="en-US" sz="1000" dirty="0" smtClean="0">
                          <a:solidFill>
                            <a:schemeClr val="accent6">
                              <a:lumMod val="50000"/>
                            </a:schemeClr>
                          </a:solidFill>
                          <a:latin typeface="Arial" panose="020B0604020202020204" pitchFamily="34" charset="0"/>
                          <a:cs typeface="Arial" panose="020B0604020202020204" pitchFamily="34" charset="0"/>
                        </a:rPr>
                        <a:t>Maize</a:t>
                      </a:r>
                      <a:endParaRPr lang="en-US" sz="1000" dirty="0">
                        <a:solidFill>
                          <a:schemeClr val="accent6">
                            <a:lumMod val="50000"/>
                          </a:schemeClr>
                        </a:solidFill>
                        <a:latin typeface="Arial" panose="020B0604020202020204" pitchFamily="34" charset="0"/>
                        <a:cs typeface="Arial" panose="020B0604020202020204" pitchFamily="34" charset="0"/>
                      </a:endParaRPr>
                    </a:p>
                  </a:txBody>
                  <a:tcPr/>
                </a:tc>
                <a:tc>
                  <a:txBody>
                    <a:bodyPr/>
                    <a:lstStyle/>
                    <a:p>
                      <a:pPr algn="ct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latin typeface="Arial" panose="020B0604020202020204" pitchFamily="34" charset="0"/>
                          <a:cs typeface="Arial" panose="020B0604020202020204" pitchFamily="34" charset="0"/>
                        </a:rPr>
                        <a:t>-</a:t>
                      </a: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latin typeface="Arial" panose="020B0604020202020204" pitchFamily="34" charset="0"/>
                          <a:cs typeface="Arial" panose="020B0604020202020204" pitchFamily="34" charset="0"/>
                        </a:rPr>
                        <a:t>↓by 2%</a:t>
                      </a: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latin typeface="Arial" panose="020B0604020202020204" pitchFamily="34" charset="0"/>
                          <a:cs typeface="Arial" panose="020B0604020202020204" pitchFamily="34" charset="0"/>
                        </a:rPr>
                        <a:t>↓by 3%</a:t>
                      </a: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latin typeface="Arial" panose="020B0604020202020204" pitchFamily="34" charset="0"/>
                          <a:cs typeface="Arial" panose="020B0604020202020204" pitchFamily="34" charset="0"/>
                        </a:rPr>
                        <a:t>↓by 4%</a:t>
                      </a:r>
                      <a:endParaRPr lang="en-US" sz="11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11"/>
                  </a:ext>
                </a:extLst>
              </a:tr>
              <a:tr h="0">
                <a:tc>
                  <a:txBody>
                    <a:bodyPr/>
                    <a:lstStyle/>
                    <a:p>
                      <a:pPr marL="466431" marR="0" lvl="1" indent="0" algn="l" defTabSz="932863" rtl="0" eaLnBrk="1" fontAlgn="auto" latinLnBrk="0" hangingPunct="1">
                        <a:lnSpc>
                          <a:spcPct val="100000"/>
                        </a:lnSpc>
                        <a:spcBef>
                          <a:spcPts val="0"/>
                        </a:spcBef>
                        <a:spcAft>
                          <a:spcPts val="0"/>
                        </a:spcAft>
                        <a:buClrTx/>
                        <a:buSzTx/>
                        <a:buFontTx/>
                        <a:buNone/>
                        <a:tabLst/>
                        <a:defRPr/>
                      </a:pPr>
                      <a:r>
                        <a:rPr lang="en-US" sz="1000" dirty="0" smtClean="0">
                          <a:solidFill>
                            <a:schemeClr val="accent6">
                              <a:lumMod val="50000"/>
                            </a:schemeClr>
                          </a:solidFill>
                          <a:latin typeface="Arial" panose="020B0604020202020204" pitchFamily="34" charset="0"/>
                          <a:ea typeface="Times New Roman"/>
                          <a:cs typeface="Arial" panose="020B0604020202020204" pitchFamily="34" charset="0"/>
                        </a:rPr>
                        <a:t>Rice</a:t>
                      </a:r>
                      <a:endParaRPr lang="en-US" sz="1000" dirty="0">
                        <a:solidFill>
                          <a:schemeClr val="accent6">
                            <a:lumMod val="50000"/>
                          </a:schemeClr>
                        </a:solidFill>
                        <a:latin typeface="Arial" panose="020B0604020202020204" pitchFamily="34" charset="0"/>
                        <a:cs typeface="Arial" panose="020B0604020202020204" pitchFamily="34" charset="0"/>
                      </a:endParaRPr>
                    </a:p>
                  </a:txBody>
                  <a:tcPr/>
                </a:tc>
                <a:tc>
                  <a:txBody>
                    <a:bodyPr/>
                    <a:lstStyle/>
                    <a:p>
                      <a:pPr algn="ct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latin typeface="Arial" panose="020B0604020202020204" pitchFamily="34" charset="0"/>
                          <a:cs typeface="Arial" panose="020B0604020202020204" pitchFamily="34" charset="0"/>
                        </a:rPr>
                        <a:t>-</a:t>
                      </a: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latin typeface="Arial" panose="020B0604020202020204" pitchFamily="34" charset="0"/>
                          <a:cs typeface="Arial" panose="020B0604020202020204" pitchFamily="34" charset="0"/>
                        </a:rPr>
                        <a:t>↓by 2%</a:t>
                      </a:r>
                    </a:p>
                  </a:txBody>
                  <a:tcPr/>
                </a:tc>
                <a:tc>
                  <a:txBody>
                    <a:bodyPr/>
                    <a:lstStyle/>
                    <a:p>
                      <a:pPr algn="ctr"/>
                      <a:r>
                        <a:rPr lang="en-US" sz="1100" dirty="0" smtClean="0">
                          <a:latin typeface="Arial" panose="020B0604020202020204" pitchFamily="34" charset="0"/>
                          <a:cs typeface="Arial" panose="020B0604020202020204" pitchFamily="34" charset="0"/>
                        </a:rPr>
                        <a:t>↓by 2%</a:t>
                      </a:r>
                    </a:p>
                  </a:txBody>
                  <a:tcPr/>
                </a:tc>
                <a:tc>
                  <a:txBody>
                    <a:bodyPr/>
                    <a:lstStyle/>
                    <a:p>
                      <a:pPr algn="ctr"/>
                      <a:r>
                        <a:rPr lang="en-US" sz="1100" dirty="0" smtClean="0">
                          <a:latin typeface="Arial" panose="020B0604020202020204" pitchFamily="34" charset="0"/>
                          <a:cs typeface="Arial" panose="020B0604020202020204" pitchFamily="34" charset="0"/>
                        </a:rPr>
                        <a:t>↓by 2%</a:t>
                      </a:r>
                    </a:p>
                  </a:txBody>
                  <a:tcPr/>
                </a:tc>
                <a:extLst>
                  <a:ext uri="{0D108BD9-81ED-4DB2-BD59-A6C34878D82A}">
                    <a16:rowId xmlns:a16="http://schemas.microsoft.com/office/drawing/2014/main" val="10012"/>
                  </a:ext>
                </a:extLst>
              </a:tr>
              <a:tr h="0">
                <a:tc>
                  <a:txBody>
                    <a:bodyPr/>
                    <a:lstStyle/>
                    <a:p>
                      <a:pPr marL="466431" marR="0" lvl="1" indent="0" algn="l" defTabSz="932863" rtl="0" eaLnBrk="1" fontAlgn="auto" latinLnBrk="0" hangingPunct="1">
                        <a:lnSpc>
                          <a:spcPct val="100000"/>
                        </a:lnSpc>
                        <a:spcBef>
                          <a:spcPts val="0"/>
                        </a:spcBef>
                        <a:spcAft>
                          <a:spcPts val="0"/>
                        </a:spcAft>
                        <a:buClrTx/>
                        <a:buSzTx/>
                        <a:buFontTx/>
                        <a:buNone/>
                        <a:tabLst/>
                        <a:defRPr/>
                      </a:pPr>
                      <a:r>
                        <a:rPr lang="en-US" sz="1000" dirty="0" smtClean="0">
                          <a:solidFill>
                            <a:schemeClr val="accent6">
                              <a:lumMod val="50000"/>
                            </a:schemeClr>
                          </a:solidFill>
                          <a:latin typeface="Arial" panose="020B0604020202020204" pitchFamily="34" charset="0"/>
                          <a:cs typeface="Arial" panose="020B0604020202020204" pitchFamily="34" charset="0"/>
                        </a:rPr>
                        <a:t>Soya</a:t>
                      </a:r>
                      <a:endParaRPr lang="en-US" sz="1000" dirty="0">
                        <a:solidFill>
                          <a:schemeClr val="accent6">
                            <a:lumMod val="50000"/>
                          </a:schemeClr>
                        </a:solidFill>
                        <a:latin typeface="Arial" panose="020B0604020202020204" pitchFamily="34" charset="0"/>
                        <a:cs typeface="Arial" panose="020B0604020202020204" pitchFamily="34" charset="0"/>
                      </a:endParaRPr>
                    </a:p>
                  </a:txBody>
                  <a:tcPr/>
                </a:tc>
                <a:tc>
                  <a:txBody>
                    <a:bodyPr/>
                    <a:lstStyle/>
                    <a:p>
                      <a:pPr algn="ct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latin typeface="Arial" panose="020B0604020202020204" pitchFamily="34" charset="0"/>
                          <a:cs typeface="Arial" panose="020B0604020202020204" pitchFamily="34" charset="0"/>
                        </a:rPr>
                        <a:t>-</a:t>
                      </a: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latin typeface="Arial" panose="020B0604020202020204" pitchFamily="34" charset="0"/>
                          <a:cs typeface="Arial" panose="020B0604020202020204" pitchFamily="34" charset="0"/>
                        </a:rPr>
                        <a:t>↓by 2%</a:t>
                      </a:r>
                    </a:p>
                  </a:txBody>
                  <a:tcPr/>
                </a:tc>
                <a:tc>
                  <a:txBody>
                    <a:bodyPr/>
                    <a:lstStyle/>
                    <a:p>
                      <a:pPr algn="ctr"/>
                      <a:r>
                        <a:rPr lang="en-US" sz="1100" dirty="0" smtClean="0">
                          <a:latin typeface="Arial" panose="020B0604020202020204" pitchFamily="34" charset="0"/>
                          <a:cs typeface="Arial" panose="020B0604020202020204" pitchFamily="34" charset="0"/>
                        </a:rPr>
                        <a:t>↓by 2%</a:t>
                      </a:r>
                    </a:p>
                  </a:txBody>
                  <a:tcPr/>
                </a:tc>
                <a:tc>
                  <a:txBody>
                    <a:bodyPr/>
                    <a:lstStyle/>
                    <a:p>
                      <a:pPr algn="ctr"/>
                      <a:r>
                        <a:rPr lang="en-US" sz="1100" dirty="0" smtClean="0">
                          <a:latin typeface="Arial" panose="020B0604020202020204" pitchFamily="34" charset="0"/>
                          <a:cs typeface="Arial" panose="020B0604020202020204" pitchFamily="34" charset="0"/>
                        </a:rPr>
                        <a:t>↓by 2%</a:t>
                      </a:r>
                    </a:p>
                  </a:txBody>
                  <a:tcPr/>
                </a:tc>
                <a:extLst>
                  <a:ext uri="{0D108BD9-81ED-4DB2-BD59-A6C34878D82A}">
                    <a16:rowId xmlns:a16="http://schemas.microsoft.com/office/drawing/2014/main" val="10013"/>
                  </a:ext>
                </a:extLst>
              </a:tr>
              <a:tr h="0">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000" dirty="0" smtClean="0">
                          <a:solidFill>
                            <a:schemeClr val="accent6">
                              <a:lumMod val="50000"/>
                            </a:schemeClr>
                          </a:solidFill>
                          <a:latin typeface="Arial" panose="020B0604020202020204" pitchFamily="34" charset="0"/>
                          <a:ea typeface="Times New Roman"/>
                          <a:cs typeface="Arial" panose="020B0604020202020204" pitchFamily="34" charset="0"/>
                        </a:rPr>
                        <a:t>Number of jobs created by SMEs receiving AGRA support along the focus value chains</a:t>
                      </a:r>
                      <a:r>
                        <a:rPr lang="en-US" sz="1000" dirty="0" smtClean="0">
                          <a:solidFill>
                            <a:schemeClr val="accent6">
                              <a:lumMod val="50000"/>
                            </a:schemeClr>
                          </a:solidFill>
                          <a:latin typeface="Arial" panose="020B0604020202020204" pitchFamily="34" charset="0"/>
                          <a:cs typeface="Arial" panose="020B0604020202020204" pitchFamily="34" charset="0"/>
                        </a:rPr>
                        <a:t>)</a:t>
                      </a:r>
                      <a:endParaRPr lang="en-US" sz="1000" dirty="0">
                        <a:solidFill>
                          <a:schemeClr val="accent6">
                            <a:lumMod val="50000"/>
                          </a:schemeClr>
                        </a:solidFill>
                        <a:latin typeface="Arial" panose="020B0604020202020204" pitchFamily="34" charset="0"/>
                        <a:cs typeface="Arial" panose="020B0604020202020204" pitchFamily="34" charset="0"/>
                      </a:endParaRPr>
                    </a:p>
                  </a:txBody>
                  <a:tcPr/>
                </a:tc>
                <a:tc>
                  <a:txBody>
                    <a:bodyPr/>
                    <a:lstStyle/>
                    <a:p>
                      <a:pPr algn="ct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latin typeface="Arial" panose="020B0604020202020204" pitchFamily="34" charset="0"/>
                          <a:cs typeface="Arial" panose="020B0604020202020204" pitchFamily="34" charset="0"/>
                        </a:rPr>
                        <a:t>50</a:t>
                      </a: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latin typeface="Arial" panose="020B0604020202020204" pitchFamily="34" charset="0"/>
                          <a:cs typeface="Arial" panose="020B0604020202020204" pitchFamily="34" charset="0"/>
                        </a:rPr>
                        <a:t>280</a:t>
                      </a: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latin typeface="Arial" panose="020B0604020202020204" pitchFamily="34" charset="0"/>
                          <a:cs typeface="Arial" panose="020B0604020202020204" pitchFamily="34" charset="0"/>
                        </a:rPr>
                        <a:t>228</a:t>
                      </a: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latin typeface="Arial" panose="020B0604020202020204" pitchFamily="34" charset="0"/>
                          <a:cs typeface="Arial" panose="020B0604020202020204" pitchFamily="34" charset="0"/>
                        </a:rPr>
                        <a:t>558</a:t>
                      </a:r>
                      <a:endParaRPr lang="en-US" sz="11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14"/>
                  </a:ext>
                </a:extLst>
              </a:tr>
              <a:tr h="0">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000" dirty="0" smtClean="0">
                          <a:solidFill>
                            <a:schemeClr val="accent6">
                              <a:lumMod val="50000"/>
                            </a:schemeClr>
                          </a:solidFill>
                          <a:latin typeface="Arial" panose="020B0604020202020204" pitchFamily="34" charset="0"/>
                          <a:ea typeface="Times New Roman"/>
                          <a:cs typeface="Arial" panose="020B0604020202020204" pitchFamily="34" charset="0"/>
                        </a:rPr>
                        <a:t>Percent of total household produce sold through structured market facilities/arrangements</a:t>
                      </a:r>
                      <a:r>
                        <a:rPr lang="en-US" sz="1000" dirty="0" smtClean="0">
                          <a:solidFill>
                            <a:schemeClr val="accent6">
                              <a:lumMod val="50000"/>
                            </a:schemeClr>
                          </a:solidFill>
                          <a:latin typeface="Arial" panose="020B0604020202020204" pitchFamily="34" charset="0"/>
                          <a:cs typeface="Arial" panose="020B0604020202020204" pitchFamily="34" charset="0"/>
                        </a:rPr>
                        <a:t>)</a:t>
                      </a:r>
                      <a:endParaRPr lang="en-US" sz="1000" dirty="0">
                        <a:solidFill>
                          <a:schemeClr val="accent6">
                            <a:lumMod val="50000"/>
                          </a:schemeClr>
                        </a:solidFill>
                        <a:latin typeface="Arial" panose="020B0604020202020204" pitchFamily="34" charset="0"/>
                        <a:cs typeface="Arial" panose="020B0604020202020204" pitchFamily="34" charset="0"/>
                      </a:endParaRPr>
                    </a:p>
                  </a:txBody>
                  <a:tcPr/>
                </a:tc>
                <a:tc>
                  <a:txBody>
                    <a:bodyPr/>
                    <a:lstStyle/>
                    <a:p>
                      <a:pPr algn="ctr"/>
                      <a:r>
                        <a:rPr lang="en-US" sz="1100" dirty="0" smtClean="0">
                          <a:latin typeface="Arial" panose="020B0604020202020204" pitchFamily="34" charset="0"/>
                          <a:cs typeface="Arial" panose="020B0604020202020204" pitchFamily="34" charset="0"/>
                        </a:rPr>
                        <a:t>-</a:t>
                      </a: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latin typeface="Arial" panose="020B0604020202020204" pitchFamily="34" charset="0"/>
                          <a:cs typeface="Arial" panose="020B0604020202020204" pitchFamily="34" charset="0"/>
                        </a:rPr>
                        <a:t>35%</a:t>
                      </a: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latin typeface="Arial" panose="020B0604020202020204" pitchFamily="34" charset="0"/>
                          <a:cs typeface="Arial" panose="020B0604020202020204" pitchFamily="34" charset="0"/>
                        </a:rPr>
                        <a:t>40%</a:t>
                      </a: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latin typeface="Arial" panose="020B0604020202020204" pitchFamily="34" charset="0"/>
                          <a:cs typeface="Arial" panose="020B0604020202020204" pitchFamily="34" charset="0"/>
                        </a:rPr>
                        <a:t>45%</a:t>
                      </a: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latin typeface="Arial" panose="020B0604020202020204" pitchFamily="34" charset="0"/>
                          <a:cs typeface="Arial" panose="020B0604020202020204" pitchFamily="34" charset="0"/>
                        </a:rPr>
                        <a:t>65%</a:t>
                      </a:r>
                      <a:endParaRPr lang="en-US" sz="11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15"/>
                  </a:ext>
                </a:extLst>
              </a:tr>
              <a:tr h="0">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000" dirty="0" smtClean="0">
                          <a:solidFill>
                            <a:schemeClr val="accent6">
                              <a:lumMod val="50000"/>
                            </a:schemeClr>
                          </a:solidFill>
                          <a:latin typeface="Arial" panose="020B0604020202020204" pitchFamily="34" charset="0"/>
                          <a:ea typeface="Times New Roman"/>
                          <a:cs typeface="Arial" panose="020B0604020202020204" pitchFamily="34" charset="0"/>
                        </a:rPr>
                        <a:t>Percent of loan/risk facilities directed to agricultural activities/SMEs in target financial/risk providers</a:t>
                      </a:r>
                      <a:endParaRPr lang="en-US" sz="1000" dirty="0">
                        <a:solidFill>
                          <a:schemeClr val="accent6">
                            <a:lumMod val="50000"/>
                          </a:schemeClr>
                        </a:solidFill>
                        <a:latin typeface="Arial" panose="020B0604020202020204" pitchFamily="34" charset="0"/>
                        <a:cs typeface="Arial" panose="020B0604020202020204" pitchFamily="34" charset="0"/>
                      </a:endParaRPr>
                    </a:p>
                  </a:txBody>
                  <a:tcPr/>
                </a:tc>
                <a:tc>
                  <a:txBody>
                    <a:bodyPr/>
                    <a:lstStyle/>
                    <a:p>
                      <a:pPr algn="ctr"/>
                      <a:r>
                        <a:rPr lang="en-US" sz="1100" dirty="0" smtClean="0">
                          <a:latin typeface="Arial" panose="020B0604020202020204" pitchFamily="34" charset="0"/>
                          <a:cs typeface="Arial" panose="020B0604020202020204" pitchFamily="34" charset="0"/>
                        </a:rPr>
                        <a:t>9.2</a:t>
                      </a:r>
                      <a:endParaRPr lang="en-US" sz="1100" dirty="0">
                        <a:latin typeface="Arial" panose="020B0604020202020204" pitchFamily="34" charset="0"/>
                        <a:cs typeface="Arial" panose="020B0604020202020204" pitchFamily="34" charset="0"/>
                      </a:endParaRPr>
                    </a:p>
                  </a:txBody>
                  <a:tcPr/>
                </a:tc>
                <a:tc>
                  <a:txBody>
                    <a:bodyPr/>
                    <a:lstStyle/>
                    <a:p>
                      <a:pPr algn="ct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latin typeface="Arial" panose="020B0604020202020204" pitchFamily="34" charset="0"/>
                          <a:cs typeface="Arial" panose="020B0604020202020204" pitchFamily="34" charset="0"/>
                        </a:rPr>
                        <a:t>↑by 2%</a:t>
                      </a:r>
                      <a:endParaRPr lang="en-US" sz="1100" dirty="0">
                        <a:latin typeface="Arial" panose="020B0604020202020204" pitchFamily="34" charset="0"/>
                        <a:cs typeface="Arial" panose="020B0604020202020204" pitchFamily="34" charset="0"/>
                      </a:endParaRPr>
                    </a:p>
                  </a:txBody>
                  <a:tcPr/>
                </a:tc>
                <a:tc>
                  <a:txBody>
                    <a:bodyPr/>
                    <a:lstStyle/>
                    <a:p>
                      <a:pPr algn="ct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latin typeface="Arial" panose="020B0604020202020204" pitchFamily="34" charset="0"/>
                          <a:cs typeface="Arial" panose="020B0604020202020204" pitchFamily="34" charset="0"/>
                        </a:rPr>
                        <a:t>↑by 4%</a:t>
                      </a:r>
                    </a:p>
                  </a:txBody>
                  <a:tcPr/>
                </a:tc>
                <a:extLst>
                  <a:ext uri="{0D108BD9-81ED-4DB2-BD59-A6C34878D82A}">
                    <a16:rowId xmlns:a16="http://schemas.microsoft.com/office/drawing/2014/main" val="10016"/>
                  </a:ext>
                </a:extLst>
              </a:tr>
              <a:tr h="0">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000" dirty="0" smtClean="0">
                          <a:solidFill>
                            <a:schemeClr val="accent6">
                              <a:lumMod val="50000"/>
                            </a:schemeClr>
                          </a:solidFill>
                          <a:latin typeface="Arial" panose="020B0604020202020204" pitchFamily="34" charset="0"/>
                          <a:ea typeface="Times New Roman"/>
                          <a:cs typeface="Arial" panose="020B0604020202020204" pitchFamily="34" charset="0"/>
                        </a:rPr>
                        <a:t>Percent of target households with perceived adaptive or coping strategies to shocks and stresses</a:t>
                      </a:r>
                      <a:endParaRPr lang="en-US" sz="1000" dirty="0">
                        <a:solidFill>
                          <a:schemeClr val="accent6">
                            <a:lumMod val="50000"/>
                          </a:schemeClr>
                        </a:solidFill>
                        <a:latin typeface="Arial" panose="020B0604020202020204" pitchFamily="34" charset="0"/>
                        <a:cs typeface="Arial" panose="020B0604020202020204" pitchFamily="34" charset="0"/>
                      </a:endParaRPr>
                    </a:p>
                  </a:txBody>
                  <a:tcPr/>
                </a:tc>
                <a:tc>
                  <a:txBody>
                    <a:bodyPr/>
                    <a:lstStyle/>
                    <a:p>
                      <a:pPr algn="ctr"/>
                      <a:endParaRPr lang="en-US" sz="1100" dirty="0">
                        <a:latin typeface="Arial" panose="020B0604020202020204" pitchFamily="34" charset="0"/>
                        <a:cs typeface="Arial" panose="020B0604020202020204" pitchFamily="34" charset="0"/>
                      </a:endParaRPr>
                    </a:p>
                  </a:txBody>
                  <a:tcPr/>
                </a:tc>
                <a:tc>
                  <a:txBody>
                    <a:bodyPr/>
                    <a:lstStyle/>
                    <a:p>
                      <a:pPr algn="ct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latin typeface="Arial" panose="020B0604020202020204" pitchFamily="34" charset="0"/>
                          <a:cs typeface="Arial" panose="020B0604020202020204" pitchFamily="34" charset="0"/>
                        </a:rPr>
                        <a:t>↑by 0.5 pts</a:t>
                      </a:r>
                      <a:endParaRPr lang="en-US" sz="1100" dirty="0">
                        <a:latin typeface="Arial" panose="020B0604020202020204" pitchFamily="34" charset="0"/>
                        <a:cs typeface="Arial" panose="020B0604020202020204" pitchFamily="34" charset="0"/>
                      </a:endParaRPr>
                    </a:p>
                  </a:txBody>
                  <a:tcPr/>
                </a:tc>
                <a:tc>
                  <a:txBody>
                    <a:bodyPr/>
                    <a:lstStyle/>
                    <a:p>
                      <a:pPr algn="ct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latin typeface="Arial" panose="020B0604020202020204" pitchFamily="34" charset="0"/>
                          <a:cs typeface="Arial" panose="020B0604020202020204" pitchFamily="34" charset="0"/>
                        </a:rPr>
                        <a:t>↑by 0.1 pts</a:t>
                      </a:r>
                      <a:endParaRPr lang="en-US" sz="11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17"/>
                  </a:ext>
                </a:extLst>
              </a:tr>
            </a:tbl>
          </a:graphicData>
        </a:graphic>
      </p:graphicFrame>
      <p:sp>
        <p:nvSpPr>
          <p:cNvPr id="9" name="Title 1"/>
          <p:cNvSpPr txBox="1">
            <a:spLocks/>
          </p:cNvSpPr>
          <p:nvPr/>
        </p:nvSpPr>
        <p:spPr bwMode="auto">
          <a:xfrm>
            <a:off x="223252" y="788090"/>
            <a:ext cx="8155745" cy="305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algn="l" defTabSz="913429" rtl="0" eaLnBrk="1" fontAlgn="base" hangingPunct="1">
              <a:spcBef>
                <a:spcPct val="0"/>
              </a:spcBef>
              <a:spcAft>
                <a:spcPct val="0"/>
              </a:spcAft>
              <a:tabLst>
                <a:tab pos="275324" algn="l"/>
              </a:tabLst>
              <a:defRPr sz="1900" b="1" baseline="0">
                <a:solidFill>
                  <a:schemeClr val="tx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r>
              <a:rPr lang="en-US" sz="1100" b="0" kern="0" dirty="0" smtClean="0">
                <a:solidFill>
                  <a:srgbClr val="000000"/>
                </a:solidFill>
                <a:latin typeface="Arial" panose="020B0604020202020204" pitchFamily="34" charset="0"/>
                <a:cs typeface="Arial" panose="020B0604020202020204" pitchFamily="34" charset="0"/>
              </a:rPr>
              <a:t>AGRA </a:t>
            </a:r>
            <a:r>
              <a:rPr lang="en-US" sz="1100" b="0" kern="0" dirty="0">
                <a:solidFill>
                  <a:srgbClr val="000000"/>
                </a:solidFill>
                <a:latin typeface="Arial" panose="020B0604020202020204" pitchFamily="34" charset="0"/>
                <a:cs typeface="Arial" panose="020B0604020202020204" pitchFamily="34" charset="0"/>
              </a:rPr>
              <a:t>is tracking 73 indicators across its strategy and at country level, but a version of the following dashboard will be tracked for ongoing management and summary </a:t>
            </a:r>
            <a:r>
              <a:rPr lang="en-US" sz="1100" b="0" kern="0" dirty="0" smtClean="0">
                <a:solidFill>
                  <a:srgbClr val="000000"/>
                </a:solidFill>
                <a:latin typeface="Arial" panose="020B0604020202020204" pitchFamily="34" charset="0"/>
                <a:cs typeface="Arial" panose="020B0604020202020204" pitchFamily="34" charset="0"/>
              </a:rPr>
              <a:t>reports:</a:t>
            </a:r>
            <a:endParaRPr lang="en-US" sz="1100" b="0" kern="0"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53703817"/>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062" name="think-cell Slide" r:id="rId5" imgW="470" imgH="469" progId="TCLayout.ActiveDocument.1">
                  <p:embed/>
                </p:oleObj>
              </mc:Choice>
              <mc:Fallback>
                <p:oleObj name="think-cell Slide" r:id="rId5" imgW="470" imgH="469"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900" b="1" dirty="0" smtClean="0">
              <a:solidFill>
                <a:schemeClr val="tx1"/>
              </a:solidFill>
              <a:latin typeface="Arial" panose="020B0604020202020204" pitchFamily="34" charset="0"/>
              <a:ea typeface="+mj-ea"/>
              <a:cs typeface="+mj-cs"/>
              <a:sym typeface="Arial" panose="020B0604020202020204" pitchFamily="34" charset="0"/>
            </a:endParaRPr>
          </a:p>
        </p:txBody>
      </p:sp>
      <p:sp>
        <p:nvSpPr>
          <p:cNvPr id="5" name="Title 3"/>
          <p:cNvSpPr>
            <a:spLocks noGrp="1"/>
          </p:cNvSpPr>
          <p:nvPr>
            <p:ph type="title"/>
          </p:nvPr>
        </p:nvSpPr>
        <p:spPr>
          <a:xfrm>
            <a:off x="235124" y="250835"/>
            <a:ext cx="8007350" cy="292388"/>
          </a:xfrm>
        </p:spPr>
        <p:txBody>
          <a:bodyPr/>
          <a:lstStyle/>
          <a:p>
            <a:r>
              <a:rPr lang="en-US" dirty="0"/>
              <a:t>Key Country Indicators and Targets</a:t>
            </a:r>
          </a:p>
        </p:txBody>
      </p:sp>
      <p:graphicFrame>
        <p:nvGraphicFramePr>
          <p:cNvPr id="6" name="Table 5"/>
          <p:cNvGraphicFramePr>
            <a:graphicFrameLocks noGrp="1"/>
          </p:cNvGraphicFramePr>
          <p:nvPr>
            <p:extLst>
              <p:ext uri="{D42A27DB-BD31-4B8C-83A1-F6EECF244321}">
                <p14:modId xmlns:p14="http://schemas.microsoft.com/office/powerpoint/2010/main" val="3476393653"/>
              </p:ext>
            </p:extLst>
          </p:nvPr>
        </p:nvGraphicFramePr>
        <p:xfrm>
          <a:off x="235125" y="959947"/>
          <a:ext cx="9480375" cy="5253816"/>
        </p:xfrm>
        <a:graphic>
          <a:graphicData uri="http://schemas.openxmlformats.org/drawingml/2006/table">
            <a:tbl>
              <a:tblPr firstRow="1" bandRow="1">
                <a:tableStyleId>{FABFCF23-3B69-468F-B69F-88F6DE6A72F2}</a:tableStyleId>
              </a:tblPr>
              <a:tblGrid>
                <a:gridCol w="5465159">
                  <a:extLst>
                    <a:ext uri="{9D8B030D-6E8A-4147-A177-3AD203B41FA5}">
                      <a16:colId xmlns:a16="http://schemas.microsoft.com/office/drawing/2014/main" val="20000"/>
                    </a:ext>
                  </a:extLst>
                </a:gridCol>
                <a:gridCol w="1003804">
                  <a:extLst>
                    <a:ext uri="{9D8B030D-6E8A-4147-A177-3AD203B41FA5}">
                      <a16:colId xmlns:a16="http://schemas.microsoft.com/office/drawing/2014/main" val="20001"/>
                    </a:ext>
                  </a:extLst>
                </a:gridCol>
                <a:gridCol w="1003804">
                  <a:extLst>
                    <a:ext uri="{9D8B030D-6E8A-4147-A177-3AD203B41FA5}">
                      <a16:colId xmlns:a16="http://schemas.microsoft.com/office/drawing/2014/main" val="20002"/>
                    </a:ext>
                  </a:extLst>
                </a:gridCol>
                <a:gridCol w="1003804">
                  <a:extLst>
                    <a:ext uri="{9D8B030D-6E8A-4147-A177-3AD203B41FA5}">
                      <a16:colId xmlns:a16="http://schemas.microsoft.com/office/drawing/2014/main" val="20003"/>
                    </a:ext>
                  </a:extLst>
                </a:gridCol>
                <a:gridCol w="1003804">
                  <a:extLst>
                    <a:ext uri="{9D8B030D-6E8A-4147-A177-3AD203B41FA5}">
                      <a16:colId xmlns:a16="http://schemas.microsoft.com/office/drawing/2014/main" val="20004"/>
                    </a:ext>
                  </a:extLst>
                </a:gridCol>
              </a:tblGrid>
              <a:tr h="584788">
                <a:tc>
                  <a:txBody>
                    <a:bodyPr/>
                    <a:lstStyle/>
                    <a:p>
                      <a:endParaRPr lang="en-US" sz="1050" dirty="0">
                        <a:latin typeface="Arial" panose="020B0604020202020204" pitchFamily="34" charset="0"/>
                        <a:cs typeface="Arial" panose="020B0604020202020204" pitchFamily="34" charset="0"/>
                      </a:endParaRPr>
                    </a:p>
                  </a:txBody>
                  <a:tcPr/>
                </a:tc>
                <a:tc>
                  <a:txBody>
                    <a:bodyPr/>
                    <a:lstStyle/>
                    <a:p>
                      <a:r>
                        <a:rPr lang="en-US" sz="1050" dirty="0" smtClean="0"/>
                        <a:t>2019</a:t>
                      </a:r>
                      <a:r>
                        <a:rPr lang="en-US" sz="1050" baseline="0" dirty="0" smtClean="0"/>
                        <a:t> </a:t>
                      </a:r>
                      <a:r>
                        <a:rPr lang="en-US" sz="1050" dirty="0" smtClean="0"/>
                        <a:t>Target</a:t>
                      </a:r>
                      <a:endParaRPr lang="en-US" sz="1050" dirty="0">
                        <a:latin typeface="Arial" panose="020B0604020202020204" pitchFamily="34" charset="0"/>
                        <a:cs typeface="Arial" panose="020B0604020202020204" pitchFamily="34" charset="0"/>
                      </a:endParaRPr>
                    </a:p>
                  </a:txBody>
                  <a:tcPr/>
                </a:tc>
                <a:tc>
                  <a:txBody>
                    <a:bodyPr/>
                    <a:lstStyle/>
                    <a:p>
                      <a:r>
                        <a:rPr lang="en-US" sz="1050" dirty="0" smtClean="0"/>
                        <a:t>2020</a:t>
                      </a:r>
                      <a:r>
                        <a:rPr lang="en-US" sz="1050" baseline="0" dirty="0" smtClean="0"/>
                        <a:t> Target</a:t>
                      </a:r>
                      <a:endParaRPr lang="en-US" sz="1050" dirty="0">
                        <a:latin typeface="Arial" panose="020B0604020202020204" pitchFamily="34" charset="0"/>
                        <a:cs typeface="Arial" panose="020B0604020202020204" pitchFamily="34" charset="0"/>
                      </a:endParaRPr>
                    </a:p>
                  </a:txBody>
                  <a:tcPr/>
                </a:tc>
                <a:tc>
                  <a:txBody>
                    <a:bodyPr/>
                    <a:lstStyle/>
                    <a:p>
                      <a:r>
                        <a:rPr lang="en-US" sz="1050" dirty="0" smtClean="0"/>
                        <a:t>2021</a:t>
                      </a:r>
                      <a:r>
                        <a:rPr lang="en-US" sz="1050" baseline="0" dirty="0" smtClean="0"/>
                        <a:t> </a:t>
                      </a:r>
                      <a:r>
                        <a:rPr lang="en-US" sz="1050" dirty="0" smtClean="0"/>
                        <a:t>Target</a:t>
                      </a:r>
                      <a:endParaRPr lang="en-US" sz="1050" dirty="0">
                        <a:latin typeface="Arial" panose="020B0604020202020204" pitchFamily="34" charset="0"/>
                        <a:cs typeface="Arial" panose="020B0604020202020204" pitchFamily="34" charset="0"/>
                      </a:endParaRPr>
                    </a:p>
                  </a:txBody>
                  <a:tcPr/>
                </a:tc>
                <a:tc>
                  <a:txBody>
                    <a:bodyPr/>
                    <a:lstStyle/>
                    <a:p>
                      <a:r>
                        <a:rPr lang="en-US" sz="1050" dirty="0" smtClean="0"/>
                        <a:t>Overall</a:t>
                      </a:r>
                      <a:r>
                        <a:rPr lang="en-US" sz="1050" baseline="0" dirty="0" smtClean="0"/>
                        <a:t> </a:t>
                      </a:r>
                      <a:r>
                        <a:rPr lang="en-US" sz="1050" dirty="0" smtClean="0"/>
                        <a:t>Target</a:t>
                      </a:r>
                      <a:endParaRPr lang="en-US" sz="105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0"/>
                  </a:ext>
                </a:extLst>
              </a:tr>
              <a:tr h="563129">
                <a:tc>
                  <a:txBody>
                    <a:bodyPr/>
                    <a:lstStyle/>
                    <a:p>
                      <a:pPr fontAlgn="base">
                        <a:spcBef>
                          <a:spcPct val="0"/>
                        </a:spcBef>
                        <a:spcAft>
                          <a:spcPct val="0"/>
                        </a:spcAft>
                        <a:buClr>
                          <a:srgbClr val="000000"/>
                        </a:buClr>
                      </a:pPr>
                      <a:r>
                        <a:rPr lang="en-US" sz="1100" dirty="0" smtClean="0"/>
                        <a:t>Number of crop varieties and other technologies commercialized with AGRA support</a:t>
                      </a:r>
                      <a:endParaRPr lang="en-US" sz="1100" dirty="0">
                        <a:solidFill>
                          <a:srgbClr val="000000"/>
                        </a:solidFill>
                        <a:latin typeface="Arial" panose="020B0604020202020204" pitchFamily="34" charset="0"/>
                        <a:cs typeface="Arial" panose="020B0604020202020204" pitchFamily="34" charset="0"/>
                      </a:endParaRPr>
                    </a:p>
                  </a:txBody>
                  <a:tcPr/>
                </a:tc>
                <a:tc>
                  <a:txBody>
                    <a:bodyPr/>
                    <a:lstStyle/>
                    <a:p>
                      <a:pPr algn="ctr"/>
                      <a:r>
                        <a:rPr lang="en-US" sz="1100" dirty="0" smtClean="0"/>
                        <a:t>5</a:t>
                      </a: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t>6</a:t>
                      </a: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t>6</a:t>
                      </a: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t>17</a:t>
                      </a:r>
                      <a:endParaRPr lang="en-US" sz="11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1"/>
                  </a:ext>
                </a:extLst>
              </a:tr>
              <a:tr h="779717">
                <a:tc>
                  <a:txBody>
                    <a:bodyPr/>
                    <a:lstStyle/>
                    <a:p>
                      <a:pPr fontAlgn="base">
                        <a:spcBef>
                          <a:spcPct val="0"/>
                        </a:spcBef>
                        <a:spcAft>
                          <a:spcPct val="0"/>
                        </a:spcAft>
                        <a:buClr>
                          <a:srgbClr val="000000"/>
                        </a:buClr>
                      </a:pPr>
                      <a:r>
                        <a:rPr lang="en-US" sz="1100" dirty="0" smtClean="0"/>
                        <a:t>Percent of households using target certified seed of improved varieties, fertilizer blends and other improved productivity technologies or management practices</a:t>
                      </a:r>
                      <a:endParaRPr lang="en-US" sz="1100" dirty="0">
                        <a:solidFill>
                          <a:srgbClr val="000000"/>
                        </a:solidFill>
                        <a:latin typeface="Arial" panose="020B0604020202020204" pitchFamily="34" charset="0"/>
                        <a:ea typeface="Times New Roman"/>
                        <a:cs typeface="Arial" panose="020B0604020202020204" pitchFamily="34" charset="0"/>
                      </a:endParaRPr>
                    </a:p>
                  </a:txBody>
                  <a:tcPr/>
                </a:tc>
                <a:tc>
                  <a:txBody>
                    <a:bodyPr/>
                    <a:lstStyle/>
                    <a:p>
                      <a:pPr algn="ctr"/>
                      <a:r>
                        <a:rPr lang="en-US" sz="1100" dirty="0" smtClean="0"/>
                        <a:t>35%</a:t>
                      </a: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t>50%</a:t>
                      </a: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t>65%</a:t>
                      </a: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t>70%</a:t>
                      </a:r>
                      <a:endParaRPr lang="en-US" sz="11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2"/>
                  </a:ext>
                </a:extLst>
              </a:tr>
              <a:tr h="346540">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100" dirty="0" smtClean="0"/>
                        <a:t>Number of extension service events completed</a:t>
                      </a: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t>7,188</a:t>
                      </a: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t>7570</a:t>
                      </a: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t>7329</a:t>
                      </a: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t>22,087</a:t>
                      </a:r>
                      <a:endParaRPr lang="en-US" sz="11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3"/>
                  </a:ext>
                </a:extLst>
              </a:tr>
              <a:tr h="563129">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100" dirty="0" smtClean="0"/>
                        <a:t>Number of farmers and other value chain actors participating in AGRA supported extension services</a:t>
                      </a: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t>251,314</a:t>
                      </a: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t>320,956</a:t>
                      </a: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t>190,799</a:t>
                      </a: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t>763,069</a:t>
                      </a:r>
                      <a:endParaRPr lang="en-US" sz="11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4"/>
                  </a:ext>
                </a:extLst>
              </a:tr>
              <a:tr h="467224">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100" dirty="0" smtClean="0"/>
                        <a:t>Number of women owned input and output market enterprises along the focus value chains supported</a:t>
                      </a: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t>50%</a:t>
                      </a: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t>60%</a:t>
                      </a: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t>70%</a:t>
                      </a: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t>80%</a:t>
                      </a:r>
                      <a:endParaRPr lang="en-US" sz="11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5"/>
                  </a:ext>
                </a:extLst>
              </a:tr>
              <a:tr h="346540">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100" dirty="0" smtClean="0"/>
                        <a:t>Percent of target SMEs along focus value chains operating profitably</a:t>
                      </a: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t>40%</a:t>
                      </a: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t>50%</a:t>
                      </a: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t>60%</a:t>
                      </a: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t>70%</a:t>
                      </a:r>
                      <a:endParaRPr lang="en-US" sz="11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6"/>
                  </a:ext>
                </a:extLst>
              </a:tr>
              <a:tr h="346540">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100" dirty="0" smtClean="0"/>
                        <a:t>Percent of farmers using structured trading facilities/arrangements</a:t>
                      </a: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t>50%</a:t>
                      </a: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t>60%</a:t>
                      </a: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t>70%</a:t>
                      </a: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t>80%</a:t>
                      </a:r>
                      <a:endParaRPr lang="en-US" sz="11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7"/>
                  </a:ext>
                </a:extLst>
              </a:tr>
              <a:tr h="346540">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100" dirty="0" smtClean="0"/>
                        <a:t>Quantity (MT) of target crops sold through structured markets)</a:t>
                      </a: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t>93,308</a:t>
                      </a: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t>155,899</a:t>
                      </a: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t>123,119</a:t>
                      </a: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t>321,896</a:t>
                      </a:r>
                      <a:endParaRPr lang="en-US" sz="11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8"/>
                  </a:ext>
                </a:extLst>
              </a:tr>
              <a:tr h="563129">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100" dirty="0" smtClean="0"/>
                        <a:t>Percent target farmers using financial/risk management services of engaged institutions</a:t>
                      </a: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t>30%</a:t>
                      </a: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t>45%</a:t>
                      </a: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t>60%</a:t>
                      </a: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t>60%</a:t>
                      </a:r>
                      <a:endParaRPr lang="en-US" sz="11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9"/>
                  </a:ext>
                </a:extLst>
              </a:tr>
              <a:tr h="346540">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100" dirty="0" smtClean="0"/>
                        <a:t>Number of farmers reached with promoted interventions</a:t>
                      </a: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t>1,608,156</a:t>
                      </a: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t>634,855</a:t>
                      </a: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t>331,934</a:t>
                      </a:r>
                      <a:endParaRPr lang="en-US" sz="1100" dirty="0">
                        <a:latin typeface="Arial" panose="020B0604020202020204" pitchFamily="34" charset="0"/>
                        <a:cs typeface="Arial" panose="020B0604020202020204" pitchFamily="34" charset="0"/>
                      </a:endParaRPr>
                    </a:p>
                  </a:txBody>
                  <a:tcPr/>
                </a:tc>
                <a:tc>
                  <a:txBody>
                    <a:bodyPr/>
                    <a:lstStyle/>
                    <a:p>
                      <a:pPr algn="ctr"/>
                      <a:r>
                        <a:rPr lang="en-US" sz="1100" dirty="0" smtClean="0"/>
                        <a:t>2,574,945</a:t>
                      </a:r>
                      <a:endParaRPr lang="en-US" sz="11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4187698681"/>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ur delivery – Portfolio to date, emerging context, lessons learned, emerging priorities</a:t>
            </a:r>
            <a:endParaRPr lang="en-US" dirty="0"/>
          </a:p>
        </p:txBody>
      </p:sp>
    </p:spTree>
    <p:extLst>
      <p:ext uri="{BB962C8B-B14F-4D97-AF65-F5344CB8AC3E}">
        <p14:creationId xmlns:p14="http://schemas.microsoft.com/office/powerpoint/2010/main" val="2595451683"/>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042622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8539" name="think-cell Slide" r:id="rId5" imgW="327" imgH="327" progId="TCLayout.ActiveDocument.1">
                  <p:embed/>
                </p:oleObj>
              </mc:Choice>
              <mc:Fallback>
                <p:oleObj name="think-cell Slide" r:id="rId5" imgW="327" imgH="32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0" name="Rectangle 99"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000" b="1" dirty="0">
              <a:latin typeface="Arial" panose="020B0604020202020204" pitchFamily="34" charset="0"/>
              <a:cs typeface="Arial" panose="020B0604020202020204" pitchFamily="34" charset="0"/>
              <a:sym typeface="Arial" panose="020B0604020202020204" pitchFamily="34" charset="0"/>
            </a:endParaRPr>
          </a:p>
        </p:txBody>
      </p:sp>
      <p:grpSp>
        <p:nvGrpSpPr>
          <p:cNvPr id="422" name="Group 421"/>
          <p:cNvGrpSpPr/>
          <p:nvPr/>
        </p:nvGrpSpPr>
        <p:grpSpPr>
          <a:xfrm>
            <a:off x="136792" y="971780"/>
            <a:ext cx="9869736" cy="5149639"/>
            <a:chOff x="126227" y="520444"/>
            <a:chExt cx="12147367" cy="6338017"/>
          </a:xfrm>
        </p:grpSpPr>
        <p:sp>
          <p:nvSpPr>
            <p:cNvPr id="3" name="Rectangle 200"/>
            <p:cNvSpPr>
              <a:spLocks noChangeArrowheads="1"/>
            </p:cNvSpPr>
            <p:nvPr/>
          </p:nvSpPr>
          <p:spPr bwMode="auto">
            <a:xfrm>
              <a:off x="190431" y="520444"/>
              <a:ext cx="10854961"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endParaRPr lang="en-US" altLang="en-US" sz="2275" b="1" dirty="0">
                <a:cs typeface="Arial" panose="020B0604020202020204" pitchFamily="34" charset="0"/>
              </a:endParaRPr>
            </a:p>
          </p:txBody>
        </p:sp>
        <p:grpSp>
          <p:nvGrpSpPr>
            <p:cNvPr id="5" name="Group 4"/>
            <p:cNvGrpSpPr>
              <a:grpSpLocks noChangeAspect="1"/>
            </p:cNvGrpSpPr>
            <p:nvPr/>
          </p:nvGrpSpPr>
          <p:grpSpPr bwMode="auto">
            <a:xfrm>
              <a:off x="533400" y="888087"/>
              <a:ext cx="9952613" cy="5970374"/>
              <a:chOff x="253" y="516"/>
              <a:chExt cx="6673" cy="4003"/>
            </a:xfrm>
          </p:grpSpPr>
          <p:sp>
            <p:nvSpPr>
              <p:cNvPr id="7" name="Freeform 5"/>
              <p:cNvSpPr>
                <a:spLocks/>
              </p:cNvSpPr>
              <p:nvPr/>
            </p:nvSpPr>
            <p:spPr bwMode="auto">
              <a:xfrm>
                <a:off x="3090" y="2340"/>
                <a:ext cx="74" cy="78"/>
              </a:xfrm>
              <a:custGeom>
                <a:avLst/>
                <a:gdLst>
                  <a:gd name="T0" fmla="*/ 36 w 74"/>
                  <a:gd name="T1" fmla="*/ 2 h 78"/>
                  <a:gd name="T2" fmla="*/ 38 w 74"/>
                  <a:gd name="T3" fmla="*/ 5 h 78"/>
                  <a:gd name="T4" fmla="*/ 41 w 74"/>
                  <a:gd name="T5" fmla="*/ 6 h 78"/>
                  <a:gd name="T6" fmla="*/ 43 w 74"/>
                  <a:gd name="T7" fmla="*/ 3 h 78"/>
                  <a:gd name="T8" fmla="*/ 48 w 74"/>
                  <a:gd name="T9" fmla="*/ 0 h 78"/>
                  <a:gd name="T10" fmla="*/ 48 w 74"/>
                  <a:gd name="T11" fmla="*/ 3 h 78"/>
                  <a:gd name="T12" fmla="*/ 51 w 74"/>
                  <a:gd name="T13" fmla="*/ 6 h 78"/>
                  <a:gd name="T14" fmla="*/ 52 w 74"/>
                  <a:gd name="T15" fmla="*/ 5 h 78"/>
                  <a:gd name="T16" fmla="*/ 59 w 74"/>
                  <a:gd name="T17" fmla="*/ 5 h 78"/>
                  <a:gd name="T18" fmla="*/ 62 w 74"/>
                  <a:gd name="T19" fmla="*/ 3 h 78"/>
                  <a:gd name="T20" fmla="*/ 65 w 74"/>
                  <a:gd name="T21" fmla="*/ 5 h 78"/>
                  <a:gd name="T22" fmla="*/ 67 w 74"/>
                  <a:gd name="T23" fmla="*/ 9 h 78"/>
                  <a:gd name="T24" fmla="*/ 68 w 74"/>
                  <a:gd name="T25" fmla="*/ 14 h 78"/>
                  <a:gd name="T26" fmla="*/ 70 w 74"/>
                  <a:gd name="T27" fmla="*/ 21 h 78"/>
                  <a:gd name="T28" fmla="*/ 73 w 74"/>
                  <a:gd name="T29" fmla="*/ 25 h 78"/>
                  <a:gd name="T30" fmla="*/ 73 w 74"/>
                  <a:gd name="T31" fmla="*/ 32 h 78"/>
                  <a:gd name="T32" fmla="*/ 73 w 74"/>
                  <a:gd name="T33" fmla="*/ 36 h 78"/>
                  <a:gd name="T34" fmla="*/ 71 w 74"/>
                  <a:gd name="T35" fmla="*/ 40 h 78"/>
                  <a:gd name="T36" fmla="*/ 70 w 74"/>
                  <a:gd name="T37" fmla="*/ 43 h 78"/>
                  <a:gd name="T38" fmla="*/ 71 w 74"/>
                  <a:gd name="T39" fmla="*/ 46 h 78"/>
                  <a:gd name="T40" fmla="*/ 65 w 74"/>
                  <a:gd name="T41" fmla="*/ 46 h 78"/>
                  <a:gd name="T42" fmla="*/ 59 w 74"/>
                  <a:gd name="T43" fmla="*/ 44 h 78"/>
                  <a:gd name="T44" fmla="*/ 62 w 74"/>
                  <a:gd name="T45" fmla="*/ 57 h 78"/>
                  <a:gd name="T46" fmla="*/ 63 w 74"/>
                  <a:gd name="T47" fmla="*/ 67 h 78"/>
                  <a:gd name="T48" fmla="*/ 55 w 74"/>
                  <a:gd name="T49" fmla="*/ 67 h 78"/>
                  <a:gd name="T50" fmla="*/ 51 w 74"/>
                  <a:gd name="T51" fmla="*/ 70 h 78"/>
                  <a:gd name="T52" fmla="*/ 48 w 74"/>
                  <a:gd name="T53" fmla="*/ 74 h 78"/>
                  <a:gd name="T54" fmla="*/ 44 w 74"/>
                  <a:gd name="T55" fmla="*/ 78 h 78"/>
                  <a:gd name="T56" fmla="*/ 41 w 74"/>
                  <a:gd name="T57" fmla="*/ 76 h 78"/>
                  <a:gd name="T58" fmla="*/ 36 w 74"/>
                  <a:gd name="T59" fmla="*/ 76 h 78"/>
                  <a:gd name="T60" fmla="*/ 35 w 74"/>
                  <a:gd name="T61" fmla="*/ 73 h 78"/>
                  <a:gd name="T62" fmla="*/ 33 w 74"/>
                  <a:gd name="T63" fmla="*/ 71 h 78"/>
                  <a:gd name="T64" fmla="*/ 29 w 74"/>
                  <a:gd name="T65" fmla="*/ 68 h 78"/>
                  <a:gd name="T66" fmla="*/ 27 w 74"/>
                  <a:gd name="T67" fmla="*/ 62 h 78"/>
                  <a:gd name="T68" fmla="*/ 22 w 74"/>
                  <a:gd name="T69" fmla="*/ 60 h 78"/>
                  <a:gd name="T70" fmla="*/ 19 w 74"/>
                  <a:gd name="T71" fmla="*/ 57 h 78"/>
                  <a:gd name="T72" fmla="*/ 16 w 74"/>
                  <a:gd name="T73" fmla="*/ 59 h 78"/>
                  <a:gd name="T74" fmla="*/ 13 w 74"/>
                  <a:gd name="T75" fmla="*/ 55 h 78"/>
                  <a:gd name="T76" fmla="*/ 8 w 74"/>
                  <a:gd name="T77" fmla="*/ 54 h 78"/>
                  <a:gd name="T78" fmla="*/ 6 w 74"/>
                  <a:gd name="T79" fmla="*/ 49 h 78"/>
                  <a:gd name="T80" fmla="*/ 8 w 74"/>
                  <a:gd name="T81" fmla="*/ 44 h 78"/>
                  <a:gd name="T82" fmla="*/ 6 w 74"/>
                  <a:gd name="T83" fmla="*/ 41 h 78"/>
                  <a:gd name="T84" fmla="*/ 3 w 74"/>
                  <a:gd name="T85" fmla="*/ 38 h 78"/>
                  <a:gd name="T86" fmla="*/ 0 w 74"/>
                  <a:gd name="T87" fmla="*/ 35 h 78"/>
                  <a:gd name="T88" fmla="*/ 2 w 74"/>
                  <a:gd name="T89" fmla="*/ 33 h 78"/>
                  <a:gd name="T90" fmla="*/ 0 w 74"/>
                  <a:gd name="T91" fmla="*/ 28 h 78"/>
                  <a:gd name="T92" fmla="*/ 0 w 74"/>
                  <a:gd name="T93" fmla="*/ 24 h 78"/>
                  <a:gd name="T94" fmla="*/ 5 w 74"/>
                  <a:gd name="T95" fmla="*/ 22 h 78"/>
                  <a:gd name="T96" fmla="*/ 6 w 74"/>
                  <a:gd name="T97" fmla="*/ 17 h 78"/>
                  <a:gd name="T98" fmla="*/ 8 w 74"/>
                  <a:gd name="T99" fmla="*/ 16 h 78"/>
                  <a:gd name="T100" fmla="*/ 10 w 74"/>
                  <a:gd name="T101" fmla="*/ 14 h 78"/>
                  <a:gd name="T102" fmla="*/ 10 w 74"/>
                  <a:gd name="T103" fmla="*/ 11 h 78"/>
                  <a:gd name="T104" fmla="*/ 10 w 74"/>
                  <a:gd name="T105" fmla="*/ 8 h 78"/>
                  <a:gd name="T106" fmla="*/ 13 w 74"/>
                  <a:gd name="T107" fmla="*/ 6 h 78"/>
                  <a:gd name="T108" fmla="*/ 16 w 74"/>
                  <a:gd name="T109" fmla="*/ 5 h 78"/>
                  <a:gd name="T110" fmla="*/ 17 w 74"/>
                  <a:gd name="T111" fmla="*/ 3 h 78"/>
                  <a:gd name="T112" fmla="*/ 22 w 74"/>
                  <a:gd name="T113" fmla="*/ 3 h 78"/>
                  <a:gd name="T114" fmla="*/ 30 w 74"/>
                  <a:gd name="T115" fmla="*/ 2 h 78"/>
                  <a:gd name="T116" fmla="*/ 33 w 74"/>
                  <a:gd name="T1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4" h="78">
                    <a:moveTo>
                      <a:pt x="33" y="0"/>
                    </a:moveTo>
                    <a:lnTo>
                      <a:pt x="35" y="0"/>
                    </a:lnTo>
                    <a:lnTo>
                      <a:pt x="35" y="0"/>
                    </a:lnTo>
                    <a:lnTo>
                      <a:pt x="35" y="0"/>
                    </a:lnTo>
                    <a:lnTo>
                      <a:pt x="36" y="0"/>
                    </a:lnTo>
                    <a:lnTo>
                      <a:pt x="36" y="0"/>
                    </a:lnTo>
                    <a:lnTo>
                      <a:pt x="36" y="2"/>
                    </a:lnTo>
                    <a:lnTo>
                      <a:pt x="36" y="2"/>
                    </a:lnTo>
                    <a:lnTo>
                      <a:pt x="36" y="2"/>
                    </a:lnTo>
                    <a:lnTo>
                      <a:pt x="36" y="2"/>
                    </a:lnTo>
                    <a:lnTo>
                      <a:pt x="36" y="3"/>
                    </a:lnTo>
                    <a:lnTo>
                      <a:pt x="38" y="3"/>
                    </a:lnTo>
                    <a:lnTo>
                      <a:pt x="38" y="5"/>
                    </a:lnTo>
                    <a:lnTo>
                      <a:pt x="38" y="5"/>
                    </a:lnTo>
                    <a:lnTo>
                      <a:pt x="38" y="5"/>
                    </a:lnTo>
                    <a:lnTo>
                      <a:pt x="40" y="6"/>
                    </a:lnTo>
                    <a:lnTo>
                      <a:pt x="40" y="6"/>
                    </a:lnTo>
                    <a:lnTo>
                      <a:pt x="40" y="6"/>
                    </a:lnTo>
                    <a:lnTo>
                      <a:pt x="40" y="6"/>
                    </a:lnTo>
                    <a:lnTo>
                      <a:pt x="40" y="6"/>
                    </a:lnTo>
                    <a:lnTo>
                      <a:pt x="41" y="6"/>
                    </a:lnTo>
                    <a:lnTo>
                      <a:pt x="41" y="6"/>
                    </a:lnTo>
                    <a:lnTo>
                      <a:pt x="41" y="6"/>
                    </a:lnTo>
                    <a:lnTo>
                      <a:pt x="41" y="5"/>
                    </a:lnTo>
                    <a:lnTo>
                      <a:pt x="41" y="5"/>
                    </a:lnTo>
                    <a:lnTo>
                      <a:pt x="43" y="3"/>
                    </a:lnTo>
                    <a:lnTo>
                      <a:pt x="43" y="3"/>
                    </a:lnTo>
                    <a:lnTo>
                      <a:pt x="43" y="3"/>
                    </a:lnTo>
                    <a:lnTo>
                      <a:pt x="44" y="3"/>
                    </a:lnTo>
                    <a:lnTo>
                      <a:pt x="44" y="2"/>
                    </a:lnTo>
                    <a:lnTo>
                      <a:pt x="46" y="2"/>
                    </a:lnTo>
                    <a:lnTo>
                      <a:pt x="46" y="2"/>
                    </a:lnTo>
                    <a:lnTo>
                      <a:pt x="46" y="0"/>
                    </a:lnTo>
                    <a:lnTo>
                      <a:pt x="48" y="0"/>
                    </a:lnTo>
                    <a:lnTo>
                      <a:pt x="48" y="0"/>
                    </a:lnTo>
                    <a:lnTo>
                      <a:pt x="48" y="0"/>
                    </a:lnTo>
                    <a:lnTo>
                      <a:pt x="48" y="0"/>
                    </a:lnTo>
                    <a:lnTo>
                      <a:pt x="48" y="0"/>
                    </a:lnTo>
                    <a:lnTo>
                      <a:pt x="48" y="2"/>
                    </a:lnTo>
                    <a:lnTo>
                      <a:pt x="48" y="2"/>
                    </a:lnTo>
                    <a:lnTo>
                      <a:pt x="48" y="3"/>
                    </a:lnTo>
                    <a:lnTo>
                      <a:pt x="48" y="3"/>
                    </a:lnTo>
                    <a:lnTo>
                      <a:pt x="49" y="3"/>
                    </a:lnTo>
                    <a:lnTo>
                      <a:pt x="49" y="5"/>
                    </a:lnTo>
                    <a:lnTo>
                      <a:pt x="49" y="5"/>
                    </a:lnTo>
                    <a:lnTo>
                      <a:pt x="49" y="6"/>
                    </a:lnTo>
                    <a:lnTo>
                      <a:pt x="49" y="6"/>
                    </a:lnTo>
                    <a:lnTo>
                      <a:pt x="51" y="6"/>
                    </a:lnTo>
                    <a:lnTo>
                      <a:pt x="51" y="6"/>
                    </a:lnTo>
                    <a:lnTo>
                      <a:pt x="51" y="6"/>
                    </a:lnTo>
                    <a:lnTo>
                      <a:pt x="51" y="6"/>
                    </a:lnTo>
                    <a:lnTo>
                      <a:pt x="51" y="5"/>
                    </a:lnTo>
                    <a:lnTo>
                      <a:pt x="52" y="6"/>
                    </a:lnTo>
                    <a:lnTo>
                      <a:pt x="52" y="5"/>
                    </a:lnTo>
                    <a:lnTo>
                      <a:pt x="52" y="5"/>
                    </a:lnTo>
                    <a:lnTo>
                      <a:pt x="52" y="5"/>
                    </a:lnTo>
                    <a:lnTo>
                      <a:pt x="55" y="5"/>
                    </a:lnTo>
                    <a:lnTo>
                      <a:pt x="55" y="5"/>
                    </a:lnTo>
                    <a:lnTo>
                      <a:pt x="57" y="5"/>
                    </a:lnTo>
                    <a:lnTo>
                      <a:pt x="57" y="5"/>
                    </a:lnTo>
                    <a:lnTo>
                      <a:pt x="59" y="5"/>
                    </a:lnTo>
                    <a:lnTo>
                      <a:pt x="59" y="5"/>
                    </a:lnTo>
                    <a:lnTo>
                      <a:pt x="59" y="5"/>
                    </a:lnTo>
                    <a:lnTo>
                      <a:pt x="60" y="5"/>
                    </a:lnTo>
                    <a:lnTo>
                      <a:pt x="60" y="5"/>
                    </a:lnTo>
                    <a:lnTo>
                      <a:pt x="60" y="5"/>
                    </a:lnTo>
                    <a:lnTo>
                      <a:pt x="62" y="5"/>
                    </a:lnTo>
                    <a:lnTo>
                      <a:pt x="62" y="5"/>
                    </a:lnTo>
                    <a:lnTo>
                      <a:pt x="62" y="5"/>
                    </a:lnTo>
                    <a:lnTo>
                      <a:pt x="62" y="3"/>
                    </a:lnTo>
                    <a:lnTo>
                      <a:pt x="63" y="3"/>
                    </a:lnTo>
                    <a:lnTo>
                      <a:pt x="63" y="3"/>
                    </a:lnTo>
                    <a:lnTo>
                      <a:pt x="65" y="3"/>
                    </a:lnTo>
                    <a:lnTo>
                      <a:pt x="65" y="3"/>
                    </a:lnTo>
                    <a:lnTo>
                      <a:pt x="65" y="3"/>
                    </a:lnTo>
                    <a:lnTo>
                      <a:pt x="65" y="5"/>
                    </a:lnTo>
                    <a:lnTo>
                      <a:pt x="65" y="5"/>
                    </a:lnTo>
                    <a:lnTo>
                      <a:pt x="65" y="5"/>
                    </a:lnTo>
                    <a:lnTo>
                      <a:pt x="67" y="6"/>
                    </a:lnTo>
                    <a:lnTo>
                      <a:pt x="67" y="6"/>
                    </a:lnTo>
                    <a:lnTo>
                      <a:pt x="67" y="6"/>
                    </a:lnTo>
                    <a:lnTo>
                      <a:pt x="67" y="8"/>
                    </a:lnTo>
                    <a:lnTo>
                      <a:pt x="67" y="8"/>
                    </a:lnTo>
                    <a:lnTo>
                      <a:pt x="67" y="9"/>
                    </a:lnTo>
                    <a:lnTo>
                      <a:pt x="67" y="9"/>
                    </a:lnTo>
                    <a:lnTo>
                      <a:pt x="67" y="9"/>
                    </a:lnTo>
                    <a:lnTo>
                      <a:pt x="67" y="11"/>
                    </a:lnTo>
                    <a:lnTo>
                      <a:pt x="67" y="11"/>
                    </a:lnTo>
                    <a:lnTo>
                      <a:pt x="67" y="13"/>
                    </a:lnTo>
                    <a:lnTo>
                      <a:pt x="67" y="13"/>
                    </a:lnTo>
                    <a:lnTo>
                      <a:pt x="68" y="14"/>
                    </a:lnTo>
                    <a:lnTo>
                      <a:pt x="68" y="14"/>
                    </a:lnTo>
                    <a:lnTo>
                      <a:pt x="70" y="16"/>
                    </a:lnTo>
                    <a:lnTo>
                      <a:pt x="70" y="17"/>
                    </a:lnTo>
                    <a:lnTo>
                      <a:pt x="71" y="19"/>
                    </a:lnTo>
                    <a:lnTo>
                      <a:pt x="71" y="19"/>
                    </a:lnTo>
                    <a:lnTo>
                      <a:pt x="71" y="19"/>
                    </a:lnTo>
                    <a:lnTo>
                      <a:pt x="70" y="21"/>
                    </a:lnTo>
                    <a:lnTo>
                      <a:pt x="70" y="21"/>
                    </a:lnTo>
                    <a:lnTo>
                      <a:pt x="71" y="22"/>
                    </a:lnTo>
                    <a:lnTo>
                      <a:pt x="71" y="22"/>
                    </a:lnTo>
                    <a:lnTo>
                      <a:pt x="71" y="22"/>
                    </a:lnTo>
                    <a:lnTo>
                      <a:pt x="71" y="24"/>
                    </a:lnTo>
                    <a:lnTo>
                      <a:pt x="73" y="24"/>
                    </a:lnTo>
                    <a:lnTo>
                      <a:pt x="73" y="25"/>
                    </a:lnTo>
                    <a:lnTo>
                      <a:pt x="73" y="25"/>
                    </a:lnTo>
                    <a:lnTo>
                      <a:pt x="74" y="27"/>
                    </a:lnTo>
                    <a:lnTo>
                      <a:pt x="74" y="28"/>
                    </a:lnTo>
                    <a:lnTo>
                      <a:pt x="73" y="28"/>
                    </a:lnTo>
                    <a:lnTo>
                      <a:pt x="73" y="30"/>
                    </a:lnTo>
                    <a:lnTo>
                      <a:pt x="73" y="30"/>
                    </a:lnTo>
                    <a:lnTo>
                      <a:pt x="73" y="32"/>
                    </a:lnTo>
                    <a:lnTo>
                      <a:pt x="73" y="32"/>
                    </a:lnTo>
                    <a:lnTo>
                      <a:pt x="73" y="33"/>
                    </a:lnTo>
                    <a:lnTo>
                      <a:pt x="73" y="33"/>
                    </a:lnTo>
                    <a:lnTo>
                      <a:pt x="73" y="35"/>
                    </a:lnTo>
                    <a:lnTo>
                      <a:pt x="74" y="35"/>
                    </a:lnTo>
                    <a:lnTo>
                      <a:pt x="73" y="36"/>
                    </a:lnTo>
                    <a:lnTo>
                      <a:pt x="73" y="36"/>
                    </a:lnTo>
                    <a:lnTo>
                      <a:pt x="73" y="36"/>
                    </a:lnTo>
                    <a:lnTo>
                      <a:pt x="73" y="38"/>
                    </a:lnTo>
                    <a:lnTo>
                      <a:pt x="73" y="38"/>
                    </a:lnTo>
                    <a:lnTo>
                      <a:pt x="73" y="38"/>
                    </a:lnTo>
                    <a:lnTo>
                      <a:pt x="73" y="40"/>
                    </a:lnTo>
                    <a:lnTo>
                      <a:pt x="73" y="40"/>
                    </a:lnTo>
                    <a:lnTo>
                      <a:pt x="71" y="40"/>
                    </a:lnTo>
                    <a:lnTo>
                      <a:pt x="71" y="41"/>
                    </a:lnTo>
                    <a:lnTo>
                      <a:pt x="71" y="41"/>
                    </a:lnTo>
                    <a:lnTo>
                      <a:pt x="71" y="40"/>
                    </a:lnTo>
                    <a:lnTo>
                      <a:pt x="70" y="41"/>
                    </a:lnTo>
                    <a:lnTo>
                      <a:pt x="70" y="41"/>
                    </a:lnTo>
                    <a:lnTo>
                      <a:pt x="70" y="43"/>
                    </a:lnTo>
                    <a:lnTo>
                      <a:pt x="70" y="43"/>
                    </a:lnTo>
                    <a:lnTo>
                      <a:pt x="70" y="44"/>
                    </a:lnTo>
                    <a:lnTo>
                      <a:pt x="70" y="44"/>
                    </a:lnTo>
                    <a:lnTo>
                      <a:pt x="70" y="44"/>
                    </a:lnTo>
                    <a:lnTo>
                      <a:pt x="70" y="44"/>
                    </a:lnTo>
                    <a:lnTo>
                      <a:pt x="71" y="46"/>
                    </a:lnTo>
                    <a:lnTo>
                      <a:pt x="71" y="46"/>
                    </a:lnTo>
                    <a:lnTo>
                      <a:pt x="71" y="46"/>
                    </a:lnTo>
                    <a:lnTo>
                      <a:pt x="71" y="46"/>
                    </a:lnTo>
                    <a:lnTo>
                      <a:pt x="70" y="47"/>
                    </a:lnTo>
                    <a:lnTo>
                      <a:pt x="68" y="47"/>
                    </a:lnTo>
                    <a:lnTo>
                      <a:pt x="68" y="46"/>
                    </a:lnTo>
                    <a:lnTo>
                      <a:pt x="67" y="46"/>
                    </a:lnTo>
                    <a:lnTo>
                      <a:pt x="67" y="46"/>
                    </a:lnTo>
                    <a:lnTo>
                      <a:pt x="65" y="46"/>
                    </a:lnTo>
                    <a:lnTo>
                      <a:pt x="63" y="46"/>
                    </a:lnTo>
                    <a:lnTo>
                      <a:pt x="63" y="46"/>
                    </a:lnTo>
                    <a:lnTo>
                      <a:pt x="62" y="44"/>
                    </a:lnTo>
                    <a:lnTo>
                      <a:pt x="62" y="44"/>
                    </a:lnTo>
                    <a:lnTo>
                      <a:pt x="60" y="44"/>
                    </a:lnTo>
                    <a:lnTo>
                      <a:pt x="59" y="44"/>
                    </a:lnTo>
                    <a:lnTo>
                      <a:pt x="59" y="44"/>
                    </a:lnTo>
                    <a:lnTo>
                      <a:pt x="59" y="46"/>
                    </a:lnTo>
                    <a:lnTo>
                      <a:pt x="59" y="47"/>
                    </a:lnTo>
                    <a:lnTo>
                      <a:pt x="59" y="51"/>
                    </a:lnTo>
                    <a:lnTo>
                      <a:pt x="60" y="52"/>
                    </a:lnTo>
                    <a:lnTo>
                      <a:pt x="60" y="54"/>
                    </a:lnTo>
                    <a:lnTo>
                      <a:pt x="62" y="55"/>
                    </a:lnTo>
                    <a:lnTo>
                      <a:pt x="62" y="57"/>
                    </a:lnTo>
                    <a:lnTo>
                      <a:pt x="63" y="57"/>
                    </a:lnTo>
                    <a:lnTo>
                      <a:pt x="63" y="59"/>
                    </a:lnTo>
                    <a:lnTo>
                      <a:pt x="63" y="60"/>
                    </a:lnTo>
                    <a:lnTo>
                      <a:pt x="63" y="62"/>
                    </a:lnTo>
                    <a:lnTo>
                      <a:pt x="63" y="63"/>
                    </a:lnTo>
                    <a:lnTo>
                      <a:pt x="63" y="65"/>
                    </a:lnTo>
                    <a:lnTo>
                      <a:pt x="63" y="67"/>
                    </a:lnTo>
                    <a:lnTo>
                      <a:pt x="63" y="67"/>
                    </a:lnTo>
                    <a:lnTo>
                      <a:pt x="62" y="67"/>
                    </a:lnTo>
                    <a:lnTo>
                      <a:pt x="62" y="65"/>
                    </a:lnTo>
                    <a:lnTo>
                      <a:pt x="60" y="65"/>
                    </a:lnTo>
                    <a:lnTo>
                      <a:pt x="59" y="65"/>
                    </a:lnTo>
                    <a:lnTo>
                      <a:pt x="57" y="67"/>
                    </a:lnTo>
                    <a:lnTo>
                      <a:pt x="55" y="67"/>
                    </a:lnTo>
                    <a:lnTo>
                      <a:pt x="52" y="67"/>
                    </a:lnTo>
                    <a:lnTo>
                      <a:pt x="51" y="65"/>
                    </a:lnTo>
                    <a:lnTo>
                      <a:pt x="51" y="65"/>
                    </a:lnTo>
                    <a:lnTo>
                      <a:pt x="51" y="67"/>
                    </a:lnTo>
                    <a:lnTo>
                      <a:pt x="51" y="67"/>
                    </a:lnTo>
                    <a:lnTo>
                      <a:pt x="51" y="70"/>
                    </a:lnTo>
                    <a:lnTo>
                      <a:pt x="51" y="70"/>
                    </a:lnTo>
                    <a:lnTo>
                      <a:pt x="51" y="71"/>
                    </a:lnTo>
                    <a:lnTo>
                      <a:pt x="49" y="74"/>
                    </a:lnTo>
                    <a:lnTo>
                      <a:pt x="49" y="74"/>
                    </a:lnTo>
                    <a:lnTo>
                      <a:pt x="49" y="74"/>
                    </a:lnTo>
                    <a:lnTo>
                      <a:pt x="48" y="74"/>
                    </a:lnTo>
                    <a:lnTo>
                      <a:pt x="48" y="74"/>
                    </a:lnTo>
                    <a:lnTo>
                      <a:pt x="48" y="74"/>
                    </a:lnTo>
                    <a:lnTo>
                      <a:pt x="48" y="76"/>
                    </a:lnTo>
                    <a:lnTo>
                      <a:pt x="48" y="76"/>
                    </a:lnTo>
                    <a:lnTo>
                      <a:pt x="48" y="76"/>
                    </a:lnTo>
                    <a:lnTo>
                      <a:pt x="46" y="76"/>
                    </a:lnTo>
                    <a:lnTo>
                      <a:pt x="46" y="76"/>
                    </a:lnTo>
                    <a:lnTo>
                      <a:pt x="46" y="78"/>
                    </a:lnTo>
                    <a:lnTo>
                      <a:pt x="44" y="78"/>
                    </a:lnTo>
                    <a:lnTo>
                      <a:pt x="44" y="78"/>
                    </a:lnTo>
                    <a:lnTo>
                      <a:pt x="43" y="78"/>
                    </a:lnTo>
                    <a:lnTo>
                      <a:pt x="43" y="78"/>
                    </a:lnTo>
                    <a:lnTo>
                      <a:pt x="43" y="78"/>
                    </a:lnTo>
                    <a:lnTo>
                      <a:pt x="43" y="76"/>
                    </a:lnTo>
                    <a:lnTo>
                      <a:pt x="41" y="76"/>
                    </a:lnTo>
                    <a:lnTo>
                      <a:pt x="41" y="76"/>
                    </a:lnTo>
                    <a:lnTo>
                      <a:pt x="40" y="76"/>
                    </a:lnTo>
                    <a:lnTo>
                      <a:pt x="40" y="76"/>
                    </a:lnTo>
                    <a:lnTo>
                      <a:pt x="40" y="76"/>
                    </a:lnTo>
                    <a:lnTo>
                      <a:pt x="38" y="76"/>
                    </a:lnTo>
                    <a:lnTo>
                      <a:pt x="36" y="76"/>
                    </a:lnTo>
                    <a:lnTo>
                      <a:pt x="36" y="76"/>
                    </a:lnTo>
                    <a:lnTo>
                      <a:pt x="36" y="76"/>
                    </a:lnTo>
                    <a:lnTo>
                      <a:pt x="36" y="76"/>
                    </a:lnTo>
                    <a:lnTo>
                      <a:pt x="36" y="74"/>
                    </a:lnTo>
                    <a:lnTo>
                      <a:pt x="36" y="74"/>
                    </a:lnTo>
                    <a:lnTo>
                      <a:pt x="36" y="73"/>
                    </a:lnTo>
                    <a:lnTo>
                      <a:pt x="36" y="73"/>
                    </a:lnTo>
                    <a:lnTo>
                      <a:pt x="35" y="73"/>
                    </a:lnTo>
                    <a:lnTo>
                      <a:pt x="35" y="73"/>
                    </a:lnTo>
                    <a:lnTo>
                      <a:pt x="35" y="73"/>
                    </a:lnTo>
                    <a:lnTo>
                      <a:pt x="35" y="73"/>
                    </a:lnTo>
                    <a:lnTo>
                      <a:pt x="35" y="73"/>
                    </a:lnTo>
                    <a:lnTo>
                      <a:pt x="35" y="71"/>
                    </a:lnTo>
                    <a:lnTo>
                      <a:pt x="33" y="71"/>
                    </a:lnTo>
                    <a:lnTo>
                      <a:pt x="33" y="71"/>
                    </a:lnTo>
                    <a:lnTo>
                      <a:pt x="33" y="71"/>
                    </a:lnTo>
                    <a:lnTo>
                      <a:pt x="33" y="71"/>
                    </a:lnTo>
                    <a:lnTo>
                      <a:pt x="32" y="71"/>
                    </a:lnTo>
                    <a:lnTo>
                      <a:pt x="32" y="71"/>
                    </a:lnTo>
                    <a:lnTo>
                      <a:pt x="30" y="70"/>
                    </a:lnTo>
                    <a:lnTo>
                      <a:pt x="30" y="68"/>
                    </a:lnTo>
                    <a:lnTo>
                      <a:pt x="29" y="68"/>
                    </a:lnTo>
                    <a:lnTo>
                      <a:pt x="29" y="68"/>
                    </a:lnTo>
                    <a:lnTo>
                      <a:pt x="29" y="67"/>
                    </a:lnTo>
                    <a:lnTo>
                      <a:pt x="27" y="67"/>
                    </a:lnTo>
                    <a:lnTo>
                      <a:pt x="27" y="65"/>
                    </a:lnTo>
                    <a:lnTo>
                      <a:pt x="25" y="63"/>
                    </a:lnTo>
                    <a:lnTo>
                      <a:pt x="25" y="63"/>
                    </a:lnTo>
                    <a:lnTo>
                      <a:pt x="25" y="62"/>
                    </a:lnTo>
                    <a:lnTo>
                      <a:pt x="27" y="62"/>
                    </a:lnTo>
                    <a:lnTo>
                      <a:pt x="25" y="62"/>
                    </a:lnTo>
                    <a:lnTo>
                      <a:pt x="25" y="62"/>
                    </a:lnTo>
                    <a:lnTo>
                      <a:pt x="25" y="62"/>
                    </a:lnTo>
                    <a:lnTo>
                      <a:pt x="24" y="62"/>
                    </a:lnTo>
                    <a:lnTo>
                      <a:pt x="22" y="62"/>
                    </a:lnTo>
                    <a:lnTo>
                      <a:pt x="22" y="62"/>
                    </a:lnTo>
                    <a:lnTo>
                      <a:pt x="22" y="60"/>
                    </a:lnTo>
                    <a:lnTo>
                      <a:pt x="21" y="60"/>
                    </a:lnTo>
                    <a:lnTo>
                      <a:pt x="21" y="59"/>
                    </a:lnTo>
                    <a:lnTo>
                      <a:pt x="21" y="59"/>
                    </a:lnTo>
                    <a:lnTo>
                      <a:pt x="19" y="57"/>
                    </a:lnTo>
                    <a:lnTo>
                      <a:pt x="19" y="57"/>
                    </a:lnTo>
                    <a:lnTo>
                      <a:pt x="19" y="57"/>
                    </a:lnTo>
                    <a:lnTo>
                      <a:pt x="19" y="57"/>
                    </a:lnTo>
                    <a:lnTo>
                      <a:pt x="17" y="57"/>
                    </a:lnTo>
                    <a:lnTo>
                      <a:pt x="17" y="57"/>
                    </a:lnTo>
                    <a:lnTo>
                      <a:pt x="17" y="57"/>
                    </a:lnTo>
                    <a:lnTo>
                      <a:pt x="17" y="57"/>
                    </a:lnTo>
                    <a:lnTo>
                      <a:pt x="17" y="59"/>
                    </a:lnTo>
                    <a:lnTo>
                      <a:pt x="16" y="59"/>
                    </a:lnTo>
                    <a:lnTo>
                      <a:pt x="16" y="59"/>
                    </a:lnTo>
                    <a:lnTo>
                      <a:pt x="14" y="59"/>
                    </a:lnTo>
                    <a:lnTo>
                      <a:pt x="14" y="59"/>
                    </a:lnTo>
                    <a:lnTo>
                      <a:pt x="14" y="57"/>
                    </a:lnTo>
                    <a:lnTo>
                      <a:pt x="14" y="57"/>
                    </a:lnTo>
                    <a:lnTo>
                      <a:pt x="14" y="57"/>
                    </a:lnTo>
                    <a:lnTo>
                      <a:pt x="13" y="57"/>
                    </a:lnTo>
                    <a:lnTo>
                      <a:pt x="13" y="55"/>
                    </a:lnTo>
                    <a:lnTo>
                      <a:pt x="13" y="55"/>
                    </a:lnTo>
                    <a:lnTo>
                      <a:pt x="11" y="54"/>
                    </a:lnTo>
                    <a:lnTo>
                      <a:pt x="11" y="54"/>
                    </a:lnTo>
                    <a:lnTo>
                      <a:pt x="11" y="54"/>
                    </a:lnTo>
                    <a:lnTo>
                      <a:pt x="11" y="54"/>
                    </a:lnTo>
                    <a:lnTo>
                      <a:pt x="10" y="54"/>
                    </a:lnTo>
                    <a:lnTo>
                      <a:pt x="8" y="54"/>
                    </a:lnTo>
                    <a:lnTo>
                      <a:pt x="8" y="54"/>
                    </a:lnTo>
                    <a:lnTo>
                      <a:pt x="8" y="52"/>
                    </a:lnTo>
                    <a:lnTo>
                      <a:pt x="6" y="52"/>
                    </a:lnTo>
                    <a:lnTo>
                      <a:pt x="6" y="51"/>
                    </a:lnTo>
                    <a:lnTo>
                      <a:pt x="6" y="49"/>
                    </a:lnTo>
                    <a:lnTo>
                      <a:pt x="6" y="49"/>
                    </a:lnTo>
                    <a:lnTo>
                      <a:pt x="6" y="49"/>
                    </a:lnTo>
                    <a:lnTo>
                      <a:pt x="8" y="47"/>
                    </a:lnTo>
                    <a:lnTo>
                      <a:pt x="8" y="47"/>
                    </a:lnTo>
                    <a:lnTo>
                      <a:pt x="8" y="47"/>
                    </a:lnTo>
                    <a:lnTo>
                      <a:pt x="8" y="46"/>
                    </a:lnTo>
                    <a:lnTo>
                      <a:pt x="8" y="46"/>
                    </a:lnTo>
                    <a:lnTo>
                      <a:pt x="8" y="46"/>
                    </a:lnTo>
                    <a:lnTo>
                      <a:pt x="8" y="44"/>
                    </a:lnTo>
                    <a:lnTo>
                      <a:pt x="8" y="43"/>
                    </a:lnTo>
                    <a:lnTo>
                      <a:pt x="8" y="43"/>
                    </a:lnTo>
                    <a:lnTo>
                      <a:pt x="6" y="43"/>
                    </a:lnTo>
                    <a:lnTo>
                      <a:pt x="6" y="43"/>
                    </a:lnTo>
                    <a:lnTo>
                      <a:pt x="6" y="43"/>
                    </a:lnTo>
                    <a:lnTo>
                      <a:pt x="6" y="43"/>
                    </a:lnTo>
                    <a:lnTo>
                      <a:pt x="6" y="41"/>
                    </a:lnTo>
                    <a:lnTo>
                      <a:pt x="5" y="41"/>
                    </a:lnTo>
                    <a:lnTo>
                      <a:pt x="5" y="40"/>
                    </a:lnTo>
                    <a:lnTo>
                      <a:pt x="5" y="40"/>
                    </a:lnTo>
                    <a:lnTo>
                      <a:pt x="5" y="38"/>
                    </a:lnTo>
                    <a:lnTo>
                      <a:pt x="5" y="38"/>
                    </a:lnTo>
                    <a:lnTo>
                      <a:pt x="5" y="38"/>
                    </a:lnTo>
                    <a:lnTo>
                      <a:pt x="3" y="38"/>
                    </a:lnTo>
                    <a:lnTo>
                      <a:pt x="3" y="38"/>
                    </a:lnTo>
                    <a:lnTo>
                      <a:pt x="3" y="36"/>
                    </a:lnTo>
                    <a:lnTo>
                      <a:pt x="2" y="36"/>
                    </a:lnTo>
                    <a:lnTo>
                      <a:pt x="2" y="36"/>
                    </a:lnTo>
                    <a:lnTo>
                      <a:pt x="2" y="35"/>
                    </a:lnTo>
                    <a:lnTo>
                      <a:pt x="2" y="35"/>
                    </a:lnTo>
                    <a:lnTo>
                      <a:pt x="0" y="35"/>
                    </a:lnTo>
                    <a:lnTo>
                      <a:pt x="0" y="33"/>
                    </a:lnTo>
                    <a:lnTo>
                      <a:pt x="0" y="33"/>
                    </a:lnTo>
                    <a:lnTo>
                      <a:pt x="0" y="33"/>
                    </a:lnTo>
                    <a:lnTo>
                      <a:pt x="2" y="33"/>
                    </a:lnTo>
                    <a:lnTo>
                      <a:pt x="2" y="33"/>
                    </a:lnTo>
                    <a:lnTo>
                      <a:pt x="2" y="33"/>
                    </a:lnTo>
                    <a:lnTo>
                      <a:pt x="2" y="33"/>
                    </a:lnTo>
                    <a:lnTo>
                      <a:pt x="2" y="33"/>
                    </a:lnTo>
                    <a:lnTo>
                      <a:pt x="2" y="32"/>
                    </a:lnTo>
                    <a:lnTo>
                      <a:pt x="2" y="32"/>
                    </a:lnTo>
                    <a:lnTo>
                      <a:pt x="2" y="30"/>
                    </a:lnTo>
                    <a:lnTo>
                      <a:pt x="0" y="30"/>
                    </a:lnTo>
                    <a:lnTo>
                      <a:pt x="0" y="30"/>
                    </a:lnTo>
                    <a:lnTo>
                      <a:pt x="0" y="28"/>
                    </a:lnTo>
                    <a:lnTo>
                      <a:pt x="0" y="28"/>
                    </a:lnTo>
                    <a:lnTo>
                      <a:pt x="0" y="27"/>
                    </a:lnTo>
                    <a:lnTo>
                      <a:pt x="0" y="27"/>
                    </a:lnTo>
                    <a:lnTo>
                      <a:pt x="0" y="25"/>
                    </a:lnTo>
                    <a:lnTo>
                      <a:pt x="0" y="25"/>
                    </a:lnTo>
                    <a:lnTo>
                      <a:pt x="0" y="24"/>
                    </a:lnTo>
                    <a:lnTo>
                      <a:pt x="0" y="24"/>
                    </a:lnTo>
                    <a:lnTo>
                      <a:pt x="2" y="24"/>
                    </a:lnTo>
                    <a:lnTo>
                      <a:pt x="3" y="24"/>
                    </a:lnTo>
                    <a:lnTo>
                      <a:pt x="3" y="24"/>
                    </a:lnTo>
                    <a:lnTo>
                      <a:pt x="3" y="24"/>
                    </a:lnTo>
                    <a:lnTo>
                      <a:pt x="3" y="24"/>
                    </a:lnTo>
                    <a:lnTo>
                      <a:pt x="5" y="22"/>
                    </a:lnTo>
                    <a:lnTo>
                      <a:pt x="5" y="22"/>
                    </a:lnTo>
                    <a:lnTo>
                      <a:pt x="5" y="22"/>
                    </a:lnTo>
                    <a:lnTo>
                      <a:pt x="5" y="21"/>
                    </a:lnTo>
                    <a:lnTo>
                      <a:pt x="5" y="21"/>
                    </a:lnTo>
                    <a:lnTo>
                      <a:pt x="5" y="19"/>
                    </a:lnTo>
                    <a:lnTo>
                      <a:pt x="6" y="19"/>
                    </a:lnTo>
                    <a:lnTo>
                      <a:pt x="6" y="19"/>
                    </a:lnTo>
                    <a:lnTo>
                      <a:pt x="6" y="17"/>
                    </a:lnTo>
                    <a:lnTo>
                      <a:pt x="6" y="17"/>
                    </a:lnTo>
                    <a:lnTo>
                      <a:pt x="6" y="17"/>
                    </a:lnTo>
                    <a:lnTo>
                      <a:pt x="6" y="17"/>
                    </a:lnTo>
                    <a:lnTo>
                      <a:pt x="6" y="16"/>
                    </a:lnTo>
                    <a:lnTo>
                      <a:pt x="6" y="16"/>
                    </a:lnTo>
                    <a:lnTo>
                      <a:pt x="6" y="16"/>
                    </a:lnTo>
                    <a:lnTo>
                      <a:pt x="8" y="16"/>
                    </a:lnTo>
                    <a:lnTo>
                      <a:pt x="8" y="16"/>
                    </a:lnTo>
                    <a:lnTo>
                      <a:pt x="8" y="16"/>
                    </a:lnTo>
                    <a:lnTo>
                      <a:pt x="8" y="14"/>
                    </a:lnTo>
                    <a:lnTo>
                      <a:pt x="10" y="14"/>
                    </a:lnTo>
                    <a:lnTo>
                      <a:pt x="10" y="14"/>
                    </a:lnTo>
                    <a:lnTo>
                      <a:pt x="10" y="14"/>
                    </a:lnTo>
                    <a:lnTo>
                      <a:pt x="10" y="14"/>
                    </a:lnTo>
                    <a:lnTo>
                      <a:pt x="10" y="14"/>
                    </a:lnTo>
                    <a:lnTo>
                      <a:pt x="10" y="13"/>
                    </a:lnTo>
                    <a:lnTo>
                      <a:pt x="10" y="13"/>
                    </a:lnTo>
                    <a:lnTo>
                      <a:pt x="10" y="13"/>
                    </a:lnTo>
                    <a:lnTo>
                      <a:pt x="10" y="13"/>
                    </a:lnTo>
                    <a:lnTo>
                      <a:pt x="10" y="13"/>
                    </a:lnTo>
                    <a:lnTo>
                      <a:pt x="10" y="11"/>
                    </a:lnTo>
                    <a:lnTo>
                      <a:pt x="10" y="11"/>
                    </a:lnTo>
                    <a:lnTo>
                      <a:pt x="10" y="11"/>
                    </a:lnTo>
                    <a:lnTo>
                      <a:pt x="10" y="9"/>
                    </a:lnTo>
                    <a:lnTo>
                      <a:pt x="10" y="9"/>
                    </a:lnTo>
                    <a:lnTo>
                      <a:pt x="10" y="8"/>
                    </a:lnTo>
                    <a:lnTo>
                      <a:pt x="10" y="8"/>
                    </a:lnTo>
                    <a:lnTo>
                      <a:pt x="10" y="8"/>
                    </a:lnTo>
                    <a:lnTo>
                      <a:pt x="10" y="8"/>
                    </a:lnTo>
                    <a:lnTo>
                      <a:pt x="11" y="8"/>
                    </a:lnTo>
                    <a:lnTo>
                      <a:pt x="11" y="8"/>
                    </a:lnTo>
                    <a:lnTo>
                      <a:pt x="11" y="8"/>
                    </a:lnTo>
                    <a:lnTo>
                      <a:pt x="11" y="6"/>
                    </a:lnTo>
                    <a:lnTo>
                      <a:pt x="11" y="6"/>
                    </a:lnTo>
                    <a:lnTo>
                      <a:pt x="13" y="6"/>
                    </a:lnTo>
                    <a:lnTo>
                      <a:pt x="13" y="6"/>
                    </a:lnTo>
                    <a:lnTo>
                      <a:pt x="13" y="5"/>
                    </a:lnTo>
                    <a:lnTo>
                      <a:pt x="13" y="5"/>
                    </a:lnTo>
                    <a:lnTo>
                      <a:pt x="14" y="5"/>
                    </a:lnTo>
                    <a:lnTo>
                      <a:pt x="14" y="5"/>
                    </a:lnTo>
                    <a:lnTo>
                      <a:pt x="14" y="5"/>
                    </a:lnTo>
                    <a:lnTo>
                      <a:pt x="16" y="5"/>
                    </a:lnTo>
                    <a:lnTo>
                      <a:pt x="16" y="5"/>
                    </a:lnTo>
                    <a:lnTo>
                      <a:pt x="16" y="5"/>
                    </a:lnTo>
                    <a:lnTo>
                      <a:pt x="16" y="5"/>
                    </a:lnTo>
                    <a:lnTo>
                      <a:pt x="16" y="5"/>
                    </a:lnTo>
                    <a:lnTo>
                      <a:pt x="16" y="3"/>
                    </a:lnTo>
                    <a:lnTo>
                      <a:pt x="17" y="3"/>
                    </a:lnTo>
                    <a:lnTo>
                      <a:pt x="17" y="3"/>
                    </a:lnTo>
                    <a:lnTo>
                      <a:pt x="17" y="3"/>
                    </a:lnTo>
                    <a:lnTo>
                      <a:pt x="19" y="3"/>
                    </a:lnTo>
                    <a:lnTo>
                      <a:pt x="19" y="5"/>
                    </a:lnTo>
                    <a:lnTo>
                      <a:pt x="19" y="5"/>
                    </a:lnTo>
                    <a:lnTo>
                      <a:pt x="19" y="5"/>
                    </a:lnTo>
                    <a:lnTo>
                      <a:pt x="21" y="5"/>
                    </a:lnTo>
                    <a:lnTo>
                      <a:pt x="22" y="3"/>
                    </a:lnTo>
                    <a:lnTo>
                      <a:pt x="25" y="3"/>
                    </a:lnTo>
                    <a:lnTo>
                      <a:pt x="25" y="3"/>
                    </a:lnTo>
                    <a:lnTo>
                      <a:pt x="27" y="3"/>
                    </a:lnTo>
                    <a:lnTo>
                      <a:pt x="27" y="3"/>
                    </a:lnTo>
                    <a:lnTo>
                      <a:pt x="29" y="3"/>
                    </a:lnTo>
                    <a:lnTo>
                      <a:pt x="29" y="2"/>
                    </a:lnTo>
                    <a:lnTo>
                      <a:pt x="30" y="2"/>
                    </a:lnTo>
                    <a:lnTo>
                      <a:pt x="30" y="2"/>
                    </a:lnTo>
                    <a:lnTo>
                      <a:pt x="30" y="2"/>
                    </a:lnTo>
                    <a:lnTo>
                      <a:pt x="32" y="2"/>
                    </a:lnTo>
                    <a:lnTo>
                      <a:pt x="32" y="0"/>
                    </a:lnTo>
                    <a:lnTo>
                      <a:pt x="32" y="0"/>
                    </a:lnTo>
                    <a:lnTo>
                      <a:pt x="33" y="0"/>
                    </a:lnTo>
                    <a:lnTo>
                      <a:pt x="33" y="0"/>
                    </a:lnTo>
                    <a:lnTo>
                      <a:pt x="33" y="0"/>
                    </a:lnTo>
                    <a:lnTo>
                      <a:pt x="33" y="0"/>
                    </a:lnTo>
                    <a:close/>
                  </a:path>
                </a:pathLst>
              </a:custGeom>
              <a:solidFill>
                <a:srgbClr val="E1E1E1"/>
              </a:solidFill>
              <a:ln w="4763">
                <a:solidFill>
                  <a:srgbClr val="FFFFFF"/>
                </a:solidFill>
                <a:prstDash val="solid"/>
                <a:round/>
                <a:headEnd/>
                <a:tailEnd/>
              </a:ln>
            </p:spPr>
            <p:txBody>
              <a:bodyPr vert="horz" wrap="square" lIns="74295" tIns="37148" rIns="74295" bIns="37148" numCol="1" anchor="t" anchorCtr="0" compatLnSpc="1">
                <a:prstTxWarp prst="textNoShape">
                  <a:avLst/>
                </a:prstTxWarp>
              </a:bodyPr>
              <a:lstStyle/>
              <a:p>
                <a:endParaRPr lang="en-GB" sz="1138"/>
              </a:p>
            </p:txBody>
          </p:sp>
          <p:sp>
            <p:nvSpPr>
              <p:cNvPr id="8" name="Freeform 6"/>
              <p:cNvSpPr>
                <a:spLocks/>
              </p:cNvSpPr>
              <p:nvPr/>
            </p:nvSpPr>
            <p:spPr bwMode="auto">
              <a:xfrm>
                <a:off x="3383" y="748"/>
                <a:ext cx="805" cy="1666"/>
              </a:xfrm>
              <a:custGeom>
                <a:avLst/>
                <a:gdLst>
                  <a:gd name="T0" fmla="*/ 277 w 805"/>
                  <a:gd name="T1" fmla="*/ 80 h 1666"/>
                  <a:gd name="T2" fmla="*/ 442 w 805"/>
                  <a:gd name="T3" fmla="*/ 221 h 1666"/>
                  <a:gd name="T4" fmla="*/ 619 w 805"/>
                  <a:gd name="T5" fmla="*/ 380 h 1666"/>
                  <a:gd name="T6" fmla="*/ 708 w 805"/>
                  <a:gd name="T7" fmla="*/ 480 h 1666"/>
                  <a:gd name="T8" fmla="*/ 798 w 805"/>
                  <a:gd name="T9" fmla="*/ 613 h 1666"/>
                  <a:gd name="T10" fmla="*/ 778 w 805"/>
                  <a:gd name="T11" fmla="*/ 646 h 1666"/>
                  <a:gd name="T12" fmla="*/ 752 w 805"/>
                  <a:gd name="T13" fmla="*/ 678 h 1666"/>
                  <a:gd name="T14" fmla="*/ 729 w 805"/>
                  <a:gd name="T15" fmla="*/ 711 h 1666"/>
                  <a:gd name="T16" fmla="*/ 695 w 805"/>
                  <a:gd name="T17" fmla="*/ 763 h 1666"/>
                  <a:gd name="T18" fmla="*/ 675 w 805"/>
                  <a:gd name="T19" fmla="*/ 793 h 1666"/>
                  <a:gd name="T20" fmla="*/ 646 w 805"/>
                  <a:gd name="T21" fmla="*/ 819 h 1666"/>
                  <a:gd name="T22" fmla="*/ 626 w 805"/>
                  <a:gd name="T23" fmla="*/ 866 h 1666"/>
                  <a:gd name="T24" fmla="*/ 619 w 805"/>
                  <a:gd name="T25" fmla="*/ 903 h 1666"/>
                  <a:gd name="T26" fmla="*/ 626 w 805"/>
                  <a:gd name="T27" fmla="*/ 966 h 1666"/>
                  <a:gd name="T28" fmla="*/ 607 w 805"/>
                  <a:gd name="T29" fmla="*/ 1045 h 1666"/>
                  <a:gd name="T30" fmla="*/ 415 w 805"/>
                  <a:gd name="T31" fmla="*/ 1140 h 1666"/>
                  <a:gd name="T32" fmla="*/ 396 w 805"/>
                  <a:gd name="T33" fmla="*/ 1340 h 1666"/>
                  <a:gd name="T34" fmla="*/ 296 w 805"/>
                  <a:gd name="T35" fmla="*/ 1497 h 1666"/>
                  <a:gd name="T36" fmla="*/ 155 w 805"/>
                  <a:gd name="T37" fmla="*/ 1627 h 1666"/>
                  <a:gd name="T38" fmla="*/ 100 w 805"/>
                  <a:gd name="T39" fmla="*/ 1617 h 1666"/>
                  <a:gd name="T40" fmla="*/ 49 w 805"/>
                  <a:gd name="T41" fmla="*/ 1570 h 1666"/>
                  <a:gd name="T42" fmla="*/ 51 w 805"/>
                  <a:gd name="T43" fmla="*/ 1516 h 1666"/>
                  <a:gd name="T44" fmla="*/ 67 w 805"/>
                  <a:gd name="T45" fmla="*/ 1468 h 1666"/>
                  <a:gd name="T46" fmla="*/ 57 w 805"/>
                  <a:gd name="T47" fmla="*/ 1402 h 1666"/>
                  <a:gd name="T48" fmla="*/ 101 w 805"/>
                  <a:gd name="T49" fmla="*/ 1408 h 1666"/>
                  <a:gd name="T50" fmla="*/ 117 w 805"/>
                  <a:gd name="T51" fmla="*/ 1365 h 1666"/>
                  <a:gd name="T52" fmla="*/ 95 w 805"/>
                  <a:gd name="T53" fmla="*/ 1312 h 1666"/>
                  <a:gd name="T54" fmla="*/ 138 w 805"/>
                  <a:gd name="T55" fmla="*/ 1300 h 1666"/>
                  <a:gd name="T56" fmla="*/ 143 w 805"/>
                  <a:gd name="T57" fmla="*/ 1242 h 1666"/>
                  <a:gd name="T58" fmla="*/ 151 w 805"/>
                  <a:gd name="T59" fmla="*/ 1182 h 1666"/>
                  <a:gd name="T60" fmla="*/ 135 w 805"/>
                  <a:gd name="T61" fmla="*/ 1101 h 1666"/>
                  <a:gd name="T62" fmla="*/ 144 w 805"/>
                  <a:gd name="T63" fmla="*/ 1047 h 1666"/>
                  <a:gd name="T64" fmla="*/ 147 w 805"/>
                  <a:gd name="T65" fmla="*/ 971 h 1666"/>
                  <a:gd name="T66" fmla="*/ 120 w 805"/>
                  <a:gd name="T67" fmla="*/ 920 h 1666"/>
                  <a:gd name="T68" fmla="*/ 97 w 805"/>
                  <a:gd name="T69" fmla="*/ 863 h 1666"/>
                  <a:gd name="T70" fmla="*/ 59 w 805"/>
                  <a:gd name="T71" fmla="*/ 763 h 1666"/>
                  <a:gd name="T72" fmla="*/ 46 w 805"/>
                  <a:gd name="T73" fmla="*/ 724 h 1666"/>
                  <a:gd name="T74" fmla="*/ 30 w 805"/>
                  <a:gd name="T75" fmla="*/ 678 h 1666"/>
                  <a:gd name="T76" fmla="*/ 44 w 805"/>
                  <a:gd name="T77" fmla="*/ 570 h 1666"/>
                  <a:gd name="T78" fmla="*/ 29 w 805"/>
                  <a:gd name="T79" fmla="*/ 469 h 1666"/>
                  <a:gd name="T80" fmla="*/ 32 w 805"/>
                  <a:gd name="T81" fmla="*/ 442 h 1666"/>
                  <a:gd name="T82" fmla="*/ 38 w 805"/>
                  <a:gd name="T83" fmla="*/ 421 h 1666"/>
                  <a:gd name="T84" fmla="*/ 22 w 805"/>
                  <a:gd name="T85" fmla="*/ 388 h 1666"/>
                  <a:gd name="T86" fmla="*/ 22 w 805"/>
                  <a:gd name="T87" fmla="*/ 359 h 1666"/>
                  <a:gd name="T88" fmla="*/ 19 w 805"/>
                  <a:gd name="T89" fmla="*/ 320 h 1666"/>
                  <a:gd name="T90" fmla="*/ 30 w 805"/>
                  <a:gd name="T91" fmla="*/ 286 h 1666"/>
                  <a:gd name="T92" fmla="*/ 48 w 805"/>
                  <a:gd name="T93" fmla="*/ 270 h 1666"/>
                  <a:gd name="T94" fmla="*/ 40 w 805"/>
                  <a:gd name="T95" fmla="*/ 239 h 1666"/>
                  <a:gd name="T96" fmla="*/ 46 w 805"/>
                  <a:gd name="T97" fmla="*/ 204 h 1666"/>
                  <a:gd name="T98" fmla="*/ 48 w 805"/>
                  <a:gd name="T99" fmla="*/ 174 h 1666"/>
                  <a:gd name="T100" fmla="*/ 40 w 805"/>
                  <a:gd name="T101" fmla="*/ 158 h 1666"/>
                  <a:gd name="T102" fmla="*/ 25 w 805"/>
                  <a:gd name="T103" fmla="*/ 137 h 1666"/>
                  <a:gd name="T104" fmla="*/ 27 w 805"/>
                  <a:gd name="T105" fmla="*/ 115 h 1666"/>
                  <a:gd name="T106" fmla="*/ 2 w 805"/>
                  <a:gd name="T107" fmla="*/ 110 h 1666"/>
                  <a:gd name="T108" fmla="*/ 21 w 805"/>
                  <a:gd name="T109" fmla="*/ 88 h 1666"/>
                  <a:gd name="T110" fmla="*/ 17 w 805"/>
                  <a:gd name="T111" fmla="*/ 71 h 1666"/>
                  <a:gd name="T112" fmla="*/ 6 w 805"/>
                  <a:gd name="T113" fmla="*/ 55 h 1666"/>
                  <a:gd name="T114" fmla="*/ 36 w 805"/>
                  <a:gd name="T115" fmla="*/ 49 h 1666"/>
                  <a:gd name="T116" fmla="*/ 63 w 805"/>
                  <a:gd name="T117" fmla="*/ 52 h 1666"/>
                  <a:gd name="T118" fmla="*/ 95 w 805"/>
                  <a:gd name="T119" fmla="*/ 49 h 1666"/>
                  <a:gd name="T120" fmla="*/ 103 w 805"/>
                  <a:gd name="T121" fmla="*/ 26 h 1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05" h="1666">
                    <a:moveTo>
                      <a:pt x="146" y="3"/>
                    </a:moveTo>
                    <a:lnTo>
                      <a:pt x="154" y="4"/>
                    </a:lnTo>
                    <a:lnTo>
                      <a:pt x="157" y="9"/>
                    </a:lnTo>
                    <a:lnTo>
                      <a:pt x="162" y="12"/>
                    </a:lnTo>
                    <a:lnTo>
                      <a:pt x="165" y="14"/>
                    </a:lnTo>
                    <a:lnTo>
                      <a:pt x="171" y="17"/>
                    </a:lnTo>
                    <a:lnTo>
                      <a:pt x="181" y="20"/>
                    </a:lnTo>
                    <a:lnTo>
                      <a:pt x="192" y="25"/>
                    </a:lnTo>
                    <a:lnTo>
                      <a:pt x="201" y="28"/>
                    </a:lnTo>
                    <a:lnTo>
                      <a:pt x="214" y="34"/>
                    </a:lnTo>
                    <a:lnTo>
                      <a:pt x="219" y="38"/>
                    </a:lnTo>
                    <a:lnTo>
                      <a:pt x="220" y="39"/>
                    </a:lnTo>
                    <a:lnTo>
                      <a:pt x="222" y="39"/>
                    </a:lnTo>
                    <a:lnTo>
                      <a:pt x="225" y="44"/>
                    </a:lnTo>
                    <a:lnTo>
                      <a:pt x="227" y="46"/>
                    </a:lnTo>
                    <a:lnTo>
                      <a:pt x="228" y="47"/>
                    </a:lnTo>
                    <a:lnTo>
                      <a:pt x="231" y="49"/>
                    </a:lnTo>
                    <a:lnTo>
                      <a:pt x="233" y="50"/>
                    </a:lnTo>
                    <a:lnTo>
                      <a:pt x="234" y="50"/>
                    </a:lnTo>
                    <a:lnTo>
                      <a:pt x="239" y="55"/>
                    </a:lnTo>
                    <a:lnTo>
                      <a:pt x="241" y="55"/>
                    </a:lnTo>
                    <a:lnTo>
                      <a:pt x="247" y="60"/>
                    </a:lnTo>
                    <a:lnTo>
                      <a:pt x="254" y="65"/>
                    </a:lnTo>
                    <a:lnTo>
                      <a:pt x="261" y="69"/>
                    </a:lnTo>
                    <a:lnTo>
                      <a:pt x="269" y="74"/>
                    </a:lnTo>
                    <a:lnTo>
                      <a:pt x="277" y="80"/>
                    </a:lnTo>
                    <a:lnTo>
                      <a:pt x="284" y="84"/>
                    </a:lnTo>
                    <a:lnTo>
                      <a:pt x="288" y="88"/>
                    </a:lnTo>
                    <a:lnTo>
                      <a:pt x="295" y="93"/>
                    </a:lnTo>
                    <a:lnTo>
                      <a:pt x="298" y="95"/>
                    </a:lnTo>
                    <a:lnTo>
                      <a:pt x="304" y="99"/>
                    </a:lnTo>
                    <a:lnTo>
                      <a:pt x="309" y="104"/>
                    </a:lnTo>
                    <a:lnTo>
                      <a:pt x="315" y="109"/>
                    </a:lnTo>
                    <a:lnTo>
                      <a:pt x="315" y="110"/>
                    </a:lnTo>
                    <a:lnTo>
                      <a:pt x="328" y="117"/>
                    </a:lnTo>
                    <a:lnTo>
                      <a:pt x="336" y="123"/>
                    </a:lnTo>
                    <a:lnTo>
                      <a:pt x="344" y="129"/>
                    </a:lnTo>
                    <a:lnTo>
                      <a:pt x="349" y="133"/>
                    </a:lnTo>
                    <a:lnTo>
                      <a:pt x="353" y="134"/>
                    </a:lnTo>
                    <a:lnTo>
                      <a:pt x="356" y="139"/>
                    </a:lnTo>
                    <a:lnTo>
                      <a:pt x="361" y="142"/>
                    </a:lnTo>
                    <a:lnTo>
                      <a:pt x="366" y="145"/>
                    </a:lnTo>
                    <a:lnTo>
                      <a:pt x="372" y="150"/>
                    </a:lnTo>
                    <a:lnTo>
                      <a:pt x="380" y="158"/>
                    </a:lnTo>
                    <a:lnTo>
                      <a:pt x="387" y="164"/>
                    </a:lnTo>
                    <a:lnTo>
                      <a:pt x="394" y="174"/>
                    </a:lnTo>
                    <a:lnTo>
                      <a:pt x="401" y="180"/>
                    </a:lnTo>
                    <a:lnTo>
                      <a:pt x="409" y="188"/>
                    </a:lnTo>
                    <a:lnTo>
                      <a:pt x="421" y="198"/>
                    </a:lnTo>
                    <a:lnTo>
                      <a:pt x="431" y="207"/>
                    </a:lnTo>
                    <a:lnTo>
                      <a:pt x="437" y="215"/>
                    </a:lnTo>
                    <a:lnTo>
                      <a:pt x="442" y="221"/>
                    </a:lnTo>
                    <a:lnTo>
                      <a:pt x="444" y="223"/>
                    </a:lnTo>
                    <a:lnTo>
                      <a:pt x="455" y="232"/>
                    </a:lnTo>
                    <a:lnTo>
                      <a:pt x="458" y="237"/>
                    </a:lnTo>
                    <a:lnTo>
                      <a:pt x="463" y="242"/>
                    </a:lnTo>
                    <a:lnTo>
                      <a:pt x="471" y="250"/>
                    </a:lnTo>
                    <a:lnTo>
                      <a:pt x="482" y="258"/>
                    </a:lnTo>
                    <a:lnTo>
                      <a:pt x="490" y="266"/>
                    </a:lnTo>
                    <a:lnTo>
                      <a:pt x="501" y="275"/>
                    </a:lnTo>
                    <a:lnTo>
                      <a:pt x="507" y="280"/>
                    </a:lnTo>
                    <a:lnTo>
                      <a:pt x="507" y="282"/>
                    </a:lnTo>
                    <a:lnTo>
                      <a:pt x="509" y="282"/>
                    </a:lnTo>
                    <a:lnTo>
                      <a:pt x="509" y="283"/>
                    </a:lnTo>
                    <a:lnTo>
                      <a:pt x="512" y="285"/>
                    </a:lnTo>
                    <a:lnTo>
                      <a:pt x="515" y="288"/>
                    </a:lnTo>
                    <a:lnTo>
                      <a:pt x="518" y="291"/>
                    </a:lnTo>
                    <a:lnTo>
                      <a:pt x="526" y="297"/>
                    </a:lnTo>
                    <a:lnTo>
                      <a:pt x="537" y="307"/>
                    </a:lnTo>
                    <a:lnTo>
                      <a:pt x="545" y="315"/>
                    </a:lnTo>
                    <a:lnTo>
                      <a:pt x="559" y="324"/>
                    </a:lnTo>
                    <a:lnTo>
                      <a:pt x="567" y="334"/>
                    </a:lnTo>
                    <a:lnTo>
                      <a:pt x="577" y="343"/>
                    </a:lnTo>
                    <a:lnTo>
                      <a:pt x="586" y="351"/>
                    </a:lnTo>
                    <a:lnTo>
                      <a:pt x="594" y="356"/>
                    </a:lnTo>
                    <a:lnTo>
                      <a:pt x="604" y="366"/>
                    </a:lnTo>
                    <a:lnTo>
                      <a:pt x="608" y="372"/>
                    </a:lnTo>
                    <a:lnTo>
                      <a:pt x="619" y="380"/>
                    </a:lnTo>
                    <a:lnTo>
                      <a:pt x="627" y="388"/>
                    </a:lnTo>
                    <a:lnTo>
                      <a:pt x="632" y="391"/>
                    </a:lnTo>
                    <a:lnTo>
                      <a:pt x="640" y="397"/>
                    </a:lnTo>
                    <a:lnTo>
                      <a:pt x="648" y="407"/>
                    </a:lnTo>
                    <a:lnTo>
                      <a:pt x="654" y="412"/>
                    </a:lnTo>
                    <a:lnTo>
                      <a:pt x="659" y="416"/>
                    </a:lnTo>
                    <a:lnTo>
                      <a:pt x="661" y="419"/>
                    </a:lnTo>
                    <a:lnTo>
                      <a:pt x="662" y="421"/>
                    </a:lnTo>
                    <a:lnTo>
                      <a:pt x="664" y="423"/>
                    </a:lnTo>
                    <a:lnTo>
                      <a:pt x="667" y="424"/>
                    </a:lnTo>
                    <a:lnTo>
                      <a:pt x="667" y="426"/>
                    </a:lnTo>
                    <a:lnTo>
                      <a:pt x="670" y="429"/>
                    </a:lnTo>
                    <a:lnTo>
                      <a:pt x="676" y="434"/>
                    </a:lnTo>
                    <a:lnTo>
                      <a:pt x="680" y="437"/>
                    </a:lnTo>
                    <a:lnTo>
                      <a:pt x="681" y="438"/>
                    </a:lnTo>
                    <a:lnTo>
                      <a:pt x="683" y="440"/>
                    </a:lnTo>
                    <a:lnTo>
                      <a:pt x="683" y="442"/>
                    </a:lnTo>
                    <a:lnTo>
                      <a:pt x="684" y="445"/>
                    </a:lnTo>
                    <a:lnTo>
                      <a:pt x="686" y="446"/>
                    </a:lnTo>
                    <a:lnTo>
                      <a:pt x="688" y="450"/>
                    </a:lnTo>
                    <a:lnTo>
                      <a:pt x="692" y="454"/>
                    </a:lnTo>
                    <a:lnTo>
                      <a:pt x="695" y="459"/>
                    </a:lnTo>
                    <a:lnTo>
                      <a:pt x="699" y="464"/>
                    </a:lnTo>
                    <a:lnTo>
                      <a:pt x="703" y="470"/>
                    </a:lnTo>
                    <a:lnTo>
                      <a:pt x="707" y="476"/>
                    </a:lnTo>
                    <a:lnTo>
                      <a:pt x="708" y="480"/>
                    </a:lnTo>
                    <a:lnTo>
                      <a:pt x="713" y="486"/>
                    </a:lnTo>
                    <a:lnTo>
                      <a:pt x="716" y="492"/>
                    </a:lnTo>
                    <a:lnTo>
                      <a:pt x="721" y="499"/>
                    </a:lnTo>
                    <a:lnTo>
                      <a:pt x="726" y="507"/>
                    </a:lnTo>
                    <a:lnTo>
                      <a:pt x="732" y="515"/>
                    </a:lnTo>
                    <a:lnTo>
                      <a:pt x="738" y="524"/>
                    </a:lnTo>
                    <a:lnTo>
                      <a:pt x="741" y="529"/>
                    </a:lnTo>
                    <a:lnTo>
                      <a:pt x="743" y="532"/>
                    </a:lnTo>
                    <a:lnTo>
                      <a:pt x="748" y="537"/>
                    </a:lnTo>
                    <a:lnTo>
                      <a:pt x="749" y="538"/>
                    </a:lnTo>
                    <a:lnTo>
                      <a:pt x="754" y="545"/>
                    </a:lnTo>
                    <a:lnTo>
                      <a:pt x="759" y="549"/>
                    </a:lnTo>
                    <a:lnTo>
                      <a:pt x="764" y="557"/>
                    </a:lnTo>
                    <a:lnTo>
                      <a:pt x="768" y="564"/>
                    </a:lnTo>
                    <a:lnTo>
                      <a:pt x="775" y="570"/>
                    </a:lnTo>
                    <a:lnTo>
                      <a:pt x="779" y="576"/>
                    </a:lnTo>
                    <a:lnTo>
                      <a:pt x="781" y="578"/>
                    </a:lnTo>
                    <a:lnTo>
                      <a:pt x="783" y="579"/>
                    </a:lnTo>
                    <a:lnTo>
                      <a:pt x="786" y="584"/>
                    </a:lnTo>
                    <a:lnTo>
                      <a:pt x="790" y="589"/>
                    </a:lnTo>
                    <a:lnTo>
                      <a:pt x="794" y="592"/>
                    </a:lnTo>
                    <a:lnTo>
                      <a:pt x="795" y="594"/>
                    </a:lnTo>
                    <a:lnTo>
                      <a:pt x="798" y="598"/>
                    </a:lnTo>
                    <a:lnTo>
                      <a:pt x="805" y="605"/>
                    </a:lnTo>
                    <a:lnTo>
                      <a:pt x="798" y="611"/>
                    </a:lnTo>
                    <a:lnTo>
                      <a:pt x="798" y="613"/>
                    </a:lnTo>
                    <a:lnTo>
                      <a:pt x="797" y="613"/>
                    </a:lnTo>
                    <a:lnTo>
                      <a:pt x="797" y="614"/>
                    </a:lnTo>
                    <a:lnTo>
                      <a:pt x="795" y="614"/>
                    </a:lnTo>
                    <a:lnTo>
                      <a:pt x="795" y="616"/>
                    </a:lnTo>
                    <a:lnTo>
                      <a:pt x="794" y="618"/>
                    </a:lnTo>
                    <a:lnTo>
                      <a:pt x="792" y="619"/>
                    </a:lnTo>
                    <a:lnTo>
                      <a:pt x="792" y="621"/>
                    </a:lnTo>
                    <a:lnTo>
                      <a:pt x="790" y="621"/>
                    </a:lnTo>
                    <a:lnTo>
                      <a:pt x="790" y="622"/>
                    </a:lnTo>
                    <a:lnTo>
                      <a:pt x="789" y="624"/>
                    </a:lnTo>
                    <a:lnTo>
                      <a:pt x="789" y="625"/>
                    </a:lnTo>
                    <a:lnTo>
                      <a:pt x="787" y="625"/>
                    </a:lnTo>
                    <a:lnTo>
                      <a:pt x="787" y="627"/>
                    </a:lnTo>
                    <a:lnTo>
                      <a:pt x="786" y="629"/>
                    </a:lnTo>
                    <a:lnTo>
                      <a:pt x="784" y="630"/>
                    </a:lnTo>
                    <a:lnTo>
                      <a:pt x="784" y="632"/>
                    </a:lnTo>
                    <a:lnTo>
                      <a:pt x="783" y="632"/>
                    </a:lnTo>
                    <a:lnTo>
                      <a:pt x="783" y="633"/>
                    </a:lnTo>
                    <a:lnTo>
                      <a:pt x="781" y="635"/>
                    </a:lnTo>
                    <a:lnTo>
                      <a:pt x="781" y="637"/>
                    </a:lnTo>
                    <a:lnTo>
                      <a:pt x="781" y="638"/>
                    </a:lnTo>
                    <a:lnTo>
                      <a:pt x="779" y="640"/>
                    </a:lnTo>
                    <a:lnTo>
                      <a:pt x="779" y="641"/>
                    </a:lnTo>
                    <a:lnTo>
                      <a:pt x="779" y="643"/>
                    </a:lnTo>
                    <a:lnTo>
                      <a:pt x="778" y="644"/>
                    </a:lnTo>
                    <a:lnTo>
                      <a:pt x="778" y="646"/>
                    </a:lnTo>
                    <a:lnTo>
                      <a:pt x="778" y="648"/>
                    </a:lnTo>
                    <a:lnTo>
                      <a:pt x="776" y="649"/>
                    </a:lnTo>
                    <a:lnTo>
                      <a:pt x="776" y="651"/>
                    </a:lnTo>
                    <a:lnTo>
                      <a:pt x="776" y="652"/>
                    </a:lnTo>
                    <a:lnTo>
                      <a:pt x="776" y="654"/>
                    </a:lnTo>
                    <a:lnTo>
                      <a:pt x="775" y="654"/>
                    </a:lnTo>
                    <a:lnTo>
                      <a:pt x="775" y="656"/>
                    </a:lnTo>
                    <a:lnTo>
                      <a:pt x="773" y="656"/>
                    </a:lnTo>
                    <a:lnTo>
                      <a:pt x="773" y="657"/>
                    </a:lnTo>
                    <a:lnTo>
                      <a:pt x="771" y="659"/>
                    </a:lnTo>
                    <a:lnTo>
                      <a:pt x="770" y="659"/>
                    </a:lnTo>
                    <a:lnTo>
                      <a:pt x="770" y="660"/>
                    </a:lnTo>
                    <a:lnTo>
                      <a:pt x="768" y="660"/>
                    </a:lnTo>
                    <a:lnTo>
                      <a:pt x="768" y="662"/>
                    </a:lnTo>
                    <a:lnTo>
                      <a:pt x="765" y="665"/>
                    </a:lnTo>
                    <a:lnTo>
                      <a:pt x="764" y="665"/>
                    </a:lnTo>
                    <a:lnTo>
                      <a:pt x="762" y="667"/>
                    </a:lnTo>
                    <a:lnTo>
                      <a:pt x="762" y="668"/>
                    </a:lnTo>
                    <a:lnTo>
                      <a:pt x="760" y="670"/>
                    </a:lnTo>
                    <a:lnTo>
                      <a:pt x="759" y="670"/>
                    </a:lnTo>
                    <a:lnTo>
                      <a:pt x="757" y="673"/>
                    </a:lnTo>
                    <a:lnTo>
                      <a:pt x="756" y="673"/>
                    </a:lnTo>
                    <a:lnTo>
                      <a:pt x="756" y="675"/>
                    </a:lnTo>
                    <a:lnTo>
                      <a:pt x="754" y="675"/>
                    </a:lnTo>
                    <a:lnTo>
                      <a:pt x="752" y="676"/>
                    </a:lnTo>
                    <a:lnTo>
                      <a:pt x="752" y="678"/>
                    </a:lnTo>
                    <a:lnTo>
                      <a:pt x="751" y="678"/>
                    </a:lnTo>
                    <a:lnTo>
                      <a:pt x="751" y="679"/>
                    </a:lnTo>
                    <a:lnTo>
                      <a:pt x="749" y="681"/>
                    </a:lnTo>
                    <a:lnTo>
                      <a:pt x="748" y="682"/>
                    </a:lnTo>
                    <a:lnTo>
                      <a:pt x="748" y="684"/>
                    </a:lnTo>
                    <a:lnTo>
                      <a:pt x="746" y="684"/>
                    </a:lnTo>
                    <a:lnTo>
                      <a:pt x="746" y="686"/>
                    </a:lnTo>
                    <a:lnTo>
                      <a:pt x="745" y="687"/>
                    </a:lnTo>
                    <a:lnTo>
                      <a:pt x="745" y="689"/>
                    </a:lnTo>
                    <a:lnTo>
                      <a:pt x="743" y="690"/>
                    </a:lnTo>
                    <a:lnTo>
                      <a:pt x="743" y="692"/>
                    </a:lnTo>
                    <a:lnTo>
                      <a:pt x="741" y="692"/>
                    </a:lnTo>
                    <a:lnTo>
                      <a:pt x="741" y="694"/>
                    </a:lnTo>
                    <a:lnTo>
                      <a:pt x="740" y="695"/>
                    </a:lnTo>
                    <a:lnTo>
                      <a:pt x="740" y="697"/>
                    </a:lnTo>
                    <a:lnTo>
                      <a:pt x="738" y="697"/>
                    </a:lnTo>
                    <a:lnTo>
                      <a:pt x="738" y="698"/>
                    </a:lnTo>
                    <a:lnTo>
                      <a:pt x="738" y="700"/>
                    </a:lnTo>
                    <a:lnTo>
                      <a:pt x="737" y="701"/>
                    </a:lnTo>
                    <a:lnTo>
                      <a:pt x="735" y="703"/>
                    </a:lnTo>
                    <a:lnTo>
                      <a:pt x="735" y="705"/>
                    </a:lnTo>
                    <a:lnTo>
                      <a:pt x="733" y="705"/>
                    </a:lnTo>
                    <a:lnTo>
                      <a:pt x="733" y="706"/>
                    </a:lnTo>
                    <a:lnTo>
                      <a:pt x="732" y="708"/>
                    </a:lnTo>
                    <a:lnTo>
                      <a:pt x="730" y="709"/>
                    </a:lnTo>
                    <a:lnTo>
                      <a:pt x="729" y="711"/>
                    </a:lnTo>
                    <a:lnTo>
                      <a:pt x="729" y="713"/>
                    </a:lnTo>
                    <a:lnTo>
                      <a:pt x="729" y="714"/>
                    </a:lnTo>
                    <a:lnTo>
                      <a:pt x="727" y="716"/>
                    </a:lnTo>
                    <a:lnTo>
                      <a:pt x="727" y="717"/>
                    </a:lnTo>
                    <a:lnTo>
                      <a:pt x="727" y="719"/>
                    </a:lnTo>
                    <a:lnTo>
                      <a:pt x="727" y="720"/>
                    </a:lnTo>
                    <a:lnTo>
                      <a:pt x="726" y="720"/>
                    </a:lnTo>
                    <a:lnTo>
                      <a:pt x="726" y="722"/>
                    </a:lnTo>
                    <a:lnTo>
                      <a:pt x="724" y="722"/>
                    </a:lnTo>
                    <a:lnTo>
                      <a:pt x="724" y="720"/>
                    </a:lnTo>
                    <a:lnTo>
                      <a:pt x="724" y="722"/>
                    </a:lnTo>
                    <a:lnTo>
                      <a:pt x="722" y="724"/>
                    </a:lnTo>
                    <a:lnTo>
                      <a:pt x="721" y="725"/>
                    </a:lnTo>
                    <a:lnTo>
                      <a:pt x="719" y="727"/>
                    </a:lnTo>
                    <a:lnTo>
                      <a:pt x="718" y="732"/>
                    </a:lnTo>
                    <a:lnTo>
                      <a:pt x="716" y="733"/>
                    </a:lnTo>
                    <a:lnTo>
                      <a:pt x="716" y="735"/>
                    </a:lnTo>
                    <a:lnTo>
                      <a:pt x="714" y="736"/>
                    </a:lnTo>
                    <a:lnTo>
                      <a:pt x="713" y="738"/>
                    </a:lnTo>
                    <a:lnTo>
                      <a:pt x="710" y="741"/>
                    </a:lnTo>
                    <a:lnTo>
                      <a:pt x="705" y="747"/>
                    </a:lnTo>
                    <a:lnTo>
                      <a:pt x="702" y="751"/>
                    </a:lnTo>
                    <a:lnTo>
                      <a:pt x="702" y="752"/>
                    </a:lnTo>
                    <a:lnTo>
                      <a:pt x="700" y="754"/>
                    </a:lnTo>
                    <a:lnTo>
                      <a:pt x="697" y="760"/>
                    </a:lnTo>
                    <a:lnTo>
                      <a:pt x="695" y="763"/>
                    </a:lnTo>
                    <a:lnTo>
                      <a:pt x="694" y="765"/>
                    </a:lnTo>
                    <a:lnTo>
                      <a:pt x="694" y="766"/>
                    </a:lnTo>
                    <a:lnTo>
                      <a:pt x="692" y="766"/>
                    </a:lnTo>
                    <a:lnTo>
                      <a:pt x="692" y="768"/>
                    </a:lnTo>
                    <a:lnTo>
                      <a:pt x="691" y="770"/>
                    </a:lnTo>
                    <a:lnTo>
                      <a:pt x="691" y="771"/>
                    </a:lnTo>
                    <a:lnTo>
                      <a:pt x="689" y="771"/>
                    </a:lnTo>
                    <a:lnTo>
                      <a:pt x="689" y="773"/>
                    </a:lnTo>
                    <a:lnTo>
                      <a:pt x="688" y="774"/>
                    </a:lnTo>
                    <a:lnTo>
                      <a:pt x="688" y="776"/>
                    </a:lnTo>
                    <a:lnTo>
                      <a:pt x="686" y="776"/>
                    </a:lnTo>
                    <a:lnTo>
                      <a:pt x="686" y="778"/>
                    </a:lnTo>
                    <a:lnTo>
                      <a:pt x="684" y="778"/>
                    </a:lnTo>
                    <a:lnTo>
                      <a:pt x="684" y="779"/>
                    </a:lnTo>
                    <a:lnTo>
                      <a:pt x="683" y="779"/>
                    </a:lnTo>
                    <a:lnTo>
                      <a:pt x="683" y="781"/>
                    </a:lnTo>
                    <a:lnTo>
                      <a:pt x="681" y="782"/>
                    </a:lnTo>
                    <a:lnTo>
                      <a:pt x="681" y="784"/>
                    </a:lnTo>
                    <a:lnTo>
                      <a:pt x="680" y="784"/>
                    </a:lnTo>
                    <a:lnTo>
                      <a:pt x="680" y="785"/>
                    </a:lnTo>
                    <a:lnTo>
                      <a:pt x="678" y="787"/>
                    </a:lnTo>
                    <a:lnTo>
                      <a:pt x="678" y="789"/>
                    </a:lnTo>
                    <a:lnTo>
                      <a:pt x="676" y="790"/>
                    </a:lnTo>
                    <a:lnTo>
                      <a:pt x="676" y="792"/>
                    </a:lnTo>
                    <a:lnTo>
                      <a:pt x="675" y="792"/>
                    </a:lnTo>
                    <a:lnTo>
                      <a:pt x="675" y="793"/>
                    </a:lnTo>
                    <a:lnTo>
                      <a:pt x="673" y="793"/>
                    </a:lnTo>
                    <a:lnTo>
                      <a:pt x="673" y="795"/>
                    </a:lnTo>
                    <a:lnTo>
                      <a:pt x="672" y="797"/>
                    </a:lnTo>
                    <a:lnTo>
                      <a:pt x="670" y="798"/>
                    </a:lnTo>
                    <a:lnTo>
                      <a:pt x="669" y="800"/>
                    </a:lnTo>
                    <a:lnTo>
                      <a:pt x="667" y="800"/>
                    </a:lnTo>
                    <a:lnTo>
                      <a:pt x="667" y="801"/>
                    </a:lnTo>
                    <a:lnTo>
                      <a:pt x="665" y="801"/>
                    </a:lnTo>
                    <a:lnTo>
                      <a:pt x="664" y="801"/>
                    </a:lnTo>
                    <a:lnTo>
                      <a:pt x="662" y="801"/>
                    </a:lnTo>
                    <a:lnTo>
                      <a:pt x="661" y="803"/>
                    </a:lnTo>
                    <a:lnTo>
                      <a:pt x="657" y="803"/>
                    </a:lnTo>
                    <a:lnTo>
                      <a:pt x="656" y="804"/>
                    </a:lnTo>
                    <a:lnTo>
                      <a:pt x="654" y="804"/>
                    </a:lnTo>
                    <a:lnTo>
                      <a:pt x="653" y="804"/>
                    </a:lnTo>
                    <a:lnTo>
                      <a:pt x="653" y="806"/>
                    </a:lnTo>
                    <a:lnTo>
                      <a:pt x="653" y="808"/>
                    </a:lnTo>
                    <a:lnTo>
                      <a:pt x="653" y="809"/>
                    </a:lnTo>
                    <a:lnTo>
                      <a:pt x="653" y="811"/>
                    </a:lnTo>
                    <a:lnTo>
                      <a:pt x="653" y="812"/>
                    </a:lnTo>
                    <a:lnTo>
                      <a:pt x="653" y="814"/>
                    </a:lnTo>
                    <a:lnTo>
                      <a:pt x="653" y="816"/>
                    </a:lnTo>
                    <a:lnTo>
                      <a:pt x="651" y="817"/>
                    </a:lnTo>
                    <a:lnTo>
                      <a:pt x="650" y="817"/>
                    </a:lnTo>
                    <a:lnTo>
                      <a:pt x="648" y="817"/>
                    </a:lnTo>
                    <a:lnTo>
                      <a:pt x="646" y="819"/>
                    </a:lnTo>
                    <a:lnTo>
                      <a:pt x="638" y="822"/>
                    </a:lnTo>
                    <a:lnTo>
                      <a:pt x="637" y="822"/>
                    </a:lnTo>
                    <a:lnTo>
                      <a:pt x="635" y="822"/>
                    </a:lnTo>
                    <a:lnTo>
                      <a:pt x="634" y="823"/>
                    </a:lnTo>
                    <a:lnTo>
                      <a:pt x="634" y="825"/>
                    </a:lnTo>
                    <a:lnTo>
                      <a:pt x="634" y="827"/>
                    </a:lnTo>
                    <a:lnTo>
                      <a:pt x="632" y="828"/>
                    </a:lnTo>
                    <a:lnTo>
                      <a:pt x="632" y="831"/>
                    </a:lnTo>
                    <a:lnTo>
                      <a:pt x="631" y="831"/>
                    </a:lnTo>
                    <a:lnTo>
                      <a:pt x="631" y="833"/>
                    </a:lnTo>
                    <a:lnTo>
                      <a:pt x="631" y="835"/>
                    </a:lnTo>
                    <a:lnTo>
                      <a:pt x="629" y="839"/>
                    </a:lnTo>
                    <a:lnTo>
                      <a:pt x="629" y="841"/>
                    </a:lnTo>
                    <a:lnTo>
                      <a:pt x="627" y="841"/>
                    </a:lnTo>
                    <a:lnTo>
                      <a:pt x="627" y="842"/>
                    </a:lnTo>
                    <a:lnTo>
                      <a:pt x="627" y="844"/>
                    </a:lnTo>
                    <a:lnTo>
                      <a:pt x="627" y="846"/>
                    </a:lnTo>
                    <a:lnTo>
                      <a:pt x="627" y="847"/>
                    </a:lnTo>
                    <a:lnTo>
                      <a:pt x="627" y="849"/>
                    </a:lnTo>
                    <a:lnTo>
                      <a:pt x="627" y="850"/>
                    </a:lnTo>
                    <a:lnTo>
                      <a:pt x="626" y="852"/>
                    </a:lnTo>
                    <a:lnTo>
                      <a:pt x="626" y="854"/>
                    </a:lnTo>
                    <a:lnTo>
                      <a:pt x="626" y="857"/>
                    </a:lnTo>
                    <a:lnTo>
                      <a:pt x="626" y="860"/>
                    </a:lnTo>
                    <a:lnTo>
                      <a:pt x="626" y="863"/>
                    </a:lnTo>
                    <a:lnTo>
                      <a:pt x="626" y="866"/>
                    </a:lnTo>
                    <a:lnTo>
                      <a:pt x="626" y="868"/>
                    </a:lnTo>
                    <a:lnTo>
                      <a:pt x="626" y="869"/>
                    </a:lnTo>
                    <a:lnTo>
                      <a:pt x="624" y="871"/>
                    </a:lnTo>
                    <a:lnTo>
                      <a:pt x="624" y="873"/>
                    </a:lnTo>
                    <a:lnTo>
                      <a:pt x="623" y="873"/>
                    </a:lnTo>
                    <a:lnTo>
                      <a:pt x="623" y="874"/>
                    </a:lnTo>
                    <a:lnTo>
                      <a:pt x="623" y="876"/>
                    </a:lnTo>
                    <a:lnTo>
                      <a:pt x="621" y="876"/>
                    </a:lnTo>
                    <a:lnTo>
                      <a:pt x="621" y="877"/>
                    </a:lnTo>
                    <a:lnTo>
                      <a:pt x="619" y="879"/>
                    </a:lnTo>
                    <a:lnTo>
                      <a:pt x="619" y="881"/>
                    </a:lnTo>
                    <a:lnTo>
                      <a:pt x="619" y="882"/>
                    </a:lnTo>
                    <a:lnTo>
                      <a:pt x="619" y="884"/>
                    </a:lnTo>
                    <a:lnTo>
                      <a:pt x="618" y="887"/>
                    </a:lnTo>
                    <a:lnTo>
                      <a:pt x="618" y="888"/>
                    </a:lnTo>
                    <a:lnTo>
                      <a:pt x="618" y="890"/>
                    </a:lnTo>
                    <a:lnTo>
                      <a:pt x="616" y="890"/>
                    </a:lnTo>
                    <a:lnTo>
                      <a:pt x="616" y="892"/>
                    </a:lnTo>
                    <a:lnTo>
                      <a:pt x="616" y="893"/>
                    </a:lnTo>
                    <a:lnTo>
                      <a:pt x="616" y="895"/>
                    </a:lnTo>
                    <a:lnTo>
                      <a:pt x="616" y="896"/>
                    </a:lnTo>
                    <a:lnTo>
                      <a:pt x="618" y="896"/>
                    </a:lnTo>
                    <a:lnTo>
                      <a:pt x="618" y="900"/>
                    </a:lnTo>
                    <a:lnTo>
                      <a:pt x="618" y="901"/>
                    </a:lnTo>
                    <a:lnTo>
                      <a:pt x="618" y="903"/>
                    </a:lnTo>
                    <a:lnTo>
                      <a:pt x="619" y="903"/>
                    </a:lnTo>
                    <a:lnTo>
                      <a:pt x="619" y="906"/>
                    </a:lnTo>
                    <a:lnTo>
                      <a:pt x="619" y="907"/>
                    </a:lnTo>
                    <a:lnTo>
                      <a:pt x="619" y="909"/>
                    </a:lnTo>
                    <a:lnTo>
                      <a:pt x="619" y="911"/>
                    </a:lnTo>
                    <a:lnTo>
                      <a:pt x="621" y="911"/>
                    </a:lnTo>
                    <a:lnTo>
                      <a:pt x="621" y="912"/>
                    </a:lnTo>
                    <a:lnTo>
                      <a:pt x="621" y="914"/>
                    </a:lnTo>
                    <a:lnTo>
                      <a:pt x="621" y="915"/>
                    </a:lnTo>
                    <a:lnTo>
                      <a:pt x="623" y="919"/>
                    </a:lnTo>
                    <a:lnTo>
                      <a:pt x="623" y="920"/>
                    </a:lnTo>
                    <a:lnTo>
                      <a:pt x="623" y="922"/>
                    </a:lnTo>
                    <a:lnTo>
                      <a:pt x="624" y="923"/>
                    </a:lnTo>
                    <a:lnTo>
                      <a:pt x="624" y="925"/>
                    </a:lnTo>
                    <a:lnTo>
                      <a:pt x="624" y="926"/>
                    </a:lnTo>
                    <a:lnTo>
                      <a:pt x="624" y="928"/>
                    </a:lnTo>
                    <a:lnTo>
                      <a:pt x="626" y="930"/>
                    </a:lnTo>
                    <a:lnTo>
                      <a:pt x="626" y="933"/>
                    </a:lnTo>
                    <a:lnTo>
                      <a:pt x="626" y="934"/>
                    </a:lnTo>
                    <a:lnTo>
                      <a:pt x="626" y="936"/>
                    </a:lnTo>
                    <a:lnTo>
                      <a:pt x="626" y="939"/>
                    </a:lnTo>
                    <a:lnTo>
                      <a:pt x="626" y="944"/>
                    </a:lnTo>
                    <a:lnTo>
                      <a:pt x="626" y="947"/>
                    </a:lnTo>
                    <a:lnTo>
                      <a:pt x="626" y="952"/>
                    </a:lnTo>
                    <a:lnTo>
                      <a:pt x="626" y="963"/>
                    </a:lnTo>
                    <a:lnTo>
                      <a:pt x="626" y="965"/>
                    </a:lnTo>
                    <a:lnTo>
                      <a:pt x="626" y="966"/>
                    </a:lnTo>
                    <a:lnTo>
                      <a:pt x="626" y="968"/>
                    </a:lnTo>
                    <a:lnTo>
                      <a:pt x="626" y="977"/>
                    </a:lnTo>
                    <a:lnTo>
                      <a:pt x="626" y="980"/>
                    </a:lnTo>
                    <a:lnTo>
                      <a:pt x="626" y="982"/>
                    </a:lnTo>
                    <a:lnTo>
                      <a:pt x="626" y="990"/>
                    </a:lnTo>
                    <a:lnTo>
                      <a:pt x="626" y="991"/>
                    </a:lnTo>
                    <a:lnTo>
                      <a:pt x="626" y="995"/>
                    </a:lnTo>
                    <a:lnTo>
                      <a:pt x="626" y="996"/>
                    </a:lnTo>
                    <a:lnTo>
                      <a:pt x="626" y="998"/>
                    </a:lnTo>
                    <a:lnTo>
                      <a:pt x="626" y="999"/>
                    </a:lnTo>
                    <a:lnTo>
                      <a:pt x="626" y="1001"/>
                    </a:lnTo>
                    <a:lnTo>
                      <a:pt x="626" y="1003"/>
                    </a:lnTo>
                    <a:lnTo>
                      <a:pt x="626" y="1018"/>
                    </a:lnTo>
                    <a:lnTo>
                      <a:pt x="626" y="1020"/>
                    </a:lnTo>
                    <a:lnTo>
                      <a:pt x="626" y="1022"/>
                    </a:lnTo>
                    <a:lnTo>
                      <a:pt x="626" y="1026"/>
                    </a:lnTo>
                    <a:lnTo>
                      <a:pt x="626" y="1034"/>
                    </a:lnTo>
                    <a:lnTo>
                      <a:pt x="624" y="1036"/>
                    </a:lnTo>
                    <a:lnTo>
                      <a:pt x="624" y="1037"/>
                    </a:lnTo>
                    <a:lnTo>
                      <a:pt x="623" y="1039"/>
                    </a:lnTo>
                    <a:lnTo>
                      <a:pt x="621" y="1039"/>
                    </a:lnTo>
                    <a:lnTo>
                      <a:pt x="616" y="1039"/>
                    </a:lnTo>
                    <a:lnTo>
                      <a:pt x="615" y="1039"/>
                    </a:lnTo>
                    <a:lnTo>
                      <a:pt x="613" y="1041"/>
                    </a:lnTo>
                    <a:lnTo>
                      <a:pt x="608" y="1045"/>
                    </a:lnTo>
                    <a:lnTo>
                      <a:pt x="607" y="1045"/>
                    </a:lnTo>
                    <a:lnTo>
                      <a:pt x="600" y="1045"/>
                    </a:lnTo>
                    <a:lnTo>
                      <a:pt x="596" y="1045"/>
                    </a:lnTo>
                    <a:lnTo>
                      <a:pt x="591" y="1047"/>
                    </a:lnTo>
                    <a:lnTo>
                      <a:pt x="577" y="1045"/>
                    </a:lnTo>
                    <a:lnTo>
                      <a:pt x="561" y="1047"/>
                    </a:lnTo>
                    <a:lnTo>
                      <a:pt x="532" y="1045"/>
                    </a:lnTo>
                    <a:lnTo>
                      <a:pt x="512" y="1048"/>
                    </a:lnTo>
                    <a:lnTo>
                      <a:pt x="505" y="1045"/>
                    </a:lnTo>
                    <a:lnTo>
                      <a:pt x="493" y="1047"/>
                    </a:lnTo>
                    <a:lnTo>
                      <a:pt x="480" y="1047"/>
                    </a:lnTo>
                    <a:lnTo>
                      <a:pt x="474" y="1047"/>
                    </a:lnTo>
                    <a:lnTo>
                      <a:pt x="471" y="1048"/>
                    </a:lnTo>
                    <a:lnTo>
                      <a:pt x="463" y="1058"/>
                    </a:lnTo>
                    <a:lnTo>
                      <a:pt x="459" y="1067"/>
                    </a:lnTo>
                    <a:lnTo>
                      <a:pt x="459" y="1075"/>
                    </a:lnTo>
                    <a:lnTo>
                      <a:pt x="456" y="1083"/>
                    </a:lnTo>
                    <a:lnTo>
                      <a:pt x="452" y="1088"/>
                    </a:lnTo>
                    <a:lnTo>
                      <a:pt x="447" y="1094"/>
                    </a:lnTo>
                    <a:lnTo>
                      <a:pt x="440" y="1101"/>
                    </a:lnTo>
                    <a:lnTo>
                      <a:pt x="436" y="1106"/>
                    </a:lnTo>
                    <a:lnTo>
                      <a:pt x="431" y="1110"/>
                    </a:lnTo>
                    <a:lnTo>
                      <a:pt x="425" y="1117"/>
                    </a:lnTo>
                    <a:lnTo>
                      <a:pt x="418" y="1125"/>
                    </a:lnTo>
                    <a:lnTo>
                      <a:pt x="413" y="1129"/>
                    </a:lnTo>
                    <a:lnTo>
                      <a:pt x="415" y="1136"/>
                    </a:lnTo>
                    <a:lnTo>
                      <a:pt x="415" y="1140"/>
                    </a:lnTo>
                    <a:lnTo>
                      <a:pt x="415" y="1144"/>
                    </a:lnTo>
                    <a:lnTo>
                      <a:pt x="417" y="1153"/>
                    </a:lnTo>
                    <a:lnTo>
                      <a:pt x="415" y="1159"/>
                    </a:lnTo>
                    <a:lnTo>
                      <a:pt x="412" y="1170"/>
                    </a:lnTo>
                    <a:lnTo>
                      <a:pt x="410" y="1177"/>
                    </a:lnTo>
                    <a:lnTo>
                      <a:pt x="409" y="1182"/>
                    </a:lnTo>
                    <a:lnTo>
                      <a:pt x="406" y="1188"/>
                    </a:lnTo>
                    <a:lnTo>
                      <a:pt x="402" y="1197"/>
                    </a:lnTo>
                    <a:lnTo>
                      <a:pt x="401" y="1204"/>
                    </a:lnTo>
                    <a:lnTo>
                      <a:pt x="401" y="1210"/>
                    </a:lnTo>
                    <a:lnTo>
                      <a:pt x="396" y="1228"/>
                    </a:lnTo>
                    <a:lnTo>
                      <a:pt x="393" y="1234"/>
                    </a:lnTo>
                    <a:lnTo>
                      <a:pt x="391" y="1243"/>
                    </a:lnTo>
                    <a:lnTo>
                      <a:pt x="388" y="1258"/>
                    </a:lnTo>
                    <a:lnTo>
                      <a:pt x="385" y="1270"/>
                    </a:lnTo>
                    <a:lnTo>
                      <a:pt x="385" y="1281"/>
                    </a:lnTo>
                    <a:lnTo>
                      <a:pt x="379" y="1300"/>
                    </a:lnTo>
                    <a:lnTo>
                      <a:pt x="377" y="1308"/>
                    </a:lnTo>
                    <a:lnTo>
                      <a:pt x="374" y="1318"/>
                    </a:lnTo>
                    <a:lnTo>
                      <a:pt x="375" y="1327"/>
                    </a:lnTo>
                    <a:lnTo>
                      <a:pt x="379" y="1331"/>
                    </a:lnTo>
                    <a:lnTo>
                      <a:pt x="382" y="1335"/>
                    </a:lnTo>
                    <a:lnTo>
                      <a:pt x="387" y="1337"/>
                    </a:lnTo>
                    <a:lnTo>
                      <a:pt x="391" y="1337"/>
                    </a:lnTo>
                    <a:lnTo>
                      <a:pt x="394" y="1338"/>
                    </a:lnTo>
                    <a:lnTo>
                      <a:pt x="396" y="1340"/>
                    </a:lnTo>
                    <a:lnTo>
                      <a:pt x="398" y="1343"/>
                    </a:lnTo>
                    <a:lnTo>
                      <a:pt x="396" y="1345"/>
                    </a:lnTo>
                    <a:lnTo>
                      <a:pt x="391" y="1348"/>
                    </a:lnTo>
                    <a:lnTo>
                      <a:pt x="385" y="1353"/>
                    </a:lnTo>
                    <a:lnTo>
                      <a:pt x="375" y="1362"/>
                    </a:lnTo>
                    <a:lnTo>
                      <a:pt x="366" y="1372"/>
                    </a:lnTo>
                    <a:lnTo>
                      <a:pt x="356" y="1381"/>
                    </a:lnTo>
                    <a:lnTo>
                      <a:pt x="347" y="1389"/>
                    </a:lnTo>
                    <a:lnTo>
                      <a:pt x="341" y="1397"/>
                    </a:lnTo>
                    <a:lnTo>
                      <a:pt x="334" y="1408"/>
                    </a:lnTo>
                    <a:lnTo>
                      <a:pt x="326" y="1418"/>
                    </a:lnTo>
                    <a:lnTo>
                      <a:pt x="323" y="1424"/>
                    </a:lnTo>
                    <a:lnTo>
                      <a:pt x="318" y="1429"/>
                    </a:lnTo>
                    <a:lnTo>
                      <a:pt x="314" y="1438"/>
                    </a:lnTo>
                    <a:lnTo>
                      <a:pt x="314" y="1443"/>
                    </a:lnTo>
                    <a:lnTo>
                      <a:pt x="311" y="1448"/>
                    </a:lnTo>
                    <a:lnTo>
                      <a:pt x="309" y="1454"/>
                    </a:lnTo>
                    <a:lnTo>
                      <a:pt x="304" y="1464"/>
                    </a:lnTo>
                    <a:lnTo>
                      <a:pt x="303" y="1475"/>
                    </a:lnTo>
                    <a:lnTo>
                      <a:pt x="303" y="1489"/>
                    </a:lnTo>
                    <a:lnTo>
                      <a:pt x="301" y="1489"/>
                    </a:lnTo>
                    <a:lnTo>
                      <a:pt x="303" y="1489"/>
                    </a:lnTo>
                    <a:lnTo>
                      <a:pt x="303" y="1491"/>
                    </a:lnTo>
                    <a:lnTo>
                      <a:pt x="301" y="1492"/>
                    </a:lnTo>
                    <a:lnTo>
                      <a:pt x="299" y="1494"/>
                    </a:lnTo>
                    <a:lnTo>
                      <a:pt x="296" y="1497"/>
                    </a:lnTo>
                    <a:lnTo>
                      <a:pt x="292" y="1502"/>
                    </a:lnTo>
                    <a:lnTo>
                      <a:pt x="285" y="1503"/>
                    </a:lnTo>
                    <a:lnTo>
                      <a:pt x="277" y="1505"/>
                    </a:lnTo>
                    <a:lnTo>
                      <a:pt x="265" y="1506"/>
                    </a:lnTo>
                    <a:lnTo>
                      <a:pt x="254" y="1506"/>
                    </a:lnTo>
                    <a:lnTo>
                      <a:pt x="246" y="1510"/>
                    </a:lnTo>
                    <a:lnTo>
                      <a:pt x="238" y="1516"/>
                    </a:lnTo>
                    <a:lnTo>
                      <a:pt x="231" y="1524"/>
                    </a:lnTo>
                    <a:lnTo>
                      <a:pt x="223" y="1530"/>
                    </a:lnTo>
                    <a:lnTo>
                      <a:pt x="219" y="1538"/>
                    </a:lnTo>
                    <a:lnTo>
                      <a:pt x="214" y="1544"/>
                    </a:lnTo>
                    <a:lnTo>
                      <a:pt x="208" y="1556"/>
                    </a:lnTo>
                    <a:lnTo>
                      <a:pt x="201" y="1565"/>
                    </a:lnTo>
                    <a:lnTo>
                      <a:pt x="195" y="1575"/>
                    </a:lnTo>
                    <a:lnTo>
                      <a:pt x="187" y="1582"/>
                    </a:lnTo>
                    <a:lnTo>
                      <a:pt x="179" y="1590"/>
                    </a:lnTo>
                    <a:lnTo>
                      <a:pt x="174" y="1595"/>
                    </a:lnTo>
                    <a:lnTo>
                      <a:pt x="171" y="1598"/>
                    </a:lnTo>
                    <a:lnTo>
                      <a:pt x="171" y="1603"/>
                    </a:lnTo>
                    <a:lnTo>
                      <a:pt x="171" y="1609"/>
                    </a:lnTo>
                    <a:lnTo>
                      <a:pt x="171" y="1616"/>
                    </a:lnTo>
                    <a:lnTo>
                      <a:pt x="170" y="1620"/>
                    </a:lnTo>
                    <a:lnTo>
                      <a:pt x="165" y="1624"/>
                    </a:lnTo>
                    <a:lnTo>
                      <a:pt x="160" y="1625"/>
                    </a:lnTo>
                    <a:lnTo>
                      <a:pt x="158" y="1625"/>
                    </a:lnTo>
                    <a:lnTo>
                      <a:pt x="155" y="1627"/>
                    </a:lnTo>
                    <a:lnTo>
                      <a:pt x="151" y="1628"/>
                    </a:lnTo>
                    <a:lnTo>
                      <a:pt x="149" y="1630"/>
                    </a:lnTo>
                    <a:lnTo>
                      <a:pt x="147" y="1633"/>
                    </a:lnTo>
                    <a:lnTo>
                      <a:pt x="147" y="1635"/>
                    </a:lnTo>
                    <a:lnTo>
                      <a:pt x="144" y="1639"/>
                    </a:lnTo>
                    <a:lnTo>
                      <a:pt x="141" y="1643"/>
                    </a:lnTo>
                    <a:lnTo>
                      <a:pt x="135" y="1651"/>
                    </a:lnTo>
                    <a:lnTo>
                      <a:pt x="130" y="1655"/>
                    </a:lnTo>
                    <a:lnTo>
                      <a:pt x="127" y="1660"/>
                    </a:lnTo>
                    <a:lnTo>
                      <a:pt x="124" y="1663"/>
                    </a:lnTo>
                    <a:lnTo>
                      <a:pt x="120" y="1665"/>
                    </a:lnTo>
                    <a:lnTo>
                      <a:pt x="119" y="1665"/>
                    </a:lnTo>
                    <a:lnTo>
                      <a:pt x="114" y="1666"/>
                    </a:lnTo>
                    <a:lnTo>
                      <a:pt x="111" y="1666"/>
                    </a:lnTo>
                    <a:lnTo>
                      <a:pt x="106" y="1665"/>
                    </a:lnTo>
                    <a:lnTo>
                      <a:pt x="103" y="1662"/>
                    </a:lnTo>
                    <a:lnTo>
                      <a:pt x="103" y="1657"/>
                    </a:lnTo>
                    <a:lnTo>
                      <a:pt x="106" y="1652"/>
                    </a:lnTo>
                    <a:lnTo>
                      <a:pt x="111" y="1647"/>
                    </a:lnTo>
                    <a:lnTo>
                      <a:pt x="111" y="1643"/>
                    </a:lnTo>
                    <a:lnTo>
                      <a:pt x="113" y="1636"/>
                    </a:lnTo>
                    <a:lnTo>
                      <a:pt x="114" y="1632"/>
                    </a:lnTo>
                    <a:lnTo>
                      <a:pt x="114" y="1625"/>
                    </a:lnTo>
                    <a:lnTo>
                      <a:pt x="109" y="1620"/>
                    </a:lnTo>
                    <a:lnTo>
                      <a:pt x="106" y="1619"/>
                    </a:lnTo>
                    <a:lnTo>
                      <a:pt x="100" y="1617"/>
                    </a:lnTo>
                    <a:lnTo>
                      <a:pt x="90" y="1619"/>
                    </a:lnTo>
                    <a:lnTo>
                      <a:pt x="84" y="1619"/>
                    </a:lnTo>
                    <a:lnTo>
                      <a:pt x="86" y="1616"/>
                    </a:lnTo>
                    <a:lnTo>
                      <a:pt x="86" y="1611"/>
                    </a:lnTo>
                    <a:lnTo>
                      <a:pt x="82" y="1606"/>
                    </a:lnTo>
                    <a:lnTo>
                      <a:pt x="79" y="1603"/>
                    </a:lnTo>
                    <a:lnTo>
                      <a:pt x="76" y="1600"/>
                    </a:lnTo>
                    <a:lnTo>
                      <a:pt x="75" y="1590"/>
                    </a:lnTo>
                    <a:lnTo>
                      <a:pt x="73" y="1584"/>
                    </a:lnTo>
                    <a:lnTo>
                      <a:pt x="73" y="1582"/>
                    </a:lnTo>
                    <a:lnTo>
                      <a:pt x="73" y="1581"/>
                    </a:lnTo>
                    <a:lnTo>
                      <a:pt x="70" y="1579"/>
                    </a:lnTo>
                    <a:lnTo>
                      <a:pt x="63" y="1578"/>
                    </a:lnTo>
                    <a:lnTo>
                      <a:pt x="60" y="1578"/>
                    </a:lnTo>
                    <a:lnTo>
                      <a:pt x="55" y="1579"/>
                    </a:lnTo>
                    <a:lnTo>
                      <a:pt x="52" y="1579"/>
                    </a:lnTo>
                    <a:lnTo>
                      <a:pt x="51" y="1579"/>
                    </a:lnTo>
                    <a:lnTo>
                      <a:pt x="49" y="1579"/>
                    </a:lnTo>
                    <a:lnTo>
                      <a:pt x="46" y="1579"/>
                    </a:lnTo>
                    <a:lnTo>
                      <a:pt x="44" y="1579"/>
                    </a:lnTo>
                    <a:lnTo>
                      <a:pt x="44" y="1578"/>
                    </a:lnTo>
                    <a:lnTo>
                      <a:pt x="44" y="1576"/>
                    </a:lnTo>
                    <a:lnTo>
                      <a:pt x="46" y="1576"/>
                    </a:lnTo>
                    <a:lnTo>
                      <a:pt x="46" y="1573"/>
                    </a:lnTo>
                    <a:lnTo>
                      <a:pt x="48" y="1570"/>
                    </a:lnTo>
                    <a:lnTo>
                      <a:pt x="49" y="1570"/>
                    </a:lnTo>
                    <a:lnTo>
                      <a:pt x="51" y="1568"/>
                    </a:lnTo>
                    <a:lnTo>
                      <a:pt x="54" y="1565"/>
                    </a:lnTo>
                    <a:lnTo>
                      <a:pt x="55" y="1563"/>
                    </a:lnTo>
                    <a:lnTo>
                      <a:pt x="59" y="1560"/>
                    </a:lnTo>
                    <a:lnTo>
                      <a:pt x="60" y="1557"/>
                    </a:lnTo>
                    <a:lnTo>
                      <a:pt x="60" y="1556"/>
                    </a:lnTo>
                    <a:lnTo>
                      <a:pt x="62" y="1554"/>
                    </a:lnTo>
                    <a:lnTo>
                      <a:pt x="62" y="1551"/>
                    </a:lnTo>
                    <a:lnTo>
                      <a:pt x="63" y="1548"/>
                    </a:lnTo>
                    <a:lnTo>
                      <a:pt x="65" y="1544"/>
                    </a:lnTo>
                    <a:lnTo>
                      <a:pt x="67" y="1543"/>
                    </a:lnTo>
                    <a:lnTo>
                      <a:pt x="67" y="1541"/>
                    </a:lnTo>
                    <a:lnTo>
                      <a:pt x="67" y="1538"/>
                    </a:lnTo>
                    <a:lnTo>
                      <a:pt x="67" y="1535"/>
                    </a:lnTo>
                    <a:lnTo>
                      <a:pt x="68" y="1533"/>
                    </a:lnTo>
                    <a:lnTo>
                      <a:pt x="68" y="1530"/>
                    </a:lnTo>
                    <a:lnTo>
                      <a:pt x="68" y="1529"/>
                    </a:lnTo>
                    <a:lnTo>
                      <a:pt x="68" y="1527"/>
                    </a:lnTo>
                    <a:lnTo>
                      <a:pt x="67" y="1527"/>
                    </a:lnTo>
                    <a:lnTo>
                      <a:pt x="65" y="1525"/>
                    </a:lnTo>
                    <a:lnTo>
                      <a:pt x="63" y="1524"/>
                    </a:lnTo>
                    <a:lnTo>
                      <a:pt x="60" y="1521"/>
                    </a:lnTo>
                    <a:lnTo>
                      <a:pt x="59" y="1521"/>
                    </a:lnTo>
                    <a:lnTo>
                      <a:pt x="57" y="1519"/>
                    </a:lnTo>
                    <a:lnTo>
                      <a:pt x="54" y="1517"/>
                    </a:lnTo>
                    <a:lnTo>
                      <a:pt x="51" y="1516"/>
                    </a:lnTo>
                    <a:lnTo>
                      <a:pt x="49" y="1514"/>
                    </a:lnTo>
                    <a:lnTo>
                      <a:pt x="44" y="1514"/>
                    </a:lnTo>
                    <a:lnTo>
                      <a:pt x="43" y="1514"/>
                    </a:lnTo>
                    <a:lnTo>
                      <a:pt x="41" y="1514"/>
                    </a:lnTo>
                    <a:lnTo>
                      <a:pt x="40" y="1514"/>
                    </a:lnTo>
                    <a:lnTo>
                      <a:pt x="40" y="1513"/>
                    </a:lnTo>
                    <a:lnTo>
                      <a:pt x="40" y="1511"/>
                    </a:lnTo>
                    <a:lnTo>
                      <a:pt x="38" y="1508"/>
                    </a:lnTo>
                    <a:lnTo>
                      <a:pt x="38" y="1506"/>
                    </a:lnTo>
                    <a:lnTo>
                      <a:pt x="40" y="1505"/>
                    </a:lnTo>
                    <a:lnTo>
                      <a:pt x="41" y="1503"/>
                    </a:lnTo>
                    <a:lnTo>
                      <a:pt x="44" y="1502"/>
                    </a:lnTo>
                    <a:lnTo>
                      <a:pt x="48" y="1498"/>
                    </a:lnTo>
                    <a:lnTo>
                      <a:pt x="49" y="1497"/>
                    </a:lnTo>
                    <a:lnTo>
                      <a:pt x="51" y="1495"/>
                    </a:lnTo>
                    <a:lnTo>
                      <a:pt x="52" y="1495"/>
                    </a:lnTo>
                    <a:lnTo>
                      <a:pt x="57" y="1492"/>
                    </a:lnTo>
                    <a:lnTo>
                      <a:pt x="59" y="1491"/>
                    </a:lnTo>
                    <a:lnTo>
                      <a:pt x="60" y="1489"/>
                    </a:lnTo>
                    <a:lnTo>
                      <a:pt x="62" y="1487"/>
                    </a:lnTo>
                    <a:lnTo>
                      <a:pt x="63" y="1484"/>
                    </a:lnTo>
                    <a:lnTo>
                      <a:pt x="65" y="1481"/>
                    </a:lnTo>
                    <a:lnTo>
                      <a:pt x="67" y="1478"/>
                    </a:lnTo>
                    <a:lnTo>
                      <a:pt x="67" y="1476"/>
                    </a:lnTo>
                    <a:lnTo>
                      <a:pt x="67" y="1472"/>
                    </a:lnTo>
                    <a:lnTo>
                      <a:pt x="67" y="1468"/>
                    </a:lnTo>
                    <a:lnTo>
                      <a:pt x="67" y="1465"/>
                    </a:lnTo>
                    <a:lnTo>
                      <a:pt x="68" y="1460"/>
                    </a:lnTo>
                    <a:lnTo>
                      <a:pt x="68" y="1459"/>
                    </a:lnTo>
                    <a:lnTo>
                      <a:pt x="67" y="1456"/>
                    </a:lnTo>
                    <a:lnTo>
                      <a:pt x="67" y="1454"/>
                    </a:lnTo>
                    <a:lnTo>
                      <a:pt x="67" y="1453"/>
                    </a:lnTo>
                    <a:lnTo>
                      <a:pt x="67" y="1449"/>
                    </a:lnTo>
                    <a:lnTo>
                      <a:pt x="67" y="1448"/>
                    </a:lnTo>
                    <a:lnTo>
                      <a:pt x="68" y="1446"/>
                    </a:lnTo>
                    <a:lnTo>
                      <a:pt x="68" y="1443"/>
                    </a:lnTo>
                    <a:lnTo>
                      <a:pt x="67" y="1441"/>
                    </a:lnTo>
                    <a:lnTo>
                      <a:pt x="67" y="1437"/>
                    </a:lnTo>
                    <a:lnTo>
                      <a:pt x="65" y="1434"/>
                    </a:lnTo>
                    <a:lnTo>
                      <a:pt x="63" y="1430"/>
                    </a:lnTo>
                    <a:lnTo>
                      <a:pt x="62" y="1427"/>
                    </a:lnTo>
                    <a:lnTo>
                      <a:pt x="60" y="1426"/>
                    </a:lnTo>
                    <a:lnTo>
                      <a:pt x="60" y="1422"/>
                    </a:lnTo>
                    <a:lnTo>
                      <a:pt x="59" y="1421"/>
                    </a:lnTo>
                    <a:lnTo>
                      <a:pt x="57" y="1418"/>
                    </a:lnTo>
                    <a:lnTo>
                      <a:pt x="57" y="1414"/>
                    </a:lnTo>
                    <a:lnTo>
                      <a:pt x="55" y="1411"/>
                    </a:lnTo>
                    <a:lnTo>
                      <a:pt x="55" y="1410"/>
                    </a:lnTo>
                    <a:lnTo>
                      <a:pt x="54" y="1405"/>
                    </a:lnTo>
                    <a:lnTo>
                      <a:pt x="55" y="1403"/>
                    </a:lnTo>
                    <a:lnTo>
                      <a:pt x="55" y="1402"/>
                    </a:lnTo>
                    <a:lnTo>
                      <a:pt x="57" y="1402"/>
                    </a:lnTo>
                    <a:lnTo>
                      <a:pt x="57" y="1400"/>
                    </a:lnTo>
                    <a:lnTo>
                      <a:pt x="59" y="1400"/>
                    </a:lnTo>
                    <a:lnTo>
                      <a:pt x="60" y="1400"/>
                    </a:lnTo>
                    <a:lnTo>
                      <a:pt x="60" y="1399"/>
                    </a:lnTo>
                    <a:lnTo>
                      <a:pt x="62" y="1399"/>
                    </a:lnTo>
                    <a:lnTo>
                      <a:pt x="63" y="1400"/>
                    </a:lnTo>
                    <a:lnTo>
                      <a:pt x="65" y="1400"/>
                    </a:lnTo>
                    <a:lnTo>
                      <a:pt x="68" y="1400"/>
                    </a:lnTo>
                    <a:lnTo>
                      <a:pt x="70" y="1402"/>
                    </a:lnTo>
                    <a:lnTo>
                      <a:pt x="73" y="1403"/>
                    </a:lnTo>
                    <a:lnTo>
                      <a:pt x="76" y="1403"/>
                    </a:lnTo>
                    <a:lnTo>
                      <a:pt x="78" y="1403"/>
                    </a:lnTo>
                    <a:lnTo>
                      <a:pt x="79" y="1405"/>
                    </a:lnTo>
                    <a:lnTo>
                      <a:pt x="82" y="1405"/>
                    </a:lnTo>
                    <a:lnTo>
                      <a:pt x="84" y="1405"/>
                    </a:lnTo>
                    <a:lnTo>
                      <a:pt x="86" y="1407"/>
                    </a:lnTo>
                    <a:lnTo>
                      <a:pt x="87" y="1407"/>
                    </a:lnTo>
                    <a:lnTo>
                      <a:pt x="89" y="1407"/>
                    </a:lnTo>
                    <a:lnTo>
                      <a:pt x="90" y="1407"/>
                    </a:lnTo>
                    <a:lnTo>
                      <a:pt x="92" y="1407"/>
                    </a:lnTo>
                    <a:lnTo>
                      <a:pt x="94" y="1407"/>
                    </a:lnTo>
                    <a:lnTo>
                      <a:pt x="95" y="1408"/>
                    </a:lnTo>
                    <a:lnTo>
                      <a:pt x="97" y="1408"/>
                    </a:lnTo>
                    <a:lnTo>
                      <a:pt x="98" y="1408"/>
                    </a:lnTo>
                    <a:lnTo>
                      <a:pt x="100" y="1408"/>
                    </a:lnTo>
                    <a:lnTo>
                      <a:pt x="101" y="1408"/>
                    </a:lnTo>
                    <a:lnTo>
                      <a:pt x="103" y="1408"/>
                    </a:lnTo>
                    <a:lnTo>
                      <a:pt x="105" y="1408"/>
                    </a:lnTo>
                    <a:lnTo>
                      <a:pt x="106" y="1408"/>
                    </a:lnTo>
                    <a:lnTo>
                      <a:pt x="108" y="1408"/>
                    </a:lnTo>
                    <a:lnTo>
                      <a:pt x="108" y="1407"/>
                    </a:lnTo>
                    <a:lnTo>
                      <a:pt x="108" y="1405"/>
                    </a:lnTo>
                    <a:lnTo>
                      <a:pt x="108" y="1403"/>
                    </a:lnTo>
                    <a:lnTo>
                      <a:pt x="108" y="1402"/>
                    </a:lnTo>
                    <a:lnTo>
                      <a:pt x="108" y="1400"/>
                    </a:lnTo>
                    <a:lnTo>
                      <a:pt x="106" y="1397"/>
                    </a:lnTo>
                    <a:lnTo>
                      <a:pt x="105" y="1395"/>
                    </a:lnTo>
                    <a:lnTo>
                      <a:pt x="105" y="1392"/>
                    </a:lnTo>
                    <a:lnTo>
                      <a:pt x="103" y="1389"/>
                    </a:lnTo>
                    <a:lnTo>
                      <a:pt x="101" y="1388"/>
                    </a:lnTo>
                    <a:lnTo>
                      <a:pt x="103" y="1386"/>
                    </a:lnTo>
                    <a:lnTo>
                      <a:pt x="105" y="1384"/>
                    </a:lnTo>
                    <a:lnTo>
                      <a:pt x="106" y="1383"/>
                    </a:lnTo>
                    <a:lnTo>
                      <a:pt x="108" y="1381"/>
                    </a:lnTo>
                    <a:lnTo>
                      <a:pt x="109" y="1380"/>
                    </a:lnTo>
                    <a:lnTo>
                      <a:pt x="111" y="1376"/>
                    </a:lnTo>
                    <a:lnTo>
                      <a:pt x="111" y="1375"/>
                    </a:lnTo>
                    <a:lnTo>
                      <a:pt x="113" y="1373"/>
                    </a:lnTo>
                    <a:lnTo>
                      <a:pt x="116" y="1370"/>
                    </a:lnTo>
                    <a:lnTo>
                      <a:pt x="117" y="1369"/>
                    </a:lnTo>
                    <a:lnTo>
                      <a:pt x="117" y="1367"/>
                    </a:lnTo>
                    <a:lnTo>
                      <a:pt x="117" y="1365"/>
                    </a:lnTo>
                    <a:lnTo>
                      <a:pt x="117" y="1364"/>
                    </a:lnTo>
                    <a:lnTo>
                      <a:pt x="119" y="1362"/>
                    </a:lnTo>
                    <a:lnTo>
                      <a:pt x="120" y="1361"/>
                    </a:lnTo>
                    <a:lnTo>
                      <a:pt x="122" y="1357"/>
                    </a:lnTo>
                    <a:lnTo>
                      <a:pt x="124" y="1357"/>
                    </a:lnTo>
                    <a:lnTo>
                      <a:pt x="124" y="1354"/>
                    </a:lnTo>
                    <a:lnTo>
                      <a:pt x="124" y="1350"/>
                    </a:lnTo>
                    <a:lnTo>
                      <a:pt x="125" y="1345"/>
                    </a:lnTo>
                    <a:lnTo>
                      <a:pt x="125" y="1340"/>
                    </a:lnTo>
                    <a:lnTo>
                      <a:pt x="125" y="1337"/>
                    </a:lnTo>
                    <a:lnTo>
                      <a:pt x="124" y="1335"/>
                    </a:lnTo>
                    <a:lnTo>
                      <a:pt x="124" y="1334"/>
                    </a:lnTo>
                    <a:lnTo>
                      <a:pt x="122" y="1334"/>
                    </a:lnTo>
                    <a:lnTo>
                      <a:pt x="119" y="1332"/>
                    </a:lnTo>
                    <a:lnTo>
                      <a:pt x="116" y="1331"/>
                    </a:lnTo>
                    <a:lnTo>
                      <a:pt x="113" y="1327"/>
                    </a:lnTo>
                    <a:lnTo>
                      <a:pt x="111" y="1327"/>
                    </a:lnTo>
                    <a:lnTo>
                      <a:pt x="108" y="1326"/>
                    </a:lnTo>
                    <a:lnTo>
                      <a:pt x="106" y="1326"/>
                    </a:lnTo>
                    <a:lnTo>
                      <a:pt x="105" y="1324"/>
                    </a:lnTo>
                    <a:lnTo>
                      <a:pt x="103" y="1323"/>
                    </a:lnTo>
                    <a:lnTo>
                      <a:pt x="100" y="1321"/>
                    </a:lnTo>
                    <a:lnTo>
                      <a:pt x="98" y="1318"/>
                    </a:lnTo>
                    <a:lnTo>
                      <a:pt x="97" y="1318"/>
                    </a:lnTo>
                    <a:lnTo>
                      <a:pt x="97" y="1315"/>
                    </a:lnTo>
                    <a:lnTo>
                      <a:pt x="95" y="1312"/>
                    </a:lnTo>
                    <a:lnTo>
                      <a:pt x="97" y="1310"/>
                    </a:lnTo>
                    <a:lnTo>
                      <a:pt x="97" y="1308"/>
                    </a:lnTo>
                    <a:lnTo>
                      <a:pt x="98" y="1307"/>
                    </a:lnTo>
                    <a:lnTo>
                      <a:pt x="98" y="1302"/>
                    </a:lnTo>
                    <a:lnTo>
                      <a:pt x="100" y="1300"/>
                    </a:lnTo>
                    <a:lnTo>
                      <a:pt x="101" y="1300"/>
                    </a:lnTo>
                    <a:lnTo>
                      <a:pt x="103" y="1299"/>
                    </a:lnTo>
                    <a:lnTo>
                      <a:pt x="106" y="1299"/>
                    </a:lnTo>
                    <a:lnTo>
                      <a:pt x="106" y="1297"/>
                    </a:lnTo>
                    <a:lnTo>
                      <a:pt x="108" y="1297"/>
                    </a:lnTo>
                    <a:lnTo>
                      <a:pt x="109" y="1297"/>
                    </a:lnTo>
                    <a:lnTo>
                      <a:pt x="111" y="1297"/>
                    </a:lnTo>
                    <a:lnTo>
                      <a:pt x="113" y="1296"/>
                    </a:lnTo>
                    <a:lnTo>
                      <a:pt x="114" y="1296"/>
                    </a:lnTo>
                    <a:lnTo>
                      <a:pt x="116" y="1296"/>
                    </a:lnTo>
                    <a:lnTo>
                      <a:pt x="117" y="1296"/>
                    </a:lnTo>
                    <a:lnTo>
                      <a:pt x="120" y="1297"/>
                    </a:lnTo>
                    <a:lnTo>
                      <a:pt x="124" y="1297"/>
                    </a:lnTo>
                    <a:lnTo>
                      <a:pt x="125" y="1299"/>
                    </a:lnTo>
                    <a:lnTo>
                      <a:pt x="128" y="1299"/>
                    </a:lnTo>
                    <a:lnTo>
                      <a:pt x="130" y="1299"/>
                    </a:lnTo>
                    <a:lnTo>
                      <a:pt x="132" y="1300"/>
                    </a:lnTo>
                    <a:lnTo>
                      <a:pt x="133" y="1300"/>
                    </a:lnTo>
                    <a:lnTo>
                      <a:pt x="135" y="1300"/>
                    </a:lnTo>
                    <a:lnTo>
                      <a:pt x="136" y="1300"/>
                    </a:lnTo>
                    <a:lnTo>
                      <a:pt x="138" y="1300"/>
                    </a:lnTo>
                    <a:lnTo>
                      <a:pt x="138" y="1299"/>
                    </a:lnTo>
                    <a:lnTo>
                      <a:pt x="139" y="1299"/>
                    </a:lnTo>
                    <a:lnTo>
                      <a:pt x="139" y="1297"/>
                    </a:lnTo>
                    <a:lnTo>
                      <a:pt x="139" y="1296"/>
                    </a:lnTo>
                    <a:lnTo>
                      <a:pt x="139" y="1294"/>
                    </a:lnTo>
                    <a:lnTo>
                      <a:pt x="138" y="1292"/>
                    </a:lnTo>
                    <a:lnTo>
                      <a:pt x="138" y="1291"/>
                    </a:lnTo>
                    <a:lnTo>
                      <a:pt x="138" y="1289"/>
                    </a:lnTo>
                    <a:lnTo>
                      <a:pt x="136" y="1288"/>
                    </a:lnTo>
                    <a:lnTo>
                      <a:pt x="136" y="1286"/>
                    </a:lnTo>
                    <a:lnTo>
                      <a:pt x="136" y="1285"/>
                    </a:lnTo>
                    <a:lnTo>
                      <a:pt x="135" y="1285"/>
                    </a:lnTo>
                    <a:lnTo>
                      <a:pt x="135" y="1283"/>
                    </a:lnTo>
                    <a:lnTo>
                      <a:pt x="136" y="1280"/>
                    </a:lnTo>
                    <a:lnTo>
                      <a:pt x="136" y="1277"/>
                    </a:lnTo>
                    <a:lnTo>
                      <a:pt x="136" y="1275"/>
                    </a:lnTo>
                    <a:lnTo>
                      <a:pt x="135" y="1272"/>
                    </a:lnTo>
                    <a:lnTo>
                      <a:pt x="133" y="1269"/>
                    </a:lnTo>
                    <a:lnTo>
                      <a:pt x="135" y="1264"/>
                    </a:lnTo>
                    <a:lnTo>
                      <a:pt x="136" y="1261"/>
                    </a:lnTo>
                    <a:lnTo>
                      <a:pt x="138" y="1259"/>
                    </a:lnTo>
                    <a:lnTo>
                      <a:pt x="139" y="1254"/>
                    </a:lnTo>
                    <a:lnTo>
                      <a:pt x="141" y="1251"/>
                    </a:lnTo>
                    <a:lnTo>
                      <a:pt x="141" y="1248"/>
                    </a:lnTo>
                    <a:lnTo>
                      <a:pt x="141" y="1247"/>
                    </a:lnTo>
                    <a:lnTo>
                      <a:pt x="143" y="1242"/>
                    </a:lnTo>
                    <a:lnTo>
                      <a:pt x="143" y="1240"/>
                    </a:lnTo>
                    <a:lnTo>
                      <a:pt x="143" y="1237"/>
                    </a:lnTo>
                    <a:lnTo>
                      <a:pt x="143" y="1231"/>
                    </a:lnTo>
                    <a:lnTo>
                      <a:pt x="143" y="1228"/>
                    </a:lnTo>
                    <a:lnTo>
                      <a:pt x="143" y="1226"/>
                    </a:lnTo>
                    <a:lnTo>
                      <a:pt x="144" y="1224"/>
                    </a:lnTo>
                    <a:lnTo>
                      <a:pt x="144" y="1221"/>
                    </a:lnTo>
                    <a:lnTo>
                      <a:pt x="144" y="1220"/>
                    </a:lnTo>
                    <a:lnTo>
                      <a:pt x="144" y="1216"/>
                    </a:lnTo>
                    <a:lnTo>
                      <a:pt x="144" y="1215"/>
                    </a:lnTo>
                    <a:lnTo>
                      <a:pt x="144" y="1213"/>
                    </a:lnTo>
                    <a:lnTo>
                      <a:pt x="144" y="1212"/>
                    </a:lnTo>
                    <a:lnTo>
                      <a:pt x="146" y="1210"/>
                    </a:lnTo>
                    <a:lnTo>
                      <a:pt x="146" y="1209"/>
                    </a:lnTo>
                    <a:lnTo>
                      <a:pt x="146" y="1207"/>
                    </a:lnTo>
                    <a:lnTo>
                      <a:pt x="146" y="1204"/>
                    </a:lnTo>
                    <a:lnTo>
                      <a:pt x="146" y="1202"/>
                    </a:lnTo>
                    <a:lnTo>
                      <a:pt x="146" y="1201"/>
                    </a:lnTo>
                    <a:lnTo>
                      <a:pt x="146" y="1199"/>
                    </a:lnTo>
                    <a:lnTo>
                      <a:pt x="147" y="1199"/>
                    </a:lnTo>
                    <a:lnTo>
                      <a:pt x="151" y="1199"/>
                    </a:lnTo>
                    <a:lnTo>
                      <a:pt x="152" y="1197"/>
                    </a:lnTo>
                    <a:lnTo>
                      <a:pt x="152" y="1196"/>
                    </a:lnTo>
                    <a:lnTo>
                      <a:pt x="154" y="1193"/>
                    </a:lnTo>
                    <a:lnTo>
                      <a:pt x="152" y="1188"/>
                    </a:lnTo>
                    <a:lnTo>
                      <a:pt x="151" y="1182"/>
                    </a:lnTo>
                    <a:lnTo>
                      <a:pt x="149" y="1180"/>
                    </a:lnTo>
                    <a:lnTo>
                      <a:pt x="147" y="1175"/>
                    </a:lnTo>
                    <a:lnTo>
                      <a:pt x="146" y="1172"/>
                    </a:lnTo>
                    <a:lnTo>
                      <a:pt x="144" y="1169"/>
                    </a:lnTo>
                    <a:lnTo>
                      <a:pt x="144" y="1164"/>
                    </a:lnTo>
                    <a:lnTo>
                      <a:pt x="143" y="1158"/>
                    </a:lnTo>
                    <a:lnTo>
                      <a:pt x="143" y="1156"/>
                    </a:lnTo>
                    <a:lnTo>
                      <a:pt x="144" y="1147"/>
                    </a:lnTo>
                    <a:lnTo>
                      <a:pt x="146" y="1142"/>
                    </a:lnTo>
                    <a:lnTo>
                      <a:pt x="147" y="1136"/>
                    </a:lnTo>
                    <a:lnTo>
                      <a:pt x="147" y="1134"/>
                    </a:lnTo>
                    <a:lnTo>
                      <a:pt x="143" y="1129"/>
                    </a:lnTo>
                    <a:lnTo>
                      <a:pt x="141" y="1126"/>
                    </a:lnTo>
                    <a:lnTo>
                      <a:pt x="139" y="1125"/>
                    </a:lnTo>
                    <a:lnTo>
                      <a:pt x="138" y="1123"/>
                    </a:lnTo>
                    <a:lnTo>
                      <a:pt x="136" y="1120"/>
                    </a:lnTo>
                    <a:lnTo>
                      <a:pt x="135" y="1117"/>
                    </a:lnTo>
                    <a:lnTo>
                      <a:pt x="133" y="1115"/>
                    </a:lnTo>
                    <a:lnTo>
                      <a:pt x="132" y="1112"/>
                    </a:lnTo>
                    <a:lnTo>
                      <a:pt x="132" y="1110"/>
                    </a:lnTo>
                    <a:lnTo>
                      <a:pt x="132" y="1109"/>
                    </a:lnTo>
                    <a:lnTo>
                      <a:pt x="132" y="1107"/>
                    </a:lnTo>
                    <a:lnTo>
                      <a:pt x="132" y="1106"/>
                    </a:lnTo>
                    <a:lnTo>
                      <a:pt x="133" y="1104"/>
                    </a:lnTo>
                    <a:lnTo>
                      <a:pt x="133" y="1101"/>
                    </a:lnTo>
                    <a:lnTo>
                      <a:pt x="135" y="1101"/>
                    </a:lnTo>
                    <a:lnTo>
                      <a:pt x="136" y="1099"/>
                    </a:lnTo>
                    <a:lnTo>
                      <a:pt x="138" y="1096"/>
                    </a:lnTo>
                    <a:lnTo>
                      <a:pt x="139" y="1093"/>
                    </a:lnTo>
                    <a:lnTo>
                      <a:pt x="143" y="1087"/>
                    </a:lnTo>
                    <a:lnTo>
                      <a:pt x="144" y="1083"/>
                    </a:lnTo>
                    <a:lnTo>
                      <a:pt x="146" y="1080"/>
                    </a:lnTo>
                    <a:lnTo>
                      <a:pt x="147" y="1077"/>
                    </a:lnTo>
                    <a:lnTo>
                      <a:pt x="147" y="1075"/>
                    </a:lnTo>
                    <a:lnTo>
                      <a:pt x="147" y="1074"/>
                    </a:lnTo>
                    <a:lnTo>
                      <a:pt x="147" y="1072"/>
                    </a:lnTo>
                    <a:lnTo>
                      <a:pt x="147" y="1071"/>
                    </a:lnTo>
                    <a:lnTo>
                      <a:pt x="147" y="1067"/>
                    </a:lnTo>
                    <a:lnTo>
                      <a:pt x="146" y="1066"/>
                    </a:lnTo>
                    <a:lnTo>
                      <a:pt x="144" y="1063"/>
                    </a:lnTo>
                    <a:lnTo>
                      <a:pt x="144" y="1061"/>
                    </a:lnTo>
                    <a:lnTo>
                      <a:pt x="143" y="1061"/>
                    </a:lnTo>
                    <a:lnTo>
                      <a:pt x="141" y="1061"/>
                    </a:lnTo>
                    <a:lnTo>
                      <a:pt x="139" y="1061"/>
                    </a:lnTo>
                    <a:lnTo>
                      <a:pt x="138" y="1060"/>
                    </a:lnTo>
                    <a:lnTo>
                      <a:pt x="136" y="1056"/>
                    </a:lnTo>
                    <a:lnTo>
                      <a:pt x="136" y="1055"/>
                    </a:lnTo>
                    <a:lnTo>
                      <a:pt x="136" y="1053"/>
                    </a:lnTo>
                    <a:lnTo>
                      <a:pt x="139" y="1052"/>
                    </a:lnTo>
                    <a:lnTo>
                      <a:pt x="141" y="1052"/>
                    </a:lnTo>
                    <a:lnTo>
                      <a:pt x="141" y="1050"/>
                    </a:lnTo>
                    <a:lnTo>
                      <a:pt x="144" y="1047"/>
                    </a:lnTo>
                    <a:lnTo>
                      <a:pt x="146" y="1041"/>
                    </a:lnTo>
                    <a:lnTo>
                      <a:pt x="147" y="1037"/>
                    </a:lnTo>
                    <a:lnTo>
                      <a:pt x="149" y="1034"/>
                    </a:lnTo>
                    <a:lnTo>
                      <a:pt x="152" y="1033"/>
                    </a:lnTo>
                    <a:lnTo>
                      <a:pt x="154" y="1029"/>
                    </a:lnTo>
                    <a:lnTo>
                      <a:pt x="154" y="1028"/>
                    </a:lnTo>
                    <a:lnTo>
                      <a:pt x="155" y="1025"/>
                    </a:lnTo>
                    <a:lnTo>
                      <a:pt x="157" y="1022"/>
                    </a:lnTo>
                    <a:lnTo>
                      <a:pt x="157" y="1018"/>
                    </a:lnTo>
                    <a:lnTo>
                      <a:pt x="157" y="1012"/>
                    </a:lnTo>
                    <a:lnTo>
                      <a:pt x="157" y="1010"/>
                    </a:lnTo>
                    <a:lnTo>
                      <a:pt x="155" y="1007"/>
                    </a:lnTo>
                    <a:lnTo>
                      <a:pt x="155" y="1003"/>
                    </a:lnTo>
                    <a:lnTo>
                      <a:pt x="155" y="1001"/>
                    </a:lnTo>
                    <a:lnTo>
                      <a:pt x="155" y="998"/>
                    </a:lnTo>
                    <a:lnTo>
                      <a:pt x="155" y="995"/>
                    </a:lnTo>
                    <a:lnTo>
                      <a:pt x="154" y="993"/>
                    </a:lnTo>
                    <a:lnTo>
                      <a:pt x="154" y="990"/>
                    </a:lnTo>
                    <a:lnTo>
                      <a:pt x="154" y="987"/>
                    </a:lnTo>
                    <a:lnTo>
                      <a:pt x="154" y="985"/>
                    </a:lnTo>
                    <a:lnTo>
                      <a:pt x="152" y="982"/>
                    </a:lnTo>
                    <a:lnTo>
                      <a:pt x="152" y="979"/>
                    </a:lnTo>
                    <a:lnTo>
                      <a:pt x="152" y="977"/>
                    </a:lnTo>
                    <a:lnTo>
                      <a:pt x="151" y="976"/>
                    </a:lnTo>
                    <a:lnTo>
                      <a:pt x="149" y="972"/>
                    </a:lnTo>
                    <a:lnTo>
                      <a:pt x="147" y="971"/>
                    </a:lnTo>
                    <a:lnTo>
                      <a:pt x="146" y="968"/>
                    </a:lnTo>
                    <a:lnTo>
                      <a:pt x="143" y="961"/>
                    </a:lnTo>
                    <a:lnTo>
                      <a:pt x="141" y="958"/>
                    </a:lnTo>
                    <a:lnTo>
                      <a:pt x="139" y="955"/>
                    </a:lnTo>
                    <a:lnTo>
                      <a:pt x="138" y="955"/>
                    </a:lnTo>
                    <a:lnTo>
                      <a:pt x="138" y="953"/>
                    </a:lnTo>
                    <a:lnTo>
                      <a:pt x="136" y="950"/>
                    </a:lnTo>
                    <a:lnTo>
                      <a:pt x="135" y="949"/>
                    </a:lnTo>
                    <a:lnTo>
                      <a:pt x="133" y="947"/>
                    </a:lnTo>
                    <a:lnTo>
                      <a:pt x="133" y="945"/>
                    </a:lnTo>
                    <a:lnTo>
                      <a:pt x="133" y="944"/>
                    </a:lnTo>
                    <a:lnTo>
                      <a:pt x="132" y="944"/>
                    </a:lnTo>
                    <a:lnTo>
                      <a:pt x="130" y="944"/>
                    </a:lnTo>
                    <a:lnTo>
                      <a:pt x="128" y="944"/>
                    </a:lnTo>
                    <a:lnTo>
                      <a:pt x="124" y="942"/>
                    </a:lnTo>
                    <a:lnTo>
                      <a:pt x="122" y="942"/>
                    </a:lnTo>
                    <a:lnTo>
                      <a:pt x="120" y="941"/>
                    </a:lnTo>
                    <a:lnTo>
                      <a:pt x="119" y="939"/>
                    </a:lnTo>
                    <a:lnTo>
                      <a:pt x="119" y="938"/>
                    </a:lnTo>
                    <a:lnTo>
                      <a:pt x="119" y="934"/>
                    </a:lnTo>
                    <a:lnTo>
                      <a:pt x="119" y="931"/>
                    </a:lnTo>
                    <a:lnTo>
                      <a:pt x="120" y="928"/>
                    </a:lnTo>
                    <a:lnTo>
                      <a:pt x="120" y="926"/>
                    </a:lnTo>
                    <a:lnTo>
                      <a:pt x="120" y="925"/>
                    </a:lnTo>
                    <a:lnTo>
                      <a:pt x="120" y="923"/>
                    </a:lnTo>
                    <a:lnTo>
                      <a:pt x="120" y="920"/>
                    </a:lnTo>
                    <a:lnTo>
                      <a:pt x="119" y="919"/>
                    </a:lnTo>
                    <a:lnTo>
                      <a:pt x="119" y="915"/>
                    </a:lnTo>
                    <a:lnTo>
                      <a:pt x="119" y="911"/>
                    </a:lnTo>
                    <a:lnTo>
                      <a:pt x="119" y="906"/>
                    </a:lnTo>
                    <a:lnTo>
                      <a:pt x="119" y="904"/>
                    </a:lnTo>
                    <a:lnTo>
                      <a:pt x="119" y="901"/>
                    </a:lnTo>
                    <a:lnTo>
                      <a:pt x="117" y="898"/>
                    </a:lnTo>
                    <a:lnTo>
                      <a:pt x="117" y="896"/>
                    </a:lnTo>
                    <a:lnTo>
                      <a:pt x="116" y="895"/>
                    </a:lnTo>
                    <a:lnTo>
                      <a:pt x="116" y="893"/>
                    </a:lnTo>
                    <a:lnTo>
                      <a:pt x="114" y="892"/>
                    </a:lnTo>
                    <a:lnTo>
                      <a:pt x="113" y="890"/>
                    </a:lnTo>
                    <a:lnTo>
                      <a:pt x="111" y="888"/>
                    </a:lnTo>
                    <a:lnTo>
                      <a:pt x="111" y="887"/>
                    </a:lnTo>
                    <a:lnTo>
                      <a:pt x="109" y="885"/>
                    </a:lnTo>
                    <a:lnTo>
                      <a:pt x="108" y="882"/>
                    </a:lnTo>
                    <a:lnTo>
                      <a:pt x="106" y="881"/>
                    </a:lnTo>
                    <a:lnTo>
                      <a:pt x="106" y="879"/>
                    </a:lnTo>
                    <a:lnTo>
                      <a:pt x="105" y="877"/>
                    </a:lnTo>
                    <a:lnTo>
                      <a:pt x="103" y="876"/>
                    </a:lnTo>
                    <a:lnTo>
                      <a:pt x="103" y="874"/>
                    </a:lnTo>
                    <a:lnTo>
                      <a:pt x="100" y="871"/>
                    </a:lnTo>
                    <a:lnTo>
                      <a:pt x="100" y="869"/>
                    </a:lnTo>
                    <a:lnTo>
                      <a:pt x="98" y="869"/>
                    </a:lnTo>
                    <a:lnTo>
                      <a:pt x="98" y="868"/>
                    </a:lnTo>
                    <a:lnTo>
                      <a:pt x="97" y="863"/>
                    </a:lnTo>
                    <a:lnTo>
                      <a:pt x="97" y="862"/>
                    </a:lnTo>
                    <a:lnTo>
                      <a:pt x="98" y="860"/>
                    </a:lnTo>
                    <a:lnTo>
                      <a:pt x="98" y="858"/>
                    </a:lnTo>
                    <a:lnTo>
                      <a:pt x="100" y="858"/>
                    </a:lnTo>
                    <a:lnTo>
                      <a:pt x="100" y="857"/>
                    </a:lnTo>
                    <a:lnTo>
                      <a:pt x="101" y="857"/>
                    </a:lnTo>
                    <a:lnTo>
                      <a:pt x="100" y="850"/>
                    </a:lnTo>
                    <a:lnTo>
                      <a:pt x="95" y="842"/>
                    </a:lnTo>
                    <a:lnTo>
                      <a:pt x="90" y="842"/>
                    </a:lnTo>
                    <a:lnTo>
                      <a:pt x="86" y="838"/>
                    </a:lnTo>
                    <a:lnTo>
                      <a:pt x="79" y="833"/>
                    </a:lnTo>
                    <a:lnTo>
                      <a:pt x="75" y="827"/>
                    </a:lnTo>
                    <a:lnTo>
                      <a:pt x="71" y="820"/>
                    </a:lnTo>
                    <a:lnTo>
                      <a:pt x="68" y="816"/>
                    </a:lnTo>
                    <a:lnTo>
                      <a:pt x="63" y="811"/>
                    </a:lnTo>
                    <a:lnTo>
                      <a:pt x="62" y="801"/>
                    </a:lnTo>
                    <a:lnTo>
                      <a:pt x="63" y="795"/>
                    </a:lnTo>
                    <a:lnTo>
                      <a:pt x="63" y="785"/>
                    </a:lnTo>
                    <a:lnTo>
                      <a:pt x="63" y="779"/>
                    </a:lnTo>
                    <a:lnTo>
                      <a:pt x="65" y="768"/>
                    </a:lnTo>
                    <a:lnTo>
                      <a:pt x="62" y="768"/>
                    </a:lnTo>
                    <a:lnTo>
                      <a:pt x="59" y="770"/>
                    </a:lnTo>
                    <a:lnTo>
                      <a:pt x="55" y="766"/>
                    </a:lnTo>
                    <a:lnTo>
                      <a:pt x="57" y="765"/>
                    </a:lnTo>
                    <a:lnTo>
                      <a:pt x="57" y="763"/>
                    </a:lnTo>
                    <a:lnTo>
                      <a:pt x="59" y="763"/>
                    </a:lnTo>
                    <a:lnTo>
                      <a:pt x="59" y="762"/>
                    </a:lnTo>
                    <a:lnTo>
                      <a:pt x="59" y="760"/>
                    </a:lnTo>
                    <a:lnTo>
                      <a:pt x="57" y="760"/>
                    </a:lnTo>
                    <a:lnTo>
                      <a:pt x="57" y="759"/>
                    </a:lnTo>
                    <a:lnTo>
                      <a:pt x="55" y="757"/>
                    </a:lnTo>
                    <a:lnTo>
                      <a:pt x="54" y="757"/>
                    </a:lnTo>
                    <a:lnTo>
                      <a:pt x="54" y="755"/>
                    </a:lnTo>
                    <a:lnTo>
                      <a:pt x="52" y="754"/>
                    </a:lnTo>
                    <a:lnTo>
                      <a:pt x="51" y="754"/>
                    </a:lnTo>
                    <a:lnTo>
                      <a:pt x="51" y="752"/>
                    </a:lnTo>
                    <a:lnTo>
                      <a:pt x="51" y="751"/>
                    </a:lnTo>
                    <a:lnTo>
                      <a:pt x="49" y="749"/>
                    </a:lnTo>
                    <a:lnTo>
                      <a:pt x="49" y="747"/>
                    </a:lnTo>
                    <a:lnTo>
                      <a:pt x="49" y="746"/>
                    </a:lnTo>
                    <a:lnTo>
                      <a:pt x="51" y="741"/>
                    </a:lnTo>
                    <a:lnTo>
                      <a:pt x="51" y="740"/>
                    </a:lnTo>
                    <a:lnTo>
                      <a:pt x="49" y="738"/>
                    </a:lnTo>
                    <a:lnTo>
                      <a:pt x="51" y="736"/>
                    </a:lnTo>
                    <a:lnTo>
                      <a:pt x="51" y="735"/>
                    </a:lnTo>
                    <a:lnTo>
                      <a:pt x="49" y="735"/>
                    </a:lnTo>
                    <a:lnTo>
                      <a:pt x="49" y="733"/>
                    </a:lnTo>
                    <a:lnTo>
                      <a:pt x="49" y="730"/>
                    </a:lnTo>
                    <a:lnTo>
                      <a:pt x="49" y="728"/>
                    </a:lnTo>
                    <a:lnTo>
                      <a:pt x="48" y="727"/>
                    </a:lnTo>
                    <a:lnTo>
                      <a:pt x="48" y="725"/>
                    </a:lnTo>
                    <a:lnTo>
                      <a:pt x="46" y="724"/>
                    </a:lnTo>
                    <a:lnTo>
                      <a:pt x="44" y="722"/>
                    </a:lnTo>
                    <a:lnTo>
                      <a:pt x="43" y="719"/>
                    </a:lnTo>
                    <a:lnTo>
                      <a:pt x="41" y="719"/>
                    </a:lnTo>
                    <a:lnTo>
                      <a:pt x="41" y="717"/>
                    </a:lnTo>
                    <a:lnTo>
                      <a:pt x="41" y="716"/>
                    </a:lnTo>
                    <a:lnTo>
                      <a:pt x="40" y="714"/>
                    </a:lnTo>
                    <a:lnTo>
                      <a:pt x="40" y="713"/>
                    </a:lnTo>
                    <a:lnTo>
                      <a:pt x="40" y="709"/>
                    </a:lnTo>
                    <a:lnTo>
                      <a:pt x="41" y="708"/>
                    </a:lnTo>
                    <a:lnTo>
                      <a:pt x="41" y="706"/>
                    </a:lnTo>
                    <a:lnTo>
                      <a:pt x="41" y="705"/>
                    </a:lnTo>
                    <a:lnTo>
                      <a:pt x="41" y="703"/>
                    </a:lnTo>
                    <a:lnTo>
                      <a:pt x="41" y="701"/>
                    </a:lnTo>
                    <a:lnTo>
                      <a:pt x="41" y="700"/>
                    </a:lnTo>
                    <a:lnTo>
                      <a:pt x="40" y="698"/>
                    </a:lnTo>
                    <a:lnTo>
                      <a:pt x="40" y="697"/>
                    </a:lnTo>
                    <a:lnTo>
                      <a:pt x="36" y="695"/>
                    </a:lnTo>
                    <a:lnTo>
                      <a:pt x="36" y="694"/>
                    </a:lnTo>
                    <a:lnTo>
                      <a:pt x="35" y="690"/>
                    </a:lnTo>
                    <a:lnTo>
                      <a:pt x="33" y="689"/>
                    </a:lnTo>
                    <a:lnTo>
                      <a:pt x="33" y="687"/>
                    </a:lnTo>
                    <a:lnTo>
                      <a:pt x="32" y="687"/>
                    </a:lnTo>
                    <a:lnTo>
                      <a:pt x="32" y="684"/>
                    </a:lnTo>
                    <a:lnTo>
                      <a:pt x="30" y="681"/>
                    </a:lnTo>
                    <a:lnTo>
                      <a:pt x="30" y="679"/>
                    </a:lnTo>
                    <a:lnTo>
                      <a:pt x="30" y="678"/>
                    </a:lnTo>
                    <a:lnTo>
                      <a:pt x="30" y="676"/>
                    </a:lnTo>
                    <a:lnTo>
                      <a:pt x="30" y="673"/>
                    </a:lnTo>
                    <a:lnTo>
                      <a:pt x="30" y="671"/>
                    </a:lnTo>
                    <a:lnTo>
                      <a:pt x="29" y="670"/>
                    </a:lnTo>
                    <a:lnTo>
                      <a:pt x="29" y="668"/>
                    </a:lnTo>
                    <a:lnTo>
                      <a:pt x="29" y="667"/>
                    </a:lnTo>
                    <a:lnTo>
                      <a:pt x="30" y="665"/>
                    </a:lnTo>
                    <a:lnTo>
                      <a:pt x="30" y="663"/>
                    </a:lnTo>
                    <a:lnTo>
                      <a:pt x="30" y="662"/>
                    </a:lnTo>
                    <a:lnTo>
                      <a:pt x="32" y="660"/>
                    </a:lnTo>
                    <a:lnTo>
                      <a:pt x="32" y="659"/>
                    </a:lnTo>
                    <a:lnTo>
                      <a:pt x="33" y="657"/>
                    </a:lnTo>
                    <a:lnTo>
                      <a:pt x="35" y="656"/>
                    </a:lnTo>
                    <a:lnTo>
                      <a:pt x="35" y="654"/>
                    </a:lnTo>
                    <a:lnTo>
                      <a:pt x="35" y="652"/>
                    </a:lnTo>
                    <a:lnTo>
                      <a:pt x="36" y="651"/>
                    </a:lnTo>
                    <a:lnTo>
                      <a:pt x="36" y="649"/>
                    </a:lnTo>
                    <a:lnTo>
                      <a:pt x="35" y="649"/>
                    </a:lnTo>
                    <a:lnTo>
                      <a:pt x="41" y="644"/>
                    </a:lnTo>
                    <a:lnTo>
                      <a:pt x="43" y="637"/>
                    </a:lnTo>
                    <a:lnTo>
                      <a:pt x="43" y="619"/>
                    </a:lnTo>
                    <a:lnTo>
                      <a:pt x="43" y="614"/>
                    </a:lnTo>
                    <a:lnTo>
                      <a:pt x="36" y="611"/>
                    </a:lnTo>
                    <a:lnTo>
                      <a:pt x="38" y="598"/>
                    </a:lnTo>
                    <a:lnTo>
                      <a:pt x="40" y="584"/>
                    </a:lnTo>
                    <a:lnTo>
                      <a:pt x="44" y="570"/>
                    </a:lnTo>
                    <a:lnTo>
                      <a:pt x="59" y="557"/>
                    </a:lnTo>
                    <a:lnTo>
                      <a:pt x="63" y="541"/>
                    </a:lnTo>
                    <a:lnTo>
                      <a:pt x="67" y="532"/>
                    </a:lnTo>
                    <a:lnTo>
                      <a:pt x="67" y="526"/>
                    </a:lnTo>
                    <a:lnTo>
                      <a:pt x="67" y="515"/>
                    </a:lnTo>
                    <a:lnTo>
                      <a:pt x="59" y="502"/>
                    </a:lnTo>
                    <a:lnTo>
                      <a:pt x="52" y="495"/>
                    </a:lnTo>
                    <a:lnTo>
                      <a:pt x="38" y="495"/>
                    </a:lnTo>
                    <a:lnTo>
                      <a:pt x="29" y="484"/>
                    </a:lnTo>
                    <a:lnTo>
                      <a:pt x="29" y="483"/>
                    </a:lnTo>
                    <a:lnTo>
                      <a:pt x="30" y="483"/>
                    </a:lnTo>
                    <a:lnTo>
                      <a:pt x="32" y="483"/>
                    </a:lnTo>
                    <a:lnTo>
                      <a:pt x="32" y="481"/>
                    </a:lnTo>
                    <a:lnTo>
                      <a:pt x="33" y="480"/>
                    </a:lnTo>
                    <a:lnTo>
                      <a:pt x="35" y="480"/>
                    </a:lnTo>
                    <a:lnTo>
                      <a:pt x="35" y="478"/>
                    </a:lnTo>
                    <a:lnTo>
                      <a:pt x="35" y="476"/>
                    </a:lnTo>
                    <a:lnTo>
                      <a:pt x="35" y="475"/>
                    </a:lnTo>
                    <a:lnTo>
                      <a:pt x="33" y="475"/>
                    </a:lnTo>
                    <a:lnTo>
                      <a:pt x="32" y="475"/>
                    </a:lnTo>
                    <a:lnTo>
                      <a:pt x="30" y="475"/>
                    </a:lnTo>
                    <a:lnTo>
                      <a:pt x="30" y="473"/>
                    </a:lnTo>
                    <a:lnTo>
                      <a:pt x="29" y="473"/>
                    </a:lnTo>
                    <a:lnTo>
                      <a:pt x="29" y="472"/>
                    </a:lnTo>
                    <a:lnTo>
                      <a:pt x="29" y="470"/>
                    </a:lnTo>
                    <a:lnTo>
                      <a:pt x="29" y="469"/>
                    </a:lnTo>
                    <a:lnTo>
                      <a:pt x="29" y="467"/>
                    </a:lnTo>
                    <a:lnTo>
                      <a:pt x="30" y="467"/>
                    </a:lnTo>
                    <a:lnTo>
                      <a:pt x="32" y="467"/>
                    </a:lnTo>
                    <a:lnTo>
                      <a:pt x="32" y="465"/>
                    </a:lnTo>
                    <a:lnTo>
                      <a:pt x="32" y="464"/>
                    </a:lnTo>
                    <a:lnTo>
                      <a:pt x="33" y="462"/>
                    </a:lnTo>
                    <a:lnTo>
                      <a:pt x="33" y="461"/>
                    </a:lnTo>
                    <a:lnTo>
                      <a:pt x="35" y="459"/>
                    </a:lnTo>
                    <a:lnTo>
                      <a:pt x="33" y="459"/>
                    </a:lnTo>
                    <a:lnTo>
                      <a:pt x="35" y="459"/>
                    </a:lnTo>
                    <a:lnTo>
                      <a:pt x="35" y="457"/>
                    </a:lnTo>
                    <a:lnTo>
                      <a:pt x="33" y="457"/>
                    </a:lnTo>
                    <a:lnTo>
                      <a:pt x="33" y="456"/>
                    </a:lnTo>
                    <a:lnTo>
                      <a:pt x="32" y="456"/>
                    </a:lnTo>
                    <a:lnTo>
                      <a:pt x="32" y="454"/>
                    </a:lnTo>
                    <a:lnTo>
                      <a:pt x="32" y="453"/>
                    </a:lnTo>
                    <a:lnTo>
                      <a:pt x="30" y="453"/>
                    </a:lnTo>
                    <a:lnTo>
                      <a:pt x="30" y="451"/>
                    </a:lnTo>
                    <a:lnTo>
                      <a:pt x="30" y="450"/>
                    </a:lnTo>
                    <a:lnTo>
                      <a:pt x="30" y="448"/>
                    </a:lnTo>
                    <a:lnTo>
                      <a:pt x="30" y="446"/>
                    </a:lnTo>
                    <a:lnTo>
                      <a:pt x="32" y="445"/>
                    </a:lnTo>
                    <a:lnTo>
                      <a:pt x="32" y="443"/>
                    </a:lnTo>
                    <a:lnTo>
                      <a:pt x="30" y="443"/>
                    </a:lnTo>
                    <a:lnTo>
                      <a:pt x="30" y="442"/>
                    </a:lnTo>
                    <a:lnTo>
                      <a:pt x="32" y="442"/>
                    </a:lnTo>
                    <a:lnTo>
                      <a:pt x="33" y="443"/>
                    </a:lnTo>
                    <a:lnTo>
                      <a:pt x="36" y="442"/>
                    </a:lnTo>
                    <a:lnTo>
                      <a:pt x="38" y="440"/>
                    </a:lnTo>
                    <a:lnTo>
                      <a:pt x="38" y="438"/>
                    </a:lnTo>
                    <a:lnTo>
                      <a:pt x="38" y="437"/>
                    </a:lnTo>
                    <a:lnTo>
                      <a:pt x="36" y="437"/>
                    </a:lnTo>
                    <a:lnTo>
                      <a:pt x="36" y="435"/>
                    </a:lnTo>
                    <a:lnTo>
                      <a:pt x="38" y="435"/>
                    </a:lnTo>
                    <a:lnTo>
                      <a:pt x="38" y="434"/>
                    </a:lnTo>
                    <a:lnTo>
                      <a:pt x="40" y="434"/>
                    </a:lnTo>
                    <a:lnTo>
                      <a:pt x="40" y="432"/>
                    </a:lnTo>
                    <a:lnTo>
                      <a:pt x="41" y="431"/>
                    </a:lnTo>
                    <a:lnTo>
                      <a:pt x="41" y="429"/>
                    </a:lnTo>
                    <a:lnTo>
                      <a:pt x="43" y="429"/>
                    </a:lnTo>
                    <a:lnTo>
                      <a:pt x="43" y="427"/>
                    </a:lnTo>
                    <a:lnTo>
                      <a:pt x="43" y="426"/>
                    </a:lnTo>
                    <a:lnTo>
                      <a:pt x="44" y="426"/>
                    </a:lnTo>
                    <a:lnTo>
                      <a:pt x="44" y="424"/>
                    </a:lnTo>
                    <a:lnTo>
                      <a:pt x="44" y="423"/>
                    </a:lnTo>
                    <a:lnTo>
                      <a:pt x="44" y="421"/>
                    </a:lnTo>
                    <a:lnTo>
                      <a:pt x="43" y="421"/>
                    </a:lnTo>
                    <a:lnTo>
                      <a:pt x="43" y="419"/>
                    </a:lnTo>
                    <a:lnTo>
                      <a:pt x="41" y="419"/>
                    </a:lnTo>
                    <a:lnTo>
                      <a:pt x="41" y="421"/>
                    </a:lnTo>
                    <a:lnTo>
                      <a:pt x="40" y="421"/>
                    </a:lnTo>
                    <a:lnTo>
                      <a:pt x="38" y="421"/>
                    </a:lnTo>
                    <a:lnTo>
                      <a:pt x="36" y="423"/>
                    </a:lnTo>
                    <a:lnTo>
                      <a:pt x="35" y="423"/>
                    </a:lnTo>
                    <a:lnTo>
                      <a:pt x="33" y="421"/>
                    </a:lnTo>
                    <a:lnTo>
                      <a:pt x="33" y="419"/>
                    </a:lnTo>
                    <a:lnTo>
                      <a:pt x="35" y="419"/>
                    </a:lnTo>
                    <a:lnTo>
                      <a:pt x="36" y="418"/>
                    </a:lnTo>
                    <a:lnTo>
                      <a:pt x="36" y="416"/>
                    </a:lnTo>
                    <a:lnTo>
                      <a:pt x="38" y="416"/>
                    </a:lnTo>
                    <a:lnTo>
                      <a:pt x="36" y="416"/>
                    </a:lnTo>
                    <a:lnTo>
                      <a:pt x="36" y="415"/>
                    </a:lnTo>
                    <a:lnTo>
                      <a:pt x="36" y="413"/>
                    </a:lnTo>
                    <a:lnTo>
                      <a:pt x="36" y="412"/>
                    </a:lnTo>
                    <a:lnTo>
                      <a:pt x="36" y="410"/>
                    </a:lnTo>
                    <a:lnTo>
                      <a:pt x="35" y="410"/>
                    </a:lnTo>
                    <a:lnTo>
                      <a:pt x="35" y="408"/>
                    </a:lnTo>
                    <a:lnTo>
                      <a:pt x="35" y="407"/>
                    </a:lnTo>
                    <a:lnTo>
                      <a:pt x="33" y="397"/>
                    </a:lnTo>
                    <a:lnTo>
                      <a:pt x="32" y="393"/>
                    </a:lnTo>
                    <a:lnTo>
                      <a:pt x="30" y="393"/>
                    </a:lnTo>
                    <a:lnTo>
                      <a:pt x="29" y="393"/>
                    </a:lnTo>
                    <a:lnTo>
                      <a:pt x="25" y="393"/>
                    </a:lnTo>
                    <a:lnTo>
                      <a:pt x="25" y="391"/>
                    </a:lnTo>
                    <a:lnTo>
                      <a:pt x="24" y="391"/>
                    </a:lnTo>
                    <a:lnTo>
                      <a:pt x="24" y="389"/>
                    </a:lnTo>
                    <a:lnTo>
                      <a:pt x="24" y="388"/>
                    </a:lnTo>
                    <a:lnTo>
                      <a:pt x="22" y="388"/>
                    </a:lnTo>
                    <a:lnTo>
                      <a:pt x="22" y="386"/>
                    </a:lnTo>
                    <a:lnTo>
                      <a:pt x="22" y="385"/>
                    </a:lnTo>
                    <a:lnTo>
                      <a:pt x="21" y="385"/>
                    </a:lnTo>
                    <a:lnTo>
                      <a:pt x="21" y="383"/>
                    </a:lnTo>
                    <a:lnTo>
                      <a:pt x="19" y="383"/>
                    </a:lnTo>
                    <a:lnTo>
                      <a:pt x="19" y="381"/>
                    </a:lnTo>
                    <a:lnTo>
                      <a:pt x="17" y="381"/>
                    </a:lnTo>
                    <a:lnTo>
                      <a:pt x="17" y="380"/>
                    </a:lnTo>
                    <a:lnTo>
                      <a:pt x="16" y="380"/>
                    </a:lnTo>
                    <a:lnTo>
                      <a:pt x="16" y="378"/>
                    </a:lnTo>
                    <a:lnTo>
                      <a:pt x="17" y="378"/>
                    </a:lnTo>
                    <a:lnTo>
                      <a:pt x="17" y="377"/>
                    </a:lnTo>
                    <a:lnTo>
                      <a:pt x="17" y="375"/>
                    </a:lnTo>
                    <a:lnTo>
                      <a:pt x="17" y="373"/>
                    </a:lnTo>
                    <a:lnTo>
                      <a:pt x="17" y="372"/>
                    </a:lnTo>
                    <a:lnTo>
                      <a:pt x="17" y="370"/>
                    </a:lnTo>
                    <a:lnTo>
                      <a:pt x="17" y="369"/>
                    </a:lnTo>
                    <a:lnTo>
                      <a:pt x="17" y="367"/>
                    </a:lnTo>
                    <a:lnTo>
                      <a:pt x="19" y="367"/>
                    </a:lnTo>
                    <a:lnTo>
                      <a:pt x="19" y="366"/>
                    </a:lnTo>
                    <a:lnTo>
                      <a:pt x="21" y="366"/>
                    </a:lnTo>
                    <a:lnTo>
                      <a:pt x="21" y="364"/>
                    </a:lnTo>
                    <a:lnTo>
                      <a:pt x="21" y="362"/>
                    </a:lnTo>
                    <a:lnTo>
                      <a:pt x="22" y="362"/>
                    </a:lnTo>
                    <a:lnTo>
                      <a:pt x="22" y="361"/>
                    </a:lnTo>
                    <a:lnTo>
                      <a:pt x="22" y="359"/>
                    </a:lnTo>
                    <a:lnTo>
                      <a:pt x="22" y="358"/>
                    </a:lnTo>
                    <a:lnTo>
                      <a:pt x="22" y="356"/>
                    </a:lnTo>
                    <a:lnTo>
                      <a:pt x="22" y="354"/>
                    </a:lnTo>
                    <a:lnTo>
                      <a:pt x="22" y="353"/>
                    </a:lnTo>
                    <a:lnTo>
                      <a:pt x="22" y="351"/>
                    </a:lnTo>
                    <a:lnTo>
                      <a:pt x="22" y="350"/>
                    </a:lnTo>
                    <a:lnTo>
                      <a:pt x="22" y="348"/>
                    </a:lnTo>
                    <a:lnTo>
                      <a:pt x="24" y="345"/>
                    </a:lnTo>
                    <a:lnTo>
                      <a:pt x="24" y="343"/>
                    </a:lnTo>
                    <a:lnTo>
                      <a:pt x="24" y="342"/>
                    </a:lnTo>
                    <a:lnTo>
                      <a:pt x="24" y="340"/>
                    </a:lnTo>
                    <a:lnTo>
                      <a:pt x="24" y="339"/>
                    </a:lnTo>
                    <a:lnTo>
                      <a:pt x="24" y="337"/>
                    </a:lnTo>
                    <a:lnTo>
                      <a:pt x="24" y="335"/>
                    </a:lnTo>
                    <a:lnTo>
                      <a:pt x="24" y="334"/>
                    </a:lnTo>
                    <a:lnTo>
                      <a:pt x="24" y="332"/>
                    </a:lnTo>
                    <a:lnTo>
                      <a:pt x="24" y="331"/>
                    </a:lnTo>
                    <a:lnTo>
                      <a:pt x="24" y="329"/>
                    </a:lnTo>
                    <a:lnTo>
                      <a:pt x="24" y="328"/>
                    </a:lnTo>
                    <a:lnTo>
                      <a:pt x="22" y="326"/>
                    </a:lnTo>
                    <a:lnTo>
                      <a:pt x="21" y="326"/>
                    </a:lnTo>
                    <a:lnTo>
                      <a:pt x="21" y="324"/>
                    </a:lnTo>
                    <a:lnTo>
                      <a:pt x="19" y="324"/>
                    </a:lnTo>
                    <a:lnTo>
                      <a:pt x="19" y="323"/>
                    </a:lnTo>
                    <a:lnTo>
                      <a:pt x="19" y="321"/>
                    </a:lnTo>
                    <a:lnTo>
                      <a:pt x="19" y="320"/>
                    </a:lnTo>
                    <a:lnTo>
                      <a:pt x="19" y="318"/>
                    </a:lnTo>
                    <a:lnTo>
                      <a:pt x="17" y="316"/>
                    </a:lnTo>
                    <a:lnTo>
                      <a:pt x="17" y="315"/>
                    </a:lnTo>
                    <a:lnTo>
                      <a:pt x="17" y="313"/>
                    </a:lnTo>
                    <a:lnTo>
                      <a:pt x="19" y="312"/>
                    </a:lnTo>
                    <a:lnTo>
                      <a:pt x="19" y="310"/>
                    </a:lnTo>
                    <a:lnTo>
                      <a:pt x="19" y="309"/>
                    </a:lnTo>
                    <a:lnTo>
                      <a:pt x="21" y="309"/>
                    </a:lnTo>
                    <a:lnTo>
                      <a:pt x="21" y="307"/>
                    </a:lnTo>
                    <a:lnTo>
                      <a:pt x="21" y="305"/>
                    </a:lnTo>
                    <a:lnTo>
                      <a:pt x="22" y="304"/>
                    </a:lnTo>
                    <a:lnTo>
                      <a:pt x="22" y="302"/>
                    </a:lnTo>
                    <a:lnTo>
                      <a:pt x="22" y="301"/>
                    </a:lnTo>
                    <a:lnTo>
                      <a:pt x="22" y="299"/>
                    </a:lnTo>
                    <a:lnTo>
                      <a:pt x="24" y="299"/>
                    </a:lnTo>
                    <a:lnTo>
                      <a:pt x="24" y="297"/>
                    </a:lnTo>
                    <a:lnTo>
                      <a:pt x="25" y="296"/>
                    </a:lnTo>
                    <a:lnTo>
                      <a:pt x="25" y="294"/>
                    </a:lnTo>
                    <a:lnTo>
                      <a:pt x="25" y="293"/>
                    </a:lnTo>
                    <a:lnTo>
                      <a:pt x="25" y="291"/>
                    </a:lnTo>
                    <a:lnTo>
                      <a:pt x="25" y="290"/>
                    </a:lnTo>
                    <a:lnTo>
                      <a:pt x="25" y="288"/>
                    </a:lnTo>
                    <a:lnTo>
                      <a:pt x="25" y="286"/>
                    </a:lnTo>
                    <a:lnTo>
                      <a:pt x="27" y="286"/>
                    </a:lnTo>
                    <a:lnTo>
                      <a:pt x="29" y="286"/>
                    </a:lnTo>
                    <a:lnTo>
                      <a:pt x="30" y="286"/>
                    </a:lnTo>
                    <a:lnTo>
                      <a:pt x="32" y="286"/>
                    </a:lnTo>
                    <a:lnTo>
                      <a:pt x="32" y="288"/>
                    </a:lnTo>
                    <a:lnTo>
                      <a:pt x="33" y="288"/>
                    </a:lnTo>
                    <a:lnTo>
                      <a:pt x="35" y="288"/>
                    </a:lnTo>
                    <a:lnTo>
                      <a:pt x="36" y="290"/>
                    </a:lnTo>
                    <a:lnTo>
                      <a:pt x="38" y="290"/>
                    </a:lnTo>
                    <a:lnTo>
                      <a:pt x="38" y="291"/>
                    </a:lnTo>
                    <a:lnTo>
                      <a:pt x="40" y="291"/>
                    </a:lnTo>
                    <a:lnTo>
                      <a:pt x="41" y="291"/>
                    </a:lnTo>
                    <a:lnTo>
                      <a:pt x="43" y="291"/>
                    </a:lnTo>
                    <a:lnTo>
                      <a:pt x="44" y="290"/>
                    </a:lnTo>
                    <a:lnTo>
                      <a:pt x="46" y="290"/>
                    </a:lnTo>
                    <a:lnTo>
                      <a:pt x="46" y="288"/>
                    </a:lnTo>
                    <a:lnTo>
                      <a:pt x="46" y="286"/>
                    </a:lnTo>
                    <a:lnTo>
                      <a:pt x="48" y="285"/>
                    </a:lnTo>
                    <a:lnTo>
                      <a:pt x="48" y="283"/>
                    </a:lnTo>
                    <a:lnTo>
                      <a:pt x="48" y="282"/>
                    </a:lnTo>
                    <a:lnTo>
                      <a:pt x="48" y="280"/>
                    </a:lnTo>
                    <a:lnTo>
                      <a:pt x="49" y="280"/>
                    </a:lnTo>
                    <a:lnTo>
                      <a:pt x="49" y="278"/>
                    </a:lnTo>
                    <a:lnTo>
                      <a:pt x="49" y="277"/>
                    </a:lnTo>
                    <a:lnTo>
                      <a:pt x="49" y="275"/>
                    </a:lnTo>
                    <a:lnTo>
                      <a:pt x="49" y="274"/>
                    </a:lnTo>
                    <a:lnTo>
                      <a:pt x="49" y="272"/>
                    </a:lnTo>
                    <a:lnTo>
                      <a:pt x="48" y="272"/>
                    </a:lnTo>
                    <a:lnTo>
                      <a:pt x="48" y="270"/>
                    </a:lnTo>
                    <a:lnTo>
                      <a:pt x="48" y="269"/>
                    </a:lnTo>
                    <a:lnTo>
                      <a:pt x="48" y="267"/>
                    </a:lnTo>
                    <a:lnTo>
                      <a:pt x="48" y="266"/>
                    </a:lnTo>
                    <a:lnTo>
                      <a:pt x="48" y="264"/>
                    </a:lnTo>
                    <a:lnTo>
                      <a:pt x="48" y="263"/>
                    </a:lnTo>
                    <a:lnTo>
                      <a:pt x="48" y="261"/>
                    </a:lnTo>
                    <a:lnTo>
                      <a:pt x="48" y="259"/>
                    </a:lnTo>
                    <a:lnTo>
                      <a:pt x="48" y="258"/>
                    </a:lnTo>
                    <a:lnTo>
                      <a:pt x="48" y="256"/>
                    </a:lnTo>
                    <a:lnTo>
                      <a:pt x="46" y="256"/>
                    </a:lnTo>
                    <a:lnTo>
                      <a:pt x="46" y="255"/>
                    </a:lnTo>
                    <a:lnTo>
                      <a:pt x="44" y="255"/>
                    </a:lnTo>
                    <a:lnTo>
                      <a:pt x="43" y="253"/>
                    </a:lnTo>
                    <a:lnTo>
                      <a:pt x="43" y="251"/>
                    </a:lnTo>
                    <a:lnTo>
                      <a:pt x="43" y="250"/>
                    </a:lnTo>
                    <a:lnTo>
                      <a:pt x="43" y="248"/>
                    </a:lnTo>
                    <a:lnTo>
                      <a:pt x="43" y="247"/>
                    </a:lnTo>
                    <a:lnTo>
                      <a:pt x="43" y="245"/>
                    </a:lnTo>
                    <a:lnTo>
                      <a:pt x="41" y="245"/>
                    </a:lnTo>
                    <a:lnTo>
                      <a:pt x="40" y="245"/>
                    </a:lnTo>
                    <a:lnTo>
                      <a:pt x="40" y="244"/>
                    </a:lnTo>
                    <a:lnTo>
                      <a:pt x="38" y="244"/>
                    </a:lnTo>
                    <a:lnTo>
                      <a:pt x="38" y="242"/>
                    </a:lnTo>
                    <a:lnTo>
                      <a:pt x="38" y="240"/>
                    </a:lnTo>
                    <a:lnTo>
                      <a:pt x="38" y="239"/>
                    </a:lnTo>
                    <a:lnTo>
                      <a:pt x="40" y="239"/>
                    </a:lnTo>
                    <a:lnTo>
                      <a:pt x="40" y="237"/>
                    </a:lnTo>
                    <a:lnTo>
                      <a:pt x="41" y="237"/>
                    </a:lnTo>
                    <a:lnTo>
                      <a:pt x="41" y="236"/>
                    </a:lnTo>
                    <a:lnTo>
                      <a:pt x="41" y="234"/>
                    </a:lnTo>
                    <a:lnTo>
                      <a:pt x="41" y="232"/>
                    </a:lnTo>
                    <a:lnTo>
                      <a:pt x="41" y="231"/>
                    </a:lnTo>
                    <a:lnTo>
                      <a:pt x="41" y="229"/>
                    </a:lnTo>
                    <a:lnTo>
                      <a:pt x="41" y="228"/>
                    </a:lnTo>
                    <a:lnTo>
                      <a:pt x="41" y="226"/>
                    </a:lnTo>
                    <a:lnTo>
                      <a:pt x="40" y="226"/>
                    </a:lnTo>
                    <a:lnTo>
                      <a:pt x="41" y="226"/>
                    </a:lnTo>
                    <a:lnTo>
                      <a:pt x="41" y="225"/>
                    </a:lnTo>
                    <a:lnTo>
                      <a:pt x="41" y="223"/>
                    </a:lnTo>
                    <a:lnTo>
                      <a:pt x="43" y="221"/>
                    </a:lnTo>
                    <a:lnTo>
                      <a:pt x="43" y="220"/>
                    </a:lnTo>
                    <a:lnTo>
                      <a:pt x="43" y="218"/>
                    </a:lnTo>
                    <a:lnTo>
                      <a:pt x="44" y="218"/>
                    </a:lnTo>
                    <a:lnTo>
                      <a:pt x="44" y="217"/>
                    </a:lnTo>
                    <a:lnTo>
                      <a:pt x="44" y="215"/>
                    </a:lnTo>
                    <a:lnTo>
                      <a:pt x="44" y="213"/>
                    </a:lnTo>
                    <a:lnTo>
                      <a:pt x="44" y="212"/>
                    </a:lnTo>
                    <a:lnTo>
                      <a:pt x="46" y="210"/>
                    </a:lnTo>
                    <a:lnTo>
                      <a:pt x="46" y="209"/>
                    </a:lnTo>
                    <a:lnTo>
                      <a:pt x="46" y="207"/>
                    </a:lnTo>
                    <a:lnTo>
                      <a:pt x="46" y="206"/>
                    </a:lnTo>
                    <a:lnTo>
                      <a:pt x="46" y="204"/>
                    </a:lnTo>
                    <a:lnTo>
                      <a:pt x="46" y="202"/>
                    </a:lnTo>
                    <a:lnTo>
                      <a:pt x="48" y="202"/>
                    </a:lnTo>
                    <a:lnTo>
                      <a:pt x="48" y="201"/>
                    </a:lnTo>
                    <a:lnTo>
                      <a:pt x="48" y="199"/>
                    </a:lnTo>
                    <a:lnTo>
                      <a:pt x="48" y="198"/>
                    </a:lnTo>
                    <a:lnTo>
                      <a:pt x="46" y="198"/>
                    </a:lnTo>
                    <a:lnTo>
                      <a:pt x="46" y="196"/>
                    </a:lnTo>
                    <a:lnTo>
                      <a:pt x="44" y="196"/>
                    </a:lnTo>
                    <a:lnTo>
                      <a:pt x="46" y="194"/>
                    </a:lnTo>
                    <a:lnTo>
                      <a:pt x="46" y="193"/>
                    </a:lnTo>
                    <a:lnTo>
                      <a:pt x="48" y="193"/>
                    </a:lnTo>
                    <a:lnTo>
                      <a:pt x="48" y="191"/>
                    </a:lnTo>
                    <a:lnTo>
                      <a:pt x="48" y="190"/>
                    </a:lnTo>
                    <a:lnTo>
                      <a:pt x="49" y="190"/>
                    </a:lnTo>
                    <a:lnTo>
                      <a:pt x="49" y="188"/>
                    </a:lnTo>
                    <a:lnTo>
                      <a:pt x="48" y="188"/>
                    </a:lnTo>
                    <a:lnTo>
                      <a:pt x="48" y="187"/>
                    </a:lnTo>
                    <a:lnTo>
                      <a:pt x="48" y="185"/>
                    </a:lnTo>
                    <a:lnTo>
                      <a:pt x="48" y="183"/>
                    </a:lnTo>
                    <a:lnTo>
                      <a:pt x="46" y="183"/>
                    </a:lnTo>
                    <a:lnTo>
                      <a:pt x="48" y="182"/>
                    </a:lnTo>
                    <a:lnTo>
                      <a:pt x="48" y="180"/>
                    </a:lnTo>
                    <a:lnTo>
                      <a:pt x="48" y="179"/>
                    </a:lnTo>
                    <a:lnTo>
                      <a:pt x="48" y="177"/>
                    </a:lnTo>
                    <a:lnTo>
                      <a:pt x="48" y="175"/>
                    </a:lnTo>
                    <a:lnTo>
                      <a:pt x="48" y="174"/>
                    </a:lnTo>
                    <a:lnTo>
                      <a:pt x="49" y="174"/>
                    </a:lnTo>
                    <a:lnTo>
                      <a:pt x="49" y="172"/>
                    </a:lnTo>
                    <a:lnTo>
                      <a:pt x="48" y="172"/>
                    </a:lnTo>
                    <a:lnTo>
                      <a:pt x="48" y="171"/>
                    </a:lnTo>
                    <a:lnTo>
                      <a:pt x="46" y="171"/>
                    </a:lnTo>
                    <a:lnTo>
                      <a:pt x="46" y="172"/>
                    </a:lnTo>
                    <a:lnTo>
                      <a:pt x="44" y="172"/>
                    </a:lnTo>
                    <a:lnTo>
                      <a:pt x="43" y="172"/>
                    </a:lnTo>
                    <a:lnTo>
                      <a:pt x="43" y="171"/>
                    </a:lnTo>
                    <a:lnTo>
                      <a:pt x="43" y="172"/>
                    </a:lnTo>
                    <a:lnTo>
                      <a:pt x="41" y="172"/>
                    </a:lnTo>
                    <a:lnTo>
                      <a:pt x="40" y="172"/>
                    </a:lnTo>
                    <a:lnTo>
                      <a:pt x="40" y="171"/>
                    </a:lnTo>
                    <a:lnTo>
                      <a:pt x="40" y="172"/>
                    </a:lnTo>
                    <a:lnTo>
                      <a:pt x="38" y="172"/>
                    </a:lnTo>
                    <a:lnTo>
                      <a:pt x="36" y="171"/>
                    </a:lnTo>
                    <a:lnTo>
                      <a:pt x="38" y="171"/>
                    </a:lnTo>
                    <a:lnTo>
                      <a:pt x="38" y="169"/>
                    </a:lnTo>
                    <a:lnTo>
                      <a:pt x="38" y="168"/>
                    </a:lnTo>
                    <a:lnTo>
                      <a:pt x="38" y="166"/>
                    </a:lnTo>
                    <a:lnTo>
                      <a:pt x="38" y="164"/>
                    </a:lnTo>
                    <a:lnTo>
                      <a:pt x="38" y="163"/>
                    </a:lnTo>
                    <a:lnTo>
                      <a:pt x="38" y="161"/>
                    </a:lnTo>
                    <a:lnTo>
                      <a:pt x="38" y="160"/>
                    </a:lnTo>
                    <a:lnTo>
                      <a:pt x="38" y="158"/>
                    </a:lnTo>
                    <a:lnTo>
                      <a:pt x="40" y="158"/>
                    </a:lnTo>
                    <a:lnTo>
                      <a:pt x="40" y="156"/>
                    </a:lnTo>
                    <a:lnTo>
                      <a:pt x="40" y="155"/>
                    </a:lnTo>
                    <a:lnTo>
                      <a:pt x="40" y="153"/>
                    </a:lnTo>
                    <a:lnTo>
                      <a:pt x="40" y="152"/>
                    </a:lnTo>
                    <a:lnTo>
                      <a:pt x="40" y="150"/>
                    </a:lnTo>
                    <a:lnTo>
                      <a:pt x="40" y="148"/>
                    </a:lnTo>
                    <a:lnTo>
                      <a:pt x="40" y="147"/>
                    </a:lnTo>
                    <a:lnTo>
                      <a:pt x="40" y="145"/>
                    </a:lnTo>
                    <a:lnTo>
                      <a:pt x="40" y="144"/>
                    </a:lnTo>
                    <a:lnTo>
                      <a:pt x="38" y="142"/>
                    </a:lnTo>
                    <a:lnTo>
                      <a:pt x="38" y="141"/>
                    </a:lnTo>
                    <a:lnTo>
                      <a:pt x="36" y="141"/>
                    </a:lnTo>
                    <a:lnTo>
                      <a:pt x="36" y="139"/>
                    </a:lnTo>
                    <a:lnTo>
                      <a:pt x="35" y="137"/>
                    </a:lnTo>
                    <a:lnTo>
                      <a:pt x="35" y="136"/>
                    </a:lnTo>
                    <a:lnTo>
                      <a:pt x="33" y="136"/>
                    </a:lnTo>
                    <a:lnTo>
                      <a:pt x="33" y="134"/>
                    </a:lnTo>
                    <a:lnTo>
                      <a:pt x="32" y="134"/>
                    </a:lnTo>
                    <a:lnTo>
                      <a:pt x="32" y="136"/>
                    </a:lnTo>
                    <a:lnTo>
                      <a:pt x="30" y="136"/>
                    </a:lnTo>
                    <a:lnTo>
                      <a:pt x="29" y="136"/>
                    </a:lnTo>
                    <a:lnTo>
                      <a:pt x="29" y="137"/>
                    </a:lnTo>
                    <a:lnTo>
                      <a:pt x="27" y="137"/>
                    </a:lnTo>
                    <a:lnTo>
                      <a:pt x="25" y="137"/>
                    </a:lnTo>
                    <a:lnTo>
                      <a:pt x="25" y="139"/>
                    </a:lnTo>
                    <a:lnTo>
                      <a:pt x="25" y="137"/>
                    </a:lnTo>
                    <a:lnTo>
                      <a:pt x="24" y="137"/>
                    </a:lnTo>
                    <a:lnTo>
                      <a:pt x="22" y="136"/>
                    </a:lnTo>
                    <a:lnTo>
                      <a:pt x="21" y="136"/>
                    </a:lnTo>
                    <a:lnTo>
                      <a:pt x="21" y="134"/>
                    </a:lnTo>
                    <a:lnTo>
                      <a:pt x="19" y="134"/>
                    </a:lnTo>
                    <a:lnTo>
                      <a:pt x="19" y="133"/>
                    </a:lnTo>
                    <a:lnTo>
                      <a:pt x="19" y="131"/>
                    </a:lnTo>
                    <a:lnTo>
                      <a:pt x="19" y="129"/>
                    </a:lnTo>
                    <a:lnTo>
                      <a:pt x="21" y="129"/>
                    </a:lnTo>
                    <a:lnTo>
                      <a:pt x="21" y="128"/>
                    </a:lnTo>
                    <a:lnTo>
                      <a:pt x="22" y="128"/>
                    </a:lnTo>
                    <a:lnTo>
                      <a:pt x="24" y="128"/>
                    </a:lnTo>
                    <a:lnTo>
                      <a:pt x="24" y="126"/>
                    </a:lnTo>
                    <a:lnTo>
                      <a:pt x="24" y="125"/>
                    </a:lnTo>
                    <a:lnTo>
                      <a:pt x="24" y="123"/>
                    </a:lnTo>
                    <a:lnTo>
                      <a:pt x="25" y="123"/>
                    </a:lnTo>
                    <a:lnTo>
                      <a:pt x="27" y="123"/>
                    </a:lnTo>
                    <a:lnTo>
                      <a:pt x="27" y="122"/>
                    </a:lnTo>
                    <a:lnTo>
                      <a:pt x="29" y="122"/>
                    </a:lnTo>
                    <a:lnTo>
                      <a:pt x="29" y="120"/>
                    </a:lnTo>
                    <a:lnTo>
                      <a:pt x="29" y="118"/>
                    </a:lnTo>
                    <a:lnTo>
                      <a:pt x="30" y="118"/>
                    </a:lnTo>
                    <a:lnTo>
                      <a:pt x="29" y="118"/>
                    </a:lnTo>
                    <a:lnTo>
                      <a:pt x="29" y="117"/>
                    </a:lnTo>
                    <a:lnTo>
                      <a:pt x="27" y="117"/>
                    </a:lnTo>
                    <a:lnTo>
                      <a:pt x="27" y="115"/>
                    </a:lnTo>
                    <a:lnTo>
                      <a:pt x="25" y="115"/>
                    </a:lnTo>
                    <a:lnTo>
                      <a:pt x="24" y="115"/>
                    </a:lnTo>
                    <a:lnTo>
                      <a:pt x="22" y="115"/>
                    </a:lnTo>
                    <a:lnTo>
                      <a:pt x="21" y="115"/>
                    </a:lnTo>
                    <a:lnTo>
                      <a:pt x="21" y="114"/>
                    </a:lnTo>
                    <a:lnTo>
                      <a:pt x="19" y="114"/>
                    </a:lnTo>
                    <a:lnTo>
                      <a:pt x="17" y="114"/>
                    </a:lnTo>
                    <a:lnTo>
                      <a:pt x="16" y="115"/>
                    </a:lnTo>
                    <a:lnTo>
                      <a:pt x="16" y="114"/>
                    </a:lnTo>
                    <a:lnTo>
                      <a:pt x="14" y="114"/>
                    </a:lnTo>
                    <a:lnTo>
                      <a:pt x="13" y="114"/>
                    </a:lnTo>
                    <a:lnTo>
                      <a:pt x="11" y="114"/>
                    </a:lnTo>
                    <a:lnTo>
                      <a:pt x="11" y="115"/>
                    </a:lnTo>
                    <a:lnTo>
                      <a:pt x="10" y="115"/>
                    </a:lnTo>
                    <a:lnTo>
                      <a:pt x="8" y="115"/>
                    </a:lnTo>
                    <a:lnTo>
                      <a:pt x="8" y="117"/>
                    </a:lnTo>
                    <a:lnTo>
                      <a:pt x="6" y="117"/>
                    </a:lnTo>
                    <a:lnTo>
                      <a:pt x="5" y="117"/>
                    </a:lnTo>
                    <a:lnTo>
                      <a:pt x="3" y="117"/>
                    </a:lnTo>
                    <a:lnTo>
                      <a:pt x="3" y="115"/>
                    </a:lnTo>
                    <a:lnTo>
                      <a:pt x="2" y="115"/>
                    </a:lnTo>
                    <a:lnTo>
                      <a:pt x="0" y="115"/>
                    </a:lnTo>
                    <a:lnTo>
                      <a:pt x="0" y="114"/>
                    </a:lnTo>
                    <a:lnTo>
                      <a:pt x="0" y="112"/>
                    </a:lnTo>
                    <a:lnTo>
                      <a:pt x="2" y="112"/>
                    </a:lnTo>
                    <a:lnTo>
                      <a:pt x="2" y="110"/>
                    </a:lnTo>
                    <a:lnTo>
                      <a:pt x="3" y="110"/>
                    </a:lnTo>
                    <a:lnTo>
                      <a:pt x="3" y="109"/>
                    </a:lnTo>
                    <a:lnTo>
                      <a:pt x="5" y="109"/>
                    </a:lnTo>
                    <a:lnTo>
                      <a:pt x="6" y="107"/>
                    </a:lnTo>
                    <a:lnTo>
                      <a:pt x="6" y="106"/>
                    </a:lnTo>
                    <a:lnTo>
                      <a:pt x="6" y="104"/>
                    </a:lnTo>
                    <a:lnTo>
                      <a:pt x="6" y="103"/>
                    </a:lnTo>
                    <a:lnTo>
                      <a:pt x="6" y="101"/>
                    </a:lnTo>
                    <a:lnTo>
                      <a:pt x="6" y="99"/>
                    </a:lnTo>
                    <a:lnTo>
                      <a:pt x="8" y="99"/>
                    </a:lnTo>
                    <a:lnTo>
                      <a:pt x="8" y="98"/>
                    </a:lnTo>
                    <a:lnTo>
                      <a:pt x="8" y="96"/>
                    </a:lnTo>
                    <a:lnTo>
                      <a:pt x="8" y="95"/>
                    </a:lnTo>
                    <a:lnTo>
                      <a:pt x="8" y="93"/>
                    </a:lnTo>
                    <a:lnTo>
                      <a:pt x="8" y="91"/>
                    </a:lnTo>
                    <a:lnTo>
                      <a:pt x="10" y="91"/>
                    </a:lnTo>
                    <a:lnTo>
                      <a:pt x="10" y="90"/>
                    </a:lnTo>
                    <a:lnTo>
                      <a:pt x="11" y="90"/>
                    </a:lnTo>
                    <a:lnTo>
                      <a:pt x="11" y="88"/>
                    </a:lnTo>
                    <a:lnTo>
                      <a:pt x="13" y="88"/>
                    </a:lnTo>
                    <a:lnTo>
                      <a:pt x="14" y="88"/>
                    </a:lnTo>
                    <a:lnTo>
                      <a:pt x="16" y="88"/>
                    </a:lnTo>
                    <a:lnTo>
                      <a:pt x="17" y="88"/>
                    </a:lnTo>
                    <a:lnTo>
                      <a:pt x="17" y="90"/>
                    </a:lnTo>
                    <a:lnTo>
                      <a:pt x="19" y="90"/>
                    </a:lnTo>
                    <a:lnTo>
                      <a:pt x="21" y="88"/>
                    </a:lnTo>
                    <a:lnTo>
                      <a:pt x="22" y="88"/>
                    </a:lnTo>
                    <a:lnTo>
                      <a:pt x="24" y="88"/>
                    </a:lnTo>
                    <a:lnTo>
                      <a:pt x="25" y="88"/>
                    </a:lnTo>
                    <a:lnTo>
                      <a:pt x="25" y="87"/>
                    </a:lnTo>
                    <a:lnTo>
                      <a:pt x="25" y="85"/>
                    </a:lnTo>
                    <a:lnTo>
                      <a:pt x="25" y="84"/>
                    </a:lnTo>
                    <a:lnTo>
                      <a:pt x="25" y="82"/>
                    </a:lnTo>
                    <a:lnTo>
                      <a:pt x="27" y="82"/>
                    </a:lnTo>
                    <a:lnTo>
                      <a:pt x="27" y="80"/>
                    </a:lnTo>
                    <a:lnTo>
                      <a:pt x="27" y="79"/>
                    </a:lnTo>
                    <a:lnTo>
                      <a:pt x="27" y="77"/>
                    </a:lnTo>
                    <a:lnTo>
                      <a:pt x="29" y="77"/>
                    </a:lnTo>
                    <a:lnTo>
                      <a:pt x="30" y="77"/>
                    </a:lnTo>
                    <a:lnTo>
                      <a:pt x="30" y="76"/>
                    </a:lnTo>
                    <a:lnTo>
                      <a:pt x="32" y="76"/>
                    </a:lnTo>
                    <a:lnTo>
                      <a:pt x="32" y="74"/>
                    </a:lnTo>
                    <a:lnTo>
                      <a:pt x="32" y="72"/>
                    </a:lnTo>
                    <a:lnTo>
                      <a:pt x="30" y="71"/>
                    </a:lnTo>
                    <a:lnTo>
                      <a:pt x="29" y="71"/>
                    </a:lnTo>
                    <a:lnTo>
                      <a:pt x="27" y="71"/>
                    </a:lnTo>
                    <a:lnTo>
                      <a:pt x="25" y="71"/>
                    </a:lnTo>
                    <a:lnTo>
                      <a:pt x="24" y="69"/>
                    </a:lnTo>
                    <a:lnTo>
                      <a:pt x="22" y="69"/>
                    </a:lnTo>
                    <a:lnTo>
                      <a:pt x="21" y="71"/>
                    </a:lnTo>
                    <a:lnTo>
                      <a:pt x="19" y="71"/>
                    </a:lnTo>
                    <a:lnTo>
                      <a:pt x="17" y="71"/>
                    </a:lnTo>
                    <a:lnTo>
                      <a:pt x="16" y="72"/>
                    </a:lnTo>
                    <a:lnTo>
                      <a:pt x="14" y="72"/>
                    </a:lnTo>
                    <a:lnTo>
                      <a:pt x="13" y="72"/>
                    </a:lnTo>
                    <a:lnTo>
                      <a:pt x="13" y="74"/>
                    </a:lnTo>
                    <a:lnTo>
                      <a:pt x="11" y="74"/>
                    </a:lnTo>
                    <a:lnTo>
                      <a:pt x="10" y="74"/>
                    </a:lnTo>
                    <a:lnTo>
                      <a:pt x="8" y="72"/>
                    </a:lnTo>
                    <a:lnTo>
                      <a:pt x="6" y="72"/>
                    </a:lnTo>
                    <a:lnTo>
                      <a:pt x="6" y="74"/>
                    </a:lnTo>
                    <a:lnTo>
                      <a:pt x="6" y="72"/>
                    </a:lnTo>
                    <a:lnTo>
                      <a:pt x="5" y="72"/>
                    </a:lnTo>
                    <a:lnTo>
                      <a:pt x="5" y="71"/>
                    </a:lnTo>
                    <a:lnTo>
                      <a:pt x="5" y="69"/>
                    </a:lnTo>
                    <a:lnTo>
                      <a:pt x="3" y="69"/>
                    </a:lnTo>
                    <a:lnTo>
                      <a:pt x="3" y="68"/>
                    </a:lnTo>
                    <a:lnTo>
                      <a:pt x="2" y="68"/>
                    </a:lnTo>
                    <a:lnTo>
                      <a:pt x="3" y="68"/>
                    </a:lnTo>
                    <a:lnTo>
                      <a:pt x="5" y="66"/>
                    </a:lnTo>
                    <a:lnTo>
                      <a:pt x="5" y="65"/>
                    </a:lnTo>
                    <a:lnTo>
                      <a:pt x="5" y="63"/>
                    </a:lnTo>
                    <a:lnTo>
                      <a:pt x="5" y="61"/>
                    </a:lnTo>
                    <a:lnTo>
                      <a:pt x="6" y="61"/>
                    </a:lnTo>
                    <a:lnTo>
                      <a:pt x="6" y="60"/>
                    </a:lnTo>
                    <a:lnTo>
                      <a:pt x="6" y="58"/>
                    </a:lnTo>
                    <a:lnTo>
                      <a:pt x="6" y="57"/>
                    </a:lnTo>
                    <a:lnTo>
                      <a:pt x="6" y="55"/>
                    </a:lnTo>
                    <a:lnTo>
                      <a:pt x="8" y="55"/>
                    </a:lnTo>
                    <a:lnTo>
                      <a:pt x="10" y="55"/>
                    </a:lnTo>
                    <a:lnTo>
                      <a:pt x="11" y="55"/>
                    </a:lnTo>
                    <a:lnTo>
                      <a:pt x="11" y="57"/>
                    </a:lnTo>
                    <a:lnTo>
                      <a:pt x="13" y="55"/>
                    </a:lnTo>
                    <a:lnTo>
                      <a:pt x="14" y="55"/>
                    </a:lnTo>
                    <a:lnTo>
                      <a:pt x="14" y="53"/>
                    </a:lnTo>
                    <a:lnTo>
                      <a:pt x="16" y="53"/>
                    </a:lnTo>
                    <a:lnTo>
                      <a:pt x="16" y="52"/>
                    </a:lnTo>
                    <a:lnTo>
                      <a:pt x="16" y="50"/>
                    </a:lnTo>
                    <a:lnTo>
                      <a:pt x="17" y="50"/>
                    </a:lnTo>
                    <a:lnTo>
                      <a:pt x="19" y="49"/>
                    </a:lnTo>
                    <a:lnTo>
                      <a:pt x="21" y="49"/>
                    </a:lnTo>
                    <a:lnTo>
                      <a:pt x="21" y="50"/>
                    </a:lnTo>
                    <a:lnTo>
                      <a:pt x="22" y="50"/>
                    </a:lnTo>
                    <a:lnTo>
                      <a:pt x="24" y="50"/>
                    </a:lnTo>
                    <a:lnTo>
                      <a:pt x="25" y="50"/>
                    </a:lnTo>
                    <a:lnTo>
                      <a:pt x="27" y="52"/>
                    </a:lnTo>
                    <a:lnTo>
                      <a:pt x="29" y="52"/>
                    </a:lnTo>
                    <a:lnTo>
                      <a:pt x="30" y="52"/>
                    </a:lnTo>
                    <a:lnTo>
                      <a:pt x="32" y="52"/>
                    </a:lnTo>
                    <a:lnTo>
                      <a:pt x="32" y="50"/>
                    </a:lnTo>
                    <a:lnTo>
                      <a:pt x="33" y="50"/>
                    </a:lnTo>
                    <a:lnTo>
                      <a:pt x="35" y="50"/>
                    </a:lnTo>
                    <a:lnTo>
                      <a:pt x="36" y="50"/>
                    </a:lnTo>
                    <a:lnTo>
                      <a:pt x="36" y="49"/>
                    </a:lnTo>
                    <a:lnTo>
                      <a:pt x="38" y="49"/>
                    </a:lnTo>
                    <a:lnTo>
                      <a:pt x="40" y="47"/>
                    </a:lnTo>
                    <a:lnTo>
                      <a:pt x="41" y="47"/>
                    </a:lnTo>
                    <a:lnTo>
                      <a:pt x="43" y="47"/>
                    </a:lnTo>
                    <a:lnTo>
                      <a:pt x="43" y="49"/>
                    </a:lnTo>
                    <a:lnTo>
                      <a:pt x="44" y="49"/>
                    </a:lnTo>
                    <a:lnTo>
                      <a:pt x="46" y="49"/>
                    </a:lnTo>
                    <a:lnTo>
                      <a:pt x="48" y="49"/>
                    </a:lnTo>
                    <a:lnTo>
                      <a:pt x="49" y="49"/>
                    </a:lnTo>
                    <a:lnTo>
                      <a:pt x="49" y="47"/>
                    </a:lnTo>
                    <a:lnTo>
                      <a:pt x="51" y="47"/>
                    </a:lnTo>
                    <a:lnTo>
                      <a:pt x="51" y="49"/>
                    </a:lnTo>
                    <a:lnTo>
                      <a:pt x="52" y="49"/>
                    </a:lnTo>
                    <a:lnTo>
                      <a:pt x="52" y="50"/>
                    </a:lnTo>
                    <a:lnTo>
                      <a:pt x="54" y="50"/>
                    </a:lnTo>
                    <a:lnTo>
                      <a:pt x="55" y="50"/>
                    </a:lnTo>
                    <a:lnTo>
                      <a:pt x="57" y="50"/>
                    </a:lnTo>
                    <a:lnTo>
                      <a:pt x="57" y="52"/>
                    </a:lnTo>
                    <a:lnTo>
                      <a:pt x="55" y="52"/>
                    </a:lnTo>
                    <a:lnTo>
                      <a:pt x="55" y="53"/>
                    </a:lnTo>
                    <a:lnTo>
                      <a:pt x="57" y="53"/>
                    </a:lnTo>
                    <a:lnTo>
                      <a:pt x="59" y="53"/>
                    </a:lnTo>
                    <a:lnTo>
                      <a:pt x="59" y="52"/>
                    </a:lnTo>
                    <a:lnTo>
                      <a:pt x="60" y="52"/>
                    </a:lnTo>
                    <a:lnTo>
                      <a:pt x="62" y="52"/>
                    </a:lnTo>
                    <a:lnTo>
                      <a:pt x="63" y="52"/>
                    </a:lnTo>
                    <a:lnTo>
                      <a:pt x="65" y="52"/>
                    </a:lnTo>
                    <a:lnTo>
                      <a:pt x="67" y="52"/>
                    </a:lnTo>
                    <a:lnTo>
                      <a:pt x="68" y="52"/>
                    </a:lnTo>
                    <a:lnTo>
                      <a:pt x="70" y="52"/>
                    </a:lnTo>
                    <a:lnTo>
                      <a:pt x="70" y="53"/>
                    </a:lnTo>
                    <a:lnTo>
                      <a:pt x="71" y="53"/>
                    </a:lnTo>
                    <a:lnTo>
                      <a:pt x="73" y="53"/>
                    </a:lnTo>
                    <a:lnTo>
                      <a:pt x="73" y="52"/>
                    </a:lnTo>
                    <a:lnTo>
                      <a:pt x="75" y="52"/>
                    </a:lnTo>
                    <a:lnTo>
                      <a:pt x="76" y="52"/>
                    </a:lnTo>
                    <a:lnTo>
                      <a:pt x="76" y="53"/>
                    </a:lnTo>
                    <a:lnTo>
                      <a:pt x="78" y="53"/>
                    </a:lnTo>
                    <a:lnTo>
                      <a:pt x="79" y="53"/>
                    </a:lnTo>
                    <a:lnTo>
                      <a:pt x="81" y="53"/>
                    </a:lnTo>
                    <a:lnTo>
                      <a:pt x="82" y="55"/>
                    </a:lnTo>
                    <a:lnTo>
                      <a:pt x="84" y="55"/>
                    </a:lnTo>
                    <a:lnTo>
                      <a:pt x="86" y="55"/>
                    </a:lnTo>
                    <a:lnTo>
                      <a:pt x="86" y="53"/>
                    </a:lnTo>
                    <a:lnTo>
                      <a:pt x="87" y="53"/>
                    </a:lnTo>
                    <a:lnTo>
                      <a:pt x="89" y="53"/>
                    </a:lnTo>
                    <a:lnTo>
                      <a:pt x="90" y="52"/>
                    </a:lnTo>
                    <a:lnTo>
                      <a:pt x="92" y="52"/>
                    </a:lnTo>
                    <a:lnTo>
                      <a:pt x="94" y="52"/>
                    </a:lnTo>
                    <a:lnTo>
                      <a:pt x="94" y="50"/>
                    </a:lnTo>
                    <a:lnTo>
                      <a:pt x="95" y="50"/>
                    </a:lnTo>
                    <a:lnTo>
                      <a:pt x="95" y="49"/>
                    </a:lnTo>
                    <a:lnTo>
                      <a:pt x="97" y="49"/>
                    </a:lnTo>
                    <a:lnTo>
                      <a:pt x="97" y="47"/>
                    </a:lnTo>
                    <a:lnTo>
                      <a:pt x="97" y="46"/>
                    </a:lnTo>
                    <a:lnTo>
                      <a:pt x="95" y="46"/>
                    </a:lnTo>
                    <a:lnTo>
                      <a:pt x="95" y="44"/>
                    </a:lnTo>
                    <a:lnTo>
                      <a:pt x="95" y="42"/>
                    </a:lnTo>
                    <a:lnTo>
                      <a:pt x="94" y="41"/>
                    </a:lnTo>
                    <a:lnTo>
                      <a:pt x="94" y="39"/>
                    </a:lnTo>
                    <a:lnTo>
                      <a:pt x="94" y="38"/>
                    </a:lnTo>
                    <a:lnTo>
                      <a:pt x="95" y="38"/>
                    </a:lnTo>
                    <a:lnTo>
                      <a:pt x="95" y="36"/>
                    </a:lnTo>
                    <a:lnTo>
                      <a:pt x="95" y="34"/>
                    </a:lnTo>
                    <a:lnTo>
                      <a:pt x="95" y="33"/>
                    </a:lnTo>
                    <a:lnTo>
                      <a:pt x="95" y="31"/>
                    </a:lnTo>
                    <a:lnTo>
                      <a:pt x="94" y="31"/>
                    </a:lnTo>
                    <a:lnTo>
                      <a:pt x="94" y="30"/>
                    </a:lnTo>
                    <a:lnTo>
                      <a:pt x="94" y="31"/>
                    </a:lnTo>
                    <a:lnTo>
                      <a:pt x="92" y="31"/>
                    </a:lnTo>
                    <a:lnTo>
                      <a:pt x="92" y="33"/>
                    </a:lnTo>
                    <a:lnTo>
                      <a:pt x="92" y="31"/>
                    </a:lnTo>
                    <a:lnTo>
                      <a:pt x="94" y="30"/>
                    </a:lnTo>
                    <a:lnTo>
                      <a:pt x="95" y="30"/>
                    </a:lnTo>
                    <a:lnTo>
                      <a:pt x="97" y="30"/>
                    </a:lnTo>
                    <a:lnTo>
                      <a:pt x="100" y="30"/>
                    </a:lnTo>
                    <a:lnTo>
                      <a:pt x="103" y="28"/>
                    </a:lnTo>
                    <a:lnTo>
                      <a:pt x="103" y="26"/>
                    </a:lnTo>
                    <a:lnTo>
                      <a:pt x="105" y="23"/>
                    </a:lnTo>
                    <a:lnTo>
                      <a:pt x="106" y="22"/>
                    </a:lnTo>
                    <a:lnTo>
                      <a:pt x="109" y="22"/>
                    </a:lnTo>
                    <a:lnTo>
                      <a:pt x="111" y="19"/>
                    </a:lnTo>
                    <a:lnTo>
                      <a:pt x="113" y="17"/>
                    </a:lnTo>
                    <a:lnTo>
                      <a:pt x="113" y="15"/>
                    </a:lnTo>
                    <a:lnTo>
                      <a:pt x="113" y="11"/>
                    </a:lnTo>
                    <a:lnTo>
                      <a:pt x="114" y="9"/>
                    </a:lnTo>
                    <a:lnTo>
                      <a:pt x="116" y="7"/>
                    </a:lnTo>
                    <a:lnTo>
                      <a:pt x="119" y="4"/>
                    </a:lnTo>
                    <a:lnTo>
                      <a:pt x="120" y="3"/>
                    </a:lnTo>
                    <a:lnTo>
                      <a:pt x="124" y="1"/>
                    </a:lnTo>
                    <a:lnTo>
                      <a:pt x="127" y="3"/>
                    </a:lnTo>
                    <a:lnTo>
                      <a:pt x="130" y="3"/>
                    </a:lnTo>
                    <a:lnTo>
                      <a:pt x="130" y="1"/>
                    </a:lnTo>
                    <a:lnTo>
                      <a:pt x="132" y="1"/>
                    </a:lnTo>
                    <a:lnTo>
                      <a:pt x="133" y="0"/>
                    </a:lnTo>
                    <a:lnTo>
                      <a:pt x="135" y="0"/>
                    </a:lnTo>
                    <a:lnTo>
                      <a:pt x="141" y="1"/>
                    </a:lnTo>
                    <a:lnTo>
                      <a:pt x="146" y="3"/>
                    </a:lnTo>
                    <a:close/>
                  </a:path>
                </a:pathLst>
              </a:custGeom>
              <a:solidFill>
                <a:srgbClr val="E1E1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138"/>
              </a:p>
            </p:txBody>
          </p:sp>
          <p:sp>
            <p:nvSpPr>
              <p:cNvPr id="9" name="Freeform 7"/>
              <p:cNvSpPr>
                <a:spLocks/>
              </p:cNvSpPr>
              <p:nvPr/>
            </p:nvSpPr>
            <p:spPr bwMode="auto">
              <a:xfrm>
                <a:off x="3412" y="751"/>
                <a:ext cx="776" cy="1663"/>
              </a:xfrm>
              <a:custGeom>
                <a:avLst/>
                <a:gdLst>
                  <a:gd name="T0" fmla="*/ 202 w 776"/>
                  <a:gd name="T1" fmla="*/ 46 h 1663"/>
                  <a:gd name="T2" fmla="*/ 286 w 776"/>
                  <a:gd name="T3" fmla="*/ 107 h 1663"/>
                  <a:gd name="T4" fmla="*/ 408 w 776"/>
                  <a:gd name="T5" fmla="*/ 212 h 1663"/>
                  <a:gd name="T6" fmla="*/ 497 w 776"/>
                  <a:gd name="T7" fmla="*/ 294 h 1663"/>
                  <a:gd name="T8" fmla="*/ 632 w 776"/>
                  <a:gd name="T9" fmla="*/ 416 h 1663"/>
                  <a:gd name="T10" fmla="*/ 674 w 776"/>
                  <a:gd name="T11" fmla="*/ 467 h 1663"/>
                  <a:gd name="T12" fmla="*/ 746 w 776"/>
                  <a:gd name="T13" fmla="*/ 567 h 1663"/>
                  <a:gd name="T14" fmla="*/ 763 w 776"/>
                  <a:gd name="T15" fmla="*/ 616 h 1663"/>
                  <a:gd name="T16" fmla="*/ 750 w 776"/>
                  <a:gd name="T17" fmla="*/ 638 h 1663"/>
                  <a:gd name="T18" fmla="*/ 739 w 776"/>
                  <a:gd name="T19" fmla="*/ 659 h 1663"/>
                  <a:gd name="T20" fmla="*/ 719 w 776"/>
                  <a:gd name="T21" fmla="*/ 681 h 1663"/>
                  <a:gd name="T22" fmla="*/ 704 w 776"/>
                  <a:gd name="T23" fmla="*/ 702 h 1663"/>
                  <a:gd name="T24" fmla="*/ 692 w 776"/>
                  <a:gd name="T25" fmla="*/ 722 h 1663"/>
                  <a:gd name="T26" fmla="*/ 663 w 776"/>
                  <a:gd name="T27" fmla="*/ 765 h 1663"/>
                  <a:gd name="T28" fmla="*/ 649 w 776"/>
                  <a:gd name="T29" fmla="*/ 784 h 1663"/>
                  <a:gd name="T30" fmla="*/ 628 w 776"/>
                  <a:gd name="T31" fmla="*/ 800 h 1663"/>
                  <a:gd name="T32" fmla="*/ 606 w 776"/>
                  <a:gd name="T33" fmla="*/ 819 h 1663"/>
                  <a:gd name="T34" fmla="*/ 598 w 776"/>
                  <a:gd name="T35" fmla="*/ 847 h 1663"/>
                  <a:gd name="T36" fmla="*/ 590 w 776"/>
                  <a:gd name="T37" fmla="*/ 878 h 1663"/>
                  <a:gd name="T38" fmla="*/ 590 w 776"/>
                  <a:gd name="T39" fmla="*/ 904 h 1663"/>
                  <a:gd name="T40" fmla="*/ 597 w 776"/>
                  <a:gd name="T41" fmla="*/ 933 h 1663"/>
                  <a:gd name="T42" fmla="*/ 597 w 776"/>
                  <a:gd name="T43" fmla="*/ 996 h 1663"/>
                  <a:gd name="T44" fmla="*/ 571 w 776"/>
                  <a:gd name="T45" fmla="*/ 1042 h 1663"/>
                  <a:gd name="T46" fmla="*/ 418 w 776"/>
                  <a:gd name="T47" fmla="*/ 1091 h 1663"/>
                  <a:gd name="T48" fmla="*/ 372 w 776"/>
                  <a:gd name="T49" fmla="*/ 1201 h 1663"/>
                  <a:gd name="T50" fmla="*/ 367 w 776"/>
                  <a:gd name="T51" fmla="*/ 1337 h 1663"/>
                  <a:gd name="T52" fmla="*/ 280 w 776"/>
                  <a:gd name="T53" fmla="*/ 1451 h 1663"/>
                  <a:gd name="T54" fmla="*/ 202 w 776"/>
                  <a:gd name="T55" fmla="*/ 1521 h 1663"/>
                  <a:gd name="T56" fmla="*/ 129 w 776"/>
                  <a:gd name="T57" fmla="*/ 1622 h 1663"/>
                  <a:gd name="T58" fmla="*/ 74 w 776"/>
                  <a:gd name="T59" fmla="*/ 1659 h 1663"/>
                  <a:gd name="T60" fmla="*/ 47 w 776"/>
                  <a:gd name="T61" fmla="*/ 1597 h 1663"/>
                  <a:gd name="T62" fmla="*/ 17 w 776"/>
                  <a:gd name="T63" fmla="*/ 1570 h 1663"/>
                  <a:gd name="T64" fmla="*/ 39 w 776"/>
                  <a:gd name="T65" fmla="*/ 1530 h 1663"/>
                  <a:gd name="T66" fmla="*/ 11 w 776"/>
                  <a:gd name="T67" fmla="*/ 1510 h 1663"/>
                  <a:gd name="T68" fmla="*/ 38 w 776"/>
                  <a:gd name="T69" fmla="*/ 1475 h 1663"/>
                  <a:gd name="T70" fmla="*/ 34 w 776"/>
                  <a:gd name="T71" fmla="*/ 1427 h 1663"/>
                  <a:gd name="T72" fmla="*/ 33 w 776"/>
                  <a:gd name="T73" fmla="*/ 1396 h 1663"/>
                  <a:gd name="T74" fmla="*/ 66 w 776"/>
                  <a:gd name="T75" fmla="*/ 1405 h 1663"/>
                  <a:gd name="T76" fmla="*/ 74 w 776"/>
                  <a:gd name="T77" fmla="*/ 1386 h 1663"/>
                  <a:gd name="T78" fmla="*/ 93 w 776"/>
                  <a:gd name="T79" fmla="*/ 1354 h 1663"/>
                  <a:gd name="T80" fmla="*/ 74 w 776"/>
                  <a:gd name="T81" fmla="*/ 1320 h 1663"/>
                  <a:gd name="T82" fmla="*/ 82 w 776"/>
                  <a:gd name="T83" fmla="*/ 1294 h 1663"/>
                  <a:gd name="T84" fmla="*/ 110 w 776"/>
                  <a:gd name="T85" fmla="*/ 1294 h 1663"/>
                  <a:gd name="T86" fmla="*/ 107 w 776"/>
                  <a:gd name="T87" fmla="*/ 1258 h 1663"/>
                  <a:gd name="T88" fmla="*/ 115 w 776"/>
                  <a:gd name="T89" fmla="*/ 1210 h 1663"/>
                  <a:gd name="T90" fmla="*/ 118 w 776"/>
                  <a:gd name="T91" fmla="*/ 1172 h 1663"/>
                  <a:gd name="T92" fmla="*/ 103 w 776"/>
                  <a:gd name="T93" fmla="*/ 1109 h 1663"/>
                  <a:gd name="T94" fmla="*/ 118 w 776"/>
                  <a:gd name="T95" fmla="*/ 1069 h 1663"/>
                  <a:gd name="T96" fmla="*/ 117 w 776"/>
                  <a:gd name="T97" fmla="*/ 1038 h 1663"/>
                  <a:gd name="T98" fmla="*/ 125 w 776"/>
                  <a:gd name="T99" fmla="*/ 987 h 1663"/>
                  <a:gd name="T100" fmla="*/ 104 w 776"/>
                  <a:gd name="T101" fmla="*/ 944 h 1663"/>
                  <a:gd name="T102" fmla="*/ 91 w 776"/>
                  <a:gd name="T103" fmla="*/ 917 h 1663"/>
                  <a:gd name="T104" fmla="*/ 77 w 776"/>
                  <a:gd name="T105" fmla="*/ 878 h 1663"/>
                  <a:gd name="T106" fmla="*/ 66 w 776"/>
                  <a:gd name="T107" fmla="*/ 839 h 1663"/>
                  <a:gd name="T108" fmla="*/ 28 w 776"/>
                  <a:gd name="T109" fmla="*/ 760 h 1663"/>
                  <a:gd name="T110" fmla="*/ 22 w 776"/>
                  <a:gd name="T111" fmla="*/ 737 h 1663"/>
                  <a:gd name="T112" fmla="*/ 11 w 776"/>
                  <a:gd name="T113" fmla="*/ 710 h 1663"/>
                  <a:gd name="T114" fmla="*/ 1 w 776"/>
                  <a:gd name="T115" fmla="*/ 678 h 1663"/>
                  <a:gd name="T116" fmla="*/ 6 w 776"/>
                  <a:gd name="T117" fmla="*/ 649 h 1663"/>
                  <a:gd name="T118" fmla="*/ 30 w 776"/>
                  <a:gd name="T119" fmla="*/ 499 h 1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76" h="1663">
                    <a:moveTo>
                      <a:pt x="117" y="0"/>
                    </a:moveTo>
                    <a:lnTo>
                      <a:pt x="125" y="1"/>
                    </a:lnTo>
                    <a:lnTo>
                      <a:pt x="128" y="6"/>
                    </a:lnTo>
                    <a:lnTo>
                      <a:pt x="133" y="9"/>
                    </a:lnTo>
                    <a:lnTo>
                      <a:pt x="136" y="11"/>
                    </a:lnTo>
                    <a:lnTo>
                      <a:pt x="142" y="14"/>
                    </a:lnTo>
                    <a:lnTo>
                      <a:pt x="152" y="17"/>
                    </a:lnTo>
                    <a:lnTo>
                      <a:pt x="163" y="22"/>
                    </a:lnTo>
                    <a:lnTo>
                      <a:pt x="172" y="25"/>
                    </a:lnTo>
                    <a:lnTo>
                      <a:pt x="185" y="31"/>
                    </a:lnTo>
                    <a:lnTo>
                      <a:pt x="190" y="35"/>
                    </a:lnTo>
                    <a:lnTo>
                      <a:pt x="191" y="36"/>
                    </a:lnTo>
                    <a:lnTo>
                      <a:pt x="193" y="36"/>
                    </a:lnTo>
                    <a:lnTo>
                      <a:pt x="196" y="41"/>
                    </a:lnTo>
                    <a:lnTo>
                      <a:pt x="198" y="43"/>
                    </a:lnTo>
                    <a:lnTo>
                      <a:pt x="199" y="44"/>
                    </a:lnTo>
                    <a:lnTo>
                      <a:pt x="202" y="46"/>
                    </a:lnTo>
                    <a:lnTo>
                      <a:pt x="204" y="47"/>
                    </a:lnTo>
                    <a:lnTo>
                      <a:pt x="205" y="47"/>
                    </a:lnTo>
                    <a:lnTo>
                      <a:pt x="210" y="52"/>
                    </a:lnTo>
                    <a:lnTo>
                      <a:pt x="212" y="52"/>
                    </a:lnTo>
                    <a:lnTo>
                      <a:pt x="218" y="57"/>
                    </a:lnTo>
                    <a:lnTo>
                      <a:pt x="225" y="62"/>
                    </a:lnTo>
                    <a:lnTo>
                      <a:pt x="232" y="66"/>
                    </a:lnTo>
                    <a:lnTo>
                      <a:pt x="240" y="71"/>
                    </a:lnTo>
                    <a:lnTo>
                      <a:pt x="248" y="77"/>
                    </a:lnTo>
                    <a:lnTo>
                      <a:pt x="255" y="81"/>
                    </a:lnTo>
                    <a:lnTo>
                      <a:pt x="259" y="85"/>
                    </a:lnTo>
                    <a:lnTo>
                      <a:pt x="266" y="90"/>
                    </a:lnTo>
                    <a:lnTo>
                      <a:pt x="269" y="92"/>
                    </a:lnTo>
                    <a:lnTo>
                      <a:pt x="275" y="96"/>
                    </a:lnTo>
                    <a:lnTo>
                      <a:pt x="280" y="101"/>
                    </a:lnTo>
                    <a:lnTo>
                      <a:pt x="286" y="106"/>
                    </a:lnTo>
                    <a:lnTo>
                      <a:pt x="286" y="107"/>
                    </a:lnTo>
                    <a:lnTo>
                      <a:pt x="299" y="114"/>
                    </a:lnTo>
                    <a:lnTo>
                      <a:pt x="307" y="120"/>
                    </a:lnTo>
                    <a:lnTo>
                      <a:pt x="315" y="126"/>
                    </a:lnTo>
                    <a:lnTo>
                      <a:pt x="320" y="130"/>
                    </a:lnTo>
                    <a:lnTo>
                      <a:pt x="324" y="131"/>
                    </a:lnTo>
                    <a:lnTo>
                      <a:pt x="327" y="136"/>
                    </a:lnTo>
                    <a:lnTo>
                      <a:pt x="332" y="139"/>
                    </a:lnTo>
                    <a:lnTo>
                      <a:pt x="337" y="142"/>
                    </a:lnTo>
                    <a:lnTo>
                      <a:pt x="343" y="147"/>
                    </a:lnTo>
                    <a:lnTo>
                      <a:pt x="351" y="155"/>
                    </a:lnTo>
                    <a:lnTo>
                      <a:pt x="358" y="161"/>
                    </a:lnTo>
                    <a:lnTo>
                      <a:pt x="365" y="171"/>
                    </a:lnTo>
                    <a:lnTo>
                      <a:pt x="372" y="177"/>
                    </a:lnTo>
                    <a:lnTo>
                      <a:pt x="380" y="185"/>
                    </a:lnTo>
                    <a:lnTo>
                      <a:pt x="392" y="195"/>
                    </a:lnTo>
                    <a:lnTo>
                      <a:pt x="402" y="204"/>
                    </a:lnTo>
                    <a:lnTo>
                      <a:pt x="408" y="212"/>
                    </a:lnTo>
                    <a:lnTo>
                      <a:pt x="413" y="218"/>
                    </a:lnTo>
                    <a:lnTo>
                      <a:pt x="415" y="220"/>
                    </a:lnTo>
                    <a:lnTo>
                      <a:pt x="426" y="229"/>
                    </a:lnTo>
                    <a:lnTo>
                      <a:pt x="429" y="234"/>
                    </a:lnTo>
                    <a:lnTo>
                      <a:pt x="434" y="239"/>
                    </a:lnTo>
                    <a:lnTo>
                      <a:pt x="442" y="247"/>
                    </a:lnTo>
                    <a:lnTo>
                      <a:pt x="453" y="255"/>
                    </a:lnTo>
                    <a:lnTo>
                      <a:pt x="461" y="263"/>
                    </a:lnTo>
                    <a:lnTo>
                      <a:pt x="472" y="272"/>
                    </a:lnTo>
                    <a:lnTo>
                      <a:pt x="478" y="277"/>
                    </a:lnTo>
                    <a:lnTo>
                      <a:pt x="478" y="279"/>
                    </a:lnTo>
                    <a:lnTo>
                      <a:pt x="480" y="279"/>
                    </a:lnTo>
                    <a:lnTo>
                      <a:pt x="480" y="280"/>
                    </a:lnTo>
                    <a:lnTo>
                      <a:pt x="483" y="282"/>
                    </a:lnTo>
                    <a:lnTo>
                      <a:pt x="486" y="285"/>
                    </a:lnTo>
                    <a:lnTo>
                      <a:pt x="489" y="288"/>
                    </a:lnTo>
                    <a:lnTo>
                      <a:pt x="497" y="294"/>
                    </a:lnTo>
                    <a:lnTo>
                      <a:pt x="508" y="304"/>
                    </a:lnTo>
                    <a:lnTo>
                      <a:pt x="516" y="312"/>
                    </a:lnTo>
                    <a:lnTo>
                      <a:pt x="530" y="321"/>
                    </a:lnTo>
                    <a:lnTo>
                      <a:pt x="538" y="331"/>
                    </a:lnTo>
                    <a:lnTo>
                      <a:pt x="548" y="340"/>
                    </a:lnTo>
                    <a:lnTo>
                      <a:pt x="557" y="348"/>
                    </a:lnTo>
                    <a:lnTo>
                      <a:pt x="565" y="353"/>
                    </a:lnTo>
                    <a:lnTo>
                      <a:pt x="575" y="363"/>
                    </a:lnTo>
                    <a:lnTo>
                      <a:pt x="579" y="369"/>
                    </a:lnTo>
                    <a:lnTo>
                      <a:pt x="590" y="377"/>
                    </a:lnTo>
                    <a:lnTo>
                      <a:pt x="598" y="385"/>
                    </a:lnTo>
                    <a:lnTo>
                      <a:pt x="603" y="388"/>
                    </a:lnTo>
                    <a:lnTo>
                      <a:pt x="611" y="394"/>
                    </a:lnTo>
                    <a:lnTo>
                      <a:pt x="619" y="404"/>
                    </a:lnTo>
                    <a:lnTo>
                      <a:pt x="625" y="409"/>
                    </a:lnTo>
                    <a:lnTo>
                      <a:pt x="630" y="413"/>
                    </a:lnTo>
                    <a:lnTo>
                      <a:pt x="632" y="416"/>
                    </a:lnTo>
                    <a:lnTo>
                      <a:pt x="633" y="418"/>
                    </a:lnTo>
                    <a:lnTo>
                      <a:pt x="635" y="420"/>
                    </a:lnTo>
                    <a:lnTo>
                      <a:pt x="638" y="421"/>
                    </a:lnTo>
                    <a:lnTo>
                      <a:pt x="638" y="423"/>
                    </a:lnTo>
                    <a:lnTo>
                      <a:pt x="641" y="426"/>
                    </a:lnTo>
                    <a:lnTo>
                      <a:pt x="647" y="431"/>
                    </a:lnTo>
                    <a:lnTo>
                      <a:pt x="651" y="434"/>
                    </a:lnTo>
                    <a:lnTo>
                      <a:pt x="652" y="435"/>
                    </a:lnTo>
                    <a:lnTo>
                      <a:pt x="654" y="437"/>
                    </a:lnTo>
                    <a:lnTo>
                      <a:pt x="654" y="439"/>
                    </a:lnTo>
                    <a:lnTo>
                      <a:pt x="655" y="442"/>
                    </a:lnTo>
                    <a:lnTo>
                      <a:pt x="657" y="443"/>
                    </a:lnTo>
                    <a:lnTo>
                      <a:pt x="659" y="447"/>
                    </a:lnTo>
                    <a:lnTo>
                      <a:pt x="663" y="451"/>
                    </a:lnTo>
                    <a:lnTo>
                      <a:pt x="666" y="456"/>
                    </a:lnTo>
                    <a:lnTo>
                      <a:pt x="670" y="461"/>
                    </a:lnTo>
                    <a:lnTo>
                      <a:pt x="674" y="467"/>
                    </a:lnTo>
                    <a:lnTo>
                      <a:pt x="678" y="473"/>
                    </a:lnTo>
                    <a:lnTo>
                      <a:pt x="679" y="477"/>
                    </a:lnTo>
                    <a:lnTo>
                      <a:pt x="684" y="483"/>
                    </a:lnTo>
                    <a:lnTo>
                      <a:pt x="687" y="489"/>
                    </a:lnTo>
                    <a:lnTo>
                      <a:pt x="692" y="496"/>
                    </a:lnTo>
                    <a:lnTo>
                      <a:pt x="697" y="504"/>
                    </a:lnTo>
                    <a:lnTo>
                      <a:pt x="703" y="512"/>
                    </a:lnTo>
                    <a:lnTo>
                      <a:pt x="709" y="521"/>
                    </a:lnTo>
                    <a:lnTo>
                      <a:pt x="712" y="526"/>
                    </a:lnTo>
                    <a:lnTo>
                      <a:pt x="714" y="529"/>
                    </a:lnTo>
                    <a:lnTo>
                      <a:pt x="719" y="534"/>
                    </a:lnTo>
                    <a:lnTo>
                      <a:pt x="720" y="535"/>
                    </a:lnTo>
                    <a:lnTo>
                      <a:pt x="725" y="542"/>
                    </a:lnTo>
                    <a:lnTo>
                      <a:pt x="730" y="546"/>
                    </a:lnTo>
                    <a:lnTo>
                      <a:pt x="735" y="554"/>
                    </a:lnTo>
                    <a:lnTo>
                      <a:pt x="739" y="561"/>
                    </a:lnTo>
                    <a:lnTo>
                      <a:pt x="746" y="567"/>
                    </a:lnTo>
                    <a:lnTo>
                      <a:pt x="750" y="573"/>
                    </a:lnTo>
                    <a:lnTo>
                      <a:pt x="752" y="575"/>
                    </a:lnTo>
                    <a:lnTo>
                      <a:pt x="754" y="576"/>
                    </a:lnTo>
                    <a:lnTo>
                      <a:pt x="757" y="581"/>
                    </a:lnTo>
                    <a:lnTo>
                      <a:pt x="761" y="586"/>
                    </a:lnTo>
                    <a:lnTo>
                      <a:pt x="765" y="589"/>
                    </a:lnTo>
                    <a:lnTo>
                      <a:pt x="766" y="591"/>
                    </a:lnTo>
                    <a:lnTo>
                      <a:pt x="769" y="595"/>
                    </a:lnTo>
                    <a:lnTo>
                      <a:pt x="776" y="602"/>
                    </a:lnTo>
                    <a:lnTo>
                      <a:pt x="769" y="608"/>
                    </a:lnTo>
                    <a:lnTo>
                      <a:pt x="769" y="610"/>
                    </a:lnTo>
                    <a:lnTo>
                      <a:pt x="768" y="610"/>
                    </a:lnTo>
                    <a:lnTo>
                      <a:pt x="768" y="611"/>
                    </a:lnTo>
                    <a:lnTo>
                      <a:pt x="766" y="611"/>
                    </a:lnTo>
                    <a:lnTo>
                      <a:pt x="766" y="613"/>
                    </a:lnTo>
                    <a:lnTo>
                      <a:pt x="765" y="615"/>
                    </a:lnTo>
                    <a:lnTo>
                      <a:pt x="763" y="616"/>
                    </a:lnTo>
                    <a:lnTo>
                      <a:pt x="763" y="618"/>
                    </a:lnTo>
                    <a:lnTo>
                      <a:pt x="761" y="618"/>
                    </a:lnTo>
                    <a:lnTo>
                      <a:pt x="761" y="619"/>
                    </a:lnTo>
                    <a:lnTo>
                      <a:pt x="760" y="621"/>
                    </a:lnTo>
                    <a:lnTo>
                      <a:pt x="760" y="622"/>
                    </a:lnTo>
                    <a:lnTo>
                      <a:pt x="758" y="622"/>
                    </a:lnTo>
                    <a:lnTo>
                      <a:pt x="758" y="624"/>
                    </a:lnTo>
                    <a:lnTo>
                      <a:pt x="757" y="626"/>
                    </a:lnTo>
                    <a:lnTo>
                      <a:pt x="755" y="627"/>
                    </a:lnTo>
                    <a:lnTo>
                      <a:pt x="755" y="629"/>
                    </a:lnTo>
                    <a:lnTo>
                      <a:pt x="754" y="629"/>
                    </a:lnTo>
                    <a:lnTo>
                      <a:pt x="754" y="630"/>
                    </a:lnTo>
                    <a:lnTo>
                      <a:pt x="752" y="632"/>
                    </a:lnTo>
                    <a:lnTo>
                      <a:pt x="752" y="634"/>
                    </a:lnTo>
                    <a:lnTo>
                      <a:pt x="752" y="635"/>
                    </a:lnTo>
                    <a:lnTo>
                      <a:pt x="750" y="637"/>
                    </a:lnTo>
                    <a:lnTo>
                      <a:pt x="750" y="638"/>
                    </a:lnTo>
                    <a:lnTo>
                      <a:pt x="750" y="640"/>
                    </a:lnTo>
                    <a:lnTo>
                      <a:pt x="749" y="641"/>
                    </a:lnTo>
                    <a:lnTo>
                      <a:pt x="749" y="643"/>
                    </a:lnTo>
                    <a:lnTo>
                      <a:pt x="749" y="645"/>
                    </a:lnTo>
                    <a:lnTo>
                      <a:pt x="747" y="646"/>
                    </a:lnTo>
                    <a:lnTo>
                      <a:pt x="747" y="648"/>
                    </a:lnTo>
                    <a:lnTo>
                      <a:pt x="747" y="649"/>
                    </a:lnTo>
                    <a:lnTo>
                      <a:pt x="747" y="651"/>
                    </a:lnTo>
                    <a:lnTo>
                      <a:pt x="746" y="651"/>
                    </a:lnTo>
                    <a:lnTo>
                      <a:pt x="746" y="653"/>
                    </a:lnTo>
                    <a:lnTo>
                      <a:pt x="744" y="653"/>
                    </a:lnTo>
                    <a:lnTo>
                      <a:pt x="744" y="654"/>
                    </a:lnTo>
                    <a:lnTo>
                      <a:pt x="742" y="656"/>
                    </a:lnTo>
                    <a:lnTo>
                      <a:pt x="741" y="656"/>
                    </a:lnTo>
                    <a:lnTo>
                      <a:pt x="741" y="657"/>
                    </a:lnTo>
                    <a:lnTo>
                      <a:pt x="739" y="657"/>
                    </a:lnTo>
                    <a:lnTo>
                      <a:pt x="739" y="659"/>
                    </a:lnTo>
                    <a:lnTo>
                      <a:pt x="736" y="662"/>
                    </a:lnTo>
                    <a:lnTo>
                      <a:pt x="735" y="662"/>
                    </a:lnTo>
                    <a:lnTo>
                      <a:pt x="733" y="664"/>
                    </a:lnTo>
                    <a:lnTo>
                      <a:pt x="733" y="665"/>
                    </a:lnTo>
                    <a:lnTo>
                      <a:pt x="731" y="667"/>
                    </a:lnTo>
                    <a:lnTo>
                      <a:pt x="730" y="667"/>
                    </a:lnTo>
                    <a:lnTo>
                      <a:pt x="728" y="670"/>
                    </a:lnTo>
                    <a:lnTo>
                      <a:pt x="727" y="670"/>
                    </a:lnTo>
                    <a:lnTo>
                      <a:pt x="727" y="672"/>
                    </a:lnTo>
                    <a:lnTo>
                      <a:pt x="725" y="672"/>
                    </a:lnTo>
                    <a:lnTo>
                      <a:pt x="723" y="673"/>
                    </a:lnTo>
                    <a:lnTo>
                      <a:pt x="723" y="675"/>
                    </a:lnTo>
                    <a:lnTo>
                      <a:pt x="722" y="675"/>
                    </a:lnTo>
                    <a:lnTo>
                      <a:pt x="722" y="676"/>
                    </a:lnTo>
                    <a:lnTo>
                      <a:pt x="720" y="678"/>
                    </a:lnTo>
                    <a:lnTo>
                      <a:pt x="719" y="679"/>
                    </a:lnTo>
                    <a:lnTo>
                      <a:pt x="719" y="681"/>
                    </a:lnTo>
                    <a:lnTo>
                      <a:pt x="717" y="681"/>
                    </a:lnTo>
                    <a:lnTo>
                      <a:pt x="717" y="683"/>
                    </a:lnTo>
                    <a:lnTo>
                      <a:pt x="716" y="684"/>
                    </a:lnTo>
                    <a:lnTo>
                      <a:pt x="716" y="686"/>
                    </a:lnTo>
                    <a:lnTo>
                      <a:pt x="714" y="687"/>
                    </a:lnTo>
                    <a:lnTo>
                      <a:pt x="714" y="689"/>
                    </a:lnTo>
                    <a:lnTo>
                      <a:pt x="712" y="689"/>
                    </a:lnTo>
                    <a:lnTo>
                      <a:pt x="712" y="691"/>
                    </a:lnTo>
                    <a:lnTo>
                      <a:pt x="711" y="692"/>
                    </a:lnTo>
                    <a:lnTo>
                      <a:pt x="711" y="694"/>
                    </a:lnTo>
                    <a:lnTo>
                      <a:pt x="709" y="694"/>
                    </a:lnTo>
                    <a:lnTo>
                      <a:pt x="709" y="695"/>
                    </a:lnTo>
                    <a:lnTo>
                      <a:pt x="709" y="697"/>
                    </a:lnTo>
                    <a:lnTo>
                      <a:pt x="708" y="698"/>
                    </a:lnTo>
                    <a:lnTo>
                      <a:pt x="706" y="700"/>
                    </a:lnTo>
                    <a:lnTo>
                      <a:pt x="706" y="702"/>
                    </a:lnTo>
                    <a:lnTo>
                      <a:pt x="704" y="702"/>
                    </a:lnTo>
                    <a:lnTo>
                      <a:pt x="704" y="703"/>
                    </a:lnTo>
                    <a:lnTo>
                      <a:pt x="703" y="705"/>
                    </a:lnTo>
                    <a:lnTo>
                      <a:pt x="701" y="706"/>
                    </a:lnTo>
                    <a:lnTo>
                      <a:pt x="700" y="708"/>
                    </a:lnTo>
                    <a:lnTo>
                      <a:pt x="700" y="710"/>
                    </a:lnTo>
                    <a:lnTo>
                      <a:pt x="700" y="711"/>
                    </a:lnTo>
                    <a:lnTo>
                      <a:pt x="698" y="713"/>
                    </a:lnTo>
                    <a:lnTo>
                      <a:pt x="698" y="714"/>
                    </a:lnTo>
                    <a:lnTo>
                      <a:pt x="698" y="716"/>
                    </a:lnTo>
                    <a:lnTo>
                      <a:pt x="698" y="717"/>
                    </a:lnTo>
                    <a:lnTo>
                      <a:pt x="697" y="717"/>
                    </a:lnTo>
                    <a:lnTo>
                      <a:pt x="697" y="719"/>
                    </a:lnTo>
                    <a:lnTo>
                      <a:pt x="695" y="719"/>
                    </a:lnTo>
                    <a:lnTo>
                      <a:pt x="695" y="717"/>
                    </a:lnTo>
                    <a:lnTo>
                      <a:pt x="695" y="719"/>
                    </a:lnTo>
                    <a:lnTo>
                      <a:pt x="693" y="721"/>
                    </a:lnTo>
                    <a:lnTo>
                      <a:pt x="692" y="722"/>
                    </a:lnTo>
                    <a:lnTo>
                      <a:pt x="690" y="724"/>
                    </a:lnTo>
                    <a:lnTo>
                      <a:pt x="689" y="729"/>
                    </a:lnTo>
                    <a:lnTo>
                      <a:pt x="687" y="730"/>
                    </a:lnTo>
                    <a:lnTo>
                      <a:pt x="687" y="732"/>
                    </a:lnTo>
                    <a:lnTo>
                      <a:pt x="685" y="733"/>
                    </a:lnTo>
                    <a:lnTo>
                      <a:pt x="684" y="735"/>
                    </a:lnTo>
                    <a:lnTo>
                      <a:pt x="681" y="738"/>
                    </a:lnTo>
                    <a:lnTo>
                      <a:pt x="676" y="744"/>
                    </a:lnTo>
                    <a:lnTo>
                      <a:pt x="673" y="748"/>
                    </a:lnTo>
                    <a:lnTo>
                      <a:pt x="673" y="749"/>
                    </a:lnTo>
                    <a:lnTo>
                      <a:pt x="671" y="751"/>
                    </a:lnTo>
                    <a:lnTo>
                      <a:pt x="668" y="757"/>
                    </a:lnTo>
                    <a:lnTo>
                      <a:pt x="666" y="760"/>
                    </a:lnTo>
                    <a:lnTo>
                      <a:pt x="665" y="762"/>
                    </a:lnTo>
                    <a:lnTo>
                      <a:pt x="665" y="763"/>
                    </a:lnTo>
                    <a:lnTo>
                      <a:pt x="663" y="763"/>
                    </a:lnTo>
                    <a:lnTo>
                      <a:pt x="663" y="765"/>
                    </a:lnTo>
                    <a:lnTo>
                      <a:pt x="662" y="767"/>
                    </a:lnTo>
                    <a:lnTo>
                      <a:pt x="662" y="768"/>
                    </a:lnTo>
                    <a:lnTo>
                      <a:pt x="660" y="768"/>
                    </a:lnTo>
                    <a:lnTo>
                      <a:pt x="660" y="770"/>
                    </a:lnTo>
                    <a:lnTo>
                      <a:pt x="659" y="771"/>
                    </a:lnTo>
                    <a:lnTo>
                      <a:pt x="659" y="773"/>
                    </a:lnTo>
                    <a:lnTo>
                      <a:pt x="657" y="773"/>
                    </a:lnTo>
                    <a:lnTo>
                      <a:pt x="657" y="775"/>
                    </a:lnTo>
                    <a:lnTo>
                      <a:pt x="655" y="775"/>
                    </a:lnTo>
                    <a:lnTo>
                      <a:pt x="655" y="776"/>
                    </a:lnTo>
                    <a:lnTo>
                      <a:pt x="654" y="776"/>
                    </a:lnTo>
                    <a:lnTo>
                      <a:pt x="654" y="778"/>
                    </a:lnTo>
                    <a:lnTo>
                      <a:pt x="652" y="779"/>
                    </a:lnTo>
                    <a:lnTo>
                      <a:pt x="652" y="781"/>
                    </a:lnTo>
                    <a:lnTo>
                      <a:pt x="651" y="781"/>
                    </a:lnTo>
                    <a:lnTo>
                      <a:pt x="651" y="782"/>
                    </a:lnTo>
                    <a:lnTo>
                      <a:pt x="649" y="784"/>
                    </a:lnTo>
                    <a:lnTo>
                      <a:pt x="649" y="786"/>
                    </a:lnTo>
                    <a:lnTo>
                      <a:pt x="647" y="787"/>
                    </a:lnTo>
                    <a:lnTo>
                      <a:pt x="647" y="789"/>
                    </a:lnTo>
                    <a:lnTo>
                      <a:pt x="646" y="789"/>
                    </a:lnTo>
                    <a:lnTo>
                      <a:pt x="646" y="790"/>
                    </a:lnTo>
                    <a:lnTo>
                      <a:pt x="644" y="790"/>
                    </a:lnTo>
                    <a:lnTo>
                      <a:pt x="644" y="792"/>
                    </a:lnTo>
                    <a:lnTo>
                      <a:pt x="643" y="794"/>
                    </a:lnTo>
                    <a:lnTo>
                      <a:pt x="641" y="795"/>
                    </a:lnTo>
                    <a:lnTo>
                      <a:pt x="640" y="797"/>
                    </a:lnTo>
                    <a:lnTo>
                      <a:pt x="638" y="797"/>
                    </a:lnTo>
                    <a:lnTo>
                      <a:pt x="638" y="798"/>
                    </a:lnTo>
                    <a:lnTo>
                      <a:pt x="636" y="798"/>
                    </a:lnTo>
                    <a:lnTo>
                      <a:pt x="635" y="798"/>
                    </a:lnTo>
                    <a:lnTo>
                      <a:pt x="633" y="798"/>
                    </a:lnTo>
                    <a:lnTo>
                      <a:pt x="632" y="800"/>
                    </a:lnTo>
                    <a:lnTo>
                      <a:pt x="628" y="800"/>
                    </a:lnTo>
                    <a:lnTo>
                      <a:pt x="627" y="801"/>
                    </a:lnTo>
                    <a:lnTo>
                      <a:pt x="625" y="801"/>
                    </a:lnTo>
                    <a:lnTo>
                      <a:pt x="624" y="801"/>
                    </a:lnTo>
                    <a:lnTo>
                      <a:pt x="624" y="803"/>
                    </a:lnTo>
                    <a:lnTo>
                      <a:pt x="624" y="805"/>
                    </a:lnTo>
                    <a:lnTo>
                      <a:pt x="624" y="806"/>
                    </a:lnTo>
                    <a:lnTo>
                      <a:pt x="624" y="808"/>
                    </a:lnTo>
                    <a:lnTo>
                      <a:pt x="624" y="809"/>
                    </a:lnTo>
                    <a:lnTo>
                      <a:pt x="624" y="811"/>
                    </a:lnTo>
                    <a:lnTo>
                      <a:pt x="624" y="813"/>
                    </a:lnTo>
                    <a:lnTo>
                      <a:pt x="622" y="814"/>
                    </a:lnTo>
                    <a:lnTo>
                      <a:pt x="621" y="814"/>
                    </a:lnTo>
                    <a:lnTo>
                      <a:pt x="619" y="814"/>
                    </a:lnTo>
                    <a:lnTo>
                      <a:pt x="617" y="816"/>
                    </a:lnTo>
                    <a:lnTo>
                      <a:pt x="609" y="819"/>
                    </a:lnTo>
                    <a:lnTo>
                      <a:pt x="608" y="819"/>
                    </a:lnTo>
                    <a:lnTo>
                      <a:pt x="606" y="819"/>
                    </a:lnTo>
                    <a:lnTo>
                      <a:pt x="605" y="820"/>
                    </a:lnTo>
                    <a:lnTo>
                      <a:pt x="605" y="822"/>
                    </a:lnTo>
                    <a:lnTo>
                      <a:pt x="605" y="824"/>
                    </a:lnTo>
                    <a:lnTo>
                      <a:pt x="603" y="825"/>
                    </a:lnTo>
                    <a:lnTo>
                      <a:pt x="603" y="828"/>
                    </a:lnTo>
                    <a:lnTo>
                      <a:pt x="602" y="828"/>
                    </a:lnTo>
                    <a:lnTo>
                      <a:pt x="602" y="830"/>
                    </a:lnTo>
                    <a:lnTo>
                      <a:pt x="602" y="832"/>
                    </a:lnTo>
                    <a:lnTo>
                      <a:pt x="600" y="836"/>
                    </a:lnTo>
                    <a:lnTo>
                      <a:pt x="600" y="838"/>
                    </a:lnTo>
                    <a:lnTo>
                      <a:pt x="598" y="838"/>
                    </a:lnTo>
                    <a:lnTo>
                      <a:pt x="598" y="839"/>
                    </a:lnTo>
                    <a:lnTo>
                      <a:pt x="598" y="841"/>
                    </a:lnTo>
                    <a:lnTo>
                      <a:pt x="598" y="843"/>
                    </a:lnTo>
                    <a:lnTo>
                      <a:pt x="598" y="844"/>
                    </a:lnTo>
                    <a:lnTo>
                      <a:pt x="598" y="846"/>
                    </a:lnTo>
                    <a:lnTo>
                      <a:pt x="598" y="847"/>
                    </a:lnTo>
                    <a:lnTo>
                      <a:pt x="597" y="849"/>
                    </a:lnTo>
                    <a:lnTo>
                      <a:pt x="597" y="851"/>
                    </a:lnTo>
                    <a:lnTo>
                      <a:pt x="597" y="854"/>
                    </a:lnTo>
                    <a:lnTo>
                      <a:pt x="597" y="857"/>
                    </a:lnTo>
                    <a:lnTo>
                      <a:pt x="597" y="860"/>
                    </a:lnTo>
                    <a:lnTo>
                      <a:pt x="597" y="863"/>
                    </a:lnTo>
                    <a:lnTo>
                      <a:pt x="597" y="865"/>
                    </a:lnTo>
                    <a:lnTo>
                      <a:pt x="597" y="866"/>
                    </a:lnTo>
                    <a:lnTo>
                      <a:pt x="595" y="868"/>
                    </a:lnTo>
                    <a:lnTo>
                      <a:pt x="595" y="870"/>
                    </a:lnTo>
                    <a:lnTo>
                      <a:pt x="594" y="870"/>
                    </a:lnTo>
                    <a:lnTo>
                      <a:pt x="594" y="871"/>
                    </a:lnTo>
                    <a:lnTo>
                      <a:pt x="594" y="873"/>
                    </a:lnTo>
                    <a:lnTo>
                      <a:pt x="592" y="873"/>
                    </a:lnTo>
                    <a:lnTo>
                      <a:pt x="592" y="874"/>
                    </a:lnTo>
                    <a:lnTo>
                      <a:pt x="590" y="876"/>
                    </a:lnTo>
                    <a:lnTo>
                      <a:pt x="590" y="878"/>
                    </a:lnTo>
                    <a:lnTo>
                      <a:pt x="590" y="879"/>
                    </a:lnTo>
                    <a:lnTo>
                      <a:pt x="590" y="881"/>
                    </a:lnTo>
                    <a:lnTo>
                      <a:pt x="589" y="884"/>
                    </a:lnTo>
                    <a:lnTo>
                      <a:pt x="589" y="885"/>
                    </a:lnTo>
                    <a:lnTo>
                      <a:pt x="589" y="887"/>
                    </a:lnTo>
                    <a:lnTo>
                      <a:pt x="587" y="887"/>
                    </a:lnTo>
                    <a:lnTo>
                      <a:pt x="587" y="889"/>
                    </a:lnTo>
                    <a:lnTo>
                      <a:pt x="587" y="890"/>
                    </a:lnTo>
                    <a:lnTo>
                      <a:pt x="587" y="892"/>
                    </a:lnTo>
                    <a:lnTo>
                      <a:pt x="587" y="893"/>
                    </a:lnTo>
                    <a:lnTo>
                      <a:pt x="589" y="893"/>
                    </a:lnTo>
                    <a:lnTo>
                      <a:pt x="589" y="897"/>
                    </a:lnTo>
                    <a:lnTo>
                      <a:pt x="589" y="898"/>
                    </a:lnTo>
                    <a:lnTo>
                      <a:pt x="589" y="900"/>
                    </a:lnTo>
                    <a:lnTo>
                      <a:pt x="590" y="900"/>
                    </a:lnTo>
                    <a:lnTo>
                      <a:pt x="590" y="903"/>
                    </a:lnTo>
                    <a:lnTo>
                      <a:pt x="590" y="904"/>
                    </a:lnTo>
                    <a:lnTo>
                      <a:pt x="590" y="906"/>
                    </a:lnTo>
                    <a:lnTo>
                      <a:pt x="590" y="908"/>
                    </a:lnTo>
                    <a:lnTo>
                      <a:pt x="592" y="908"/>
                    </a:lnTo>
                    <a:lnTo>
                      <a:pt x="592" y="909"/>
                    </a:lnTo>
                    <a:lnTo>
                      <a:pt x="592" y="911"/>
                    </a:lnTo>
                    <a:lnTo>
                      <a:pt x="592" y="912"/>
                    </a:lnTo>
                    <a:lnTo>
                      <a:pt x="594" y="916"/>
                    </a:lnTo>
                    <a:lnTo>
                      <a:pt x="594" y="917"/>
                    </a:lnTo>
                    <a:lnTo>
                      <a:pt x="594" y="919"/>
                    </a:lnTo>
                    <a:lnTo>
                      <a:pt x="595" y="920"/>
                    </a:lnTo>
                    <a:lnTo>
                      <a:pt x="595" y="922"/>
                    </a:lnTo>
                    <a:lnTo>
                      <a:pt x="595" y="923"/>
                    </a:lnTo>
                    <a:lnTo>
                      <a:pt x="595" y="925"/>
                    </a:lnTo>
                    <a:lnTo>
                      <a:pt x="597" y="927"/>
                    </a:lnTo>
                    <a:lnTo>
                      <a:pt x="597" y="930"/>
                    </a:lnTo>
                    <a:lnTo>
                      <a:pt x="597" y="931"/>
                    </a:lnTo>
                    <a:lnTo>
                      <a:pt x="597" y="933"/>
                    </a:lnTo>
                    <a:lnTo>
                      <a:pt x="597" y="936"/>
                    </a:lnTo>
                    <a:lnTo>
                      <a:pt x="597" y="941"/>
                    </a:lnTo>
                    <a:lnTo>
                      <a:pt x="597" y="944"/>
                    </a:lnTo>
                    <a:lnTo>
                      <a:pt x="597" y="949"/>
                    </a:lnTo>
                    <a:lnTo>
                      <a:pt x="597" y="960"/>
                    </a:lnTo>
                    <a:lnTo>
                      <a:pt x="597" y="962"/>
                    </a:lnTo>
                    <a:lnTo>
                      <a:pt x="597" y="963"/>
                    </a:lnTo>
                    <a:lnTo>
                      <a:pt x="597" y="965"/>
                    </a:lnTo>
                    <a:lnTo>
                      <a:pt x="597" y="974"/>
                    </a:lnTo>
                    <a:lnTo>
                      <a:pt x="597" y="977"/>
                    </a:lnTo>
                    <a:lnTo>
                      <a:pt x="597" y="979"/>
                    </a:lnTo>
                    <a:lnTo>
                      <a:pt x="597" y="987"/>
                    </a:lnTo>
                    <a:lnTo>
                      <a:pt x="597" y="988"/>
                    </a:lnTo>
                    <a:lnTo>
                      <a:pt x="597" y="992"/>
                    </a:lnTo>
                    <a:lnTo>
                      <a:pt x="597" y="993"/>
                    </a:lnTo>
                    <a:lnTo>
                      <a:pt x="597" y="995"/>
                    </a:lnTo>
                    <a:lnTo>
                      <a:pt x="597" y="996"/>
                    </a:lnTo>
                    <a:lnTo>
                      <a:pt x="597" y="998"/>
                    </a:lnTo>
                    <a:lnTo>
                      <a:pt x="597" y="1000"/>
                    </a:lnTo>
                    <a:lnTo>
                      <a:pt x="597" y="1015"/>
                    </a:lnTo>
                    <a:lnTo>
                      <a:pt x="597" y="1017"/>
                    </a:lnTo>
                    <a:lnTo>
                      <a:pt x="597" y="1019"/>
                    </a:lnTo>
                    <a:lnTo>
                      <a:pt x="597" y="1023"/>
                    </a:lnTo>
                    <a:lnTo>
                      <a:pt x="597" y="1031"/>
                    </a:lnTo>
                    <a:lnTo>
                      <a:pt x="595" y="1033"/>
                    </a:lnTo>
                    <a:lnTo>
                      <a:pt x="595" y="1034"/>
                    </a:lnTo>
                    <a:lnTo>
                      <a:pt x="594" y="1036"/>
                    </a:lnTo>
                    <a:lnTo>
                      <a:pt x="592" y="1036"/>
                    </a:lnTo>
                    <a:lnTo>
                      <a:pt x="587" y="1036"/>
                    </a:lnTo>
                    <a:lnTo>
                      <a:pt x="586" y="1036"/>
                    </a:lnTo>
                    <a:lnTo>
                      <a:pt x="584" y="1038"/>
                    </a:lnTo>
                    <a:lnTo>
                      <a:pt x="579" y="1042"/>
                    </a:lnTo>
                    <a:lnTo>
                      <a:pt x="578" y="1042"/>
                    </a:lnTo>
                    <a:lnTo>
                      <a:pt x="571" y="1042"/>
                    </a:lnTo>
                    <a:lnTo>
                      <a:pt x="567" y="1042"/>
                    </a:lnTo>
                    <a:lnTo>
                      <a:pt x="562" y="1044"/>
                    </a:lnTo>
                    <a:lnTo>
                      <a:pt x="548" y="1042"/>
                    </a:lnTo>
                    <a:lnTo>
                      <a:pt x="532" y="1044"/>
                    </a:lnTo>
                    <a:lnTo>
                      <a:pt x="503" y="1042"/>
                    </a:lnTo>
                    <a:lnTo>
                      <a:pt x="483" y="1045"/>
                    </a:lnTo>
                    <a:lnTo>
                      <a:pt x="476" y="1042"/>
                    </a:lnTo>
                    <a:lnTo>
                      <a:pt x="464" y="1044"/>
                    </a:lnTo>
                    <a:lnTo>
                      <a:pt x="451" y="1044"/>
                    </a:lnTo>
                    <a:lnTo>
                      <a:pt x="445" y="1044"/>
                    </a:lnTo>
                    <a:lnTo>
                      <a:pt x="442" y="1045"/>
                    </a:lnTo>
                    <a:lnTo>
                      <a:pt x="434" y="1055"/>
                    </a:lnTo>
                    <a:lnTo>
                      <a:pt x="430" y="1064"/>
                    </a:lnTo>
                    <a:lnTo>
                      <a:pt x="430" y="1072"/>
                    </a:lnTo>
                    <a:lnTo>
                      <a:pt x="427" y="1080"/>
                    </a:lnTo>
                    <a:lnTo>
                      <a:pt x="423" y="1085"/>
                    </a:lnTo>
                    <a:lnTo>
                      <a:pt x="418" y="1091"/>
                    </a:lnTo>
                    <a:lnTo>
                      <a:pt x="411" y="1098"/>
                    </a:lnTo>
                    <a:lnTo>
                      <a:pt x="407" y="1103"/>
                    </a:lnTo>
                    <a:lnTo>
                      <a:pt x="402" y="1107"/>
                    </a:lnTo>
                    <a:lnTo>
                      <a:pt x="396" y="1114"/>
                    </a:lnTo>
                    <a:lnTo>
                      <a:pt x="389" y="1122"/>
                    </a:lnTo>
                    <a:lnTo>
                      <a:pt x="384" y="1126"/>
                    </a:lnTo>
                    <a:lnTo>
                      <a:pt x="386" y="1133"/>
                    </a:lnTo>
                    <a:lnTo>
                      <a:pt x="386" y="1137"/>
                    </a:lnTo>
                    <a:lnTo>
                      <a:pt x="386" y="1141"/>
                    </a:lnTo>
                    <a:lnTo>
                      <a:pt x="388" y="1150"/>
                    </a:lnTo>
                    <a:lnTo>
                      <a:pt x="386" y="1156"/>
                    </a:lnTo>
                    <a:lnTo>
                      <a:pt x="383" y="1167"/>
                    </a:lnTo>
                    <a:lnTo>
                      <a:pt x="381" y="1174"/>
                    </a:lnTo>
                    <a:lnTo>
                      <a:pt x="380" y="1179"/>
                    </a:lnTo>
                    <a:lnTo>
                      <a:pt x="377" y="1185"/>
                    </a:lnTo>
                    <a:lnTo>
                      <a:pt x="373" y="1194"/>
                    </a:lnTo>
                    <a:lnTo>
                      <a:pt x="372" y="1201"/>
                    </a:lnTo>
                    <a:lnTo>
                      <a:pt x="372" y="1207"/>
                    </a:lnTo>
                    <a:lnTo>
                      <a:pt x="367" y="1225"/>
                    </a:lnTo>
                    <a:lnTo>
                      <a:pt x="364" y="1231"/>
                    </a:lnTo>
                    <a:lnTo>
                      <a:pt x="362" y="1240"/>
                    </a:lnTo>
                    <a:lnTo>
                      <a:pt x="359" y="1255"/>
                    </a:lnTo>
                    <a:lnTo>
                      <a:pt x="356" y="1267"/>
                    </a:lnTo>
                    <a:lnTo>
                      <a:pt x="356" y="1278"/>
                    </a:lnTo>
                    <a:lnTo>
                      <a:pt x="350" y="1297"/>
                    </a:lnTo>
                    <a:lnTo>
                      <a:pt x="348" y="1305"/>
                    </a:lnTo>
                    <a:lnTo>
                      <a:pt x="345" y="1315"/>
                    </a:lnTo>
                    <a:lnTo>
                      <a:pt x="346" y="1324"/>
                    </a:lnTo>
                    <a:lnTo>
                      <a:pt x="350" y="1328"/>
                    </a:lnTo>
                    <a:lnTo>
                      <a:pt x="353" y="1332"/>
                    </a:lnTo>
                    <a:lnTo>
                      <a:pt x="358" y="1334"/>
                    </a:lnTo>
                    <a:lnTo>
                      <a:pt x="362" y="1334"/>
                    </a:lnTo>
                    <a:lnTo>
                      <a:pt x="365" y="1335"/>
                    </a:lnTo>
                    <a:lnTo>
                      <a:pt x="367" y="1337"/>
                    </a:lnTo>
                    <a:lnTo>
                      <a:pt x="369" y="1340"/>
                    </a:lnTo>
                    <a:lnTo>
                      <a:pt x="367" y="1342"/>
                    </a:lnTo>
                    <a:lnTo>
                      <a:pt x="362" y="1345"/>
                    </a:lnTo>
                    <a:lnTo>
                      <a:pt x="356" y="1350"/>
                    </a:lnTo>
                    <a:lnTo>
                      <a:pt x="346" y="1359"/>
                    </a:lnTo>
                    <a:lnTo>
                      <a:pt x="337" y="1369"/>
                    </a:lnTo>
                    <a:lnTo>
                      <a:pt x="327" y="1378"/>
                    </a:lnTo>
                    <a:lnTo>
                      <a:pt x="318" y="1386"/>
                    </a:lnTo>
                    <a:lnTo>
                      <a:pt x="312" y="1394"/>
                    </a:lnTo>
                    <a:lnTo>
                      <a:pt x="305" y="1405"/>
                    </a:lnTo>
                    <a:lnTo>
                      <a:pt x="297" y="1415"/>
                    </a:lnTo>
                    <a:lnTo>
                      <a:pt x="294" y="1421"/>
                    </a:lnTo>
                    <a:lnTo>
                      <a:pt x="289" y="1426"/>
                    </a:lnTo>
                    <a:lnTo>
                      <a:pt x="285" y="1435"/>
                    </a:lnTo>
                    <a:lnTo>
                      <a:pt x="285" y="1440"/>
                    </a:lnTo>
                    <a:lnTo>
                      <a:pt x="282" y="1445"/>
                    </a:lnTo>
                    <a:lnTo>
                      <a:pt x="280" y="1451"/>
                    </a:lnTo>
                    <a:lnTo>
                      <a:pt x="275" y="1461"/>
                    </a:lnTo>
                    <a:lnTo>
                      <a:pt x="274" y="1472"/>
                    </a:lnTo>
                    <a:lnTo>
                      <a:pt x="274" y="1486"/>
                    </a:lnTo>
                    <a:lnTo>
                      <a:pt x="272" y="1486"/>
                    </a:lnTo>
                    <a:lnTo>
                      <a:pt x="274" y="1486"/>
                    </a:lnTo>
                    <a:lnTo>
                      <a:pt x="274" y="1488"/>
                    </a:lnTo>
                    <a:lnTo>
                      <a:pt x="272" y="1489"/>
                    </a:lnTo>
                    <a:lnTo>
                      <a:pt x="270" y="1491"/>
                    </a:lnTo>
                    <a:lnTo>
                      <a:pt x="267" y="1494"/>
                    </a:lnTo>
                    <a:lnTo>
                      <a:pt x="263" y="1499"/>
                    </a:lnTo>
                    <a:lnTo>
                      <a:pt x="256" y="1500"/>
                    </a:lnTo>
                    <a:lnTo>
                      <a:pt x="248" y="1502"/>
                    </a:lnTo>
                    <a:lnTo>
                      <a:pt x="236" y="1503"/>
                    </a:lnTo>
                    <a:lnTo>
                      <a:pt x="225" y="1503"/>
                    </a:lnTo>
                    <a:lnTo>
                      <a:pt x="217" y="1507"/>
                    </a:lnTo>
                    <a:lnTo>
                      <a:pt x="209" y="1513"/>
                    </a:lnTo>
                    <a:lnTo>
                      <a:pt x="202" y="1521"/>
                    </a:lnTo>
                    <a:lnTo>
                      <a:pt x="194" y="1527"/>
                    </a:lnTo>
                    <a:lnTo>
                      <a:pt x="190" y="1535"/>
                    </a:lnTo>
                    <a:lnTo>
                      <a:pt x="185" y="1541"/>
                    </a:lnTo>
                    <a:lnTo>
                      <a:pt x="179" y="1553"/>
                    </a:lnTo>
                    <a:lnTo>
                      <a:pt x="172" y="1562"/>
                    </a:lnTo>
                    <a:lnTo>
                      <a:pt x="166" y="1572"/>
                    </a:lnTo>
                    <a:lnTo>
                      <a:pt x="158" y="1579"/>
                    </a:lnTo>
                    <a:lnTo>
                      <a:pt x="150" y="1587"/>
                    </a:lnTo>
                    <a:lnTo>
                      <a:pt x="145" y="1592"/>
                    </a:lnTo>
                    <a:lnTo>
                      <a:pt x="142" y="1595"/>
                    </a:lnTo>
                    <a:lnTo>
                      <a:pt x="142" y="1600"/>
                    </a:lnTo>
                    <a:lnTo>
                      <a:pt x="142" y="1606"/>
                    </a:lnTo>
                    <a:lnTo>
                      <a:pt x="142" y="1613"/>
                    </a:lnTo>
                    <a:lnTo>
                      <a:pt x="141" y="1617"/>
                    </a:lnTo>
                    <a:lnTo>
                      <a:pt x="136" y="1621"/>
                    </a:lnTo>
                    <a:lnTo>
                      <a:pt x="131" y="1622"/>
                    </a:lnTo>
                    <a:lnTo>
                      <a:pt x="129" y="1622"/>
                    </a:lnTo>
                    <a:lnTo>
                      <a:pt x="126" y="1624"/>
                    </a:lnTo>
                    <a:lnTo>
                      <a:pt x="122" y="1625"/>
                    </a:lnTo>
                    <a:lnTo>
                      <a:pt x="120" y="1627"/>
                    </a:lnTo>
                    <a:lnTo>
                      <a:pt x="118" y="1630"/>
                    </a:lnTo>
                    <a:lnTo>
                      <a:pt x="118" y="1632"/>
                    </a:lnTo>
                    <a:lnTo>
                      <a:pt x="115" y="1636"/>
                    </a:lnTo>
                    <a:lnTo>
                      <a:pt x="112" y="1640"/>
                    </a:lnTo>
                    <a:lnTo>
                      <a:pt x="106" y="1648"/>
                    </a:lnTo>
                    <a:lnTo>
                      <a:pt x="101" y="1652"/>
                    </a:lnTo>
                    <a:lnTo>
                      <a:pt x="98" y="1657"/>
                    </a:lnTo>
                    <a:lnTo>
                      <a:pt x="95" y="1660"/>
                    </a:lnTo>
                    <a:lnTo>
                      <a:pt x="91" y="1662"/>
                    </a:lnTo>
                    <a:lnTo>
                      <a:pt x="90" y="1662"/>
                    </a:lnTo>
                    <a:lnTo>
                      <a:pt x="85" y="1663"/>
                    </a:lnTo>
                    <a:lnTo>
                      <a:pt x="82" y="1663"/>
                    </a:lnTo>
                    <a:lnTo>
                      <a:pt x="77" y="1662"/>
                    </a:lnTo>
                    <a:lnTo>
                      <a:pt x="74" y="1659"/>
                    </a:lnTo>
                    <a:lnTo>
                      <a:pt x="74" y="1654"/>
                    </a:lnTo>
                    <a:lnTo>
                      <a:pt x="77" y="1649"/>
                    </a:lnTo>
                    <a:lnTo>
                      <a:pt x="82" y="1644"/>
                    </a:lnTo>
                    <a:lnTo>
                      <a:pt x="82" y="1640"/>
                    </a:lnTo>
                    <a:lnTo>
                      <a:pt x="84" y="1633"/>
                    </a:lnTo>
                    <a:lnTo>
                      <a:pt x="85" y="1629"/>
                    </a:lnTo>
                    <a:lnTo>
                      <a:pt x="85" y="1622"/>
                    </a:lnTo>
                    <a:lnTo>
                      <a:pt x="80" y="1617"/>
                    </a:lnTo>
                    <a:lnTo>
                      <a:pt x="77" y="1616"/>
                    </a:lnTo>
                    <a:lnTo>
                      <a:pt x="71" y="1614"/>
                    </a:lnTo>
                    <a:lnTo>
                      <a:pt x="61" y="1616"/>
                    </a:lnTo>
                    <a:lnTo>
                      <a:pt x="55" y="1616"/>
                    </a:lnTo>
                    <a:lnTo>
                      <a:pt x="57" y="1613"/>
                    </a:lnTo>
                    <a:lnTo>
                      <a:pt x="57" y="1608"/>
                    </a:lnTo>
                    <a:lnTo>
                      <a:pt x="53" y="1603"/>
                    </a:lnTo>
                    <a:lnTo>
                      <a:pt x="50" y="1600"/>
                    </a:lnTo>
                    <a:lnTo>
                      <a:pt x="47" y="1597"/>
                    </a:lnTo>
                    <a:lnTo>
                      <a:pt x="46" y="1587"/>
                    </a:lnTo>
                    <a:lnTo>
                      <a:pt x="44" y="1581"/>
                    </a:lnTo>
                    <a:lnTo>
                      <a:pt x="44" y="1579"/>
                    </a:lnTo>
                    <a:lnTo>
                      <a:pt x="44" y="1578"/>
                    </a:lnTo>
                    <a:lnTo>
                      <a:pt x="41" y="1576"/>
                    </a:lnTo>
                    <a:lnTo>
                      <a:pt x="34" y="1575"/>
                    </a:lnTo>
                    <a:lnTo>
                      <a:pt x="31" y="1575"/>
                    </a:lnTo>
                    <a:lnTo>
                      <a:pt x="26" y="1576"/>
                    </a:lnTo>
                    <a:lnTo>
                      <a:pt x="23" y="1576"/>
                    </a:lnTo>
                    <a:lnTo>
                      <a:pt x="22" y="1576"/>
                    </a:lnTo>
                    <a:lnTo>
                      <a:pt x="20" y="1576"/>
                    </a:lnTo>
                    <a:lnTo>
                      <a:pt x="17" y="1576"/>
                    </a:lnTo>
                    <a:lnTo>
                      <a:pt x="15" y="1576"/>
                    </a:lnTo>
                    <a:lnTo>
                      <a:pt x="15" y="1575"/>
                    </a:lnTo>
                    <a:lnTo>
                      <a:pt x="15" y="1573"/>
                    </a:lnTo>
                    <a:lnTo>
                      <a:pt x="17" y="1573"/>
                    </a:lnTo>
                    <a:lnTo>
                      <a:pt x="17" y="1570"/>
                    </a:lnTo>
                    <a:lnTo>
                      <a:pt x="19" y="1567"/>
                    </a:lnTo>
                    <a:lnTo>
                      <a:pt x="20" y="1567"/>
                    </a:lnTo>
                    <a:lnTo>
                      <a:pt x="22" y="1565"/>
                    </a:lnTo>
                    <a:lnTo>
                      <a:pt x="25" y="1562"/>
                    </a:lnTo>
                    <a:lnTo>
                      <a:pt x="26" y="1560"/>
                    </a:lnTo>
                    <a:lnTo>
                      <a:pt x="30" y="1557"/>
                    </a:lnTo>
                    <a:lnTo>
                      <a:pt x="31" y="1554"/>
                    </a:lnTo>
                    <a:lnTo>
                      <a:pt x="31" y="1553"/>
                    </a:lnTo>
                    <a:lnTo>
                      <a:pt x="33" y="1551"/>
                    </a:lnTo>
                    <a:lnTo>
                      <a:pt x="33" y="1548"/>
                    </a:lnTo>
                    <a:lnTo>
                      <a:pt x="34" y="1545"/>
                    </a:lnTo>
                    <a:lnTo>
                      <a:pt x="36" y="1541"/>
                    </a:lnTo>
                    <a:lnTo>
                      <a:pt x="38" y="1540"/>
                    </a:lnTo>
                    <a:lnTo>
                      <a:pt x="38" y="1538"/>
                    </a:lnTo>
                    <a:lnTo>
                      <a:pt x="38" y="1535"/>
                    </a:lnTo>
                    <a:lnTo>
                      <a:pt x="38" y="1532"/>
                    </a:lnTo>
                    <a:lnTo>
                      <a:pt x="39" y="1530"/>
                    </a:lnTo>
                    <a:lnTo>
                      <a:pt x="39" y="1527"/>
                    </a:lnTo>
                    <a:lnTo>
                      <a:pt x="39" y="1526"/>
                    </a:lnTo>
                    <a:lnTo>
                      <a:pt x="39" y="1524"/>
                    </a:lnTo>
                    <a:lnTo>
                      <a:pt x="38" y="1524"/>
                    </a:lnTo>
                    <a:lnTo>
                      <a:pt x="36" y="1522"/>
                    </a:lnTo>
                    <a:lnTo>
                      <a:pt x="34" y="1521"/>
                    </a:lnTo>
                    <a:lnTo>
                      <a:pt x="31" y="1518"/>
                    </a:lnTo>
                    <a:lnTo>
                      <a:pt x="30" y="1518"/>
                    </a:lnTo>
                    <a:lnTo>
                      <a:pt x="28" y="1516"/>
                    </a:lnTo>
                    <a:lnTo>
                      <a:pt x="25" y="1514"/>
                    </a:lnTo>
                    <a:lnTo>
                      <a:pt x="22" y="1513"/>
                    </a:lnTo>
                    <a:lnTo>
                      <a:pt x="20" y="1511"/>
                    </a:lnTo>
                    <a:lnTo>
                      <a:pt x="15" y="1511"/>
                    </a:lnTo>
                    <a:lnTo>
                      <a:pt x="14" y="1511"/>
                    </a:lnTo>
                    <a:lnTo>
                      <a:pt x="12" y="1511"/>
                    </a:lnTo>
                    <a:lnTo>
                      <a:pt x="11" y="1511"/>
                    </a:lnTo>
                    <a:lnTo>
                      <a:pt x="11" y="1510"/>
                    </a:lnTo>
                    <a:lnTo>
                      <a:pt x="11" y="1508"/>
                    </a:lnTo>
                    <a:lnTo>
                      <a:pt x="9" y="1505"/>
                    </a:lnTo>
                    <a:lnTo>
                      <a:pt x="9" y="1503"/>
                    </a:lnTo>
                    <a:lnTo>
                      <a:pt x="11" y="1502"/>
                    </a:lnTo>
                    <a:lnTo>
                      <a:pt x="12" y="1500"/>
                    </a:lnTo>
                    <a:lnTo>
                      <a:pt x="15" y="1499"/>
                    </a:lnTo>
                    <a:lnTo>
                      <a:pt x="19" y="1495"/>
                    </a:lnTo>
                    <a:lnTo>
                      <a:pt x="20" y="1494"/>
                    </a:lnTo>
                    <a:lnTo>
                      <a:pt x="22" y="1492"/>
                    </a:lnTo>
                    <a:lnTo>
                      <a:pt x="23" y="1492"/>
                    </a:lnTo>
                    <a:lnTo>
                      <a:pt x="28" y="1489"/>
                    </a:lnTo>
                    <a:lnTo>
                      <a:pt x="30" y="1488"/>
                    </a:lnTo>
                    <a:lnTo>
                      <a:pt x="31" y="1486"/>
                    </a:lnTo>
                    <a:lnTo>
                      <a:pt x="33" y="1484"/>
                    </a:lnTo>
                    <a:lnTo>
                      <a:pt x="34" y="1481"/>
                    </a:lnTo>
                    <a:lnTo>
                      <a:pt x="36" y="1478"/>
                    </a:lnTo>
                    <a:lnTo>
                      <a:pt x="38" y="1475"/>
                    </a:lnTo>
                    <a:lnTo>
                      <a:pt x="38" y="1473"/>
                    </a:lnTo>
                    <a:lnTo>
                      <a:pt x="38" y="1469"/>
                    </a:lnTo>
                    <a:lnTo>
                      <a:pt x="38" y="1465"/>
                    </a:lnTo>
                    <a:lnTo>
                      <a:pt x="38" y="1462"/>
                    </a:lnTo>
                    <a:lnTo>
                      <a:pt x="39" y="1457"/>
                    </a:lnTo>
                    <a:lnTo>
                      <a:pt x="39" y="1456"/>
                    </a:lnTo>
                    <a:lnTo>
                      <a:pt x="38" y="1453"/>
                    </a:lnTo>
                    <a:lnTo>
                      <a:pt x="38" y="1451"/>
                    </a:lnTo>
                    <a:lnTo>
                      <a:pt x="38" y="1450"/>
                    </a:lnTo>
                    <a:lnTo>
                      <a:pt x="38" y="1446"/>
                    </a:lnTo>
                    <a:lnTo>
                      <a:pt x="38" y="1445"/>
                    </a:lnTo>
                    <a:lnTo>
                      <a:pt x="39" y="1443"/>
                    </a:lnTo>
                    <a:lnTo>
                      <a:pt x="39" y="1440"/>
                    </a:lnTo>
                    <a:lnTo>
                      <a:pt x="38" y="1438"/>
                    </a:lnTo>
                    <a:lnTo>
                      <a:pt x="38" y="1434"/>
                    </a:lnTo>
                    <a:lnTo>
                      <a:pt x="36" y="1431"/>
                    </a:lnTo>
                    <a:lnTo>
                      <a:pt x="34" y="1427"/>
                    </a:lnTo>
                    <a:lnTo>
                      <a:pt x="33" y="1424"/>
                    </a:lnTo>
                    <a:lnTo>
                      <a:pt x="31" y="1423"/>
                    </a:lnTo>
                    <a:lnTo>
                      <a:pt x="31" y="1419"/>
                    </a:lnTo>
                    <a:lnTo>
                      <a:pt x="30" y="1418"/>
                    </a:lnTo>
                    <a:lnTo>
                      <a:pt x="28" y="1415"/>
                    </a:lnTo>
                    <a:lnTo>
                      <a:pt x="28" y="1411"/>
                    </a:lnTo>
                    <a:lnTo>
                      <a:pt x="26" y="1408"/>
                    </a:lnTo>
                    <a:lnTo>
                      <a:pt x="26" y="1407"/>
                    </a:lnTo>
                    <a:lnTo>
                      <a:pt x="25" y="1402"/>
                    </a:lnTo>
                    <a:lnTo>
                      <a:pt x="26" y="1400"/>
                    </a:lnTo>
                    <a:lnTo>
                      <a:pt x="26" y="1399"/>
                    </a:lnTo>
                    <a:lnTo>
                      <a:pt x="28" y="1399"/>
                    </a:lnTo>
                    <a:lnTo>
                      <a:pt x="28" y="1397"/>
                    </a:lnTo>
                    <a:lnTo>
                      <a:pt x="30" y="1397"/>
                    </a:lnTo>
                    <a:lnTo>
                      <a:pt x="31" y="1397"/>
                    </a:lnTo>
                    <a:lnTo>
                      <a:pt x="31" y="1396"/>
                    </a:lnTo>
                    <a:lnTo>
                      <a:pt x="33" y="1396"/>
                    </a:lnTo>
                    <a:lnTo>
                      <a:pt x="34" y="1397"/>
                    </a:lnTo>
                    <a:lnTo>
                      <a:pt x="36" y="1397"/>
                    </a:lnTo>
                    <a:lnTo>
                      <a:pt x="39" y="1397"/>
                    </a:lnTo>
                    <a:lnTo>
                      <a:pt x="41" y="1399"/>
                    </a:lnTo>
                    <a:lnTo>
                      <a:pt x="44" y="1400"/>
                    </a:lnTo>
                    <a:lnTo>
                      <a:pt x="47" y="1400"/>
                    </a:lnTo>
                    <a:lnTo>
                      <a:pt x="49" y="1400"/>
                    </a:lnTo>
                    <a:lnTo>
                      <a:pt x="50" y="1402"/>
                    </a:lnTo>
                    <a:lnTo>
                      <a:pt x="53" y="1402"/>
                    </a:lnTo>
                    <a:lnTo>
                      <a:pt x="55" y="1402"/>
                    </a:lnTo>
                    <a:lnTo>
                      <a:pt x="57" y="1404"/>
                    </a:lnTo>
                    <a:lnTo>
                      <a:pt x="58" y="1404"/>
                    </a:lnTo>
                    <a:lnTo>
                      <a:pt x="60" y="1404"/>
                    </a:lnTo>
                    <a:lnTo>
                      <a:pt x="61" y="1404"/>
                    </a:lnTo>
                    <a:lnTo>
                      <a:pt x="63" y="1404"/>
                    </a:lnTo>
                    <a:lnTo>
                      <a:pt x="65" y="1404"/>
                    </a:lnTo>
                    <a:lnTo>
                      <a:pt x="66" y="1405"/>
                    </a:lnTo>
                    <a:lnTo>
                      <a:pt x="68" y="1405"/>
                    </a:lnTo>
                    <a:lnTo>
                      <a:pt x="69" y="1405"/>
                    </a:lnTo>
                    <a:lnTo>
                      <a:pt x="71" y="1405"/>
                    </a:lnTo>
                    <a:lnTo>
                      <a:pt x="72" y="1405"/>
                    </a:lnTo>
                    <a:lnTo>
                      <a:pt x="74" y="1405"/>
                    </a:lnTo>
                    <a:lnTo>
                      <a:pt x="76" y="1405"/>
                    </a:lnTo>
                    <a:lnTo>
                      <a:pt x="77" y="1405"/>
                    </a:lnTo>
                    <a:lnTo>
                      <a:pt x="79" y="1405"/>
                    </a:lnTo>
                    <a:lnTo>
                      <a:pt x="79" y="1404"/>
                    </a:lnTo>
                    <a:lnTo>
                      <a:pt x="79" y="1402"/>
                    </a:lnTo>
                    <a:lnTo>
                      <a:pt x="79" y="1400"/>
                    </a:lnTo>
                    <a:lnTo>
                      <a:pt x="79" y="1399"/>
                    </a:lnTo>
                    <a:lnTo>
                      <a:pt x="79" y="1397"/>
                    </a:lnTo>
                    <a:lnTo>
                      <a:pt x="77" y="1394"/>
                    </a:lnTo>
                    <a:lnTo>
                      <a:pt x="76" y="1392"/>
                    </a:lnTo>
                    <a:lnTo>
                      <a:pt x="76" y="1389"/>
                    </a:lnTo>
                    <a:lnTo>
                      <a:pt x="74" y="1386"/>
                    </a:lnTo>
                    <a:lnTo>
                      <a:pt x="72" y="1385"/>
                    </a:lnTo>
                    <a:lnTo>
                      <a:pt x="74" y="1383"/>
                    </a:lnTo>
                    <a:lnTo>
                      <a:pt x="76" y="1381"/>
                    </a:lnTo>
                    <a:lnTo>
                      <a:pt x="77" y="1380"/>
                    </a:lnTo>
                    <a:lnTo>
                      <a:pt x="79" y="1378"/>
                    </a:lnTo>
                    <a:lnTo>
                      <a:pt x="80" y="1377"/>
                    </a:lnTo>
                    <a:lnTo>
                      <a:pt x="82" y="1373"/>
                    </a:lnTo>
                    <a:lnTo>
                      <a:pt x="82" y="1372"/>
                    </a:lnTo>
                    <a:lnTo>
                      <a:pt x="84" y="1370"/>
                    </a:lnTo>
                    <a:lnTo>
                      <a:pt x="87" y="1367"/>
                    </a:lnTo>
                    <a:lnTo>
                      <a:pt x="88" y="1366"/>
                    </a:lnTo>
                    <a:lnTo>
                      <a:pt x="88" y="1364"/>
                    </a:lnTo>
                    <a:lnTo>
                      <a:pt x="88" y="1362"/>
                    </a:lnTo>
                    <a:lnTo>
                      <a:pt x="88" y="1361"/>
                    </a:lnTo>
                    <a:lnTo>
                      <a:pt x="90" y="1359"/>
                    </a:lnTo>
                    <a:lnTo>
                      <a:pt x="91" y="1358"/>
                    </a:lnTo>
                    <a:lnTo>
                      <a:pt x="93" y="1354"/>
                    </a:lnTo>
                    <a:lnTo>
                      <a:pt x="95" y="1354"/>
                    </a:lnTo>
                    <a:lnTo>
                      <a:pt x="95" y="1351"/>
                    </a:lnTo>
                    <a:lnTo>
                      <a:pt x="95" y="1347"/>
                    </a:lnTo>
                    <a:lnTo>
                      <a:pt x="96" y="1342"/>
                    </a:lnTo>
                    <a:lnTo>
                      <a:pt x="96" y="1337"/>
                    </a:lnTo>
                    <a:lnTo>
                      <a:pt x="96" y="1334"/>
                    </a:lnTo>
                    <a:lnTo>
                      <a:pt x="95" y="1332"/>
                    </a:lnTo>
                    <a:lnTo>
                      <a:pt x="95" y="1331"/>
                    </a:lnTo>
                    <a:lnTo>
                      <a:pt x="93" y="1331"/>
                    </a:lnTo>
                    <a:lnTo>
                      <a:pt x="90" y="1329"/>
                    </a:lnTo>
                    <a:lnTo>
                      <a:pt x="87" y="1328"/>
                    </a:lnTo>
                    <a:lnTo>
                      <a:pt x="84" y="1324"/>
                    </a:lnTo>
                    <a:lnTo>
                      <a:pt x="82" y="1324"/>
                    </a:lnTo>
                    <a:lnTo>
                      <a:pt x="79" y="1323"/>
                    </a:lnTo>
                    <a:lnTo>
                      <a:pt x="77" y="1323"/>
                    </a:lnTo>
                    <a:lnTo>
                      <a:pt x="76" y="1321"/>
                    </a:lnTo>
                    <a:lnTo>
                      <a:pt x="74" y="1320"/>
                    </a:lnTo>
                    <a:lnTo>
                      <a:pt x="71" y="1318"/>
                    </a:lnTo>
                    <a:lnTo>
                      <a:pt x="69" y="1315"/>
                    </a:lnTo>
                    <a:lnTo>
                      <a:pt x="68" y="1315"/>
                    </a:lnTo>
                    <a:lnTo>
                      <a:pt x="68" y="1312"/>
                    </a:lnTo>
                    <a:lnTo>
                      <a:pt x="66" y="1309"/>
                    </a:lnTo>
                    <a:lnTo>
                      <a:pt x="68" y="1307"/>
                    </a:lnTo>
                    <a:lnTo>
                      <a:pt x="68" y="1305"/>
                    </a:lnTo>
                    <a:lnTo>
                      <a:pt x="69" y="1304"/>
                    </a:lnTo>
                    <a:lnTo>
                      <a:pt x="69" y="1299"/>
                    </a:lnTo>
                    <a:lnTo>
                      <a:pt x="71" y="1297"/>
                    </a:lnTo>
                    <a:lnTo>
                      <a:pt x="72" y="1297"/>
                    </a:lnTo>
                    <a:lnTo>
                      <a:pt x="74" y="1296"/>
                    </a:lnTo>
                    <a:lnTo>
                      <a:pt x="77" y="1296"/>
                    </a:lnTo>
                    <a:lnTo>
                      <a:pt x="77" y="1294"/>
                    </a:lnTo>
                    <a:lnTo>
                      <a:pt x="79" y="1294"/>
                    </a:lnTo>
                    <a:lnTo>
                      <a:pt x="80" y="1294"/>
                    </a:lnTo>
                    <a:lnTo>
                      <a:pt x="82" y="1294"/>
                    </a:lnTo>
                    <a:lnTo>
                      <a:pt x="84" y="1293"/>
                    </a:lnTo>
                    <a:lnTo>
                      <a:pt x="85" y="1293"/>
                    </a:lnTo>
                    <a:lnTo>
                      <a:pt x="87" y="1293"/>
                    </a:lnTo>
                    <a:lnTo>
                      <a:pt x="88" y="1293"/>
                    </a:lnTo>
                    <a:lnTo>
                      <a:pt x="91" y="1294"/>
                    </a:lnTo>
                    <a:lnTo>
                      <a:pt x="95" y="1294"/>
                    </a:lnTo>
                    <a:lnTo>
                      <a:pt x="96" y="1296"/>
                    </a:lnTo>
                    <a:lnTo>
                      <a:pt x="99" y="1296"/>
                    </a:lnTo>
                    <a:lnTo>
                      <a:pt x="101" y="1296"/>
                    </a:lnTo>
                    <a:lnTo>
                      <a:pt x="103" y="1297"/>
                    </a:lnTo>
                    <a:lnTo>
                      <a:pt x="104" y="1297"/>
                    </a:lnTo>
                    <a:lnTo>
                      <a:pt x="106" y="1297"/>
                    </a:lnTo>
                    <a:lnTo>
                      <a:pt x="107" y="1297"/>
                    </a:lnTo>
                    <a:lnTo>
                      <a:pt x="109" y="1297"/>
                    </a:lnTo>
                    <a:lnTo>
                      <a:pt x="109" y="1296"/>
                    </a:lnTo>
                    <a:lnTo>
                      <a:pt x="110" y="1296"/>
                    </a:lnTo>
                    <a:lnTo>
                      <a:pt x="110" y="1294"/>
                    </a:lnTo>
                    <a:lnTo>
                      <a:pt x="110" y="1293"/>
                    </a:lnTo>
                    <a:lnTo>
                      <a:pt x="110" y="1291"/>
                    </a:lnTo>
                    <a:lnTo>
                      <a:pt x="109" y="1289"/>
                    </a:lnTo>
                    <a:lnTo>
                      <a:pt x="109" y="1288"/>
                    </a:lnTo>
                    <a:lnTo>
                      <a:pt x="109" y="1286"/>
                    </a:lnTo>
                    <a:lnTo>
                      <a:pt x="107" y="1285"/>
                    </a:lnTo>
                    <a:lnTo>
                      <a:pt x="107" y="1283"/>
                    </a:lnTo>
                    <a:lnTo>
                      <a:pt x="107" y="1282"/>
                    </a:lnTo>
                    <a:lnTo>
                      <a:pt x="106" y="1282"/>
                    </a:lnTo>
                    <a:lnTo>
                      <a:pt x="106" y="1280"/>
                    </a:lnTo>
                    <a:lnTo>
                      <a:pt x="107" y="1277"/>
                    </a:lnTo>
                    <a:lnTo>
                      <a:pt x="107" y="1274"/>
                    </a:lnTo>
                    <a:lnTo>
                      <a:pt x="107" y="1272"/>
                    </a:lnTo>
                    <a:lnTo>
                      <a:pt x="106" y="1269"/>
                    </a:lnTo>
                    <a:lnTo>
                      <a:pt x="104" y="1266"/>
                    </a:lnTo>
                    <a:lnTo>
                      <a:pt x="106" y="1261"/>
                    </a:lnTo>
                    <a:lnTo>
                      <a:pt x="107" y="1258"/>
                    </a:lnTo>
                    <a:lnTo>
                      <a:pt x="109" y="1256"/>
                    </a:lnTo>
                    <a:lnTo>
                      <a:pt x="110" y="1251"/>
                    </a:lnTo>
                    <a:lnTo>
                      <a:pt x="112" y="1248"/>
                    </a:lnTo>
                    <a:lnTo>
                      <a:pt x="112" y="1245"/>
                    </a:lnTo>
                    <a:lnTo>
                      <a:pt x="112" y="1244"/>
                    </a:lnTo>
                    <a:lnTo>
                      <a:pt x="114" y="1239"/>
                    </a:lnTo>
                    <a:lnTo>
                      <a:pt x="114" y="1237"/>
                    </a:lnTo>
                    <a:lnTo>
                      <a:pt x="114" y="1234"/>
                    </a:lnTo>
                    <a:lnTo>
                      <a:pt x="114" y="1228"/>
                    </a:lnTo>
                    <a:lnTo>
                      <a:pt x="114" y="1225"/>
                    </a:lnTo>
                    <a:lnTo>
                      <a:pt x="114" y="1223"/>
                    </a:lnTo>
                    <a:lnTo>
                      <a:pt x="115" y="1221"/>
                    </a:lnTo>
                    <a:lnTo>
                      <a:pt x="115" y="1218"/>
                    </a:lnTo>
                    <a:lnTo>
                      <a:pt x="115" y="1217"/>
                    </a:lnTo>
                    <a:lnTo>
                      <a:pt x="115" y="1213"/>
                    </a:lnTo>
                    <a:lnTo>
                      <a:pt x="115" y="1212"/>
                    </a:lnTo>
                    <a:lnTo>
                      <a:pt x="115" y="1210"/>
                    </a:lnTo>
                    <a:lnTo>
                      <a:pt x="115" y="1209"/>
                    </a:lnTo>
                    <a:lnTo>
                      <a:pt x="117" y="1207"/>
                    </a:lnTo>
                    <a:lnTo>
                      <a:pt x="117" y="1206"/>
                    </a:lnTo>
                    <a:lnTo>
                      <a:pt x="117" y="1204"/>
                    </a:lnTo>
                    <a:lnTo>
                      <a:pt x="117" y="1201"/>
                    </a:lnTo>
                    <a:lnTo>
                      <a:pt x="117" y="1199"/>
                    </a:lnTo>
                    <a:lnTo>
                      <a:pt x="117" y="1198"/>
                    </a:lnTo>
                    <a:lnTo>
                      <a:pt x="117" y="1196"/>
                    </a:lnTo>
                    <a:lnTo>
                      <a:pt x="118" y="1196"/>
                    </a:lnTo>
                    <a:lnTo>
                      <a:pt x="122" y="1196"/>
                    </a:lnTo>
                    <a:lnTo>
                      <a:pt x="123" y="1194"/>
                    </a:lnTo>
                    <a:lnTo>
                      <a:pt x="123" y="1193"/>
                    </a:lnTo>
                    <a:lnTo>
                      <a:pt x="125" y="1190"/>
                    </a:lnTo>
                    <a:lnTo>
                      <a:pt x="123" y="1185"/>
                    </a:lnTo>
                    <a:lnTo>
                      <a:pt x="122" y="1179"/>
                    </a:lnTo>
                    <a:lnTo>
                      <a:pt x="120" y="1177"/>
                    </a:lnTo>
                    <a:lnTo>
                      <a:pt x="118" y="1172"/>
                    </a:lnTo>
                    <a:lnTo>
                      <a:pt x="117" y="1169"/>
                    </a:lnTo>
                    <a:lnTo>
                      <a:pt x="115" y="1166"/>
                    </a:lnTo>
                    <a:lnTo>
                      <a:pt x="115" y="1161"/>
                    </a:lnTo>
                    <a:lnTo>
                      <a:pt x="114" y="1155"/>
                    </a:lnTo>
                    <a:lnTo>
                      <a:pt x="114" y="1153"/>
                    </a:lnTo>
                    <a:lnTo>
                      <a:pt x="115" y="1144"/>
                    </a:lnTo>
                    <a:lnTo>
                      <a:pt x="117" y="1139"/>
                    </a:lnTo>
                    <a:lnTo>
                      <a:pt x="118" y="1133"/>
                    </a:lnTo>
                    <a:lnTo>
                      <a:pt x="118" y="1131"/>
                    </a:lnTo>
                    <a:lnTo>
                      <a:pt x="114" y="1126"/>
                    </a:lnTo>
                    <a:lnTo>
                      <a:pt x="112" y="1123"/>
                    </a:lnTo>
                    <a:lnTo>
                      <a:pt x="110" y="1122"/>
                    </a:lnTo>
                    <a:lnTo>
                      <a:pt x="109" y="1120"/>
                    </a:lnTo>
                    <a:lnTo>
                      <a:pt x="107" y="1117"/>
                    </a:lnTo>
                    <a:lnTo>
                      <a:pt x="106" y="1114"/>
                    </a:lnTo>
                    <a:lnTo>
                      <a:pt x="104" y="1112"/>
                    </a:lnTo>
                    <a:lnTo>
                      <a:pt x="103" y="1109"/>
                    </a:lnTo>
                    <a:lnTo>
                      <a:pt x="103" y="1107"/>
                    </a:lnTo>
                    <a:lnTo>
                      <a:pt x="103" y="1106"/>
                    </a:lnTo>
                    <a:lnTo>
                      <a:pt x="103" y="1104"/>
                    </a:lnTo>
                    <a:lnTo>
                      <a:pt x="103" y="1103"/>
                    </a:lnTo>
                    <a:lnTo>
                      <a:pt x="104" y="1101"/>
                    </a:lnTo>
                    <a:lnTo>
                      <a:pt x="104" y="1098"/>
                    </a:lnTo>
                    <a:lnTo>
                      <a:pt x="106" y="1098"/>
                    </a:lnTo>
                    <a:lnTo>
                      <a:pt x="107" y="1096"/>
                    </a:lnTo>
                    <a:lnTo>
                      <a:pt x="109" y="1093"/>
                    </a:lnTo>
                    <a:lnTo>
                      <a:pt x="110" y="1090"/>
                    </a:lnTo>
                    <a:lnTo>
                      <a:pt x="114" y="1084"/>
                    </a:lnTo>
                    <a:lnTo>
                      <a:pt x="115" y="1080"/>
                    </a:lnTo>
                    <a:lnTo>
                      <a:pt x="117" y="1077"/>
                    </a:lnTo>
                    <a:lnTo>
                      <a:pt x="118" y="1074"/>
                    </a:lnTo>
                    <a:lnTo>
                      <a:pt x="118" y="1072"/>
                    </a:lnTo>
                    <a:lnTo>
                      <a:pt x="118" y="1071"/>
                    </a:lnTo>
                    <a:lnTo>
                      <a:pt x="118" y="1069"/>
                    </a:lnTo>
                    <a:lnTo>
                      <a:pt x="118" y="1068"/>
                    </a:lnTo>
                    <a:lnTo>
                      <a:pt x="118" y="1064"/>
                    </a:lnTo>
                    <a:lnTo>
                      <a:pt x="117" y="1063"/>
                    </a:lnTo>
                    <a:lnTo>
                      <a:pt x="115" y="1060"/>
                    </a:lnTo>
                    <a:lnTo>
                      <a:pt x="115" y="1058"/>
                    </a:lnTo>
                    <a:lnTo>
                      <a:pt x="114" y="1058"/>
                    </a:lnTo>
                    <a:lnTo>
                      <a:pt x="112" y="1058"/>
                    </a:lnTo>
                    <a:lnTo>
                      <a:pt x="110" y="1058"/>
                    </a:lnTo>
                    <a:lnTo>
                      <a:pt x="109" y="1057"/>
                    </a:lnTo>
                    <a:lnTo>
                      <a:pt x="107" y="1053"/>
                    </a:lnTo>
                    <a:lnTo>
                      <a:pt x="107" y="1052"/>
                    </a:lnTo>
                    <a:lnTo>
                      <a:pt x="107" y="1050"/>
                    </a:lnTo>
                    <a:lnTo>
                      <a:pt x="110" y="1049"/>
                    </a:lnTo>
                    <a:lnTo>
                      <a:pt x="112" y="1049"/>
                    </a:lnTo>
                    <a:lnTo>
                      <a:pt x="112" y="1047"/>
                    </a:lnTo>
                    <a:lnTo>
                      <a:pt x="115" y="1044"/>
                    </a:lnTo>
                    <a:lnTo>
                      <a:pt x="117" y="1038"/>
                    </a:lnTo>
                    <a:lnTo>
                      <a:pt x="118" y="1034"/>
                    </a:lnTo>
                    <a:lnTo>
                      <a:pt x="120" y="1031"/>
                    </a:lnTo>
                    <a:lnTo>
                      <a:pt x="123" y="1030"/>
                    </a:lnTo>
                    <a:lnTo>
                      <a:pt x="125" y="1026"/>
                    </a:lnTo>
                    <a:lnTo>
                      <a:pt x="125" y="1025"/>
                    </a:lnTo>
                    <a:lnTo>
                      <a:pt x="126" y="1022"/>
                    </a:lnTo>
                    <a:lnTo>
                      <a:pt x="128" y="1019"/>
                    </a:lnTo>
                    <a:lnTo>
                      <a:pt x="128" y="1015"/>
                    </a:lnTo>
                    <a:lnTo>
                      <a:pt x="128" y="1009"/>
                    </a:lnTo>
                    <a:lnTo>
                      <a:pt x="128" y="1007"/>
                    </a:lnTo>
                    <a:lnTo>
                      <a:pt x="126" y="1004"/>
                    </a:lnTo>
                    <a:lnTo>
                      <a:pt x="126" y="1000"/>
                    </a:lnTo>
                    <a:lnTo>
                      <a:pt x="126" y="998"/>
                    </a:lnTo>
                    <a:lnTo>
                      <a:pt x="126" y="995"/>
                    </a:lnTo>
                    <a:lnTo>
                      <a:pt x="126" y="992"/>
                    </a:lnTo>
                    <a:lnTo>
                      <a:pt x="125" y="990"/>
                    </a:lnTo>
                    <a:lnTo>
                      <a:pt x="125" y="987"/>
                    </a:lnTo>
                    <a:lnTo>
                      <a:pt x="125" y="984"/>
                    </a:lnTo>
                    <a:lnTo>
                      <a:pt x="125" y="982"/>
                    </a:lnTo>
                    <a:lnTo>
                      <a:pt x="123" y="979"/>
                    </a:lnTo>
                    <a:lnTo>
                      <a:pt x="123" y="976"/>
                    </a:lnTo>
                    <a:lnTo>
                      <a:pt x="123" y="974"/>
                    </a:lnTo>
                    <a:lnTo>
                      <a:pt x="122" y="973"/>
                    </a:lnTo>
                    <a:lnTo>
                      <a:pt x="120" y="969"/>
                    </a:lnTo>
                    <a:lnTo>
                      <a:pt x="118" y="968"/>
                    </a:lnTo>
                    <a:lnTo>
                      <a:pt x="117" y="965"/>
                    </a:lnTo>
                    <a:lnTo>
                      <a:pt x="114" y="958"/>
                    </a:lnTo>
                    <a:lnTo>
                      <a:pt x="112" y="955"/>
                    </a:lnTo>
                    <a:lnTo>
                      <a:pt x="110" y="952"/>
                    </a:lnTo>
                    <a:lnTo>
                      <a:pt x="109" y="952"/>
                    </a:lnTo>
                    <a:lnTo>
                      <a:pt x="109" y="950"/>
                    </a:lnTo>
                    <a:lnTo>
                      <a:pt x="107" y="947"/>
                    </a:lnTo>
                    <a:lnTo>
                      <a:pt x="106" y="946"/>
                    </a:lnTo>
                    <a:lnTo>
                      <a:pt x="104" y="944"/>
                    </a:lnTo>
                    <a:lnTo>
                      <a:pt x="104" y="942"/>
                    </a:lnTo>
                    <a:lnTo>
                      <a:pt x="104" y="941"/>
                    </a:lnTo>
                    <a:lnTo>
                      <a:pt x="103" y="941"/>
                    </a:lnTo>
                    <a:lnTo>
                      <a:pt x="101" y="941"/>
                    </a:lnTo>
                    <a:lnTo>
                      <a:pt x="99" y="941"/>
                    </a:lnTo>
                    <a:lnTo>
                      <a:pt x="95" y="939"/>
                    </a:lnTo>
                    <a:lnTo>
                      <a:pt x="93" y="939"/>
                    </a:lnTo>
                    <a:lnTo>
                      <a:pt x="91" y="938"/>
                    </a:lnTo>
                    <a:lnTo>
                      <a:pt x="90" y="936"/>
                    </a:lnTo>
                    <a:lnTo>
                      <a:pt x="90" y="935"/>
                    </a:lnTo>
                    <a:lnTo>
                      <a:pt x="90" y="931"/>
                    </a:lnTo>
                    <a:lnTo>
                      <a:pt x="90" y="928"/>
                    </a:lnTo>
                    <a:lnTo>
                      <a:pt x="91" y="925"/>
                    </a:lnTo>
                    <a:lnTo>
                      <a:pt x="91" y="923"/>
                    </a:lnTo>
                    <a:lnTo>
                      <a:pt x="91" y="922"/>
                    </a:lnTo>
                    <a:lnTo>
                      <a:pt x="91" y="920"/>
                    </a:lnTo>
                    <a:lnTo>
                      <a:pt x="91" y="917"/>
                    </a:lnTo>
                    <a:lnTo>
                      <a:pt x="90" y="916"/>
                    </a:lnTo>
                    <a:lnTo>
                      <a:pt x="90" y="912"/>
                    </a:lnTo>
                    <a:lnTo>
                      <a:pt x="90" y="908"/>
                    </a:lnTo>
                    <a:lnTo>
                      <a:pt x="90" y="903"/>
                    </a:lnTo>
                    <a:lnTo>
                      <a:pt x="90" y="901"/>
                    </a:lnTo>
                    <a:lnTo>
                      <a:pt x="90" y="898"/>
                    </a:lnTo>
                    <a:lnTo>
                      <a:pt x="88" y="895"/>
                    </a:lnTo>
                    <a:lnTo>
                      <a:pt x="88" y="893"/>
                    </a:lnTo>
                    <a:lnTo>
                      <a:pt x="87" y="892"/>
                    </a:lnTo>
                    <a:lnTo>
                      <a:pt x="87" y="890"/>
                    </a:lnTo>
                    <a:lnTo>
                      <a:pt x="85" y="889"/>
                    </a:lnTo>
                    <a:lnTo>
                      <a:pt x="84" y="887"/>
                    </a:lnTo>
                    <a:lnTo>
                      <a:pt x="82" y="885"/>
                    </a:lnTo>
                    <a:lnTo>
                      <a:pt x="82" y="884"/>
                    </a:lnTo>
                    <a:lnTo>
                      <a:pt x="80" y="882"/>
                    </a:lnTo>
                    <a:lnTo>
                      <a:pt x="79" y="879"/>
                    </a:lnTo>
                    <a:lnTo>
                      <a:pt x="77" y="878"/>
                    </a:lnTo>
                    <a:lnTo>
                      <a:pt x="77" y="876"/>
                    </a:lnTo>
                    <a:lnTo>
                      <a:pt x="76" y="874"/>
                    </a:lnTo>
                    <a:lnTo>
                      <a:pt x="74" y="873"/>
                    </a:lnTo>
                    <a:lnTo>
                      <a:pt x="74" y="871"/>
                    </a:lnTo>
                    <a:lnTo>
                      <a:pt x="71" y="868"/>
                    </a:lnTo>
                    <a:lnTo>
                      <a:pt x="71" y="866"/>
                    </a:lnTo>
                    <a:lnTo>
                      <a:pt x="69" y="866"/>
                    </a:lnTo>
                    <a:lnTo>
                      <a:pt x="69" y="865"/>
                    </a:lnTo>
                    <a:lnTo>
                      <a:pt x="68" y="860"/>
                    </a:lnTo>
                    <a:lnTo>
                      <a:pt x="68" y="859"/>
                    </a:lnTo>
                    <a:lnTo>
                      <a:pt x="69" y="857"/>
                    </a:lnTo>
                    <a:lnTo>
                      <a:pt x="69" y="855"/>
                    </a:lnTo>
                    <a:lnTo>
                      <a:pt x="71" y="855"/>
                    </a:lnTo>
                    <a:lnTo>
                      <a:pt x="71" y="854"/>
                    </a:lnTo>
                    <a:lnTo>
                      <a:pt x="72" y="854"/>
                    </a:lnTo>
                    <a:lnTo>
                      <a:pt x="71" y="847"/>
                    </a:lnTo>
                    <a:lnTo>
                      <a:pt x="66" y="839"/>
                    </a:lnTo>
                    <a:lnTo>
                      <a:pt x="61" y="839"/>
                    </a:lnTo>
                    <a:lnTo>
                      <a:pt x="57" y="835"/>
                    </a:lnTo>
                    <a:lnTo>
                      <a:pt x="50" y="830"/>
                    </a:lnTo>
                    <a:lnTo>
                      <a:pt x="46" y="824"/>
                    </a:lnTo>
                    <a:lnTo>
                      <a:pt x="42" y="817"/>
                    </a:lnTo>
                    <a:lnTo>
                      <a:pt x="39" y="813"/>
                    </a:lnTo>
                    <a:lnTo>
                      <a:pt x="34" y="808"/>
                    </a:lnTo>
                    <a:lnTo>
                      <a:pt x="33" y="798"/>
                    </a:lnTo>
                    <a:lnTo>
                      <a:pt x="34" y="792"/>
                    </a:lnTo>
                    <a:lnTo>
                      <a:pt x="34" y="782"/>
                    </a:lnTo>
                    <a:lnTo>
                      <a:pt x="34" y="776"/>
                    </a:lnTo>
                    <a:lnTo>
                      <a:pt x="36" y="765"/>
                    </a:lnTo>
                    <a:lnTo>
                      <a:pt x="33" y="765"/>
                    </a:lnTo>
                    <a:lnTo>
                      <a:pt x="30" y="767"/>
                    </a:lnTo>
                    <a:lnTo>
                      <a:pt x="26" y="763"/>
                    </a:lnTo>
                    <a:lnTo>
                      <a:pt x="28" y="762"/>
                    </a:lnTo>
                    <a:lnTo>
                      <a:pt x="28" y="760"/>
                    </a:lnTo>
                    <a:lnTo>
                      <a:pt x="30" y="760"/>
                    </a:lnTo>
                    <a:lnTo>
                      <a:pt x="30" y="759"/>
                    </a:lnTo>
                    <a:lnTo>
                      <a:pt x="30" y="757"/>
                    </a:lnTo>
                    <a:lnTo>
                      <a:pt x="28" y="757"/>
                    </a:lnTo>
                    <a:lnTo>
                      <a:pt x="28" y="756"/>
                    </a:lnTo>
                    <a:lnTo>
                      <a:pt x="26" y="754"/>
                    </a:lnTo>
                    <a:lnTo>
                      <a:pt x="25" y="754"/>
                    </a:lnTo>
                    <a:lnTo>
                      <a:pt x="25" y="752"/>
                    </a:lnTo>
                    <a:lnTo>
                      <a:pt x="23" y="751"/>
                    </a:lnTo>
                    <a:lnTo>
                      <a:pt x="22" y="751"/>
                    </a:lnTo>
                    <a:lnTo>
                      <a:pt x="22" y="749"/>
                    </a:lnTo>
                    <a:lnTo>
                      <a:pt x="22" y="748"/>
                    </a:lnTo>
                    <a:lnTo>
                      <a:pt x="20" y="746"/>
                    </a:lnTo>
                    <a:lnTo>
                      <a:pt x="20" y="744"/>
                    </a:lnTo>
                    <a:lnTo>
                      <a:pt x="20" y="743"/>
                    </a:lnTo>
                    <a:lnTo>
                      <a:pt x="22" y="738"/>
                    </a:lnTo>
                    <a:lnTo>
                      <a:pt x="22" y="737"/>
                    </a:lnTo>
                    <a:lnTo>
                      <a:pt x="20" y="735"/>
                    </a:lnTo>
                    <a:lnTo>
                      <a:pt x="22" y="733"/>
                    </a:lnTo>
                    <a:lnTo>
                      <a:pt x="22" y="732"/>
                    </a:lnTo>
                    <a:lnTo>
                      <a:pt x="20" y="732"/>
                    </a:lnTo>
                    <a:lnTo>
                      <a:pt x="20" y="730"/>
                    </a:lnTo>
                    <a:lnTo>
                      <a:pt x="20" y="727"/>
                    </a:lnTo>
                    <a:lnTo>
                      <a:pt x="20" y="725"/>
                    </a:lnTo>
                    <a:lnTo>
                      <a:pt x="19" y="724"/>
                    </a:lnTo>
                    <a:lnTo>
                      <a:pt x="19" y="722"/>
                    </a:lnTo>
                    <a:lnTo>
                      <a:pt x="17" y="721"/>
                    </a:lnTo>
                    <a:lnTo>
                      <a:pt x="15" y="719"/>
                    </a:lnTo>
                    <a:lnTo>
                      <a:pt x="14" y="716"/>
                    </a:lnTo>
                    <a:lnTo>
                      <a:pt x="12" y="716"/>
                    </a:lnTo>
                    <a:lnTo>
                      <a:pt x="12" y="714"/>
                    </a:lnTo>
                    <a:lnTo>
                      <a:pt x="12" y="713"/>
                    </a:lnTo>
                    <a:lnTo>
                      <a:pt x="11" y="711"/>
                    </a:lnTo>
                    <a:lnTo>
                      <a:pt x="11" y="710"/>
                    </a:lnTo>
                    <a:lnTo>
                      <a:pt x="11" y="706"/>
                    </a:lnTo>
                    <a:lnTo>
                      <a:pt x="12" y="705"/>
                    </a:lnTo>
                    <a:lnTo>
                      <a:pt x="12" y="703"/>
                    </a:lnTo>
                    <a:lnTo>
                      <a:pt x="12" y="702"/>
                    </a:lnTo>
                    <a:lnTo>
                      <a:pt x="12" y="700"/>
                    </a:lnTo>
                    <a:lnTo>
                      <a:pt x="12" y="698"/>
                    </a:lnTo>
                    <a:lnTo>
                      <a:pt x="12" y="697"/>
                    </a:lnTo>
                    <a:lnTo>
                      <a:pt x="11" y="695"/>
                    </a:lnTo>
                    <a:lnTo>
                      <a:pt x="11" y="694"/>
                    </a:lnTo>
                    <a:lnTo>
                      <a:pt x="7" y="692"/>
                    </a:lnTo>
                    <a:lnTo>
                      <a:pt x="7" y="691"/>
                    </a:lnTo>
                    <a:lnTo>
                      <a:pt x="6" y="687"/>
                    </a:lnTo>
                    <a:lnTo>
                      <a:pt x="4" y="686"/>
                    </a:lnTo>
                    <a:lnTo>
                      <a:pt x="4" y="684"/>
                    </a:lnTo>
                    <a:lnTo>
                      <a:pt x="3" y="684"/>
                    </a:lnTo>
                    <a:lnTo>
                      <a:pt x="3" y="681"/>
                    </a:lnTo>
                    <a:lnTo>
                      <a:pt x="1" y="678"/>
                    </a:lnTo>
                    <a:lnTo>
                      <a:pt x="1" y="676"/>
                    </a:lnTo>
                    <a:lnTo>
                      <a:pt x="1" y="675"/>
                    </a:lnTo>
                    <a:lnTo>
                      <a:pt x="1" y="673"/>
                    </a:lnTo>
                    <a:lnTo>
                      <a:pt x="1" y="670"/>
                    </a:lnTo>
                    <a:lnTo>
                      <a:pt x="1" y="668"/>
                    </a:lnTo>
                    <a:lnTo>
                      <a:pt x="0" y="667"/>
                    </a:lnTo>
                    <a:lnTo>
                      <a:pt x="0" y="665"/>
                    </a:lnTo>
                    <a:lnTo>
                      <a:pt x="0" y="664"/>
                    </a:lnTo>
                    <a:lnTo>
                      <a:pt x="1" y="662"/>
                    </a:lnTo>
                    <a:lnTo>
                      <a:pt x="1" y="660"/>
                    </a:lnTo>
                    <a:lnTo>
                      <a:pt x="1" y="659"/>
                    </a:lnTo>
                    <a:lnTo>
                      <a:pt x="3" y="657"/>
                    </a:lnTo>
                    <a:lnTo>
                      <a:pt x="3" y="656"/>
                    </a:lnTo>
                    <a:lnTo>
                      <a:pt x="4" y="654"/>
                    </a:lnTo>
                    <a:lnTo>
                      <a:pt x="6" y="653"/>
                    </a:lnTo>
                    <a:lnTo>
                      <a:pt x="6" y="651"/>
                    </a:lnTo>
                    <a:lnTo>
                      <a:pt x="6" y="649"/>
                    </a:lnTo>
                    <a:lnTo>
                      <a:pt x="7" y="648"/>
                    </a:lnTo>
                    <a:lnTo>
                      <a:pt x="7" y="646"/>
                    </a:lnTo>
                    <a:lnTo>
                      <a:pt x="6" y="646"/>
                    </a:lnTo>
                    <a:lnTo>
                      <a:pt x="12" y="641"/>
                    </a:lnTo>
                    <a:lnTo>
                      <a:pt x="14" y="634"/>
                    </a:lnTo>
                    <a:lnTo>
                      <a:pt x="14" y="616"/>
                    </a:lnTo>
                    <a:lnTo>
                      <a:pt x="14" y="611"/>
                    </a:lnTo>
                    <a:lnTo>
                      <a:pt x="7" y="608"/>
                    </a:lnTo>
                    <a:lnTo>
                      <a:pt x="9" y="595"/>
                    </a:lnTo>
                    <a:lnTo>
                      <a:pt x="11" y="581"/>
                    </a:lnTo>
                    <a:lnTo>
                      <a:pt x="15" y="567"/>
                    </a:lnTo>
                    <a:lnTo>
                      <a:pt x="30" y="554"/>
                    </a:lnTo>
                    <a:lnTo>
                      <a:pt x="34" y="538"/>
                    </a:lnTo>
                    <a:lnTo>
                      <a:pt x="38" y="529"/>
                    </a:lnTo>
                    <a:lnTo>
                      <a:pt x="38" y="523"/>
                    </a:lnTo>
                    <a:lnTo>
                      <a:pt x="38" y="512"/>
                    </a:lnTo>
                    <a:lnTo>
                      <a:pt x="30" y="499"/>
                    </a:lnTo>
                    <a:lnTo>
                      <a:pt x="23" y="492"/>
                    </a:lnTo>
                    <a:lnTo>
                      <a:pt x="9" y="492"/>
                    </a:lnTo>
                    <a:lnTo>
                      <a:pt x="0" y="481"/>
                    </a:lnTo>
                    <a:lnTo>
                      <a:pt x="0" y="480"/>
                    </a:lnTo>
                  </a:path>
                </a:pathLst>
              </a:custGeom>
              <a:noFill/>
              <a:ln w="476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10" name="Freeform 8"/>
              <p:cNvSpPr>
                <a:spLocks/>
              </p:cNvSpPr>
              <p:nvPr/>
            </p:nvSpPr>
            <p:spPr bwMode="auto">
              <a:xfrm>
                <a:off x="3383" y="748"/>
                <a:ext cx="146" cy="483"/>
              </a:xfrm>
              <a:custGeom>
                <a:avLst/>
                <a:gdLst>
                  <a:gd name="T0" fmla="*/ 33 w 146"/>
                  <a:gd name="T1" fmla="*/ 475 h 483"/>
                  <a:gd name="T2" fmla="*/ 32 w 146"/>
                  <a:gd name="T3" fmla="*/ 467 h 483"/>
                  <a:gd name="T4" fmla="*/ 33 w 146"/>
                  <a:gd name="T5" fmla="*/ 456 h 483"/>
                  <a:gd name="T6" fmla="*/ 32 w 146"/>
                  <a:gd name="T7" fmla="*/ 443 h 483"/>
                  <a:gd name="T8" fmla="*/ 36 w 146"/>
                  <a:gd name="T9" fmla="*/ 435 h 483"/>
                  <a:gd name="T10" fmla="*/ 44 w 146"/>
                  <a:gd name="T11" fmla="*/ 426 h 483"/>
                  <a:gd name="T12" fmla="*/ 36 w 146"/>
                  <a:gd name="T13" fmla="*/ 423 h 483"/>
                  <a:gd name="T14" fmla="*/ 36 w 146"/>
                  <a:gd name="T15" fmla="*/ 413 h 483"/>
                  <a:gd name="T16" fmla="*/ 25 w 146"/>
                  <a:gd name="T17" fmla="*/ 393 h 483"/>
                  <a:gd name="T18" fmla="*/ 19 w 146"/>
                  <a:gd name="T19" fmla="*/ 383 h 483"/>
                  <a:gd name="T20" fmla="*/ 17 w 146"/>
                  <a:gd name="T21" fmla="*/ 372 h 483"/>
                  <a:gd name="T22" fmla="*/ 22 w 146"/>
                  <a:gd name="T23" fmla="*/ 361 h 483"/>
                  <a:gd name="T24" fmla="*/ 24 w 146"/>
                  <a:gd name="T25" fmla="*/ 343 h 483"/>
                  <a:gd name="T26" fmla="*/ 24 w 146"/>
                  <a:gd name="T27" fmla="*/ 328 h 483"/>
                  <a:gd name="T28" fmla="*/ 17 w 146"/>
                  <a:gd name="T29" fmla="*/ 315 h 483"/>
                  <a:gd name="T30" fmla="*/ 22 w 146"/>
                  <a:gd name="T31" fmla="*/ 301 h 483"/>
                  <a:gd name="T32" fmla="*/ 25 w 146"/>
                  <a:gd name="T33" fmla="*/ 286 h 483"/>
                  <a:gd name="T34" fmla="*/ 38 w 146"/>
                  <a:gd name="T35" fmla="*/ 291 h 483"/>
                  <a:gd name="T36" fmla="*/ 48 w 146"/>
                  <a:gd name="T37" fmla="*/ 282 h 483"/>
                  <a:gd name="T38" fmla="*/ 48 w 146"/>
                  <a:gd name="T39" fmla="*/ 269 h 483"/>
                  <a:gd name="T40" fmla="*/ 46 w 146"/>
                  <a:gd name="T41" fmla="*/ 255 h 483"/>
                  <a:gd name="T42" fmla="*/ 40 w 146"/>
                  <a:gd name="T43" fmla="*/ 244 h 483"/>
                  <a:gd name="T44" fmla="*/ 41 w 146"/>
                  <a:gd name="T45" fmla="*/ 232 h 483"/>
                  <a:gd name="T46" fmla="*/ 43 w 146"/>
                  <a:gd name="T47" fmla="*/ 220 h 483"/>
                  <a:gd name="T48" fmla="*/ 46 w 146"/>
                  <a:gd name="T49" fmla="*/ 206 h 483"/>
                  <a:gd name="T50" fmla="*/ 46 w 146"/>
                  <a:gd name="T51" fmla="*/ 194 h 483"/>
                  <a:gd name="T52" fmla="*/ 48 w 146"/>
                  <a:gd name="T53" fmla="*/ 183 h 483"/>
                  <a:gd name="T54" fmla="*/ 48 w 146"/>
                  <a:gd name="T55" fmla="*/ 172 h 483"/>
                  <a:gd name="T56" fmla="*/ 40 w 146"/>
                  <a:gd name="T57" fmla="*/ 171 h 483"/>
                  <a:gd name="T58" fmla="*/ 38 w 146"/>
                  <a:gd name="T59" fmla="*/ 161 h 483"/>
                  <a:gd name="T60" fmla="*/ 40 w 146"/>
                  <a:gd name="T61" fmla="*/ 147 h 483"/>
                  <a:gd name="T62" fmla="*/ 33 w 146"/>
                  <a:gd name="T63" fmla="*/ 134 h 483"/>
                  <a:gd name="T64" fmla="*/ 24 w 146"/>
                  <a:gd name="T65" fmla="*/ 137 h 483"/>
                  <a:gd name="T66" fmla="*/ 22 w 146"/>
                  <a:gd name="T67" fmla="*/ 128 h 483"/>
                  <a:gd name="T68" fmla="*/ 29 w 146"/>
                  <a:gd name="T69" fmla="*/ 118 h 483"/>
                  <a:gd name="T70" fmla="*/ 21 w 146"/>
                  <a:gd name="T71" fmla="*/ 114 h 483"/>
                  <a:gd name="T72" fmla="*/ 8 w 146"/>
                  <a:gd name="T73" fmla="*/ 115 h 483"/>
                  <a:gd name="T74" fmla="*/ 2 w 146"/>
                  <a:gd name="T75" fmla="*/ 112 h 483"/>
                  <a:gd name="T76" fmla="*/ 6 w 146"/>
                  <a:gd name="T77" fmla="*/ 99 h 483"/>
                  <a:gd name="T78" fmla="*/ 11 w 146"/>
                  <a:gd name="T79" fmla="*/ 88 h 483"/>
                  <a:gd name="T80" fmla="*/ 25 w 146"/>
                  <a:gd name="T81" fmla="*/ 88 h 483"/>
                  <a:gd name="T82" fmla="*/ 30 w 146"/>
                  <a:gd name="T83" fmla="*/ 77 h 483"/>
                  <a:gd name="T84" fmla="*/ 22 w 146"/>
                  <a:gd name="T85" fmla="*/ 69 h 483"/>
                  <a:gd name="T86" fmla="*/ 8 w 146"/>
                  <a:gd name="T87" fmla="*/ 72 h 483"/>
                  <a:gd name="T88" fmla="*/ 3 w 146"/>
                  <a:gd name="T89" fmla="*/ 68 h 483"/>
                  <a:gd name="T90" fmla="*/ 8 w 146"/>
                  <a:gd name="T91" fmla="*/ 55 h 483"/>
                  <a:gd name="T92" fmla="*/ 17 w 146"/>
                  <a:gd name="T93" fmla="*/ 50 h 483"/>
                  <a:gd name="T94" fmla="*/ 32 w 146"/>
                  <a:gd name="T95" fmla="*/ 52 h 483"/>
                  <a:gd name="T96" fmla="*/ 43 w 146"/>
                  <a:gd name="T97" fmla="*/ 49 h 483"/>
                  <a:gd name="T98" fmla="*/ 54 w 146"/>
                  <a:gd name="T99" fmla="*/ 50 h 483"/>
                  <a:gd name="T100" fmla="*/ 62 w 146"/>
                  <a:gd name="T101" fmla="*/ 52 h 483"/>
                  <a:gd name="T102" fmla="*/ 75 w 146"/>
                  <a:gd name="T103" fmla="*/ 52 h 483"/>
                  <a:gd name="T104" fmla="*/ 87 w 146"/>
                  <a:gd name="T105" fmla="*/ 53 h 483"/>
                  <a:gd name="T106" fmla="*/ 97 w 146"/>
                  <a:gd name="T107" fmla="*/ 46 h 483"/>
                  <a:gd name="T108" fmla="*/ 95 w 146"/>
                  <a:gd name="T109" fmla="*/ 33 h 483"/>
                  <a:gd name="T110" fmla="*/ 97 w 146"/>
                  <a:gd name="T111" fmla="*/ 30 h 483"/>
                  <a:gd name="T112" fmla="*/ 113 w 146"/>
                  <a:gd name="T113" fmla="*/ 11 h 483"/>
                  <a:gd name="T114" fmla="*/ 133 w 146"/>
                  <a:gd name="T115" fmla="*/ 0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6" h="483">
                    <a:moveTo>
                      <a:pt x="29" y="483"/>
                    </a:moveTo>
                    <a:lnTo>
                      <a:pt x="30" y="483"/>
                    </a:lnTo>
                    <a:lnTo>
                      <a:pt x="32" y="483"/>
                    </a:lnTo>
                    <a:lnTo>
                      <a:pt x="32" y="481"/>
                    </a:lnTo>
                    <a:lnTo>
                      <a:pt x="33" y="480"/>
                    </a:lnTo>
                    <a:lnTo>
                      <a:pt x="35" y="480"/>
                    </a:lnTo>
                    <a:lnTo>
                      <a:pt x="35" y="478"/>
                    </a:lnTo>
                    <a:lnTo>
                      <a:pt x="35" y="476"/>
                    </a:lnTo>
                    <a:lnTo>
                      <a:pt x="35" y="475"/>
                    </a:lnTo>
                    <a:lnTo>
                      <a:pt x="33" y="475"/>
                    </a:lnTo>
                    <a:lnTo>
                      <a:pt x="32" y="475"/>
                    </a:lnTo>
                    <a:lnTo>
                      <a:pt x="30" y="475"/>
                    </a:lnTo>
                    <a:lnTo>
                      <a:pt x="30" y="473"/>
                    </a:lnTo>
                    <a:lnTo>
                      <a:pt x="29" y="473"/>
                    </a:lnTo>
                    <a:lnTo>
                      <a:pt x="29" y="472"/>
                    </a:lnTo>
                    <a:lnTo>
                      <a:pt x="29" y="470"/>
                    </a:lnTo>
                    <a:lnTo>
                      <a:pt x="29" y="469"/>
                    </a:lnTo>
                    <a:lnTo>
                      <a:pt x="29" y="467"/>
                    </a:lnTo>
                    <a:lnTo>
                      <a:pt x="30" y="467"/>
                    </a:lnTo>
                    <a:lnTo>
                      <a:pt x="32" y="467"/>
                    </a:lnTo>
                    <a:lnTo>
                      <a:pt x="32" y="465"/>
                    </a:lnTo>
                    <a:lnTo>
                      <a:pt x="32" y="464"/>
                    </a:lnTo>
                    <a:lnTo>
                      <a:pt x="33" y="462"/>
                    </a:lnTo>
                    <a:lnTo>
                      <a:pt x="33" y="461"/>
                    </a:lnTo>
                    <a:lnTo>
                      <a:pt x="35" y="459"/>
                    </a:lnTo>
                    <a:lnTo>
                      <a:pt x="33" y="459"/>
                    </a:lnTo>
                    <a:lnTo>
                      <a:pt x="35" y="459"/>
                    </a:lnTo>
                    <a:lnTo>
                      <a:pt x="35" y="457"/>
                    </a:lnTo>
                    <a:lnTo>
                      <a:pt x="33" y="457"/>
                    </a:lnTo>
                    <a:lnTo>
                      <a:pt x="33" y="456"/>
                    </a:lnTo>
                    <a:lnTo>
                      <a:pt x="32" y="456"/>
                    </a:lnTo>
                    <a:lnTo>
                      <a:pt x="32" y="454"/>
                    </a:lnTo>
                    <a:lnTo>
                      <a:pt x="32" y="453"/>
                    </a:lnTo>
                    <a:lnTo>
                      <a:pt x="30" y="453"/>
                    </a:lnTo>
                    <a:lnTo>
                      <a:pt x="30" y="451"/>
                    </a:lnTo>
                    <a:lnTo>
                      <a:pt x="30" y="450"/>
                    </a:lnTo>
                    <a:lnTo>
                      <a:pt x="30" y="448"/>
                    </a:lnTo>
                    <a:lnTo>
                      <a:pt x="30" y="446"/>
                    </a:lnTo>
                    <a:lnTo>
                      <a:pt x="32" y="445"/>
                    </a:lnTo>
                    <a:lnTo>
                      <a:pt x="32" y="443"/>
                    </a:lnTo>
                    <a:lnTo>
                      <a:pt x="30" y="443"/>
                    </a:lnTo>
                    <a:lnTo>
                      <a:pt x="30" y="442"/>
                    </a:lnTo>
                    <a:lnTo>
                      <a:pt x="32" y="442"/>
                    </a:lnTo>
                    <a:lnTo>
                      <a:pt x="33" y="443"/>
                    </a:lnTo>
                    <a:lnTo>
                      <a:pt x="36" y="442"/>
                    </a:lnTo>
                    <a:lnTo>
                      <a:pt x="38" y="440"/>
                    </a:lnTo>
                    <a:lnTo>
                      <a:pt x="38" y="438"/>
                    </a:lnTo>
                    <a:lnTo>
                      <a:pt x="38" y="437"/>
                    </a:lnTo>
                    <a:lnTo>
                      <a:pt x="36" y="437"/>
                    </a:lnTo>
                    <a:lnTo>
                      <a:pt x="36" y="435"/>
                    </a:lnTo>
                    <a:lnTo>
                      <a:pt x="38" y="435"/>
                    </a:lnTo>
                    <a:lnTo>
                      <a:pt x="38" y="434"/>
                    </a:lnTo>
                    <a:lnTo>
                      <a:pt x="40" y="434"/>
                    </a:lnTo>
                    <a:lnTo>
                      <a:pt x="40" y="432"/>
                    </a:lnTo>
                    <a:lnTo>
                      <a:pt x="41" y="431"/>
                    </a:lnTo>
                    <a:lnTo>
                      <a:pt x="41" y="429"/>
                    </a:lnTo>
                    <a:lnTo>
                      <a:pt x="43" y="429"/>
                    </a:lnTo>
                    <a:lnTo>
                      <a:pt x="43" y="427"/>
                    </a:lnTo>
                    <a:lnTo>
                      <a:pt x="43" y="426"/>
                    </a:lnTo>
                    <a:lnTo>
                      <a:pt x="44" y="426"/>
                    </a:lnTo>
                    <a:lnTo>
                      <a:pt x="44" y="424"/>
                    </a:lnTo>
                    <a:lnTo>
                      <a:pt x="44" y="423"/>
                    </a:lnTo>
                    <a:lnTo>
                      <a:pt x="44" y="421"/>
                    </a:lnTo>
                    <a:lnTo>
                      <a:pt x="43" y="421"/>
                    </a:lnTo>
                    <a:lnTo>
                      <a:pt x="43" y="419"/>
                    </a:lnTo>
                    <a:lnTo>
                      <a:pt x="41" y="419"/>
                    </a:lnTo>
                    <a:lnTo>
                      <a:pt x="41" y="421"/>
                    </a:lnTo>
                    <a:lnTo>
                      <a:pt x="40" y="421"/>
                    </a:lnTo>
                    <a:lnTo>
                      <a:pt x="38" y="421"/>
                    </a:lnTo>
                    <a:lnTo>
                      <a:pt x="36" y="423"/>
                    </a:lnTo>
                    <a:lnTo>
                      <a:pt x="35" y="423"/>
                    </a:lnTo>
                    <a:lnTo>
                      <a:pt x="33" y="421"/>
                    </a:lnTo>
                    <a:lnTo>
                      <a:pt x="33" y="419"/>
                    </a:lnTo>
                    <a:lnTo>
                      <a:pt x="35" y="419"/>
                    </a:lnTo>
                    <a:lnTo>
                      <a:pt x="36" y="418"/>
                    </a:lnTo>
                    <a:lnTo>
                      <a:pt x="36" y="416"/>
                    </a:lnTo>
                    <a:lnTo>
                      <a:pt x="38" y="416"/>
                    </a:lnTo>
                    <a:lnTo>
                      <a:pt x="36" y="416"/>
                    </a:lnTo>
                    <a:lnTo>
                      <a:pt x="36" y="415"/>
                    </a:lnTo>
                    <a:lnTo>
                      <a:pt x="36" y="413"/>
                    </a:lnTo>
                    <a:lnTo>
                      <a:pt x="36" y="412"/>
                    </a:lnTo>
                    <a:lnTo>
                      <a:pt x="36" y="410"/>
                    </a:lnTo>
                    <a:lnTo>
                      <a:pt x="35" y="410"/>
                    </a:lnTo>
                    <a:lnTo>
                      <a:pt x="35" y="408"/>
                    </a:lnTo>
                    <a:lnTo>
                      <a:pt x="35" y="407"/>
                    </a:lnTo>
                    <a:lnTo>
                      <a:pt x="33" y="397"/>
                    </a:lnTo>
                    <a:lnTo>
                      <a:pt x="32" y="393"/>
                    </a:lnTo>
                    <a:lnTo>
                      <a:pt x="30" y="393"/>
                    </a:lnTo>
                    <a:lnTo>
                      <a:pt x="29" y="393"/>
                    </a:lnTo>
                    <a:lnTo>
                      <a:pt x="25" y="393"/>
                    </a:lnTo>
                    <a:lnTo>
                      <a:pt x="25" y="391"/>
                    </a:lnTo>
                    <a:lnTo>
                      <a:pt x="24" y="391"/>
                    </a:lnTo>
                    <a:lnTo>
                      <a:pt x="24" y="389"/>
                    </a:lnTo>
                    <a:lnTo>
                      <a:pt x="24" y="388"/>
                    </a:lnTo>
                    <a:lnTo>
                      <a:pt x="22" y="388"/>
                    </a:lnTo>
                    <a:lnTo>
                      <a:pt x="22" y="386"/>
                    </a:lnTo>
                    <a:lnTo>
                      <a:pt x="22" y="385"/>
                    </a:lnTo>
                    <a:lnTo>
                      <a:pt x="21" y="385"/>
                    </a:lnTo>
                    <a:lnTo>
                      <a:pt x="21" y="383"/>
                    </a:lnTo>
                    <a:lnTo>
                      <a:pt x="19" y="383"/>
                    </a:lnTo>
                    <a:lnTo>
                      <a:pt x="19" y="381"/>
                    </a:lnTo>
                    <a:lnTo>
                      <a:pt x="17" y="381"/>
                    </a:lnTo>
                    <a:lnTo>
                      <a:pt x="17" y="380"/>
                    </a:lnTo>
                    <a:lnTo>
                      <a:pt x="16" y="380"/>
                    </a:lnTo>
                    <a:lnTo>
                      <a:pt x="16" y="378"/>
                    </a:lnTo>
                    <a:lnTo>
                      <a:pt x="17" y="378"/>
                    </a:lnTo>
                    <a:lnTo>
                      <a:pt x="17" y="377"/>
                    </a:lnTo>
                    <a:lnTo>
                      <a:pt x="17" y="375"/>
                    </a:lnTo>
                    <a:lnTo>
                      <a:pt x="17" y="373"/>
                    </a:lnTo>
                    <a:lnTo>
                      <a:pt x="17" y="372"/>
                    </a:lnTo>
                    <a:lnTo>
                      <a:pt x="17" y="370"/>
                    </a:lnTo>
                    <a:lnTo>
                      <a:pt x="17" y="369"/>
                    </a:lnTo>
                    <a:lnTo>
                      <a:pt x="17" y="367"/>
                    </a:lnTo>
                    <a:lnTo>
                      <a:pt x="19" y="367"/>
                    </a:lnTo>
                    <a:lnTo>
                      <a:pt x="19" y="366"/>
                    </a:lnTo>
                    <a:lnTo>
                      <a:pt x="21" y="366"/>
                    </a:lnTo>
                    <a:lnTo>
                      <a:pt x="21" y="364"/>
                    </a:lnTo>
                    <a:lnTo>
                      <a:pt x="21" y="362"/>
                    </a:lnTo>
                    <a:lnTo>
                      <a:pt x="22" y="362"/>
                    </a:lnTo>
                    <a:lnTo>
                      <a:pt x="22" y="361"/>
                    </a:lnTo>
                    <a:lnTo>
                      <a:pt x="22" y="359"/>
                    </a:lnTo>
                    <a:lnTo>
                      <a:pt x="22" y="358"/>
                    </a:lnTo>
                    <a:lnTo>
                      <a:pt x="22" y="356"/>
                    </a:lnTo>
                    <a:lnTo>
                      <a:pt x="22" y="354"/>
                    </a:lnTo>
                    <a:lnTo>
                      <a:pt x="22" y="353"/>
                    </a:lnTo>
                    <a:lnTo>
                      <a:pt x="22" y="351"/>
                    </a:lnTo>
                    <a:lnTo>
                      <a:pt x="22" y="350"/>
                    </a:lnTo>
                    <a:lnTo>
                      <a:pt x="22" y="348"/>
                    </a:lnTo>
                    <a:lnTo>
                      <a:pt x="24" y="345"/>
                    </a:lnTo>
                    <a:lnTo>
                      <a:pt x="24" y="343"/>
                    </a:lnTo>
                    <a:lnTo>
                      <a:pt x="24" y="342"/>
                    </a:lnTo>
                    <a:lnTo>
                      <a:pt x="24" y="340"/>
                    </a:lnTo>
                    <a:lnTo>
                      <a:pt x="24" y="339"/>
                    </a:lnTo>
                    <a:lnTo>
                      <a:pt x="24" y="337"/>
                    </a:lnTo>
                    <a:lnTo>
                      <a:pt x="24" y="335"/>
                    </a:lnTo>
                    <a:lnTo>
                      <a:pt x="24" y="334"/>
                    </a:lnTo>
                    <a:lnTo>
                      <a:pt x="24" y="332"/>
                    </a:lnTo>
                    <a:lnTo>
                      <a:pt x="24" y="331"/>
                    </a:lnTo>
                    <a:lnTo>
                      <a:pt x="24" y="329"/>
                    </a:lnTo>
                    <a:lnTo>
                      <a:pt x="24" y="328"/>
                    </a:lnTo>
                    <a:lnTo>
                      <a:pt x="22" y="326"/>
                    </a:lnTo>
                    <a:lnTo>
                      <a:pt x="21" y="326"/>
                    </a:lnTo>
                    <a:lnTo>
                      <a:pt x="21" y="324"/>
                    </a:lnTo>
                    <a:lnTo>
                      <a:pt x="19" y="324"/>
                    </a:lnTo>
                    <a:lnTo>
                      <a:pt x="19" y="323"/>
                    </a:lnTo>
                    <a:lnTo>
                      <a:pt x="19" y="321"/>
                    </a:lnTo>
                    <a:lnTo>
                      <a:pt x="19" y="320"/>
                    </a:lnTo>
                    <a:lnTo>
                      <a:pt x="19" y="318"/>
                    </a:lnTo>
                    <a:lnTo>
                      <a:pt x="17" y="316"/>
                    </a:lnTo>
                    <a:lnTo>
                      <a:pt x="17" y="315"/>
                    </a:lnTo>
                    <a:lnTo>
                      <a:pt x="17" y="313"/>
                    </a:lnTo>
                    <a:lnTo>
                      <a:pt x="19" y="312"/>
                    </a:lnTo>
                    <a:lnTo>
                      <a:pt x="19" y="310"/>
                    </a:lnTo>
                    <a:lnTo>
                      <a:pt x="19" y="309"/>
                    </a:lnTo>
                    <a:lnTo>
                      <a:pt x="21" y="309"/>
                    </a:lnTo>
                    <a:lnTo>
                      <a:pt x="21" y="307"/>
                    </a:lnTo>
                    <a:lnTo>
                      <a:pt x="21" y="305"/>
                    </a:lnTo>
                    <a:lnTo>
                      <a:pt x="22" y="304"/>
                    </a:lnTo>
                    <a:lnTo>
                      <a:pt x="22" y="302"/>
                    </a:lnTo>
                    <a:lnTo>
                      <a:pt x="22" y="301"/>
                    </a:lnTo>
                    <a:lnTo>
                      <a:pt x="22" y="299"/>
                    </a:lnTo>
                    <a:lnTo>
                      <a:pt x="24" y="299"/>
                    </a:lnTo>
                    <a:lnTo>
                      <a:pt x="24" y="297"/>
                    </a:lnTo>
                    <a:lnTo>
                      <a:pt x="25" y="296"/>
                    </a:lnTo>
                    <a:lnTo>
                      <a:pt x="25" y="294"/>
                    </a:lnTo>
                    <a:lnTo>
                      <a:pt x="25" y="293"/>
                    </a:lnTo>
                    <a:lnTo>
                      <a:pt x="25" y="291"/>
                    </a:lnTo>
                    <a:lnTo>
                      <a:pt x="25" y="290"/>
                    </a:lnTo>
                    <a:lnTo>
                      <a:pt x="25" y="288"/>
                    </a:lnTo>
                    <a:lnTo>
                      <a:pt x="25" y="286"/>
                    </a:lnTo>
                    <a:lnTo>
                      <a:pt x="27" y="286"/>
                    </a:lnTo>
                    <a:lnTo>
                      <a:pt x="29" y="286"/>
                    </a:lnTo>
                    <a:lnTo>
                      <a:pt x="30" y="286"/>
                    </a:lnTo>
                    <a:lnTo>
                      <a:pt x="32" y="286"/>
                    </a:lnTo>
                    <a:lnTo>
                      <a:pt x="32" y="288"/>
                    </a:lnTo>
                    <a:lnTo>
                      <a:pt x="33" y="288"/>
                    </a:lnTo>
                    <a:lnTo>
                      <a:pt x="35" y="288"/>
                    </a:lnTo>
                    <a:lnTo>
                      <a:pt x="36" y="290"/>
                    </a:lnTo>
                    <a:lnTo>
                      <a:pt x="38" y="290"/>
                    </a:lnTo>
                    <a:lnTo>
                      <a:pt x="38" y="291"/>
                    </a:lnTo>
                    <a:lnTo>
                      <a:pt x="40" y="291"/>
                    </a:lnTo>
                    <a:lnTo>
                      <a:pt x="41" y="291"/>
                    </a:lnTo>
                    <a:lnTo>
                      <a:pt x="43" y="291"/>
                    </a:lnTo>
                    <a:lnTo>
                      <a:pt x="44" y="290"/>
                    </a:lnTo>
                    <a:lnTo>
                      <a:pt x="46" y="290"/>
                    </a:lnTo>
                    <a:lnTo>
                      <a:pt x="46" y="288"/>
                    </a:lnTo>
                    <a:lnTo>
                      <a:pt x="46" y="286"/>
                    </a:lnTo>
                    <a:lnTo>
                      <a:pt x="48" y="285"/>
                    </a:lnTo>
                    <a:lnTo>
                      <a:pt x="48" y="283"/>
                    </a:lnTo>
                    <a:lnTo>
                      <a:pt x="48" y="282"/>
                    </a:lnTo>
                    <a:lnTo>
                      <a:pt x="48" y="280"/>
                    </a:lnTo>
                    <a:lnTo>
                      <a:pt x="49" y="280"/>
                    </a:lnTo>
                    <a:lnTo>
                      <a:pt x="49" y="278"/>
                    </a:lnTo>
                    <a:lnTo>
                      <a:pt x="49" y="277"/>
                    </a:lnTo>
                    <a:lnTo>
                      <a:pt x="49" y="275"/>
                    </a:lnTo>
                    <a:lnTo>
                      <a:pt x="49" y="274"/>
                    </a:lnTo>
                    <a:lnTo>
                      <a:pt x="49" y="272"/>
                    </a:lnTo>
                    <a:lnTo>
                      <a:pt x="48" y="272"/>
                    </a:lnTo>
                    <a:lnTo>
                      <a:pt x="48" y="270"/>
                    </a:lnTo>
                    <a:lnTo>
                      <a:pt x="48" y="269"/>
                    </a:lnTo>
                    <a:lnTo>
                      <a:pt x="48" y="267"/>
                    </a:lnTo>
                    <a:lnTo>
                      <a:pt x="48" y="266"/>
                    </a:lnTo>
                    <a:lnTo>
                      <a:pt x="48" y="264"/>
                    </a:lnTo>
                    <a:lnTo>
                      <a:pt x="48" y="263"/>
                    </a:lnTo>
                    <a:lnTo>
                      <a:pt x="48" y="261"/>
                    </a:lnTo>
                    <a:lnTo>
                      <a:pt x="48" y="259"/>
                    </a:lnTo>
                    <a:lnTo>
                      <a:pt x="48" y="258"/>
                    </a:lnTo>
                    <a:lnTo>
                      <a:pt x="48" y="256"/>
                    </a:lnTo>
                    <a:lnTo>
                      <a:pt x="46" y="256"/>
                    </a:lnTo>
                    <a:lnTo>
                      <a:pt x="46" y="255"/>
                    </a:lnTo>
                    <a:lnTo>
                      <a:pt x="44" y="255"/>
                    </a:lnTo>
                    <a:lnTo>
                      <a:pt x="43" y="253"/>
                    </a:lnTo>
                    <a:lnTo>
                      <a:pt x="43" y="251"/>
                    </a:lnTo>
                    <a:lnTo>
                      <a:pt x="43" y="250"/>
                    </a:lnTo>
                    <a:lnTo>
                      <a:pt x="43" y="248"/>
                    </a:lnTo>
                    <a:lnTo>
                      <a:pt x="43" y="247"/>
                    </a:lnTo>
                    <a:lnTo>
                      <a:pt x="43" y="245"/>
                    </a:lnTo>
                    <a:lnTo>
                      <a:pt x="41" y="245"/>
                    </a:lnTo>
                    <a:lnTo>
                      <a:pt x="40" y="245"/>
                    </a:lnTo>
                    <a:lnTo>
                      <a:pt x="40" y="244"/>
                    </a:lnTo>
                    <a:lnTo>
                      <a:pt x="38" y="244"/>
                    </a:lnTo>
                    <a:lnTo>
                      <a:pt x="38" y="242"/>
                    </a:lnTo>
                    <a:lnTo>
                      <a:pt x="38" y="240"/>
                    </a:lnTo>
                    <a:lnTo>
                      <a:pt x="38" y="239"/>
                    </a:lnTo>
                    <a:lnTo>
                      <a:pt x="40" y="239"/>
                    </a:lnTo>
                    <a:lnTo>
                      <a:pt x="40" y="237"/>
                    </a:lnTo>
                    <a:lnTo>
                      <a:pt x="41" y="237"/>
                    </a:lnTo>
                    <a:lnTo>
                      <a:pt x="41" y="236"/>
                    </a:lnTo>
                    <a:lnTo>
                      <a:pt x="41" y="234"/>
                    </a:lnTo>
                    <a:lnTo>
                      <a:pt x="41" y="232"/>
                    </a:lnTo>
                    <a:lnTo>
                      <a:pt x="41" y="231"/>
                    </a:lnTo>
                    <a:lnTo>
                      <a:pt x="41" y="229"/>
                    </a:lnTo>
                    <a:lnTo>
                      <a:pt x="41" y="228"/>
                    </a:lnTo>
                    <a:lnTo>
                      <a:pt x="41" y="226"/>
                    </a:lnTo>
                    <a:lnTo>
                      <a:pt x="40" y="226"/>
                    </a:lnTo>
                    <a:lnTo>
                      <a:pt x="41" y="226"/>
                    </a:lnTo>
                    <a:lnTo>
                      <a:pt x="41" y="225"/>
                    </a:lnTo>
                    <a:lnTo>
                      <a:pt x="41" y="223"/>
                    </a:lnTo>
                    <a:lnTo>
                      <a:pt x="43" y="221"/>
                    </a:lnTo>
                    <a:lnTo>
                      <a:pt x="43" y="220"/>
                    </a:lnTo>
                    <a:lnTo>
                      <a:pt x="43" y="218"/>
                    </a:lnTo>
                    <a:lnTo>
                      <a:pt x="44" y="218"/>
                    </a:lnTo>
                    <a:lnTo>
                      <a:pt x="44" y="217"/>
                    </a:lnTo>
                    <a:lnTo>
                      <a:pt x="44" y="215"/>
                    </a:lnTo>
                    <a:lnTo>
                      <a:pt x="44" y="213"/>
                    </a:lnTo>
                    <a:lnTo>
                      <a:pt x="44" y="212"/>
                    </a:lnTo>
                    <a:lnTo>
                      <a:pt x="46" y="210"/>
                    </a:lnTo>
                    <a:lnTo>
                      <a:pt x="46" y="209"/>
                    </a:lnTo>
                    <a:lnTo>
                      <a:pt x="46" y="207"/>
                    </a:lnTo>
                    <a:lnTo>
                      <a:pt x="46" y="206"/>
                    </a:lnTo>
                    <a:lnTo>
                      <a:pt x="46" y="204"/>
                    </a:lnTo>
                    <a:lnTo>
                      <a:pt x="46" y="202"/>
                    </a:lnTo>
                    <a:lnTo>
                      <a:pt x="48" y="202"/>
                    </a:lnTo>
                    <a:lnTo>
                      <a:pt x="48" y="201"/>
                    </a:lnTo>
                    <a:lnTo>
                      <a:pt x="48" y="199"/>
                    </a:lnTo>
                    <a:lnTo>
                      <a:pt x="48" y="198"/>
                    </a:lnTo>
                    <a:lnTo>
                      <a:pt x="46" y="198"/>
                    </a:lnTo>
                    <a:lnTo>
                      <a:pt x="46" y="196"/>
                    </a:lnTo>
                    <a:lnTo>
                      <a:pt x="44" y="196"/>
                    </a:lnTo>
                    <a:lnTo>
                      <a:pt x="46" y="194"/>
                    </a:lnTo>
                    <a:lnTo>
                      <a:pt x="46" y="193"/>
                    </a:lnTo>
                    <a:lnTo>
                      <a:pt x="48" y="193"/>
                    </a:lnTo>
                    <a:lnTo>
                      <a:pt x="48" y="191"/>
                    </a:lnTo>
                    <a:lnTo>
                      <a:pt x="48" y="190"/>
                    </a:lnTo>
                    <a:lnTo>
                      <a:pt x="49" y="190"/>
                    </a:lnTo>
                    <a:lnTo>
                      <a:pt x="49" y="188"/>
                    </a:lnTo>
                    <a:lnTo>
                      <a:pt x="48" y="188"/>
                    </a:lnTo>
                    <a:lnTo>
                      <a:pt x="48" y="187"/>
                    </a:lnTo>
                    <a:lnTo>
                      <a:pt x="48" y="185"/>
                    </a:lnTo>
                    <a:lnTo>
                      <a:pt x="48" y="183"/>
                    </a:lnTo>
                    <a:lnTo>
                      <a:pt x="46" y="183"/>
                    </a:lnTo>
                    <a:lnTo>
                      <a:pt x="48" y="182"/>
                    </a:lnTo>
                    <a:lnTo>
                      <a:pt x="48" y="180"/>
                    </a:lnTo>
                    <a:lnTo>
                      <a:pt x="48" y="179"/>
                    </a:lnTo>
                    <a:lnTo>
                      <a:pt x="48" y="177"/>
                    </a:lnTo>
                    <a:lnTo>
                      <a:pt x="48" y="175"/>
                    </a:lnTo>
                    <a:lnTo>
                      <a:pt x="48" y="174"/>
                    </a:lnTo>
                    <a:lnTo>
                      <a:pt x="49" y="174"/>
                    </a:lnTo>
                    <a:lnTo>
                      <a:pt x="49" y="172"/>
                    </a:lnTo>
                    <a:lnTo>
                      <a:pt x="48" y="172"/>
                    </a:lnTo>
                    <a:lnTo>
                      <a:pt x="48" y="171"/>
                    </a:lnTo>
                    <a:lnTo>
                      <a:pt x="46" y="171"/>
                    </a:lnTo>
                    <a:lnTo>
                      <a:pt x="46" y="172"/>
                    </a:lnTo>
                    <a:lnTo>
                      <a:pt x="44" y="172"/>
                    </a:lnTo>
                    <a:lnTo>
                      <a:pt x="43" y="172"/>
                    </a:lnTo>
                    <a:lnTo>
                      <a:pt x="43" y="171"/>
                    </a:lnTo>
                    <a:lnTo>
                      <a:pt x="43" y="172"/>
                    </a:lnTo>
                    <a:lnTo>
                      <a:pt x="41" y="172"/>
                    </a:lnTo>
                    <a:lnTo>
                      <a:pt x="40" y="172"/>
                    </a:lnTo>
                    <a:lnTo>
                      <a:pt x="40" y="171"/>
                    </a:lnTo>
                    <a:lnTo>
                      <a:pt x="40" y="172"/>
                    </a:lnTo>
                    <a:lnTo>
                      <a:pt x="38" y="172"/>
                    </a:lnTo>
                    <a:lnTo>
                      <a:pt x="36" y="171"/>
                    </a:lnTo>
                    <a:lnTo>
                      <a:pt x="38" y="171"/>
                    </a:lnTo>
                    <a:lnTo>
                      <a:pt x="38" y="169"/>
                    </a:lnTo>
                    <a:lnTo>
                      <a:pt x="38" y="168"/>
                    </a:lnTo>
                    <a:lnTo>
                      <a:pt x="38" y="166"/>
                    </a:lnTo>
                    <a:lnTo>
                      <a:pt x="38" y="164"/>
                    </a:lnTo>
                    <a:lnTo>
                      <a:pt x="38" y="163"/>
                    </a:lnTo>
                    <a:lnTo>
                      <a:pt x="38" y="161"/>
                    </a:lnTo>
                    <a:lnTo>
                      <a:pt x="38" y="160"/>
                    </a:lnTo>
                    <a:lnTo>
                      <a:pt x="38" y="158"/>
                    </a:lnTo>
                    <a:lnTo>
                      <a:pt x="40" y="158"/>
                    </a:lnTo>
                    <a:lnTo>
                      <a:pt x="40" y="156"/>
                    </a:lnTo>
                    <a:lnTo>
                      <a:pt x="40" y="155"/>
                    </a:lnTo>
                    <a:lnTo>
                      <a:pt x="40" y="153"/>
                    </a:lnTo>
                    <a:lnTo>
                      <a:pt x="40" y="152"/>
                    </a:lnTo>
                    <a:lnTo>
                      <a:pt x="40" y="150"/>
                    </a:lnTo>
                    <a:lnTo>
                      <a:pt x="40" y="148"/>
                    </a:lnTo>
                    <a:lnTo>
                      <a:pt x="40" y="147"/>
                    </a:lnTo>
                    <a:lnTo>
                      <a:pt x="40" y="145"/>
                    </a:lnTo>
                    <a:lnTo>
                      <a:pt x="40" y="144"/>
                    </a:lnTo>
                    <a:lnTo>
                      <a:pt x="38" y="142"/>
                    </a:lnTo>
                    <a:lnTo>
                      <a:pt x="38" y="141"/>
                    </a:lnTo>
                    <a:lnTo>
                      <a:pt x="36" y="141"/>
                    </a:lnTo>
                    <a:lnTo>
                      <a:pt x="36" y="139"/>
                    </a:lnTo>
                    <a:lnTo>
                      <a:pt x="35" y="137"/>
                    </a:lnTo>
                    <a:lnTo>
                      <a:pt x="35" y="136"/>
                    </a:lnTo>
                    <a:lnTo>
                      <a:pt x="33" y="136"/>
                    </a:lnTo>
                    <a:lnTo>
                      <a:pt x="33" y="134"/>
                    </a:lnTo>
                    <a:lnTo>
                      <a:pt x="32" y="134"/>
                    </a:lnTo>
                    <a:lnTo>
                      <a:pt x="32" y="136"/>
                    </a:lnTo>
                    <a:lnTo>
                      <a:pt x="30" y="136"/>
                    </a:lnTo>
                    <a:lnTo>
                      <a:pt x="29" y="136"/>
                    </a:lnTo>
                    <a:lnTo>
                      <a:pt x="29" y="137"/>
                    </a:lnTo>
                    <a:lnTo>
                      <a:pt x="27" y="137"/>
                    </a:lnTo>
                    <a:lnTo>
                      <a:pt x="25" y="137"/>
                    </a:lnTo>
                    <a:lnTo>
                      <a:pt x="25" y="139"/>
                    </a:lnTo>
                    <a:lnTo>
                      <a:pt x="25" y="137"/>
                    </a:lnTo>
                    <a:lnTo>
                      <a:pt x="24" y="137"/>
                    </a:lnTo>
                    <a:lnTo>
                      <a:pt x="22" y="136"/>
                    </a:lnTo>
                    <a:lnTo>
                      <a:pt x="21" y="136"/>
                    </a:lnTo>
                    <a:lnTo>
                      <a:pt x="21" y="134"/>
                    </a:lnTo>
                    <a:lnTo>
                      <a:pt x="19" y="134"/>
                    </a:lnTo>
                    <a:lnTo>
                      <a:pt x="19" y="133"/>
                    </a:lnTo>
                    <a:lnTo>
                      <a:pt x="19" y="131"/>
                    </a:lnTo>
                    <a:lnTo>
                      <a:pt x="19" y="129"/>
                    </a:lnTo>
                    <a:lnTo>
                      <a:pt x="21" y="129"/>
                    </a:lnTo>
                    <a:lnTo>
                      <a:pt x="21" y="128"/>
                    </a:lnTo>
                    <a:lnTo>
                      <a:pt x="22" y="128"/>
                    </a:lnTo>
                    <a:lnTo>
                      <a:pt x="24" y="128"/>
                    </a:lnTo>
                    <a:lnTo>
                      <a:pt x="24" y="126"/>
                    </a:lnTo>
                    <a:lnTo>
                      <a:pt x="24" y="125"/>
                    </a:lnTo>
                    <a:lnTo>
                      <a:pt x="24" y="123"/>
                    </a:lnTo>
                    <a:lnTo>
                      <a:pt x="25" y="123"/>
                    </a:lnTo>
                    <a:lnTo>
                      <a:pt x="27" y="123"/>
                    </a:lnTo>
                    <a:lnTo>
                      <a:pt x="27" y="122"/>
                    </a:lnTo>
                    <a:lnTo>
                      <a:pt x="29" y="122"/>
                    </a:lnTo>
                    <a:lnTo>
                      <a:pt x="29" y="120"/>
                    </a:lnTo>
                    <a:lnTo>
                      <a:pt x="29" y="118"/>
                    </a:lnTo>
                    <a:lnTo>
                      <a:pt x="30" y="118"/>
                    </a:lnTo>
                    <a:lnTo>
                      <a:pt x="29" y="118"/>
                    </a:lnTo>
                    <a:lnTo>
                      <a:pt x="29" y="117"/>
                    </a:lnTo>
                    <a:lnTo>
                      <a:pt x="27" y="117"/>
                    </a:lnTo>
                    <a:lnTo>
                      <a:pt x="27" y="115"/>
                    </a:lnTo>
                    <a:lnTo>
                      <a:pt x="25" y="115"/>
                    </a:lnTo>
                    <a:lnTo>
                      <a:pt x="24" y="115"/>
                    </a:lnTo>
                    <a:lnTo>
                      <a:pt x="22" y="115"/>
                    </a:lnTo>
                    <a:lnTo>
                      <a:pt x="21" y="115"/>
                    </a:lnTo>
                    <a:lnTo>
                      <a:pt x="21" y="114"/>
                    </a:lnTo>
                    <a:lnTo>
                      <a:pt x="19" y="114"/>
                    </a:lnTo>
                    <a:lnTo>
                      <a:pt x="17" y="114"/>
                    </a:lnTo>
                    <a:lnTo>
                      <a:pt x="16" y="115"/>
                    </a:lnTo>
                    <a:lnTo>
                      <a:pt x="16" y="114"/>
                    </a:lnTo>
                    <a:lnTo>
                      <a:pt x="14" y="114"/>
                    </a:lnTo>
                    <a:lnTo>
                      <a:pt x="13" y="114"/>
                    </a:lnTo>
                    <a:lnTo>
                      <a:pt x="11" y="114"/>
                    </a:lnTo>
                    <a:lnTo>
                      <a:pt x="11" y="115"/>
                    </a:lnTo>
                    <a:lnTo>
                      <a:pt x="10" y="115"/>
                    </a:lnTo>
                    <a:lnTo>
                      <a:pt x="8" y="115"/>
                    </a:lnTo>
                    <a:lnTo>
                      <a:pt x="8" y="117"/>
                    </a:lnTo>
                    <a:lnTo>
                      <a:pt x="6" y="117"/>
                    </a:lnTo>
                    <a:lnTo>
                      <a:pt x="5" y="117"/>
                    </a:lnTo>
                    <a:lnTo>
                      <a:pt x="3" y="117"/>
                    </a:lnTo>
                    <a:lnTo>
                      <a:pt x="3" y="115"/>
                    </a:lnTo>
                    <a:lnTo>
                      <a:pt x="2" y="115"/>
                    </a:lnTo>
                    <a:lnTo>
                      <a:pt x="0" y="115"/>
                    </a:lnTo>
                    <a:lnTo>
                      <a:pt x="0" y="114"/>
                    </a:lnTo>
                    <a:lnTo>
                      <a:pt x="0" y="112"/>
                    </a:lnTo>
                    <a:lnTo>
                      <a:pt x="2" y="112"/>
                    </a:lnTo>
                    <a:lnTo>
                      <a:pt x="2" y="110"/>
                    </a:lnTo>
                    <a:lnTo>
                      <a:pt x="3" y="110"/>
                    </a:lnTo>
                    <a:lnTo>
                      <a:pt x="3" y="109"/>
                    </a:lnTo>
                    <a:lnTo>
                      <a:pt x="5" y="109"/>
                    </a:lnTo>
                    <a:lnTo>
                      <a:pt x="6" y="107"/>
                    </a:lnTo>
                    <a:lnTo>
                      <a:pt x="6" y="106"/>
                    </a:lnTo>
                    <a:lnTo>
                      <a:pt x="6" y="104"/>
                    </a:lnTo>
                    <a:lnTo>
                      <a:pt x="6" y="103"/>
                    </a:lnTo>
                    <a:lnTo>
                      <a:pt x="6" y="101"/>
                    </a:lnTo>
                    <a:lnTo>
                      <a:pt x="6" y="99"/>
                    </a:lnTo>
                    <a:lnTo>
                      <a:pt x="8" y="99"/>
                    </a:lnTo>
                    <a:lnTo>
                      <a:pt x="8" y="98"/>
                    </a:lnTo>
                    <a:lnTo>
                      <a:pt x="8" y="96"/>
                    </a:lnTo>
                    <a:lnTo>
                      <a:pt x="8" y="95"/>
                    </a:lnTo>
                    <a:lnTo>
                      <a:pt x="8" y="93"/>
                    </a:lnTo>
                    <a:lnTo>
                      <a:pt x="8" y="91"/>
                    </a:lnTo>
                    <a:lnTo>
                      <a:pt x="10" y="91"/>
                    </a:lnTo>
                    <a:lnTo>
                      <a:pt x="10" y="90"/>
                    </a:lnTo>
                    <a:lnTo>
                      <a:pt x="11" y="90"/>
                    </a:lnTo>
                    <a:lnTo>
                      <a:pt x="11" y="88"/>
                    </a:lnTo>
                    <a:lnTo>
                      <a:pt x="13" y="88"/>
                    </a:lnTo>
                    <a:lnTo>
                      <a:pt x="14" y="88"/>
                    </a:lnTo>
                    <a:lnTo>
                      <a:pt x="16" y="88"/>
                    </a:lnTo>
                    <a:lnTo>
                      <a:pt x="17" y="88"/>
                    </a:lnTo>
                    <a:lnTo>
                      <a:pt x="17" y="90"/>
                    </a:lnTo>
                    <a:lnTo>
                      <a:pt x="19" y="90"/>
                    </a:lnTo>
                    <a:lnTo>
                      <a:pt x="21" y="88"/>
                    </a:lnTo>
                    <a:lnTo>
                      <a:pt x="22" y="88"/>
                    </a:lnTo>
                    <a:lnTo>
                      <a:pt x="24" y="88"/>
                    </a:lnTo>
                    <a:lnTo>
                      <a:pt x="25" y="88"/>
                    </a:lnTo>
                    <a:lnTo>
                      <a:pt x="25" y="87"/>
                    </a:lnTo>
                    <a:lnTo>
                      <a:pt x="25" y="85"/>
                    </a:lnTo>
                    <a:lnTo>
                      <a:pt x="25" y="84"/>
                    </a:lnTo>
                    <a:lnTo>
                      <a:pt x="25" y="82"/>
                    </a:lnTo>
                    <a:lnTo>
                      <a:pt x="27" y="82"/>
                    </a:lnTo>
                    <a:lnTo>
                      <a:pt x="27" y="80"/>
                    </a:lnTo>
                    <a:lnTo>
                      <a:pt x="27" y="79"/>
                    </a:lnTo>
                    <a:lnTo>
                      <a:pt x="27" y="77"/>
                    </a:lnTo>
                    <a:lnTo>
                      <a:pt x="29" y="77"/>
                    </a:lnTo>
                    <a:lnTo>
                      <a:pt x="30" y="77"/>
                    </a:lnTo>
                    <a:lnTo>
                      <a:pt x="30" y="76"/>
                    </a:lnTo>
                    <a:lnTo>
                      <a:pt x="32" y="76"/>
                    </a:lnTo>
                    <a:lnTo>
                      <a:pt x="32" y="74"/>
                    </a:lnTo>
                    <a:lnTo>
                      <a:pt x="32" y="72"/>
                    </a:lnTo>
                    <a:lnTo>
                      <a:pt x="30" y="71"/>
                    </a:lnTo>
                    <a:lnTo>
                      <a:pt x="29" y="71"/>
                    </a:lnTo>
                    <a:lnTo>
                      <a:pt x="27" y="71"/>
                    </a:lnTo>
                    <a:lnTo>
                      <a:pt x="25" y="71"/>
                    </a:lnTo>
                    <a:lnTo>
                      <a:pt x="24" y="69"/>
                    </a:lnTo>
                    <a:lnTo>
                      <a:pt x="22" y="69"/>
                    </a:lnTo>
                    <a:lnTo>
                      <a:pt x="21" y="71"/>
                    </a:lnTo>
                    <a:lnTo>
                      <a:pt x="19" y="71"/>
                    </a:lnTo>
                    <a:lnTo>
                      <a:pt x="17" y="71"/>
                    </a:lnTo>
                    <a:lnTo>
                      <a:pt x="16" y="72"/>
                    </a:lnTo>
                    <a:lnTo>
                      <a:pt x="14" y="72"/>
                    </a:lnTo>
                    <a:lnTo>
                      <a:pt x="13" y="72"/>
                    </a:lnTo>
                    <a:lnTo>
                      <a:pt x="13" y="74"/>
                    </a:lnTo>
                    <a:lnTo>
                      <a:pt x="11" y="74"/>
                    </a:lnTo>
                    <a:lnTo>
                      <a:pt x="10" y="74"/>
                    </a:lnTo>
                    <a:lnTo>
                      <a:pt x="8" y="72"/>
                    </a:lnTo>
                    <a:lnTo>
                      <a:pt x="6" y="72"/>
                    </a:lnTo>
                    <a:lnTo>
                      <a:pt x="6" y="74"/>
                    </a:lnTo>
                    <a:lnTo>
                      <a:pt x="6" y="72"/>
                    </a:lnTo>
                    <a:lnTo>
                      <a:pt x="5" y="72"/>
                    </a:lnTo>
                    <a:lnTo>
                      <a:pt x="5" y="71"/>
                    </a:lnTo>
                    <a:lnTo>
                      <a:pt x="5" y="69"/>
                    </a:lnTo>
                    <a:lnTo>
                      <a:pt x="3" y="69"/>
                    </a:lnTo>
                    <a:lnTo>
                      <a:pt x="3" y="68"/>
                    </a:lnTo>
                    <a:lnTo>
                      <a:pt x="2" y="68"/>
                    </a:lnTo>
                    <a:lnTo>
                      <a:pt x="3" y="68"/>
                    </a:lnTo>
                    <a:lnTo>
                      <a:pt x="5" y="66"/>
                    </a:lnTo>
                    <a:lnTo>
                      <a:pt x="5" y="65"/>
                    </a:lnTo>
                    <a:lnTo>
                      <a:pt x="5" y="63"/>
                    </a:lnTo>
                    <a:lnTo>
                      <a:pt x="5" y="61"/>
                    </a:lnTo>
                    <a:lnTo>
                      <a:pt x="6" y="61"/>
                    </a:lnTo>
                    <a:lnTo>
                      <a:pt x="6" y="60"/>
                    </a:lnTo>
                    <a:lnTo>
                      <a:pt x="6" y="58"/>
                    </a:lnTo>
                    <a:lnTo>
                      <a:pt x="6" y="57"/>
                    </a:lnTo>
                    <a:lnTo>
                      <a:pt x="6" y="55"/>
                    </a:lnTo>
                    <a:lnTo>
                      <a:pt x="8" y="55"/>
                    </a:lnTo>
                    <a:lnTo>
                      <a:pt x="10" y="55"/>
                    </a:lnTo>
                    <a:lnTo>
                      <a:pt x="11" y="55"/>
                    </a:lnTo>
                    <a:lnTo>
                      <a:pt x="11" y="57"/>
                    </a:lnTo>
                    <a:lnTo>
                      <a:pt x="13" y="55"/>
                    </a:lnTo>
                    <a:lnTo>
                      <a:pt x="14" y="55"/>
                    </a:lnTo>
                    <a:lnTo>
                      <a:pt x="14" y="53"/>
                    </a:lnTo>
                    <a:lnTo>
                      <a:pt x="16" y="53"/>
                    </a:lnTo>
                    <a:lnTo>
                      <a:pt x="16" y="52"/>
                    </a:lnTo>
                    <a:lnTo>
                      <a:pt x="16" y="50"/>
                    </a:lnTo>
                    <a:lnTo>
                      <a:pt x="17" y="50"/>
                    </a:lnTo>
                    <a:lnTo>
                      <a:pt x="19" y="49"/>
                    </a:lnTo>
                    <a:lnTo>
                      <a:pt x="21" y="49"/>
                    </a:lnTo>
                    <a:lnTo>
                      <a:pt x="21" y="50"/>
                    </a:lnTo>
                    <a:lnTo>
                      <a:pt x="22" y="50"/>
                    </a:lnTo>
                    <a:lnTo>
                      <a:pt x="24" y="50"/>
                    </a:lnTo>
                    <a:lnTo>
                      <a:pt x="25" y="50"/>
                    </a:lnTo>
                    <a:lnTo>
                      <a:pt x="27" y="52"/>
                    </a:lnTo>
                    <a:lnTo>
                      <a:pt x="29" y="52"/>
                    </a:lnTo>
                    <a:lnTo>
                      <a:pt x="30" y="52"/>
                    </a:lnTo>
                    <a:lnTo>
                      <a:pt x="32" y="52"/>
                    </a:lnTo>
                    <a:lnTo>
                      <a:pt x="32" y="50"/>
                    </a:lnTo>
                    <a:lnTo>
                      <a:pt x="33" y="50"/>
                    </a:lnTo>
                    <a:lnTo>
                      <a:pt x="35" y="50"/>
                    </a:lnTo>
                    <a:lnTo>
                      <a:pt x="36" y="50"/>
                    </a:lnTo>
                    <a:lnTo>
                      <a:pt x="36" y="49"/>
                    </a:lnTo>
                    <a:lnTo>
                      <a:pt x="38" y="49"/>
                    </a:lnTo>
                    <a:lnTo>
                      <a:pt x="40" y="47"/>
                    </a:lnTo>
                    <a:lnTo>
                      <a:pt x="41" y="47"/>
                    </a:lnTo>
                    <a:lnTo>
                      <a:pt x="43" y="47"/>
                    </a:lnTo>
                    <a:lnTo>
                      <a:pt x="43" y="49"/>
                    </a:lnTo>
                    <a:lnTo>
                      <a:pt x="44" y="49"/>
                    </a:lnTo>
                    <a:lnTo>
                      <a:pt x="46" y="49"/>
                    </a:lnTo>
                    <a:lnTo>
                      <a:pt x="48" y="49"/>
                    </a:lnTo>
                    <a:lnTo>
                      <a:pt x="49" y="49"/>
                    </a:lnTo>
                    <a:lnTo>
                      <a:pt x="49" y="47"/>
                    </a:lnTo>
                    <a:lnTo>
                      <a:pt x="51" y="47"/>
                    </a:lnTo>
                    <a:lnTo>
                      <a:pt x="51" y="49"/>
                    </a:lnTo>
                    <a:lnTo>
                      <a:pt x="52" y="49"/>
                    </a:lnTo>
                    <a:lnTo>
                      <a:pt x="52" y="50"/>
                    </a:lnTo>
                    <a:lnTo>
                      <a:pt x="54" y="50"/>
                    </a:lnTo>
                    <a:lnTo>
                      <a:pt x="55" y="50"/>
                    </a:lnTo>
                    <a:lnTo>
                      <a:pt x="57" y="50"/>
                    </a:lnTo>
                    <a:lnTo>
                      <a:pt x="57" y="52"/>
                    </a:lnTo>
                    <a:lnTo>
                      <a:pt x="55" y="52"/>
                    </a:lnTo>
                    <a:lnTo>
                      <a:pt x="55" y="53"/>
                    </a:lnTo>
                    <a:lnTo>
                      <a:pt x="57" y="53"/>
                    </a:lnTo>
                    <a:lnTo>
                      <a:pt x="59" y="53"/>
                    </a:lnTo>
                    <a:lnTo>
                      <a:pt x="59" y="52"/>
                    </a:lnTo>
                    <a:lnTo>
                      <a:pt x="60" y="52"/>
                    </a:lnTo>
                    <a:lnTo>
                      <a:pt x="62" y="52"/>
                    </a:lnTo>
                    <a:lnTo>
                      <a:pt x="63" y="52"/>
                    </a:lnTo>
                    <a:lnTo>
                      <a:pt x="65" y="52"/>
                    </a:lnTo>
                    <a:lnTo>
                      <a:pt x="67" y="52"/>
                    </a:lnTo>
                    <a:lnTo>
                      <a:pt x="68" y="52"/>
                    </a:lnTo>
                    <a:lnTo>
                      <a:pt x="70" y="52"/>
                    </a:lnTo>
                    <a:lnTo>
                      <a:pt x="70" y="53"/>
                    </a:lnTo>
                    <a:lnTo>
                      <a:pt x="71" y="53"/>
                    </a:lnTo>
                    <a:lnTo>
                      <a:pt x="73" y="53"/>
                    </a:lnTo>
                    <a:lnTo>
                      <a:pt x="73" y="52"/>
                    </a:lnTo>
                    <a:lnTo>
                      <a:pt x="75" y="52"/>
                    </a:lnTo>
                    <a:lnTo>
                      <a:pt x="76" y="52"/>
                    </a:lnTo>
                    <a:lnTo>
                      <a:pt x="76" y="53"/>
                    </a:lnTo>
                    <a:lnTo>
                      <a:pt x="78" y="53"/>
                    </a:lnTo>
                    <a:lnTo>
                      <a:pt x="79" y="53"/>
                    </a:lnTo>
                    <a:lnTo>
                      <a:pt x="81" y="53"/>
                    </a:lnTo>
                    <a:lnTo>
                      <a:pt x="82" y="55"/>
                    </a:lnTo>
                    <a:lnTo>
                      <a:pt x="84" y="55"/>
                    </a:lnTo>
                    <a:lnTo>
                      <a:pt x="86" y="55"/>
                    </a:lnTo>
                    <a:lnTo>
                      <a:pt x="86" y="53"/>
                    </a:lnTo>
                    <a:lnTo>
                      <a:pt x="87" y="53"/>
                    </a:lnTo>
                    <a:lnTo>
                      <a:pt x="89" y="53"/>
                    </a:lnTo>
                    <a:lnTo>
                      <a:pt x="90" y="52"/>
                    </a:lnTo>
                    <a:lnTo>
                      <a:pt x="92" y="52"/>
                    </a:lnTo>
                    <a:lnTo>
                      <a:pt x="94" y="52"/>
                    </a:lnTo>
                    <a:lnTo>
                      <a:pt x="94" y="50"/>
                    </a:lnTo>
                    <a:lnTo>
                      <a:pt x="95" y="50"/>
                    </a:lnTo>
                    <a:lnTo>
                      <a:pt x="95" y="49"/>
                    </a:lnTo>
                    <a:lnTo>
                      <a:pt x="97" y="49"/>
                    </a:lnTo>
                    <a:lnTo>
                      <a:pt x="97" y="47"/>
                    </a:lnTo>
                    <a:lnTo>
                      <a:pt x="97" y="46"/>
                    </a:lnTo>
                    <a:lnTo>
                      <a:pt x="95" y="46"/>
                    </a:lnTo>
                    <a:lnTo>
                      <a:pt x="95" y="44"/>
                    </a:lnTo>
                    <a:lnTo>
                      <a:pt x="95" y="42"/>
                    </a:lnTo>
                    <a:lnTo>
                      <a:pt x="94" y="41"/>
                    </a:lnTo>
                    <a:lnTo>
                      <a:pt x="94" y="39"/>
                    </a:lnTo>
                    <a:lnTo>
                      <a:pt x="94" y="38"/>
                    </a:lnTo>
                    <a:lnTo>
                      <a:pt x="95" y="38"/>
                    </a:lnTo>
                    <a:lnTo>
                      <a:pt x="95" y="36"/>
                    </a:lnTo>
                    <a:lnTo>
                      <a:pt x="95" y="34"/>
                    </a:lnTo>
                    <a:lnTo>
                      <a:pt x="95" y="33"/>
                    </a:lnTo>
                    <a:lnTo>
                      <a:pt x="95" y="31"/>
                    </a:lnTo>
                    <a:lnTo>
                      <a:pt x="94" y="31"/>
                    </a:lnTo>
                    <a:lnTo>
                      <a:pt x="94" y="30"/>
                    </a:lnTo>
                    <a:lnTo>
                      <a:pt x="94" y="31"/>
                    </a:lnTo>
                    <a:lnTo>
                      <a:pt x="92" y="31"/>
                    </a:lnTo>
                    <a:lnTo>
                      <a:pt x="92" y="33"/>
                    </a:lnTo>
                    <a:lnTo>
                      <a:pt x="92" y="31"/>
                    </a:lnTo>
                    <a:lnTo>
                      <a:pt x="94" y="30"/>
                    </a:lnTo>
                    <a:lnTo>
                      <a:pt x="95" y="30"/>
                    </a:lnTo>
                    <a:lnTo>
                      <a:pt x="97" y="30"/>
                    </a:lnTo>
                    <a:lnTo>
                      <a:pt x="100" y="30"/>
                    </a:lnTo>
                    <a:lnTo>
                      <a:pt x="103" y="28"/>
                    </a:lnTo>
                    <a:lnTo>
                      <a:pt x="103" y="26"/>
                    </a:lnTo>
                    <a:lnTo>
                      <a:pt x="105" y="23"/>
                    </a:lnTo>
                    <a:lnTo>
                      <a:pt x="106" y="22"/>
                    </a:lnTo>
                    <a:lnTo>
                      <a:pt x="109" y="22"/>
                    </a:lnTo>
                    <a:lnTo>
                      <a:pt x="111" y="19"/>
                    </a:lnTo>
                    <a:lnTo>
                      <a:pt x="113" y="17"/>
                    </a:lnTo>
                    <a:lnTo>
                      <a:pt x="113" y="15"/>
                    </a:lnTo>
                    <a:lnTo>
                      <a:pt x="113" y="11"/>
                    </a:lnTo>
                    <a:lnTo>
                      <a:pt x="114" y="9"/>
                    </a:lnTo>
                    <a:lnTo>
                      <a:pt x="116" y="7"/>
                    </a:lnTo>
                    <a:lnTo>
                      <a:pt x="119" y="4"/>
                    </a:lnTo>
                    <a:lnTo>
                      <a:pt x="120" y="3"/>
                    </a:lnTo>
                    <a:lnTo>
                      <a:pt x="124" y="1"/>
                    </a:lnTo>
                    <a:lnTo>
                      <a:pt x="127" y="3"/>
                    </a:lnTo>
                    <a:lnTo>
                      <a:pt x="130" y="3"/>
                    </a:lnTo>
                    <a:lnTo>
                      <a:pt x="130" y="1"/>
                    </a:lnTo>
                    <a:lnTo>
                      <a:pt x="132" y="1"/>
                    </a:lnTo>
                    <a:lnTo>
                      <a:pt x="133" y="0"/>
                    </a:lnTo>
                    <a:lnTo>
                      <a:pt x="135" y="0"/>
                    </a:lnTo>
                    <a:lnTo>
                      <a:pt x="141" y="1"/>
                    </a:lnTo>
                    <a:lnTo>
                      <a:pt x="146" y="3"/>
                    </a:lnTo>
                  </a:path>
                </a:pathLst>
              </a:custGeom>
              <a:noFill/>
              <a:ln w="476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11" name="Freeform 9"/>
              <p:cNvSpPr>
                <a:spLocks/>
              </p:cNvSpPr>
              <p:nvPr/>
            </p:nvSpPr>
            <p:spPr bwMode="auto">
              <a:xfrm>
                <a:off x="2103" y="977"/>
                <a:ext cx="1437" cy="1469"/>
              </a:xfrm>
              <a:custGeom>
                <a:avLst/>
                <a:gdLst>
                  <a:gd name="T0" fmla="*/ 415 w 1437"/>
                  <a:gd name="T1" fmla="*/ 59 h 1469"/>
                  <a:gd name="T2" fmla="*/ 477 w 1437"/>
                  <a:gd name="T3" fmla="*/ 110 h 1469"/>
                  <a:gd name="T4" fmla="*/ 555 w 1437"/>
                  <a:gd name="T5" fmla="*/ 95 h 1469"/>
                  <a:gd name="T6" fmla="*/ 601 w 1437"/>
                  <a:gd name="T7" fmla="*/ 114 h 1469"/>
                  <a:gd name="T8" fmla="*/ 680 w 1437"/>
                  <a:gd name="T9" fmla="*/ 103 h 1469"/>
                  <a:gd name="T10" fmla="*/ 724 w 1437"/>
                  <a:gd name="T11" fmla="*/ 49 h 1469"/>
                  <a:gd name="T12" fmla="*/ 791 w 1437"/>
                  <a:gd name="T13" fmla="*/ 78 h 1469"/>
                  <a:gd name="T14" fmla="*/ 862 w 1437"/>
                  <a:gd name="T15" fmla="*/ 80 h 1469"/>
                  <a:gd name="T16" fmla="*/ 898 w 1437"/>
                  <a:gd name="T17" fmla="*/ 64 h 1469"/>
                  <a:gd name="T18" fmla="*/ 943 w 1437"/>
                  <a:gd name="T19" fmla="*/ 61 h 1469"/>
                  <a:gd name="T20" fmla="*/ 966 w 1437"/>
                  <a:gd name="T21" fmla="*/ 75 h 1469"/>
                  <a:gd name="T22" fmla="*/ 1011 w 1437"/>
                  <a:gd name="T23" fmla="*/ 132 h 1469"/>
                  <a:gd name="T24" fmla="*/ 1074 w 1437"/>
                  <a:gd name="T25" fmla="*/ 159 h 1469"/>
                  <a:gd name="T26" fmla="*/ 1096 w 1437"/>
                  <a:gd name="T27" fmla="*/ 221 h 1469"/>
                  <a:gd name="T28" fmla="*/ 1157 w 1437"/>
                  <a:gd name="T29" fmla="*/ 235 h 1469"/>
                  <a:gd name="T30" fmla="*/ 1171 w 1437"/>
                  <a:gd name="T31" fmla="*/ 293 h 1469"/>
                  <a:gd name="T32" fmla="*/ 1145 w 1437"/>
                  <a:gd name="T33" fmla="*/ 344 h 1469"/>
                  <a:gd name="T34" fmla="*/ 1180 w 1437"/>
                  <a:gd name="T35" fmla="*/ 427 h 1469"/>
                  <a:gd name="T36" fmla="*/ 1247 w 1437"/>
                  <a:gd name="T37" fmla="*/ 441 h 1469"/>
                  <a:gd name="T38" fmla="*/ 1315 w 1437"/>
                  <a:gd name="T39" fmla="*/ 461 h 1469"/>
                  <a:gd name="T40" fmla="*/ 1378 w 1437"/>
                  <a:gd name="T41" fmla="*/ 639 h 1469"/>
                  <a:gd name="T42" fmla="*/ 1434 w 1437"/>
                  <a:gd name="T43" fmla="*/ 800 h 1469"/>
                  <a:gd name="T44" fmla="*/ 1424 w 1437"/>
                  <a:gd name="T45" fmla="*/ 984 h 1469"/>
                  <a:gd name="T46" fmla="*/ 1391 w 1437"/>
                  <a:gd name="T47" fmla="*/ 1098 h 1469"/>
                  <a:gd name="T48" fmla="*/ 1334 w 1437"/>
                  <a:gd name="T49" fmla="*/ 1176 h 1469"/>
                  <a:gd name="T50" fmla="*/ 1335 w 1437"/>
                  <a:gd name="T51" fmla="*/ 1334 h 1469"/>
                  <a:gd name="T52" fmla="*/ 1191 w 1437"/>
                  <a:gd name="T53" fmla="*/ 1366 h 1469"/>
                  <a:gd name="T54" fmla="*/ 1218 w 1437"/>
                  <a:gd name="T55" fmla="*/ 1273 h 1469"/>
                  <a:gd name="T56" fmla="*/ 1177 w 1437"/>
                  <a:gd name="T57" fmla="*/ 1244 h 1469"/>
                  <a:gd name="T58" fmla="*/ 1209 w 1437"/>
                  <a:gd name="T59" fmla="*/ 1181 h 1469"/>
                  <a:gd name="T60" fmla="*/ 1153 w 1437"/>
                  <a:gd name="T61" fmla="*/ 1190 h 1469"/>
                  <a:gd name="T62" fmla="*/ 1107 w 1437"/>
                  <a:gd name="T63" fmla="*/ 1225 h 1469"/>
                  <a:gd name="T64" fmla="*/ 1080 w 1437"/>
                  <a:gd name="T65" fmla="*/ 1168 h 1469"/>
                  <a:gd name="T66" fmla="*/ 1031 w 1437"/>
                  <a:gd name="T67" fmla="*/ 1151 h 1469"/>
                  <a:gd name="T68" fmla="*/ 990 w 1437"/>
                  <a:gd name="T69" fmla="*/ 1092 h 1469"/>
                  <a:gd name="T70" fmla="*/ 1039 w 1437"/>
                  <a:gd name="T71" fmla="*/ 1054 h 1469"/>
                  <a:gd name="T72" fmla="*/ 1012 w 1437"/>
                  <a:gd name="T73" fmla="*/ 986 h 1469"/>
                  <a:gd name="T74" fmla="*/ 935 w 1437"/>
                  <a:gd name="T75" fmla="*/ 1006 h 1469"/>
                  <a:gd name="T76" fmla="*/ 895 w 1437"/>
                  <a:gd name="T77" fmla="*/ 1054 h 1469"/>
                  <a:gd name="T78" fmla="*/ 832 w 1437"/>
                  <a:gd name="T79" fmla="*/ 1087 h 1469"/>
                  <a:gd name="T80" fmla="*/ 770 w 1437"/>
                  <a:gd name="T81" fmla="*/ 1119 h 1469"/>
                  <a:gd name="T82" fmla="*/ 702 w 1437"/>
                  <a:gd name="T83" fmla="*/ 1138 h 1469"/>
                  <a:gd name="T84" fmla="*/ 627 w 1437"/>
                  <a:gd name="T85" fmla="*/ 1089 h 1469"/>
                  <a:gd name="T86" fmla="*/ 558 w 1437"/>
                  <a:gd name="T87" fmla="*/ 1060 h 1469"/>
                  <a:gd name="T88" fmla="*/ 504 w 1437"/>
                  <a:gd name="T89" fmla="*/ 1010 h 1469"/>
                  <a:gd name="T90" fmla="*/ 420 w 1437"/>
                  <a:gd name="T91" fmla="*/ 994 h 1469"/>
                  <a:gd name="T92" fmla="*/ 369 w 1437"/>
                  <a:gd name="T93" fmla="*/ 972 h 1469"/>
                  <a:gd name="T94" fmla="*/ 309 w 1437"/>
                  <a:gd name="T95" fmla="*/ 946 h 1469"/>
                  <a:gd name="T96" fmla="*/ 317 w 1437"/>
                  <a:gd name="T97" fmla="*/ 881 h 1469"/>
                  <a:gd name="T98" fmla="*/ 304 w 1437"/>
                  <a:gd name="T99" fmla="*/ 845 h 1469"/>
                  <a:gd name="T100" fmla="*/ 361 w 1437"/>
                  <a:gd name="T101" fmla="*/ 778 h 1469"/>
                  <a:gd name="T102" fmla="*/ 347 w 1437"/>
                  <a:gd name="T103" fmla="*/ 743 h 1469"/>
                  <a:gd name="T104" fmla="*/ 372 w 1437"/>
                  <a:gd name="T105" fmla="*/ 693 h 1469"/>
                  <a:gd name="T106" fmla="*/ 331 w 1437"/>
                  <a:gd name="T107" fmla="*/ 648 h 1469"/>
                  <a:gd name="T108" fmla="*/ 307 w 1437"/>
                  <a:gd name="T109" fmla="*/ 574 h 1469"/>
                  <a:gd name="T110" fmla="*/ 246 w 1437"/>
                  <a:gd name="T111" fmla="*/ 587 h 1469"/>
                  <a:gd name="T112" fmla="*/ 200 w 1437"/>
                  <a:gd name="T113" fmla="*/ 515 h 1469"/>
                  <a:gd name="T114" fmla="*/ 140 w 1437"/>
                  <a:gd name="T115" fmla="*/ 511 h 1469"/>
                  <a:gd name="T116" fmla="*/ 87 w 1437"/>
                  <a:gd name="T117" fmla="*/ 564 h 1469"/>
                  <a:gd name="T118" fmla="*/ 26 w 1437"/>
                  <a:gd name="T119" fmla="*/ 575 h 1469"/>
                  <a:gd name="T120" fmla="*/ 11 w 1437"/>
                  <a:gd name="T121" fmla="*/ 511 h 1469"/>
                  <a:gd name="T122" fmla="*/ 149 w 1437"/>
                  <a:gd name="T123" fmla="*/ 322 h 1469"/>
                  <a:gd name="T124" fmla="*/ 263 w 1437"/>
                  <a:gd name="T125" fmla="*/ 222 h 1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37" h="1469">
                    <a:moveTo>
                      <a:pt x="349" y="8"/>
                    </a:moveTo>
                    <a:lnTo>
                      <a:pt x="350" y="8"/>
                    </a:lnTo>
                    <a:lnTo>
                      <a:pt x="352" y="8"/>
                    </a:lnTo>
                    <a:lnTo>
                      <a:pt x="352" y="10"/>
                    </a:lnTo>
                    <a:lnTo>
                      <a:pt x="352" y="11"/>
                    </a:lnTo>
                    <a:lnTo>
                      <a:pt x="352" y="13"/>
                    </a:lnTo>
                    <a:lnTo>
                      <a:pt x="350" y="13"/>
                    </a:lnTo>
                    <a:lnTo>
                      <a:pt x="350" y="15"/>
                    </a:lnTo>
                    <a:lnTo>
                      <a:pt x="352" y="16"/>
                    </a:lnTo>
                    <a:lnTo>
                      <a:pt x="352" y="18"/>
                    </a:lnTo>
                    <a:lnTo>
                      <a:pt x="352" y="19"/>
                    </a:lnTo>
                    <a:lnTo>
                      <a:pt x="352" y="21"/>
                    </a:lnTo>
                    <a:lnTo>
                      <a:pt x="353" y="22"/>
                    </a:lnTo>
                    <a:lnTo>
                      <a:pt x="353" y="24"/>
                    </a:lnTo>
                    <a:lnTo>
                      <a:pt x="355" y="24"/>
                    </a:lnTo>
                    <a:lnTo>
                      <a:pt x="355" y="26"/>
                    </a:lnTo>
                    <a:lnTo>
                      <a:pt x="357" y="27"/>
                    </a:lnTo>
                    <a:lnTo>
                      <a:pt x="357" y="29"/>
                    </a:lnTo>
                    <a:lnTo>
                      <a:pt x="358" y="29"/>
                    </a:lnTo>
                    <a:lnTo>
                      <a:pt x="360" y="29"/>
                    </a:lnTo>
                    <a:lnTo>
                      <a:pt x="360" y="30"/>
                    </a:lnTo>
                    <a:lnTo>
                      <a:pt x="360" y="32"/>
                    </a:lnTo>
                    <a:lnTo>
                      <a:pt x="361" y="34"/>
                    </a:lnTo>
                    <a:lnTo>
                      <a:pt x="361" y="35"/>
                    </a:lnTo>
                    <a:lnTo>
                      <a:pt x="361" y="37"/>
                    </a:lnTo>
                    <a:lnTo>
                      <a:pt x="361" y="38"/>
                    </a:lnTo>
                    <a:lnTo>
                      <a:pt x="363" y="40"/>
                    </a:lnTo>
                    <a:lnTo>
                      <a:pt x="363" y="41"/>
                    </a:lnTo>
                    <a:lnTo>
                      <a:pt x="364" y="43"/>
                    </a:lnTo>
                    <a:lnTo>
                      <a:pt x="364" y="45"/>
                    </a:lnTo>
                    <a:lnTo>
                      <a:pt x="366" y="46"/>
                    </a:lnTo>
                    <a:lnTo>
                      <a:pt x="368" y="46"/>
                    </a:lnTo>
                    <a:lnTo>
                      <a:pt x="368" y="48"/>
                    </a:lnTo>
                    <a:lnTo>
                      <a:pt x="369" y="48"/>
                    </a:lnTo>
                    <a:lnTo>
                      <a:pt x="369" y="49"/>
                    </a:lnTo>
                    <a:lnTo>
                      <a:pt x="369" y="48"/>
                    </a:lnTo>
                    <a:lnTo>
                      <a:pt x="371" y="48"/>
                    </a:lnTo>
                    <a:lnTo>
                      <a:pt x="371" y="46"/>
                    </a:lnTo>
                    <a:lnTo>
                      <a:pt x="371" y="48"/>
                    </a:lnTo>
                    <a:lnTo>
                      <a:pt x="372" y="48"/>
                    </a:lnTo>
                    <a:lnTo>
                      <a:pt x="374" y="48"/>
                    </a:lnTo>
                    <a:lnTo>
                      <a:pt x="374" y="49"/>
                    </a:lnTo>
                    <a:lnTo>
                      <a:pt x="376" y="49"/>
                    </a:lnTo>
                    <a:lnTo>
                      <a:pt x="377" y="49"/>
                    </a:lnTo>
                    <a:lnTo>
                      <a:pt x="377" y="51"/>
                    </a:lnTo>
                    <a:lnTo>
                      <a:pt x="379" y="51"/>
                    </a:lnTo>
                    <a:lnTo>
                      <a:pt x="380" y="51"/>
                    </a:lnTo>
                    <a:lnTo>
                      <a:pt x="380" y="53"/>
                    </a:lnTo>
                    <a:lnTo>
                      <a:pt x="382" y="53"/>
                    </a:lnTo>
                    <a:lnTo>
                      <a:pt x="383" y="53"/>
                    </a:lnTo>
                    <a:lnTo>
                      <a:pt x="385" y="53"/>
                    </a:lnTo>
                    <a:lnTo>
                      <a:pt x="387" y="53"/>
                    </a:lnTo>
                    <a:lnTo>
                      <a:pt x="388" y="53"/>
                    </a:lnTo>
                    <a:lnTo>
                      <a:pt x="390" y="53"/>
                    </a:lnTo>
                    <a:lnTo>
                      <a:pt x="391" y="54"/>
                    </a:lnTo>
                    <a:lnTo>
                      <a:pt x="393" y="54"/>
                    </a:lnTo>
                    <a:lnTo>
                      <a:pt x="395" y="54"/>
                    </a:lnTo>
                    <a:lnTo>
                      <a:pt x="396" y="54"/>
                    </a:lnTo>
                    <a:lnTo>
                      <a:pt x="398" y="54"/>
                    </a:lnTo>
                    <a:lnTo>
                      <a:pt x="399" y="56"/>
                    </a:lnTo>
                    <a:lnTo>
                      <a:pt x="401" y="56"/>
                    </a:lnTo>
                    <a:lnTo>
                      <a:pt x="403" y="56"/>
                    </a:lnTo>
                    <a:lnTo>
                      <a:pt x="404" y="56"/>
                    </a:lnTo>
                    <a:lnTo>
                      <a:pt x="406" y="56"/>
                    </a:lnTo>
                    <a:lnTo>
                      <a:pt x="407" y="56"/>
                    </a:lnTo>
                    <a:lnTo>
                      <a:pt x="409" y="56"/>
                    </a:lnTo>
                    <a:lnTo>
                      <a:pt x="410" y="56"/>
                    </a:lnTo>
                    <a:lnTo>
                      <a:pt x="412" y="56"/>
                    </a:lnTo>
                    <a:lnTo>
                      <a:pt x="412" y="57"/>
                    </a:lnTo>
                    <a:lnTo>
                      <a:pt x="414" y="57"/>
                    </a:lnTo>
                    <a:lnTo>
                      <a:pt x="414" y="59"/>
                    </a:lnTo>
                    <a:lnTo>
                      <a:pt x="415" y="59"/>
                    </a:lnTo>
                    <a:lnTo>
                      <a:pt x="417" y="59"/>
                    </a:lnTo>
                    <a:lnTo>
                      <a:pt x="417" y="61"/>
                    </a:lnTo>
                    <a:lnTo>
                      <a:pt x="418" y="61"/>
                    </a:lnTo>
                    <a:lnTo>
                      <a:pt x="420" y="61"/>
                    </a:lnTo>
                    <a:lnTo>
                      <a:pt x="420" y="62"/>
                    </a:lnTo>
                    <a:lnTo>
                      <a:pt x="422" y="62"/>
                    </a:lnTo>
                    <a:lnTo>
                      <a:pt x="423" y="62"/>
                    </a:lnTo>
                    <a:lnTo>
                      <a:pt x="423" y="61"/>
                    </a:lnTo>
                    <a:lnTo>
                      <a:pt x="425" y="61"/>
                    </a:lnTo>
                    <a:lnTo>
                      <a:pt x="425" y="62"/>
                    </a:lnTo>
                    <a:lnTo>
                      <a:pt x="426" y="62"/>
                    </a:lnTo>
                    <a:lnTo>
                      <a:pt x="426" y="64"/>
                    </a:lnTo>
                    <a:lnTo>
                      <a:pt x="428" y="64"/>
                    </a:lnTo>
                    <a:lnTo>
                      <a:pt x="428" y="65"/>
                    </a:lnTo>
                    <a:lnTo>
                      <a:pt x="429" y="65"/>
                    </a:lnTo>
                    <a:lnTo>
                      <a:pt x="429" y="67"/>
                    </a:lnTo>
                    <a:lnTo>
                      <a:pt x="429" y="68"/>
                    </a:lnTo>
                    <a:lnTo>
                      <a:pt x="431" y="68"/>
                    </a:lnTo>
                    <a:lnTo>
                      <a:pt x="431" y="70"/>
                    </a:lnTo>
                    <a:lnTo>
                      <a:pt x="431" y="72"/>
                    </a:lnTo>
                    <a:lnTo>
                      <a:pt x="433" y="73"/>
                    </a:lnTo>
                    <a:lnTo>
                      <a:pt x="433" y="75"/>
                    </a:lnTo>
                    <a:lnTo>
                      <a:pt x="433" y="76"/>
                    </a:lnTo>
                    <a:lnTo>
                      <a:pt x="434" y="76"/>
                    </a:lnTo>
                    <a:lnTo>
                      <a:pt x="436" y="78"/>
                    </a:lnTo>
                    <a:lnTo>
                      <a:pt x="437" y="78"/>
                    </a:lnTo>
                    <a:lnTo>
                      <a:pt x="439" y="78"/>
                    </a:lnTo>
                    <a:lnTo>
                      <a:pt x="439" y="80"/>
                    </a:lnTo>
                    <a:lnTo>
                      <a:pt x="441" y="80"/>
                    </a:lnTo>
                    <a:lnTo>
                      <a:pt x="441" y="81"/>
                    </a:lnTo>
                    <a:lnTo>
                      <a:pt x="442" y="81"/>
                    </a:lnTo>
                    <a:lnTo>
                      <a:pt x="442" y="83"/>
                    </a:lnTo>
                    <a:lnTo>
                      <a:pt x="444" y="83"/>
                    </a:lnTo>
                    <a:lnTo>
                      <a:pt x="444" y="84"/>
                    </a:lnTo>
                    <a:lnTo>
                      <a:pt x="444" y="86"/>
                    </a:lnTo>
                    <a:lnTo>
                      <a:pt x="445" y="86"/>
                    </a:lnTo>
                    <a:lnTo>
                      <a:pt x="447" y="87"/>
                    </a:lnTo>
                    <a:lnTo>
                      <a:pt x="447" y="89"/>
                    </a:lnTo>
                    <a:lnTo>
                      <a:pt x="448" y="89"/>
                    </a:lnTo>
                    <a:lnTo>
                      <a:pt x="450" y="89"/>
                    </a:lnTo>
                    <a:lnTo>
                      <a:pt x="450" y="91"/>
                    </a:lnTo>
                    <a:lnTo>
                      <a:pt x="452" y="91"/>
                    </a:lnTo>
                    <a:lnTo>
                      <a:pt x="453" y="91"/>
                    </a:lnTo>
                    <a:lnTo>
                      <a:pt x="453" y="92"/>
                    </a:lnTo>
                    <a:lnTo>
                      <a:pt x="455" y="92"/>
                    </a:lnTo>
                    <a:lnTo>
                      <a:pt x="456" y="92"/>
                    </a:lnTo>
                    <a:lnTo>
                      <a:pt x="456" y="94"/>
                    </a:lnTo>
                    <a:lnTo>
                      <a:pt x="458" y="94"/>
                    </a:lnTo>
                    <a:lnTo>
                      <a:pt x="460" y="94"/>
                    </a:lnTo>
                    <a:lnTo>
                      <a:pt x="460" y="95"/>
                    </a:lnTo>
                    <a:lnTo>
                      <a:pt x="461" y="95"/>
                    </a:lnTo>
                    <a:lnTo>
                      <a:pt x="461" y="97"/>
                    </a:lnTo>
                    <a:lnTo>
                      <a:pt x="463" y="97"/>
                    </a:lnTo>
                    <a:lnTo>
                      <a:pt x="463" y="99"/>
                    </a:lnTo>
                    <a:lnTo>
                      <a:pt x="464" y="99"/>
                    </a:lnTo>
                    <a:lnTo>
                      <a:pt x="466" y="99"/>
                    </a:lnTo>
                    <a:lnTo>
                      <a:pt x="466" y="100"/>
                    </a:lnTo>
                    <a:lnTo>
                      <a:pt x="467" y="100"/>
                    </a:lnTo>
                    <a:lnTo>
                      <a:pt x="467" y="102"/>
                    </a:lnTo>
                    <a:lnTo>
                      <a:pt x="469" y="102"/>
                    </a:lnTo>
                    <a:lnTo>
                      <a:pt x="469" y="103"/>
                    </a:lnTo>
                    <a:lnTo>
                      <a:pt x="471" y="103"/>
                    </a:lnTo>
                    <a:lnTo>
                      <a:pt x="471" y="105"/>
                    </a:lnTo>
                    <a:lnTo>
                      <a:pt x="471" y="103"/>
                    </a:lnTo>
                    <a:lnTo>
                      <a:pt x="472" y="103"/>
                    </a:lnTo>
                    <a:lnTo>
                      <a:pt x="474" y="103"/>
                    </a:lnTo>
                    <a:lnTo>
                      <a:pt x="474" y="105"/>
                    </a:lnTo>
                    <a:lnTo>
                      <a:pt x="475" y="105"/>
                    </a:lnTo>
                    <a:lnTo>
                      <a:pt x="475" y="106"/>
                    </a:lnTo>
                    <a:lnTo>
                      <a:pt x="477" y="106"/>
                    </a:lnTo>
                    <a:lnTo>
                      <a:pt x="477" y="108"/>
                    </a:lnTo>
                    <a:lnTo>
                      <a:pt x="477" y="110"/>
                    </a:lnTo>
                    <a:lnTo>
                      <a:pt x="479" y="111"/>
                    </a:lnTo>
                    <a:lnTo>
                      <a:pt x="479" y="110"/>
                    </a:lnTo>
                    <a:lnTo>
                      <a:pt x="480" y="110"/>
                    </a:lnTo>
                    <a:lnTo>
                      <a:pt x="480" y="111"/>
                    </a:lnTo>
                    <a:lnTo>
                      <a:pt x="480" y="113"/>
                    </a:lnTo>
                    <a:lnTo>
                      <a:pt x="482" y="113"/>
                    </a:lnTo>
                    <a:lnTo>
                      <a:pt x="483" y="111"/>
                    </a:lnTo>
                    <a:lnTo>
                      <a:pt x="483" y="113"/>
                    </a:lnTo>
                    <a:lnTo>
                      <a:pt x="485" y="113"/>
                    </a:lnTo>
                    <a:lnTo>
                      <a:pt x="485" y="111"/>
                    </a:lnTo>
                    <a:lnTo>
                      <a:pt x="486" y="111"/>
                    </a:lnTo>
                    <a:lnTo>
                      <a:pt x="488" y="113"/>
                    </a:lnTo>
                    <a:lnTo>
                      <a:pt x="488" y="114"/>
                    </a:lnTo>
                    <a:lnTo>
                      <a:pt x="490" y="114"/>
                    </a:lnTo>
                    <a:lnTo>
                      <a:pt x="491" y="114"/>
                    </a:lnTo>
                    <a:lnTo>
                      <a:pt x="490" y="116"/>
                    </a:lnTo>
                    <a:lnTo>
                      <a:pt x="491" y="116"/>
                    </a:lnTo>
                    <a:lnTo>
                      <a:pt x="493" y="116"/>
                    </a:lnTo>
                    <a:lnTo>
                      <a:pt x="493" y="114"/>
                    </a:lnTo>
                    <a:lnTo>
                      <a:pt x="494" y="114"/>
                    </a:lnTo>
                    <a:lnTo>
                      <a:pt x="496" y="116"/>
                    </a:lnTo>
                    <a:lnTo>
                      <a:pt x="498" y="116"/>
                    </a:lnTo>
                    <a:lnTo>
                      <a:pt x="499" y="116"/>
                    </a:lnTo>
                    <a:lnTo>
                      <a:pt x="499" y="118"/>
                    </a:lnTo>
                    <a:lnTo>
                      <a:pt x="501" y="118"/>
                    </a:lnTo>
                    <a:lnTo>
                      <a:pt x="502" y="118"/>
                    </a:lnTo>
                    <a:lnTo>
                      <a:pt x="504" y="118"/>
                    </a:lnTo>
                    <a:lnTo>
                      <a:pt x="505" y="118"/>
                    </a:lnTo>
                    <a:lnTo>
                      <a:pt x="507" y="118"/>
                    </a:lnTo>
                    <a:lnTo>
                      <a:pt x="507" y="116"/>
                    </a:lnTo>
                    <a:lnTo>
                      <a:pt x="509" y="116"/>
                    </a:lnTo>
                    <a:lnTo>
                      <a:pt x="510" y="116"/>
                    </a:lnTo>
                    <a:lnTo>
                      <a:pt x="512" y="116"/>
                    </a:lnTo>
                    <a:lnTo>
                      <a:pt x="512" y="114"/>
                    </a:lnTo>
                    <a:lnTo>
                      <a:pt x="512" y="113"/>
                    </a:lnTo>
                    <a:lnTo>
                      <a:pt x="513" y="113"/>
                    </a:lnTo>
                    <a:lnTo>
                      <a:pt x="515" y="113"/>
                    </a:lnTo>
                    <a:lnTo>
                      <a:pt x="515" y="114"/>
                    </a:lnTo>
                    <a:lnTo>
                      <a:pt x="517" y="114"/>
                    </a:lnTo>
                    <a:lnTo>
                      <a:pt x="517" y="113"/>
                    </a:lnTo>
                    <a:lnTo>
                      <a:pt x="518" y="113"/>
                    </a:lnTo>
                    <a:lnTo>
                      <a:pt x="518" y="111"/>
                    </a:lnTo>
                    <a:lnTo>
                      <a:pt x="520" y="111"/>
                    </a:lnTo>
                    <a:lnTo>
                      <a:pt x="521" y="111"/>
                    </a:lnTo>
                    <a:lnTo>
                      <a:pt x="523" y="111"/>
                    </a:lnTo>
                    <a:lnTo>
                      <a:pt x="523" y="113"/>
                    </a:lnTo>
                    <a:lnTo>
                      <a:pt x="523" y="111"/>
                    </a:lnTo>
                    <a:lnTo>
                      <a:pt x="524" y="111"/>
                    </a:lnTo>
                    <a:lnTo>
                      <a:pt x="524" y="110"/>
                    </a:lnTo>
                    <a:lnTo>
                      <a:pt x="526" y="110"/>
                    </a:lnTo>
                    <a:lnTo>
                      <a:pt x="526" y="108"/>
                    </a:lnTo>
                    <a:lnTo>
                      <a:pt x="528" y="108"/>
                    </a:lnTo>
                    <a:lnTo>
                      <a:pt x="529" y="108"/>
                    </a:lnTo>
                    <a:lnTo>
                      <a:pt x="531" y="106"/>
                    </a:lnTo>
                    <a:lnTo>
                      <a:pt x="532" y="106"/>
                    </a:lnTo>
                    <a:lnTo>
                      <a:pt x="534" y="106"/>
                    </a:lnTo>
                    <a:lnTo>
                      <a:pt x="536" y="106"/>
                    </a:lnTo>
                    <a:lnTo>
                      <a:pt x="536" y="105"/>
                    </a:lnTo>
                    <a:lnTo>
                      <a:pt x="536" y="103"/>
                    </a:lnTo>
                    <a:lnTo>
                      <a:pt x="537" y="103"/>
                    </a:lnTo>
                    <a:lnTo>
                      <a:pt x="539" y="103"/>
                    </a:lnTo>
                    <a:lnTo>
                      <a:pt x="540" y="102"/>
                    </a:lnTo>
                    <a:lnTo>
                      <a:pt x="540" y="100"/>
                    </a:lnTo>
                    <a:lnTo>
                      <a:pt x="542" y="99"/>
                    </a:lnTo>
                    <a:lnTo>
                      <a:pt x="542" y="97"/>
                    </a:lnTo>
                    <a:lnTo>
                      <a:pt x="542" y="95"/>
                    </a:lnTo>
                    <a:lnTo>
                      <a:pt x="543" y="95"/>
                    </a:lnTo>
                    <a:lnTo>
                      <a:pt x="545" y="95"/>
                    </a:lnTo>
                    <a:lnTo>
                      <a:pt x="548" y="95"/>
                    </a:lnTo>
                    <a:lnTo>
                      <a:pt x="550" y="95"/>
                    </a:lnTo>
                    <a:lnTo>
                      <a:pt x="553" y="97"/>
                    </a:lnTo>
                    <a:lnTo>
                      <a:pt x="555" y="95"/>
                    </a:lnTo>
                    <a:lnTo>
                      <a:pt x="556" y="95"/>
                    </a:lnTo>
                    <a:lnTo>
                      <a:pt x="558" y="95"/>
                    </a:lnTo>
                    <a:lnTo>
                      <a:pt x="559" y="95"/>
                    </a:lnTo>
                    <a:lnTo>
                      <a:pt x="559" y="97"/>
                    </a:lnTo>
                    <a:lnTo>
                      <a:pt x="561" y="97"/>
                    </a:lnTo>
                    <a:lnTo>
                      <a:pt x="562" y="97"/>
                    </a:lnTo>
                    <a:lnTo>
                      <a:pt x="564" y="97"/>
                    </a:lnTo>
                    <a:lnTo>
                      <a:pt x="564" y="99"/>
                    </a:lnTo>
                    <a:lnTo>
                      <a:pt x="566" y="99"/>
                    </a:lnTo>
                    <a:lnTo>
                      <a:pt x="566" y="97"/>
                    </a:lnTo>
                    <a:lnTo>
                      <a:pt x="566" y="99"/>
                    </a:lnTo>
                    <a:lnTo>
                      <a:pt x="567" y="99"/>
                    </a:lnTo>
                    <a:lnTo>
                      <a:pt x="567" y="97"/>
                    </a:lnTo>
                    <a:lnTo>
                      <a:pt x="569" y="99"/>
                    </a:lnTo>
                    <a:lnTo>
                      <a:pt x="570" y="99"/>
                    </a:lnTo>
                    <a:lnTo>
                      <a:pt x="570" y="100"/>
                    </a:lnTo>
                    <a:lnTo>
                      <a:pt x="572" y="100"/>
                    </a:lnTo>
                    <a:lnTo>
                      <a:pt x="574" y="100"/>
                    </a:lnTo>
                    <a:lnTo>
                      <a:pt x="574" y="102"/>
                    </a:lnTo>
                    <a:lnTo>
                      <a:pt x="575" y="102"/>
                    </a:lnTo>
                    <a:lnTo>
                      <a:pt x="577" y="102"/>
                    </a:lnTo>
                    <a:lnTo>
                      <a:pt x="577" y="103"/>
                    </a:lnTo>
                    <a:lnTo>
                      <a:pt x="578" y="103"/>
                    </a:lnTo>
                    <a:lnTo>
                      <a:pt x="578" y="105"/>
                    </a:lnTo>
                    <a:lnTo>
                      <a:pt x="578" y="106"/>
                    </a:lnTo>
                    <a:lnTo>
                      <a:pt x="580" y="106"/>
                    </a:lnTo>
                    <a:lnTo>
                      <a:pt x="581" y="106"/>
                    </a:lnTo>
                    <a:lnTo>
                      <a:pt x="581" y="108"/>
                    </a:lnTo>
                    <a:lnTo>
                      <a:pt x="583" y="108"/>
                    </a:lnTo>
                    <a:lnTo>
                      <a:pt x="583" y="110"/>
                    </a:lnTo>
                    <a:lnTo>
                      <a:pt x="585" y="110"/>
                    </a:lnTo>
                    <a:lnTo>
                      <a:pt x="585" y="111"/>
                    </a:lnTo>
                    <a:lnTo>
                      <a:pt x="586" y="111"/>
                    </a:lnTo>
                    <a:lnTo>
                      <a:pt x="588" y="111"/>
                    </a:lnTo>
                    <a:lnTo>
                      <a:pt x="588" y="110"/>
                    </a:lnTo>
                    <a:lnTo>
                      <a:pt x="588" y="111"/>
                    </a:lnTo>
                    <a:lnTo>
                      <a:pt x="588" y="113"/>
                    </a:lnTo>
                    <a:lnTo>
                      <a:pt x="588" y="114"/>
                    </a:lnTo>
                    <a:lnTo>
                      <a:pt x="586" y="114"/>
                    </a:lnTo>
                    <a:lnTo>
                      <a:pt x="585" y="114"/>
                    </a:lnTo>
                    <a:lnTo>
                      <a:pt x="585" y="116"/>
                    </a:lnTo>
                    <a:lnTo>
                      <a:pt x="586" y="116"/>
                    </a:lnTo>
                    <a:lnTo>
                      <a:pt x="586" y="118"/>
                    </a:lnTo>
                    <a:lnTo>
                      <a:pt x="588" y="119"/>
                    </a:lnTo>
                    <a:lnTo>
                      <a:pt x="588" y="121"/>
                    </a:lnTo>
                    <a:lnTo>
                      <a:pt x="588" y="122"/>
                    </a:lnTo>
                    <a:lnTo>
                      <a:pt x="589" y="122"/>
                    </a:lnTo>
                    <a:lnTo>
                      <a:pt x="591" y="122"/>
                    </a:lnTo>
                    <a:lnTo>
                      <a:pt x="591" y="121"/>
                    </a:lnTo>
                    <a:lnTo>
                      <a:pt x="589" y="119"/>
                    </a:lnTo>
                    <a:lnTo>
                      <a:pt x="589" y="118"/>
                    </a:lnTo>
                    <a:lnTo>
                      <a:pt x="589" y="116"/>
                    </a:lnTo>
                    <a:lnTo>
                      <a:pt x="589" y="114"/>
                    </a:lnTo>
                    <a:lnTo>
                      <a:pt x="591" y="114"/>
                    </a:lnTo>
                    <a:lnTo>
                      <a:pt x="591" y="116"/>
                    </a:lnTo>
                    <a:lnTo>
                      <a:pt x="591" y="114"/>
                    </a:lnTo>
                    <a:lnTo>
                      <a:pt x="593" y="114"/>
                    </a:lnTo>
                    <a:lnTo>
                      <a:pt x="593" y="113"/>
                    </a:lnTo>
                    <a:lnTo>
                      <a:pt x="594" y="113"/>
                    </a:lnTo>
                    <a:lnTo>
                      <a:pt x="594" y="111"/>
                    </a:lnTo>
                    <a:lnTo>
                      <a:pt x="596" y="111"/>
                    </a:lnTo>
                    <a:lnTo>
                      <a:pt x="596" y="113"/>
                    </a:lnTo>
                    <a:lnTo>
                      <a:pt x="597" y="113"/>
                    </a:lnTo>
                    <a:lnTo>
                      <a:pt x="597" y="114"/>
                    </a:lnTo>
                    <a:lnTo>
                      <a:pt x="597" y="116"/>
                    </a:lnTo>
                    <a:lnTo>
                      <a:pt x="599" y="116"/>
                    </a:lnTo>
                    <a:lnTo>
                      <a:pt x="599" y="118"/>
                    </a:lnTo>
                    <a:lnTo>
                      <a:pt x="597" y="118"/>
                    </a:lnTo>
                    <a:lnTo>
                      <a:pt x="599" y="118"/>
                    </a:lnTo>
                    <a:lnTo>
                      <a:pt x="599" y="116"/>
                    </a:lnTo>
                    <a:lnTo>
                      <a:pt x="599" y="114"/>
                    </a:lnTo>
                    <a:lnTo>
                      <a:pt x="601" y="114"/>
                    </a:lnTo>
                    <a:lnTo>
                      <a:pt x="602" y="114"/>
                    </a:lnTo>
                    <a:lnTo>
                      <a:pt x="604" y="114"/>
                    </a:lnTo>
                    <a:lnTo>
                      <a:pt x="605" y="114"/>
                    </a:lnTo>
                    <a:lnTo>
                      <a:pt x="605" y="116"/>
                    </a:lnTo>
                    <a:lnTo>
                      <a:pt x="605" y="118"/>
                    </a:lnTo>
                    <a:lnTo>
                      <a:pt x="607" y="118"/>
                    </a:lnTo>
                    <a:lnTo>
                      <a:pt x="607" y="119"/>
                    </a:lnTo>
                    <a:lnTo>
                      <a:pt x="608" y="119"/>
                    </a:lnTo>
                    <a:lnTo>
                      <a:pt x="610" y="119"/>
                    </a:lnTo>
                    <a:lnTo>
                      <a:pt x="612" y="119"/>
                    </a:lnTo>
                    <a:lnTo>
                      <a:pt x="613" y="119"/>
                    </a:lnTo>
                    <a:lnTo>
                      <a:pt x="615" y="119"/>
                    </a:lnTo>
                    <a:lnTo>
                      <a:pt x="616" y="119"/>
                    </a:lnTo>
                    <a:lnTo>
                      <a:pt x="618" y="119"/>
                    </a:lnTo>
                    <a:lnTo>
                      <a:pt x="620" y="119"/>
                    </a:lnTo>
                    <a:lnTo>
                      <a:pt x="620" y="118"/>
                    </a:lnTo>
                    <a:lnTo>
                      <a:pt x="621" y="118"/>
                    </a:lnTo>
                    <a:lnTo>
                      <a:pt x="623" y="118"/>
                    </a:lnTo>
                    <a:lnTo>
                      <a:pt x="623" y="116"/>
                    </a:lnTo>
                    <a:lnTo>
                      <a:pt x="623" y="114"/>
                    </a:lnTo>
                    <a:lnTo>
                      <a:pt x="624" y="114"/>
                    </a:lnTo>
                    <a:lnTo>
                      <a:pt x="624" y="113"/>
                    </a:lnTo>
                    <a:lnTo>
                      <a:pt x="626" y="113"/>
                    </a:lnTo>
                    <a:lnTo>
                      <a:pt x="626" y="114"/>
                    </a:lnTo>
                    <a:lnTo>
                      <a:pt x="627" y="114"/>
                    </a:lnTo>
                    <a:lnTo>
                      <a:pt x="627" y="116"/>
                    </a:lnTo>
                    <a:lnTo>
                      <a:pt x="627" y="118"/>
                    </a:lnTo>
                    <a:lnTo>
                      <a:pt x="629" y="118"/>
                    </a:lnTo>
                    <a:lnTo>
                      <a:pt x="631" y="118"/>
                    </a:lnTo>
                    <a:lnTo>
                      <a:pt x="632" y="119"/>
                    </a:lnTo>
                    <a:lnTo>
                      <a:pt x="634" y="119"/>
                    </a:lnTo>
                    <a:lnTo>
                      <a:pt x="635" y="119"/>
                    </a:lnTo>
                    <a:lnTo>
                      <a:pt x="637" y="119"/>
                    </a:lnTo>
                    <a:lnTo>
                      <a:pt x="639" y="119"/>
                    </a:lnTo>
                    <a:lnTo>
                      <a:pt x="639" y="118"/>
                    </a:lnTo>
                    <a:lnTo>
                      <a:pt x="640" y="118"/>
                    </a:lnTo>
                    <a:lnTo>
                      <a:pt x="640" y="116"/>
                    </a:lnTo>
                    <a:lnTo>
                      <a:pt x="642" y="116"/>
                    </a:lnTo>
                    <a:lnTo>
                      <a:pt x="643" y="116"/>
                    </a:lnTo>
                    <a:lnTo>
                      <a:pt x="645" y="116"/>
                    </a:lnTo>
                    <a:lnTo>
                      <a:pt x="645" y="118"/>
                    </a:lnTo>
                    <a:lnTo>
                      <a:pt x="646" y="118"/>
                    </a:lnTo>
                    <a:lnTo>
                      <a:pt x="648" y="118"/>
                    </a:lnTo>
                    <a:lnTo>
                      <a:pt x="648" y="116"/>
                    </a:lnTo>
                    <a:lnTo>
                      <a:pt x="650" y="114"/>
                    </a:lnTo>
                    <a:lnTo>
                      <a:pt x="650" y="116"/>
                    </a:lnTo>
                    <a:lnTo>
                      <a:pt x="651" y="116"/>
                    </a:lnTo>
                    <a:lnTo>
                      <a:pt x="653" y="116"/>
                    </a:lnTo>
                    <a:lnTo>
                      <a:pt x="654" y="116"/>
                    </a:lnTo>
                    <a:lnTo>
                      <a:pt x="656" y="116"/>
                    </a:lnTo>
                    <a:lnTo>
                      <a:pt x="658" y="116"/>
                    </a:lnTo>
                    <a:lnTo>
                      <a:pt x="658" y="114"/>
                    </a:lnTo>
                    <a:lnTo>
                      <a:pt x="659" y="113"/>
                    </a:lnTo>
                    <a:lnTo>
                      <a:pt x="661" y="113"/>
                    </a:lnTo>
                    <a:lnTo>
                      <a:pt x="661" y="111"/>
                    </a:lnTo>
                    <a:lnTo>
                      <a:pt x="662" y="111"/>
                    </a:lnTo>
                    <a:lnTo>
                      <a:pt x="664" y="111"/>
                    </a:lnTo>
                    <a:lnTo>
                      <a:pt x="664" y="110"/>
                    </a:lnTo>
                    <a:lnTo>
                      <a:pt x="665" y="110"/>
                    </a:lnTo>
                    <a:lnTo>
                      <a:pt x="667" y="110"/>
                    </a:lnTo>
                    <a:lnTo>
                      <a:pt x="669" y="110"/>
                    </a:lnTo>
                    <a:lnTo>
                      <a:pt x="670" y="110"/>
                    </a:lnTo>
                    <a:lnTo>
                      <a:pt x="672" y="110"/>
                    </a:lnTo>
                    <a:lnTo>
                      <a:pt x="672" y="108"/>
                    </a:lnTo>
                    <a:lnTo>
                      <a:pt x="673" y="108"/>
                    </a:lnTo>
                    <a:lnTo>
                      <a:pt x="673" y="106"/>
                    </a:lnTo>
                    <a:lnTo>
                      <a:pt x="675" y="106"/>
                    </a:lnTo>
                    <a:lnTo>
                      <a:pt x="677" y="106"/>
                    </a:lnTo>
                    <a:lnTo>
                      <a:pt x="678" y="106"/>
                    </a:lnTo>
                    <a:lnTo>
                      <a:pt x="678" y="105"/>
                    </a:lnTo>
                    <a:lnTo>
                      <a:pt x="680" y="105"/>
                    </a:lnTo>
                    <a:lnTo>
                      <a:pt x="680" y="103"/>
                    </a:lnTo>
                    <a:lnTo>
                      <a:pt x="681" y="103"/>
                    </a:lnTo>
                    <a:lnTo>
                      <a:pt x="683" y="103"/>
                    </a:lnTo>
                    <a:lnTo>
                      <a:pt x="683" y="102"/>
                    </a:lnTo>
                    <a:lnTo>
                      <a:pt x="684" y="103"/>
                    </a:lnTo>
                    <a:lnTo>
                      <a:pt x="686" y="103"/>
                    </a:lnTo>
                    <a:lnTo>
                      <a:pt x="688" y="105"/>
                    </a:lnTo>
                    <a:lnTo>
                      <a:pt x="688" y="103"/>
                    </a:lnTo>
                    <a:lnTo>
                      <a:pt x="689" y="103"/>
                    </a:lnTo>
                    <a:lnTo>
                      <a:pt x="691" y="102"/>
                    </a:lnTo>
                    <a:lnTo>
                      <a:pt x="692" y="102"/>
                    </a:lnTo>
                    <a:lnTo>
                      <a:pt x="692" y="100"/>
                    </a:lnTo>
                    <a:lnTo>
                      <a:pt x="691" y="100"/>
                    </a:lnTo>
                    <a:lnTo>
                      <a:pt x="692" y="100"/>
                    </a:lnTo>
                    <a:lnTo>
                      <a:pt x="694" y="100"/>
                    </a:lnTo>
                    <a:lnTo>
                      <a:pt x="694" y="99"/>
                    </a:lnTo>
                    <a:lnTo>
                      <a:pt x="694" y="97"/>
                    </a:lnTo>
                    <a:lnTo>
                      <a:pt x="696" y="97"/>
                    </a:lnTo>
                    <a:lnTo>
                      <a:pt x="696" y="95"/>
                    </a:lnTo>
                    <a:lnTo>
                      <a:pt x="696" y="94"/>
                    </a:lnTo>
                    <a:lnTo>
                      <a:pt x="697" y="94"/>
                    </a:lnTo>
                    <a:lnTo>
                      <a:pt x="699" y="92"/>
                    </a:lnTo>
                    <a:lnTo>
                      <a:pt x="700" y="92"/>
                    </a:lnTo>
                    <a:lnTo>
                      <a:pt x="702" y="92"/>
                    </a:lnTo>
                    <a:lnTo>
                      <a:pt x="702" y="91"/>
                    </a:lnTo>
                    <a:lnTo>
                      <a:pt x="702" y="89"/>
                    </a:lnTo>
                    <a:lnTo>
                      <a:pt x="703" y="89"/>
                    </a:lnTo>
                    <a:lnTo>
                      <a:pt x="703" y="87"/>
                    </a:lnTo>
                    <a:lnTo>
                      <a:pt x="705" y="87"/>
                    </a:lnTo>
                    <a:lnTo>
                      <a:pt x="705" y="86"/>
                    </a:lnTo>
                    <a:lnTo>
                      <a:pt x="707" y="86"/>
                    </a:lnTo>
                    <a:lnTo>
                      <a:pt x="707" y="84"/>
                    </a:lnTo>
                    <a:lnTo>
                      <a:pt x="707" y="83"/>
                    </a:lnTo>
                    <a:lnTo>
                      <a:pt x="705" y="83"/>
                    </a:lnTo>
                    <a:lnTo>
                      <a:pt x="705" y="81"/>
                    </a:lnTo>
                    <a:lnTo>
                      <a:pt x="707" y="81"/>
                    </a:lnTo>
                    <a:lnTo>
                      <a:pt x="707" y="80"/>
                    </a:lnTo>
                    <a:lnTo>
                      <a:pt x="708" y="80"/>
                    </a:lnTo>
                    <a:lnTo>
                      <a:pt x="708" y="78"/>
                    </a:lnTo>
                    <a:lnTo>
                      <a:pt x="708" y="76"/>
                    </a:lnTo>
                    <a:lnTo>
                      <a:pt x="710" y="76"/>
                    </a:lnTo>
                    <a:lnTo>
                      <a:pt x="708" y="76"/>
                    </a:lnTo>
                    <a:lnTo>
                      <a:pt x="708" y="75"/>
                    </a:lnTo>
                    <a:lnTo>
                      <a:pt x="710" y="75"/>
                    </a:lnTo>
                    <a:lnTo>
                      <a:pt x="710" y="73"/>
                    </a:lnTo>
                    <a:lnTo>
                      <a:pt x="711" y="72"/>
                    </a:lnTo>
                    <a:lnTo>
                      <a:pt x="711" y="70"/>
                    </a:lnTo>
                    <a:lnTo>
                      <a:pt x="711" y="68"/>
                    </a:lnTo>
                    <a:lnTo>
                      <a:pt x="711" y="67"/>
                    </a:lnTo>
                    <a:lnTo>
                      <a:pt x="713" y="67"/>
                    </a:lnTo>
                    <a:lnTo>
                      <a:pt x="713" y="65"/>
                    </a:lnTo>
                    <a:lnTo>
                      <a:pt x="713" y="64"/>
                    </a:lnTo>
                    <a:lnTo>
                      <a:pt x="715" y="64"/>
                    </a:lnTo>
                    <a:lnTo>
                      <a:pt x="715" y="62"/>
                    </a:lnTo>
                    <a:lnTo>
                      <a:pt x="716" y="62"/>
                    </a:lnTo>
                    <a:lnTo>
                      <a:pt x="716" y="61"/>
                    </a:lnTo>
                    <a:lnTo>
                      <a:pt x="716" y="59"/>
                    </a:lnTo>
                    <a:lnTo>
                      <a:pt x="716" y="57"/>
                    </a:lnTo>
                    <a:lnTo>
                      <a:pt x="718" y="57"/>
                    </a:lnTo>
                    <a:lnTo>
                      <a:pt x="719" y="56"/>
                    </a:lnTo>
                    <a:lnTo>
                      <a:pt x="719" y="54"/>
                    </a:lnTo>
                    <a:lnTo>
                      <a:pt x="721" y="54"/>
                    </a:lnTo>
                    <a:lnTo>
                      <a:pt x="721" y="56"/>
                    </a:lnTo>
                    <a:lnTo>
                      <a:pt x="722" y="56"/>
                    </a:lnTo>
                    <a:lnTo>
                      <a:pt x="722" y="54"/>
                    </a:lnTo>
                    <a:lnTo>
                      <a:pt x="722" y="53"/>
                    </a:lnTo>
                    <a:lnTo>
                      <a:pt x="722" y="51"/>
                    </a:lnTo>
                    <a:lnTo>
                      <a:pt x="722" y="49"/>
                    </a:lnTo>
                    <a:lnTo>
                      <a:pt x="724" y="49"/>
                    </a:lnTo>
                    <a:lnTo>
                      <a:pt x="726" y="49"/>
                    </a:lnTo>
                    <a:lnTo>
                      <a:pt x="726" y="51"/>
                    </a:lnTo>
                    <a:lnTo>
                      <a:pt x="726" y="49"/>
                    </a:lnTo>
                    <a:lnTo>
                      <a:pt x="724" y="49"/>
                    </a:lnTo>
                    <a:lnTo>
                      <a:pt x="724" y="48"/>
                    </a:lnTo>
                    <a:lnTo>
                      <a:pt x="726" y="48"/>
                    </a:lnTo>
                    <a:lnTo>
                      <a:pt x="727" y="48"/>
                    </a:lnTo>
                    <a:lnTo>
                      <a:pt x="727" y="46"/>
                    </a:lnTo>
                    <a:lnTo>
                      <a:pt x="726" y="46"/>
                    </a:lnTo>
                    <a:lnTo>
                      <a:pt x="727" y="45"/>
                    </a:lnTo>
                    <a:lnTo>
                      <a:pt x="727" y="43"/>
                    </a:lnTo>
                    <a:lnTo>
                      <a:pt x="727" y="41"/>
                    </a:lnTo>
                    <a:lnTo>
                      <a:pt x="729" y="40"/>
                    </a:lnTo>
                    <a:lnTo>
                      <a:pt x="730" y="40"/>
                    </a:lnTo>
                    <a:lnTo>
                      <a:pt x="730" y="38"/>
                    </a:lnTo>
                    <a:lnTo>
                      <a:pt x="730" y="37"/>
                    </a:lnTo>
                    <a:lnTo>
                      <a:pt x="732" y="37"/>
                    </a:lnTo>
                    <a:lnTo>
                      <a:pt x="734" y="37"/>
                    </a:lnTo>
                    <a:lnTo>
                      <a:pt x="735" y="37"/>
                    </a:lnTo>
                    <a:lnTo>
                      <a:pt x="735" y="38"/>
                    </a:lnTo>
                    <a:lnTo>
                      <a:pt x="737" y="38"/>
                    </a:lnTo>
                    <a:lnTo>
                      <a:pt x="737" y="40"/>
                    </a:lnTo>
                    <a:lnTo>
                      <a:pt x="738" y="41"/>
                    </a:lnTo>
                    <a:lnTo>
                      <a:pt x="738" y="43"/>
                    </a:lnTo>
                    <a:lnTo>
                      <a:pt x="740" y="45"/>
                    </a:lnTo>
                    <a:lnTo>
                      <a:pt x="740" y="46"/>
                    </a:lnTo>
                    <a:lnTo>
                      <a:pt x="740" y="48"/>
                    </a:lnTo>
                    <a:lnTo>
                      <a:pt x="741" y="48"/>
                    </a:lnTo>
                    <a:lnTo>
                      <a:pt x="741" y="49"/>
                    </a:lnTo>
                    <a:lnTo>
                      <a:pt x="741" y="51"/>
                    </a:lnTo>
                    <a:lnTo>
                      <a:pt x="743" y="51"/>
                    </a:lnTo>
                    <a:lnTo>
                      <a:pt x="745" y="53"/>
                    </a:lnTo>
                    <a:lnTo>
                      <a:pt x="746" y="53"/>
                    </a:lnTo>
                    <a:lnTo>
                      <a:pt x="746" y="54"/>
                    </a:lnTo>
                    <a:lnTo>
                      <a:pt x="748" y="54"/>
                    </a:lnTo>
                    <a:lnTo>
                      <a:pt x="748" y="56"/>
                    </a:lnTo>
                    <a:lnTo>
                      <a:pt x="749" y="56"/>
                    </a:lnTo>
                    <a:lnTo>
                      <a:pt x="751" y="57"/>
                    </a:lnTo>
                    <a:lnTo>
                      <a:pt x="753" y="59"/>
                    </a:lnTo>
                    <a:lnTo>
                      <a:pt x="754" y="61"/>
                    </a:lnTo>
                    <a:lnTo>
                      <a:pt x="756" y="62"/>
                    </a:lnTo>
                    <a:lnTo>
                      <a:pt x="757" y="64"/>
                    </a:lnTo>
                    <a:lnTo>
                      <a:pt x="757" y="65"/>
                    </a:lnTo>
                    <a:lnTo>
                      <a:pt x="759" y="67"/>
                    </a:lnTo>
                    <a:lnTo>
                      <a:pt x="760" y="67"/>
                    </a:lnTo>
                    <a:lnTo>
                      <a:pt x="760" y="68"/>
                    </a:lnTo>
                    <a:lnTo>
                      <a:pt x="762" y="70"/>
                    </a:lnTo>
                    <a:lnTo>
                      <a:pt x="764" y="70"/>
                    </a:lnTo>
                    <a:lnTo>
                      <a:pt x="764" y="68"/>
                    </a:lnTo>
                    <a:lnTo>
                      <a:pt x="765" y="68"/>
                    </a:lnTo>
                    <a:lnTo>
                      <a:pt x="767" y="68"/>
                    </a:lnTo>
                    <a:lnTo>
                      <a:pt x="768" y="68"/>
                    </a:lnTo>
                    <a:lnTo>
                      <a:pt x="770" y="70"/>
                    </a:lnTo>
                    <a:lnTo>
                      <a:pt x="772" y="70"/>
                    </a:lnTo>
                    <a:lnTo>
                      <a:pt x="773" y="70"/>
                    </a:lnTo>
                    <a:lnTo>
                      <a:pt x="775" y="70"/>
                    </a:lnTo>
                    <a:lnTo>
                      <a:pt x="776" y="70"/>
                    </a:lnTo>
                    <a:lnTo>
                      <a:pt x="778" y="70"/>
                    </a:lnTo>
                    <a:lnTo>
                      <a:pt x="780" y="70"/>
                    </a:lnTo>
                    <a:lnTo>
                      <a:pt x="781" y="72"/>
                    </a:lnTo>
                    <a:lnTo>
                      <a:pt x="781" y="73"/>
                    </a:lnTo>
                    <a:lnTo>
                      <a:pt x="783" y="73"/>
                    </a:lnTo>
                    <a:lnTo>
                      <a:pt x="783" y="75"/>
                    </a:lnTo>
                    <a:lnTo>
                      <a:pt x="781" y="75"/>
                    </a:lnTo>
                    <a:lnTo>
                      <a:pt x="781" y="76"/>
                    </a:lnTo>
                    <a:lnTo>
                      <a:pt x="781" y="78"/>
                    </a:lnTo>
                    <a:lnTo>
                      <a:pt x="783" y="78"/>
                    </a:lnTo>
                    <a:lnTo>
                      <a:pt x="783" y="80"/>
                    </a:lnTo>
                    <a:lnTo>
                      <a:pt x="783" y="81"/>
                    </a:lnTo>
                    <a:lnTo>
                      <a:pt x="784" y="81"/>
                    </a:lnTo>
                    <a:lnTo>
                      <a:pt x="784" y="80"/>
                    </a:lnTo>
                    <a:lnTo>
                      <a:pt x="786" y="80"/>
                    </a:lnTo>
                    <a:lnTo>
                      <a:pt x="787" y="80"/>
                    </a:lnTo>
                    <a:lnTo>
                      <a:pt x="787" y="78"/>
                    </a:lnTo>
                    <a:lnTo>
                      <a:pt x="789" y="78"/>
                    </a:lnTo>
                    <a:lnTo>
                      <a:pt x="791" y="78"/>
                    </a:lnTo>
                    <a:lnTo>
                      <a:pt x="792" y="78"/>
                    </a:lnTo>
                    <a:lnTo>
                      <a:pt x="794" y="78"/>
                    </a:lnTo>
                    <a:lnTo>
                      <a:pt x="795" y="78"/>
                    </a:lnTo>
                    <a:lnTo>
                      <a:pt x="795" y="76"/>
                    </a:lnTo>
                    <a:lnTo>
                      <a:pt x="797" y="76"/>
                    </a:lnTo>
                    <a:lnTo>
                      <a:pt x="799" y="76"/>
                    </a:lnTo>
                    <a:lnTo>
                      <a:pt x="799" y="78"/>
                    </a:lnTo>
                    <a:lnTo>
                      <a:pt x="800" y="78"/>
                    </a:lnTo>
                    <a:lnTo>
                      <a:pt x="800" y="80"/>
                    </a:lnTo>
                    <a:lnTo>
                      <a:pt x="800" y="81"/>
                    </a:lnTo>
                    <a:lnTo>
                      <a:pt x="802" y="83"/>
                    </a:lnTo>
                    <a:lnTo>
                      <a:pt x="803" y="83"/>
                    </a:lnTo>
                    <a:lnTo>
                      <a:pt x="803" y="81"/>
                    </a:lnTo>
                    <a:lnTo>
                      <a:pt x="803" y="83"/>
                    </a:lnTo>
                    <a:lnTo>
                      <a:pt x="805" y="83"/>
                    </a:lnTo>
                    <a:lnTo>
                      <a:pt x="806" y="83"/>
                    </a:lnTo>
                    <a:lnTo>
                      <a:pt x="806" y="81"/>
                    </a:lnTo>
                    <a:lnTo>
                      <a:pt x="806" y="83"/>
                    </a:lnTo>
                    <a:lnTo>
                      <a:pt x="808" y="83"/>
                    </a:lnTo>
                    <a:lnTo>
                      <a:pt x="810" y="83"/>
                    </a:lnTo>
                    <a:lnTo>
                      <a:pt x="810" y="84"/>
                    </a:lnTo>
                    <a:lnTo>
                      <a:pt x="810" y="86"/>
                    </a:lnTo>
                    <a:lnTo>
                      <a:pt x="811" y="86"/>
                    </a:lnTo>
                    <a:lnTo>
                      <a:pt x="811" y="87"/>
                    </a:lnTo>
                    <a:lnTo>
                      <a:pt x="813" y="87"/>
                    </a:lnTo>
                    <a:lnTo>
                      <a:pt x="813" y="86"/>
                    </a:lnTo>
                    <a:lnTo>
                      <a:pt x="813" y="87"/>
                    </a:lnTo>
                    <a:lnTo>
                      <a:pt x="814" y="87"/>
                    </a:lnTo>
                    <a:lnTo>
                      <a:pt x="814" y="86"/>
                    </a:lnTo>
                    <a:lnTo>
                      <a:pt x="816" y="86"/>
                    </a:lnTo>
                    <a:lnTo>
                      <a:pt x="816" y="84"/>
                    </a:lnTo>
                    <a:lnTo>
                      <a:pt x="818" y="84"/>
                    </a:lnTo>
                    <a:lnTo>
                      <a:pt x="818" y="83"/>
                    </a:lnTo>
                    <a:lnTo>
                      <a:pt x="819" y="83"/>
                    </a:lnTo>
                    <a:lnTo>
                      <a:pt x="821" y="81"/>
                    </a:lnTo>
                    <a:lnTo>
                      <a:pt x="822" y="81"/>
                    </a:lnTo>
                    <a:lnTo>
                      <a:pt x="824" y="81"/>
                    </a:lnTo>
                    <a:lnTo>
                      <a:pt x="825" y="80"/>
                    </a:lnTo>
                    <a:lnTo>
                      <a:pt x="827" y="80"/>
                    </a:lnTo>
                    <a:lnTo>
                      <a:pt x="829" y="80"/>
                    </a:lnTo>
                    <a:lnTo>
                      <a:pt x="830" y="80"/>
                    </a:lnTo>
                    <a:lnTo>
                      <a:pt x="830" y="78"/>
                    </a:lnTo>
                    <a:lnTo>
                      <a:pt x="830" y="76"/>
                    </a:lnTo>
                    <a:lnTo>
                      <a:pt x="830" y="75"/>
                    </a:lnTo>
                    <a:lnTo>
                      <a:pt x="832" y="75"/>
                    </a:lnTo>
                    <a:lnTo>
                      <a:pt x="832" y="76"/>
                    </a:lnTo>
                    <a:lnTo>
                      <a:pt x="832" y="78"/>
                    </a:lnTo>
                    <a:lnTo>
                      <a:pt x="833" y="80"/>
                    </a:lnTo>
                    <a:lnTo>
                      <a:pt x="833" y="81"/>
                    </a:lnTo>
                    <a:lnTo>
                      <a:pt x="835" y="83"/>
                    </a:lnTo>
                    <a:lnTo>
                      <a:pt x="835" y="84"/>
                    </a:lnTo>
                    <a:lnTo>
                      <a:pt x="837" y="84"/>
                    </a:lnTo>
                    <a:lnTo>
                      <a:pt x="838" y="86"/>
                    </a:lnTo>
                    <a:lnTo>
                      <a:pt x="840" y="84"/>
                    </a:lnTo>
                    <a:lnTo>
                      <a:pt x="841" y="84"/>
                    </a:lnTo>
                    <a:lnTo>
                      <a:pt x="841" y="83"/>
                    </a:lnTo>
                    <a:lnTo>
                      <a:pt x="843" y="83"/>
                    </a:lnTo>
                    <a:lnTo>
                      <a:pt x="843" y="81"/>
                    </a:lnTo>
                    <a:lnTo>
                      <a:pt x="844" y="81"/>
                    </a:lnTo>
                    <a:lnTo>
                      <a:pt x="844" y="80"/>
                    </a:lnTo>
                    <a:lnTo>
                      <a:pt x="846" y="80"/>
                    </a:lnTo>
                    <a:lnTo>
                      <a:pt x="848" y="80"/>
                    </a:lnTo>
                    <a:lnTo>
                      <a:pt x="849" y="80"/>
                    </a:lnTo>
                    <a:lnTo>
                      <a:pt x="849" y="81"/>
                    </a:lnTo>
                    <a:lnTo>
                      <a:pt x="851" y="81"/>
                    </a:lnTo>
                    <a:lnTo>
                      <a:pt x="851" y="83"/>
                    </a:lnTo>
                    <a:lnTo>
                      <a:pt x="854" y="83"/>
                    </a:lnTo>
                    <a:lnTo>
                      <a:pt x="857" y="81"/>
                    </a:lnTo>
                    <a:lnTo>
                      <a:pt x="859" y="81"/>
                    </a:lnTo>
                    <a:lnTo>
                      <a:pt x="859" y="80"/>
                    </a:lnTo>
                    <a:lnTo>
                      <a:pt x="860" y="80"/>
                    </a:lnTo>
                    <a:lnTo>
                      <a:pt x="862" y="80"/>
                    </a:lnTo>
                    <a:lnTo>
                      <a:pt x="863" y="80"/>
                    </a:lnTo>
                    <a:lnTo>
                      <a:pt x="865" y="80"/>
                    </a:lnTo>
                    <a:lnTo>
                      <a:pt x="865" y="81"/>
                    </a:lnTo>
                    <a:lnTo>
                      <a:pt x="867" y="81"/>
                    </a:lnTo>
                    <a:lnTo>
                      <a:pt x="867" y="80"/>
                    </a:lnTo>
                    <a:lnTo>
                      <a:pt x="867" y="78"/>
                    </a:lnTo>
                    <a:lnTo>
                      <a:pt x="867" y="76"/>
                    </a:lnTo>
                    <a:lnTo>
                      <a:pt x="868" y="76"/>
                    </a:lnTo>
                    <a:lnTo>
                      <a:pt x="870" y="76"/>
                    </a:lnTo>
                    <a:lnTo>
                      <a:pt x="868" y="76"/>
                    </a:lnTo>
                    <a:lnTo>
                      <a:pt x="868" y="78"/>
                    </a:lnTo>
                    <a:lnTo>
                      <a:pt x="870" y="78"/>
                    </a:lnTo>
                    <a:lnTo>
                      <a:pt x="870" y="80"/>
                    </a:lnTo>
                    <a:lnTo>
                      <a:pt x="870" y="81"/>
                    </a:lnTo>
                    <a:lnTo>
                      <a:pt x="871" y="81"/>
                    </a:lnTo>
                    <a:lnTo>
                      <a:pt x="873" y="81"/>
                    </a:lnTo>
                    <a:lnTo>
                      <a:pt x="875" y="81"/>
                    </a:lnTo>
                    <a:lnTo>
                      <a:pt x="875" y="83"/>
                    </a:lnTo>
                    <a:lnTo>
                      <a:pt x="875" y="84"/>
                    </a:lnTo>
                    <a:lnTo>
                      <a:pt x="876" y="84"/>
                    </a:lnTo>
                    <a:lnTo>
                      <a:pt x="876" y="83"/>
                    </a:lnTo>
                    <a:lnTo>
                      <a:pt x="878" y="81"/>
                    </a:lnTo>
                    <a:lnTo>
                      <a:pt x="878" y="83"/>
                    </a:lnTo>
                    <a:lnTo>
                      <a:pt x="879" y="83"/>
                    </a:lnTo>
                    <a:lnTo>
                      <a:pt x="881" y="83"/>
                    </a:lnTo>
                    <a:lnTo>
                      <a:pt x="881" y="81"/>
                    </a:lnTo>
                    <a:lnTo>
                      <a:pt x="881" y="80"/>
                    </a:lnTo>
                    <a:lnTo>
                      <a:pt x="882" y="80"/>
                    </a:lnTo>
                    <a:lnTo>
                      <a:pt x="884" y="80"/>
                    </a:lnTo>
                    <a:lnTo>
                      <a:pt x="886" y="78"/>
                    </a:lnTo>
                    <a:lnTo>
                      <a:pt x="884" y="78"/>
                    </a:lnTo>
                    <a:lnTo>
                      <a:pt x="884" y="76"/>
                    </a:lnTo>
                    <a:lnTo>
                      <a:pt x="882" y="76"/>
                    </a:lnTo>
                    <a:lnTo>
                      <a:pt x="882" y="75"/>
                    </a:lnTo>
                    <a:lnTo>
                      <a:pt x="884" y="75"/>
                    </a:lnTo>
                    <a:lnTo>
                      <a:pt x="886" y="75"/>
                    </a:lnTo>
                    <a:lnTo>
                      <a:pt x="887" y="75"/>
                    </a:lnTo>
                    <a:lnTo>
                      <a:pt x="887" y="76"/>
                    </a:lnTo>
                    <a:lnTo>
                      <a:pt x="887" y="78"/>
                    </a:lnTo>
                    <a:lnTo>
                      <a:pt x="889" y="78"/>
                    </a:lnTo>
                    <a:lnTo>
                      <a:pt x="889" y="76"/>
                    </a:lnTo>
                    <a:lnTo>
                      <a:pt x="890" y="76"/>
                    </a:lnTo>
                    <a:lnTo>
                      <a:pt x="892" y="76"/>
                    </a:lnTo>
                    <a:lnTo>
                      <a:pt x="890" y="76"/>
                    </a:lnTo>
                    <a:lnTo>
                      <a:pt x="890" y="75"/>
                    </a:lnTo>
                    <a:lnTo>
                      <a:pt x="890" y="73"/>
                    </a:lnTo>
                    <a:lnTo>
                      <a:pt x="892" y="73"/>
                    </a:lnTo>
                    <a:lnTo>
                      <a:pt x="894" y="73"/>
                    </a:lnTo>
                    <a:lnTo>
                      <a:pt x="894" y="72"/>
                    </a:lnTo>
                    <a:lnTo>
                      <a:pt x="894" y="73"/>
                    </a:lnTo>
                    <a:lnTo>
                      <a:pt x="892" y="73"/>
                    </a:lnTo>
                    <a:lnTo>
                      <a:pt x="892" y="72"/>
                    </a:lnTo>
                    <a:lnTo>
                      <a:pt x="890" y="72"/>
                    </a:lnTo>
                    <a:lnTo>
                      <a:pt x="889" y="72"/>
                    </a:lnTo>
                    <a:lnTo>
                      <a:pt x="889" y="70"/>
                    </a:lnTo>
                    <a:lnTo>
                      <a:pt x="890" y="70"/>
                    </a:lnTo>
                    <a:lnTo>
                      <a:pt x="890" y="68"/>
                    </a:lnTo>
                    <a:lnTo>
                      <a:pt x="890" y="67"/>
                    </a:lnTo>
                    <a:lnTo>
                      <a:pt x="892" y="67"/>
                    </a:lnTo>
                    <a:lnTo>
                      <a:pt x="892" y="65"/>
                    </a:lnTo>
                    <a:lnTo>
                      <a:pt x="890" y="65"/>
                    </a:lnTo>
                    <a:lnTo>
                      <a:pt x="890" y="64"/>
                    </a:lnTo>
                    <a:lnTo>
                      <a:pt x="890" y="62"/>
                    </a:lnTo>
                    <a:lnTo>
                      <a:pt x="892" y="62"/>
                    </a:lnTo>
                    <a:lnTo>
                      <a:pt x="892" y="64"/>
                    </a:lnTo>
                    <a:lnTo>
                      <a:pt x="894" y="64"/>
                    </a:lnTo>
                    <a:lnTo>
                      <a:pt x="895" y="65"/>
                    </a:lnTo>
                    <a:lnTo>
                      <a:pt x="895" y="67"/>
                    </a:lnTo>
                    <a:lnTo>
                      <a:pt x="897" y="67"/>
                    </a:lnTo>
                    <a:lnTo>
                      <a:pt x="898" y="67"/>
                    </a:lnTo>
                    <a:lnTo>
                      <a:pt x="898" y="65"/>
                    </a:lnTo>
                    <a:lnTo>
                      <a:pt x="898" y="64"/>
                    </a:lnTo>
                    <a:lnTo>
                      <a:pt x="900" y="64"/>
                    </a:lnTo>
                    <a:lnTo>
                      <a:pt x="900" y="62"/>
                    </a:lnTo>
                    <a:lnTo>
                      <a:pt x="901" y="62"/>
                    </a:lnTo>
                    <a:lnTo>
                      <a:pt x="903" y="62"/>
                    </a:lnTo>
                    <a:lnTo>
                      <a:pt x="905" y="62"/>
                    </a:lnTo>
                    <a:lnTo>
                      <a:pt x="905" y="64"/>
                    </a:lnTo>
                    <a:lnTo>
                      <a:pt x="903" y="65"/>
                    </a:lnTo>
                    <a:lnTo>
                      <a:pt x="903" y="67"/>
                    </a:lnTo>
                    <a:lnTo>
                      <a:pt x="903" y="68"/>
                    </a:lnTo>
                    <a:lnTo>
                      <a:pt x="905" y="68"/>
                    </a:lnTo>
                    <a:lnTo>
                      <a:pt x="905" y="67"/>
                    </a:lnTo>
                    <a:lnTo>
                      <a:pt x="906" y="67"/>
                    </a:lnTo>
                    <a:lnTo>
                      <a:pt x="906" y="65"/>
                    </a:lnTo>
                    <a:lnTo>
                      <a:pt x="906" y="64"/>
                    </a:lnTo>
                    <a:lnTo>
                      <a:pt x="908" y="64"/>
                    </a:lnTo>
                    <a:lnTo>
                      <a:pt x="908" y="62"/>
                    </a:lnTo>
                    <a:lnTo>
                      <a:pt x="909" y="62"/>
                    </a:lnTo>
                    <a:lnTo>
                      <a:pt x="909" y="61"/>
                    </a:lnTo>
                    <a:lnTo>
                      <a:pt x="911" y="61"/>
                    </a:lnTo>
                    <a:lnTo>
                      <a:pt x="911" y="62"/>
                    </a:lnTo>
                    <a:lnTo>
                      <a:pt x="909" y="62"/>
                    </a:lnTo>
                    <a:lnTo>
                      <a:pt x="909" y="64"/>
                    </a:lnTo>
                    <a:lnTo>
                      <a:pt x="911" y="64"/>
                    </a:lnTo>
                    <a:lnTo>
                      <a:pt x="913" y="64"/>
                    </a:lnTo>
                    <a:lnTo>
                      <a:pt x="913" y="65"/>
                    </a:lnTo>
                    <a:lnTo>
                      <a:pt x="913" y="67"/>
                    </a:lnTo>
                    <a:lnTo>
                      <a:pt x="914" y="67"/>
                    </a:lnTo>
                    <a:lnTo>
                      <a:pt x="914" y="65"/>
                    </a:lnTo>
                    <a:lnTo>
                      <a:pt x="916" y="65"/>
                    </a:lnTo>
                    <a:lnTo>
                      <a:pt x="916" y="64"/>
                    </a:lnTo>
                    <a:lnTo>
                      <a:pt x="917" y="62"/>
                    </a:lnTo>
                    <a:lnTo>
                      <a:pt x="917" y="61"/>
                    </a:lnTo>
                    <a:lnTo>
                      <a:pt x="919" y="61"/>
                    </a:lnTo>
                    <a:lnTo>
                      <a:pt x="919" y="59"/>
                    </a:lnTo>
                    <a:lnTo>
                      <a:pt x="920" y="59"/>
                    </a:lnTo>
                    <a:lnTo>
                      <a:pt x="922" y="57"/>
                    </a:lnTo>
                    <a:lnTo>
                      <a:pt x="920" y="57"/>
                    </a:lnTo>
                    <a:lnTo>
                      <a:pt x="920" y="56"/>
                    </a:lnTo>
                    <a:lnTo>
                      <a:pt x="920" y="54"/>
                    </a:lnTo>
                    <a:lnTo>
                      <a:pt x="922" y="54"/>
                    </a:lnTo>
                    <a:lnTo>
                      <a:pt x="924" y="53"/>
                    </a:lnTo>
                    <a:lnTo>
                      <a:pt x="925" y="53"/>
                    </a:lnTo>
                    <a:lnTo>
                      <a:pt x="925" y="51"/>
                    </a:lnTo>
                    <a:lnTo>
                      <a:pt x="927" y="51"/>
                    </a:lnTo>
                    <a:lnTo>
                      <a:pt x="928" y="53"/>
                    </a:lnTo>
                    <a:lnTo>
                      <a:pt x="927" y="53"/>
                    </a:lnTo>
                    <a:lnTo>
                      <a:pt x="927" y="54"/>
                    </a:lnTo>
                    <a:lnTo>
                      <a:pt x="927" y="56"/>
                    </a:lnTo>
                    <a:lnTo>
                      <a:pt x="925" y="56"/>
                    </a:lnTo>
                    <a:lnTo>
                      <a:pt x="925" y="57"/>
                    </a:lnTo>
                    <a:lnTo>
                      <a:pt x="925" y="59"/>
                    </a:lnTo>
                    <a:lnTo>
                      <a:pt x="925" y="61"/>
                    </a:lnTo>
                    <a:lnTo>
                      <a:pt x="927" y="59"/>
                    </a:lnTo>
                    <a:lnTo>
                      <a:pt x="927" y="61"/>
                    </a:lnTo>
                    <a:lnTo>
                      <a:pt x="928" y="61"/>
                    </a:lnTo>
                    <a:lnTo>
                      <a:pt x="930" y="61"/>
                    </a:lnTo>
                    <a:lnTo>
                      <a:pt x="930" y="59"/>
                    </a:lnTo>
                    <a:lnTo>
                      <a:pt x="930" y="57"/>
                    </a:lnTo>
                    <a:lnTo>
                      <a:pt x="932" y="57"/>
                    </a:lnTo>
                    <a:lnTo>
                      <a:pt x="933" y="57"/>
                    </a:lnTo>
                    <a:lnTo>
                      <a:pt x="933" y="59"/>
                    </a:lnTo>
                    <a:lnTo>
                      <a:pt x="935" y="59"/>
                    </a:lnTo>
                    <a:lnTo>
                      <a:pt x="935" y="61"/>
                    </a:lnTo>
                    <a:lnTo>
                      <a:pt x="935" y="62"/>
                    </a:lnTo>
                    <a:lnTo>
                      <a:pt x="936" y="62"/>
                    </a:lnTo>
                    <a:lnTo>
                      <a:pt x="938" y="62"/>
                    </a:lnTo>
                    <a:lnTo>
                      <a:pt x="938" y="61"/>
                    </a:lnTo>
                    <a:lnTo>
                      <a:pt x="939" y="61"/>
                    </a:lnTo>
                    <a:lnTo>
                      <a:pt x="939" y="59"/>
                    </a:lnTo>
                    <a:lnTo>
                      <a:pt x="941" y="59"/>
                    </a:lnTo>
                    <a:lnTo>
                      <a:pt x="941" y="61"/>
                    </a:lnTo>
                    <a:lnTo>
                      <a:pt x="943" y="61"/>
                    </a:lnTo>
                    <a:lnTo>
                      <a:pt x="944" y="61"/>
                    </a:lnTo>
                    <a:lnTo>
                      <a:pt x="946" y="61"/>
                    </a:lnTo>
                    <a:lnTo>
                      <a:pt x="947" y="61"/>
                    </a:lnTo>
                    <a:lnTo>
                      <a:pt x="949" y="61"/>
                    </a:lnTo>
                    <a:lnTo>
                      <a:pt x="951" y="62"/>
                    </a:lnTo>
                    <a:lnTo>
                      <a:pt x="952" y="62"/>
                    </a:lnTo>
                    <a:lnTo>
                      <a:pt x="954" y="62"/>
                    </a:lnTo>
                    <a:lnTo>
                      <a:pt x="955" y="62"/>
                    </a:lnTo>
                    <a:lnTo>
                      <a:pt x="957" y="62"/>
                    </a:lnTo>
                    <a:lnTo>
                      <a:pt x="957" y="64"/>
                    </a:lnTo>
                    <a:lnTo>
                      <a:pt x="957" y="65"/>
                    </a:lnTo>
                    <a:lnTo>
                      <a:pt x="957" y="67"/>
                    </a:lnTo>
                    <a:lnTo>
                      <a:pt x="955" y="67"/>
                    </a:lnTo>
                    <a:lnTo>
                      <a:pt x="955" y="68"/>
                    </a:lnTo>
                    <a:lnTo>
                      <a:pt x="954" y="70"/>
                    </a:lnTo>
                    <a:lnTo>
                      <a:pt x="954" y="72"/>
                    </a:lnTo>
                    <a:lnTo>
                      <a:pt x="952" y="72"/>
                    </a:lnTo>
                    <a:lnTo>
                      <a:pt x="951" y="72"/>
                    </a:lnTo>
                    <a:lnTo>
                      <a:pt x="949" y="72"/>
                    </a:lnTo>
                    <a:lnTo>
                      <a:pt x="947" y="72"/>
                    </a:lnTo>
                    <a:lnTo>
                      <a:pt x="947" y="73"/>
                    </a:lnTo>
                    <a:lnTo>
                      <a:pt x="946" y="73"/>
                    </a:lnTo>
                    <a:lnTo>
                      <a:pt x="944" y="73"/>
                    </a:lnTo>
                    <a:lnTo>
                      <a:pt x="943" y="73"/>
                    </a:lnTo>
                    <a:lnTo>
                      <a:pt x="941" y="73"/>
                    </a:lnTo>
                    <a:lnTo>
                      <a:pt x="941" y="75"/>
                    </a:lnTo>
                    <a:lnTo>
                      <a:pt x="941" y="76"/>
                    </a:lnTo>
                    <a:lnTo>
                      <a:pt x="939" y="76"/>
                    </a:lnTo>
                    <a:lnTo>
                      <a:pt x="939" y="78"/>
                    </a:lnTo>
                    <a:lnTo>
                      <a:pt x="939" y="80"/>
                    </a:lnTo>
                    <a:lnTo>
                      <a:pt x="938" y="80"/>
                    </a:lnTo>
                    <a:lnTo>
                      <a:pt x="936" y="81"/>
                    </a:lnTo>
                    <a:lnTo>
                      <a:pt x="935" y="81"/>
                    </a:lnTo>
                    <a:lnTo>
                      <a:pt x="933" y="81"/>
                    </a:lnTo>
                    <a:lnTo>
                      <a:pt x="932" y="81"/>
                    </a:lnTo>
                    <a:lnTo>
                      <a:pt x="932" y="83"/>
                    </a:lnTo>
                    <a:lnTo>
                      <a:pt x="932" y="84"/>
                    </a:lnTo>
                    <a:lnTo>
                      <a:pt x="933" y="84"/>
                    </a:lnTo>
                    <a:lnTo>
                      <a:pt x="933" y="86"/>
                    </a:lnTo>
                    <a:lnTo>
                      <a:pt x="932" y="86"/>
                    </a:lnTo>
                    <a:lnTo>
                      <a:pt x="932" y="87"/>
                    </a:lnTo>
                    <a:lnTo>
                      <a:pt x="930" y="87"/>
                    </a:lnTo>
                    <a:lnTo>
                      <a:pt x="930" y="89"/>
                    </a:lnTo>
                    <a:lnTo>
                      <a:pt x="932" y="89"/>
                    </a:lnTo>
                    <a:lnTo>
                      <a:pt x="933" y="89"/>
                    </a:lnTo>
                    <a:lnTo>
                      <a:pt x="933" y="87"/>
                    </a:lnTo>
                    <a:lnTo>
                      <a:pt x="935" y="87"/>
                    </a:lnTo>
                    <a:lnTo>
                      <a:pt x="935" y="86"/>
                    </a:lnTo>
                    <a:lnTo>
                      <a:pt x="936" y="86"/>
                    </a:lnTo>
                    <a:lnTo>
                      <a:pt x="938" y="86"/>
                    </a:lnTo>
                    <a:lnTo>
                      <a:pt x="939" y="86"/>
                    </a:lnTo>
                    <a:lnTo>
                      <a:pt x="941" y="86"/>
                    </a:lnTo>
                    <a:lnTo>
                      <a:pt x="943" y="86"/>
                    </a:lnTo>
                    <a:lnTo>
                      <a:pt x="944" y="86"/>
                    </a:lnTo>
                    <a:lnTo>
                      <a:pt x="946" y="84"/>
                    </a:lnTo>
                    <a:lnTo>
                      <a:pt x="947" y="84"/>
                    </a:lnTo>
                    <a:lnTo>
                      <a:pt x="949" y="84"/>
                    </a:lnTo>
                    <a:lnTo>
                      <a:pt x="949" y="83"/>
                    </a:lnTo>
                    <a:lnTo>
                      <a:pt x="951" y="83"/>
                    </a:lnTo>
                    <a:lnTo>
                      <a:pt x="952" y="83"/>
                    </a:lnTo>
                    <a:lnTo>
                      <a:pt x="954" y="83"/>
                    </a:lnTo>
                    <a:lnTo>
                      <a:pt x="955" y="83"/>
                    </a:lnTo>
                    <a:lnTo>
                      <a:pt x="957" y="83"/>
                    </a:lnTo>
                    <a:lnTo>
                      <a:pt x="958" y="83"/>
                    </a:lnTo>
                    <a:lnTo>
                      <a:pt x="960" y="83"/>
                    </a:lnTo>
                    <a:lnTo>
                      <a:pt x="960" y="81"/>
                    </a:lnTo>
                    <a:lnTo>
                      <a:pt x="962" y="81"/>
                    </a:lnTo>
                    <a:lnTo>
                      <a:pt x="962" y="80"/>
                    </a:lnTo>
                    <a:lnTo>
                      <a:pt x="963" y="80"/>
                    </a:lnTo>
                    <a:lnTo>
                      <a:pt x="963" y="78"/>
                    </a:lnTo>
                    <a:lnTo>
                      <a:pt x="965" y="76"/>
                    </a:lnTo>
                    <a:lnTo>
                      <a:pt x="966" y="75"/>
                    </a:lnTo>
                    <a:lnTo>
                      <a:pt x="966" y="73"/>
                    </a:lnTo>
                    <a:lnTo>
                      <a:pt x="966" y="72"/>
                    </a:lnTo>
                    <a:lnTo>
                      <a:pt x="968" y="72"/>
                    </a:lnTo>
                    <a:lnTo>
                      <a:pt x="970" y="72"/>
                    </a:lnTo>
                    <a:lnTo>
                      <a:pt x="970" y="73"/>
                    </a:lnTo>
                    <a:lnTo>
                      <a:pt x="970" y="75"/>
                    </a:lnTo>
                    <a:lnTo>
                      <a:pt x="971" y="75"/>
                    </a:lnTo>
                    <a:lnTo>
                      <a:pt x="971" y="76"/>
                    </a:lnTo>
                    <a:lnTo>
                      <a:pt x="973" y="78"/>
                    </a:lnTo>
                    <a:lnTo>
                      <a:pt x="974" y="78"/>
                    </a:lnTo>
                    <a:lnTo>
                      <a:pt x="974" y="80"/>
                    </a:lnTo>
                    <a:lnTo>
                      <a:pt x="976" y="80"/>
                    </a:lnTo>
                    <a:lnTo>
                      <a:pt x="978" y="80"/>
                    </a:lnTo>
                    <a:lnTo>
                      <a:pt x="981" y="80"/>
                    </a:lnTo>
                    <a:lnTo>
                      <a:pt x="982" y="80"/>
                    </a:lnTo>
                    <a:lnTo>
                      <a:pt x="984" y="80"/>
                    </a:lnTo>
                    <a:lnTo>
                      <a:pt x="985" y="78"/>
                    </a:lnTo>
                    <a:lnTo>
                      <a:pt x="987" y="76"/>
                    </a:lnTo>
                    <a:lnTo>
                      <a:pt x="989" y="76"/>
                    </a:lnTo>
                    <a:lnTo>
                      <a:pt x="989" y="75"/>
                    </a:lnTo>
                    <a:lnTo>
                      <a:pt x="990" y="75"/>
                    </a:lnTo>
                    <a:lnTo>
                      <a:pt x="990" y="73"/>
                    </a:lnTo>
                    <a:lnTo>
                      <a:pt x="992" y="73"/>
                    </a:lnTo>
                    <a:lnTo>
                      <a:pt x="993" y="73"/>
                    </a:lnTo>
                    <a:lnTo>
                      <a:pt x="995" y="73"/>
                    </a:lnTo>
                    <a:lnTo>
                      <a:pt x="993" y="80"/>
                    </a:lnTo>
                    <a:lnTo>
                      <a:pt x="993" y="81"/>
                    </a:lnTo>
                    <a:lnTo>
                      <a:pt x="993" y="83"/>
                    </a:lnTo>
                    <a:lnTo>
                      <a:pt x="995" y="83"/>
                    </a:lnTo>
                    <a:lnTo>
                      <a:pt x="997" y="84"/>
                    </a:lnTo>
                    <a:lnTo>
                      <a:pt x="997" y="86"/>
                    </a:lnTo>
                    <a:lnTo>
                      <a:pt x="998" y="86"/>
                    </a:lnTo>
                    <a:lnTo>
                      <a:pt x="998" y="87"/>
                    </a:lnTo>
                    <a:lnTo>
                      <a:pt x="998" y="89"/>
                    </a:lnTo>
                    <a:lnTo>
                      <a:pt x="1000" y="89"/>
                    </a:lnTo>
                    <a:lnTo>
                      <a:pt x="1000" y="91"/>
                    </a:lnTo>
                    <a:lnTo>
                      <a:pt x="1001" y="92"/>
                    </a:lnTo>
                    <a:lnTo>
                      <a:pt x="1001" y="94"/>
                    </a:lnTo>
                    <a:lnTo>
                      <a:pt x="1003" y="95"/>
                    </a:lnTo>
                    <a:lnTo>
                      <a:pt x="1003" y="97"/>
                    </a:lnTo>
                    <a:lnTo>
                      <a:pt x="1003" y="99"/>
                    </a:lnTo>
                    <a:lnTo>
                      <a:pt x="1004" y="99"/>
                    </a:lnTo>
                    <a:lnTo>
                      <a:pt x="1004" y="100"/>
                    </a:lnTo>
                    <a:lnTo>
                      <a:pt x="1006" y="100"/>
                    </a:lnTo>
                    <a:lnTo>
                      <a:pt x="1006" y="102"/>
                    </a:lnTo>
                    <a:lnTo>
                      <a:pt x="1006" y="103"/>
                    </a:lnTo>
                    <a:lnTo>
                      <a:pt x="1006" y="105"/>
                    </a:lnTo>
                    <a:lnTo>
                      <a:pt x="1008" y="105"/>
                    </a:lnTo>
                    <a:lnTo>
                      <a:pt x="1008" y="106"/>
                    </a:lnTo>
                    <a:lnTo>
                      <a:pt x="1009" y="106"/>
                    </a:lnTo>
                    <a:lnTo>
                      <a:pt x="1011" y="106"/>
                    </a:lnTo>
                    <a:lnTo>
                      <a:pt x="1011" y="108"/>
                    </a:lnTo>
                    <a:lnTo>
                      <a:pt x="1009" y="108"/>
                    </a:lnTo>
                    <a:lnTo>
                      <a:pt x="1009" y="110"/>
                    </a:lnTo>
                    <a:lnTo>
                      <a:pt x="1009" y="111"/>
                    </a:lnTo>
                    <a:lnTo>
                      <a:pt x="1011" y="111"/>
                    </a:lnTo>
                    <a:lnTo>
                      <a:pt x="1011" y="113"/>
                    </a:lnTo>
                    <a:lnTo>
                      <a:pt x="1011" y="114"/>
                    </a:lnTo>
                    <a:lnTo>
                      <a:pt x="1011" y="116"/>
                    </a:lnTo>
                    <a:lnTo>
                      <a:pt x="1009" y="116"/>
                    </a:lnTo>
                    <a:lnTo>
                      <a:pt x="1009" y="118"/>
                    </a:lnTo>
                    <a:lnTo>
                      <a:pt x="1009" y="119"/>
                    </a:lnTo>
                    <a:lnTo>
                      <a:pt x="1011" y="119"/>
                    </a:lnTo>
                    <a:lnTo>
                      <a:pt x="1011" y="121"/>
                    </a:lnTo>
                    <a:lnTo>
                      <a:pt x="1009" y="121"/>
                    </a:lnTo>
                    <a:lnTo>
                      <a:pt x="1011" y="122"/>
                    </a:lnTo>
                    <a:lnTo>
                      <a:pt x="1012" y="124"/>
                    </a:lnTo>
                    <a:lnTo>
                      <a:pt x="1012" y="125"/>
                    </a:lnTo>
                    <a:lnTo>
                      <a:pt x="1011" y="127"/>
                    </a:lnTo>
                    <a:lnTo>
                      <a:pt x="1011" y="129"/>
                    </a:lnTo>
                    <a:lnTo>
                      <a:pt x="1011" y="130"/>
                    </a:lnTo>
                    <a:lnTo>
                      <a:pt x="1011" y="132"/>
                    </a:lnTo>
                    <a:lnTo>
                      <a:pt x="1012" y="132"/>
                    </a:lnTo>
                    <a:lnTo>
                      <a:pt x="1012" y="133"/>
                    </a:lnTo>
                    <a:lnTo>
                      <a:pt x="1011" y="135"/>
                    </a:lnTo>
                    <a:lnTo>
                      <a:pt x="1011" y="133"/>
                    </a:lnTo>
                    <a:lnTo>
                      <a:pt x="1011" y="135"/>
                    </a:lnTo>
                    <a:lnTo>
                      <a:pt x="1009" y="135"/>
                    </a:lnTo>
                    <a:lnTo>
                      <a:pt x="1011" y="137"/>
                    </a:lnTo>
                    <a:lnTo>
                      <a:pt x="1012" y="137"/>
                    </a:lnTo>
                    <a:lnTo>
                      <a:pt x="1012" y="138"/>
                    </a:lnTo>
                    <a:lnTo>
                      <a:pt x="1011" y="140"/>
                    </a:lnTo>
                    <a:lnTo>
                      <a:pt x="1009" y="141"/>
                    </a:lnTo>
                    <a:lnTo>
                      <a:pt x="1009" y="143"/>
                    </a:lnTo>
                    <a:lnTo>
                      <a:pt x="1009" y="144"/>
                    </a:lnTo>
                    <a:lnTo>
                      <a:pt x="1009" y="146"/>
                    </a:lnTo>
                    <a:lnTo>
                      <a:pt x="1009" y="148"/>
                    </a:lnTo>
                    <a:lnTo>
                      <a:pt x="1011" y="148"/>
                    </a:lnTo>
                    <a:lnTo>
                      <a:pt x="1011" y="146"/>
                    </a:lnTo>
                    <a:lnTo>
                      <a:pt x="1012" y="146"/>
                    </a:lnTo>
                    <a:lnTo>
                      <a:pt x="1014" y="148"/>
                    </a:lnTo>
                    <a:lnTo>
                      <a:pt x="1016" y="148"/>
                    </a:lnTo>
                    <a:lnTo>
                      <a:pt x="1017" y="148"/>
                    </a:lnTo>
                    <a:lnTo>
                      <a:pt x="1017" y="149"/>
                    </a:lnTo>
                    <a:lnTo>
                      <a:pt x="1019" y="149"/>
                    </a:lnTo>
                    <a:lnTo>
                      <a:pt x="1020" y="149"/>
                    </a:lnTo>
                    <a:lnTo>
                      <a:pt x="1022" y="149"/>
                    </a:lnTo>
                    <a:lnTo>
                      <a:pt x="1022" y="151"/>
                    </a:lnTo>
                    <a:lnTo>
                      <a:pt x="1023" y="151"/>
                    </a:lnTo>
                    <a:lnTo>
                      <a:pt x="1025" y="151"/>
                    </a:lnTo>
                    <a:lnTo>
                      <a:pt x="1027" y="151"/>
                    </a:lnTo>
                    <a:lnTo>
                      <a:pt x="1028" y="151"/>
                    </a:lnTo>
                    <a:lnTo>
                      <a:pt x="1030" y="151"/>
                    </a:lnTo>
                    <a:lnTo>
                      <a:pt x="1031" y="152"/>
                    </a:lnTo>
                    <a:lnTo>
                      <a:pt x="1033" y="154"/>
                    </a:lnTo>
                    <a:lnTo>
                      <a:pt x="1035" y="154"/>
                    </a:lnTo>
                    <a:lnTo>
                      <a:pt x="1035" y="156"/>
                    </a:lnTo>
                    <a:lnTo>
                      <a:pt x="1036" y="156"/>
                    </a:lnTo>
                    <a:lnTo>
                      <a:pt x="1036" y="154"/>
                    </a:lnTo>
                    <a:lnTo>
                      <a:pt x="1038" y="154"/>
                    </a:lnTo>
                    <a:lnTo>
                      <a:pt x="1039" y="156"/>
                    </a:lnTo>
                    <a:lnTo>
                      <a:pt x="1041" y="157"/>
                    </a:lnTo>
                    <a:lnTo>
                      <a:pt x="1041" y="156"/>
                    </a:lnTo>
                    <a:lnTo>
                      <a:pt x="1044" y="156"/>
                    </a:lnTo>
                    <a:lnTo>
                      <a:pt x="1046" y="154"/>
                    </a:lnTo>
                    <a:lnTo>
                      <a:pt x="1047" y="154"/>
                    </a:lnTo>
                    <a:lnTo>
                      <a:pt x="1049" y="154"/>
                    </a:lnTo>
                    <a:lnTo>
                      <a:pt x="1050" y="154"/>
                    </a:lnTo>
                    <a:lnTo>
                      <a:pt x="1052" y="154"/>
                    </a:lnTo>
                    <a:lnTo>
                      <a:pt x="1054" y="154"/>
                    </a:lnTo>
                    <a:lnTo>
                      <a:pt x="1055" y="154"/>
                    </a:lnTo>
                    <a:lnTo>
                      <a:pt x="1057" y="154"/>
                    </a:lnTo>
                    <a:lnTo>
                      <a:pt x="1057" y="152"/>
                    </a:lnTo>
                    <a:lnTo>
                      <a:pt x="1057" y="151"/>
                    </a:lnTo>
                    <a:lnTo>
                      <a:pt x="1058" y="151"/>
                    </a:lnTo>
                    <a:lnTo>
                      <a:pt x="1060" y="151"/>
                    </a:lnTo>
                    <a:lnTo>
                      <a:pt x="1061" y="151"/>
                    </a:lnTo>
                    <a:lnTo>
                      <a:pt x="1063" y="151"/>
                    </a:lnTo>
                    <a:lnTo>
                      <a:pt x="1065" y="151"/>
                    </a:lnTo>
                    <a:lnTo>
                      <a:pt x="1066" y="149"/>
                    </a:lnTo>
                    <a:lnTo>
                      <a:pt x="1068" y="149"/>
                    </a:lnTo>
                    <a:lnTo>
                      <a:pt x="1068" y="148"/>
                    </a:lnTo>
                    <a:lnTo>
                      <a:pt x="1069" y="148"/>
                    </a:lnTo>
                    <a:lnTo>
                      <a:pt x="1071" y="146"/>
                    </a:lnTo>
                    <a:lnTo>
                      <a:pt x="1073" y="146"/>
                    </a:lnTo>
                    <a:lnTo>
                      <a:pt x="1073" y="148"/>
                    </a:lnTo>
                    <a:lnTo>
                      <a:pt x="1074" y="149"/>
                    </a:lnTo>
                    <a:lnTo>
                      <a:pt x="1074" y="151"/>
                    </a:lnTo>
                    <a:lnTo>
                      <a:pt x="1074" y="152"/>
                    </a:lnTo>
                    <a:lnTo>
                      <a:pt x="1076" y="154"/>
                    </a:lnTo>
                    <a:lnTo>
                      <a:pt x="1076" y="156"/>
                    </a:lnTo>
                    <a:lnTo>
                      <a:pt x="1074" y="156"/>
                    </a:lnTo>
                    <a:lnTo>
                      <a:pt x="1074" y="157"/>
                    </a:lnTo>
                    <a:lnTo>
                      <a:pt x="1074" y="159"/>
                    </a:lnTo>
                    <a:lnTo>
                      <a:pt x="1076" y="159"/>
                    </a:lnTo>
                    <a:lnTo>
                      <a:pt x="1076" y="160"/>
                    </a:lnTo>
                    <a:lnTo>
                      <a:pt x="1074" y="160"/>
                    </a:lnTo>
                    <a:lnTo>
                      <a:pt x="1074" y="162"/>
                    </a:lnTo>
                    <a:lnTo>
                      <a:pt x="1076" y="162"/>
                    </a:lnTo>
                    <a:lnTo>
                      <a:pt x="1076" y="164"/>
                    </a:lnTo>
                    <a:lnTo>
                      <a:pt x="1077" y="164"/>
                    </a:lnTo>
                    <a:lnTo>
                      <a:pt x="1079" y="164"/>
                    </a:lnTo>
                    <a:lnTo>
                      <a:pt x="1080" y="164"/>
                    </a:lnTo>
                    <a:lnTo>
                      <a:pt x="1082" y="164"/>
                    </a:lnTo>
                    <a:lnTo>
                      <a:pt x="1084" y="164"/>
                    </a:lnTo>
                    <a:lnTo>
                      <a:pt x="1085" y="164"/>
                    </a:lnTo>
                    <a:lnTo>
                      <a:pt x="1087" y="164"/>
                    </a:lnTo>
                    <a:lnTo>
                      <a:pt x="1088" y="164"/>
                    </a:lnTo>
                    <a:lnTo>
                      <a:pt x="1090" y="164"/>
                    </a:lnTo>
                    <a:lnTo>
                      <a:pt x="1090" y="165"/>
                    </a:lnTo>
                    <a:lnTo>
                      <a:pt x="1090" y="167"/>
                    </a:lnTo>
                    <a:lnTo>
                      <a:pt x="1092" y="167"/>
                    </a:lnTo>
                    <a:lnTo>
                      <a:pt x="1092" y="168"/>
                    </a:lnTo>
                    <a:lnTo>
                      <a:pt x="1092" y="170"/>
                    </a:lnTo>
                    <a:lnTo>
                      <a:pt x="1093" y="170"/>
                    </a:lnTo>
                    <a:lnTo>
                      <a:pt x="1093" y="171"/>
                    </a:lnTo>
                    <a:lnTo>
                      <a:pt x="1095" y="171"/>
                    </a:lnTo>
                    <a:lnTo>
                      <a:pt x="1096" y="170"/>
                    </a:lnTo>
                    <a:lnTo>
                      <a:pt x="1098" y="170"/>
                    </a:lnTo>
                    <a:lnTo>
                      <a:pt x="1099" y="170"/>
                    </a:lnTo>
                    <a:lnTo>
                      <a:pt x="1101" y="170"/>
                    </a:lnTo>
                    <a:lnTo>
                      <a:pt x="1101" y="171"/>
                    </a:lnTo>
                    <a:lnTo>
                      <a:pt x="1099" y="171"/>
                    </a:lnTo>
                    <a:lnTo>
                      <a:pt x="1099" y="173"/>
                    </a:lnTo>
                    <a:lnTo>
                      <a:pt x="1099" y="175"/>
                    </a:lnTo>
                    <a:lnTo>
                      <a:pt x="1099" y="176"/>
                    </a:lnTo>
                    <a:lnTo>
                      <a:pt x="1099" y="178"/>
                    </a:lnTo>
                    <a:lnTo>
                      <a:pt x="1099" y="179"/>
                    </a:lnTo>
                    <a:lnTo>
                      <a:pt x="1099" y="181"/>
                    </a:lnTo>
                    <a:lnTo>
                      <a:pt x="1099" y="183"/>
                    </a:lnTo>
                    <a:lnTo>
                      <a:pt x="1098" y="183"/>
                    </a:lnTo>
                    <a:lnTo>
                      <a:pt x="1098" y="184"/>
                    </a:lnTo>
                    <a:lnTo>
                      <a:pt x="1096" y="184"/>
                    </a:lnTo>
                    <a:lnTo>
                      <a:pt x="1096" y="186"/>
                    </a:lnTo>
                    <a:lnTo>
                      <a:pt x="1095" y="186"/>
                    </a:lnTo>
                    <a:lnTo>
                      <a:pt x="1093" y="186"/>
                    </a:lnTo>
                    <a:lnTo>
                      <a:pt x="1093" y="187"/>
                    </a:lnTo>
                    <a:lnTo>
                      <a:pt x="1092" y="187"/>
                    </a:lnTo>
                    <a:lnTo>
                      <a:pt x="1092" y="189"/>
                    </a:lnTo>
                    <a:lnTo>
                      <a:pt x="1090" y="189"/>
                    </a:lnTo>
                    <a:lnTo>
                      <a:pt x="1090" y="190"/>
                    </a:lnTo>
                    <a:lnTo>
                      <a:pt x="1088" y="190"/>
                    </a:lnTo>
                    <a:lnTo>
                      <a:pt x="1088" y="192"/>
                    </a:lnTo>
                    <a:lnTo>
                      <a:pt x="1088" y="194"/>
                    </a:lnTo>
                    <a:lnTo>
                      <a:pt x="1088" y="195"/>
                    </a:lnTo>
                    <a:lnTo>
                      <a:pt x="1088" y="197"/>
                    </a:lnTo>
                    <a:lnTo>
                      <a:pt x="1088" y="198"/>
                    </a:lnTo>
                    <a:lnTo>
                      <a:pt x="1088" y="200"/>
                    </a:lnTo>
                    <a:lnTo>
                      <a:pt x="1087" y="200"/>
                    </a:lnTo>
                    <a:lnTo>
                      <a:pt x="1088" y="202"/>
                    </a:lnTo>
                    <a:lnTo>
                      <a:pt x="1088" y="203"/>
                    </a:lnTo>
                    <a:lnTo>
                      <a:pt x="1088" y="205"/>
                    </a:lnTo>
                    <a:lnTo>
                      <a:pt x="1088" y="206"/>
                    </a:lnTo>
                    <a:lnTo>
                      <a:pt x="1088" y="208"/>
                    </a:lnTo>
                    <a:lnTo>
                      <a:pt x="1088" y="209"/>
                    </a:lnTo>
                    <a:lnTo>
                      <a:pt x="1090" y="211"/>
                    </a:lnTo>
                    <a:lnTo>
                      <a:pt x="1090" y="213"/>
                    </a:lnTo>
                    <a:lnTo>
                      <a:pt x="1090" y="214"/>
                    </a:lnTo>
                    <a:lnTo>
                      <a:pt x="1090" y="216"/>
                    </a:lnTo>
                    <a:lnTo>
                      <a:pt x="1088" y="216"/>
                    </a:lnTo>
                    <a:lnTo>
                      <a:pt x="1090" y="217"/>
                    </a:lnTo>
                    <a:lnTo>
                      <a:pt x="1092" y="219"/>
                    </a:lnTo>
                    <a:lnTo>
                      <a:pt x="1093" y="219"/>
                    </a:lnTo>
                    <a:lnTo>
                      <a:pt x="1093" y="221"/>
                    </a:lnTo>
                    <a:lnTo>
                      <a:pt x="1095" y="221"/>
                    </a:lnTo>
                    <a:lnTo>
                      <a:pt x="1096" y="221"/>
                    </a:lnTo>
                    <a:lnTo>
                      <a:pt x="1096" y="219"/>
                    </a:lnTo>
                    <a:lnTo>
                      <a:pt x="1098" y="219"/>
                    </a:lnTo>
                    <a:lnTo>
                      <a:pt x="1098" y="221"/>
                    </a:lnTo>
                    <a:lnTo>
                      <a:pt x="1099" y="221"/>
                    </a:lnTo>
                    <a:lnTo>
                      <a:pt x="1101" y="222"/>
                    </a:lnTo>
                    <a:lnTo>
                      <a:pt x="1103" y="222"/>
                    </a:lnTo>
                    <a:lnTo>
                      <a:pt x="1104" y="222"/>
                    </a:lnTo>
                    <a:lnTo>
                      <a:pt x="1104" y="224"/>
                    </a:lnTo>
                    <a:lnTo>
                      <a:pt x="1106" y="224"/>
                    </a:lnTo>
                    <a:lnTo>
                      <a:pt x="1107" y="224"/>
                    </a:lnTo>
                    <a:lnTo>
                      <a:pt x="1107" y="225"/>
                    </a:lnTo>
                    <a:lnTo>
                      <a:pt x="1109" y="225"/>
                    </a:lnTo>
                    <a:lnTo>
                      <a:pt x="1109" y="227"/>
                    </a:lnTo>
                    <a:lnTo>
                      <a:pt x="1109" y="228"/>
                    </a:lnTo>
                    <a:lnTo>
                      <a:pt x="1111" y="228"/>
                    </a:lnTo>
                    <a:lnTo>
                      <a:pt x="1111" y="230"/>
                    </a:lnTo>
                    <a:lnTo>
                      <a:pt x="1112" y="230"/>
                    </a:lnTo>
                    <a:lnTo>
                      <a:pt x="1112" y="232"/>
                    </a:lnTo>
                    <a:lnTo>
                      <a:pt x="1114" y="232"/>
                    </a:lnTo>
                    <a:lnTo>
                      <a:pt x="1114" y="230"/>
                    </a:lnTo>
                    <a:lnTo>
                      <a:pt x="1115" y="230"/>
                    </a:lnTo>
                    <a:lnTo>
                      <a:pt x="1117" y="230"/>
                    </a:lnTo>
                    <a:lnTo>
                      <a:pt x="1118" y="230"/>
                    </a:lnTo>
                    <a:lnTo>
                      <a:pt x="1120" y="230"/>
                    </a:lnTo>
                    <a:lnTo>
                      <a:pt x="1120" y="228"/>
                    </a:lnTo>
                    <a:lnTo>
                      <a:pt x="1122" y="228"/>
                    </a:lnTo>
                    <a:lnTo>
                      <a:pt x="1122" y="227"/>
                    </a:lnTo>
                    <a:lnTo>
                      <a:pt x="1123" y="227"/>
                    </a:lnTo>
                    <a:lnTo>
                      <a:pt x="1123" y="225"/>
                    </a:lnTo>
                    <a:lnTo>
                      <a:pt x="1123" y="224"/>
                    </a:lnTo>
                    <a:lnTo>
                      <a:pt x="1125" y="224"/>
                    </a:lnTo>
                    <a:lnTo>
                      <a:pt x="1125" y="222"/>
                    </a:lnTo>
                    <a:lnTo>
                      <a:pt x="1126" y="222"/>
                    </a:lnTo>
                    <a:lnTo>
                      <a:pt x="1128" y="222"/>
                    </a:lnTo>
                    <a:lnTo>
                      <a:pt x="1130" y="222"/>
                    </a:lnTo>
                    <a:lnTo>
                      <a:pt x="1130" y="221"/>
                    </a:lnTo>
                    <a:lnTo>
                      <a:pt x="1130" y="219"/>
                    </a:lnTo>
                    <a:lnTo>
                      <a:pt x="1131" y="219"/>
                    </a:lnTo>
                    <a:lnTo>
                      <a:pt x="1133" y="219"/>
                    </a:lnTo>
                    <a:lnTo>
                      <a:pt x="1134" y="219"/>
                    </a:lnTo>
                    <a:lnTo>
                      <a:pt x="1136" y="219"/>
                    </a:lnTo>
                    <a:lnTo>
                      <a:pt x="1137" y="219"/>
                    </a:lnTo>
                    <a:lnTo>
                      <a:pt x="1137" y="217"/>
                    </a:lnTo>
                    <a:lnTo>
                      <a:pt x="1139" y="217"/>
                    </a:lnTo>
                    <a:lnTo>
                      <a:pt x="1139" y="216"/>
                    </a:lnTo>
                    <a:lnTo>
                      <a:pt x="1141" y="216"/>
                    </a:lnTo>
                    <a:lnTo>
                      <a:pt x="1142" y="216"/>
                    </a:lnTo>
                    <a:lnTo>
                      <a:pt x="1144" y="216"/>
                    </a:lnTo>
                    <a:lnTo>
                      <a:pt x="1144" y="217"/>
                    </a:lnTo>
                    <a:lnTo>
                      <a:pt x="1145" y="217"/>
                    </a:lnTo>
                    <a:lnTo>
                      <a:pt x="1147" y="217"/>
                    </a:lnTo>
                    <a:lnTo>
                      <a:pt x="1149" y="217"/>
                    </a:lnTo>
                    <a:lnTo>
                      <a:pt x="1149" y="216"/>
                    </a:lnTo>
                    <a:lnTo>
                      <a:pt x="1150" y="216"/>
                    </a:lnTo>
                    <a:lnTo>
                      <a:pt x="1152" y="216"/>
                    </a:lnTo>
                    <a:lnTo>
                      <a:pt x="1152" y="217"/>
                    </a:lnTo>
                    <a:lnTo>
                      <a:pt x="1153" y="217"/>
                    </a:lnTo>
                    <a:lnTo>
                      <a:pt x="1153" y="219"/>
                    </a:lnTo>
                    <a:lnTo>
                      <a:pt x="1155" y="219"/>
                    </a:lnTo>
                    <a:lnTo>
                      <a:pt x="1157" y="219"/>
                    </a:lnTo>
                    <a:lnTo>
                      <a:pt x="1157" y="221"/>
                    </a:lnTo>
                    <a:lnTo>
                      <a:pt x="1157" y="222"/>
                    </a:lnTo>
                    <a:lnTo>
                      <a:pt x="1157" y="224"/>
                    </a:lnTo>
                    <a:lnTo>
                      <a:pt x="1157" y="225"/>
                    </a:lnTo>
                    <a:lnTo>
                      <a:pt x="1155" y="225"/>
                    </a:lnTo>
                    <a:lnTo>
                      <a:pt x="1155" y="227"/>
                    </a:lnTo>
                    <a:lnTo>
                      <a:pt x="1155" y="228"/>
                    </a:lnTo>
                    <a:lnTo>
                      <a:pt x="1157" y="228"/>
                    </a:lnTo>
                    <a:lnTo>
                      <a:pt x="1157" y="230"/>
                    </a:lnTo>
                    <a:lnTo>
                      <a:pt x="1157" y="232"/>
                    </a:lnTo>
                    <a:lnTo>
                      <a:pt x="1157" y="233"/>
                    </a:lnTo>
                    <a:lnTo>
                      <a:pt x="1157" y="235"/>
                    </a:lnTo>
                    <a:lnTo>
                      <a:pt x="1157" y="236"/>
                    </a:lnTo>
                    <a:lnTo>
                      <a:pt x="1157" y="238"/>
                    </a:lnTo>
                    <a:lnTo>
                      <a:pt x="1157" y="240"/>
                    </a:lnTo>
                    <a:lnTo>
                      <a:pt x="1157" y="241"/>
                    </a:lnTo>
                    <a:lnTo>
                      <a:pt x="1155" y="241"/>
                    </a:lnTo>
                    <a:lnTo>
                      <a:pt x="1155" y="243"/>
                    </a:lnTo>
                    <a:lnTo>
                      <a:pt x="1157" y="243"/>
                    </a:lnTo>
                    <a:lnTo>
                      <a:pt x="1157" y="241"/>
                    </a:lnTo>
                    <a:lnTo>
                      <a:pt x="1158" y="241"/>
                    </a:lnTo>
                    <a:lnTo>
                      <a:pt x="1160" y="241"/>
                    </a:lnTo>
                    <a:lnTo>
                      <a:pt x="1161" y="241"/>
                    </a:lnTo>
                    <a:lnTo>
                      <a:pt x="1161" y="243"/>
                    </a:lnTo>
                    <a:lnTo>
                      <a:pt x="1163" y="243"/>
                    </a:lnTo>
                    <a:lnTo>
                      <a:pt x="1163" y="244"/>
                    </a:lnTo>
                    <a:lnTo>
                      <a:pt x="1164" y="244"/>
                    </a:lnTo>
                    <a:lnTo>
                      <a:pt x="1164" y="246"/>
                    </a:lnTo>
                    <a:lnTo>
                      <a:pt x="1164" y="247"/>
                    </a:lnTo>
                    <a:lnTo>
                      <a:pt x="1164" y="249"/>
                    </a:lnTo>
                    <a:lnTo>
                      <a:pt x="1163" y="249"/>
                    </a:lnTo>
                    <a:lnTo>
                      <a:pt x="1163" y="251"/>
                    </a:lnTo>
                    <a:lnTo>
                      <a:pt x="1164" y="251"/>
                    </a:lnTo>
                    <a:lnTo>
                      <a:pt x="1166" y="251"/>
                    </a:lnTo>
                    <a:lnTo>
                      <a:pt x="1166" y="252"/>
                    </a:lnTo>
                    <a:lnTo>
                      <a:pt x="1166" y="254"/>
                    </a:lnTo>
                    <a:lnTo>
                      <a:pt x="1166" y="255"/>
                    </a:lnTo>
                    <a:lnTo>
                      <a:pt x="1168" y="255"/>
                    </a:lnTo>
                    <a:lnTo>
                      <a:pt x="1168" y="257"/>
                    </a:lnTo>
                    <a:lnTo>
                      <a:pt x="1168" y="259"/>
                    </a:lnTo>
                    <a:lnTo>
                      <a:pt x="1169" y="260"/>
                    </a:lnTo>
                    <a:lnTo>
                      <a:pt x="1171" y="262"/>
                    </a:lnTo>
                    <a:lnTo>
                      <a:pt x="1172" y="262"/>
                    </a:lnTo>
                    <a:lnTo>
                      <a:pt x="1172" y="260"/>
                    </a:lnTo>
                    <a:lnTo>
                      <a:pt x="1174" y="260"/>
                    </a:lnTo>
                    <a:lnTo>
                      <a:pt x="1177" y="260"/>
                    </a:lnTo>
                    <a:lnTo>
                      <a:pt x="1179" y="262"/>
                    </a:lnTo>
                    <a:lnTo>
                      <a:pt x="1179" y="263"/>
                    </a:lnTo>
                    <a:lnTo>
                      <a:pt x="1180" y="263"/>
                    </a:lnTo>
                    <a:lnTo>
                      <a:pt x="1182" y="263"/>
                    </a:lnTo>
                    <a:lnTo>
                      <a:pt x="1182" y="265"/>
                    </a:lnTo>
                    <a:lnTo>
                      <a:pt x="1180" y="265"/>
                    </a:lnTo>
                    <a:lnTo>
                      <a:pt x="1179" y="265"/>
                    </a:lnTo>
                    <a:lnTo>
                      <a:pt x="1179" y="266"/>
                    </a:lnTo>
                    <a:lnTo>
                      <a:pt x="1177" y="268"/>
                    </a:lnTo>
                    <a:lnTo>
                      <a:pt x="1176" y="268"/>
                    </a:lnTo>
                    <a:lnTo>
                      <a:pt x="1174" y="270"/>
                    </a:lnTo>
                    <a:lnTo>
                      <a:pt x="1172" y="270"/>
                    </a:lnTo>
                    <a:lnTo>
                      <a:pt x="1171" y="271"/>
                    </a:lnTo>
                    <a:lnTo>
                      <a:pt x="1169" y="273"/>
                    </a:lnTo>
                    <a:lnTo>
                      <a:pt x="1169" y="274"/>
                    </a:lnTo>
                    <a:lnTo>
                      <a:pt x="1171" y="274"/>
                    </a:lnTo>
                    <a:lnTo>
                      <a:pt x="1174" y="276"/>
                    </a:lnTo>
                    <a:lnTo>
                      <a:pt x="1176" y="278"/>
                    </a:lnTo>
                    <a:lnTo>
                      <a:pt x="1177" y="278"/>
                    </a:lnTo>
                    <a:lnTo>
                      <a:pt x="1177" y="279"/>
                    </a:lnTo>
                    <a:lnTo>
                      <a:pt x="1177" y="281"/>
                    </a:lnTo>
                    <a:lnTo>
                      <a:pt x="1176" y="281"/>
                    </a:lnTo>
                    <a:lnTo>
                      <a:pt x="1176" y="282"/>
                    </a:lnTo>
                    <a:lnTo>
                      <a:pt x="1174" y="282"/>
                    </a:lnTo>
                    <a:lnTo>
                      <a:pt x="1172" y="282"/>
                    </a:lnTo>
                    <a:lnTo>
                      <a:pt x="1171" y="284"/>
                    </a:lnTo>
                    <a:lnTo>
                      <a:pt x="1169" y="284"/>
                    </a:lnTo>
                    <a:lnTo>
                      <a:pt x="1169" y="286"/>
                    </a:lnTo>
                    <a:lnTo>
                      <a:pt x="1168" y="286"/>
                    </a:lnTo>
                    <a:lnTo>
                      <a:pt x="1168" y="287"/>
                    </a:lnTo>
                    <a:lnTo>
                      <a:pt x="1168" y="289"/>
                    </a:lnTo>
                    <a:lnTo>
                      <a:pt x="1166" y="289"/>
                    </a:lnTo>
                    <a:lnTo>
                      <a:pt x="1166" y="290"/>
                    </a:lnTo>
                    <a:lnTo>
                      <a:pt x="1166" y="292"/>
                    </a:lnTo>
                    <a:lnTo>
                      <a:pt x="1168" y="292"/>
                    </a:lnTo>
                    <a:lnTo>
                      <a:pt x="1169" y="292"/>
                    </a:lnTo>
                    <a:lnTo>
                      <a:pt x="1171" y="292"/>
                    </a:lnTo>
                    <a:lnTo>
                      <a:pt x="1171" y="293"/>
                    </a:lnTo>
                    <a:lnTo>
                      <a:pt x="1172" y="293"/>
                    </a:lnTo>
                    <a:lnTo>
                      <a:pt x="1174" y="293"/>
                    </a:lnTo>
                    <a:lnTo>
                      <a:pt x="1174" y="295"/>
                    </a:lnTo>
                    <a:lnTo>
                      <a:pt x="1176" y="295"/>
                    </a:lnTo>
                    <a:lnTo>
                      <a:pt x="1176" y="297"/>
                    </a:lnTo>
                    <a:lnTo>
                      <a:pt x="1176" y="298"/>
                    </a:lnTo>
                    <a:lnTo>
                      <a:pt x="1174" y="298"/>
                    </a:lnTo>
                    <a:lnTo>
                      <a:pt x="1174" y="300"/>
                    </a:lnTo>
                    <a:lnTo>
                      <a:pt x="1174" y="301"/>
                    </a:lnTo>
                    <a:lnTo>
                      <a:pt x="1174" y="303"/>
                    </a:lnTo>
                    <a:lnTo>
                      <a:pt x="1172" y="303"/>
                    </a:lnTo>
                    <a:lnTo>
                      <a:pt x="1171" y="303"/>
                    </a:lnTo>
                    <a:lnTo>
                      <a:pt x="1171" y="301"/>
                    </a:lnTo>
                    <a:lnTo>
                      <a:pt x="1169" y="301"/>
                    </a:lnTo>
                    <a:lnTo>
                      <a:pt x="1168" y="301"/>
                    </a:lnTo>
                    <a:lnTo>
                      <a:pt x="1166" y="303"/>
                    </a:lnTo>
                    <a:lnTo>
                      <a:pt x="1166" y="305"/>
                    </a:lnTo>
                    <a:lnTo>
                      <a:pt x="1168" y="305"/>
                    </a:lnTo>
                    <a:lnTo>
                      <a:pt x="1168" y="306"/>
                    </a:lnTo>
                    <a:lnTo>
                      <a:pt x="1169" y="308"/>
                    </a:lnTo>
                    <a:lnTo>
                      <a:pt x="1171" y="308"/>
                    </a:lnTo>
                    <a:lnTo>
                      <a:pt x="1171" y="309"/>
                    </a:lnTo>
                    <a:lnTo>
                      <a:pt x="1172" y="309"/>
                    </a:lnTo>
                    <a:lnTo>
                      <a:pt x="1172" y="311"/>
                    </a:lnTo>
                    <a:lnTo>
                      <a:pt x="1174" y="311"/>
                    </a:lnTo>
                    <a:lnTo>
                      <a:pt x="1172" y="312"/>
                    </a:lnTo>
                    <a:lnTo>
                      <a:pt x="1171" y="312"/>
                    </a:lnTo>
                    <a:lnTo>
                      <a:pt x="1171" y="314"/>
                    </a:lnTo>
                    <a:lnTo>
                      <a:pt x="1169" y="314"/>
                    </a:lnTo>
                    <a:lnTo>
                      <a:pt x="1169" y="316"/>
                    </a:lnTo>
                    <a:lnTo>
                      <a:pt x="1168" y="316"/>
                    </a:lnTo>
                    <a:lnTo>
                      <a:pt x="1168" y="317"/>
                    </a:lnTo>
                    <a:lnTo>
                      <a:pt x="1166" y="317"/>
                    </a:lnTo>
                    <a:lnTo>
                      <a:pt x="1164" y="317"/>
                    </a:lnTo>
                    <a:lnTo>
                      <a:pt x="1163" y="317"/>
                    </a:lnTo>
                    <a:lnTo>
                      <a:pt x="1163" y="319"/>
                    </a:lnTo>
                    <a:lnTo>
                      <a:pt x="1161" y="319"/>
                    </a:lnTo>
                    <a:lnTo>
                      <a:pt x="1160" y="320"/>
                    </a:lnTo>
                    <a:lnTo>
                      <a:pt x="1158" y="320"/>
                    </a:lnTo>
                    <a:lnTo>
                      <a:pt x="1158" y="322"/>
                    </a:lnTo>
                    <a:lnTo>
                      <a:pt x="1157" y="322"/>
                    </a:lnTo>
                    <a:lnTo>
                      <a:pt x="1157" y="320"/>
                    </a:lnTo>
                    <a:lnTo>
                      <a:pt x="1155" y="320"/>
                    </a:lnTo>
                    <a:lnTo>
                      <a:pt x="1153" y="320"/>
                    </a:lnTo>
                    <a:lnTo>
                      <a:pt x="1152" y="320"/>
                    </a:lnTo>
                    <a:lnTo>
                      <a:pt x="1152" y="322"/>
                    </a:lnTo>
                    <a:lnTo>
                      <a:pt x="1150" y="322"/>
                    </a:lnTo>
                    <a:lnTo>
                      <a:pt x="1149" y="322"/>
                    </a:lnTo>
                    <a:lnTo>
                      <a:pt x="1147" y="322"/>
                    </a:lnTo>
                    <a:lnTo>
                      <a:pt x="1145" y="322"/>
                    </a:lnTo>
                    <a:lnTo>
                      <a:pt x="1145" y="324"/>
                    </a:lnTo>
                    <a:lnTo>
                      <a:pt x="1144" y="324"/>
                    </a:lnTo>
                    <a:lnTo>
                      <a:pt x="1142" y="324"/>
                    </a:lnTo>
                    <a:lnTo>
                      <a:pt x="1141" y="324"/>
                    </a:lnTo>
                    <a:lnTo>
                      <a:pt x="1141" y="325"/>
                    </a:lnTo>
                    <a:lnTo>
                      <a:pt x="1139" y="325"/>
                    </a:lnTo>
                    <a:lnTo>
                      <a:pt x="1139" y="327"/>
                    </a:lnTo>
                    <a:lnTo>
                      <a:pt x="1139" y="328"/>
                    </a:lnTo>
                    <a:lnTo>
                      <a:pt x="1139" y="330"/>
                    </a:lnTo>
                    <a:lnTo>
                      <a:pt x="1141" y="330"/>
                    </a:lnTo>
                    <a:lnTo>
                      <a:pt x="1141" y="331"/>
                    </a:lnTo>
                    <a:lnTo>
                      <a:pt x="1142" y="331"/>
                    </a:lnTo>
                    <a:lnTo>
                      <a:pt x="1142" y="333"/>
                    </a:lnTo>
                    <a:lnTo>
                      <a:pt x="1141" y="333"/>
                    </a:lnTo>
                    <a:lnTo>
                      <a:pt x="1141" y="335"/>
                    </a:lnTo>
                    <a:lnTo>
                      <a:pt x="1141" y="336"/>
                    </a:lnTo>
                    <a:lnTo>
                      <a:pt x="1142" y="338"/>
                    </a:lnTo>
                    <a:lnTo>
                      <a:pt x="1142" y="339"/>
                    </a:lnTo>
                    <a:lnTo>
                      <a:pt x="1144" y="339"/>
                    </a:lnTo>
                    <a:lnTo>
                      <a:pt x="1144" y="341"/>
                    </a:lnTo>
                    <a:lnTo>
                      <a:pt x="1145" y="343"/>
                    </a:lnTo>
                    <a:lnTo>
                      <a:pt x="1145" y="344"/>
                    </a:lnTo>
                    <a:lnTo>
                      <a:pt x="1147" y="344"/>
                    </a:lnTo>
                    <a:lnTo>
                      <a:pt x="1147" y="346"/>
                    </a:lnTo>
                    <a:lnTo>
                      <a:pt x="1147" y="347"/>
                    </a:lnTo>
                    <a:lnTo>
                      <a:pt x="1147" y="349"/>
                    </a:lnTo>
                    <a:lnTo>
                      <a:pt x="1149" y="349"/>
                    </a:lnTo>
                    <a:lnTo>
                      <a:pt x="1149" y="350"/>
                    </a:lnTo>
                    <a:lnTo>
                      <a:pt x="1149" y="352"/>
                    </a:lnTo>
                    <a:lnTo>
                      <a:pt x="1149" y="354"/>
                    </a:lnTo>
                    <a:lnTo>
                      <a:pt x="1149" y="355"/>
                    </a:lnTo>
                    <a:lnTo>
                      <a:pt x="1150" y="355"/>
                    </a:lnTo>
                    <a:lnTo>
                      <a:pt x="1150" y="357"/>
                    </a:lnTo>
                    <a:lnTo>
                      <a:pt x="1152" y="357"/>
                    </a:lnTo>
                    <a:lnTo>
                      <a:pt x="1152" y="358"/>
                    </a:lnTo>
                    <a:lnTo>
                      <a:pt x="1152" y="360"/>
                    </a:lnTo>
                    <a:lnTo>
                      <a:pt x="1152" y="362"/>
                    </a:lnTo>
                    <a:lnTo>
                      <a:pt x="1153" y="362"/>
                    </a:lnTo>
                    <a:lnTo>
                      <a:pt x="1153" y="363"/>
                    </a:lnTo>
                    <a:lnTo>
                      <a:pt x="1152" y="365"/>
                    </a:lnTo>
                    <a:lnTo>
                      <a:pt x="1153" y="365"/>
                    </a:lnTo>
                    <a:lnTo>
                      <a:pt x="1153" y="366"/>
                    </a:lnTo>
                    <a:lnTo>
                      <a:pt x="1153" y="368"/>
                    </a:lnTo>
                    <a:lnTo>
                      <a:pt x="1155" y="368"/>
                    </a:lnTo>
                    <a:lnTo>
                      <a:pt x="1155" y="369"/>
                    </a:lnTo>
                    <a:lnTo>
                      <a:pt x="1155" y="371"/>
                    </a:lnTo>
                    <a:lnTo>
                      <a:pt x="1155" y="373"/>
                    </a:lnTo>
                    <a:lnTo>
                      <a:pt x="1155" y="374"/>
                    </a:lnTo>
                    <a:lnTo>
                      <a:pt x="1157" y="374"/>
                    </a:lnTo>
                    <a:lnTo>
                      <a:pt x="1157" y="376"/>
                    </a:lnTo>
                    <a:lnTo>
                      <a:pt x="1157" y="377"/>
                    </a:lnTo>
                    <a:lnTo>
                      <a:pt x="1157" y="379"/>
                    </a:lnTo>
                    <a:lnTo>
                      <a:pt x="1157" y="381"/>
                    </a:lnTo>
                    <a:lnTo>
                      <a:pt x="1157" y="382"/>
                    </a:lnTo>
                    <a:lnTo>
                      <a:pt x="1157" y="384"/>
                    </a:lnTo>
                    <a:lnTo>
                      <a:pt x="1157" y="385"/>
                    </a:lnTo>
                    <a:lnTo>
                      <a:pt x="1157" y="387"/>
                    </a:lnTo>
                    <a:lnTo>
                      <a:pt x="1158" y="387"/>
                    </a:lnTo>
                    <a:lnTo>
                      <a:pt x="1158" y="389"/>
                    </a:lnTo>
                    <a:lnTo>
                      <a:pt x="1158" y="390"/>
                    </a:lnTo>
                    <a:lnTo>
                      <a:pt x="1158" y="392"/>
                    </a:lnTo>
                    <a:lnTo>
                      <a:pt x="1158" y="393"/>
                    </a:lnTo>
                    <a:lnTo>
                      <a:pt x="1158" y="395"/>
                    </a:lnTo>
                    <a:lnTo>
                      <a:pt x="1158" y="398"/>
                    </a:lnTo>
                    <a:lnTo>
                      <a:pt x="1158" y="400"/>
                    </a:lnTo>
                    <a:lnTo>
                      <a:pt x="1158" y="401"/>
                    </a:lnTo>
                    <a:lnTo>
                      <a:pt x="1158" y="403"/>
                    </a:lnTo>
                    <a:lnTo>
                      <a:pt x="1158" y="404"/>
                    </a:lnTo>
                    <a:lnTo>
                      <a:pt x="1158" y="406"/>
                    </a:lnTo>
                    <a:lnTo>
                      <a:pt x="1160" y="408"/>
                    </a:lnTo>
                    <a:lnTo>
                      <a:pt x="1160" y="409"/>
                    </a:lnTo>
                    <a:lnTo>
                      <a:pt x="1160" y="411"/>
                    </a:lnTo>
                    <a:lnTo>
                      <a:pt x="1160" y="412"/>
                    </a:lnTo>
                    <a:lnTo>
                      <a:pt x="1160" y="414"/>
                    </a:lnTo>
                    <a:lnTo>
                      <a:pt x="1161" y="414"/>
                    </a:lnTo>
                    <a:lnTo>
                      <a:pt x="1161" y="415"/>
                    </a:lnTo>
                    <a:lnTo>
                      <a:pt x="1163" y="415"/>
                    </a:lnTo>
                    <a:lnTo>
                      <a:pt x="1163" y="417"/>
                    </a:lnTo>
                    <a:lnTo>
                      <a:pt x="1164" y="417"/>
                    </a:lnTo>
                    <a:lnTo>
                      <a:pt x="1164" y="419"/>
                    </a:lnTo>
                    <a:lnTo>
                      <a:pt x="1166" y="420"/>
                    </a:lnTo>
                    <a:lnTo>
                      <a:pt x="1166" y="422"/>
                    </a:lnTo>
                    <a:lnTo>
                      <a:pt x="1168" y="422"/>
                    </a:lnTo>
                    <a:lnTo>
                      <a:pt x="1168" y="423"/>
                    </a:lnTo>
                    <a:lnTo>
                      <a:pt x="1169" y="425"/>
                    </a:lnTo>
                    <a:lnTo>
                      <a:pt x="1169" y="427"/>
                    </a:lnTo>
                    <a:lnTo>
                      <a:pt x="1171" y="427"/>
                    </a:lnTo>
                    <a:lnTo>
                      <a:pt x="1171" y="428"/>
                    </a:lnTo>
                    <a:lnTo>
                      <a:pt x="1172" y="428"/>
                    </a:lnTo>
                    <a:lnTo>
                      <a:pt x="1174" y="428"/>
                    </a:lnTo>
                    <a:lnTo>
                      <a:pt x="1176" y="428"/>
                    </a:lnTo>
                    <a:lnTo>
                      <a:pt x="1177" y="428"/>
                    </a:lnTo>
                    <a:lnTo>
                      <a:pt x="1179" y="428"/>
                    </a:lnTo>
                    <a:lnTo>
                      <a:pt x="1180" y="427"/>
                    </a:lnTo>
                    <a:lnTo>
                      <a:pt x="1182" y="427"/>
                    </a:lnTo>
                    <a:lnTo>
                      <a:pt x="1183" y="427"/>
                    </a:lnTo>
                    <a:lnTo>
                      <a:pt x="1185" y="427"/>
                    </a:lnTo>
                    <a:lnTo>
                      <a:pt x="1185" y="428"/>
                    </a:lnTo>
                    <a:lnTo>
                      <a:pt x="1185" y="427"/>
                    </a:lnTo>
                    <a:lnTo>
                      <a:pt x="1187" y="427"/>
                    </a:lnTo>
                    <a:lnTo>
                      <a:pt x="1188" y="427"/>
                    </a:lnTo>
                    <a:lnTo>
                      <a:pt x="1188" y="428"/>
                    </a:lnTo>
                    <a:lnTo>
                      <a:pt x="1190" y="430"/>
                    </a:lnTo>
                    <a:lnTo>
                      <a:pt x="1190" y="428"/>
                    </a:lnTo>
                    <a:lnTo>
                      <a:pt x="1191" y="428"/>
                    </a:lnTo>
                    <a:lnTo>
                      <a:pt x="1193" y="428"/>
                    </a:lnTo>
                    <a:lnTo>
                      <a:pt x="1195" y="428"/>
                    </a:lnTo>
                    <a:lnTo>
                      <a:pt x="1195" y="427"/>
                    </a:lnTo>
                    <a:lnTo>
                      <a:pt x="1196" y="427"/>
                    </a:lnTo>
                    <a:lnTo>
                      <a:pt x="1196" y="425"/>
                    </a:lnTo>
                    <a:lnTo>
                      <a:pt x="1196" y="423"/>
                    </a:lnTo>
                    <a:lnTo>
                      <a:pt x="1195" y="423"/>
                    </a:lnTo>
                    <a:lnTo>
                      <a:pt x="1195" y="422"/>
                    </a:lnTo>
                    <a:lnTo>
                      <a:pt x="1196" y="422"/>
                    </a:lnTo>
                    <a:lnTo>
                      <a:pt x="1198" y="422"/>
                    </a:lnTo>
                    <a:lnTo>
                      <a:pt x="1198" y="420"/>
                    </a:lnTo>
                    <a:lnTo>
                      <a:pt x="1199" y="420"/>
                    </a:lnTo>
                    <a:lnTo>
                      <a:pt x="1201" y="420"/>
                    </a:lnTo>
                    <a:lnTo>
                      <a:pt x="1202" y="419"/>
                    </a:lnTo>
                    <a:lnTo>
                      <a:pt x="1202" y="420"/>
                    </a:lnTo>
                    <a:lnTo>
                      <a:pt x="1204" y="420"/>
                    </a:lnTo>
                    <a:lnTo>
                      <a:pt x="1206" y="420"/>
                    </a:lnTo>
                    <a:lnTo>
                      <a:pt x="1206" y="419"/>
                    </a:lnTo>
                    <a:lnTo>
                      <a:pt x="1207" y="419"/>
                    </a:lnTo>
                    <a:lnTo>
                      <a:pt x="1207" y="417"/>
                    </a:lnTo>
                    <a:lnTo>
                      <a:pt x="1209" y="417"/>
                    </a:lnTo>
                    <a:lnTo>
                      <a:pt x="1210" y="417"/>
                    </a:lnTo>
                    <a:lnTo>
                      <a:pt x="1212" y="417"/>
                    </a:lnTo>
                    <a:lnTo>
                      <a:pt x="1214" y="417"/>
                    </a:lnTo>
                    <a:lnTo>
                      <a:pt x="1215" y="417"/>
                    </a:lnTo>
                    <a:lnTo>
                      <a:pt x="1217" y="417"/>
                    </a:lnTo>
                    <a:lnTo>
                      <a:pt x="1218" y="417"/>
                    </a:lnTo>
                    <a:lnTo>
                      <a:pt x="1218" y="419"/>
                    </a:lnTo>
                    <a:lnTo>
                      <a:pt x="1220" y="419"/>
                    </a:lnTo>
                    <a:lnTo>
                      <a:pt x="1221" y="419"/>
                    </a:lnTo>
                    <a:lnTo>
                      <a:pt x="1223" y="419"/>
                    </a:lnTo>
                    <a:lnTo>
                      <a:pt x="1225" y="420"/>
                    </a:lnTo>
                    <a:lnTo>
                      <a:pt x="1226" y="420"/>
                    </a:lnTo>
                    <a:lnTo>
                      <a:pt x="1228" y="420"/>
                    </a:lnTo>
                    <a:lnTo>
                      <a:pt x="1229" y="419"/>
                    </a:lnTo>
                    <a:lnTo>
                      <a:pt x="1231" y="419"/>
                    </a:lnTo>
                    <a:lnTo>
                      <a:pt x="1233" y="419"/>
                    </a:lnTo>
                    <a:lnTo>
                      <a:pt x="1234" y="419"/>
                    </a:lnTo>
                    <a:lnTo>
                      <a:pt x="1236" y="419"/>
                    </a:lnTo>
                    <a:lnTo>
                      <a:pt x="1237" y="419"/>
                    </a:lnTo>
                    <a:lnTo>
                      <a:pt x="1239" y="419"/>
                    </a:lnTo>
                    <a:lnTo>
                      <a:pt x="1240" y="419"/>
                    </a:lnTo>
                    <a:lnTo>
                      <a:pt x="1242" y="419"/>
                    </a:lnTo>
                    <a:lnTo>
                      <a:pt x="1244" y="420"/>
                    </a:lnTo>
                    <a:lnTo>
                      <a:pt x="1244" y="422"/>
                    </a:lnTo>
                    <a:lnTo>
                      <a:pt x="1244" y="423"/>
                    </a:lnTo>
                    <a:lnTo>
                      <a:pt x="1244" y="425"/>
                    </a:lnTo>
                    <a:lnTo>
                      <a:pt x="1245" y="427"/>
                    </a:lnTo>
                    <a:lnTo>
                      <a:pt x="1245" y="428"/>
                    </a:lnTo>
                    <a:lnTo>
                      <a:pt x="1247" y="430"/>
                    </a:lnTo>
                    <a:lnTo>
                      <a:pt x="1247" y="431"/>
                    </a:lnTo>
                    <a:lnTo>
                      <a:pt x="1247" y="433"/>
                    </a:lnTo>
                    <a:lnTo>
                      <a:pt x="1247" y="434"/>
                    </a:lnTo>
                    <a:lnTo>
                      <a:pt x="1247" y="436"/>
                    </a:lnTo>
                    <a:lnTo>
                      <a:pt x="1247" y="438"/>
                    </a:lnTo>
                    <a:lnTo>
                      <a:pt x="1245" y="438"/>
                    </a:lnTo>
                    <a:lnTo>
                      <a:pt x="1245" y="439"/>
                    </a:lnTo>
                    <a:lnTo>
                      <a:pt x="1245" y="441"/>
                    </a:lnTo>
                    <a:lnTo>
                      <a:pt x="1244" y="441"/>
                    </a:lnTo>
                    <a:lnTo>
                      <a:pt x="1245" y="441"/>
                    </a:lnTo>
                    <a:lnTo>
                      <a:pt x="1247" y="441"/>
                    </a:lnTo>
                    <a:lnTo>
                      <a:pt x="1248" y="441"/>
                    </a:lnTo>
                    <a:lnTo>
                      <a:pt x="1250" y="439"/>
                    </a:lnTo>
                    <a:lnTo>
                      <a:pt x="1252" y="439"/>
                    </a:lnTo>
                    <a:lnTo>
                      <a:pt x="1253" y="439"/>
                    </a:lnTo>
                    <a:lnTo>
                      <a:pt x="1255" y="439"/>
                    </a:lnTo>
                    <a:lnTo>
                      <a:pt x="1256" y="439"/>
                    </a:lnTo>
                    <a:lnTo>
                      <a:pt x="1258" y="438"/>
                    </a:lnTo>
                    <a:lnTo>
                      <a:pt x="1259" y="438"/>
                    </a:lnTo>
                    <a:lnTo>
                      <a:pt x="1259" y="436"/>
                    </a:lnTo>
                    <a:lnTo>
                      <a:pt x="1261" y="436"/>
                    </a:lnTo>
                    <a:lnTo>
                      <a:pt x="1261" y="434"/>
                    </a:lnTo>
                    <a:lnTo>
                      <a:pt x="1263" y="434"/>
                    </a:lnTo>
                    <a:lnTo>
                      <a:pt x="1264" y="434"/>
                    </a:lnTo>
                    <a:lnTo>
                      <a:pt x="1266" y="434"/>
                    </a:lnTo>
                    <a:lnTo>
                      <a:pt x="1267" y="433"/>
                    </a:lnTo>
                    <a:lnTo>
                      <a:pt x="1267" y="431"/>
                    </a:lnTo>
                    <a:lnTo>
                      <a:pt x="1269" y="431"/>
                    </a:lnTo>
                    <a:lnTo>
                      <a:pt x="1269" y="430"/>
                    </a:lnTo>
                    <a:lnTo>
                      <a:pt x="1269" y="428"/>
                    </a:lnTo>
                    <a:lnTo>
                      <a:pt x="1269" y="427"/>
                    </a:lnTo>
                    <a:lnTo>
                      <a:pt x="1271" y="427"/>
                    </a:lnTo>
                    <a:lnTo>
                      <a:pt x="1272" y="427"/>
                    </a:lnTo>
                    <a:lnTo>
                      <a:pt x="1274" y="427"/>
                    </a:lnTo>
                    <a:lnTo>
                      <a:pt x="1275" y="427"/>
                    </a:lnTo>
                    <a:lnTo>
                      <a:pt x="1277" y="427"/>
                    </a:lnTo>
                    <a:lnTo>
                      <a:pt x="1278" y="427"/>
                    </a:lnTo>
                    <a:lnTo>
                      <a:pt x="1280" y="427"/>
                    </a:lnTo>
                    <a:lnTo>
                      <a:pt x="1282" y="427"/>
                    </a:lnTo>
                    <a:lnTo>
                      <a:pt x="1283" y="425"/>
                    </a:lnTo>
                    <a:lnTo>
                      <a:pt x="1285" y="425"/>
                    </a:lnTo>
                    <a:lnTo>
                      <a:pt x="1286" y="425"/>
                    </a:lnTo>
                    <a:lnTo>
                      <a:pt x="1290" y="425"/>
                    </a:lnTo>
                    <a:lnTo>
                      <a:pt x="1291" y="427"/>
                    </a:lnTo>
                    <a:lnTo>
                      <a:pt x="1293" y="427"/>
                    </a:lnTo>
                    <a:lnTo>
                      <a:pt x="1294" y="425"/>
                    </a:lnTo>
                    <a:lnTo>
                      <a:pt x="1296" y="425"/>
                    </a:lnTo>
                    <a:lnTo>
                      <a:pt x="1297" y="425"/>
                    </a:lnTo>
                    <a:lnTo>
                      <a:pt x="1299" y="425"/>
                    </a:lnTo>
                    <a:lnTo>
                      <a:pt x="1301" y="425"/>
                    </a:lnTo>
                    <a:lnTo>
                      <a:pt x="1302" y="423"/>
                    </a:lnTo>
                    <a:lnTo>
                      <a:pt x="1304" y="423"/>
                    </a:lnTo>
                    <a:lnTo>
                      <a:pt x="1305" y="422"/>
                    </a:lnTo>
                    <a:lnTo>
                      <a:pt x="1307" y="422"/>
                    </a:lnTo>
                    <a:lnTo>
                      <a:pt x="1309" y="422"/>
                    </a:lnTo>
                    <a:lnTo>
                      <a:pt x="1312" y="422"/>
                    </a:lnTo>
                    <a:lnTo>
                      <a:pt x="1313" y="422"/>
                    </a:lnTo>
                    <a:lnTo>
                      <a:pt x="1315" y="420"/>
                    </a:lnTo>
                    <a:lnTo>
                      <a:pt x="1316" y="420"/>
                    </a:lnTo>
                    <a:lnTo>
                      <a:pt x="1316" y="422"/>
                    </a:lnTo>
                    <a:lnTo>
                      <a:pt x="1315" y="423"/>
                    </a:lnTo>
                    <a:lnTo>
                      <a:pt x="1315" y="425"/>
                    </a:lnTo>
                    <a:lnTo>
                      <a:pt x="1315" y="427"/>
                    </a:lnTo>
                    <a:lnTo>
                      <a:pt x="1313" y="428"/>
                    </a:lnTo>
                    <a:lnTo>
                      <a:pt x="1312" y="430"/>
                    </a:lnTo>
                    <a:lnTo>
                      <a:pt x="1312" y="431"/>
                    </a:lnTo>
                    <a:lnTo>
                      <a:pt x="1310" y="433"/>
                    </a:lnTo>
                    <a:lnTo>
                      <a:pt x="1310" y="434"/>
                    </a:lnTo>
                    <a:lnTo>
                      <a:pt x="1310" y="436"/>
                    </a:lnTo>
                    <a:lnTo>
                      <a:pt x="1309" y="438"/>
                    </a:lnTo>
                    <a:lnTo>
                      <a:pt x="1309" y="439"/>
                    </a:lnTo>
                    <a:lnTo>
                      <a:pt x="1309" y="441"/>
                    </a:lnTo>
                    <a:lnTo>
                      <a:pt x="1310" y="442"/>
                    </a:lnTo>
                    <a:lnTo>
                      <a:pt x="1310" y="444"/>
                    </a:lnTo>
                    <a:lnTo>
                      <a:pt x="1310" y="447"/>
                    </a:lnTo>
                    <a:lnTo>
                      <a:pt x="1310" y="449"/>
                    </a:lnTo>
                    <a:lnTo>
                      <a:pt x="1310" y="450"/>
                    </a:lnTo>
                    <a:lnTo>
                      <a:pt x="1310" y="452"/>
                    </a:lnTo>
                    <a:lnTo>
                      <a:pt x="1312" y="455"/>
                    </a:lnTo>
                    <a:lnTo>
                      <a:pt x="1312" y="458"/>
                    </a:lnTo>
                    <a:lnTo>
                      <a:pt x="1313" y="458"/>
                    </a:lnTo>
                    <a:lnTo>
                      <a:pt x="1313" y="460"/>
                    </a:lnTo>
                    <a:lnTo>
                      <a:pt x="1315" y="461"/>
                    </a:lnTo>
                    <a:lnTo>
                      <a:pt x="1316" y="465"/>
                    </a:lnTo>
                    <a:lnTo>
                      <a:pt x="1316" y="466"/>
                    </a:lnTo>
                    <a:lnTo>
                      <a:pt x="1320" y="468"/>
                    </a:lnTo>
                    <a:lnTo>
                      <a:pt x="1320" y="469"/>
                    </a:lnTo>
                    <a:lnTo>
                      <a:pt x="1321" y="471"/>
                    </a:lnTo>
                    <a:lnTo>
                      <a:pt x="1321" y="472"/>
                    </a:lnTo>
                    <a:lnTo>
                      <a:pt x="1321" y="474"/>
                    </a:lnTo>
                    <a:lnTo>
                      <a:pt x="1321" y="476"/>
                    </a:lnTo>
                    <a:lnTo>
                      <a:pt x="1321" y="477"/>
                    </a:lnTo>
                    <a:lnTo>
                      <a:pt x="1321" y="479"/>
                    </a:lnTo>
                    <a:lnTo>
                      <a:pt x="1320" y="480"/>
                    </a:lnTo>
                    <a:lnTo>
                      <a:pt x="1320" y="484"/>
                    </a:lnTo>
                    <a:lnTo>
                      <a:pt x="1320" y="485"/>
                    </a:lnTo>
                    <a:lnTo>
                      <a:pt x="1321" y="487"/>
                    </a:lnTo>
                    <a:lnTo>
                      <a:pt x="1321" y="488"/>
                    </a:lnTo>
                    <a:lnTo>
                      <a:pt x="1321" y="490"/>
                    </a:lnTo>
                    <a:lnTo>
                      <a:pt x="1323" y="490"/>
                    </a:lnTo>
                    <a:lnTo>
                      <a:pt x="1324" y="493"/>
                    </a:lnTo>
                    <a:lnTo>
                      <a:pt x="1326" y="495"/>
                    </a:lnTo>
                    <a:lnTo>
                      <a:pt x="1328" y="496"/>
                    </a:lnTo>
                    <a:lnTo>
                      <a:pt x="1328" y="498"/>
                    </a:lnTo>
                    <a:lnTo>
                      <a:pt x="1329" y="499"/>
                    </a:lnTo>
                    <a:lnTo>
                      <a:pt x="1329" y="501"/>
                    </a:lnTo>
                    <a:lnTo>
                      <a:pt x="1329" y="504"/>
                    </a:lnTo>
                    <a:lnTo>
                      <a:pt x="1329" y="506"/>
                    </a:lnTo>
                    <a:lnTo>
                      <a:pt x="1331" y="506"/>
                    </a:lnTo>
                    <a:lnTo>
                      <a:pt x="1331" y="507"/>
                    </a:lnTo>
                    <a:lnTo>
                      <a:pt x="1329" y="509"/>
                    </a:lnTo>
                    <a:lnTo>
                      <a:pt x="1331" y="511"/>
                    </a:lnTo>
                    <a:lnTo>
                      <a:pt x="1331" y="512"/>
                    </a:lnTo>
                    <a:lnTo>
                      <a:pt x="1329" y="517"/>
                    </a:lnTo>
                    <a:lnTo>
                      <a:pt x="1329" y="518"/>
                    </a:lnTo>
                    <a:lnTo>
                      <a:pt x="1329" y="520"/>
                    </a:lnTo>
                    <a:lnTo>
                      <a:pt x="1331" y="522"/>
                    </a:lnTo>
                    <a:lnTo>
                      <a:pt x="1331" y="523"/>
                    </a:lnTo>
                    <a:lnTo>
                      <a:pt x="1331" y="525"/>
                    </a:lnTo>
                    <a:lnTo>
                      <a:pt x="1332" y="525"/>
                    </a:lnTo>
                    <a:lnTo>
                      <a:pt x="1334" y="526"/>
                    </a:lnTo>
                    <a:lnTo>
                      <a:pt x="1334" y="528"/>
                    </a:lnTo>
                    <a:lnTo>
                      <a:pt x="1335" y="528"/>
                    </a:lnTo>
                    <a:lnTo>
                      <a:pt x="1337" y="530"/>
                    </a:lnTo>
                    <a:lnTo>
                      <a:pt x="1337" y="531"/>
                    </a:lnTo>
                    <a:lnTo>
                      <a:pt x="1339" y="531"/>
                    </a:lnTo>
                    <a:lnTo>
                      <a:pt x="1339" y="533"/>
                    </a:lnTo>
                    <a:lnTo>
                      <a:pt x="1339" y="534"/>
                    </a:lnTo>
                    <a:lnTo>
                      <a:pt x="1337" y="534"/>
                    </a:lnTo>
                    <a:lnTo>
                      <a:pt x="1337" y="536"/>
                    </a:lnTo>
                    <a:lnTo>
                      <a:pt x="1335" y="537"/>
                    </a:lnTo>
                    <a:lnTo>
                      <a:pt x="1339" y="541"/>
                    </a:lnTo>
                    <a:lnTo>
                      <a:pt x="1342" y="539"/>
                    </a:lnTo>
                    <a:lnTo>
                      <a:pt x="1345" y="539"/>
                    </a:lnTo>
                    <a:lnTo>
                      <a:pt x="1343" y="550"/>
                    </a:lnTo>
                    <a:lnTo>
                      <a:pt x="1343" y="556"/>
                    </a:lnTo>
                    <a:lnTo>
                      <a:pt x="1343" y="566"/>
                    </a:lnTo>
                    <a:lnTo>
                      <a:pt x="1342" y="572"/>
                    </a:lnTo>
                    <a:lnTo>
                      <a:pt x="1343" y="582"/>
                    </a:lnTo>
                    <a:lnTo>
                      <a:pt x="1348" y="587"/>
                    </a:lnTo>
                    <a:lnTo>
                      <a:pt x="1351" y="591"/>
                    </a:lnTo>
                    <a:lnTo>
                      <a:pt x="1355" y="598"/>
                    </a:lnTo>
                    <a:lnTo>
                      <a:pt x="1359" y="604"/>
                    </a:lnTo>
                    <a:lnTo>
                      <a:pt x="1366" y="609"/>
                    </a:lnTo>
                    <a:lnTo>
                      <a:pt x="1370" y="613"/>
                    </a:lnTo>
                    <a:lnTo>
                      <a:pt x="1375" y="613"/>
                    </a:lnTo>
                    <a:lnTo>
                      <a:pt x="1380" y="621"/>
                    </a:lnTo>
                    <a:lnTo>
                      <a:pt x="1381" y="628"/>
                    </a:lnTo>
                    <a:lnTo>
                      <a:pt x="1380" y="628"/>
                    </a:lnTo>
                    <a:lnTo>
                      <a:pt x="1380" y="629"/>
                    </a:lnTo>
                    <a:lnTo>
                      <a:pt x="1378" y="629"/>
                    </a:lnTo>
                    <a:lnTo>
                      <a:pt x="1378" y="631"/>
                    </a:lnTo>
                    <a:lnTo>
                      <a:pt x="1377" y="633"/>
                    </a:lnTo>
                    <a:lnTo>
                      <a:pt x="1377" y="634"/>
                    </a:lnTo>
                    <a:lnTo>
                      <a:pt x="1378" y="639"/>
                    </a:lnTo>
                    <a:lnTo>
                      <a:pt x="1378" y="640"/>
                    </a:lnTo>
                    <a:lnTo>
                      <a:pt x="1380" y="640"/>
                    </a:lnTo>
                    <a:lnTo>
                      <a:pt x="1380" y="642"/>
                    </a:lnTo>
                    <a:lnTo>
                      <a:pt x="1383" y="645"/>
                    </a:lnTo>
                    <a:lnTo>
                      <a:pt x="1383" y="647"/>
                    </a:lnTo>
                    <a:lnTo>
                      <a:pt x="1385" y="648"/>
                    </a:lnTo>
                    <a:lnTo>
                      <a:pt x="1386" y="650"/>
                    </a:lnTo>
                    <a:lnTo>
                      <a:pt x="1386" y="652"/>
                    </a:lnTo>
                    <a:lnTo>
                      <a:pt x="1388" y="653"/>
                    </a:lnTo>
                    <a:lnTo>
                      <a:pt x="1389" y="656"/>
                    </a:lnTo>
                    <a:lnTo>
                      <a:pt x="1391" y="658"/>
                    </a:lnTo>
                    <a:lnTo>
                      <a:pt x="1391" y="659"/>
                    </a:lnTo>
                    <a:lnTo>
                      <a:pt x="1393" y="661"/>
                    </a:lnTo>
                    <a:lnTo>
                      <a:pt x="1394" y="663"/>
                    </a:lnTo>
                    <a:lnTo>
                      <a:pt x="1396" y="664"/>
                    </a:lnTo>
                    <a:lnTo>
                      <a:pt x="1396" y="666"/>
                    </a:lnTo>
                    <a:lnTo>
                      <a:pt x="1397" y="667"/>
                    </a:lnTo>
                    <a:lnTo>
                      <a:pt x="1397" y="669"/>
                    </a:lnTo>
                    <a:lnTo>
                      <a:pt x="1399" y="672"/>
                    </a:lnTo>
                    <a:lnTo>
                      <a:pt x="1399" y="675"/>
                    </a:lnTo>
                    <a:lnTo>
                      <a:pt x="1399" y="677"/>
                    </a:lnTo>
                    <a:lnTo>
                      <a:pt x="1399" y="682"/>
                    </a:lnTo>
                    <a:lnTo>
                      <a:pt x="1399" y="686"/>
                    </a:lnTo>
                    <a:lnTo>
                      <a:pt x="1399" y="690"/>
                    </a:lnTo>
                    <a:lnTo>
                      <a:pt x="1400" y="691"/>
                    </a:lnTo>
                    <a:lnTo>
                      <a:pt x="1400" y="694"/>
                    </a:lnTo>
                    <a:lnTo>
                      <a:pt x="1400" y="696"/>
                    </a:lnTo>
                    <a:lnTo>
                      <a:pt x="1400" y="697"/>
                    </a:lnTo>
                    <a:lnTo>
                      <a:pt x="1400" y="699"/>
                    </a:lnTo>
                    <a:lnTo>
                      <a:pt x="1399" y="702"/>
                    </a:lnTo>
                    <a:lnTo>
                      <a:pt x="1399" y="705"/>
                    </a:lnTo>
                    <a:lnTo>
                      <a:pt x="1399" y="709"/>
                    </a:lnTo>
                    <a:lnTo>
                      <a:pt x="1399" y="710"/>
                    </a:lnTo>
                    <a:lnTo>
                      <a:pt x="1400" y="712"/>
                    </a:lnTo>
                    <a:lnTo>
                      <a:pt x="1402" y="713"/>
                    </a:lnTo>
                    <a:lnTo>
                      <a:pt x="1404" y="713"/>
                    </a:lnTo>
                    <a:lnTo>
                      <a:pt x="1408" y="715"/>
                    </a:lnTo>
                    <a:lnTo>
                      <a:pt x="1410" y="715"/>
                    </a:lnTo>
                    <a:lnTo>
                      <a:pt x="1412" y="715"/>
                    </a:lnTo>
                    <a:lnTo>
                      <a:pt x="1413" y="715"/>
                    </a:lnTo>
                    <a:lnTo>
                      <a:pt x="1413" y="716"/>
                    </a:lnTo>
                    <a:lnTo>
                      <a:pt x="1413" y="718"/>
                    </a:lnTo>
                    <a:lnTo>
                      <a:pt x="1415" y="720"/>
                    </a:lnTo>
                    <a:lnTo>
                      <a:pt x="1416" y="721"/>
                    </a:lnTo>
                    <a:lnTo>
                      <a:pt x="1418" y="724"/>
                    </a:lnTo>
                    <a:lnTo>
                      <a:pt x="1418" y="726"/>
                    </a:lnTo>
                    <a:lnTo>
                      <a:pt x="1419" y="726"/>
                    </a:lnTo>
                    <a:lnTo>
                      <a:pt x="1421" y="729"/>
                    </a:lnTo>
                    <a:lnTo>
                      <a:pt x="1423" y="732"/>
                    </a:lnTo>
                    <a:lnTo>
                      <a:pt x="1426" y="739"/>
                    </a:lnTo>
                    <a:lnTo>
                      <a:pt x="1427" y="742"/>
                    </a:lnTo>
                    <a:lnTo>
                      <a:pt x="1429" y="743"/>
                    </a:lnTo>
                    <a:lnTo>
                      <a:pt x="1431" y="747"/>
                    </a:lnTo>
                    <a:lnTo>
                      <a:pt x="1432" y="748"/>
                    </a:lnTo>
                    <a:lnTo>
                      <a:pt x="1432" y="750"/>
                    </a:lnTo>
                    <a:lnTo>
                      <a:pt x="1432" y="753"/>
                    </a:lnTo>
                    <a:lnTo>
                      <a:pt x="1434" y="756"/>
                    </a:lnTo>
                    <a:lnTo>
                      <a:pt x="1434" y="758"/>
                    </a:lnTo>
                    <a:lnTo>
                      <a:pt x="1434" y="761"/>
                    </a:lnTo>
                    <a:lnTo>
                      <a:pt x="1434" y="764"/>
                    </a:lnTo>
                    <a:lnTo>
                      <a:pt x="1435" y="766"/>
                    </a:lnTo>
                    <a:lnTo>
                      <a:pt x="1435" y="769"/>
                    </a:lnTo>
                    <a:lnTo>
                      <a:pt x="1435" y="772"/>
                    </a:lnTo>
                    <a:lnTo>
                      <a:pt x="1435" y="774"/>
                    </a:lnTo>
                    <a:lnTo>
                      <a:pt x="1435" y="778"/>
                    </a:lnTo>
                    <a:lnTo>
                      <a:pt x="1437" y="781"/>
                    </a:lnTo>
                    <a:lnTo>
                      <a:pt x="1437" y="783"/>
                    </a:lnTo>
                    <a:lnTo>
                      <a:pt x="1437" y="789"/>
                    </a:lnTo>
                    <a:lnTo>
                      <a:pt x="1437" y="793"/>
                    </a:lnTo>
                    <a:lnTo>
                      <a:pt x="1435" y="796"/>
                    </a:lnTo>
                    <a:lnTo>
                      <a:pt x="1434" y="799"/>
                    </a:lnTo>
                    <a:lnTo>
                      <a:pt x="1434" y="800"/>
                    </a:lnTo>
                    <a:lnTo>
                      <a:pt x="1432" y="804"/>
                    </a:lnTo>
                    <a:lnTo>
                      <a:pt x="1429" y="805"/>
                    </a:lnTo>
                    <a:lnTo>
                      <a:pt x="1427" y="808"/>
                    </a:lnTo>
                    <a:lnTo>
                      <a:pt x="1426" y="812"/>
                    </a:lnTo>
                    <a:lnTo>
                      <a:pt x="1424" y="818"/>
                    </a:lnTo>
                    <a:lnTo>
                      <a:pt x="1421" y="821"/>
                    </a:lnTo>
                    <a:lnTo>
                      <a:pt x="1421" y="823"/>
                    </a:lnTo>
                    <a:lnTo>
                      <a:pt x="1419" y="823"/>
                    </a:lnTo>
                    <a:lnTo>
                      <a:pt x="1416" y="824"/>
                    </a:lnTo>
                    <a:lnTo>
                      <a:pt x="1416" y="826"/>
                    </a:lnTo>
                    <a:lnTo>
                      <a:pt x="1416" y="827"/>
                    </a:lnTo>
                    <a:lnTo>
                      <a:pt x="1418" y="831"/>
                    </a:lnTo>
                    <a:lnTo>
                      <a:pt x="1419" y="832"/>
                    </a:lnTo>
                    <a:lnTo>
                      <a:pt x="1421" y="832"/>
                    </a:lnTo>
                    <a:lnTo>
                      <a:pt x="1423" y="832"/>
                    </a:lnTo>
                    <a:lnTo>
                      <a:pt x="1424" y="832"/>
                    </a:lnTo>
                    <a:lnTo>
                      <a:pt x="1424" y="834"/>
                    </a:lnTo>
                    <a:lnTo>
                      <a:pt x="1426" y="837"/>
                    </a:lnTo>
                    <a:lnTo>
                      <a:pt x="1427" y="838"/>
                    </a:lnTo>
                    <a:lnTo>
                      <a:pt x="1427" y="842"/>
                    </a:lnTo>
                    <a:lnTo>
                      <a:pt x="1427" y="843"/>
                    </a:lnTo>
                    <a:lnTo>
                      <a:pt x="1427" y="845"/>
                    </a:lnTo>
                    <a:lnTo>
                      <a:pt x="1427" y="846"/>
                    </a:lnTo>
                    <a:lnTo>
                      <a:pt x="1427" y="848"/>
                    </a:lnTo>
                    <a:lnTo>
                      <a:pt x="1426" y="851"/>
                    </a:lnTo>
                    <a:lnTo>
                      <a:pt x="1424" y="854"/>
                    </a:lnTo>
                    <a:lnTo>
                      <a:pt x="1423" y="858"/>
                    </a:lnTo>
                    <a:lnTo>
                      <a:pt x="1419" y="864"/>
                    </a:lnTo>
                    <a:lnTo>
                      <a:pt x="1418" y="867"/>
                    </a:lnTo>
                    <a:lnTo>
                      <a:pt x="1416" y="870"/>
                    </a:lnTo>
                    <a:lnTo>
                      <a:pt x="1415" y="872"/>
                    </a:lnTo>
                    <a:lnTo>
                      <a:pt x="1413" y="872"/>
                    </a:lnTo>
                    <a:lnTo>
                      <a:pt x="1413" y="875"/>
                    </a:lnTo>
                    <a:lnTo>
                      <a:pt x="1412" y="877"/>
                    </a:lnTo>
                    <a:lnTo>
                      <a:pt x="1412" y="878"/>
                    </a:lnTo>
                    <a:lnTo>
                      <a:pt x="1412" y="880"/>
                    </a:lnTo>
                    <a:lnTo>
                      <a:pt x="1412" y="881"/>
                    </a:lnTo>
                    <a:lnTo>
                      <a:pt x="1412" y="883"/>
                    </a:lnTo>
                    <a:lnTo>
                      <a:pt x="1413" y="886"/>
                    </a:lnTo>
                    <a:lnTo>
                      <a:pt x="1415" y="888"/>
                    </a:lnTo>
                    <a:lnTo>
                      <a:pt x="1416" y="891"/>
                    </a:lnTo>
                    <a:lnTo>
                      <a:pt x="1418" y="894"/>
                    </a:lnTo>
                    <a:lnTo>
                      <a:pt x="1419" y="896"/>
                    </a:lnTo>
                    <a:lnTo>
                      <a:pt x="1421" y="897"/>
                    </a:lnTo>
                    <a:lnTo>
                      <a:pt x="1423" y="900"/>
                    </a:lnTo>
                    <a:lnTo>
                      <a:pt x="1427" y="905"/>
                    </a:lnTo>
                    <a:lnTo>
                      <a:pt x="1427" y="907"/>
                    </a:lnTo>
                    <a:lnTo>
                      <a:pt x="1426" y="913"/>
                    </a:lnTo>
                    <a:lnTo>
                      <a:pt x="1424" y="918"/>
                    </a:lnTo>
                    <a:lnTo>
                      <a:pt x="1423" y="927"/>
                    </a:lnTo>
                    <a:lnTo>
                      <a:pt x="1423" y="929"/>
                    </a:lnTo>
                    <a:lnTo>
                      <a:pt x="1424" y="935"/>
                    </a:lnTo>
                    <a:lnTo>
                      <a:pt x="1424" y="940"/>
                    </a:lnTo>
                    <a:lnTo>
                      <a:pt x="1426" y="943"/>
                    </a:lnTo>
                    <a:lnTo>
                      <a:pt x="1427" y="946"/>
                    </a:lnTo>
                    <a:lnTo>
                      <a:pt x="1429" y="951"/>
                    </a:lnTo>
                    <a:lnTo>
                      <a:pt x="1431" y="953"/>
                    </a:lnTo>
                    <a:lnTo>
                      <a:pt x="1432" y="959"/>
                    </a:lnTo>
                    <a:lnTo>
                      <a:pt x="1434" y="964"/>
                    </a:lnTo>
                    <a:lnTo>
                      <a:pt x="1432" y="967"/>
                    </a:lnTo>
                    <a:lnTo>
                      <a:pt x="1432" y="968"/>
                    </a:lnTo>
                    <a:lnTo>
                      <a:pt x="1431" y="970"/>
                    </a:lnTo>
                    <a:lnTo>
                      <a:pt x="1427" y="970"/>
                    </a:lnTo>
                    <a:lnTo>
                      <a:pt x="1426" y="970"/>
                    </a:lnTo>
                    <a:lnTo>
                      <a:pt x="1426" y="972"/>
                    </a:lnTo>
                    <a:lnTo>
                      <a:pt x="1426" y="973"/>
                    </a:lnTo>
                    <a:lnTo>
                      <a:pt x="1426" y="975"/>
                    </a:lnTo>
                    <a:lnTo>
                      <a:pt x="1426" y="978"/>
                    </a:lnTo>
                    <a:lnTo>
                      <a:pt x="1426" y="980"/>
                    </a:lnTo>
                    <a:lnTo>
                      <a:pt x="1426" y="981"/>
                    </a:lnTo>
                    <a:lnTo>
                      <a:pt x="1424" y="983"/>
                    </a:lnTo>
                    <a:lnTo>
                      <a:pt x="1424" y="984"/>
                    </a:lnTo>
                    <a:lnTo>
                      <a:pt x="1424" y="986"/>
                    </a:lnTo>
                    <a:lnTo>
                      <a:pt x="1424" y="987"/>
                    </a:lnTo>
                    <a:lnTo>
                      <a:pt x="1424" y="991"/>
                    </a:lnTo>
                    <a:lnTo>
                      <a:pt x="1424" y="992"/>
                    </a:lnTo>
                    <a:lnTo>
                      <a:pt x="1424" y="995"/>
                    </a:lnTo>
                    <a:lnTo>
                      <a:pt x="1423" y="997"/>
                    </a:lnTo>
                    <a:lnTo>
                      <a:pt x="1423" y="999"/>
                    </a:lnTo>
                    <a:lnTo>
                      <a:pt x="1423" y="1002"/>
                    </a:lnTo>
                    <a:lnTo>
                      <a:pt x="1423" y="1008"/>
                    </a:lnTo>
                    <a:lnTo>
                      <a:pt x="1423" y="1011"/>
                    </a:lnTo>
                    <a:lnTo>
                      <a:pt x="1423" y="1013"/>
                    </a:lnTo>
                    <a:lnTo>
                      <a:pt x="1421" y="1018"/>
                    </a:lnTo>
                    <a:lnTo>
                      <a:pt x="1421" y="1019"/>
                    </a:lnTo>
                    <a:lnTo>
                      <a:pt x="1421" y="1022"/>
                    </a:lnTo>
                    <a:lnTo>
                      <a:pt x="1419" y="1025"/>
                    </a:lnTo>
                    <a:lnTo>
                      <a:pt x="1418" y="1030"/>
                    </a:lnTo>
                    <a:lnTo>
                      <a:pt x="1416" y="1032"/>
                    </a:lnTo>
                    <a:lnTo>
                      <a:pt x="1415" y="1035"/>
                    </a:lnTo>
                    <a:lnTo>
                      <a:pt x="1413" y="1040"/>
                    </a:lnTo>
                    <a:lnTo>
                      <a:pt x="1415" y="1043"/>
                    </a:lnTo>
                    <a:lnTo>
                      <a:pt x="1416" y="1046"/>
                    </a:lnTo>
                    <a:lnTo>
                      <a:pt x="1416" y="1048"/>
                    </a:lnTo>
                    <a:lnTo>
                      <a:pt x="1416" y="1051"/>
                    </a:lnTo>
                    <a:lnTo>
                      <a:pt x="1415" y="1054"/>
                    </a:lnTo>
                    <a:lnTo>
                      <a:pt x="1415" y="1056"/>
                    </a:lnTo>
                    <a:lnTo>
                      <a:pt x="1416" y="1056"/>
                    </a:lnTo>
                    <a:lnTo>
                      <a:pt x="1416" y="1057"/>
                    </a:lnTo>
                    <a:lnTo>
                      <a:pt x="1416" y="1059"/>
                    </a:lnTo>
                    <a:lnTo>
                      <a:pt x="1418" y="1060"/>
                    </a:lnTo>
                    <a:lnTo>
                      <a:pt x="1418" y="1062"/>
                    </a:lnTo>
                    <a:lnTo>
                      <a:pt x="1418" y="1063"/>
                    </a:lnTo>
                    <a:lnTo>
                      <a:pt x="1419" y="1065"/>
                    </a:lnTo>
                    <a:lnTo>
                      <a:pt x="1419" y="1067"/>
                    </a:lnTo>
                    <a:lnTo>
                      <a:pt x="1419" y="1068"/>
                    </a:lnTo>
                    <a:lnTo>
                      <a:pt x="1419" y="1070"/>
                    </a:lnTo>
                    <a:lnTo>
                      <a:pt x="1418" y="1070"/>
                    </a:lnTo>
                    <a:lnTo>
                      <a:pt x="1418" y="1071"/>
                    </a:lnTo>
                    <a:lnTo>
                      <a:pt x="1416" y="1071"/>
                    </a:lnTo>
                    <a:lnTo>
                      <a:pt x="1415" y="1071"/>
                    </a:lnTo>
                    <a:lnTo>
                      <a:pt x="1413" y="1071"/>
                    </a:lnTo>
                    <a:lnTo>
                      <a:pt x="1412" y="1071"/>
                    </a:lnTo>
                    <a:lnTo>
                      <a:pt x="1410" y="1070"/>
                    </a:lnTo>
                    <a:lnTo>
                      <a:pt x="1408" y="1070"/>
                    </a:lnTo>
                    <a:lnTo>
                      <a:pt x="1405" y="1070"/>
                    </a:lnTo>
                    <a:lnTo>
                      <a:pt x="1404" y="1068"/>
                    </a:lnTo>
                    <a:lnTo>
                      <a:pt x="1400" y="1068"/>
                    </a:lnTo>
                    <a:lnTo>
                      <a:pt x="1397" y="1067"/>
                    </a:lnTo>
                    <a:lnTo>
                      <a:pt x="1396" y="1067"/>
                    </a:lnTo>
                    <a:lnTo>
                      <a:pt x="1394" y="1067"/>
                    </a:lnTo>
                    <a:lnTo>
                      <a:pt x="1393" y="1067"/>
                    </a:lnTo>
                    <a:lnTo>
                      <a:pt x="1391" y="1068"/>
                    </a:lnTo>
                    <a:lnTo>
                      <a:pt x="1389" y="1068"/>
                    </a:lnTo>
                    <a:lnTo>
                      <a:pt x="1388" y="1068"/>
                    </a:lnTo>
                    <a:lnTo>
                      <a:pt x="1386" y="1068"/>
                    </a:lnTo>
                    <a:lnTo>
                      <a:pt x="1386" y="1070"/>
                    </a:lnTo>
                    <a:lnTo>
                      <a:pt x="1383" y="1070"/>
                    </a:lnTo>
                    <a:lnTo>
                      <a:pt x="1381" y="1071"/>
                    </a:lnTo>
                    <a:lnTo>
                      <a:pt x="1380" y="1071"/>
                    </a:lnTo>
                    <a:lnTo>
                      <a:pt x="1378" y="1073"/>
                    </a:lnTo>
                    <a:lnTo>
                      <a:pt x="1378" y="1078"/>
                    </a:lnTo>
                    <a:lnTo>
                      <a:pt x="1377" y="1079"/>
                    </a:lnTo>
                    <a:lnTo>
                      <a:pt x="1377" y="1081"/>
                    </a:lnTo>
                    <a:lnTo>
                      <a:pt x="1375" y="1083"/>
                    </a:lnTo>
                    <a:lnTo>
                      <a:pt x="1377" y="1086"/>
                    </a:lnTo>
                    <a:lnTo>
                      <a:pt x="1377" y="1089"/>
                    </a:lnTo>
                    <a:lnTo>
                      <a:pt x="1378" y="1089"/>
                    </a:lnTo>
                    <a:lnTo>
                      <a:pt x="1380" y="1092"/>
                    </a:lnTo>
                    <a:lnTo>
                      <a:pt x="1383" y="1094"/>
                    </a:lnTo>
                    <a:lnTo>
                      <a:pt x="1385" y="1095"/>
                    </a:lnTo>
                    <a:lnTo>
                      <a:pt x="1386" y="1097"/>
                    </a:lnTo>
                    <a:lnTo>
                      <a:pt x="1388" y="1097"/>
                    </a:lnTo>
                    <a:lnTo>
                      <a:pt x="1391" y="1098"/>
                    </a:lnTo>
                    <a:lnTo>
                      <a:pt x="1393" y="1098"/>
                    </a:lnTo>
                    <a:lnTo>
                      <a:pt x="1396" y="1102"/>
                    </a:lnTo>
                    <a:lnTo>
                      <a:pt x="1399" y="1103"/>
                    </a:lnTo>
                    <a:lnTo>
                      <a:pt x="1402" y="1105"/>
                    </a:lnTo>
                    <a:lnTo>
                      <a:pt x="1404" y="1105"/>
                    </a:lnTo>
                    <a:lnTo>
                      <a:pt x="1404" y="1106"/>
                    </a:lnTo>
                    <a:lnTo>
                      <a:pt x="1405" y="1108"/>
                    </a:lnTo>
                    <a:lnTo>
                      <a:pt x="1405" y="1111"/>
                    </a:lnTo>
                    <a:lnTo>
                      <a:pt x="1405" y="1116"/>
                    </a:lnTo>
                    <a:lnTo>
                      <a:pt x="1404" y="1121"/>
                    </a:lnTo>
                    <a:lnTo>
                      <a:pt x="1404" y="1125"/>
                    </a:lnTo>
                    <a:lnTo>
                      <a:pt x="1404" y="1128"/>
                    </a:lnTo>
                    <a:lnTo>
                      <a:pt x="1402" y="1128"/>
                    </a:lnTo>
                    <a:lnTo>
                      <a:pt x="1400" y="1132"/>
                    </a:lnTo>
                    <a:lnTo>
                      <a:pt x="1399" y="1133"/>
                    </a:lnTo>
                    <a:lnTo>
                      <a:pt x="1397" y="1135"/>
                    </a:lnTo>
                    <a:lnTo>
                      <a:pt x="1397" y="1136"/>
                    </a:lnTo>
                    <a:lnTo>
                      <a:pt x="1397" y="1138"/>
                    </a:lnTo>
                    <a:lnTo>
                      <a:pt x="1397" y="1140"/>
                    </a:lnTo>
                    <a:lnTo>
                      <a:pt x="1396" y="1141"/>
                    </a:lnTo>
                    <a:lnTo>
                      <a:pt x="1393" y="1144"/>
                    </a:lnTo>
                    <a:lnTo>
                      <a:pt x="1391" y="1146"/>
                    </a:lnTo>
                    <a:lnTo>
                      <a:pt x="1391" y="1147"/>
                    </a:lnTo>
                    <a:lnTo>
                      <a:pt x="1389" y="1151"/>
                    </a:lnTo>
                    <a:lnTo>
                      <a:pt x="1388" y="1152"/>
                    </a:lnTo>
                    <a:lnTo>
                      <a:pt x="1386" y="1154"/>
                    </a:lnTo>
                    <a:lnTo>
                      <a:pt x="1385" y="1155"/>
                    </a:lnTo>
                    <a:lnTo>
                      <a:pt x="1383" y="1157"/>
                    </a:lnTo>
                    <a:lnTo>
                      <a:pt x="1381" y="1159"/>
                    </a:lnTo>
                    <a:lnTo>
                      <a:pt x="1383" y="1160"/>
                    </a:lnTo>
                    <a:lnTo>
                      <a:pt x="1385" y="1163"/>
                    </a:lnTo>
                    <a:lnTo>
                      <a:pt x="1385" y="1166"/>
                    </a:lnTo>
                    <a:lnTo>
                      <a:pt x="1386" y="1168"/>
                    </a:lnTo>
                    <a:lnTo>
                      <a:pt x="1388" y="1171"/>
                    </a:lnTo>
                    <a:lnTo>
                      <a:pt x="1388" y="1173"/>
                    </a:lnTo>
                    <a:lnTo>
                      <a:pt x="1388" y="1174"/>
                    </a:lnTo>
                    <a:lnTo>
                      <a:pt x="1388" y="1176"/>
                    </a:lnTo>
                    <a:lnTo>
                      <a:pt x="1388" y="1178"/>
                    </a:lnTo>
                    <a:lnTo>
                      <a:pt x="1388" y="1179"/>
                    </a:lnTo>
                    <a:lnTo>
                      <a:pt x="1386" y="1179"/>
                    </a:lnTo>
                    <a:lnTo>
                      <a:pt x="1385" y="1179"/>
                    </a:lnTo>
                    <a:lnTo>
                      <a:pt x="1383" y="1179"/>
                    </a:lnTo>
                    <a:lnTo>
                      <a:pt x="1381" y="1179"/>
                    </a:lnTo>
                    <a:lnTo>
                      <a:pt x="1380" y="1179"/>
                    </a:lnTo>
                    <a:lnTo>
                      <a:pt x="1378" y="1179"/>
                    </a:lnTo>
                    <a:lnTo>
                      <a:pt x="1377" y="1179"/>
                    </a:lnTo>
                    <a:lnTo>
                      <a:pt x="1375" y="1179"/>
                    </a:lnTo>
                    <a:lnTo>
                      <a:pt x="1374" y="1178"/>
                    </a:lnTo>
                    <a:lnTo>
                      <a:pt x="1372" y="1178"/>
                    </a:lnTo>
                    <a:lnTo>
                      <a:pt x="1370" y="1178"/>
                    </a:lnTo>
                    <a:lnTo>
                      <a:pt x="1369" y="1178"/>
                    </a:lnTo>
                    <a:lnTo>
                      <a:pt x="1367" y="1178"/>
                    </a:lnTo>
                    <a:lnTo>
                      <a:pt x="1366" y="1178"/>
                    </a:lnTo>
                    <a:lnTo>
                      <a:pt x="1364" y="1176"/>
                    </a:lnTo>
                    <a:lnTo>
                      <a:pt x="1362" y="1176"/>
                    </a:lnTo>
                    <a:lnTo>
                      <a:pt x="1359" y="1176"/>
                    </a:lnTo>
                    <a:lnTo>
                      <a:pt x="1358" y="1174"/>
                    </a:lnTo>
                    <a:lnTo>
                      <a:pt x="1356" y="1174"/>
                    </a:lnTo>
                    <a:lnTo>
                      <a:pt x="1353" y="1174"/>
                    </a:lnTo>
                    <a:lnTo>
                      <a:pt x="1350" y="1173"/>
                    </a:lnTo>
                    <a:lnTo>
                      <a:pt x="1348" y="1171"/>
                    </a:lnTo>
                    <a:lnTo>
                      <a:pt x="1345" y="1171"/>
                    </a:lnTo>
                    <a:lnTo>
                      <a:pt x="1343" y="1171"/>
                    </a:lnTo>
                    <a:lnTo>
                      <a:pt x="1342" y="1170"/>
                    </a:lnTo>
                    <a:lnTo>
                      <a:pt x="1340" y="1170"/>
                    </a:lnTo>
                    <a:lnTo>
                      <a:pt x="1340" y="1171"/>
                    </a:lnTo>
                    <a:lnTo>
                      <a:pt x="1339" y="1171"/>
                    </a:lnTo>
                    <a:lnTo>
                      <a:pt x="1337" y="1171"/>
                    </a:lnTo>
                    <a:lnTo>
                      <a:pt x="1337" y="1173"/>
                    </a:lnTo>
                    <a:lnTo>
                      <a:pt x="1335" y="1173"/>
                    </a:lnTo>
                    <a:lnTo>
                      <a:pt x="1335" y="1174"/>
                    </a:lnTo>
                    <a:lnTo>
                      <a:pt x="1334" y="1176"/>
                    </a:lnTo>
                    <a:lnTo>
                      <a:pt x="1335" y="1181"/>
                    </a:lnTo>
                    <a:lnTo>
                      <a:pt x="1335" y="1182"/>
                    </a:lnTo>
                    <a:lnTo>
                      <a:pt x="1337" y="1185"/>
                    </a:lnTo>
                    <a:lnTo>
                      <a:pt x="1337" y="1189"/>
                    </a:lnTo>
                    <a:lnTo>
                      <a:pt x="1339" y="1192"/>
                    </a:lnTo>
                    <a:lnTo>
                      <a:pt x="1340" y="1193"/>
                    </a:lnTo>
                    <a:lnTo>
                      <a:pt x="1340" y="1197"/>
                    </a:lnTo>
                    <a:lnTo>
                      <a:pt x="1342" y="1198"/>
                    </a:lnTo>
                    <a:lnTo>
                      <a:pt x="1343" y="1201"/>
                    </a:lnTo>
                    <a:lnTo>
                      <a:pt x="1345" y="1205"/>
                    </a:lnTo>
                    <a:lnTo>
                      <a:pt x="1347" y="1208"/>
                    </a:lnTo>
                    <a:lnTo>
                      <a:pt x="1347" y="1212"/>
                    </a:lnTo>
                    <a:lnTo>
                      <a:pt x="1348" y="1214"/>
                    </a:lnTo>
                    <a:lnTo>
                      <a:pt x="1348" y="1217"/>
                    </a:lnTo>
                    <a:lnTo>
                      <a:pt x="1347" y="1219"/>
                    </a:lnTo>
                    <a:lnTo>
                      <a:pt x="1347" y="1220"/>
                    </a:lnTo>
                    <a:lnTo>
                      <a:pt x="1347" y="1224"/>
                    </a:lnTo>
                    <a:lnTo>
                      <a:pt x="1347" y="1225"/>
                    </a:lnTo>
                    <a:lnTo>
                      <a:pt x="1347" y="1227"/>
                    </a:lnTo>
                    <a:lnTo>
                      <a:pt x="1348" y="1230"/>
                    </a:lnTo>
                    <a:lnTo>
                      <a:pt x="1348" y="1231"/>
                    </a:lnTo>
                    <a:lnTo>
                      <a:pt x="1347" y="1236"/>
                    </a:lnTo>
                    <a:lnTo>
                      <a:pt x="1347" y="1239"/>
                    </a:lnTo>
                    <a:lnTo>
                      <a:pt x="1347" y="1243"/>
                    </a:lnTo>
                    <a:lnTo>
                      <a:pt x="1347" y="1247"/>
                    </a:lnTo>
                    <a:lnTo>
                      <a:pt x="1347" y="1249"/>
                    </a:lnTo>
                    <a:lnTo>
                      <a:pt x="1345" y="1252"/>
                    </a:lnTo>
                    <a:lnTo>
                      <a:pt x="1343" y="1255"/>
                    </a:lnTo>
                    <a:lnTo>
                      <a:pt x="1342" y="1258"/>
                    </a:lnTo>
                    <a:lnTo>
                      <a:pt x="1340" y="1260"/>
                    </a:lnTo>
                    <a:lnTo>
                      <a:pt x="1339" y="1262"/>
                    </a:lnTo>
                    <a:lnTo>
                      <a:pt x="1337" y="1263"/>
                    </a:lnTo>
                    <a:lnTo>
                      <a:pt x="1332" y="1266"/>
                    </a:lnTo>
                    <a:lnTo>
                      <a:pt x="1331" y="1266"/>
                    </a:lnTo>
                    <a:lnTo>
                      <a:pt x="1329" y="1268"/>
                    </a:lnTo>
                    <a:lnTo>
                      <a:pt x="1328" y="1269"/>
                    </a:lnTo>
                    <a:lnTo>
                      <a:pt x="1324" y="1273"/>
                    </a:lnTo>
                    <a:lnTo>
                      <a:pt x="1321" y="1274"/>
                    </a:lnTo>
                    <a:lnTo>
                      <a:pt x="1320" y="1276"/>
                    </a:lnTo>
                    <a:lnTo>
                      <a:pt x="1318" y="1277"/>
                    </a:lnTo>
                    <a:lnTo>
                      <a:pt x="1318" y="1279"/>
                    </a:lnTo>
                    <a:lnTo>
                      <a:pt x="1320" y="1282"/>
                    </a:lnTo>
                    <a:lnTo>
                      <a:pt x="1320" y="1284"/>
                    </a:lnTo>
                    <a:lnTo>
                      <a:pt x="1320" y="1285"/>
                    </a:lnTo>
                    <a:lnTo>
                      <a:pt x="1321" y="1285"/>
                    </a:lnTo>
                    <a:lnTo>
                      <a:pt x="1323" y="1285"/>
                    </a:lnTo>
                    <a:lnTo>
                      <a:pt x="1324" y="1285"/>
                    </a:lnTo>
                    <a:lnTo>
                      <a:pt x="1329" y="1285"/>
                    </a:lnTo>
                    <a:lnTo>
                      <a:pt x="1331" y="1287"/>
                    </a:lnTo>
                    <a:lnTo>
                      <a:pt x="1334" y="1288"/>
                    </a:lnTo>
                    <a:lnTo>
                      <a:pt x="1337" y="1290"/>
                    </a:lnTo>
                    <a:lnTo>
                      <a:pt x="1339" y="1292"/>
                    </a:lnTo>
                    <a:lnTo>
                      <a:pt x="1340" y="1292"/>
                    </a:lnTo>
                    <a:lnTo>
                      <a:pt x="1343" y="1295"/>
                    </a:lnTo>
                    <a:lnTo>
                      <a:pt x="1345" y="1296"/>
                    </a:lnTo>
                    <a:lnTo>
                      <a:pt x="1347" y="1298"/>
                    </a:lnTo>
                    <a:lnTo>
                      <a:pt x="1348" y="1298"/>
                    </a:lnTo>
                    <a:lnTo>
                      <a:pt x="1348" y="1300"/>
                    </a:lnTo>
                    <a:lnTo>
                      <a:pt x="1348" y="1301"/>
                    </a:lnTo>
                    <a:lnTo>
                      <a:pt x="1348" y="1304"/>
                    </a:lnTo>
                    <a:lnTo>
                      <a:pt x="1347" y="1306"/>
                    </a:lnTo>
                    <a:lnTo>
                      <a:pt x="1347" y="1309"/>
                    </a:lnTo>
                    <a:lnTo>
                      <a:pt x="1347" y="1312"/>
                    </a:lnTo>
                    <a:lnTo>
                      <a:pt x="1347" y="1314"/>
                    </a:lnTo>
                    <a:lnTo>
                      <a:pt x="1345" y="1315"/>
                    </a:lnTo>
                    <a:lnTo>
                      <a:pt x="1343" y="1319"/>
                    </a:lnTo>
                    <a:lnTo>
                      <a:pt x="1342" y="1322"/>
                    </a:lnTo>
                    <a:lnTo>
                      <a:pt x="1342" y="1325"/>
                    </a:lnTo>
                    <a:lnTo>
                      <a:pt x="1340" y="1327"/>
                    </a:lnTo>
                    <a:lnTo>
                      <a:pt x="1340" y="1328"/>
                    </a:lnTo>
                    <a:lnTo>
                      <a:pt x="1339" y="1331"/>
                    </a:lnTo>
                    <a:lnTo>
                      <a:pt x="1335" y="1334"/>
                    </a:lnTo>
                    <a:lnTo>
                      <a:pt x="1334" y="1336"/>
                    </a:lnTo>
                    <a:lnTo>
                      <a:pt x="1331" y="1339"/>
                    </a:lnTo>
                    <a:lnTo>
                      <a:pt x="1329" y="1341"/>
                    </a:lnTo>
                    <a:lnTo>
                      <a:pt x="1328" y="1341"/>
                    </a:lnTo>
                    <a:lnTo>
                      <a:pt x="1326" y="1344"/>
                    </a:lnTo>
                    <a:lnTo>
                      <a:pt x="1326" y="1347"/>
                    </a:lnTo>
                    <a:lnTo>
                      <a:pt x="1324" y="1347"/>
                    </a:lnTo>
                    <a:lnTo>
                      <a:pt x="1324" y="1349"/>
                    </a:lnTo>
                    <a:lnTo>
                      <a:pt x="1324" y="1350"/>
                    </a:lnTo>
                    <a:lnTo>
                      <a:pt x="1321" y="1350"/>
                    </a:lnTo>
                    <a:lnTo>
                      <a:pt x="1320" y="1350"/>
                    </a:lnTo>
                    <a:lnTo>
                      <a:pt x="1316" y="1350"/>
                    </a:lnTo>
                    <a:lnTo>
                      <a:pt x="1315" y="1352"/>
                    </a:lnTo>
                    <a:lnTo>
                      <a:pt x="1312" y="1352"/>
                    </a:lnTo>
                    <a:lnTo>
                      <a:pt x="1312" y="1353"/>
                    </a:lnTo>
                    <a:lnTo>
                      <a:pt x="1310" y="1357"/>
                    </a:lnTo>
                    <a:lnTo>
                      <a:pt x="1310" y="1363"/>
                    </a:lnTo>
                    <a:lnTo>
                      <a:pt x="1312" y="1372"/>
                    </a:lnTo>
                    <a:lnTo>
                      <a:pt x="1312" y="1384"/>
                    </a:lnTo>
                    <a:lnTo>
                      <a:pt x="1310" y="1395"/>
                    </a:lnTo>
                    <a:lnTo>
                      <a:pt x="1310" y="1407"/>
                    </a:lnTo>
                    <a:lnTo>
                      <a:pt x="1312" y="1418"/>
                    </a:lnTo>
                    <a:lnTo>
                      <a:pt x="1312" y="1428"/>
                    </a:lnTo>
                    <a:lnTo>
                      <a:pt x="1309" y="1430"/>
                    </a:lnTo>
                    <a:lnTo>
                      <a:pt x="1301" y="1434"/>
                    </a:lnTo>
                    <a:lnTo>
                      <a:pt x="1297" y="1434"/>
                    </a:lnTo>
                    <a:lnTo>
                      <a:pt x="1294" y="1436"/>
                    </a:lnTo>
                    <a:lnTo>
                      <a:pt x="1285" y="1437"/>
                    </a:lnTo>
                    <a:lnTo>
                      <a:pt x="1277" y="1441"/>
                    </a:lnTo>
                    <a:lnTo>
                      <a:pt x="1275" y="1444"/>
                    </a:lnTo>
                    <a:lnTo>
                      <a:pt x="1272" y="1444"/>
                    </a:lnTo>
                    <a:lnTo>
                      <a:pt x="1267" y="1441"/>
                    </a:lnTo>
                    <a:lnTo>
                      <a:pt x="1261" y="1441"/>
                    </a:lnTo>
                    <a:lnTo>
                      <a:pt x="1258" y="1444"/>
                    </a:lnTo>
                    <a:lnTo>
                      <a:pt x="1253" y="1452"/>
                    </a:lnTo>
                    <a:lnTo>
                      <a:pt x="1248" y="1458"/>
                    </a:lnTo>
                    <a:lnTo>
                      <a:pt x="1244" y="1461"/>
                    </a:lnTo>
                    <a:lnTo>
                      <a:pt x="1239" y="1463"/>
                    </a:lnTo>
                    <a:lnTo>
                      <a:pt x="1234" y="1461"/>
                    </a:lnTo>
                    <a:lnTo>
                      <a:pt x="1231" y="1455"/>
                    </a:lnTo>
                    <a:lnTo>
                      <a:pt x="1228" y="1449"/>
                    </a:lnTo>
                    <a:lnTo>
                      <a:pt x="1223" y="1444"/>
                    </a:lnTo>
                    <a:lnTo>
                      <a:pt x="1215" y="1439"/>
                    </a:lnTo>
                    <a:lnTo>
                      <a:pt x="1210" y="1439"/>
                    </a:lnTo>
                    <a:lnTo>
                      <a:pt x="1206" y="1445"/>
                    </a:lnTo>
                    <a:lnTo>
                      <a:pt x="1204" y="1456"/>
                    </a:lnTo>
                    <a:lnTo>
                      <a:pt x="1202" y="1464"/>
                    </a:lnTo>
                    <a:lnTo>
                      <a:pt x="1202" y="1468"/>
                    </a:lnTo>
                    <a:lnTo>
                      <a:pt x="1199" y="1468"/>
                    </a:lnTo>
                    <a:lnTo>
                      <a:pt x="1198" y="1463"/>
                    </a:lnTo>
                    <a:lnTo>
                      <a:pt x="1193" y="1458"/>
                    </a:lnTo>
                    <a:lnTo>
                      <a:pt x="1190" y="1456"/>
                    </a:lnTo>
                    <a:lnTo>
                      <a:pt x="1188" y="1455"/>
                    </a:lnTo>
                    <a:lnTo>
                      <a:pt x="1185" y="1461"/>
                    </a:lnTo>
                    <a:lnTo>
                      <a:pt x="1183" y="1468"/>
                    </a:lnTo>
                    <a:lnTo>
                      <a:pt x="1182" y="1469"/>
                    </a:lnTo>
                    <a:lnTo>
                      <a:pt x="1179" y="1464"/>
                    </a:lnTo>
                    <a:lnTo>
                      <a:pt x="1177" y="1458"/>
                    </a:lnTo>
                    <a:lnTo>
                      <a:pt x="1177" y="1450"/>
                    </a:lnTo>
                    <a:lnTo>
                      <a:pt x="1174" y="1442"/>
                    </a:lnTo>
                    <a:lnTo>
                      <a:pt x="1169" y="1434"/>
                    </a:lnTo>
                    <a:lnTo>
                      <a:pt x="1168" y="1430"/>
                    </a:lnTo>
                    <a:lnTo>
                      <a:pt x="1169" y="1425"/>
                    </a:lnTo>
                    <a:lnTo>
                      <a:pt x="1168" y="1417"/>
                    </a:lnTo>
                    <a:lnTo>
                      <a:pt x="1168" y="1409"/>
                    </a:lnTo>
                    <a:lnTo>
                      <a:pt x="1168" y="1404"/>
                    </a:lnTo>
                    <a:lnTo>
                      <a:pt x="1171" y="1398"/>
                    </a:lnTo>
                    <a:lnTo>
                      <a:pt x="1176" y="1393"/>
                    </a:lnTo>
                    <a:lnTo>
                      <a:pt x="1182" y="1385"/>
                    </a:lnTo>
                    <a:lnTo>
                      <a:pt x="1187" y="1376"/>
                    </a:lnTo>
                    <a:lnTo>
                      <a:pt x="1191" y="1369"/>
                    </a:lnTo>
                    <a:lnTo>
                      <a:pt x="1191" y="1366"/>
                    </a:lnTo>
                    <a:lnTo>
                      <a:pt x="1196" y="1361"/>
                    </a:lnTo>
                    <a:lnTo>
                      <a:pt x="1198" y="1355"/>
                    </a:lnTo>
                    <a:lnTo>
                      <a:pt x="1195" y="1347"/>
                    </a:lnTo>
                    <a:lnTo>
                      <a:pt x="1190" y="1342"/>
                    </a:lnTo>
                    <a:lnTo>
                      <a:pt x="1185" y="1339"/>
                    </a:lnTo>
                    <a:lnTo>
                      <a:pt x="1182" y="1341"/>
                    </a:lnTo>
                    <a:lnTo>
                      <a:pt x="1179" y="1341"/>
                    </a:lnTo>
                    <a:lnTo>
                      <a:pt x="1176" y="1341"/>
                    </a:lnTo>
                    <a:lnTo>
                      <a:pt x="1172" y="1339"/>
                    </a:lnTo>
                    <a:lnTo>
                      <a:pt x="1169" y="1336"/>
                    </a:lnTo>
                    <a:lnTo>
                      <a:pt x="1168" y="1330"/>
                    </a:lnTo>
                    <a:lnTo>
                      <a:pt x="1163" y="1322"/>
                    </a:lnTo>
                    <a:lnTo>
                      <a:pt x="1161" y="1314"/>
                    </a:lnTo>
                    <a:lnTo>
                      <a:pt x="1161" y="1308"/>
                    </a:lnTo>
                    <a:lnTo>
                      <a:pt x="1161" y="1301"/>
                    </a:lnTo>
                    <a:lnTo>
                      <a:pt x="1161" y="1298"/>
                    </a:lnTo>
                    <a:lnTo>
                      <a:pt x="1161" y="1296"/>
                    </a:lnTo>
                    <a:lnTo>
                      <a:pt x="1163" y="1295"/>
                    </a:lnTo>
                    <a:lnTo>
                      <a:pt x="1164" y="1296"/>
                    </a:lnTo>
                    <a:lnTo>
                      <a:pt x="1168" y="1296"/>
                    </a:lnTo>
                    <a:lnTo>
                      <a:pt x="1172" y="1303"/>
                    </a:lnTo>
                    <a:lnTo>
                      <a:pt x="1176" y="1306"/>
                    </a:lnTo>
                    <a:lnTo>
                      <a:pt x="1177" y="1306"/>
                    </a:lnTo>
                    <a:lnTo>
                      <a:pt x="1179" y="1303"/>
                    </a:lnTo>
                    <a:lnTo>
                      <a:pt x="1182" y="1301"/>
                    </a:lnTo>
                    <a:lnTo>
                      <a:pt x="1188" y="1301"/>
                    </a:lnTo>
                    <a:lnTo>
                      <a:pt x="1193" y="1304"/>
                    </a:lnTo>
                    <a:lnTo>
                      <a:pt x="1199" y="1306"/>
                    </a:lnTo>
                    <a:lnTo>
                      <a:pt x="1202" y="1301"/>
                    </a:lnTo>
                    <a:lnTo>
                      <a:pt x="1209" y="1295"/>
                    </a:lnTo>
                    <a:lnTo>
                      <a:pt x="1214" y="1290"/>
                    </a:lnTo>
                    <a:lnTo>
                      <a:pt x="1217" y="1290"/>
                    </a:lnTo>
                    <a:lnTo>
                      <a:pt x="1221" y="1288"/>
                    </a:lnTo>
                    <a:lnTo>
                      <a:pt x="1229" y="1290"/>
                    </a:lnTo>
                    <a:lnTo>
                      <a:pt x="1236" y="1292"/>
                    </a:lnTo>
                    <a:lnTo>
                      <a:pt x="1236" y="1293"/>
                    </a:lnTo>
                    <a:lnTo>
                      <a:pt x="1236" y="1292"/>
                    </a:lnTo>
                    <a:lnTo>
                      <a:pt x="1234" y="1292"/>
                    </a:lnTo>
                    <a:lnTo>
                      <a:pt x="1234" y="1290"/>
                    </a:lnTo>
                    <a:lnTo>
                      <a:pt x="1233" y="1290"/>
                    </a:lnTo>
                    <a:lnTo>
                      <a:pt x="1233" y="1288"/>
                    </a:lnTo>
                    <a:lnTo>
                      <a:pt x="1231" y="1288"/>
                    </a:lnTo>
                    <a:lnTo>
                      <a:pt x="1229" y="1288"/>
                    </a:lnTo>
                    <a:lnTo>
                      <a:pt x="1228" y="1288"/>
                    </a:lnTo>
                    <a:lnTo>
                      <a:pt x="1226" y="1288"/>
                    </a:lnTo>
                    <a:lnTo>
                      <a:pt x="1225" y="1288"/>
                    </a:lnTo>
                    <a:lnTo>
                      <a:pt x="1225" y="1287"/>
                    </a:lnTo>
                    <a:lnTo>
                      <a:pt x="1226" y="1287"/>
                    </a:lnTo>
                    <a:lnTo>
                      <a:pt x="1226" y="1285"/>
                    </a:lnTo>
                    <a:lnTo>
                      <a:pt x="1228" y="1285"/>
                    </a:lnTo>
                    <a:lnTo>
                      <a:pt x="1229" y="1285"/>
                    </a:lnTo>
                    <a:lnTo>
                      <a:pt x="1229" y="1284"/>
                    </a:lnTo>
                    <a:lnTo>
                      <a:pt x="1231" y="1284"/>
                    </a:lnTo>
                    <a:lnTo>
                      <a:pt x="1233" y="1284"/>
                    </a:lnTo>
                    <a:lnTo>
                      <a:pt x="1231" y="1284"/>
                    </a:lnTo>
                    <a:lnTo>
                      <a:pt x="1231" y="1282"/>
                    </a:lnTo>
                    <a:lnTo>
                      <a:pt x="1229" y="1282"/>
                    </a:lnTo>
                    <a:lnTo>
                      <a:pt x="1228" y="1282"/>
                    </a:lnTo>
                    <a:lnTo>
                      <a:pt x="1226" y="1282"/>
                    </a:lnTo>
                    <a:lnTo>
                      <a:pt x="1225" y="1282"/>
                    </a:lnTo>
                    <a:lnTo>
                      <a:pt x="1223" y="1281"/>
                    </a:lnTo>
                    <a:lnTo>
                      <a:pt x="1221" y="1281"/>
                    </a:lnTo>
                    <a:lnTo>
                      <a:pt x="1220" y="1281"/>
                    </a:lnTo>
                    <a:lnTo>
                      <a:pt x="1218" y="1281"/>
                    </a:lnTo>
                    <a:lnTo>
                      <a:pt x="1217" y="1281"/>
                    </a:lnTo>
                    <a:lnTo>
                      <a:pt x="1218" y="1279"/>
                    </a:lnTo>
                    <a:lnTo>
                      <a:pt x="1218" y="1277"/>
                    </a:lnTo>
                    <a:lnTo>
                      <a:pt x="1220" y="1276"/>
                    </a:lnTo>
                    <a:lnTo>
                      <a:pt x="1220" y="1274"/>
                    </a:lnTo>
                    <a:lnTo>
                      <a:pt x="1221" y="1273"/>
                    </a:lnTo>
                    <a:lnTo>
                      <a:pt x="1220" y="1273"/>
                    </a:lnTo>
                    <a:lnTo>
                      <a:pt x="1218" y="1273"/>
                    </a:lnTo>
                    <a:lnTo>
                      <a:pt x="1218" y="1271"/>
                    </a:lnTo>
                    <a:lnTo>
                      <a:pt x="1220" y="1271"/>
                    </a:lnTo>
                    <a:lnTo>
                      <a:pt x="1218" y="1271"/>
                    </a:lnTo>
                    <a:lnTo>
                      <a:pt x="1217" y="1271"/>
                    </a:lnTo>
                    <a:lnTo>
                      <a:pt x="1217" y="1269"/>
                    </a:lnTo>
                    <a:lnTo>
                      <a:pt x="1218" y="1269"/>
                    </a:lnTo>
                    <a:lnTo>
                      <a:pt x="1218" y="1268"/>
                    </a:lnTo>
                    <a:lnTo>
                      <a:pt x="1220" y="1266"/>
                    </a:lnTo>
                    <a:lnTo>
                      <a:pt x="1218" y="1266"/>
                    </a:lnTo>
                    <a:lnTo>
                      <a:pt x="1218" y="1265"/>
                    </a:lnTo>
                    <a:lnTo>
                      <a:pt x="1220" y="1265"/>
                    </a:lnTo>
                    <a:lnTo>
                      <a:pt x="1218" y="1265"/>
                    </a:lnTo>
                    <a:lnTo>
                      <a:pt x="1217" y="1263"/>
                    </a:lnTo>
                    <a:lnTo>
                      <a:pt x="1217" y="1265"/>
                    </a:lnTo>
                    <a:lnTo>
                      <a:pt x="1217" y="1263"/>
                    </a:lnTo>
                    <a:lnTo>
                      <a:pt x="1215" y="1263"/>
                    </a:lnTo>
                    <a:lnTo>
                      <a:pt x="1215" y="1265"/>
                    </a:lnTo>
                    <a:lnTo>
                      <a:pt x="1214" y="1263"/>
                    </a:lnTo>
                    <a:lnTo>
                      <a:pt x="1214" y="1265"/>
                    </a:lnTo>
                    <a:lnTo>
                      <a:pt x="1214" y="1263"/>
                    </a:lnTo>
                    <a:lnTo>
                      <a:pt x="1212" y="1263"/>
                    </a:lnTo>
                    <a:lnTo>
                      <a:pt x="1210" y="1262"/>
                    </a:lnTo>
                    <a:lnTo>
                      <a:pt x="1209" y="1262"/>
                    </a:lnTo>
                    <a:lnTo>
                      <a:pt x="1209" y="1260"/>
                    </a:lnTo>
                    <a:lnTo>
                      <a:pt x="1207" y="1260"/>
                    </a:lnTo>
                    <a:lnTo>
                      <a:pt x="1206" y="1258"/>
                    </a:lnTo>
                    <a:lnTo>
                      <a:pt x="1204" y="1258"/>
                    </a:lnTo>
                    <a:lnTo>
                      <a:pt x="1204" y="1257"/>
                    </a:lnTo>
                    <a:lnTo>
                      <a:pt x="1202" y="1257"/>
                    </a:lnTo>
                    <a:lnTo>
                      <a:pt x="1202" y="1258"/>
                    </a:lnTo>
                    <a:lnTo>
                      <a:pt x="1202" y="1260"/>
                    </a:lnTo>
                    <a:lnTo>
                      <a:pt x="1201" y="1260"/>
                    </a:lnTo>
                    <a:lnTo>
                      <a:pt x="1199" y="1260"/>
                    </a:lnTo>
                    <a:lnTo>
                      <a:pt x="1198" y="1260"/>
                    </a:lnTo>
                    <a:lnTo>
                      <a:pt x="1196" y="1260"/>
                    </a:lnTo>
                    <a:lnTo>
                      <a:pt x="1196" y="1258"/>
                    </a:lnTo>
                    <a:lnTo>
                      <a:pt x="1196" y="1257"/>
                    </a:lnTo>
                    <a:lnTo>
                      <a:pt x="1198" y="1257"/>
                    </a:lnTo>
                    <a:lnTo>
                      <a:pt x="1198" y="1255"/>
                    </a:lnTo>
                    <a:lnTo>
                      <a:pt x="1199" y="1255"/>
                    </a:lnTo>
                    <a:lnTo>
                      <a:pt x="1198" y="1255"/>
                    </a:lnTo>
                    <a:lnTo>
                      <a:pt x="1198" y="1254"/>
                    </a:lnTo>
                    <a:lnTo>
                      <a:pt x="1196" y="1254"/>
                    </a:lnTo>
                    <a:lnTo>
                      <a:pt x="1195" y="1254"/>
                    </a:lnTo>
                    <a:lnTo>
                      <a:pt x="1195" y="1252"/>
                    </a:lnTo>
                    <a:lnTo>
                      <a:pt x="1193" y="1252"/>
                    </a:lnTo>
                    <a:lnTo>
                      <a:pt x="1191" y="1252"/>
                    </a:lnTo>
                    <a:lnTo>
                      <a:pt x="1190" y="1252"/>
                    </a:lnTo>
                    <a:lnTo>
                      <a:pt x="1190" y="1254"/>
                    </a:lnTo>
                    <a:lnTo>
                      <a:pt x="1188" y="1254"/>
                    </a:lnTo>
                    <a:lnTo>
                      <a:pt x="1188" y="1252"/>
                    </a:lnTo>
                    <a:lnTo>
                      <a:pt x="1187" y="1252"/>
                    </a:lnTo>
                    <a:lnTo>
                      <a:pt x="1185" y="1252"/>
                    </a:lnTo>
                    <a:lnTo>
                      <a:pt x="1183" y="1252"/>
                    </a:lnTo>
                    <a:lnTo>
                      <a:pt x="1183" y="1254"/>
                    </a:lnTo>
                    <a:lnTo>
                      <a:pt x="1182" y="1254"/>
                    </a:lnTo>
                    <a:lnTo>
                      <a:pt x="1180" y="1254"/>
                    </a:lnTo>
                    <a:lnTo>
                      <a:pt x="1179" y="1254"/>
                    </a:lnTo>
                    <a:lnTo>
                      <a:pt x="1179" y="1255"/>
                    </a:lnTo>
                    <a:lnTo>
                      <a:pt x="1179" y="1254"/>
                    </a:lnTo>
                    <a:lnTo>
                      <a:pt x="1177" y="1254"/>
                    </a:lnTo>
                    <a:lnTo>
                      <a:pt x="1177" y="1252"/>
                    </a:lnTo>
                    <a:lnTo>
                      <a:pt x="1177" y="1250"/>
                    </a:lnTo>
                    <a:lnTo>
                      <a:pt x="1177" y="1249"/>
                    </a:lnTo>
                    <a:lnTo>
                      <a:pt x="1176" y="1249"/>
                    </a:lnTo>
                    <a:lnTo>
                      <a:pt x="1176" y="1247"/>
                    </a:lnTo>
                    <a:lnTo>
                      <a:pt x="1174" y="1247"/>
                    </a:lnTo>
                    <a:lnTo>
                      <a:pt x="1172" y="1246"/>
                    </a:lnTo>
                    <a:lnTo>
                      <a:pt x="1174" y="1246"/>
                    </a:lnTo>
                    <a:lnTo>
                      <a:pt x="1174" y="1244"/>
                    </a:lnTo>
                    <a:lnTo>
                      <a:pt x="1176" y="1244"/>
                    </a:lnTo>
                    <a:lnTo>
                      <a:pt x="1177" y="1244"/>
                    </a:lnTo>
                    <a:lnTo>
                      <a:pt x="1177" y="1243"/>
                    </a:lnTo>
                    <a:lnTo>
                      <a:pt x="1177" y="1241"/>
                    </a:lnTo>
                    <a:lnTo>
                      <a:pt x="1176" y="1241"/>
                    </a:lnTo>
                    <a:lnTo>
                      <a:pt x="1176" y="1239"/>
                    </a:lnTo>
                    <a:lnTo>
                      <a:pt x="1176" y="1238"/>
                    </a:lnTo>
                    <a:lnTo>
                      <a:pt x="1177" y="1238"/>
                    </a:lnTo>
                    <a:lnTo>
                      <a:pt x="1177" y="1236"/>
                    </a:lnTo>
                    <a:lnTo>
                      <a:pt x="1179" y="1236"/>
                    </a:lnTo>
                    <a:lnTo>
                      <a:pt x="1179" y="1235"/>
                    </a:lnTo>
                    <a:lnTo>
                      <a:pt x="1179" y="1233"/>
                    </a:lnTo>
                    <a:lnTo>
                      <a:pt x="1180" y="1235"/>
                    </a:lnTo>
                    <a:lnTo>
                      <a:pt x="1180" y="1236"/>
                    </a:lnTo>
                    <a:lnTo>
                      <a:pt x="1180" y="1238"/>
                    </a:lnTo>
                    <a:lnTo>
                      <a:pt x="1182" y="1238"/>
                    </a:lnTo>
                    <a:lnTo>
                      <a:pt x="1183" y="1238"/>
                    </a:lnTo>
                    <a:lnTo>
                      <a:pt x="1183" y="1236"/>
                    </a:lnTo>
                    <a:lnTo>
                      <a:pt x="1185" y="1236"/>
                    </a:lnTo>
                    <a:lnTo>
                      <a:pt x="1185" y="1235"/>
                    </a:lnTo>
                    <a:lnTo>
                      <a:pt x="1187" y="1233"/>
                    </a:lnTo>
                    <a:lnTo>
                      <a:pt x="1187" y="1231"/>
                    </a:lnTo>
                    <a:lnTo>
                      <a:pt x="1188" y="1231"/>
                    </a:lnTo>
                    <a:lnTo>
                      <a:pt x="1190" y="1231"/>
                    </a:lnTo>
                    <a:lnTo>
                      <a:pt x="1190" y="1230"/>
                    </a:lnTo>
                    <a:lnTo>
                      <a:pt x="1191" y="1230"/>
                    </a:lnTo>
                    <a:lnTo>
                      <a:pt x="1191" y="1231"/>
                    </a:lnTo>
                    <a:lnTo>
                      <a:pt x="1193" y="1231"/>
                    </a:lnTo>
                    <a:lnTo>
                      <a:pt x="1195" y="1231"/>
                    </a:lnTo>
                    <a:lnTo>
                      <a:pt x="1195" y="1230"/>
                    </a:lnTo>
                    <a:lnTo>
                      <a:pt x="1195" y="1228"/>
                    </a:lnTo>
                    <a:lnTo>
                      <a:pt x="1196" y="1228"/>
                    </a:lnTo>
                    <a:lnTo>
                      <a:pt x="1196" y="1227"/>
                    </a:lnTo>
                    <a:lnTo>
                      <a:pt x="1198" y="1225"/>
                    </a:lnTo>
                    <a:lnTo>
                      <a:pt x="1198" y="1224"/>
                    </a:lnTo>
                    <a:lnTo>
                      <a:pt x="1199" y="1224"/>
                    </a:lnTo>
                    <a:lnTo>
                      <a:pt x="1199" y="1222"/>
                    </a:lnTo>
                    <a:lnTo>
                      <a:pt x="1198" y="1222"/>
                    </a:lnTo>
                    <a:lnTo>
                      <a:pt x="1196" y="1220"/>
                    </a:lnTo>
                    <a:lnTo>
                      <a:pt x="1198" y="1219"/>
                    </a:lnTo>
                    <a:lnTo>
                      <a:pt x="1196" y="1219"/>
                    </a:lnTo>
                    <a:lnTo>
                      <a:pt x="1196" y="1217"/>
                    </a:lnTo>
                    <a:lnTo>
                      <a:pt x="1198" y="1217"/>
                    </a:lnTo>
                    <a:lnTo>
                      <a:pt x="1199" y="1217"/>
                    </a:lnTo>
                    <a:lnTo>
                      <a:pt x="1199" y="1216"/>
                    </a:lnTo>
                    <a:lnTo>
                      <a:pt x="1201" y="1216"/>
                    </a:lnTo>
                    <a:lnTo>
                      <a:pt x="1199" y="1216"/>
                    </a:lnTo>
                    <a:lnTo>
                      <a:pt x="1199" y="1214"/>
                    </a:lnTo>
                    <a:lnTo>
                      <a:pt x="1199" y="1212"/>
                    </a:lnTo>
                    <a:lnTo>
                      <a:pt x="1201" y="1212"/>
                    </a:lnTo>
                    <a:lnTo>
                      <a:pt x="1201" y="1211"/>
                    </a:lnTo>
                    <a:lnTo>
                      <a:pt x="1201" y="1209"/>
                    </a:lnTo>
                    <a:lnTo>
                      <a:pt x="1201" y="1208"/>
                    </a:lnTo>
                    <a:lnTo>
                      <a:pt x="1201" y="1206"/>
                    </a:lnTo>
                    <a:lnTo>
                      <a:pt x="1201" y="1205"/>
                    </a:lnTo>
                    <a:lnTo>
                      <a:pt x="1202" y="1205"/>
                    </a:lnTo>
                    <a:lnTo>
                      <a:pt x="1202" y="1203"/>
                    </a:lnTo>
                    <a:lnTo>
                      <a:pt x="1202" y="1201"/>
                    </a:lnTo>
                    <a:lnTo>
                      <a:pt x="1202" y="1200"/>
                    </a:lnTo>
                    <a:lnTo>
                      <a:pt x="1202" y="1198"/>
                    </a:lnTo>
                    <a:lnTo>
                      <a:pt x="1202" y="1197"/>
                    </a:lnTo>
                    <a:lnTo>
                      <a:pt x="1202" y="1195"/>
                    </a:lnTo>
                    <a:lnTo>
                      <a:pt x="1202" y="1193"/>
                    </a:lnTo>
                    <a:lnTo>
                      <a:pt x="1202" y="1192"/>
                    </a:lnTo>
                    <a:lnTo>
                      <a:pt x="1202" y="1190"/>
                    </a:lnTo>
                    <a:lnTo>
                      <a:pt x="1202" y="1189"/>
                    </a:lnTo>
                    <a:lnTo>
                      <a:pt x="1202" y="1187"/>
                    </a:lnTo>
                    <a:lnTo>
                      <a:pt x="1204" y="1187"/>
                    </a:lnTo>
                    <a:lnTo>
                      <a:pt x="1204" y="1185"/>
                    </a:lnTo>
                    <a:lnTo>
                      <a:pt x="1204" y="1184"/>
                    </a:lnTo>
                    <a:lnTo>
                      <a:pt x="1206" y="1182"/>
                    </a:lnTo>
                    <a:lnTo>
                      <a:pt x="1207" y="1182"/>
                    </a:lnTo>
                    <a:lnTo>
                      <a:pt x="1207" y="1181"/>
                    </a:lnTo>
                    <a:lnTo>
                      <a:pt x="1209" y="1181"/>
                    </a:lnTo>
                    <a:lnTo>
                      <a:pt x="1207" y="1179"/>
                    </a:lnTo>
                    <a:lnTo>
                      <a:pt x="1207" y="1178"/>
                    </a:lnTo>
                    <a:lnTo>
                      <a:pt x="1207" y="1176"/>
                    </a:lnTo>
                    <a:lnTo>
                      <a:pt x="1207" y="1174"/>
                    </a:lnTo>
                    <a:lnTo>
                      <a:pt x="1207" y="1173"/>
                    </a:lnTo>
                    <a:lnTo>
                      <a:pt x="1206" y="1173"/>
                    </a:lnTo>
                    <a:lnTo>
                      <a:pt x="1206" y="1171"/>
                    </a:lnTo>
                    <a:lnTo>
                      <a:pt x="1206" y="1170"/>
                    </a:lnTo>
                    <a:lnTo>
                      <a:pt x="1204" y="1170"/>
                    </a:lnTo>
                    <a:lnTo>
                      <a:pt x="1204" y="1168"/>
                    </a:lnTo>
                    <a:lnTo>
                      <a:pt x="1204" y="1166"/>
                    </a:lnTo>
                    <a:lnTo>
                      <a:pt x="1202" y="1166"/>
                    </a:lnTo>
                    <a:lnTo>
                      <a:pt x="1202" y="1165"/>
                    </a:lnTo>
                    <a:lnTo>
                      <a:pt x="1204" y="1163"/>
                    </a:lnTo>
                    <a:lnTo>
                      <a:pt x="1202" y="1163"/>
                    </a:lnTo>
                    <a:lnTo>
                      <a:pt x="1202" y="1162"/>
                    </a:lnTo>
                    <a:lnTo>
                      <a:pt x="1201" y="1160"/>
                    </a:lnTo>
                    <a:lnTo>
                      <a:pt x="1199" y="1159"/>
                    </a:lnTo>
                    <a:lnTo>
                      <a:pt x="1198" y="1159"/>
                    </a:lnTo>
                    <a:lnTo>
                      <a:pt x="1196" y="1159"/>
                    </a:lnTo>
                    <a:lnTo>
                      <a:pt x="1195" y="1160"/>
                    </a:lnTo>
                    <a:lnTo>
                      <a:pt x="1193" y="1160"/>
                    </a:lnTo>
                    <a:lnTo>
                      <a:pt x="1191" y="1160"/>
                    </a:lnTo>
                    <a:lnTo>
                      <a:pt x="1191" y="1162"/>
                    </a:lnTo>
                    <a:lnTo>
                      <a:pt x="1190" y="1162"/>
                    </a:lnTo>
                    <a:lnTo>
                      <a:pt x="1190" y="1160"/>
                    </a:lnTo>
                    <a:lnTo>
                      <a:pt x="1188" y="1160"/>
                    </a:lnTo>
                    <a:lnTo>
                      <a:pt x="1187" y="1162"/>
                    </a:lnTo>
                    <a:lnTo>
                      <a:pt x="1187" y="1163"/>
                    </a:lnTo>
                    <a:lnTo>
                      <a:pt x="1188" y="1163"/>
                    </a:lnTo>
                    <a:lnTo>
                      <a:pt x="1190" y="1163"/>
                    </a:lnTo>
                    <a:lnTo>
                      <a:pt x="1191" y="1163"/>
                    </a:lnTo>
                    <a:lnTo>
                      <a:pt x="1193" y="1163"/>
                    </a:lnTo>
                    <a:lnTo>
                      <a:pt x="1193" y="1165"/>
                    </a:lnTo>
                    <a:lnTo>
                      <a:pt x="1191" y="1165"/>
                    </a:lnTo>
                    <a:lnTo>
                      <a:pt x="1191" y="1166"/>
                    </a:lnTo>
                    <a:lnTo>
                      <a:pt x="1191" y="1168"/>
                    </a:lnTo>
                    <a:lnTo>
                      <a:pt x="1183" y="1168"/>
                    </a:lnTo>
                    <a:lnTo>
                      <a:pt x="1182" y="1166"/>
                    </a:lnTo>
                    <a:lnTo>
                      <a:pt x="1180" y="1166"/>
                    </a:lnTo>
                    <a:lnTo>
                      <a:pt x="1180" y="1168"/>
                    </a:lnTo>
                    <a:lnTo>
                      <a:pt x="1179" y="1168"/>
                    </a:lnTo>
                    <a:lnTo>
                      <a:pt x="1179" y="1170"/>
                    </a:lnTo>
                    <a:lnTo>
                      <a:pt x="1177" y="1170"/>
                    </a:lnTo>
                    <a:lnTo>
                      <a:pt x="1176" y="1170"/>
                    </a:lnTo>
                    <a:lnTo>
                      <a:pt x="1176" y="1171"/>
                    </a:lnTo>
                    <a:lnTo>
                      <a:pt x="1174" y="1171"/>
                    </a:lnTo>
                    <a:lnTo>
                      <a:pt x="1174" y="1173"/>
                    </a:lnTo>
                    <a:lnTo>
                      <a:pt x="1172" y="1173"/>
                    </a:lnTo>
                    <a:lnTo>
                      <a:pt x="1172" y="1174"/>
                    </a:lnTo>
                    <a:lnTo>
                      <a:pt x="1172" y="1176"/>
                    </a:lnTo>
                    <a:lnTo>
                      <a:pt x="1171" y="1178"/>
                    </a:lnTo>
                    <a:lnTo>
                      <a:pt x="1169" y="1178"/>
                    </a:lnTo>
                    <a:lnTo>
                      <a:pt x="1169" y="1176"/>
                    </a:lnTo>
                    <a:lnTo>
                      <a:pt x="1168" y="1176"/>
                    </a:lnTo>
                    <a:lnTo>
                      <a:pt x="1166" y="1174"/>
                    </a:lnTo>
                    <a:lnTo>
                      <a:pt x="1164" y="1176"/>
                    </a:lnTo>
                    <a:lnTo>
                      <a:pt x="1164" y="1178"/>
                    </a:lnTo>
                    <a:lnTo>
                      <a:pt x="1163" y="1178"/>
                    </a:lnTo>
                    <a:lnTo>
                      <a:pt x="1163" y="1179"/>
                    </a:lnTo>
                    <a:lnTo>
                      <a:pt x="1163" y="1181"/>
                    </a:lnTo>
                    <a:lnTo>
                      <a:pt x="1161" y="1182"/>
                    </a:lnTo>
                    <a:lnTo>
                      <a:pt x="1161" y="1184"/>
                    </a:lnTo>
                    <a:lnTo>
                      <a:pt x="1161" y="1185"/>
                    </a:lnTo>
                    <a:lnTo>
                      <a:pt x="1160" y="1185"/>
                    </a:lnTo>
                    <a:lnTo>
                      <a:pt x="1158" y="1185"/>
                    </a:lnTo>
                    <a:lnTo>
                      <a:pt x="1157" y="1185"/>
                    </a:lnTo>
                    <a:lnTo>
                      <a:pt x="1157" y="1187"/>
                    </a:lnTo>
                    <a:lnTo>
                      <a:pt x="1155" y="1187"/>
                    </a:lnTo>
                    <a:lnTo>
                      <a:pt x="1155" y="1189"/>
                    </a:lnTo>
                    <a:lnTo>
                      <a:pt x="1153" y="1189"/>
                    </a:lnTo>
                    <a:lnTo>
                      <a:pt x="1153" y="1190"/>
                    </a:lnTo>
                    <a:lnTo>
                      <a:pt x="1153" y="1192"/>
                    </a:lnTo>
                    <a:lnTo>
                      <a:pt x="1153" y="1193"/>
                    </a:lnTo>
                    <a:lnTo>
                      <a:pt x="1152" y="1192"/>
                    </a:lnTo>
                    <a:lnTo>
                      <a:pt x="1152" y="1193"/>
                    </a:lnTo>
                    <a:lnTo>
                      <a:pt x="1150" y="1193"/>
                    </a:lnTo>
                    <a:lnTo>
                      <a:pt x="1149" y="1193"/>
                    </a:lnTo>
                    <a:lnTo>
                      <a:pt x="1150" y="1193"/>
                    </a:lnTo>
                    <a:lnTo>
                      <a:pt x="1150" y="1195"/>
                    </a:lnTo>
                    <a:lnTo>
                      <a:pt x="1152" y="1195"/>
                    </a:lnTo>
                    <a:lnTo>
                      <a:pt x="1152" y="1197"/>
                    </a:lnTo>
                    <a:lnTo>
                      <a:pt x="1152" y="1198"/>
                    </a:lnTo>
                    <a:lnTo>
                      <a:pt x="1150" y="1198"/>
                    </a:lnTo>
                    <a:lnTo>
                      <a:pt x="1150" y="1200"/>
                    </a:lnTo>
                    <a:lnTo>
                      <a:pt x="1150" y="1201"/>
                    </a:lnTo>
                    <a:lnTo>
                      <a:pt x="1149" y="1201"/>
                    </a:lnTo>
                    <a:lnTo>
                      <a:pt x="1149" y="1203"/>
                    </a:lnTo>
                    <a:lnTo>
                      <a:pt x="1149" y="1205"/>
                    </a:lnTo>
                    <a:lnTo>
                      <a:pt x="1147" y="1205"/>
                    </a:lnTo>
                    <a:lnTo>
                      <a:pt x="1147" y="1206"/>
                    </a:lnTo>
                    <a:lnTo>
                      <a:pt x="1147" y="1208"/>
                    </a:lnTo>
                    <a:lnTo>
                      <a:pt x="1145" y="1208"/>
                    </a:lnTo>
                    <a:lnTo>
                      <a:pt x="1144" y="1208"/>
                    </a:lnTo>
                    <a:lnTo>
                      <a:pt x="1142" y="1208"/>
                    </a:lnTo>
                    <a:lnTo>
                      <a:pt x="1142" y="1209"/>
                    </a:lnTo>
                    <a:lnTo>
                      <a:pt x="1141" y="1209"/>
                    </a:lnTo>
                    <a:lnTo>
                      <a:pt x="1141" y="1211"/>
                    </a:lnTo>
                    <a:lnTo>
                      <a:pt x="1142" y="1212"/>
                    </a:lnTo>
                    <a:lnTo>
                      <a:pt x="1141" y="1212"/>
                    </a:lnTo>
                    <a:lnTo>
                      <a:pt x="1141" y="1214"/>
                    </a:lnTo>
                    <a:lnTo>
                      <a:pt x="1141" y="1212"/>
                    </a:lnTo>
                    <a:lnTo>
                      <a:pt x="1139" y="1214"/>
                    </a:lnTo>
                    <a:lnTo>
                      <a:pt x="1139" y="1216"/>
                    </a:lnTo>
                    <a:lnTo>
                      <a:pt x="1137" y="1216"/>
                    </a:lnTo>
                    <a:lnTo>
                      <a:pt x="1136" y="1216"/>
                    </a:lnTo>
                    <a:lnTo>
                      <a:pt x="1136" y="1217"/>
                    </a:lnTo>
                    <a:lnTo>
                      <a:pt x="1136" y="1219"/>
                    </a:lnTo>
                    <a:lnTo>
                      <a:pt x="1137" y="1219"/>
                    </a:lnTo>
                    <a:lnTo>
                      <a:pt x="1136" y="1219"/>
                    </a:lnTo>
                    <a:lnTo>
                      <a:pt x="1136" y="1220"/>
                    </a:lnTo>
                    <a:lnTo>
                      <a:pt x="1134" y="1220"/>
                    </a:lnTo>
                    <a:lnTo>
                      <a:pt x="1133" y="1220"/>
                    </a:lnTo>
                    <a:lnTo>
                      <a:pt x="1131" y="1220"/>
                    </a:lnTo>
                    <a:lnTo>
                      <a:pt x="1130" y="1220"/>
                    </a:lnTo>
                    <a:lnTo>
                      <a:pt x="1130" y="1222"/>
                    </a:lnTo>
                    <a:lnTo>
                      <a:pt x="1130" y="1224"/>
                    </a:lnTo>
                    <a:lnTo>
                      <a:pt x="1130" y="1225"/>
                    </a:lnTo>
                    <a:lnTo>
                      <a:pt x="1130" y="1227"/>
                    </a:lnTo>
                    <a:lnTo>
                      <a:pt x="1130" y="1228"/>
                    </a:lnTo>
                    <a:lnTo>
                      <a:pt x="1128" y="1228"/>
                    </a:lnTo>
                    <a:lnTo>
                      <a:pt x="1126" y="1228"/>
                    </a:lnTo>
                    <a:lnTo>
                      <a:pt x="1125" y="1228"/>
                    </a:lnTo>
                    <a:lnTo>
                      <a:pt x="1125" y="1227"/>
                    </a:lnTo>
                    <a:lnTo>
                      <a:pt x="1123" y="1227"/>
                    </a:lnTo>
                    <a:lnTo>
                      <a:pt x="1123" y="1225"/>
                    </a:lnTo>
                    <a:lnTo>
                      <a:pt x="1122" y="1225"/>
                    </a:lnTo>
                    <a:lnTo>
                      <a:pt x="1122" y="1224"/>
                    </a:lnTo>
                    <a:lnTo>
                      <a:pt x="1120" y="1224"/>
                    </a:lnTo>
                    <a:lnTo>
                      <a:pt x="1120" y="1225"/>
                    </a:lnTo>
                    <a:lnTo>
                      <a:pt x="1118" y="1225"/>
                    </a:lnTo>
                    <a:lnTo>
                      <a:pt x="1118" y="1227"/>
                    </a:lnTo>
                    <a:lnTo>
                      <a:pt x="1117" y="1227"/>
                    </a:lnTo>
                    <a:lnTo>
                      <a:pt x="1117" y="1225"/>
                    </a:lnTo>
                    <a:lnTo>
                      <a:pt x="1115" y="1225"/>
                    </a:lnTo>
                    <a:lnTo>
                      <a:pt x="1115" y="1227"/>
                    </a:lnTo>
                    <a:lnTo>
                      <a:pt x="1115" y="1228"/>
                    </a:lnTo>
                    <a:lnTo>
                      <a:pt x="1114" y="1228"/>
                    </a:lnTo>
                    <a:lnTo>
                      <a:pt x="1112" y="1228"/>
                    </a:lnTo>
                    <a:lnTo>
                      <a:pt x="1111" y="1228"/>
                    </a:lnTo>
                    <a:lnTo>
                      <a:pt x="1111" y="1227"/>
                    </a:lnTo>
                    <a:lnTo>
                      <a:pt x="1109" y="1227"/>
                    </a:lnTo>
                    <a:lnTo>
                      <a:pt x="1109" y="1225"/>
                    </a:lnTo>
                    <a:lnTo>
                      <a:pt x="1107" y="1225"/>
                    </a:lnTo>
                    <a:lnTo>
                      <a:pt x="1106" y="1225"/>
                    </a:lnTo>
                    <a:lnTo>
                      <a:pt x="1106" y="1224"/>
                    </a:lnTo>
                    <a:lnTo>
                      <a:pt x="1106" y="1222"/>
                    </a:lnTo>
                    <a:lnTo>
                      <a:pt x="1106" y="1220"/>
                    </a:lnTo>
                    <a:lnTo>
                      <a:pt x="1107" y="1220"/>
                    </a:lnTo>
                    <a:lnTo>
                      <a:pt x="1107" y="1219"/>
                    </a:lnTo>
                    <a:lnTo>
                      <a:pt x="1109" y="1217"/>
                    </a:lnTo>
                    <a:lnTo>
                      <a:pt x="1109" y="1216"/>
                    </a:lnTo>
                    <a:lnTo>
                      <a:pt x="1107" y="1216"/>
                    </a:lnTo>
                    <a:lnTo>
                      <a:pt x="1107" y="1214"/>
                    </a:lnTo>
                    <a:lnTo>
                      <a:pt x="1106" y="1214"/>
                    </a:lnTo>
                    <a:lnTo>
                      <a:pt x="1104" y="1214"/>
                    </a:lnTo>
                    <a:lnTo>
                      <a:pt x="1103" y="1214"/>
                    </a:lnTo>
                    <a:lnTo>
                      <a:pt x="1103" y="1212"/>
                    </a:lnTo>
                    <a:lnTo>
                      <a:pt x="1101" y="1212"/>
                    </a:lnTo>
                    <a:lnTo>
                      <a:pt x="1101" y="1211"/>
                    </a:lnTo>
                    <a:lnTo>
                      <a:pt x="1101" y="1209"/>
                    </a:lnTo>
                    <a:lnTo>
                      <a:pt x="1103" y="1209"/>
                    </a:lnTo>
                    <a:lnTo>
                      <a:pt x="1104" y="1209"/>
                    </a:lnTo>
                    <a:lnTo>
                      <a:pt x="1104" y="1208"/>
                    </a:lnTo>
                    <a:lnTo>
                      <a:pt x="1106" y="1208"/>
                    </a:lnTo>
                    <a:lnTo>
                      <a:pt x="1106" y="1206"/>
                    </a:lnTo>
                    <a:lnTo>
                      <a:pt x="1106" y="1205"/>
                    </a:lnTo>
                    <a:lnTo>
                      <a:pt x="1106" y="1203"/>
                    </a:lnTo>
                    <a:lnTo>
                      <a:pt x="1107" y="1203"/>
                    </a:lnTo>
                    <a:lnTo>
                      <a:pt x="1109" y="1203"/>
                    </a:lnTo>
                    <a:lnTo>
                      <a:pt x="1109" y="1201"/>
                    </a:lnTo>
                    <a:lnTo>
                      <a:pt x="1111" y="1201"/>
                    </a:lnTo>
                    <a:lnTo>
                      <a:pt x="1111" y="1200"/>
                    </a:lnTo>
                    <a:lnTo>
                      <a:pt x="1111" y="1198"/>
                    </a:lnTo>
                    <a:lnTo>
                      <a:pt x="1109" y="1198"/>
                    </a:lnTo>
                    <a:lnTo>
                      <a:pt x="1109" y="1197"/>
                    </a:lnTo>
                    <a:lnTo>
                      <a:pt x="1109" y="1195"/>
                    </a:lnTo>
                    <a:lnTo>
                      <a:pt x="1111" y="1195"/>
                    </a:lnTo>
                    <a:lnTo>
                      <a:pt x="1109" y="1195"/>
                    </a:lnTo>
                    <a:lnTo>
                      <a:pt x="1109" y="1193"/>
                    </a:lnTo>
                    <a:lnTo>
                      <a:pt x="1111" y="1193"/>
                    </a:lnTo>
                    <a:lnTo>
                      <a:pt x="1111" y="1192"/>
                    </a:lnTo>
                    <a:lnTo>
                      <a:pt x="1111" y="1190"/>
                    </a:lnTo>
                    <a:lnTo>
                      <a:pt x="1111" y="1189"/>
                    </a:lnTo>
                    <a:lnTo>
                      <a:pt x="1109" y="1189"/>
                    </a:lnTo>
                    <a:lnTo>
                      <a:pt x="1107" y="1189"/>
                    </a:lnTo>
                    <a:lnTo>
                      <a:pt x="1106" y="1189"/>
                    </a:lnTo>
                    <a:lnTo>
                      <a:pt x="1104" y="1189"/>
                    </a:lnTo>
                    <a:lnTo>
                      <a:pt x="1104" y="1187"/>
                    </a:lnTo>
                    <a:lnTo>
                      <a:pt x="1103" y="1187"/>
                    </a:lnTo>
                    <a:lnTo>
                      <a:pt x="1101" y="1187"/>
                    </a:lnTo>
                    <a:lnTo>
                      <a:pt x="1099" y="1187"/>
                    </a:lnTo>
                    <a:lnTo>
                      <a:pt x="1098" y="1187"/>
                    </a:lnTo>
                    <a:lnTo>
                      <a:pt x="1098" y="1185"/>
                    </a:lnTo>
                    <a:lnTo>
                      <a:pt x="1096" y="1185"/>
                    </a:lnTo>
                    <a:lnTo>
                      <a:pt x="1095" y="1185"/>
                    </a:lnTo>
                    <a:lnTo>
                      <a:pt x="1095" y="1184"/>
                    </a:lnTo>
                    <a:lnTo>
                      <a:pt x="1093" y="1184"/>
                    </a:lnTo>
                    <a:lnTo>
                      <a:pt x="1092" y="1182"/>
                    </a:lnTo>
                    <a:lnTo>
                      <a:pt x="1092" y="1181"/>
                    </a:lnTo>
                    <a:lnTo>
                      <a:pt x="1092" y="1179"/>
                    </a:lnTo>
                    <a:lnTo>
                      <a:pt x="1092" y="1178"/>
                    </a:lnTo>
                    <a:lnTo>
                      <a:pt x="1090" y="1178"/>
                    </a:lnTo>
                    <a:lnTo>
                      <a:pt x="1090" y="1176"/>
                    </a:lnTo>
                    <a:lnTo>
                      <a:pt x="1092" y="1176"/>
                    </a:lnTo>
                    <a:lnTo>
                      <a:pt x="1090" y="1176"/>
                    </a:lnTo>
                    <a:lnTo>
                      <a:pt x="1090" y="1174"/>
                    </a:lnTo>
                    <a:lnTo>
                      <a:pt x="1088" y="1174"/>
                    </a:lnTo>
                    <a:lnTo>
                      <a:pt x="1088" y="1173"/>
                    </a:lnTo>
                    <a:lnTo>
                      <a:pt x="1087" y="1173"/>
                    </a:lnTo>
                    <a:lnTo>
                      <a:pt x="1085" y="1173"/>
                    </a:lnTo>
                    <a:lnTo>
                      <a:pt x="1084" y="1173"/>
                    </a:lnTo>
                    <a:lnTo>
                      <a:pt x="1084" y="1171"/>
                    </a:lnTo>
                    <a:lnTo>
                      <a:pt x="1082" y="1171"/>
                    </a:lnTo>
                    <a:lnTo>
                      <a:pt x="1082" y="1170"/>
                    </a:lnTo>
                    <a:lnTo>
                      <a:pt x="1080" y="1168"/>
                    </a:lnTo>
                    <a:lnTo>
                      <a:pt x="1079" y="1170"/>
                    </a:lnTo>
                    <a:lnTo>
                      <a:pt x="1079" y="1171"/>
                    </a:lnTo>
                    <a:lnTo>
                      <a:pt x="1077" y="1171"/>
                    </a:lnTo>
                    <a:lnTo>
                      <a:pt x="1077" y="1173"/>
                    </a:lnTo>
                    <a:lnTo>
                      <a:pt x="1076" y="1173"/>
                    </a:lnTo>
                    <a:lnTo>
                      <a:pt x="1076" y="1174"/>
                    </a:lnTo>
                    <a:lnTo>
                      <a:pt x="1074" y="1174"/>
                    </a:lnTo>
                    <a:lnTo>
                      <a:pt x="1074" y="1176"/>
                    </a:lnTo>
                    <a:lnTo>
                      <a:pt x="1074" y="1178"/>
                    </a:lnTo>
                    <a:lnTo>
                      <a:pt x="1074" y="1179"/>
                    </a:lnTo>
                    <a:lnTo>
                      <a:pt x="1076" y="1179"/>
                    </a:lnTo>
                    <a:lnTo>
                      <a:pt x="1076" y="1181"/>
                    </a:lnTo>
                    <a:lnTo>
                      <a:pt x="1076" y="1182"/>
                    </a:lnTo>
                    <a:lnTo>
                      <a:pt x="1077" y="1182"/>
                    </a:lnTo>
                    <a:lnTo>
                      <a:pt x="1076" y="1184"/>
                    </a:lnTo>
                    <a:lnTo>
                      <a:pt x="1074" y="1182"/>
                    </a:lnTo>
                    <a:lnTo>
                      <a:pt x="1073" y="1182"/>
                    </a:lnTo>
                    <a:lnTo>
                      <a:pt x="1073" y="1181"/>
                    </a:lnTo>
                    <a:lnTo>
                      <a:pt x="1071" y="1181"/>
                    </a:lnTo>
                    <a:lnTo>
                      <a:pt x="1071" y="1179"/>
                    </a:lnTo>
                    <a:lnTo>
                      <a:pt x="1069" y="1179"/>
                    </a:lnTo>
                    <a:lnTo>
                      <a:pt x="1069" y="1178"/>
                    </a:lnTo>
                    <a:lnTo>
                      <a:pt x="1068" y="1178"/>
                    </a:lnTo>
                    <a:lnTo>
                      <a:pt x="1068" y="1179"/>
                    </a:lnTo>
                    <a:lnTo>
                      <a:pt x="1066" y="1179"/>
                    </a:lnTo>
                    <a:lnTo>
                      <a:pt x="1066" y="1181"/>
                    </a:lnTo>
                    <a:lnTo>
                      <a:pt x="1065" y="1181"/>
                    </a:lnTo>
                    <a:lnTo>
                      <a:pt x="1065" y="1182"/>
                    </a:lnTo>
                    <a:lnTo>
                      <a:pt x="1063" y="1184"/>
                    </a:lnTo>
                    <a:lnTo>
                      <a:pt x="1061" y="1184"/>
                    </a:lnTo>
                    <a:lnTo>
                      <a:pt x="1060" y="1184"/>
                    </a:lnTo>
                    <a:lnTo>
                      <a:pt x="1058" y="1184"/>
                    </a:lnTo>
                    <a:lnTo>
                      <a:pt x="1058" y="1182"/>
                    </a:lnTo>
                    <a:lnTo>
                      <a:pt x="1057" y="1182"/>
                    </a:lnTo>
                    <a:lnTo>
                      <a:pt x="1057" y="1181"/>
                    </a:lnTo>
                    <a:lnTo>
                      <a:pt x="1055" y="1181"/>
                    </a:lnTo>
                    <a:lnTo>
                      <a:pt x="1054" y="1181"/>
                    </a:lnTo>
                    <a:lnTo>
                      <a:pt x="1054" y="1179"/>
                    </a:lnTo>
                    <a:lnTo>
                      <a:pt x="1052" y="1179"/>
                    </a:lnTo>
                    <a:lnTo>
                      <a:pt x="1052" y="1178"/>
                    </a:lnTo>
                    <a:lnTo>
                      <a:pt x="1050" y="1178"/>
                    </a:lnTo>
                    <a:lnTo>
                      <a:pt x="1049" y="1178"/>
                    </a:lnTo>
                    <a:lnTo>
                      <a:pt x="1049" y="1176"/>
                    </a:lnTo>
                    <a:lnTo>
                      <a:pt x="1049" y="1174"/>
                    </a:lnTo>
                    <a:lnTo>
                      <a:pt x="1047" y="1174"/>
                    </a:lnTo>
                    <a:lnTo>
                      <a:pt x="1047" y="1173"/>
                    </a:lnTo>
                    <a:lnTo>
                      <a:pt x="1046" y="1173"/>
                    </a:lnTo>
                    <a:lnTo>
                      <a:pt x="1046" y="1171"/>
                    </a:lnTo>
                    <a:lnTo>
                      <a:pt x="1044" y="1171"/>
                    </a:lnTo>
                    <a:lnTo>
                      <a:pt x="1042" y="1171"/>
                    </a:lnTo>
                    <a:lnTo>
                      <a:pt x="1042" y="1170"/>
                    </a:lnTo>
                    <a:lnTo>
                      <a:pt x="1041" y="1170"/>
                    </a:lnTo>
                    <a:lnTo>
                      <a:pt x="1041" y="1168"/>
                    </a:lnTo>
                    <a:lnTo>
                      <a:pt x="1039" y="1168"/>
                    </a:lnTo>
                    <a:lnTo>
                      <a:pt x="1039" y="1166"/>
                    </a:lnTo>
                    <a:lnTo>
                      <a:pt x="1039" y="1168"/>
                    </a:lnTo>
                    <a:lnTo>
                      <a:pt x="1039" y="1166"/>
                    </a:lnTo>
                    <a:lnTo>
                      <a:pt x="1038" y="1166"/>
                    </a:lnTo>
                    <a:lnTo>
                      <a:pt x="1038" y="1165"/>
                    </a:lnTo>
                    <a:lnTo>
                      <a:pt x="1038" y="1163"/>
                    </a:lnTo>
                    <a:lnTo>
                      <a:pt x="1036" y="1163"/>
                    </a:lnTo>
                    <a:lnTo>
                      <a:pt x="1036" y="1162"/>
                    </a:lnTo>
                    <a:lnTo>
                      <a:pt x="1036" y="1160"/>
                    </a:lnTo>
                    <a:lnTo>
                      <a:pt x="1036" y="1159"/>
                    </a:lnTo>
                    <a:lnTo>
                      <a:pt x="1035" y="1159"/>
                    </a:lnTo>
                    <a:lnTo>
                      <a:pt x="1035" y="1157"/>
                    </a:lnTo>
                    <a:lnTo>
                      <a:pt x="1035" y="1155"/>
                    </a:lnTo>
                    <a:lnTo>
                      <a:pt x="1033" y="1155"/>
                    </a:lnTo>
                    <a:lnTo>
                      <a:pt x="1033" y="1154"/>
                    </a:lnTo>
                    <a:lnTo>
                      <a:pt x="1033" y="1152"/>
                    </a:lnTo>
                    <a:lnTo>
                      <a:pt x="1031" y="1152"/>
                    </a:lnTo>
                    <a:lnTo>
                      <a:pt x="1031" y="1151"/>
                    </a:lnTo>
                    <a:lnTo>
                      <a:pt x="1033" y="1151"/>
                    </a:lnTo>
                    <a:lnTo>
                      <a:pt x="1031" y="1149"/>
                    </a:lnTo>
                    <a:lnTo>
                      <a:pt x="1031" y="1147"/>
                    </a:lnTo>
                    <a:lnTo>
                      <a:pt x="1031" y="1146"/>
                    </a:lnTo>
                    <a:lnTo>
                      <a:pt x="1031" y="1144"/>
                    </a:lnTo>
                    <a:lnTo>
                      <a:pt x="1031" y="1143"/>
                    </a:lnTo>
                    <a:lnTo>
                      <a:pt x="1031" y="1141"/>
                    </a:lnTo>
                    <a:lnTo>
                      <a:pt x="1031" y="1138"/>
                    </a:lnTo>
                    <a:lnTo>
                      <a:pt x="1031" y="1140"/>
                    </a:lnTo>
                    <a:lnTo>
                      <a:pt x="1030" y="1140"/>
                    </a:lnTo>
                    <a:lnTo>
                      <a:pt x="1030" y="1138"/>
                    </a:lnTo>
                    <a:lnTo>
                      <a:pt x="1030" y="1136"/>
                    </a:lnTo>
                    <a:lnTo>
                      <a:pt x="1028" y="1136"/>
                    </a:lnTo>
                    <a:lnTo>
                      <a:pt x="1028" y="1135"/>
                    </a:lnTo>
                    <a:lnTo>
                      <a:pt x="1027" y="1135"/>
                    </a:lnTo>
                    <a:lnTo>
                      <a:pt x="1027" y="1133"/>
                    </a:lnTo>
                    <a:lnTo>
                      <a:pt x="1027" y="1132"/>
                    </a:lnTo>
                    <a:lnTo>
                      <a:pt x="1028" y="1132"/>
                    </a:lnTo>
                    <a:lnTo>
                      <a:pt x="1030" y="1130"/>
                    </a:lnTo>
                    <a:lnTo>
                      <a:pt x="1030" y="1128"/>
                    </a:lnTo>
                    <a:lnTo>
                      <a:pt x="1030" y="1127"/>
                    </a:lnTo>
                    <a:lnTo>
                      <a:pt x="1030" y="1125"/>
                    </a:lnTo>
                    <a:lnTo>
                      <a:pt x="1030" y="1124"/>
                    </a:lnTo>
                    <a:lnTo>
                      <a:pt x="1030" y="1122"/>
                    </a:lnTo>
                    <a:lnTo>
                      <a:pt x="1030" y="1121"/>
                    </a:lnTo>
                    <a:lnTo>
                      <a:pt x="1028" y="1119"/>
                    </a:lnTo>
                    <a:lnTo>
                      <a:pt x="1028" y="1117"/>
                    </a:lnTo>
                    <a:lnTo>
                      <a:pt x="1028" y="1116"/>
                    </a:lnTo>
                    <a:lnTo>
                      <a:pt x="1030" y="1116"/>
                    </a:lnTo>
                    <a:lnTo>
                      <a:pt x="1030" y="1114"/>
                    </a:lnTo>
                    <a:lnTo>
                      <a:pt x="1030" y="1113"/>
                    </a:lnTo>
                    <a:lnTo>
                      <a:pt x="1030" y="1111"/>
                    </a:lnTo>
                    <a:lnTo>
                      <a:pt x="1030" y="1109"/>
                    </a:lnTo>
                    <a:lnTo>
                      <a:pt x="1028" y="1109"/>
                    </a:lnTo>
                    <a:lnTo>
                      <a:pt x="1028" y="1108"/>
                    </a:lnTo>
                    <a:lnTo>
                      <a:pt x="1027" y="1108"/>
                    </a:lnTo>
                    <a:lnTo>
                      <a:pt x="1027" y="1106"/>
                    </a:lnTo>
                    <a:lnTo>
                      <a:pt x="1025" y="1106"/>
                    </a:lnTo>
                    <a:lnTo>
                      <a:pt x="1025" y="1105"/>
                    </a:lnTo>
                    <a:lnTo>
                      <a:pt x="1023" y="1105"/>
                    </a:lnTo>
                    <a:lnTo>
                      <a:pt x="1023" y="1103"/>
                    </a:lnTo>
                    <a:lnTo>
                      <a:pt x="1023" y="1105"/>
                    </a:lnTo>
                    <a:lnTo>
                      <a:pt x="1022" y="1105"/>
                    </a:lnTo>
                    <a:lnTo>
                      <a:pt x="1022" y="1106"/>
                    </a:lnTo>
                    <a:lnTo>
                      <a:pt x="1020" y="1105"/>
                    </a:lnTo>
                    <a:lnTo>
                      <a:pt x="1019" y="1105"/>
                    </a:lnTo>
                    <a:lnTo>
                      <a:pt x="1017" y="1105"/>
                    </a:lnTo>
                    <a:lnTo>
                      <a:pt x="1016" y="1103"/>
                    </a:lnTo>
                    <a:lnTo>
                      <a:pt x="1014" y="1103"/>
                    </a:lnTo>
                    <a:lnTo>
                      <a:pt x="1012" y="1103"/>
                    </a:lnTo>
                    <a:lnTo>
                      <a:pt x="1012" y="1102"/>
                    </a:lnTo>
                    <a:lnTo>
                      <a:pt x="1011" y="1102"/>
                    </a:lnTo>
                    <a:lnTo>
                      <a:pt x="1011" y="1100"/>
                    </a:lnTo>
                    <a:lnTo>
                      <a:pt x="1009" y="1100"/>
                    </a:lnTo>
                    <a:lnTo>
                      <a:pt x="1009" y="1102"/>
                    </a:lnTo>
                    <a:lnTo>
                      <a:pt x="1008" y="1102"/>
                    </a:lnTo>
                    <a:lnTo>
                      <a:pt x="1006" y="1100"/>
                    </a:lnTo>
                    <a:lnTo>
                      <a:pt x="1004" y="1100"/>
                    </a:lnTo>
                    <a:lnTo>
                      <a:pt x="1003" y="1100"/>
                    </a:lnTo>
                    <a:lnTo>
                      <a:pt x="1003" y="1098"/>
                    </a:lnTo>
                    <a:lnTo>
                      <a:pt x="1001" y="1098"/>
                    </a:lnTo>
                    <a:lnTo>
                      <a:pt x="1001" y="1097"/>
                    </a:lnTo>
                    <a:lnTo>
                      <a:pt x="1001" y="1098"/>
                    </a:lnTo>
                    <a:lnTo>
                      <a:pt x="1000" y="1097"/>
                    </a:lnTo>
                    <a:lnTo>
                      <a:pt x="998" y="1097"/>
                    </a:lnTo>
                    <a:lnTo>
                      <a:pt x="997" y="1097"/>
                    </a:lnTo>
                    <a:lnTo>
                      <a:pt x="997" y="1095"/>
                    </a:lnTo>
                    <a:lnTo>
                      <a:pt x="995" y="1095"/>
                    </a:lnTo>
                    <a:lnTo>
                      <a:pt x="993" y="1094"/>
                    </a:lnTo>
                    <a:lnTo>
                      <a:pt x="992" y="1094"/>
                    </a:lnTo>
                    <a:lnTo>
                      <a:pt x="992" y="1092"/>
                    </a:lnTo>
                    <a:lnTo>
                      <a:pt x="990" y="1092"/>
                    </a:lnTo>
                    <a:lnTo>
                      <a:pt x="990" y="1090"/>
                    </a:lnTo>
                    <a:lnTo>
                      <a:pt x="989" y="1090"/>
                    </a:lnTo>
                    <a:lnTo>
                      <a:pt x="989" y="1089"/>
                    </a:lnTo>
                    <a:lnTo>
                      <a:pt x="989" y="1087"/>
                    </a:lnTo>
                    <a:lnTo>
                      <a:pt x="989" y="1086"/>
                    </a:lnTo>
                    <a:lnTo>
                      <a:pt x="989" y="1084"/>
                    </a:lnTo>
                    <a:lnTo>
                      <a:pt x="989" y="1083"/>
                    </a:lnTo>
                    <a:lnTo>
                      <a:pt x="989" y="1081"/>
                    </a:lnTo>
                    <a:lnTo>
                      <a:pt x="990" y="1081"/>
                    </a:lnTo>
                    <a:lnTo>
                      <a:pt x="990" y="1083"/>
                    </a:lnTo>
                    <a:lnTo>
                      <a:pt x="992" y="1083"/>
                    </a:lnTo>
                    <a:lnTo>
                      <a:pt x="993" y="1083"/>
                    </a:lnTo>
                    <a:lnTo>
                      <a:pt x="993" y="1084"/>
                    </a:lnTo>
                    <a:lnTo>
                      <a:pt x="995" y="1084"/>
                    </a:lnTo>
                    <a:lnTo>
                      <a:pt x="995" y="1083"/>
                    </a:lnTo>
                    <a:lnTo>
                      <a:pt x="997" y="1083"/>
                    </a:lnTo>
                    <a:lnTo>
                      <a:pt x="997" y="1084"/>
                    </a:lnTo>
                    <a:lnTo>
                      <a:pt x="998" y="1084"/>
                    </a:lnTo>
                    <a:lnTo>
                      <a:pt x="1000" y="1084"/>
                    </a:lnTo>
                    <a:lnTo>
                      <a:pt x="1001" y="1084"/>
                    </a:lnTo>
                    <a:lnTo>
                      <a:pt x="1001" y="1083"/>
                    </a:lnTo>
                    <a:lnTo>
                      <a:pt x="1003" y="1083"/>
                    </a:lnTo>
                    <a:lnTo>
                      <a:pt x="1004" y="1083"/>
                    </a:lnTo>
                    <a:lnTo>
                      <a:pt x="1006" y="1084"/>
                    </a:lnTo>
                    <a:lnTo>
                      <a:pt x="1008" y="1084"/>
                    </a:lnTo>
                    <a:lnTo>
                      <a:pt x="1008" y="1083"/>
                    </a:lnTo>
                    <a:lnTo>
                      <a:pt x="1009" y="1083"/>
                    </a:lnTo>
                    <a:lnTo>
                      <a:pt x="1011" y="1083"/>
                    </a:lnTo>
                    <a:lnTo>
                      <a:pt x="1011" y="1081"/>
                    </a:lnTo>
                    <a:lnTo>
                      <a:pt x="1012" y="1081"/>
                    </a:lnTo>
                    <a:lnTo>
                      <a:pt x="1014" y="1081"/>
                    </a:lnTo>
                    <a:lnTo>
                      <a:pt x="1016" y="1081"/>
                    </a:lnTo>
                    <a:lnTo>
                      <a:pt x="1017" y="1079"/>
                    </a:lnTo>
                    <a:lnTo>
                      <a:pt x="1019" y="1078"/>
                    </a:lnTo>
                    <a:lnTo>
                      <a:pt x="1020" y="1078"/>
                    </a:lnTo>
                    <a:lnTo>
                      <a:pt x="1020" y="1076"/>
                    </a:lnTo>
                    <a:lnTo>
                      <a:pt x="1022" y="1076"/>
                    </a:lnTo>
                    <a:lnTo>
                      <a:pt x="1022" y="1075"/>
                    </a:lnTo>
                    <a:lnTo>
                      <a:pt x="1023" y="1075"/>
                    </a:lnTo>
                    <a:lnTo>
                      <a:pt x="1025" y="1075"/>
                    </a:lnTo>
                    <a:lnTo>
                      <a:pt x="1025" y="1073"/>
                    </a:lnTo>
                    <a:lnTo>
                      <a:pt x="1027" y="1073"/>
                    </a:lnTo>
                    <a:lnTo>
                      <a:pt x="1027" y="1071"/>
                    </a:lnTo>
                    <a:lnTo>
                      <a:pt x="1027" y="1073"/>
                    </a:lnTo>
                    <a:lnTo>
                      <a:pt x="1028" y="1073"/>
                    </a:lnTo>
                    <a:lnTo>
                      <a:pt x="1028" y="1071"/>
                    </a:lnTo>
                    <a:lnTo>
                      <a:pt x="1030" y="1073"/>
                    </a:lnTo>
                    <a:lnTo>
                      <a:pt x="1031" y="1071"/>
                    </a:lnTo>
                    <a:lnTo>
                      <a:pt x="1031" y="1070"/>
                    </a:lnTo>
                    <a:lnTo>
                      <a:pt x="1033" y="1071"/>
                    </a:lnTo>
                    <a:lnTo>
                      <a:pt x="1035" y="1070"/>
                    </a:lnTo>
                    <a:lnTo>
                      <a:pt x="1035" y="1068"/>
                    </a:lnTo>
                    <a:lnTo>
                      <a:pt x="1035" y="1067"/>
                    </a:lnTo>
                    <a:lnTo>
                      <a:pt x="1036" y="1067"/>
                    </a:lnTo>
                    <a:lnTo>
                      <a:pt x="1038" y="1067"/>
                    </a:lnTo>
                    <a:lnTo>
                      <a:pt x="1039" y="1067"/>
                    </a:lnTo>
                    <a:lnTo>
                      <a:pt x="1039" y="1065"/>
                    </a:lnTo>
                    <a:lnTo>
                      <a:pt x="1041" y="1065"/>
                    </a:lnTo>
                    <a:lnTo>
                      <a:pt x="1041" y="1067"/>
                    </a:lnTo>
                    <a:lnTo>
                      <a:pt x="1042" y="1067"/>
                    </a:lnTo>
                    <a:lnTo>
                      <a:pt x="1044" y="1065"/>
                    </a:lnTo>
                    <a:lnTo>
                      <a:pt x="1044" y="1063"/>
                    </a:lnTo>
                    <a:lnTo>
                      <a:pt x="1044" y="1062"/>
                    </a:lnTo>
                    <a:lnTo>
                      <a:pt x="1042" y="1062"/>
                    </a:lnTo>
                    <a:lnTo>
                      <a:pt x="1044" y="1060"/>
                    </a:lnTo>
                    <a:lnTo>
                      <a:pt x="1042" y="1060"/>
                    </a:lnTo>
                    <a:lnTo>
                      <a:pt x="1044" y="1059"/>
                    </a:lnTo>
                    <a:lnTo>
                      <a:pt x="1042" y="1059"/>
                    </a:lnTo>
                    <a:lnTo>
                      <a:pt x="1042" y="1057"/>
                    </a:lnTo>
                    <a:lnTo>
                      <a:pt x="1041" y="1056"/>
                    </a:lnTo>
                    <a:lnTo>
                      <a:pt x="1041" y="1054"/>
                    </a:lnTo>
                    <a:lnTo>
                      <a:pt x="1039" y="1054"/>
                    </a:lnTo>
                    <a:lnTo>
                      <a:pt x="1039" y="1052"/>
                    </a:lnTo>
                    <a:lnTo>
                      <a:pt x="1039" y="1051"/>
                    </a:lnTo>
                    <a:lnTo>
                      <a:pt x="1039" y="1049"/>
                    </a:lnTo>
                    <a:lnTo>
                      <a:pt x="1039" y="1048"/>
                    </a:lnTo>
                    <a:lnTo>
                      <a:pt x="1039" y="1046"/>
                    </a:lnTo>
                    <a:lnTo>
                      <a:pt x="1039" y="1044"/>
                    </a:lnTo>
                    <a:lnTo>
                      <a:pt x="1039" y="1043"/>
                    </a:lnTo>
                    <a:lnTo>
                      <a:pt x="1041" y="1043"/>
                    </a:lnTo>
                    <a:lnTo>
                      <a:pt x="1041" y="1041"/>
                    </a:lnTo>
                    <a:lnTo>
                      <a:pt x="1041" y="1040"/>
                    </a:lnTo>
                    <a:lnTo>
                      <a:pt x="1039" y="1040"/>
                    </a:lnTo>
                    <a:lnTo>
                      <a:pt x="1039" y="1038"/>
                    </a:lnTo>
                    <a:lnTo>
                      <a:pt x="1039" y="1037"/>
                    </a:lnTo>
                    <a:lnTo>
                      <a:pt x="1039" y="1035"/>
                    </a:lnTo>
                    <a:lnTo>
                      <a:pt x="1039" y="1033"/>
                    </a:lnTo>
                    <a:lnTo>
                      <a:pt x="1039" y="1032"/>
                    </a:lnTo>
                    <a:lnTo>
                      <a:pt x="1041" y="1032"/>
                    </a:lnTo>
                    <a:lnTo>
                      <a:pt x="1041" y="1030"/>
                    </a:lnTo>
                    <a:lnTo>
                      <a:pt x="1042" y="1030"/>
                    </a:lnTo>
                    <a:lnTo>
                      <a:pt x="1042" y="1029"/>
                    </a:lnTo>
                    <a:lnTo>
                      <a:pt x="1044" y="1029"/>
                    </a:lnTo>
                    <a:lnTo>
                      <a:pt x="1044" y="1027"/>
                    </a:lnTo>
                    <a:lnTo>
                      <a:pt x="1042" y="1027"/>
                    </a:lnTo>
                    <a:lnTo>
                      <a:pt x="1042" y="1025"/>
                    </a:lnTo>
                    <a:lnTo>
                      <a:pt x="1042" y="1024"/>
                    </a:lnTo>
                    <a:lnTo>
                      <a:pt x="1042" y="1022"/>
                    </a:lnTo>
                    <a:lnTo>
                      <a:pt x="1044" y="1022"/>
                    </a:lnTo>
                    <a:lnTo>
                      <a:pt x="1044" y="1021"/>
                    </a:lnTo>
                    <a:lnTo>
                      <a:pt x="1046" y="1021"/>
                    </a:lnTo>
                    <a:lnTo>
                      <a:pt x="1046" y="1019"/>
                    </a:lnTo>
                    <a:lnTo>
                      <a:pt x="1047" y="1018"/>
                    </a:lnTo>
                    <a:lnTo>
                      <a:pt x="1047" y="1016"/>
                    </a:lnTo>
                    <a:lnTo>
                      <a:pt x="1047" y="1014"/>
                    </a:lnTo>
                    <a:lnTo>
                      <a:pt x="1046" y="1014"/>
                    </a:lnTo>
                    <a:lnTo>
                      <a:pt x="1046" y="1013"/>
                    </a:lnTo>
                    <a:lnTo>
                      <a:pt x="1046" y="1011"/>
                    </a:lnTo>
                    <a:lnTo>
                      <a:pt x="1046" y="1010"/>
                    </a:lnTo>
                    <a:lnTo>
                      <a:pt x="1046" y="1008"/>
                    </a:lnTo>
                    <a:lnTo>
                      <a:pt x="1046" y="1006"/>
                    </a:lnTo>
                    <a:lnTo>
                      <a:pt x="1046" y="1003"/>
                    </a:lnTo>
                    <a:lnTo>
                      <a:pt x="1046" y="1002"/>
                    </a:lnTo>
                    <a:lnTo>
                      <a:pt x="1044" y="1000"/>
                    </a:lnTo>
                    <a:lnTo>
                      <a:pt x="1044" y="999"/>
                    </a:lnTo>
                    <a:lnTo>
                      <a:pt x="1042" y="995"/>
                    </a:lnTo>
                    <a:lnTo>
                      <a:pt x="1042" y="994"/>
                    </a:lnTo>
                    <a:lnTo>
                      <a:pt x="1041" y="994"/>
                    </a:lnTo>
                    <a:lnTo>
                      <a:pt x="1039" y="994"/>
                    </a:lnTo>
                    <a:lnTo>
                      <a:pt x="1038" y="992"/>
                    </a:lnTo>
                    <a:lnTo>
                      <a:pt x="1036" y="992"/>
                    </a:lnTo>
                    <a:lnTo>
                      <a:pt x="1035" y="992"/>
                    </a:lnTo>
                    <a:lnTo>
                      <a:pt x="1033" y="992"/>
                    </a:lnTo>
                    <a:lnTo>
                      <a:pt x="1031" y="992"/>
                    </a:lnTo>
                    <a:lnTo>
                      <a:pt x="1031" y="991"/>
                    </a:lnTo>
                    <a:lnTo>
                      <a:pt x="1030" y="991"/>
                    </a:lnTo>
                    <a:lnTo>
                      <a:pt x="1030" y="992"/>
                    </a:lnTo>
                    <a:lnTo>
                      <a:pt x="1028" y="992"/>
                    </a:lnTo>
                    <a:lnTo>
                      <a:pt x="1027" y="992"/>
                    </a:lnTo>
                    <a:lnTo>
                      <a:pt x="1025" y="992"/>
                    </a:lnTo>
                    <a:lnTo>
                      <a:pt x="1023" y="992"/>
                    </a:lnTo>
                    <a:lnTo>
                      <a:pt x="1022" y="992"/>
                    </a:lnTo>
                    <a:lnTo>
                      <a:pt x="1020" y="992"/>
                    </a:lnTo>
                    <a:lnTo>
                      <a:pt x="1020" y="991"/>
                    </a:lnTo>
                    <a:lnTo>
                      <a:pt x="1019" y="991"/>
                    </a:lnTo>
                    <a:lnTo>
                      <a:pt x="1019" y="989"/>
                    </a:lnTo>
                    <a:lnTo>
                      <a:pt x="1017" y="989"/>
                    </a:lnTo>
                    <a:lnTo>
                      <a:pt x="1016" y="989"/>
                    </a:lnTo>
                    <a:lnTo>
                      <a:pt x="1016" y="987"/>
                    </a:lnTo>
                    <a:lnTo>
                      <a:pt x="1014" y="987"/>
                    </a:lnTo>
                    <a:lnTo>
                      <a:pt x="1014" y="986"/>
                    </a:lnTo>
                    <a:lnTo>
                      <a:pt x="1012" y="986"/>
                    </a:lnTo>
                    <a:lnTo>
                      <a:pt x="1012" y="987"/>
                    </a:lnTo>
                    <a:lnTo>
                      <a:pt x="1012" y="986"/>
                    </a:lnTo>
                    <a:lnTo>
                      <a:pt x="1011" y="986"/>
                    </a:lnTo>
                    <a:lnTo>
                      <a:pt x="1009" y="986"/>
                    </a:lnTo>
                    <a:lnTo>
                      <a:pt x="1008" y="986"/>
                    </a:lnTo>
                    <a:lnTo>
                      <a:pt x="1006" y="986"/>
                    </a:lnTo>
                    <a:lnTo>
                      <a:pt x="1004" y="986"/>
                    </a:lnTo>
                    <a:lnTo>
                      <a:pt x="1003" y="986"/>
                    </a:lnTo>
                    <a:lnTo>
                      <a:pt x="1003" y="987"/>
                    </a:lnTo>
                    <a:lnTo>
                      <a:pt x="1001" y="987"/>
                    </a:lnTo>
                    <a:lnTo>
                      <a:pt x="1000" y="987"/>
                    </a:lnTo>
                    <a:lnTo>
                      <a:pt x="1000" y="989"/>
                    </a:lnTo>
                    <a:lnTo>
                      <a:pt x="998" y="989"/>
                    </a:lnTo>
                    <a:lnTo>
                      <a:pt x="997" y="989"/>
                    </a:lnTo>
                    <a:lnTo>
                      <a:pt x="995" y="989"/>
                    </a:lnTo>
                    <a:lnTo>
                      <a:pt x="995" y="987"/>
                    </a:lnTo>
                    <a:lnTo>
                      <a:pt x="993" y="987"/>
                    </a:lnTo>
                    <a:lnTo>
                      <a:pt x="993" y="989"/>
                    </a:lnTo>
                    <a:lnTo>
                      <a:pt x="992" y="989"/>
                    </a:lnTo>
                    <a:lnTo>
                      <a:pt x="990" y="991"/>
                    </a:lnTo>
                    <a:lnTo>
                      <a:pt x="989" y="991"/>
                    </a:lnTo>
                    <a:lnTo>
                      <a:pt x="989" y="989"/>
                    </a:lnTo>
                    <a:lnTo>
                      <a:pt x="987" y="989"/>
                    </a:lnTo>
                    <a:lnTo>
                      <a:pt x="987" y="991"/>
                    </a:lnTo>
                    <a:lnTo>
                      <a:pt x="987" y="989"/>
                    </a:lnTo>
                    <a:lnTo>
                      <a:pt x="985" y="989"/>
                    </a:lnTo>
                    <a:lnTo>
                      <a:pt x="984" y="989"/>
                    </a:lnTo>
                    <a:lnTo>
                      <a:pt x="982" y="987"/>
                    </a:lnTo>
                    <a:lnTo>
                      <a:pt x="981" y="987"/>
                    </a:lnTo>
                    <a:lnTo>
                      <a:pt x="979" y="987"/>
                    </a:lnTo>
                    <a:lnTo>
                      <a:pt x="978" y="989"/>
                    </a:lnTo>
                    <a:lnTo>
                      <a:pt x="976" y="989"/>
                    </a:lnTo>
                    <a:lnTo>
                      <a:pt x="974" y="989"/>
                    </a:lnTo>
                    <a:lnTo>
                      <a:pt x="973" y="989"/>
                    </a:lnTo>
                    <a:lnTo>
                      <a:pt x="971" y="989"/>
                    </a:lnTo>
                    <a:lnTo>
                      <a:pt x="970" y="989"/>
                    </a:lnTo>
                    <a:lnTo>
                      <a:pt x="968" y="989"/>
                    </a:lnTo>
                    <a:lnTo>
                      <a:pt x="968" y="991"/>
                    </a:lnTo>
                    <a:lnTo>
                      <a:pt x="968" y="989"/>
                    </a:lnTo>
                    <a:lnTo>
                      <a:pt x="966" y="989"/>
                    </a:lnTo>
                    <a:lnTo>
                      <a:pt x="965" y="989"/>
                    </a:lnTo>
                    <a:lnTo>
                      <a:pt x="963" y="989"/>
                    </a:lnTo>
                    <a:lnTo>
                      <a:pt x="962" y="989"/>
                    </a:lnTo>
                    <a:lnTo>
                      <a:pt x="960" y="989"/>
                    </a:lnTo>
                    <a:lnTo>
                      <a:pt x="958" y="989"/>
                    </a:lnTo>
                    <a:lnTo>
                      <a:pt x="957" y="991"/>
                    </a:lnTo>
                    <a:lnTo>
                      <a:pt x="955" y="991"/>
                    </a:lnTo>
                    <a:lnTo>
                      <a:pt x="954" y="991"/>
                    </a:lnTo>
                    <a:lnTo>
                      <a:pt x="952" y="991"/>
                    </a:lnTo>
                    <a:lnTo>
                      <a:pt x="952" y="992"/>
                    </a:lnTo>
                    <a:lnTo>
                      <a:pt x="951" y="992"/>
                    </a:lnTo>
                    <a:lnTo>
                      <a:pt x="949" y="992"/>
                    </a:lnTo>
                    <a:lnTo>
                      <a:pt x="947" y="992"/>
                    </a:lnTo>
                    <a:lnTo>
                      <a:pt x="946" y="992"/>
                    </a:lnTo>
                    <a:lnTo>
                      <a:pt x="944" y="992"/>
                    </a:lnTo>
                    <a:lnTo>
                      <a:pt x="943" y="992"/>
                    </a:lnTo>
                    <a:lnTo>
                      <a:pt x="943" y="994"/>
                    </a:lnTo>
                    <a:lnTo>
                      <a:pt x="941" y="992"/>
                    </a:lnTo>
                    <a:lnTo>
                      <a:pt x="939" y="992"/>
                    </a:lnTo>
                    <a:lnTo>
                      <a:pt x="939" y="994"/>
                    </a:lnTo>
                    <a:lnTo>
                      <a:pt x="938" y="994"/>
                    </a:lnTo>
                    <a:lnTo>
                      <a:pt x="938" y="992"/>
                    </a:lnTo>
                    <a:lnTo>
                      <a:pt x="936" y="992"/>
                    </a:lnTo>
                    <a:lnTo>
                      <a:pt x="935" y="992"/>
                    </a:lnTo>
                    <a:lnTo>
                      <a:pt x="935" y="994"/>
                    </a:lnTo>
                    <a:lnTo>
                      <a:pt x="935" y="995"/>
                    </a:lnTo>
                    <a:lnTo>
                      <a:pt x="936" y="997"/>
                    </a:lnTo>
                    <a:lnTo>
                      <a:pt x="936" y="999"/>
                    </a:lnTo>
                    <a:lnTo>
                      <a:pt x="936" y="1000"/>
                    </a:lnTo>
                    <a:lnTo>
                      <a:pt x="935" y="1000"/>
                    </a:lnTo>
                    <a:lnTo>
                      <a:pt x="935" y="1002"/>
                    </a:lnTo>
                    <a:lnTo>
                      <a:pt x="935" y="1003"/>
                    </a:lnTo>
                    <a:lnTo>
                      <a:pt x="935" y="1005"/>
                    </a:lnTo>
                    <a:lnTo>
                      <a:pt x="935" y="1006"/>
                    </a:lnTo>
                    <a:lnTo>
                      <a:pt x="935" y="1008"/>
                    </a:lnTo>
                    <a:lnTo>
                      <a:pt x="933" y="1008"/>
                    </a:lnTo>
                    <a:lnTo>
                      <a:pt x="932" y="1008"/>
                    </a:lnTo>
                    <a:lnTo>
                      <a:pt x="932" y="1010"/>
                    </a:lnTo>
                    <a:lnTo>
                      <a:pt x="932" y="1011"/>
                    </a:lnTo>
                    <a:lnTo>
                      <a:pt x="933" y="1011"/>
                    </a:lnTo>
                    <a:lnTo>
                      <a:pt x="933" y="1013"/>
                    </a:lnTo>
                    <a:lnTo>
                      <a:pt x="935" y="1013"/>
                    </a:lnTo>
                    <a:lnTo>
                      <a:pt x="935" y="1014"/>
                    </a:lnTo>
                    <a:lnTo>
                      <a:pt x="933" y="1014"/>
                    </a:lnTo>
                    <a:lnTo>
                      <a:pt x="932" y="1014"/>
                    </a:lnTo>
                    <a:lnTo>
                      <a:pt x="930" y="1014"/>
                    </a:lnTo>
                    <a:lnTo>
                      <a:pt x="930" y="1016"/>
                    </a:lnTo>
                    <a:lnTo>
                      <a:pt x="930" y="1018"/>
                    </a:lnTo>
                    <a:lnTo>
                      <a:pt x="930" y="1019"/>
                    </a:lnTo>
                    <a:lnTo>
                      <a:pt x="932" y="1019"/>
                    </a:lnTo>
                    <a:lnTo>
                      <a:pt x="932" y="1021"/>
                    </a:lnTo>
                    <a:lnTo>
                      <a:pt x="930" y="1021"/>
                    </a:lnTo>
                    <a:lnTo>
                      <a:pt x="930" y="1022"/>
                    </a:lnTo>
                    <a:lnTo>
                      <a:pt x="928" y="1022"/>
                    </a:lnTo>
                    <a:lnTo>
                      <a:pt x="928" y="1024"/>
                    </a:lnTo>
                    <a:lnTo>
                      <a:pt x="928" y="1025"/>
                    </a:lnTo>
                    <a:lnTo>
                      <a:pt x="928" y="1027"/>
                    </a:lnTo>
                    <a:lnTo>
                      <a:pt x="928" y="1029"/>
                    </a:lnTo>
                    <a:lnTo>
                      <a:pt x="927" y="1029"/>
                    </a:lnTo>
                    <a:lnTo>
                      <a:pt x="925" y="1029"/>
                    </a:lnTo>
                    <a:lnTo>
                      <a:pt x="925" y="1030"/>
                    </a:lnTo>
                    <a:lnTo>
                      <a:pt x="924" y="1030"/>
                    </a:lnTo>
                    <a:lnTo>
                      <a:pt x="922" y="1030"/>
                    </a:lnTo>
                    <a:lnTo>
                      <a:pt x="922" y="1032"/>
                    </a:lnTo>
                    <a:lnTo>
                      <a:pt x="920" y="1032"/>
                    </a:lnTo>
                    <a:lnTo>
                      <a:pt x="920" y="1033"/>
                    </a:lnTo>
                    <a:lnTo>
                      <a:pt x="919" y="1033"/>
                    </a:lnTo>
                    <a:lnTo>
                      <a:pt x="919" y="1035"/>
                    </a:lnTo>
                    <a:lnTo>
                      <a:pt x="917" y="1035"/>
                    </a:lnTo>
                    <a:lnTo>
                      <a:pt x="917" y="1037"/>
                    </a:lnTo>
                    <a:lnTo>
                      <a:pt x="919" y="1037"/>
                    </a:lnTo>
                    <a:lnTo>
                      <a:pt x="919" y="1038"/>
                    </a:lnTo>
                    <a:lnTo>
                      <a:pt x="920" y="1040"/>
                    </a:lnTo>
                    <a:lnTo>
                      <a:pt x="920" y="1041"/>
                    </a:lnTo>
                    <a:lnTo>
                      <a:pt x="922" y="1043"/>
                    </a:lnTo>
                    <a:lnTo>
                      <a:pt x="920" y="1044"/>
                    </a:lnTo>
                    <a:lnTo>
                      <a:pt x="919" y="1044"/>
                    </a:lnTo>
                    <a:lnTo>
                      <a:pt x="919" y="1046"/>
                    </a:lnTo>
                    <a:lnTo>
                      <a:pt x="920" y="1048"/>
                    </a:lnTo>
                    <a:lnTo>
                      <a:pt x="920" y="1049"/>
                    </a:lnTo>
                    <a:lnTo>
                      <a:pt x="919" y="1049"/>
                    </a:lnTo>
                    <a:lnTo>
                      <a:pt x="919" y="1051"/>
                    </a:lnTo>
                    <a:lnTo>
                      <a:pt x="917" y="1051"/>
                    </a:lnTo>
                    <a:lnTo>
                      <a:pt x="916" y="1051"/>
                    </a:lnTo>
                    <a:lnTo>
                      <a:pt x="916" y="1052"/>
                    </a:lnTo>
                    <a:lnTo>
                      <a:pt x="914" y="1052"/>
                    </a:lnTo>
                    <a:lnTo>
                      <a:pt x="914" y="1054"/>
                    </a:lnTo>
                    <a:lnTo>
                      <a:pt x="913" y="1054"/>
                    </a:lnTo>
                    <a:lnTo>
                      <a:pt x="913" y="1056"/>
                    </a:lnTo>
                    <a:lnTo>
                      <a:pt x="913" y="1057"/>
                    </a:lnTo>
                    <a:lnTo>
                      <a:pt x="911" y="1057"/>
                    </a:lnTo>
                    <a:lnTo>
                      <a:pt x="909" y="1057"/>
                    </a:lnTo>
                    <a:lnTo>
                      <a:pt x="906" y="1057"/>
                    </a:lnTo>
                    <a:lnTo>
                      <a:pt x="906" y="1059"/>
                    </a:lnTo>
                    <a:lnTo>
                      <a:pt x="905" y="1059"/>
                    </a:lnTo>
                    <a:lnTo>
                      <a:pt x="903" y="1059"/>
                    </a:lnTo>
                    <a:lnTo>
                      <a:pt x="903" y="1057"/>
                    </a:lnTo>
                    <a:lnTo>
                      <a:pt x="901" y="1057"/>
                    </a:lnTo>
                    <a:lnTo>
                      <a:pt x="900" y="1057"/>
                    </a:lnTo>
                    <a:lnTo>
                      <a:pt x="900" y="1056"/>
                    </a:lnTo>
                    <a:lnTo>
                      <a:pt x="900" y="1054"/>
                    </a:lnTo>
                    <a:lnTo>
                      <a:pt x="900" y="1052"/>
                    </a:lnTo>
                    <a:lnTo>
                      <a:pt x="898" y="1052"/>
                    </a:lnTo>
                    <a:lnTo>
                      <a:pt x="897" y="1052"/>
                    </a:lnTo>
                    <a:lnTo>
                      <a:pt x="895" y="1052"/>
                    </a:lnTo>
                    <a:lnTo>
                      <a:pt x="895" y="1054"/>
                    </a:lnTo>
                    <a:lnTo>
                      <a:pt x="894" y="1054"/>
                    </a:lnTo>
                    <a:lnTo>
                      <a:pt x="894" y="1056"/>
                    </a:lnTo>
                    <a:lnTo>
                      <a:pt x="894" y="1057"/>
                    </a:lnTo>
                    <a:lnTo>
                      <a:pt x="892" y="1057"/>
                    </a:lnTo>
                    <a:lnTo>
                      <a:pt x="892" y="1059"/>
                    </a:lnTo>
                    <a:lnTo>
                      <a:pt x="892" y="1060"/>
                    </a:lnTo>
                    <a:lnTo>
                      <a:pt x="890" y="1060"/>
                    </a:lnTo>
                    <a:lnTo>
                      <a:pt x="890" y="1062"/>
                    </a:lnTo>
                    <a:lnTo>
                      <a:pt x="890" y="1063"/>
                    </a:lnTo>
                    <a:lnTo>
                      <a:pt x="892" y="1065"/>
                    </a:lnTo>
                    <a:lnTo>
                      <a:pt x="892" y="1067"/>
                    </a:lnTo>
                    <a:lnTo>
                      <a:pt x="890" y="1067"/>
                    </a:lnTo>
                    <a:lnTo>
                      <a:pt x="890" y="1068"/>
                    </a:lnTo>
                    <a:lnTo>
                      <a:pt x="889" y="1068"/>
                    </a:lnTo>
                    <a:lnTo>
                      <a:pt x="889" y="1067"/>
                    </a:lnTo>
                    <a:lnTo>
                      <a:pt x="887" y="1067"/>
                    </a:lnTo>
                    <a:lnTo>
                      <a:pt x="886" y="1067"/>
                    </a:lnTo>
                    <a:lnTo>
                      <a:pt x="886" y="1068"/>
                    </a:lnTo>
                    <a:lnTo>
                      <a:pt x="884" y="1068"/>
                    </a:lnTo>
                    <a:lnTo>
                      <a:pt x="884" y="1070"/>
                    </a:lnTo>
                    <a:lnTo>
                      <a:pt x="884" y="1071"/>
                    </a:lnTo>
                    <a:lnTo>
                      <a:pt x="884" y="1073"/>
                    </a:lnTo>
                    <a:lnTo>
                      <a:pt x="882" y="1073"/>
                    </a:lnTo>
                    <a:lnTo>
                      <a:pt x="881" y="1073"/>
                    </a:lnTo>
                    <a:lnTo>
                      <a:pt x="879" y="1073"/>
                    </a:lnTo>
                    <a:lnTo>
                      <a:pt x="878" y="1071"/>
                    </a:lnTo>
                    <a:lnTo>
                      <a:pt x="876" y="1071"/>
                    </a:lnTo>
                    <a:lnTo>
                      <a:pt x="875" y="1071"/>
                    </a:lnTo>
                    <a:lnTo>
                      <a:pt x="875" y="1073"/>
                    </a:lnTo>
                    <a:lnTo>
                      <a:pt x="873" y="1073"/>
                    </a:lnTo>
                    <a:lnTo>
                      <a:pt x="871" y="1073"/>
                    </a:lnTo>
                    <a:lnTo>
                      <a:pt x="870" y="1073"/>
                    </a:lnTo>
                    <a:lnTo>
                      <a:pt x="870" y="1071"/>
                    </a:lnTo>
                    <a:lnTo>
                      <a:pt x="870" y="1070"/>
                    </a:lnTo>
                    <a:lnTo>
                      <a:pt x="868" y="1070"/>
                    </a:lnTo>
                    <a:lnTo>
                      <a:pt x="868" y="1068"/>
                    </a:lnTo>
                    <a:lnTo>
                      <a:pt x="867" y="1068"/>
                    </a:lnTo>
                    <a:lnTo>
                      <a:pt x="865" y="1068"/>
                    </a:lnTo>
                    <a:lnTo>
                      <a:pt x="865" y="1070"/>
                    </a:lnTo>
                    <a:lnTo>
                      <a:pt x="863" y="1070"/>
                    </a:lnTo>
                    <a:lnTo>
                      <a:pt x="863" y="1071"/>
                    </a:lnTo>
                    <a:lnTo>
                      <a:pt x="862" y="1071"/>
                    </a:lnTo>
                    <a:lnTo>
                      <a:pt x="860" y="1071"/>
                    </a:lnTo>
                    <a:lnTo>
                      <a:pt x="860" y="1073"/>
                    </a:lnTo>
                    <a:lnTo>
                      <a:pt x="859" y="1073"/>
                    </a:lnTo>
                    <a:lnTo>
                      <a:pt x="859" y="1075"/>
                    </a:lnTo>
                    <a:lnTo>
                      <a:pt x="857" y="1075"/>
                    </a:lnTo>
                    <a:lnTo>
                      <a:pt x="856" y="1075"/>
                    </a:lnTo>
                    <a:lnTo>
                      <a:pt x="856" y="1076"/>
                    </a:lnTo>
                    <a:lnTo>
                      <a:pt x="854" y="1076"/>
                    </a:lnTo>
                    <a:lnTo>
                      <a:pt x="854" y="1078"/>
                    </a:lnTo>
                    <a:lnTo>
                      <a:pt x="852" y="1078"/>
                    </a:lnTo>
                    <a:lnTo>
                      <a:pt x="851" y="1078"/>
                    </a:lnTo>
                    <a:lnTo>
                      <a:pt x="851" y="1079"/>
                    </a:lnTo>
                    <a:lnTo>
                      <a:pt x="849" y="1079"/>
                    </a:lnTo>
                    <a:lnTo>
                      <a:pt x="849" y="1081"/>
                    </a:lnTo>
                    <a:lnTo>
                      <a:pt x="848" y="1081"/>
                    </a:lnTo>
                    <a:lnTo>
                      <a:pt x="846" y="1081"/>
                    </a:lnTo>
                    <a:lnTo>
                      <a:pt x="846" y="1083"/>
                    </a:lnTo>
                    <a:lnTo>
                      <a:pt x="846" y="1084"/>
                    </a:lnTo>
                    <a:lnTo>
                      <a:pt x="844" y="1086"/>
                    </a:lnTo>
                    <a:lnTo>
                      <a:pt x="843" y="1086"/>
                    </a:lnTo>
                    <a:lnTo>
                      <a:pt x="841" y="1087"/>
                    </a:lnTo>
                    <a:lnTo>
                      <a:pt x="841" y="1089"/>
                    </a:lnTo>
                    <a:lnTo>
                      <a:pt x="840" y="1089"/>
                    </a:lnTo>
                    <a:lnTo>
                      <a:pt x="838" y="1089"/>
                    </a:lnTo>
                    <a:lnTo>
                      <a:pt x="838" y="1087"/>
                    </a:lnTo>
                    <a:lnTo>
                      <a:pt x="838" y="1086"/>
                    </a:lnTo>
                    <a:lnTo>
                      <a:pt x="837" y="1086"/>
                    </a:lnTo>
                    <a:lnTo>
                      <a:pt x="835" y="1086"/>
                    </a:lnTo>
                    <a:lnTo>
                      <a:pt x="833" y="1086"/>
                    </a:lnTo>
                    <a:lnTo>
                      <a:pt x="832" y="1087"/>
                    </a:lnTo>
                    <a:lnTo>
                      <a:pt x="832" y="1089"/>
                    </a:lnTo>
                    <a:lnTo>
                      <a:pt x="830" y="1090"/>
                    </a:lnTo>
                    <a:lnTo>
                      <a:pt x="830" y="1092"/>
                    </a:lnTo>
                    <a:lnTo>
                      <a:pt x="830" y="1094"/>
                    </a:lnTo>
                    <a:lnTo>
                      <a:pt x="830" y="1095"/>
                    </a:lnTo>
                    <a:lnTo>
                      <a:pt x="829" y="1095"/>
                    </a:lnTo>
                    <a:lnTo>
                      <a:pt x="829" y="1094"/>
                    </a:lnTo>
                    <a:lnTo>
                      <a:pt x="827" y="1094"/>
                    </a:lnTo>
                    <a:lnTo>
                      <a:pt x="825" y="1094"/>
                    </a:lnTo>
                    <a:lnTo>
                      <a:pt x="824" y="1094"/>
                    </a:lnTo>
                    <a:lnTo>
                      <a:pt x="822" y="1094"/>
                    </a:lnTo>
                    <a:lnTo>
                      <a:pt x="821" y="1094"/>
                    </a:lnTo>
                    <a:lnTo>
                      <a:pt x="819" y="1094"/>
                    </a:lnTo>
                    <a:lnTo>
                      <a:pt x="819" y="1095"/>
                    </a:lnTo>
                    <a:lnTo>
                      <a:pt x="819" y="1097"/>
                    </a:lnTo>
                    <a:lnTo>
                      <a:pt x="821" y="1097"/>
                    </a:lnTo>
                    <a:lnTo>
                      <a:pt x="821" y="1098"/>
                    </a:lnTo>
                    <a:lnTo>
                      <a:pt x="819" y="1098"/>
                    </a:lnTo>
                    <a:lnTo>
                      <a:pt x="818" y="1098"/>
                    </a:lnTo>
                    <a:lnTo>
                      <a:pt x="816" y="1098"/>
                    </a:lnTo>
                    <a:lnTo>
                      <a:pt x="814" y="1100"/>
                    </a:lnTo>
                    <a:lnTo>
                      <a:pt x="814" y="1102"/>
                    </a:lnTo>
                    <a:lnTo>
                      <a:pt x="814" y="1103"/>
                    </a:lnTo>
                    <a:lnTo>
                      <a:pt x="814" y="1105"/>
                    </a:lnTo>
                    <a:lnTo>
                      <a:pt x="813" y="1105"/>
                    </a:lnTo>
                    <a:lnTo>
                      <a:pt x="811" y="1105"/>
                    </a:lnTo>
                    <a:lnTo>
                      <a:pt x="811" y="1103"/>
                    </a:lnTo>
                    <a:lnTo>
                      <a:pt x="810" y="1103"/>
                    </a:lnTo>
                    <a:lnTo>
                      <a:pt x="810" y="1105"/>
                    </a:lnTo>
                    <a:lnTo>
                      <a:pt x="810" y="1106"/>
                    </a:lnTo>
                    <a:lnTo>
                      <a:pt x="810" y="1108"/>
                    </a:lnTo>
                    <a:lnTo>
                      <a:pt x="808" y="1108"/>
                    </a:lnTo>
                    <a:lnTo>
                      <a:pt x="806" y="1108"/>
                    </a:lnTo>
                    <a:lnTo>
                      <a:pt x="805" y="1108"/>
                    </a:lnTo>
                    <a:lnTo>
                      <a:pt x="803" y="1108"/>
                    </a:lnTo>
                    <a:lnTo>
                      <a:pt x="802" y="1108"/>
                    </a:lnTo>
                    <a:lnTo>
                      <a:pt x="800" y="1108"/>
                    </a:lnTo>
                    <a:lnTo>
                      <a:pt x="800" y="1109"/>
                    </a:lnTo>
                    <a:lnTo>
                      <a:pt x="799" y="1109"/>
                    </a:lnTo>
                    <a:lnTo>
                      <a:pt x="797" y="1109"/>
                    </a:lnTo>
                    <a:lnTo>
                      <a:pt x="797" y="1111"/>
                    </a:lnTo>
                    <a:lnTo>
                      <a:pt x="795" y="1111"/>
                    </a:lnTo>
                    <a:lnTo>
                      <a:pt x="795" y="1113"/>
                    </a:lnTo>
                    <a:lnTo>
                      <a:pt x="795" y="1114"/>
                    </a:lnTo>
                    <a:lnTo>
                      <a:pt x="794" y="1114"/>
                    </a:lnTo>
                    <a:lnTo>
                      <a:pt x="792" y="1114"/>
                    </a:lnTo>
                    <a:lnTo>
                      <a:pt x="791" y="1114"/>
                    </a:lnTo>
                    <a:lnTo>
                      <a:pt x="789" y="1114"/>
                    </a:lnTo>
                    <a:lnTo>
                      <a:pt x="787" y="1114"/>
                    </a:lnTo>
                    <a:lnTo>
                      <a:pt x="787" y="1116"/>
                    </a:lnTo>
                    <a:lnTo>
                      <a:pt x="786" y="1116"/>
                    </a:lnTo>
                    <a:lnTo>
                      <a:pt x="784" y="1116"/>
                    </a:lnTo>
                    <a:lnTo>
                      <a:pt x="784" y="1117"/>
                    </a:lnTo>
                    <a:lnTo>
                      <a:pt x="783" y="1117"/>
                    </a:lnTo>
                    <a:lnTo>
                      <a:pt x="781" y="1117"/>
                    </a:lnTo>
                    <a:lnTo>
                      <a:pt x="781" y="1116"/>
                    </a:lnTo>
                    <a:lnTo>
                      <a:pt x="780" y="1116"/>
                    </a:lnTo>
                    <a:lnTo>
                      <a:pt x="778" y="1116"/>
                    </a:lnTo>
                    <a:lnTo>
                      <a:pt x="776" y="1116"/>
                    </a:lnTo>
                    <a:lnTo>
                      <a:pt x="776" y="1117"/>
                    </a:lnTo>
                    <a:lnTo>
                      <a:pt x="776" y="1119"/>
                    </a:lnTo>
                    <a:lnTo>
                      <a:pt x="776" y="1121"/>
                    </a:lnTo>
                    <a:lnTo>
                      <a:pt x="778" y="1121"/>
                    </a:lnTo>
                    <a:lnTo>
                      <a:pt x="778" y="1122"/>
                    </a:lnTo>
                    <a:lnTo>
                      <a:pt x="776" y="1124"/>
                    </a:lnTo>
                    <a:lnTo>
                      <a:pt x="775" y="1124"/>
                    </a:lnTo>
                    <a:lnTo>
                      <a:pt x="773" y="1124"/>
                    </a:lnTo>
                    <a:lnTo>
                      <a:pt x="773" y="1122"/>
                    </a:lnTo>
                    <a:lnTo>
                      <a:pt x="772" y="1122"/>
                    </a:lnTo>
                    <a:lnTo>
                      <a:pt x="772" y="1121"/>
                    </a:lnTo>
                    <a:lnTo>
                      <a:pt x="770" y="1121"/>
                    </a:lnTo>
                    <a:lnTo>
                      <a:pt x="770" y="1119"/>
                    </a:lnTo>
                    <a:lnTo>
                      <a:pt x="768" y="1119"/>
                    </a:lnTo>
                    <a:lnTo>
                      <a:pt x="767" y="1119"/>
                    </a:lnTo>
                    <a:lnTo>
                      <a:pt x="765" y="1119"/>
                    </a:lnTo>
                    <a:lnTo>
                      <a:pt x="765" y="1121"/>
                    </a:lnTo>
                    <a:lnTo>
                      <a:pt x="764" y="1121"/>
                    </a:lnTo>
                    <a:lnTo>
                      <a:pt x="762" y="1122"/>
                    </a:lnTo>
                    <a:lnTo>
                      <a:pt x="760" y="1122"/>
                    </a:lnTo>
                    <a:lnTo>
                      <a:pt x="760" y="1124"/>
                    </a:lnTo>
                    <a:lnTo>
                      <a:pt x="759" y="1124"/>
                    </a:lnTo>
                    <a:lnTo>
                      <a:pt x="759" y="1125"/>
                    </a:lnTo>
                    <a:lnTo>
                      <a:pt x="757" y="1125"/>
                    </a:lnTo>
                    <a:lnTo>
                      <a:pt x="756" y="1124"/>
                    </a:lnTo>
                    <a:lnTo>
                      <a:pt x="756" y="1125"/>
                    </a:lnTo>
                    <a:lnTo>
                      <a:pt x="754" y="1125"/>
                    </a:lnTo>
                    <a:lnTo>
                      <a:pt x="754" y="1127"/>
                    </a:lnTo>
                    <a:lnTo>
                      <a:pt x="754" y="1128"/>
                    </a:lnTo>
                    <a:lnTo>
                      <a:pt x="754" y="1130"/>
                    </a:lnTo>
                    <a:lnTo>
                      <a:pt x="753" y="1130"/>
                    </a:lnTo>
                    <a:lnTo>
                      <a:pt x="753" y="1128"/>
                    </a:lnTo>
                    <a:lnTo>
                      <a:pt x="751" y="1128"/>
                    </a:lnTo>
                    <a:lnTo>
                      <a:pt x="749" y="1128"/>
                    </a:lnTo>
                    <a:lnTo>
                      <a:pt x="749" y="1130"/>
                    </a:lnTo>
                    <a:lnTo>
                      <a:pt x="749" y="1132"/>
                    </a:lnTo>
                    <a:lnTo>
                      <a:pt x="748" y="1132"/>
                    </a:lnTo>
                    <a:lnTo>
                      <a:pt x="746" y="1133"/>
                    </a:lnTo>
                    <a:lnTo>
                      <a:pt x="745" y="1135"/>
                    </a:lnTo>
                    <a:lnTo>
                      <a:pt x="745" y="1136"/>
                    </a:lnTo>
                    <a:lnTo>
                      <a:pt x="743" y="1136"/>
                    </a:lnTo>
                    <a:lnTo>
                      <a:pt x="743" y="1138"/>
                    </a:lnTo>
                    <a:lnTo>
                      <a:pt x="741" y="1138"/>
                    </a:lnTo>
                    <a:lnTo>
                      <a:pt x="740" y="1138"/>
                    </a:lnTo>
                    <a:lnTo>
                      <a:pt x="738" y="1138"/>
                    </a:lnTo>
                    <a:lnTo>
                      <a:pt x="738" y="1140"/>
                    </a:lnTo>
                    <a:lnTo>
                      <a:pt x="737" y="1140"/>
                    </a:lnTo>
                    <a:lnTo>
                      <a:pt x="735" y="1140"/>
                    </a:lnTo>
                    <a:lnTo>
                      <a:pt x="734" y="1140"/>
                    </a:lnTo>
                    <a:lnTo>
                      <a:pt x="732" y="1140"/>
                    </a:lnTo>
                    <a:lnTo>
                      <a:pt x="732" y="1141"/>
                    </a:lnTo>
                    <a:lnTo>
                      <a:pt x="730" y="1141"/>
                    </a:lnTo>
                    <a:lnTo>
                      <a:pt x="730" y="1140"/>
                    </a:lnTo>
                    <a:lnTo>
                      <a:pt x="730" y="1141"/>
                    </a:lnTo>
                    <a:lnTo>
                      <a:pt x="729" y="1141"/>
                    </a:lnTo>
                    <a:lnTo>
                      <a:pt x="729" y="1143"/>
                    </a:lnTo>
                    <a:lnTo>
                      <a:pt x="727" y="1143"/>
                    </a:lnTo>
                    <a:lnTo>
                      <a:pt x="726" y="1141"/>
                    </a:lnTo>
                    <a:lnTo>
                      <a:pt x="724" y="1141"/>
                    </a:lnTo>
                    <a:lnTo>
                      <a:pt x="724" y="1140"/>
                    </a:lnTo>
                    <a:lnTo>
                      <a:pt x="722" y="1140"/>
                    </a:lnTo>
                    <a:lnTo>
                      <a:pt x="722" y="1141"/>
                    </a:lnTo>
                    <a:lnTo>
                      <a:pt x="722" y="1143"/>
                    </a:lnTo>
                    <a:lnTo>
                      <a:pt x="722" y="1144"/>
                    </a:lnTo>
                    <a:lnTo>
                      <a:pt x="721" y="1144"/>
                    </a:lnTo>
                    <a:lnTo>
                      <a:pt x="721" y="1146"/>
                    </a:lnTo>
                    <a:lnTo>
                      <a:pt x="719" y="1146"/>
                    </a:lnTo>
                    <a:lnTo>
                      <a:pt x="719" y="1144"/>
                    </a:lnTo>
                    <a:lnTo>
                      <a:pt x="718" y="1144"/>
                    </a:lnTo>
                    <a:lnTo>
                      <a:pt x="716" y="1144"/>
                    </a:lnTo>
                    <a:lnTo>
                      <a:pt x="715" y="1144"/>
                    </a:lnTo>
                    <a:lnTo>
                      <a:pt x="713" y="1144"/>
                    </a:lnTo>
                    <a:lnTo>
                      <a:pt x="711" y="1144"/>
                    </a:lnTo>
                    <a:lnTo>
                      <a:pt x="710" y="1146"/>
                    </a:lnTo>
                    <a:lnTo>
                      <a:pt x="708" y="1146"/>
                    </a:lnTo>
                    <a:lnTo>
                      <a:pt x="707" y="1146"/>
                    </a:lnTo>
                    <a:lnTo>
                      <a:pt x="707" y="1144"/>
                    </a:lnTo>
                    <a:lnTo>
                      <a:pt x="707" y="1143"/>
                    </a:lnTo>
                    <a:lnTo>
                      <a:pt x="705" y="1143"/>
                    </a:lnTo>
                    <a:lnTo>
                      <a:pt x="705" y="1141"/>
                    </a:lnTo>
                    <a:lnTo>
                      <a:pt x="703" y="1140"/>
                    </a:lnTo>
                    <a:lnTo>
                      <a:pt x="702" y="1140"/>
                    </a:lnTo>
                    <a:lnTo>
                      <a:pt x="702" y="1138"/>
                    </a:lnTo>
                    <a:lnTo>
                      <a:pt x="702" y="1140"/>
                    </a:lnTo>
                    <a:lnTo>
                      <a:pt x="702" y="1138"/>
                    </a:lnTo>
                    <a:lnTo>
                      <a:pt x="700" y="1140"/>
                    </a:lnTo>
                    <a:lnTo>
                      <a:pt x="699" y="1140"/>
                    </a:lnTo>
                    <a:lnTo>
                      <a:pt x="697" y="1140"/>
                    </a:lnTo>
                    <a:lnTo>
                      <a:pt x="697" y="1138"/>
                    </a:lnTo>
                    <a:lnTo>
                      <a:pt x="696" y="1138"/>
                    </a:lnTo>
                    <a:lnTo>
                      <a:pt x="694" y="1136"/>
                    </a:lnTo>
                    <a:lnTo>
                      <a:pt x="694" y="1135"/>
                    </a:lnTo>
                    <a:lnTo>
                      <a:pt x="692" y="1135"/>
                    </a:lnTo>
                    <a:lnTo>
                      <a:pt x="692" y="1133"/>
                    </a:lnTo>
                    <a:lnTo>
                      <a:pt x="691" y="1133"/>
                    </a:lnTo>
                    <a:lnTo>
                      <a:pt x="691" y="1132"/>
                    </a:lnTo>
                    <a:lnTo>
                      <a:pt x="689" y="1132"/>
                    </a:lnTo>
                    <a:lnTo>
                      <a:pt x="688" y="1132"/>
                    </a:lnTo>
                    <a:lnTo>
                      <a:pt x="686" y="1132"/>
                    </a:lnTo>
                    <a:lnTo>
                      <a:pt x="686" y="1130"/>
                    </a:lnTo>
                    <a:lnTo>
                      <a:pt x="684" y="1130"/>
                    </a:lnTo>
                    <a:lnTo>
                      <a:pt x="684" y="1128"/>
                    </a:lnTo>
                    <a:lnTo>
                      <a:pt x="684" y="1127"/>
                    </a:lnTo>
                    <a:lnTo>
                      <a:pt x="684" y="1125"/>
                    </a:lnTo>
                    <a:lnTo>
                      <a:pt x="683" y="1125"/>
                    </a:lnTo>
                    <a:lnTo>
                      <a:pt x="681" y="1124"/>
                    </a:lnTo>
                    <a:lnTo>
                      <a:pt x="680" y="1124"/>
                    </a:lnTo>
                    <a:lnTo>
                      <a:pt x="680" y="1122"/>
                    </a:lnTo>
                    <a:lnTo>
                      <a:pt x="678" y="1122"/>
                    </a:lnTo>
                    <a:lnTo>
                      <a:pt x="677" y="1122"/>
                    </a:lnTo>
                    <a:lnTo>
                      <a:pt x="677" y="1121"/>
                    </a:lnTo>
                    <a:lnTo>
                      <a:pt x="677" y="1119"/>
                    </a:lnTo>
                    <a:lnTo>
                      <a:pt x="677" y="1117"/>
                    </a:lnTo>
                    <a:lnTo>
                      <a:pt x="677" y="1116"/>
                    </a:lnTo>
                    <a:lnTo>
                      <a:pt x="675" y="1116"/>
                    </a:lnTo>
                    <a:lnTo>
                      <a:pt x="673" y="1116"/>
                    </a:lnTo>
                    <a:lnTo>
                      <a:pt x="672" y="1116"/>
                    </a:lnTo>
                    <a:lnTo>
                      <a:pt x="670" y="1114"/>
                    </a:lnTo>
                    <a:lnTo>
                      <a:pt x="669" y="1114"/>
                    </a:lnTo>
                    <a:lnTo>
                      <a:pt x="669" y="1113"/>
                    </a:lnTo>
                    <a:lnTo>
                      <a:pt x="667" y="1113"/>
                    </a:lnTo>
                    <a:lnTo>
                      <a:pt x="667" y="1111"/>
                    </a:lnTo>
                    <a:lnTo>
                      <a:pt x="665" y="1111"/>
                    </a:lnTo>
                    <a:lnTo>
                      <a:pt x="665" y="1109"/>
                    </a:lnTo>
                    <a:lnTo>
                      <a:pt x="665" y="1108"/>
                    </a:lnTo>
                    <a:lnTo>
                      <a:pt x="665" y="1106"/>
                    </a:lnTo>
                    <a:lnTo>
                      <a:pt x="664" y="1106"/>
                    </a:lnTo>
                    <a:lnTo>
                      <a:pt x="664" y="1105"/>
                    </a:lnTo>
                    <a:lnTo>
                      <a:pt x="662" y="1105"/>
                    </a:lnTo>
                    <a:lnTo>
                      <a:pt x="662" y="1103"/>
                    </a:lnTo>
                    <a:lnTo>
                      <a:pt x="661" y="1102"/>
                    </a:lnTo>
                    <a:lnTo>
                      <a:pt x="659" y="1100"/>
                    </a:lnTo>
                    <a:lnTo>
                      <a:pt x="658" y="1100"/>
                    </a:lnTo>
                    <a:lnTo>
                      <a:pt x="658" y="1098"/>
                    </a:lnTo>
                    <a:lnTo>
                      <a:pt x="656" y="1098"/>
                    </a:lnTo>
                    <a:lnTo>
                      <a:pt x="654" y="1098"/>
                    </a:lnTo>
                    <a:lnTo>
                      <a:pt x="653" y="1098"/>
                    </a:lnTo>
                    <a:lnTo>
                      <a:pt x="653" y="1100"/>
                    </a:lnTo>
                    <a:lnTo>
                      <a:pt x="651" y="1100"/>
                    </a:lnTo>
                    <a:lnTo>
                      <a:pt x="650" y="1098"/>
                    </a:lnTo>
                    <a:lnTo>
                      <a:pt x="648" y="1098"/>
                    </a:lnTo>
                    <a:lnTo>
                      <a:pt x="646" y="1098"/>
                    </a:lnTo>
                    <a:lnTo>
                      <a:pt x="645" y="1098"/>
                    </a:lnTo>
                    <a:lnTo>
                      <a:pt x="645" y="1097"/>
                    </a:lnTo>
                    <a:lnTo>
                      <a:pt x="643" y="1097"/>
                    </a:lnTo>
                    <a:lnTo>
                      <a:pt x="643" y="1095"/>
                    </a:lnTo>
                    <a:lnTo>
                      <a:pt x="642" y="1095"/>
                    </a:lnTo>
                    <a:lnTo>
                      <a:pt x="640" y="1095"/>
                    </a:lnTo>
                    <a:lnTo>
                      <a:pt x="639" y="1095"/>
                    </a:lnTo>
                    <a:lnTo>
                      <a:pt x="637" y="1095"/>
                    </a:lnTo>
                    <a:lnTo>
                      <a:pt x="635" y="1095"/>
                    </a:lnTo>
                    <a:lnTo>
                      <a:pt x="634" y="1095"/>
                    </a:lnTo>
                    <a:lnTo>
                      <a:pt x="632" y="1094"/>
                    </a:lnTo>
                    <a:lnTo>
                      <a:pt x="631" y="1092"/>
                    </a:lnTo>
                    <a:lnTo>
                      <a:pt x="631" y="1090"/>
                    </a:lnTo>
                    <a:lnTo>
                      <a:pt x="629" y="1090"/>
                    </a:lnTo>
                    <a:lnTo>
                      <a:pt x="627" y="1089"/>
                    </a:lnTo>
                    <a:lnTo>
                      <a:pt x="626" y="1089"/>
                    </a:lnTo>
                    <a:lnTo>
                      <a:pt x="626" y="1087"/>
                    </a:lnTo>
                    <a:lnTo>
                      <a:pt x="624" y="1087"/>
                    </a:lnTo>
                    <a:lnTo>
                      <a:pt x="623" y="1087"/>
                    </a:lnTo>
                    <a:lnTo>
                      <a:pt x="623" y="1086"/>
                    </a:lnTo>
                    <a:lnTo>
                      <a:pt x="621" y="1086"/>
                    </a:lnTo>
                    <a:lnTo>
                      <a:pt x="620" y="1086"/>
                    </a:lnTo>
                    <a:lnTo>
                      <a:pt x="618" y="1086"/>
                    </a:lnTo>
                    <a:lnTo>
                      <a:pt x="616" y="1086"/>
                    </a:lnTo>
                    <a:lnTo>
                      <a:pt x="615" y="1086"/>
                    </a:lnTo>
                    <a:lnTo>
                      <a:pt x="615" y="1087"/>
                    </a:lnTo>
                    <a:lnTo>
                      <a:pt x="613" y="1087"/>
                    </a:lnTo>
                    <a:lnTo>
                      <a:pt x="612" y="1086"/>
                    </a:lnTo>
                    <a:lnTo>
                      <a:pt x="610" y="1086"/>
                    </a:lnTo>
                    <a:lnTo>
                      <a:pt x="608" y="1087"/>
                    </a:lnTo>
                    <a:lnTo>
                      <a:pt x="608" y="1089"/>
                    </a:lnTo>
                    <a:lnTo>
                      <a:pt x="607" y="1090"/>
                    </a:lnTo>
                    <a:lnTo>
                      <a:pt x="607" y="1092"/>
                    </a:lnTo>
                    <a:lnTo>
                      <a:pt x="607" y="1094"/>
                    </a:lnTo>
                    <a:lnTo>
                      <a:pt x="607" y="1095"/>
                    </a:lnTo>
                    <a:lnTo>
                      <a:pt x="605" y="1095"/>
                    </a:lnTo>
                    <a:lnTo>
                      <a:pt x="605" y="1097"/>
                    </a:lnTo>
                    <a:lnTo>
                      <a:pt x="604" y="1097"/>
                    </a:lnTo>
                    <a:lnTo>
                      <a:pt x="602" y="1097"/>
                    </a:lnTo>
                    <a:lnTo>
                      <a:pt x="601" y="1097"/>
                    </a:lnTo>
                    <a:lnTo>
                      <a:pt x="599" y="1097"/>
                    </a:lnTo>
                    <a:lnTo>
                      <a:pt x="599" y="1095"/>
                    </a:lnTo>
                    <a:lnTo>
                      <a:pt x="597" y="1095"/>
                    </a:lnTo>
                    <a:lnTo>
                      <a:pt x="597" y="1094"/>
                    </a:lnTo>
                    <a:lnTo>
                      <a:pt x="596" y="1092"/>
                    </a:lnTo>
                    <a:lnTo>
                      <a:pt x="594" y="1092"/>
                    </a:lnTo>
                    <a:lnTo>
                      <a:pt x="594" y="1090"/>
                    </a:lnTo>
                    <a:lnTo>
                      <a:pt x="593" y="1090"/>
                    </a:lnTo>
                    <a:lnTo>
                      <a:pt x="593" y="1089"/>
                    </a:lnTo>
                    <a:lnTo>
                      <a:pt x="593" y="1087"/>
                    </a:lnTo>
                    <a:lnTo>
                      <a:pt x="591" y="1087"/>
                    </a:lnTo>
                    <a:lnTo>
                      <a:pt x="591" y="1086"/>
                    </a:lnTo>
                    <a:lnTo>
                      <a:pt x="591" y="1084"/>
                    </a:lnTo>
                    <a:lnTo>
                      <a:pt x="591" y="1083"/>
                    </a:lnTo>
                    <a:lnTo>
                      <a:pt x="589" y="1083"/>
                    </a:lnTo>
                    <a:lnTo>
                      <a:pt x="589" y="1081"/>
                    </a:lnTo>
                    <a:lnTo>
                      <a:pt x="588" y="1081"/>
                    </a:lnTo>
                    <a:lnTo>
                      <a:pt x="588" y="1079"/>
                    </a:lnTo>
                    <a:lnTo>
                      <a:pt x="586" y="1079"/>
                    </a:lnTo>
                    <a:lnTo>
                      <a:pt x="585" y="1079"/>
                    </a:lnTo>
                    <a:lnTo>
                      <a:pt x="585" y="1078"/>
                    </a:lnTo>
                    <a:lnTo>
                      <a:pt x="583" y="1078"/>
                    </a:lnTo>
                    <a:lnTo>
                      <a:pt x="583" y="1076"/>
                    </a:lnTo>
                    <a:lnTo>
                      <a:pt x="581" y="1076"/>
                    </a:lnTo>
                    <a:lnTo>
                      <a:pt x="580" y="1076"/>
                    </a:lnTo>
                    <a:lnTo>
                      <a:pt x="578" y="1076"/>
                    </a:lnTo>
                    <a:lnTo>
                      <a:pt x="577" y="1076"/>
                    </a:lnTo>
                    <a:lnTo>
                      <a:pt x="575" y="1076"/>
                    </a:lnTo>
                    <a:lnTo>
                      <a:pt x="574" y="1076"/>
                    </a:lnTo>
                    <a:lnTo>
                      <a:pt x="572" y="1076"/>
                    </a:lnTo>
                    <a:lnTo>
                      <a:pt x="570" y="1075"/>
                    </a:lnTo>
                    <a:lnTo>
                      <a:pt x="569" y="1075"/>
                    </a:lnTo>
                    <a:lnTo>
                      <a:pt x="567" y="1075"/>
                    </a:lnTo>
                    <a:lnTo>
                      <a:pt x="567" y="1073"/>
                    </a:lnTo>
                    <a:lnTo>
                      <a:pt x="566" y="1073"/>
                    </a:lnTo>
                    <a:lnTo>
                      <a:pt x="566" y="1071"/>
                    </a:lnTo>
                    <a:lnTo>
                      <a:pt x="564" y="1071"/>
                    </a:lnTo>
                    <a:lnTo>
                      <a:pt x="564" y="1070"/>
                    </a:lnTo>
                    <a:lnTo>
                      <a:pt x="562" y="1070"/>
                    </a:lnTo>
                    <a:lnTo>
                      <a:pt x="562" y="1068"/>
                    </a:lnTo>
                    <a:lnTo>
                      <a:pt x="561" y="1068"/>
                    </a:lnTo>
                    <a:lnTo>
                      <a:pt x="561" y="1067"/>
                    </a:lnTo>
                    <a:lnTo>
                      <a:pt x="561" y="1065"/>
                    </a:lnTo>
                    <a:lnTo>
                      <a:pt x="559" y="1065"/>
                    </a:lnTo>
                    <a:lnTo>
                      <a:pt x="559" y="1063"/>
                    </a:lnTo>
                    <a:lnTo>
                      <a:pt x="559" y="1062"/>
                    </a:lnTo>
                    <a:lnTo>
                      <a:pt x="558" y="1060"/>
                    </a:lnTo>
                    <a:lnTo>
                      <a:pt x="558" y="1059"/>
                    </a:lnTo>
                    <a:lnTo>
                      <a:pt x="558" y="1057"/>
                    </a:lnTo>
                    <a:lnTo>
                      <a:pt x="558" y="1056"/>
                    </a:lnTo>
                    <a:lnTo>
                      <a:pt x="556" y="1056"/>
                    </a:lnTo>
                    <a:lnTo>
                      <a:pt x="556" y="1054"/>
                    </a:lnTo>
                    <a:lnTo>
                      <a:pt x="555" y="1054"/>
                    </a:lnTo>
                    <a:lnTo>
                      <a:pt x="555" y="1052"/>
                    </a:lnTo>
                    <a:lnTo>
                      <a:pt x="553" y="1051"/>
                    </a:lnTo>
                    <a:lnTo>
                      <a:pt x="553" y="1049"/>
                    </a:lnTo>
                    <a:lnTo>
                      <a:pt x="555" y="1048"/>
                    </a:lnTo>
                    <a:lnTo>
                      <a:pt x="556" y="1048"/>
                    </a:lnTo>
                    <a:lnTo>
                      <a:pt x="556" y="1046"/>
                    </a:lnTo>
                    <a:lnTo>
                      <a:pt x="556" y="1044"/>
                    </a:lnTo>
                    <a:lnTo>
                      <a:pt x="558" y="1044"/>
                    </a:lnTo>
                    <a:lnTo>
                      <a:pt x="558" y="1043"/>
                    </a:lnTo>
                    <a:lnTo>
                      <a:pt x="559" y="1043"/>
                    </a:lnTo>
                    <a:lnTo>
                      <a:pt x="559" y="1041"/>
                    </a:lnTo>
                    <a:lnTo>
                      <a:pt x="559" y="1040"/>
                    </a:lnTo>
                    <a:lnTo>
                      <a:pt x="561" y="1040"/>
                    </a:lnTo>
                    <a:lnTo>
                      <a:pt x="561" y="1038"/>
                    </a:lnTo>
                    <a:lnTo>
                      <a:pt x="562" y="1037"/>
                    </a:lnTo>
                    <a:lnTo>
                      <a:pt x="562" y="1035"/>
                    </a:lnTo>
                    <a:lnTo>
                      <a:pt x="562" y="1033"/>
                    </a:lnTo>
                    <a:lnTo>
                      <a:pt x="562" y="1032"/>
                    </a:lnTo>
                    <a:lnTo>
                      <a:pt x="561" y="1030"/>
                    </a:lnTo>
                    <a:lnTo>
                      <a:pt x="559" y="1030"/>
                    </a:lnTo>
                    <a:lnTo>
                      <a:pt x="559" y="1029"/>
                    </a:lnTo>
                    <a:lnTo>
                      <a:pt x="558" y="1029"/>
                    </a:lnTo>
                    <a:lnTo>
                      <a:pt x="556" y="1027"/>
                    </a:lnTo>
                    <a:lnTo>
                      <a:pt x="555" y="1027"/>
                    </a:lnTo>
                    <a:lnTo>
                      <a:pt x="553" y="1027"/>
                    </a:lnTo>
                    <a:lnTo>
                      <a:pt x="551" y="1027"/>
                    </a:lnTo>
                    <a:lnTo>
                      <a:pt x="550" y="1027"/>
                    </a:lnTo>
                    <a:lnTo>
                      <a:pt x="548" y="1027"/>
                    </a:lnTo>
                    <a:lnTo>
                      <a:pt x="547" y="1027"/>
                    </a:lnTo>
                    <a:lnTo>
                      <a:pt x="545" y="1027"/>
                    </a:lnTo>
                    <a:lnTo>
                      <a:pt x="543" y="1027"/>
                    </a:lnTo>
                    <a:lnTo>
                      <a:pt x="542" y="1027"/>
                    </a:lnTo>
                    <a:lnTo>
                      <a:pt x="540" y="1025"/>
                    </a:lnTo>
                    <a:lnTo>
                      <a:pt x="539" y="1025"/>
                    </a:lnTo>
                    <a:lnTo>
                      <a:pt x="537" y="1025"/>
                    </a:lnTo>
                    <a:lnTo>
                      <a:pt x="536" y="1025"/>
                    </a:lnTo>
                    <a:lnTo>
                      <a:pt x="536" y="1024"/>
                    </a:lnTo>
                    <a:lnTo>
                      <a:pt x="534" y="1024"/>
                    </a:lnTo>
                    <a:lnTo>
                      <a:pt x="532" y="1024"/>
                    </a:lnTo>
                    <a:lnTo>
                      <a:pt x="531" y="1024"/>
                    </a:lnTo>
                    <a:lnTo>
                      <a:pt x="531" y="1022"/>
                    </a:lnTo>
                    <a:lnTo>
                      <a:pt x="529" y="1022"/>
                    </a:lnTo>
                    <a:lnTo>
                      <a:pt x="528" y="1022"/>
                    </a:lnTo>
                    <a:lnTo>
                      <a:pt x="528" y="1021"/>
                    </a:lnTo>
                    <a:lnTo>
                      <a:pt x="526" y="1021"/>
                    </a:lnTo>
                    <a:lnTo>
                      <a:pt x="526" y="1019"/>
                    </a:lnTo>
                    <a:lnTo>
                      <a:pt x="524" y="1019"/>
                    </a:lnTo>
                    <a:lnTo>
                      <a:pt x="524" y="1018"/>
                    </a:lnTo>
                    <a:lnTo>
                      <a:pt x="523" y="1018"/>
                    </a:lnTo>
                    <a:lnTo>
                      <a:pt x="523" y="1016"/>
                    </a:lnTo>
                    <a:lnTo>
                      <a:pt x="521" y="1016"/>
                    </a:lnTo>
                    <a:lnTo>
                      <a:pt x="520" y="1016"/>
                    </a:lnTo>
                    <a:lnTo>
                      <a:pt x="518" y="1016"/>
                    </a:lnTo>
                    <a:lnTo>
                      <a:pt x="517" y="1016"/>
                    </a:lnTo>
                    <a:lnTo>
                      <a:pt x="515" y="1016"/>
                    </a:lnTo>
                    <a:lnTo>
                      <a:pt x="513" y="1016"/>
                    </a:lnTo>
                    <a:lnTo>
                      <a:pt x="512" y="1016"/>
                    </a:lnTo>
                    <a:lnTo>
                      <a:pt x="510" y="1016"/>
                    </a:lnTo>
                    <a:lnTo>
                      <a:pt x="509" y="1016"/>
                    </a:lnTo>
                    <a:lnTo>
                      <a:pt x="507" y="1016"/>
                    </a:lnTo>
                    <a:lnTo>
                      <a:pt x="507" y="1014"/>
                    </a:lnTo>
                    <a:lnTo>
                      <a:pt x="505" y="1014"/>
                    </a:lnTo>
                    <a:lnTo>
                      <a:pt x="505" y="1013"/>
                    </a:lnTo>
                    <a:lnTo>
                      <a:pt x="504" y="1013"/>
                    </a:lnTo>
                    <a:lnTo>
                      <a:pt x="504" y="1011"/>
                    </a:lnTo>
                    <a:lnTo>
                      <a:pt x="504" y="1010"/>
                    </a:lnTo>
                    <a:lnTo>
                      <a:pt x="502" y="1010"/>
                    </a:lnTo>
                    <a:lnTo>
                      <a:pt x="501" y="1010"/>
                    </a:lnTo>
                    <a:lnTo>
                      <a:pt x="501" y="1008"/>
                    </a:lnTo>
                    <a:lnTo>
                      <a:pt x="499" y="1008"/>
                    </a:lnTo>
                    <a:lnTo>
                      <a:pt x="498" y="1006"/>
                    </a:lnTo>
                    <a:lnTo>
                      <a:pt x="496" y="1006"/>
                    </a:lnTo>
                    <a:lnTo>
                      <a:pt x="496" y="1008"/>
                    </a:lnTo>
                    <a:lnTo>
                      <a:pt x="494" y="1008"/>
                    </a:lnTo>
                    <a:lnTo>
                      <a:pt x="493" y="1008"/>
                    </a:lnTo>
                    <a:lnTo>
                      <a:pt x="491" y="1008"/>
                    </a:lnTo>
                    <a:lnTo>
                      <a:pt x="490" y="1008"/>
                    </a:lnTo>
                    <a:lnTo>
                      <a:pt x="488" y="1008"/>
                    </a:lnTo>
                    <a:lnTo>
                      <a:pt x="486" y="1008"/>
                    </a:lnTo>
                    <a:lnTo>
                      <a:pt x="485" y="1008"/>
                    </a:lnTo>
                    <a:lnTo>
                      <a:pt x="483" y="1008"/>
                    </a:lnTo>
                    <a:lnTo>
                      <a:pt x="482" y="1008"/>
                    </a:lnTo>
                    <a:lnTo>
                      <a:pt x="482" y="1006"/>
                    </a:lnTo>
                    <a:lnTo>
                      <a:pt x="480" y="1006"/>
                    </a:lnTo>
                    <a:lnTo>
                      <a:pt x="480" y="1008"/>
                    </a:lnTo>
                    <a:lnTo>
                      <a:pt x="479" y="1008"/>
                    </a:lnTo>
                    <a:lnTo>
                      <a:pt x="477" y="1008"/>
                    </a:lnTo>
                    <a:lnTo>
                      <a:pt x="475" y="1008"/>
                    </a:lnTo>
                    <a:lnTo>
                      <a:pt x="474" y="1008"/>
                    </a:lnTo>
                    <a:lnTo>
                      <a:pt x="472" y="1008"/>
                    </a:lnTo>
                    <a:lnTo>
                      <a:pt x="472" y="1006"/>
                    </a:lnTo>
                    <a:lnTo>
                      <a:pt x="471" y="1006"/>
                    </a:lnTo>
                    <a:lnTo>
                      <a:pt x="471" y="1005"/>
                    </a:lnTo>
                    <a:lnTo>
                      <a:pt x="469" y="1005"/>
                    </a:lnTo>
                    <a:lnTo>
                      <a:pt x="469" y="1003"/>
                    </a:lnTo>
                    <a:lnTo>
                      <a:pt x="469" y="1002"/>
                    </a:lnTo>
                    <a:lnTo>
                      <a:pt x="467" y="1002"/>
                    </a:lnTo>
                    <a:lnTo>
                      <a:pt x="467" y="1000"/>
                    </a:lnTo>
                    <a:lnTo>
                      <a:pt x="466" y="1000"/>
                    </a:lnTo>
                    <a:lnTo>
                      <a:pt x="464" y="1000"/>
                    </a:lnTo>
                    <a:lnTo>
                      <a:pt x="463" y="1000"/>
                    </a:lnTo>
                    <a:lnTo>
                      <a:pt x="461" y="999"/>
                    </a:lnTo>
                    <a:lnTo>
                      <a:pt x="461" y="1000"/>
                    </a:lnTo>
                    <a:lnTo>
                      <a:pt x="460" y="1000"/>
                    </a:lnTo>
                    <a:lnTo>
                      <a:pt x="458" y="1000"/>
                    </a:lnTo>
                    <a:lnTo>
                      <a:pt x="456" y="1000"/>
                    </a:lnTo>
                    <a:lnTo>
                      <a:pt x="456" y="999"/>
                    </a:lnTo>
                    <a:lnTo>
                      <a:pt x="455" y="999"/>
                    </a:lnTo>
                    <a:lnTo>
                      <a:pt x="453" y="999"/>
                    </a:lnTo>
                    <a:lnTo>
                      <a:pt x="452" y="999"/>
                    </a:lnTo>
                    <a:lnTo>
                      <a:pt x="450" y="999"/>
                    </a:lnTo>
                    <a:lnTo>
                      <a:pt x="450" y="1000"/>
                    </a:lnTo>
                    <a:lnTo>
                      <a:pt x="448" y="1000"/>
                    </a:lnTo>
                    <a:lnTo>
                      <a:pt x="448" y="1002"/>
                    </a:lnTo>
                    <a:lnTo>
                      <a:pt x="447" y="1002"/>
                    </a:lnTo>
                    <a:lnTo>
                      <a:pt x="447" y="1000"/>
                    </a:lnTo>
                    <a:lnTo>
                      <a:pt x="445" y="1000"/>
                    </a:lnTo>
                    <a:lnTo>
                      <a:pt x="444" y="999"/>
                    </a:lnTo>
                    <a:lnTo>
                      <a:pt x="442" y="999"/>
                    </a:lnTo>
                    <a:lnTo>
                      <a:pt x="441" y="999"/>
                    </a:lnTo>
                    <a:lnTo>
                      <a:pt x="439" y="999"/>
                    </a:lnTo>
                    <a:lnTo>
                      <a:pt x="439" y="997"/>
                    </a:lnTo>
                    <a:lnTo>
                      <a:pt x="437" y="997"/>
                    </a:lnTo>
                    <a:lnTo>
                      <a:pt x="437" y="995"/>
                    </a:lnTo>
                    <a:lnTo>
                      <a:pt x="437" y="994"/>
                    </a:lnTo>
                    <a:lnTo>
                      <a:pt x="436" y="994"/>
                    </a:lnTo>
                    <a:lnTo>
                      <a:pt x="436" y="992"/>
                    </a:lnTo>
                    <a:lnTo>
                      <a:pt x="434" y="992"/>
                    </a:lnTo>
                    <a:lnTo>
                      <a:pt x="433" y="992"/>
                    </a:lnTo>
                    <a:lnTo>
                      <a:pt x="431" y="992"/>
                    </a:lnTo>
                    <a:lnTo>
                      <a:pt x="431" y="994"/>
                    </a:lnTo>
                    <a:lnTo>
                      <a:pt x="429" y="994"/>
                    </a:lnTo>
                    <a:lnTo>
                      <a:pt x="428" y="994"/>
                    </a:lnTo>
                    <a:lnTo>
                      <a:pt x="426" y="994"/>
                    </a:lnTo>
                    <a:lnTo>
                      <a:pt x="425" y="994"/>
                    </a:lnTo>
                    <a:lnTo>
                      <a:pt x="423" y="994"/>
                    </a:lnTo>
                    <a:lnTo>
                      <a:pt x="422" y="994"/>
                    </a:lnTo>
                    <a:lnTo>
                      <a:pt x="420" y="994"/>
                    </a:lnTo>
                    <a:lnTo>
                      <a:pt x="418" y="994"/>
                    </a:lnTo>
                    <a:lnTo>
                      <a:pt x="417" y="994"/>
                    </a:lnTo>
                    <a:lnTo>
                      <a:pt x="415" y="994"/>
                    </a:lnTo>
                    <a:lnTo>
                      <a:pt x="414" y="994"/>
                    </a:lnTo>
                    <a:lnTo>
                      <a:pt x="414" y="995"/>
                    </a:lnTo>
                    <a:lnTo>
                      <a:pt x="414" y="997"/>
                    </a:lnTo>
                    <a:lnTo>
                      <a:pt x="414" y="999"/>
                    </a:lnTo>
                    <a:lnTo>
                      <a:pt x="412" y="999"/>
                    </a:lnTo>
                    <a:lnTo>
                      <a:pt x="412" y="1000"/>
                    </a:lnTo>
                    <a:lnTo>
                      <a:pt x="410" y="1000"/>
                    </a:lnTo>
                    <a:lnTo>
                      <a:pt x="410" y="1002"/>
                    </a:lnTo>
                    <a:lnTo>
                      <a:pt x="412" y="1002"/>
                    </a:lnTo>
                    <a:lnTo>
                      <a:pt x="412" y="1003"/>
                    </a:lnTo>
                    <a:lnTo>
                      <a:pt x="412" y="1005"/>
                    </a:lnTo>
                    <a:lnTo>
                      <a:pt x="412" y="1006"/>
                    </a:lnTo>
                    <a:lnTo>
                      <a:pt x="410" y="1006"/>
                    </a:lnTo>
                    <a:lnTo>
                      <a:pt x="409" y="1006"/>
                    </a:lnTo>
                    <a:lnTo>
                      <a:pt x="407" y="1008"/>
                    </a:lnTo>
                    <a:lnTo>
                      <a:pt x="406" y="1008"/>
                    </a:lnTo>
                    <a:lnTo>
                      <a:pt x="406" y="1006"/>
                    </a:lnTo>
                    <a:lnTo>
                      <a:pt x="404" y="1006"/>
                    </a:lnTo>
                    <a:lnTo>
                      <a:pt x="404" y="1005"/>
                    </a:lnTo>
                    <a:lnTo>
                      <a:pt x="403" y="1005"/>
                    </a:lnTo>
                    <a:lnTo>
                      <a:pt x="403" y="1003"/>
                    </a:lnTo>
                    <a:lnTo>
                      <a:pt x="403" y="1002"/>
                    </a:lnTo>
                    <a:lnTo>
                      <a:pt x="401" y="1002"/>
                    </a:lnTo>
                    <a:lnTo>
                      <a:pt x="399" y="1000"/>
                    </a:lnTo>
                    <a:lnTo>
                      <a:pt x="399" y="999"/>
                    </a:lnTo>
                    <a:lnTo>
                      <a:pt x="398" y="999"/>
                    </a:lnTo>
                    <a:lnTo>
                      <a:pt x="398" y="997"/>
                    </a:lnTo>
                    <a:lnTo>
                      <a:pt x="396" y="997"/>
                    </a:lnTo>
                    <a:lnTo>
                      <a:pt x="395" y="997"/>
                    </a:lnTo>
                    <a:lnTo>
                      <a:pt x="393" y="995"/>
                    </a:lnTo>
                    <a:lnTo>
                      <a:pt x="391" y="995"/>
                    </a:lnTo>
                    <a:lnTo>
                      <a:pt x="391" y="994"/>
                    </a:lnTo>
                    <a:lnTo>
                      <a:pt x="390" y="994"/>
                    </a:lnTo>
                    <a:lnTo>
                      <a:pt x="390" y="992"/>
                    </a:lnTo>
                    <a:lnTo>
                      <a:pt x="388" y="992"/>
                    </a:lnTo>
                    <a:lnTo>
                      <a:pt x="387" y="992"/>
                    </a:lnTo>
                    <a:lnTo>
                      <a:pt x="385" y="992"/>
                    </a:lnTo>
                    <a:lnTo>
                      <a:pt x="385" y="991"/>
                    </a:lnTo>
                    <a:lnTo>
                      <a:pt x="383" y="991"/>
                    </a:lnTo>
                    <a:lnTo>
                      <a:pt x="382" y="991"/>
                    </a:lnTo>
                    <a:lnTo>
                      <a:pt x="382" y="992"/>
                    </a:lnTo>
                    <a:lnTo>
                      <a:pt x="380" y="992"/>
                    </a:lnTo>
                    <a:lnTo>
                      <a:pt x="379" y="992"/>
                    </a:lnTo>
                    <a:lnTo>
                      <a:pt x="379" y="994"/>
                    </a:lnTo>
                    <a:lnTo>
                      <a:pt x="377" y="994"/>
                    </a:lnTo>
                    <a:lnTo>
                      <a:pt x="376" y="994"/>
                    </a:lnTo>
                    <a:lnTo>
                      <a:pt x="374" y="994"/>
                    </a:lnTo>
                    <a:lnTo>
                      <a:pt x="372" y="994"/>
                    </a:lnTo>
                    <a:lnTo>
                      <a:pt x="371" y="994"/>
                    </a:lnTo>
                    <a:lnTo>
                      <a:pt x="371" y="992"/>
                    </a:lnTo>
                    <a:lnTo>
                      <a:pt x="369" y="992"/>
                    </a:lnTo>
                    <a:lnTo>
                      <a:pt x="369" y="991"/>
                    </a:lnTo>
                    <a:lnTo>
                      <a:pt x="368" y="991"/>
                    </a:lnTo>
                    <a:lnTo>
                      <a:pt x="368" y="989"/>
                    </a:lnTo>
                    <a:lnTo>
                      <a:pt x="368" y="987"/>
                    </a:lnTo>
                    <a:lnTo>
                      <a:pt x="368" y="986"/>
                    </a:lnTo>
                    <a:lnTo>
                      <a:pt x="366" y="986"/>
                    </a:lnTo>
                    <a:lnTo>
                      <a:pt x="366" y="984"/>
                    </a:lnTo>
                    <a:lnTo>
                      <a:pt x="364" y="984"/>
                    </a:lnTo>
                    <a:lnTo>
                      <a:pt x="364" y="983"/>
                    </a:lnTo>
                    <a:lnTo>
                      <a:pt x="364" y="981"/>
                    </a:lnTo>
                    <a:lnTo>
                      <a:pt x="364" y="980"/>
                    </a:lnTo>
                    <a:lnTo>
                      <a:pt x="366" y="978"/>
                    </a:lnTo>
                    <a:lnTo>
                      <a:pt x="366" y="976"/>
                    </a:lnTo>
                    <a:lnTo>
                      <a:pt x="366" y="975"/>
                    </a:lnTo>
                    <a:lnTo>
                      <a:pt x="368" y="975"/>
                    </a:lnTo>
                    <a:lnTo>
                      <a:pt x="368" y="973"/>
                    </a:lnTo>
                    <a:lnTo>
                      <a:pt x="368" y="972"/>
                    </a:lnTo>
                    <a:lnTo>
                      <a:pt x="369" y="972"/>
                    </a:lnTo>
                    <a:lnTo>
                      <a:pt x="369" y="970"/>
                    </a:lnTo>
                    <a:lnTo>
                      <a:pt x="371" y="968"/>
                    </a:lnTo>
                    <a:lnTo>
                      <a:pt x="371" y="967"/>
                    </a:lnTo>
                    <a:lnTo>
                      <a:pt x="372" y="967"/>
                    </a:lnTo>
                    <a:lnTo>
                      <a:pt x="372" y="965"/>
                    </a:lnTo>
                    <a:lnTo>
                      <a:pt x="371" y="965"/>
                    </a:lnTo>
                    <a:lnTo>
                      <a:pt x="371" y="964"/>
                    </a:lnTo>
                    <a:lnTo>
                      <a:pt x="371" y="962"/>
                    </a:lnTo>
                    <a:lnTo>
                      <a:pt x="369" y="962"/>
                    </a:lnTo>
                    <a:lnTo>
                      <a:pt x="369" y="960"/>
                    </a:lnTo>
                    <a:lnTo>
                      <a:pt x="368" y="960"/>
                    </a:lnTo>
                    <a:lnTo>
                      <a:pt x="368" y="959"/>
                    </a:lnTo>
                    <a:lnTo>
                      <a:pt x="368" y="957"/>
                    </a:lnTo>
                    <a:lnTo>
                      <a:pt x="366" y="957"/>
                    </a:lnTo>
                    <a:lnTo>
                      <a:pt x="364" y="959"/>
                    </a:lnTo>
                    <a:lnTo>
                      <a:pt x="363" y="959"/>
                    </a:lnTo>
                    <a:lnTo>
                      <a:pt x="361" y="959"/>
                    </a:lnTo>
                    <a:lnTo>
                      <a:pt x="360" y="959"/>
                    </a:lnTo>
                    <a:lnTo>
                      <a:pt x="358" y="959"/>
                    </a:lnTo>
                    <a:lnTo>
                      <a:pt x="357" y="959"/>
                    </a:lnTo>
                    <a:lnTo>
                      <a:pt x="355" y="959"/>
                    </a:lnTo>
                    <a:lnTo>
                      <a:pt x="355" y="957"/>
                    </a:lnTo>
                    <a:lnTo>
                      <a:pt x="353" y="957"/>
                    </a:lnTo>
                    <a:lnTo>
                      <a:pt x="352" y="957"/>
                    </a:lnTo>
                    <a:lnTo>
                      <a:pt x="352" y="959"/>
                    </a:lnTo>
                    <a:lnTo>
                      <a:pt x="350" y="959"/>
                    </a:lnTo>
                    <a:lnTo>
                      <a:pt x="349" y="959"/>
                    </a:lnTo>
                    <a:lnTo>
                      <a:pt x="347" y="959"/>
                    </a:lnTo>
                    <a:lnTo>
                      <a:pt x="345" y="959"/>
                    </a:lnTo>
                    <a:lnTo>
                      <a:pt x="345" y="960"/>
                    </a:lnTo>
                    <a:lnTo>
                      <a:pt x="345" y="962"/>
                    </a:lnTo>
                    <a:lnTo>
                      <a:pt x="344" y="962"/>
                    </a:lnTo>
                    <a:lnTo>
                      <a:pt x="344" y="964"/>
                    </a:lnTo>
                    <a:lnTo>
                      <a:pt x="344" y="965"/>
                    </a:lnTo>
                    <a:lnTo>
                      <a:pt x="342" y="965"/>
                    </a:lnTo>
                    <a:lnTo>
                      <a:pt x="342" y="967"/>
                    </a:lnTo>
                    <a:lnTo>
                      <a:pt x="341" y="967"/>
                    </a:lnTo>
                    <a:lnTo>
                      <a:pt x="339" y="967"/>
                    </a:lnTo>
                    <a:lnTo>
                      <a:pt x="338" y="967"/>
                    </a:lnTo>
                    <a:lnTo>
                      <a:pt x="338" y="965"/>
                    </a:lnTo>
                    <a:lnTo>
                      <a:pt x="336" y="967"/>
                    </a:lnTo>
                    <a:lnTo>
                      <a:pt x="334" y="967"/>
                    </a:lnTo>
                    <a:lnTo>
                      <a:pt x="333" y="967"/>
                    </a:lnTo>
                    <a:lnTo>
                      <a:pt x="331" y="967"/>
                    </a:lnTo>
                    <a:lnTo>
                      <a:pt x="331" y="965"/>
                    </a:lnTo>
                    <a:lnTo>
                      <a:pt x="330" y="965"/>
                    </a:lnTo>
                    <a:lnTo>
                      <a:pt x="330" y="964"/>
                    </a:lnTo>
                    <a:lnTo>
                      <a:pt x="328" y="964"/>
                    </a:lnTo>
                    <a:lnTo>
                      <a:pt x="328" y="962"/>
                    </a:lnTo>
                    <a:lnTo>
                      <a:pt x="326" y="962"/>
                    </a:lnTo>
                    <a:lnTo>
                      <a:pt x="326" y="960"/>
                    </a:lnTo>
                    <a:lnTo>
                      <a:pt x="325" y="960"/>
                    </a:lnTo>
                    <a:lnTo>
                      <a:pt x="325" y="959"/>
                    </a:lnTo>
                    <a:lnTo>
                      <a:pt x="325" y="957"/>
                    </a:lnTo>
                    <a:lnTo>
                      <a:pt x="323" y="957"/>
                    </a:lnTo>
                    <a:lnTo>
                      <a:pt x="323" y="956"/>
                    </a:lnTo>
                    <a:lnTo>
                      <a:pt x="323" y="954"/>
                    </a:lnTo>
                    <a:lnTo>
                      <a:pt x="322" y="953"/>
                    </a:lnTo>
                    <a:lnTo>
                      <a:pt x="320" y="953"/>
                    </a:lnTo>
                    <a:lnTo>
                      <a:pt x="320" y="951"/>
                    </a:lnTo>
                    <a:lnTo>
                      <a:pt x="319" y="951"/>
                    </a:lnTo>
                    <a:lnTo>
                      <a:pt x="319" y="949"/>
                    </a:lnTo>
                    <a:lnTo>
                      <a:pt x="319" y="948"/>
                    </a:lnTo>
                    <a:lnTo>
                      <a:pt x="319" y="946"/>
                    </a:lnTo>
                    <a:lnTo>
                      <a:pt x="317" y="946"/>
                    </a:lnTo>
                    <a:lnTo>
                      <a:pt x="319" y="945"/>
                    </a:lnTo>
                    <a:lnTo>
                      <a:pt x="317" y="945"/>
                    </a:lnTo>
                    <a:lnTo>
                      <a:pt x="315" y="945"/>
                    </a:lnTo>
                    <a:lnTo>
                      <a:pt x="314" y="946"/>
                    </a:lnTo>
                    <a:lnTo>
                      <a:pt x="312" y="946"/>
                    </a:lnTo>
                    <a:lnTo>
                      <a:pt x="311" y="946"/>
                    </a:lnTo>
                    <a:lnTo>
                      <a:pt x="309" y="946"/>
                    </a:lnTo>
                    <a:lnTo>
                      <a:pt x="307" y="946"/>
                    </a:lnTo>
                    <a:lnTo>
                      <a:pt x="306" y="946"/>
                    </a:lnTo>
                    <a:lnTo>
                      <a:pt x="306" y="945"/>
                    </a:lnTo>
                    <a:lnTo>
                      <a:pt x="304" y="945"/>
                    </a:lnTo>
                    <a:lnTo>
                      <a:pt x="304" y="943"/>
                    </a:lnTo>
                    <a:lnTo>
                      <a:pt x="304" y="941"/>
                    </a:lnTo>
                    <a:lnTo>
                      <a:pt x="303" y="941"/>
                    </a:lnTo>
                    <a:lnTo>
                      <a:pt x="303" y="940"/>
                    </a:lnTo>
                    <a:lnTo>
                      <a:pt x="303" y="938"/>
                    </a:lnTo>
                    <a:lnTo>
                      <a:pt x="303" y="937"/>
                    </a:lnTo>
                    <a:lnTo>
                      <a:pt x="301" y="937"/>
                    </a:lnTo>
                    <a:lnTo>
                      <a:pt x="301" y="938"/>
                    </a:lnTo>
                    <a:lnTo>
                      <a:pt x="300" y="938"/>
                    </a:lnTo>
                    <a:lnTo>
                      <a:pt x="300" y="937"/>
                    </a:lnTo>
                    <a:lnTo>
                      <a:pt x="300" y="935"/>
                    </a:lnTo>
                    <a:lnTo>
                      <a:pt x="301" y="935"/>
                    </a:lnTo>
                    <a:lnTo>
                      <a:pt x="301" y="934"/>
                    </a:lnTo>
                    <a:lnTo>
                      <a:pt x="301" y="932"/>
                    </a:lnTo>
                    <a:lnTo>
                      <a:pt x="301" y="930"/>
                    </a:lnTo>
                    <a:lnTo>
                      <a:pt x="301" y="929"/>
                    </a:lnTo>
                    <a:lnTo>
                      <a:pt x="300" y="929"/>
                    </a:lnTo>
                    <a:lnTo>
                      <a:pt x="300" y="927"/>
                    </a:lnTo>
                    <a:lnTo>
                      <a:pt x="298" y="926"/>
                    </a:lnTo>
                    <a:lnTo>
                      <a:pt x="298" y="924"/>
                    </a:lnTo>
                    <a:lnTo>
                      <a:pt x="296" y="924"/>
                    </a:lnTo>
                    <a:lnTo>
                      <a:pt x="295" y="924"/>
                    </a:lnTo>
                    <a:lnTo>
                      <a:pt x="295" y="922"/>
                    </a:lnTo>
                    <a:lnTo>
                      <a:pt x="295" y="921"/>
                    </a:lnTo>
                    <a:lnTo>
                      <a:pt x="295" y="919"/>
                    </a:lnTo>
                    <a:lnTo>
                      <a:pt x="296" y="919"/>
                    </a:lnTo>
                    <a:lnTo>
                      <a:pt x="296" y="918"/>
                    </a:lnTo>
                    <a:lnTo>
                      <a:pt x="298" y="918"/>
                    </a:lnTo>
                    <a:lnTo>
                      <a:pt x="300" y="918"/>
                    </a:lnTo>
                    <a:lnTo>
                      <a:pt x="301" y="918"/>
                    </a:lnTo>
                    <a:lnTo>
                      <a:pt x="303" y="918"/>
                    </a:lnTo>
                    <a:lnTo>
                      <a:pt x="303" y="916"/>
                    </a:lnTo>
                    <a:lnTo>
                      <a:pt x="301" y="916"/>
                    </a:lnTo>
                    <a:lnTo>
                      <a:pt x="301" y="915"/>
                    </a:lnTo>
                    <a:lnTo>
                      <a:pt x="301" y="913"/>
                    </a:lnTo>
                    <a:lnTo>
                      <a:pt x="301" y="911"/>
                    </a:lnTo>
                    <a:lnTo>
                      <a:pt x="303" y="910"/>
                    </a:lnTo>
                    <a:lnTo>
                      <a:pt x="304" y="910"/>
                    </a:lnTo>
                    <a:lnTo>
                      <a:pt x="306" y="908"/>
                    </a:lnTo>
                    <a:lnTo>
                      <a:pt x="307" y="907"/>
                    </a:lnTo>
                    <a:lnTo>
                      <a:pt x="307" y="905"/>
                    </a:lnTo>
                    <a:lnTo>
                      <a:pt x="306" y="905"/>
                    </a:lnTo>
                    <a:lnTo>
                      <a:pt x="306" y="903"/>
                    </a:lnTo>
                    <a:lnTo>
                      <a:pt x="304" y="903"/>
                    </a:lnTo>
                    <a:lnTo>
                      <a:pt x="304" y="902"/>
                    </a:lnTo>
                    <a:lnTo>
                      <a:pt x="303" y="902"/>
                    </a:lnTo>
                    <a:lnTo>
                      <a:pt x="303" y="900"/>
                    </a:lnTo>
                    <a:lnTo>
                      <a:pt x="304" y="900"/>
                    </a:lnTo>
                    <a:lnTo>
                      <a:pt x="306" y="900"/>
                    </a:lnTo>
                    <a:lnTo>
                      <a:pt x="306" y="899"/>
                    </a:lnTo>
                    <a:lnTo>
                      <a:pt x="306" y="897"/>
                    </a:lnTo>
                    <a:lnTo>
                      <a:pt x="304" y="897"/>
                    </a:lnTo>
                    <a:lnTo>
                      <a:pt x="304" y="896"/>
                    </a:lnTo>
                    <a:lnTo>
                      <a:pt x="304" y="894"/>
                    </a:lnTo>
                    <a:lnTo>
                      <a:pt x="306" y="892"/>
                    </a:lnTo>
                    <a:lnTo>
                      <a:pt x="307" y="891"/>
                    </a:lnTo>
                    <a:lnTo>
                      <a:pt x="307" y="889"/>
                    </a:lnTo>
                    <a:lnTo>
                      <a:pt x="309" y="889"/>
                    </a:lnTo>
                    <a:lnTo>
                      <a:pt x="309" y="888"/>
                    </a:lnTo>
                    <a:lnTo>
                      <a:pt x="309" y="886"/>
                    </a:lnTo>
                    <a:lnTo>
                      <a:pt x="311" y="886"/>
                    </a:lnTo>
                    <a:lnTo>
                      <a:pt x="311" y="884"/>
                    </a:lnTo>
                    <a:lnTo>
                      <a:pt x="312" y="884"/>
                    </a:lnTo>
                    <a:lnTo>
                      <a:pt x="314" y="884"/>
                    </a:lnTo>
                    <a:lnTo>
                      <a:pt x="315" y="884"/>
                    </a:lnTo>
                    <a:lnTo>
                      <a:pt x="315" y="883"/>
                    </a:lnTo>
                    <a:lnTo>
                      <a:pt x="317" y="883"/>
                    </a:lnTo>
                    <a:lnTo>
                      <a:pt x="317" y="881"/>
                    </a:lnTo>
                    <a:lnTo>
                      <a:pt x="319" y="881"/>
                    </a:lnTo>
                    <a:lnTo>
                      <a:pt x="319" y="880"/>
                    </a:lnTo>
                    <a:lnTo>
                      <a:pt x="320" y="880"/>
                    </a:lnTo>
                    <a:lnTo>
                      <a:pt x="320" y="878"/>
                    </a:lnTo>
                    <a:lnTo>
                      <a:pt x="320" y="877"/>
                    </a:lnTo>
                    <a:lnTo>
                      <a:pt x="322" y="877"/>
                    </a:lnTo>
                    <a:lnTo>
                      <a:pt x="322" y="875"/>
                    </a:lnTo>
                    <a:lnTo>
                      <a:pt x="322" y="873"/>
                    </a:lnTo>
                    <a:lnTo>
                      <a:pt x="322" y="872"/>
                    </a:lnTo>
                    <a:lnTo>
                      <a:pt x="322" y="870"/>
                    </a:lnTo>
                    <a:lnTo>
                      <a:pt x="323" y="870"/>
                    </a:lnTo>
                    <a:lnTo>
                      <a:pt x="323" y="869"/>
                    </a:lnTo>
                    <a:lnTo>
                      <a:pt x="322" y="869"/>
                    </a:lnTo>
                    <a:lnTo>
                      <a:pt x="320" y="869"/>
                    </a:lnTo>
                    <a:lnTo>
                      <a:pt x="319" y="869"/>
                    </a:lnTo>
                    <a:lnTo>
                      <a:pt x="317" y="869"/>
                    </a:lnTo>
                    <a:lnTo>
                      <a:pt x="315" y="869"/>
                    </a:lnTo>
                    <a:lnTo>
                      <a:pt x="314" y="869"/>
                    </a:lnTo>
                    <a:lnTo>
                      <a:pt x="312" y="869"/>
                    </a:lnTo>
                    <a:lnTo>
                      <a:pt x="312" y="870"/>
                    </a:lnTo>
                    <a:lnTo>
                      <a:pt x="311" y="870"/>
                    </a:lnTo>
                    <a:lnTo>
                      <a:pt x="311" y="872"/>
                    </a:lnTo>
                    <a:lnTo>
                      <a:pt x="309" y="873"/>
                    </a:lnTo>
                    <a:lnTo>
                      <a:pt x="309" y="875"/>
                    </a:lnTo>
                    <a:lnTo>
                      <a:pt x="307" y="875"/>
                    </a:lnTo>
                    <a:lnTo>
                      <a:pt x="307" y="877"/>
                    </a:lnTo>
                    <a:lnTo>
                      <a:pt x="306" y="877"/>
                    </a:lnTo>
                    <a:lnTo>
                      <a:pt x="306" y="878"/>
                    </a:lnTo>
                    <a:lnTo>
                      <a:pt x="304" y="878"/>
                    </a:lnTo>
                    <a:lnTo>
                      <a:pt x="304" y="880"/>
                    </a:lnTo>
                    <a:lnTo>
                      <a:pt x="303" y="880"/>
                    </a:lnTo>
                    <a:lnTo>
                      <a:pt x="303" y="881"/>
                    </a:lnTo>
                    <a:lnTo>
                      <a:pt x="304" y="881"/>
                    </a:lnTo>
                    <a:lnTo>
                      <a:pt x="303" y="881"/>
                    </a:lnTo>
                    <a:lnTo>
                      <a:pt x="301" y="881"/>
                    </a:lnTo>
                    <a:lnTo>
                      <a:pt x="300" y="881"/>
                    </a:lnTo>
                    <a:lnTo>
                      <a:pt x="298" y="881"/>
                    </a:lnTo>
                    <a:lnTo>
                      <a:pt x="296" y="883"/>
                    </a:lnTo>
                    <a:lnTo>
                      <a:pt x="296" y="881"/>
                    </a:lnTo>
                    <a:lnTo>
                      <a:pt x="295" y="881"/>
                    </a:lnTo>
                    <a:lnTo>
                      <a:pt x="295" y="880"/>
                    </a:lnTo>
                    <a:lnTo>
                      <a:pt x="296" y="880"/>
                    </a:lnTo>
                    <a:lnTo>
                      <a:pt x="296" y="878"/>
                    </a:lnTo>
                    <a:lnTo>
                      <a:pt x="296" y="877"/>
                    </a:lnTo>
                    <a:lnTo>
                      <a:pt x="296" y="875"/>
                    </a:lnTo>
                    <a:lnTo>
                      <a:pt x="296" y="873"/>
                    </a:lnTo>
                    <a:lnTo>
                      <a:pt x="296" y="872"/>
                    </a:lnTo>
                    <a:lnTo>
                      <a:pt x="296" y="870"/>
                    </a:lnTo>
                    <a:lnTo>
                      <a:pt x="296" y="869"/>
                    </a:lnTo>
                    <a:lnTo>
                      <a:pt x="295" y="869"/>
                    </a:lnTo>
                    <a:lnTo>
                      <a:pt x="295" y="867"/>
                    </a:lnTo>
                    <a:lnTo>
                      <a:pt x="295" y="865"/>
                    </a:lnTo>
                    <a:lnTo>
                      <a:pt x="295" y="864"/>
                    </a:lnTo>
                    <a:lnTo>
                      <a:pt x="296" y="864"/>
                    </a:lnTo>
                    <a:lnTo>
                      <a:pt x="298" y="864"/>
                    </a:lnTo>
                    <a:lnTo>
                      <a:pt x="300" y="864"/>
                    </a:lnTo>
                    <a:lnTo>
                      <a:pt x="300" y="862"/>
                    </a:lnTo>
                    <a:lnTo>
                      <a:pt x="300" y="861"/>
                    </a:lnTo>
                    <a:lnTo>
                      <a:pt x="300" y="859"/>
                    </a:lnTo>
                    <a:lnTo>
                      <a:pt x="301" y="859"/>
                    </a:lnTo>
                    <a:lnTo>
                      <a:pt x="303" y="859"/>
                    </a:lnTo>
                    <a:lnTo>
                      <a:pt x="303" y="858"/>
                    </a:lnTo>
                    <a:lnTo>
                      <a:pt x="303" y="856"/>
                    </a:lnTo>
                    <a:lnTo>
                      <a:pt x="303" y="854"/>
                    </a:lnTo>
                    <a:lnTo>
                      <a:pt x="303" y="853"/>
                    </a:lnTo>
                    <a:lnTo>
                      <a:pt x="304" y="853"/>
                    </a:lnTo>
                    <a:lnTo>
                      <a:pt x="304" y="851"/>
                    </a:lnTo>
                    <a:lnTo>
                      <a:pt x="303" y="850"/>
                    </a:lnTo>
                    <a:lnTo>
                      <a:pt x="303" y="848"/>
                    </a:lnTo>
                    <a:lnTo>
                      <a:pt x="303" y="846"/>
                    </a:lnTo>
                    <a:lnTo>
                      <a:pt x="304" y="846"/>
                    </a:lnTo>
                    <a:lnTo>
                      <a:pt x="304" y="845"/>
                    </a:lnTo>
                    <a:lnTo>
                      <a:pt x="306" y="843"/>
                    </a:lnTo>
                    <a:lnTo>
                      <a:pt x="306" y="842"/>
                    </a:lnTo>
                    <a:lnTo>
                      <a:pt x="307" y="842"/>
                    </a:lnTo>
                    <a:lnTo>
                      <a:pt x="307" y="840"/>
                    </a:lnTo>
                    <a:lnTo>
                      <a:pt x="309" y="840"/>
                    </a:lnTo>
                    <a:lnTo>
                      <a:pt x="311" y="838"/>
                    </a:lnTo>
                    <a:lnTo>
                      <a:pt x="309" y="838"/>
                    </a:lnTo>
                    <a:lnTo>
                      <a:pt x="309" y="837"/>
                    </a:lnTo>
                    <a:lnTo>
                      <a:pt x="311" y="835"/>
                    </a:lnTo>
                    <a:lnTo>
                      <a:pt x="312" y="835"/>
                    </a:lnTo>
                    <a:lnTo>
                      <a:pt x="312" y="834"/>
                    </a:lnTo>
                    <a:lnTo>
                      <a:pt x="314" y="834"/>
                    </a:lnTo>
                    <a:lnTo>
                      <a:pt x="314" y="832"/>
                    </a:lnTo>
                    <a:lnTo>
                      <a:pt x="314" y="831"/>
                    </a:lnTo>
                    <a:lnTo>
                      <a:pt x="315" y="831"/>
                    </a:lnTo>
                    <a:lnTo>
                      <a:pt x="315" y="829"/>
                    </a:lnTo>
                    <a:lnTo>
                      <a:pt x="315" y="827"/>
                    </a:lnTo>
                    <a:lnTo>
                      <a:pt x="314" y="827"/>
                    </a:lnTo>
                    <a:lnTo>
                      <a:pt x="314" y="826"/>
                    </a:lnTo>
                    <a:lnTo>
                      <a:pt x="315" y="826"/>
                    </a:lnTo>
                    <a:lnTo>
                      <a:pt x="317" y="824"/>
                    </a:lnTo>
                    <a:lnTo>
                      <a:pt x="319" y="823"/>
                    </a:lnTo>
                    <a:lnTo>
                      <a:pt x="320" y="823"/>
                    </a:lnTo>
                    <a:lnTo>
                      <a:pt x="320" y="821"/>
                    </a:lnTo>
                    <a:lnTo>
                      <a:pt x="322" y="821"/>
                    </a:lnTo>
                    <a:lnTo>
                      <a:pt x="323" y="819"/>
                    </a:lnTo>
                    <a:lnTo>
                      <a:pt x="323" y="818"/>
                    </a:lnTo>
                    <a:lnTo>
                      <a:pt x="325" y="818"/>
                    </a:lnTo>
                    <a:lnTo>
                      <a:pt x="325" y="816"/>
                    </a:lnTo>
                    <a:lnTo>
                      <a:pt x="326" y="816"/>
                    </a:lnTo>
                    <a:lnTo>
                      <a:pt x="328" y="815"/>
                    </a:lnTo>
                    <a:lnTo>
                      <a:pt x="330" y="815"/>
                    </a:lnTo>
                    <a:lnTo>
                      <a:pt x="330" y="813"/>
                    </a:lnTo>
                    <a:lnTo>
                      <a:pt x="331" y="813"/>
                    </a:lnTo>
                    <a:lnTo>
                      <a:pt x="331" y="812"/>
                    </a:lnTo>
                    <a:lnTo>
                      <a:pt x="331" y="810"/>
                    </a:lnTo>
                    <a:lnTo>
                      <a:pt x="333" y="810"/>
                    </a:lnTo>
                    <a:lnTo>
                      <a:pt x="333" y="808"/>
                    </a:lnTo>
                    <a:lnTo>
                      <a:pt x="334" y="808"/>
                    </a:lnTo>
                    <a:lnTo>
                      <a:pt x="334" y="807"/>
                    </a:lnTo>
                    <a:lnTo>
                      <a:pt x="334" y="805"/>
                    </a:lnTo>
                    <a:lnTo>
                      <a:pt x="334" y="804"/>
                    </a:lnTo>
                    <a:lnTo>
                      <a:pt x="336" y="804"/>
                    </a:lnTo>
                    <a:lnTo>
                      <a:pt x="336" y="802"/>
                    </a:lnTo>
                    <a:lnTo>
                      <a:pt x="336" y="800"/>
                    </a:lnTo>
                    <a:lnTo>
                      <a:pt x="338" y="800"/>
                    </a:lnTo>
                    <a:lnTo>
                      <a:pt x="338" y="799"/>
                    </a:lnTo>
                    <a:lnTo>
                      <a:pt x="338" y="797"/>
                    </a:lnTo>
                    <a:lnTo>
                      <a:pt x="339" y="797"/>
                    </a:lnTo>
                    <a:lnTo>
                      <a:pt x="339" y="796"/>
                    </a:lnTo>
                    <a:lnTo>
                      <a:pt x="341" y="794"/>
                    </a:lnTo>
                    <a:lnTo>
                      <a:pt x="341" y="793"/>
                    </a:lnTo>
                    <a:lnTo>
                      <a:pt x="342" y="793"/>
                    </a:lnTo>
                    <a:lnTo>
                      <a:pt x="342" y="791"/>
                    </a:lnTo>
                    <a:lnTo>
                      <a:pt x="344" y="791"/>
                    </a:lnTo>
                    <a:lnTo>
                      <a:pt x="345" y="791"/>
                    </a:lnTo>
                    <a:lnTo>
                      <a:pt x="347" y="791"/>
                    </a:lnTo>
                    <a:lnTo>
                      <a:pt x="349" y="791"/>
                    </a:lnTo>
                    <a:lnTo>
                      <a:pt x="350" y="789"/>
                    </a:lnTo>
                    <a:lnTo>
                      <a:pt x="352" y="788"/>
                    </a:lnTo>
                    <a:lnTo>
                      <a:pt x="353" y="788"/>
                    </a:lnTo>
                    <a:lnTo>
                      <a:pt x="355" y="788"/>
                    </a:lnTo>
                    <a:lnTo>
                      <a:pt x="355" y="786"/>
                    </a:lnTo>
                    <a:lnTo>
                      <a:pt x="355" y="785"/>
                    </a:lnTo>
                    <a:lnTo>
                      <a:pt x="357" y="785"/>
                    </a:lnTo>
                    <a:lnTo>
                      <a:pt x="357" y="783"/>
                    </a:lnTo>
                    <a:lnTo>
                      <a:pt x="358" y="783"/>
                    </a:lnTo>
                    <a:lnTo>
                      <a:pt x="358" y="781"/>
                    </a:lnTo>
                    <a:lnTo>
                      <a:pt x="360" y="781"/>
                    </a:lnTo>
                    <a:lnTo>
                      <a:pt x="360" y="780"/>
                    </a:lnTo>
                    <a:lnTo>
                      <a:pt x="361" y="780"/>
                    </a:lnTo>
                    <a:lnTo>
                      <a:pt x="361" y="778"/>
                    </a:lnTo>
                    <a:lnTo>
                      <a:pt x="361" y="777"/>
                    </a:lnTo>
                    <a:lnTo>
                      <a:pt x="363" y="777"/>
                    </a:lnTo>
                    <a:lnTo>
                      <a:pt x="363" y="775"/>
                    </a:lnTo>
                    <a:lnTo>
                      <a:pt x="364" y="775"/>
                    </a:lnTo>
                    <a:lnTo>
                      <a:pt x="364" y="774"/>
                    </a:lnTo>
                    <a:lnTo>
                      <a:pt x="366" y="774"/>
                    </a:lnTo>
                    <a:lnTo>
                      <a:pt x="368" y="774"/>
                    </a:lnTo>
                    <a:lnTo>
                      <a:pt x="368" y="775"/>
                    </a:lnTo>
                    <a:lnTo>
                      <a:pt x="368" y="777"/>
                    </a:lnTo>
                    <a:lnTo>
                      <a:pt x="368" y="778"/>
                    </a:lnTo>
                    <a:lnTo>
                      <a:pt x="369" y="778"/>
                    </a:lnTo>
                    <a:lnTo>
                      <a:pt x="371" y="778"/>
                    </a:lnTo>
                    <a:lnTo>
                      <a:pt x="371" y="780"/>
                    </a:lnTo>
                    <a:lnTo>
                      <a:pt x="372" y="780"/>
                    </a:lnTo>
                    <a:lnTo>
                      <a:pt x="374" y="780"/>
                    </a:lnTo>
                    <a:lnTo>
                      <a:pt x="376" y="780"/>
                    </a:lnTo>
                    <a:lnTo>
                      <a:pt x="376" y="778"/>
                    </a:lnTo>
                    <a:lnTo>
                      <a:pt x="376" y="777"/>
                    </a:lnTo>
                    <a:lnTo>
                      <a:pt x="377" y="777"/>
                    </a:lnTo>
                    <a:lnTo>
                      <a:pt x="379" y="777"/>
                    </a:lnTo>
                    <a:lnTo>
                      <a:pt x="380" y="778"/>
                    </a:lnTo>
                    <a:lnTo>
                      <a:pt x="380" y="777"/>
                    </a:lnTo>
                    <a:lnTo>
                      <a:pt x="380" y="775"/>
                    </a:lnTo>
                    <a:lnTo>
                      <a:pt x="379" y="774"/>
                    </a:lnTo>
                    <a:lnTo>
                      <a:pt x="379" y="775"/>
                    </a:lnTo>
                    <a:lnTo>
                      <a:pt x="377" y="775"/>
                    </a:lnTo>
                    <a:lnTo>
                      <a:pt x="376" y="774"/>
                    </a:lnTo>
                    <a:lnTo>
                      <a:pt x="374" y="772"/>
                    </a:lnTo>
                    <a:lnTo>
                      <a:pt x="374" y="770"/>
                    </a:lnTo>
                    <a:lnTo>
                      <a:pt x="374" y="769"/>
                    </a:lnTo>
                    <a:lnTo>
                      <a:pt x="374" y="767"/>
                    </a:lnTo>
                    <a:lnTo>
                      <a:pt x="372" y="767"/>
                    </a:lnTo>
                    <a:lnTo>
                      <a:pt x="372" y="766"/>
                    </a:lnTo>
                    <a:lnTo>
                      <a:pt x="371" y="766"/>
                    </a:lnTo>
                    <a:lnTo>
                      <a:pt x="371" y="767"/>
                    </a:lnTo>
                    <a:lnTo>
                      <a:pt x="371" y="766"/>
                    </a:lnTo>
                    <a:lnTo>
                      <a:pt x="369" y="766"/>
                    </a:lnTo>
                    <a:lnTo>
                      <a:pt x="368" y="766"/>
                    </a:lnTo>
                    <a:lnTo>
                      <a:pt x="366" y="766"/>
                    </a:lnTo>
                    <a:lnTo>
                      <a:pt x="364" y="766"/>
                    </a:lnTo>
                    <a:lnTo>
                      <a:pt x="364" y="767"/>
                    </a:lnTo>
                    <a:lnTo>
                      <a:pt x="363" y="767"/>
                    </a:lnTo>
                    <a:lnTo>
                      <a:pt x="361" y="767"/>
                    </a:lnTo>
                    <a:lnTo>
                      <a:pt x="360" y="767"/>
                    </a:lnTo>
                    <a:lnTo>
                      <a:pt x="358" y="767"/>
                    </a:lnTo>
                    <a:lnTo>
                      <a:pt x="358" y="766"/>
                    </a:lnTo>
                    <a:lnTo>
                      <a:pt x="357" y="766"/>
                    </a:lnTo>
                    <a:lnTo>
                      <a:pt x="357" y="764"/>
                    </a:lnTo>
                    <a:lnTo>
                      <a:pt x="355" y="764"/>
                    </a:lnTo>
                    <a:lnTo>
                      <a:pt x="353" y="764"/>
                    </a:lnTo>
                    <a:lnTo>
                      <a:pt x="353" y="762"/>
                    </a:lnTo>
                    <a:lnTo>
                      <a:pt x="353" y="761"/>
                    </a:lnTo>
                    <a:lnTo>
                      <a:pt x="352" y="761"/>
                    </a:lnTo>
                    <a:lnTo>
                      <a:pt x="350" y="761"/>
                    </a:lnTo>
                    <a:lnTo>
                      <a:pt x="350" y="762"/>
                    </a:lnTo>
                    <a:lnTo>
                      <a:pt x="349" y="762"/>
                    </a:lnTo>
                    <a:lnTo>
                      <a:pt x="347" y="764"/>
                    </a:lnTo>
                    <a:lnTo>
                      <a:pt x="347" y="762"/>
                    </a:lnTo>
                    <a:lnTo>
                      <a:pt x="349" y="762"/>
                    </a:lnTo>
                    <a:lnTo>
                      <a:pt x="349" y="761"/>
                    </a:lnTo>
                    <a:lnTo>
                      <a:pt x="349" y="759"/>
                    </a:lnTo>
                    <a:lnTo>
                      <a:pt x="349" y="758"/>
                    </a:lnTo>
                    <a:lnTo>
                      <a:pt x="349" y="756"/>
                    </a:lnTo>
                    <a:lnTo>
                      <a:pt x="349" y="755"/>
                    </a:lnTo>
                    <a:lnTo>
                      <a:pt x="349" y="753"/>
                    </a:lnTo>
                    <a:lnTo>
                      <a:pt x="349" y="751"/>
                    </a:lnTo>
                    <a:lnTo>
                      <a:pt x="349" y="750"/>
                    </a:lnTo>
                    <a:lnTo>
                      <a:pt x="349" y="748"/>
                    </a:lnTo>
                    <a:lnTo>
                      <a:pt x="349" y="747"/>
                    </a:lnTo>
                    <a:lnTo>
                      <a:pt x="349" y="745"/>
                    </a:lnTo>
                    <a:lnTo>
                      <a:pt x="349" y="743"/>
                    </a:lnTo>
                    <a:lnTo>
                      <a:pt x="347" y="743"/>
                    </a:lnTo>
                    <a:lnTo>
                      <a:pt x="347" y="742"/>
                    </a:lnTo>
                    <a:lnTo>
                      <a:pt x="347" y="740"/>
                    </a:lnTo>
                    <a:lnTo>
                      <a:pt x="349" y="740"/>
                    </a:lnTo>
                    <a:lnTo>
                      <a:pt x="349" y="739"/>
                    </a:lnTo>
                    <a:lnTo>
                      <a:pt x="350" y="739"/>
                    </a:lnTo>
                    <a:lnTo>
                      <a:pt x="350" y="737"/>
                    </a:lnTo>
                    <a:lnTo>
                      <a:pt x="352" y="737"/>
                    </a:lnTo>
                    <a:lnTo>
                      <a:pt x="352" y="736"/>
                    </a:lnTo>
                    <a:lnTo>
                      <a:pt x="350" y="734"/>
                    </a:lnTo>
                    <a:lnTo>
                      <a:pt x="350" y="732"/>
                    </a:lnTo>
                    <a:lnTo>
                      <a:pt x="350" y="731"/>
                    </a:lnTo>
                    <a:lnTo>
                      <a:pt x="349" y="731"/>
                    </a:lnTo>
                    <a:lnTo>
                      <a:pt x="349" y="729"/>
                    </a:lnTo>
                    <a:lnTo>
                      <a:pt x="350" y="729"/>
                    </a:lnTo>
                    <a:lnTo>
                      <a:pt x="352" y="729"/>
                    </a:lnTo>
                    <a:lnTo>
                      <a:pt x="352" y="728"/>
                    </a:lnTo>
                    <a:lnTo>
                      <a:pt x="353" y="728"/>
                    </a:lnTo>
                    <a:lnTo>
                      <a:pt x="355" y="728"/>
                    </a:lnTo>
                    <a:lnTo>
                      <a:pt x="355" y="726"/>
                    </a:lnTo>
                    <a:lnTo>
                      <a:pt x="355" y="724"/>
                    </a:lnTo>
                    <a:lnTo>
                      <a:pt x="355" y="723"/>
                    </a:lnTo>
                    <a:lnTo>
                      <a:pt x="355" y="721"/>
                    </a:lnTo>
                    <a:lnTo>
                      <a:pt x="357" y="721"/>
                    </a:lnTo>
                    <a:lnTo>
                      <a:pt x="357" y="723"/>
                    </a:lnTo>
                    <a:lnTo>
                      <a:pt x="358" y="723"/>
                    </a:lnTo>
                    <a:lnTo>
                      <a:pt x="358" y="724"/>
                    </a:lnTo>
                    <a:lnTo>
                      <a:pt x="360" y="724"/>
                    </a:lnTo>
                    <a:lnTo>
                      <a:pt x="360" y="723"/>
                    </a:lnTo>
                    <a:lnTo>
                      <a:pt x="361" y="723"/>
                    </a:lnTo>
                    <a:lnTo>
                      <a:pt x="363" y="723"/>
                    </a:lnTo>
                    <a:lnTo>
                      <a:pt x="363" y="721"/>
                    </a:lnTo>
                    <a:lnTo>
                      <a:pt x="364" y="721"/>
                    </a:lnTo>
                    <a:lnTo>
                      <a:pt x="364" y="720"/>
                    </a:lnTo>
                    <a:lnTo>
                      <a:pt x="366" y="720"/>
                    </a:lnTo>
                    <a:lnTo>
                      <a:pt x="368" y="718"/>
                    </a:lnTo>
                    <a:lnTo>
                      <a:pt x="368" y="716"/>
                    </a:lnTo>
                    <a:lnTo>
                      <a:pt x="368" y="718"/>
                    </a:lnTo>
                    <a:lnTo>
                      <a:pt x="369" y="718"/>
                    </a:lnTo>
                    <a:lnTo>
                      <a:pt x="371" y="718"/>
                    </a:lnTo>
                    <a:lnTo>
                      <a:pt x="372" y="718"/>
                    </a:lnTo>
                    <a:lnTo>
                      <a:pt x="374" y="718"/>
                    </a:lnTo>
                    <a:lnTo>
                      <a:pt x="376" y="718"/>
                    </a:lnTo>
                    <a:lnTo>
                      <a:pt x="376" y="720"/>
                    </a:lnTo>
                    <a:lnTo>
                      <a:pt x="376" y="718"/>
                    </a:lnTo>
                    <a:lnTo>
                      <a:pt x="376" y="716"/>
                    </a:lnTo>
                    <a:lnTo>
                      <a:pt x="377" y="715"/>
                    </a:lnTo>
                    <a:lnTo>
                      <a:pt x="377" y="713"/>
                    </a:lnTo>
                    <a:lnTo>
                      <a:pt x="376" y="713"/>
                    </a:lnTo>
                    <a:lnTo>
                      <a:pt x="376" y="712"/>
                    </a:lnTo>
                    <a:lnTo>
                      <a:pt x="374" y="710"/>
                    </a:lnTo>
                    <a:lnTo>
                      <a:pt x="372" y="710"/>
                    </a:lnTo>
                    <a:lnTo>
                      <a:pt x="371" y="710"/>
                    </a:lnTo>
                    <a:lnTo>
                      <a:pt x="369" y="709"/>
                    </a:lnTo>
                    <a:lnTo>
                      <a:pt x="368" y="709"/>
                    </a:lnTo>
                    <a:lnTo>
                      <a:pt x="369" y="709"/>
                    </a:lnTo>
                    <a:lnTo>
                      <a:pt x="369" y="707"/>
                    </a:lnTo>
                    <a:lnTo>
                      <a:pt x="369" y="705"/>
                    </a:lnTo>
                    <a:lnTo>
                      <a:pt x="371" y="704"/>
                    </a:lnTo>
                    <a:lnTo>
                      <a:pt x="372" y="704"/>
                    </a:lnTo>
                    <a:lnTo>
                      <a:pt x="374" y="704"/>
                    </a:lnTo>
                    <a:lnTo>
                      <a:pt x="376" y="704"/>
                    </a:lnTo>
                    <a:lnTo>
                      <a:pt x="377" y="704"/>
                    </a:lnTo>
                    <a:lnTo>
                      <a:pt x="377" y="702"/>
                    </a:lnTo>
                    <a:lnTo>
                      <a:pt x="377" y="701"/>
                    </a:lnTo>
                    <a:lnTo>
                      <a:pt x="377" y="699"/>
                    </a:lnTo>
                    <a:lnTo>
                      <a:pt x="377" y="697"/>
                    </a:lnTo>
                    <a:lnTo>
                      <a:pt x="376" y="697"/>
                    </a:lnTo>
                    <a:lnTo>
                      <a:pt x="376" y="696"/>
                    </a:lnTo>
                    <a:lnTo>
                      <a:pt x="374" y="696"/>
                    </a:lnTo>
                    <a:lnTo>
                      <a:pt x="374" y="694"/>
                    </a:lnTo>
                    <a:lnTo>
                      <a:pt x="372" y="694"/>
                    </a:lnTo>
                    <a:lnTo>
                      <a:pt x="372" y="693"/>
                    </a:lnTo>
                    <a:lnTo>
                      <a:pt x="371" y="693"/>
                    </a:lnTo>
                    <a:lnTo>
                      <a:pt x="369" y="693"/>
                    </a:lnTo>
                    <a:lnTo>
                      <a:pt x="368" y="693"/>
                    </a:lnTo>
                    <a:lnTo>
                      <a:pt x="368" y="691"/>
                    </a:lnTo>
                    <a:lnTo>
                      <a:pt x="368" y="690"/>
                    </a:lnTo>
                    <a:lnTo>
                      <a:pt x="368" y="688"/>
                    </a:lnTo>
                    <a:lnTo>
                      <a:pt x="368" y="686"/>
                    </a:lnTo>
                    <a:lnTo>
                      <a:pt x="368" y="685"/>
                    </a:lnTo>
                    <a:lnTo>
                      <a:pt x="368" y="683"/>
                    </a:lnTo>
                    <a:lnTo>
                      <a:pt x="368" y="682"/>
                    </a:lnTo>
                    <a:lnTo>
                      <a:pt x="368" y="680"/>
                    </a:lnTo>
                    <a:lnTo>
                      <a:pt x="366" y="680"/>
                    </a:lnTo>
                    <a:lnTo>
                      <a:pt x="366" y="678"/>
                    </a:lnTo>
                    <a:lnTo>
                      <a:pt x="364" y="678"/>
                    </a:lnTo>
                    <a:lnTo>
                      <a:pt x="364" y="677"/>
                    </a:lnTo>
                    <a:lnTo>
                      <a:pt x="364" y="675"/>
                    </a:lnTo>
                    <a:lnTo>
                      <a:pt x="363" y="675"/>
                    </a:lnTo>
                    <a:lnTo>
                      <a:pt x="363" y="674"/>
                    </a:lnTo>
                    <a:lnTo>
                      <a:pt x="361" y="674"/>
                    </a:lnTo>
                    <a:lnTo>
                      <a:pt x="360" y="674"/>
                    </a:lnTo>
                    <a:lnTo>
                      <a:pt x="358" y="672"/>
                    </a:lnTo>
                    <a:lnTo>
                      <a:pt x="358" y="674"/>
                    </a:lnTo>
                    <a:lnTo>
                      <a:pt x="358" y="675"/>
                    </a:lnTo>
                    <a:lnTo>
                      <a:pt x="358" y="677"/>
                    </a:lnTo>
                    <a:lnTo>
                      <a:pt x="358" y="678"/>
                    </a:lnTo>
                    <a:lnTo>
                      <a:pt x="357" y="678"/>
                    </a:lnTo>
                    <a:lnTo>
                      <a:pt x="355" y="678"/>
                    </a:lnTo>
                    <a:lnTo>
                      <a:pt x="353" y="680"/>
                    </a:lnTo>
                    <a:lnTo>
                      <a:pt x="352" y="680"/>
                    </a:lnTo>
                    <a:lnTo>
                      <a:pt x="350" y="680"/>
                    </a:lnTo>
                    <a:lnTo>
                      <a:pt x="349" y="680"/>
                    </a:lnTo>
                    <a:lnTo>
                      <a:pt x="349" y="682"/>
                    </a:lnTo>
                    <a:lnTo>
                      <a:pt x="347" y="682"/>
                    </a:lnTo>
                    <a:lnTo>
                      <a:pt x="345" y="682"/>
                    </a:lnTo>
                    <a:lnTo>
                      <a:pt x="345" y="683"/>
                    </a:lnTo>
                    <a:lnTo>
                      <a:pt x="344" y="683"/>
                    </a:lnTo>
                    <a:lnTo>
                      <a:pt x="342" y="683"/>
                    </a:lnTo>
                    <a:lnTo>
                      <a:pt x="341" y="683"/>
                    </a:lnTo>
                    <a:lnTo>
                      <a:pt x="341" y="685"/>
                    </a:lnTo>
                    <a:lnTo>
                      <a:pt x="339" y="685"/>
                    </a:lnTo>
                    <a:lnTo>
                      <a:pt x="339" y="686"/>
                    </a:lnTo>
                    <a:lnTo>
                      <a:pt x="336" y="685"/>
                    </a:lnTo>
                    <a:lnTo>
                      <a:pt x="334" y="683"/>
                    </a:lnTo>
                    <a:lnTo>
                      <a:pt x="331" y="680"/>
                    </a:lnTo>
                    <a:lnTo>
                      <a:pt x="331" y="678"/>
                    </a:lnTo>
                    <a:lnTo>
                      <a:pt x="330" y="677"/>
                    </a:lnTo>
                    <a:lnTo>
                      <a:pt x="331" y="677"/>
                    </a:lnTo>
                    <a:lnTo>
                      <a:pt x="331" y="675"/>
                    </a:lnTo>
                    <a:lnTo>
                      <a:pt x="333" y="674"/>
                    </a:lnTo>
                    <a:lnTo>
                      <a:pt x="334" y="672"/>
                    </a:lnTo>
                    <a:lnTo>
                      <a:pt x="334" y="671"/>
                    </a:lnTo>
                    <a:lnTo>
                      <a:pt x="336" y="669"/>
                    </a:lnTo>
                    <a:lnTo>
                      <a:pt x="336" y="667"/>
                    </a:lnTo>
                    <a:lnTo>
                      <a:pt x="338" y="667"/>
                    </a:lnTo>
                    <a:lnTo>
                      <a:pt x="338" y="666"/>
                    </a:lnTo>
                    <a:lnTo>
                      <a:pt x="339" y="666"/>
                    </a:lnTo>
                    <a:lnTo>
                      <a:pt x="339" y="664"/>
                    </a:lnTo>
                    <a:lnTo>
                      <a:pt x="341" y="663"/>
                    </a:lnTo>
                    <a:lnTo>
                      <a:pt x="341" y="664"/>
                    </a:lnTo>
                    <a:lnTo>
                      <a:pt x="342" y="663"/>
                    </a:lnTo>
                    <a:lnTo>
                      <a:pt x="342" y="661"/>
                    </a:lnTo>
                    <a:lnTo>
                      <a:pt x="341" y="661"/>
                    </a:lnTo>
                    <a:lnTo>
                      <a:pt x="341" y="659"/>
                    </a:lnTo>
                    <a:lnTo>
                      <a:pt x="339" y="659"/>
                    </a:lnTo>
                    <a:lnTo>
                      <a:pt x="339" y="658"/>
                    </a:lnTo>
                    <a:lnTo>
                      <a:pt x="338" y="656"/>
                    </a:lnTo>
                    <a:lnTo>
                      <a:pt x="336" y="655"/>
                    </a:lnTo>
                    <a:lnTo>
                      <a:pt x="334" y="653"/>
                    </a:lnTo>
                    <a:lnTo>
                      <a:pt x="334" y="652"/>
                    </a:lnTo>
                    <a:lnTo>
                      <a:pt x="333" y="650"/>
                    </a:lnTo>
                    <a:lnTo>
                      <a:pt x="333" y="648"/>
                    </a:lnTo>
                    <a:lnTo>
                      <a:pt x="331" y="648"/>
                    </a:lnTo>
                    <a:lnTo>
                      <a:pt x="330" y="647"/>
                    </a:lnTo>
                    <a:lnTo>
                      <a:pt x="330" y="645"/>
                    </a:lnTo>
                    <a:lnTo>
                      <a:pt x="328" y="645"/>
                    </a:lnTo>
                    <a:lnTo>
                      <a:pt x="328" y="644"/>
                    </a:lnTo>
                    <a:lnTo>
                      <a:pt x="328" y="642"/>
                    </a:lnTo>
                    <a:lnTo>
                      <a:pt x="326" y="642"/>
                    </a:lnTo>
                    <a:lnTo>
                      <a:pt x="326" y="640"/>
                    </a:lnTo>
                    <a:lnTo>
                      <a:pt x="325" y="639"/>
                    </a:lnTo>
                    <a:lnTo>
                      <a:pt x="325" y="637"/>
                    </a:lnTo>
                    <a:lnTo>
                      <a:pt x="326" y="637"/>
                    </a:lnTo>
                    <a:lnTo>
                      <a:pt x="325" y="636"/>
                    </a:lnTo>
                    <a:lnTo>
                      <a:pt x="325" y="634"/>
                    </a:lnTo>
                    <a:lnTo>
                      <a:pt x="325" y="633"/>
                    </a:lnTo>
                    <a:lnTo>
                      <a:pt x="323" y="633"/>
                    </a:lnTo>
                    <a:lnTo>
                      <a:pt x="323" y="631"/>
                    </a:lnTo>
                    <a:lnTo>
                      <a:pt x="322" y="631"/>
                    </a:lnTo>
                    <a:lnTo>
                      <a:pt x="322" y="629"/>
                    </a:lnTo>
                    <a:lnTo>
                      <a:pt x="320" y="629"/>
                    </a:lnTo>
                    <a:lnTo>
                      <a:pt x="319" y="629"/>
                    </a:lnTo>
                    <a:lnTo>
                      <a:pt x="317" y="629"/>
                    </a:lnTo>
                    <a:lnTo>
                      <a:pt x="315" y="629"/>
                    </a:lnTo>
                    <a:lnTo>
                      <a:pt x="315" y="628"/>
                    </a:lnTo>
                    <a:lnTo>
                      <a:pt x="315" y="626"/>
                    </a:lnTo>
                    <a:lnTo>
                      <a:pt x="315" y="625"/>
                    </a:lnTo>
                    <a:lnTo>
                      <a:pt x="314" y="625"/>
                    </a:lnTo>
                    <a:lnTo>
                      <a:pt x="312" y="623"/>
                    </a:lnTo>
                    <a:lnTo>
                      <a:pt x="312" y="621"/>
                    </a:lnTo>
                    <a:lnTo>
                      <a:pt x="311" y="621"/>
                    </a:lnTo>
                    <a:lnTo>
                      <a:pt x="311" y="620"/>
                    </a:lnTo>
                    <a:lnTo>
                      <a:pt x="311" y="618"/>
                    </a:lnTo>
                    <a:lnTo>
                      <a:pt x="311" y="617"/>
                    </a:lnTo>
                    <a:lnTo>
                      <a:pt x="311" y="615"/>
                    </a:lnTo>
                    <a:lnTo>
                      <a:pt x="311" y="613"/>
                    </a:lnTo>
                    <a:lnTo>
                      <a:pt x="311" y="612"/>
                    </a:lnTo>
                    <a:lnTo>
                      <a:pt x="309" y="612"/>
                    </a:lnTo>
                    <a:lnTo>
                      <a:pt x="309" y="610"/>
                    </a:lnTo>
                    <a:lnTo>
                      <a:pt x="309" y="609"/>
                    </a:lnTo>
                    <a:lnTo>
                      <a:pt x="311" y="609"/>
                    </a:lnTo>
                    <a:lnTo>
                      <a:pt x="311" y="607"/>
                    </a:lnTo>
                    <a:lnTo>
                      <a:pt x="311" y="606"/>
                    </a:lnTo>
                    <a:lnTo>
                      <a:pt x="311" y="604"/>
                    </a:lnTo>
                    <a:lnTo>
                      <a:pt x="311" y="602"/>
                    </a:lnTo>
                    <a:lnTo>
                      <a:pt x="309" y="602"/>
                    </a:lnTo>
                    <a:lnTo>
                      <a:pt x="309" y="601"/>
                    </a:lnTo>
                    <a:lnTo>
                      <a:pt x="309" y="599"/>
                    </a:lnTo>
                    <a:lnTo>
                      <a:pt x="309" y="598"/>
                    </a:lnTo>
                    <a:lnTo>
                      <a:pt x="311" y="598"/>
                    </a:lnTo>
                    <a:lnTo>
                      <a:pt x="311" y="596"/>
                    </a:lnTo>
                    <a:lnTo>
                      <a:pt x="309" y="596"/>
                    </a:lnTo>
                    <a:lnTo>
                      <a:pt x="311" y="594"/>
                    </a:lnTo>
                    <a:lnTo>
                      <a:pt x="311" y="593"/>
                    </a:lnTo>
                    <a:lnTo>
                      <a:pt x="311" y="591"/>
                    </a:lnTo>
                    <a:lnTo>
                      <a:pt x="312" y="591"/>
                    </a:lnTo>
                    <a:lnTo>
                      <a:pt x="311" y="591"/>
                    </a:lnTo>
                    <a:lnTo>
                      <a:pt x="311" y="590"/>
                    </a:lnTo>
                    <a:lnTo>
                      <a:pt x="312" y="588"/>
                    </a:lnTo>
                    <a:lnTo>
                      <a:pt x="312" y="587"/>
                    </a:lnTo>
                    <a:lnTo>
                      <a:pt x="311" y="587"/>
                    </a:lnTo>
                    <a:lnTo>
                      <a:pt x="311" y="585"/>
                    </a:lnTo>
                    <a:lnTo>
                      <a:pt x="312" y="585"/>
                    </a:lnTo>
                    <a:lnTo>
                      <a:pt x="312" y="583"/>
                    </a:lnTo>
                    <a:lnTo>
                      <a:pt x="312" y="582"/>
                    </a:lnTo>
                    <a:lnTo>
                      <a:pt x="311" y="582"/>
                    </a:lnTo>
                    <a:lnTo>
                      <a:pt x="311" y="580"/>
                    </a:lnTo>
                    <a:lnTo>
                      <a:pt x="312" y="580"/>
                    </a:lnTo>
                    <a:lnTo>
                      <a:pt x="312" y="579"/>
                    </a:lnTo>
                    <a:lnTo>
                      <a:pt x="311" y="579"/>
                    </a:lnTo>
                    <a:lnTo>
                      <a:pt x="311" y="577"/>
                    </a:lnTo>
                    <a:lnTo>
                      <a:pt x="309" y="577"/>
                    </a:lnTo>
                    <a:lnTo>
                      <a:pt x="309" y="575"/>
                    </a:lnTo>
                    <a:lnTo>
                      <a:pt x="309" y="574"/>
                    </a:lnTo>
                    <a:lnTo>
                      <a:pt x="307" y="574"/>
                    </a:lnTo>
                    <a:lnTo>
                      <a:pt x="307" y="572"/>
                    </a:lnTo>
                    <a:lnTo>
                      <a:pt x="309" y="572"/>
                    </a:lnTo>
                    <a:lnTo>
                      <a:pt x="309" y="571"/>
                    </a:lnTo>
                    <a:lnTo>
                      <a:pt x="309" y="572"/>
                    </a:lnTo>
                    <a:lnTo>
                      <a:pt x="307" y="571"/>
                    </a:lnTo>
                    <a:lnTo>
                      <a:pt x="306" y="571"/>
                    </a:lnTo>
                    <a:lnTo>
                      <a:pt x="306" y="569"/>
                    </a:lnTo>
                    <a:lnTo>
                      <a:pt x="304" y="571"/>
                    </a:lnTo>
                    <a:lnTo>
                      <a:pt x="303" y="572"/>
                    </a:lnTo>
                    <a:lnTo>
                      <a:pt x="301" y="574"/>
                    </a:lnTo>
                    <a:lnTo>
                      <a:pt x="300" y="575"/>
                    </a:lnTo>
                    <a:lnTo>
                      <a:pt x="300" y="577"/>
                    </a:lnTo>
                    <a:lnTo>
                      <a:pt x="298" y="577"/>
                    </a:lnTo>
                    <a:lnTo>
                      <a:pt x="298" y="579"/>
                    </a:lnTo>
                    <a:lnTo>
                      <a:pt x="296" y="579"/>
                    </a:lnTo>
                    <a:lnTo>
                      <a:pt x="296" y="580"/>
                    </a:lnTo>
                    <a:lnTo>
                      <a:pt x="295" y="582"/>
                    </a:lnTo>
                    <a:lnTo>
                      <a:pt x="293" y="583"/>
                    </a:lnTo>
                    <a:lnTo>
                      <a:pt x="292" y="583"/>
                    </a:lnTo>
                    <a:lnTo>
                      <a:pt x="288" y="587"/>
                    </a:lnTo>
                    <a:lnTo>
                      <a:pt x="288" y="588"/>
                    </a:lnTo>
                    <a:lnTo>
                      <a:pt x="287" y="588"/>
                    </a:lnTo>
                    <a:lnTo>
                      <a:pt x="285" y="588"/>
                    </a:lnTo>
                    <a:lnTo>
                      <a:pt x="285" y="590"/>
                    </a:lnTo>
                    <a:lnTo>
                      <a:pt x="284" y="590"/>
                    </a:lnTo>
                    <a:lnTo>
                      <a:pt x="282" y="591"/>
                    </a:lnTo>
                    <a:lnTo>
                      <a:pt x="281" y="591"/>
                    </a:lnTo>
                    <a:lnTo>
                      <a:pt x="281" y="593"/>
                    </a:lnTo>
                    <a:lnTo>
                      <a:pt x="279" y="593"/>
                    </a:lnTo>
                    <a:lnTo>
                      <a:pt x="277" y="594"/>
                    </a:lnTo>
                    <a:lnTo>
                      <a:pt x="276" y="594"/>
                    </a:lnTo>
                    <a:lnTo>
                      <a:pt x="276" y="596"/>
                    </a:lnTo>
                    <a:lnTo>
                      <a:pt x="274" y="596"/>
                    </a:lnTo>
                    <a:lnTo>
                      <a:pt x="274" y="598"/>
                    </a:lnTo>
                    <a:lnTo>
                      <a:pt x="273" y="599"/>
                    </a:lnTo>
                    <a:lnTo>
                      <a:pt x="271" y="601"/>
                    </a:lnTo>
                    <a:lnTo>
                      <a:pt x="269" y="602"/>
                    </a:lnTo>
                    <a:lnTo>
                      <a:pt x="268" y="604"/>
                    </a:lnTo>
                    <a:lnTo>
                      <a:pt x="266" y="606"/>
                    </a:lnTo>
                    <a:lnTo>
                      <a:pt x="265" y="606"/>
                    </a:lnTo>
                    <a:lnTo>
                      <a:pt x="265" y="607"/>
                    </a:lnTo>
                    <a:lnTo>
                      <a:pt x="263" y="607"/>
                    </a:lnTo>
                    <a:lnTo>
                      <a:pt x="263" y="609"/>
                    </a:lnTo>
                    <a:lnTo>
                      <a:pt x="262" y="609"/>
                    </a:lnTo>
                    <a:lnTo>
                      <a:pt x="260" y="609"/>
                    </a:lnTo>
                    <a:lnTo>
                      <a:pt x="260" y="607"/>
                    </a:lnTo>
                    <a:lnTo>
                      <a:pt x="258" y="607"/>
                    </a:lnTo>
                    <a:lnTo>
                      <a:pt x="257" y="607"/>
                    </a:lnTo>
                    <a:lnTo>
                      <a:pt x="255" y="607"/>
                    </a:lnTo>
                    <a:lnTo>
                      <a:pt x="254" y="607"/>
                    </a:lnTo>
                    <a:lnTo>
                      <a:pt x="252" y="607"/>
                    </a:lnTo>
                    <a:lnTo>
                      <a:pt x="252" y="606"/>
                    </a:lnTo>
                    <a:lnTo>
                      <a:pt x="250" y="606"/>
                    </a:lnTo>
                    <a:lnTo>
                      <a:pt x="250" y="604"/>
                    </a:lnTo>
                    <a:lnTo>
                      <a:pt x="249" y="602"/>
                    </a:lnTo>
                    <a:lnTo>
                      <a:pt x="247" y="602"/>
                    </a:lnTo>
                    <a:lnTo>
                      <a:pt x="247" y="601"/>
                    </a:lnTo>
                    <a:lnTo>
                      <a:pt x="247" y="599"/>
                    </a:lnTo>
                    <a:lnTo>
                      <a:pt x="247" y="598"/>
                    </a:lnTo>
                    <a:lnTo>
                      <a:pt x="249" y="598"/>
                    </a:lnTo>
                    <a:lnTo>
                      <a:pt x="247" y="596"/>
                    </a:lnTo>
                    <a:lnTo>
                      <a:pt x="246" y="596"/>
                    </a:lnTo>
                    <a:lnTo>
                      <a:pt x="246" y="594"/>
                    </a:lnTo>
                    <a:lnTo>
                      <a:pt x="247" y="594"/>
                    </a:lnTo>
                    <a:lnTo>
                      <a:pt x="247" y="593"/>
                    </a:lnTo>
                    <a:lnTo>
                      <a:pt x="246" y="593"/>
                    </a:lnTo>
                    <a:lnTo>
                      <a:pt x="246" y="591"/>
                    </a:lnTo>
                    <a:lnTo>
                      <a:pt x="247" y="591"/>
                    </a:lnTo>
                    <a:lnTo>
                      <a:pt x="247" y="590"/>
                    </a:lnTo>
                    <a:lnTo>
                      <a:pt x="247" y="588"/>
                    </a:lnTo>
                    <a:lnTo>
                      <a:pt x="246" y="588"/>
                    </a:lnTo>
                    <a:lnTo>
                      <a:pt x="246" y="587"/>
                    </a:lnTo>
                    <a:lnTo>
                      <a:pt x="246" y="585"/>
                    </a:lnTo>
                    <a:lnTo>
                      <a:pt x="246" y="583"/>
                    </a:lnTo>
                    <a:lnTo>
                      <a:pt x="246" y="582"/>
                    </a:lnTo>
                    <a:lnTo>
                      <a:pt x="244" y="582"/>
                    </a:lnTo>
                    <a:lnTo>
                      <a:pt x="244" y="580"/>
                    </a:lnTo>
                    <a:lnTo>
                      <a:pt x="244" y="579"/>
                    </a:lnTo>
                    <a:lnTo>
                      <a:pt x="244" y="577"/>
                    </a:lnTo>
                    <a:lnTo>
                      <a:pt x="244" y="575"/>
                    </a:lnTo>
                    <a:lnTo>
                      <a:pt x="244" y="574"/>
                    </a:lnTo>
                    <a:lnTo>
                      <a:pt x="243" y="574"/>
                    </a:lnTo>
                    <a:lnTo>
                      <a:pt x="243" y="572"/>
                    </a:lnTo>
                    <a:lnTo>
                      <a:pt x="243" y="571"/>
                    </a:lnTo>
                    <a:lnTo>
                      <a:pt x="241" y="571"/>
                    </a:lnTo>
                    <a:lnTo>
                      <a:pt x="239" y="569"/>
                    </a:lnTo>
                    <a:lnTo>
                      <a:pt x="238" y="569"/>
                    </a:lnTo>
                    <a:lnTo>
                      <a:pt x="238" y="568"/>
                    </a:lnTo>
                    <a:lnTo>
                      <a:pt x="236" y="568"/>
                    </a:lnTo>
                    <a:lnTo>
                      <a:pt x="236" y="566"/>
                    </a:lnTo>
                    <a:lnTo>
                      <a:pt x="236" y="564"/>
                    </a:lnTo>
                    <a:lnTo>
                      <a:pt x="235" y="564"/>
                    </a:lnTo>
                    <a:lnTo>
                      <a:pt x="235" y="563"/>
                    </a:lnTo>
                    <a:lnTo>
                      <a:pt x="233" y="563"/>
                    </a:lnTo>
                    <a:lnTo>
                      <a:pt x="231" y="561"/>
                    </a:lnTo>
                    <a:lnTo>
                      <a:pt x="231" y="560"/>
                    </a:lnTo>
                    <a:lnTo>
                      <a:pt x="230" y="560"/>
                    </a:lnTo>
                    <a:lnTo>
                      <a:pt x="230" y="558"/>
                    </a:lnTo>
                    <a:lnTo>
                      <a:pt x="228" y="560"/>
                    </a:lnTo>
                    <a:lnTo>
                      <a:pt x="227" y="560"/>
                    </a:lnTo>
                    <a:lnTo>
                      <a:pt x="227" y="558"/>
                    </a:lnTo>
                    <a:lnTo>
                      <a:pt x="227" y="556"/>
                    </a:lnTo>
                    <a:lnTo>
                      <a:pt x="227" y="555"/>
                    </a:lnTo>
                    <a:lnTo>
                      <a:pt x="227" y="553"/>
                    </a:lnTo>
                    <a:lnTo>
                      <a:pt x="227" y="552"/>
                    </a:lnTo>
                    <a:lnTo>
                      <a:pt x="225" y="552"/>
                    </a:lnTo>
                    <a:lnTo>
                      <a:pt x="225" y="550"/>
                    </a:lnTo>
                    <a:lnTo>
                      <a:pt x="224" y="550"/>
                    </a:lnTo>
                    <a:lnTo>
                      <a:pt x="224" y="549"/>
                    </a:lnTo>
                    <a:lnTo>
                      <a:pt x="224" y="547"/>
                    </a:lnTo>
                    <a:lnTo>
                      <a:pt x="222" y="547"/>
                    </a:lnTo>
                    <a:lnTo>
                      <a:pt x="222" y="545"/>
                    </a:lnTo>
                    <a:lnTo>
                      <a:pt x="222" y="544"/>
                    </a:lnTo>
                    <a:lnTo>
                      <a:pt x="220" y="544"/>
                    </a:lnTo>
                    <a:lnTo>
                      <a:pt x="220" y="542"/>
                    </a:lnTo>
                    <a:lnTo>
                      <a:pt x="219" y="542"/>
                    </a:lnTo>
                    <a:lnTo>
                      <a:pt x="217" y="542"/>
                    </a:lnTo>
                    <a:lnTo>
                      <a:pt x="216" y="541"/>
                    </a:lnTo>
                    <a:lnTo>
                      <a:pt x="216" y="539"/>
                    </a:lnTo>
                    <a:lnTo>
                      <a:pt x="214" y="539"/>
                    </a:lnTo>
                    <a:lnTo>
                      <a:pt x="214" y="537"/>
                    </a:lnTo>
                    <a:lnTo>
                      <a:pt x="214" y="536"/>
                    </a:lnTo>
                    <a:lnTo>
                      <a:pt x="212" y="536"/>
                    </a:lnTo>
                    <a:lnTo>
                      <a:pt x="211" y="536"/>
                    </a:lnTo>
                    <a:lnTo>
                      <a:pt x="209" y="536"/>
                    </a:lnTo>
                    <a:lnTo>
                      <a:pt x="209" y="534"/>
                    </a:lnTo>
                    <a:lnTo>
                      <a:pt x="208" y="534"/>
                    </a:lnTo>
                    <a:lnTo>
                      <a:pt x="208" y="533"/>
                    </a:lnTo>
                    <a:lnTo>
                      <a:pt x="206" y="533"/>
                    </a:lnTo>
                    <a:lnTo>
                      <a:pt x="206" y="531"/>
                    </a:lnTo>
                    <a:lnTo>
                      <a:pt x="206" y="530"/>
                    </a:lnTo>
                    <a:lnTo>
                      <a:pt x="206" y="528"/>
                    </a:lnTo>
                    <a:lnTo>
                      <a:pt x="204" y="528"/>
                    </a:lnTo>
                    <a:lnTo>
                      <a:pt x="203" y="528"/>
                    </a:lnTo>
                    <a:lnTo>
                      <a:pt x="203" y="526"/>
                    </a:lnTo>
                    <a:lnTo>
                      <a:pt x="203" y="525"/>
                    </a:lnTo>
                    <a:lnTo>
                      <a:pt x="203" y="523"/>
                    </a:lnTo>
                    <a:lnTo>
                      <a:pt x="203" y="522"/>
                    </a:lnTo>
                    <a:lnTo>
                      <a:pt x="203" y="520"/>
                    </a:lnTo>
                    <a:lnTo>
                      <a:pt x="201" y="520"/>
                    </a:lnTo>
                    <a:lnTo>
                      <a:pt x="201" y="518"/>
                    </a:lnTo>
                    <a:lnTo>
                      <a:pt x="201" y="517"/>
                    </a:lnTo>
                    <a:lnTo>
                      <a:pt x="200" y="517"/>
                    </a:lnTo>
                    <a:lnTo>
                      <a:pt x="200" y="515"/>
                    </a:lnTo>
                    <a:lnTo>
                      <a:pt x="201" y="514"/>
                    </a:lnTo>
                    <a:lnTo>
                      <a:pt x="203" y="514"/>
                    </a:lnTo>
                    <a:lnTo>
                      <a:pt x="201" y="514"/>
                    </a:lnTo>
                    <a:lnTo>
                      <a:pt x="201" y="512"/>
                    </a:lnTo>
                    <a:lnTo>
                      <a:pt x="200" y="512"/>
                    </a:lnTo>
                    <a:lnTo>
                      <a:pt x="198" y="512"/>
                    </a:lnTo>
                    <a:lnTo>
                      <a:pt x="197" y="512"/>
                    </a:lnTo>
                    <a:lnTo>
                      <a:pt x="197" y="514"/>
                    </a:lnTo>
                    <a:lnTo>
                      <a:pt x="195" y="514"/>
                    </a:lnTo>
                    <a:lnTo>
                      <a:pt x="195" y="512"/>
                    </a:lnTo>
                    <a:lnTo>
                      <a:pt x="193" y="512"/>
                    </a:lnTo>
                    <a:lnTo>
                      <a:pt x="192" y="512"/>
                    </a:lnTo>
                    <a:lnTo>
                      <a:pt x="192" y="514"/>
                    </a:lnTo>
                    <a:lnTo>
                      <a:pt x="190" y="514"/>
                    </a:lnTo>
                    <a:lnTo>
                      <a:pt x="190" y="512"/>
                    </a:lnTo>
                    <a:lnTo>
                      <a:pt x="189" y="512"/>
                    </a:lnTo>
                    <a:lnTo>
                      <a:pt x="189" y="511"/>
                    </a:lnTo>
                    <a:lnTo>
                      <a:pt x="187" y="511"/>
                    </a:lnTo>
                    <a:lnTo>
                      <a:pt x="185" y="512"/>
                    </a:lnTo>
                    <a:lnTo>
                      <a:pt x="185" y="514"/>
                    </a:lnTo>
                    <a:lnTo>
                      <a:pt x="184" y="514"/>
                    </a:lnTo>
                    <a:lnTo>
                      <a:pt x="182" y="514"/>
                    </a:lnTo>
                    <a:lnTo>
                      <a:pt x="182" y="515"/>
                    </a:lnTo>
                    <a:lnTo>
                      <a:pt x="181" y="515"/>
                    </a:lnTo>
                    <a:lnTo>
                      <a:pt x="181" y="514"/>
                    </a:lnTo>
                    <a:lnTo>
                      <a:pt x="179" y="512"/>
                    </a:lnTo>
                    <a:lnTo>
                      <a:pt x="178" y="512"/>
                    </a:lnTo>
                    <a:lnTo>
                      <a:pt x="176" y="512"/>
                    </a:lnTo>
                    <a:lnTo>
                      <a:pt x="174" y="512"/>
                    </a:lnTo>
                    <a:lnTo>
                      <a:pt x="174" y="511"/>
                    </a:lnTo>
                    <a:lnTo>
                      <a:pt x="173" y="511"/>
                    </a:lnTo>
                    <a:lnTo>
                      <a:pt x="171" y="511"/>
                    </a:lnTo>
                    <a:lnTo>
                      <a:pt x="171" y="512"/>
                    </a:lnTo>
                    <a:lnTo>
                      <a:pt x="170" y="511"/>
                    </a:lnTo>
                    <a:lnTo>
                      <a:pt x="168" y="511"/>
                    </a:lnTo>
                    <a:lnTo>
                      <a:pt x="168" y="509"/>
                    </a:lnTo>
                    <a:lnTo>
                      <a:pt x="168" y="507"/>
                    </a:lnTo>
                    <a:lnTo>
                      <a:pt x="166" y="507"/>
                    </a:lnTo>
                    <a:lnTo>
                      <a:pt x="165" y="507"/>
                    </a:lnTo>
                    <a:lnTo>
                      <a:pt x="163" y="507"/>
                    </a:lnTo>
                    <a:lnTo>
                      <a:pt x="163" y="506"/>
                    </a:lnTo>
                    <a:lnTo>
                      <a:pt x="162" y="506"/>
                    </a:lnTo>
                    <a:lnTo>
                      <a:pt x="160" y="506"/>
                    </a:lnTo>
                    <a:lnTo>
                      <a:pt x="160" y="504"/>
                    </a:lnTo>
                    <a:lnTo>
                      <a:pt x="159" y="506"/>
                    </a:lnTo>
                    <a:lnTo>
                      <a:pt x="157" y="506"/>
                    </a:lnTo>
                    <a:lnTo>
                      <a:pt x="155" y="506"/>
                    </a:lnTo>
                    <a:lnTo>
                      <a:pt x="155" y="504"/>
                    </a:lnTo>
                    <a:lnTo>
                      <a:pt x="155" y="503"/>
                    </a:lnTo>
                    <a:lnTo>
                      <a:pt x="154" y="503"/>
                    </a:lnTo>
                    <a:lnTo>
                      <a:pt x="152" y="503"/>
                    </a:lnTo>
                    <a:lnTo>
                      <a:pt x="152" y="501"/>
                    </a:lnTo>
                    <a:lnTo>
                      <a:pt x="152" y="499"/>
                    </a:lnTo>
                    <a:lnTo>
                      <a:pt x="151" y="499"/>
                    </a:lnTo>
                    <a:lnTo>
                      <a:pt x="151" y="501"/>
                    </a:lnTo>
                    <a:lnTo>
                      <a:pt x="149" y="503"/>
                    </a:lnTo>
                    <a:lnTo>
                      <a:pt x="147" y="503"/>
                    </a:lnTo>
                    <a:lnTo>
                      <a:pt x="146" y="503"/>
                    </a:lnTo>
                    <a:lnTo>
                      <a:pt x="146" y="504"/>
                    </a:lnTo>
                    <a:lnTo>
                      <a:pt x="144" y="504"/>
                    </a:lnTo>
                    <a:lnTo>
                      <a:pt x="144" y="506"/>
                    </a:lnTo>
                    <a:lnTo>
                      <a:pt x="144" y="507"/>
                    </a:lnTo>
                    <a:lnTo>
                      <a:pt x="146" y="509"/>
                    </a:lnTo>
                    <a:lnTo>
                      <a:pt x="144" y="509"/>
                    </a:lnTo>
                    <a:lnTo>
                      <a:pt x="143" y="509"/>
                    </a:lnTo>
                    <a:lnTo>
                      <a:pt x="143" y="507"/>
                    </a:lnTo>
                    <a:lnTo>
                      <a:pt x="143" y="506"/>
                    </a:lnTo>
                    <a:lnTo>
                      <a:pt x="141" y="506"/>
                    </a:lnTo>
                    <a:lnTo>
                      <a:pt x="141" y="507"/>
                    </a:lnTo>
                    <a:lnTo>
                      <a:pt x="141" y="509"/>
                    </a:lnTo>
                    <a:lnTo>
                      <a:pt x="141" y="511"/>
                    </a:lnTo>
                    <a:lnTo>
                      <a:pt x="140" y="511"/>
                    </a:lnTo>
                    <a:lnTo>
                      <a:pt x="140" y="512"/>
                    </a:lnTo>
                    <a:lnTo>
                      <a:pt x="138" y="512"/>
                    </a:lnTo>
                    <a:lnTo>
                      <a:pt x="138" y="514"/>
                    </a:lnTo>
                    <a:lnTo>
                      <a:pt x="138" y="515"/>
                    </a:lnTo>
                    <a:lnTo>
                      <a:pt x="136" y="517"/>
                    </a:lnTo>
                    <a:lnTo>
                      <a:pt x="136" y="518"/>
                    </a:lnTo>
                    <a:lnTo>
                      <a:pt x="136" y="520"/>
                    </a:lnTo>
                    <a:lnTo>
                      <a:pt x="136" y="522"/>
                    </a:lnTo>
                    <a:lnTo>
                      <a:pt x="135" y="522"/>
                    </a:lnTo>
                    <a:lnTo>
                      <a:pt x="135" y="523"/>
                    </a:lnTo>
                    <a:lnTo>
                      <a:pt x="133" y="525"/>
                    </a:lnTo>
                    <a:lnTo>
                      <a:pt x="133" y="526"/>
                    </a:lnTo>
                    <a:lnTo>
                      <a:pt x="133" y="528"/>
                    </a:lnTo>
                    <a:lnTo>
                      <a:pt x="133" y="530"/>
                    </a:lnTo>
                    <a:lnTo>
                      <a:pt x="132" y="530"/>
                    </a:lnTo>
                    <a:lnTo>
                      <a:pt x="132" y="531"/>
                    </a:lnTo>
                    <a:lnTo>
                      <a:pt x="130" y="533"/>
                    </a:lnTo>
                    <a:lnTo>
                      <a:pt x="128" y="533"/>
                    </a:lnTo>
                    <a:lnTo>
                      <a:pt x="127" y="533"/>
                    </a:lnTo>
                    <a:lnTo>
                      <a:pt x="125" y="533"/>
                    </a:lnTo>
                    <a:lnTo>
                      <a:pt x="124" y="533"/>
                    </a:lnTo>
                    <a:lnTo>
                      <a:pt x="124" y="531"/>
                    </a:lnTo>
                    <a:lnTo>
                      <a:pt x="124" y="533"/>
                    </a:lnTo>
                    <a:lnTo>
                      <a:pt x="122" y="533"/>
                    </a:lnTo>
                    <a:lnTo>
                      <a:pt x="121" y="533"/>
                    </a:lnTo>
                    <a:lnTo>
                      <a:pt x="119" y="534"/>
                    </a:lnTo>
                    <a:lnTo>
                      <a:pt x="117" y="534"/>
                    </a:lnTo>
                    <a:lnTo>
                      <a:pt x="116" y="534"/>
                    </a:lnTo>
                    <a:lnTo>
                      <a:pt x="116" y="533"/>
                    </a:lnTo>
                    <a:lnTo>
                      <a:pt x="114" y="533"/>
                    </a:lnTo>
                    <a:lnTo>
                      <a:pt x="113" y="533"/>
                    </a:lnTo>
                    <a:lnTo>
                      <a:pt x="113" y="534"/>
                    </a:lnTo>
                    <a:lnTo>
                      <a:pt x="113" y="536"/>
                    </a:lnTo>
                    <a:lnTo>
                      <a:pt x="113" y="537"/>
                    </a:lnTo>
                    <a:lnTo>
                      <a:pt x="113" y="539"/>
                    </a:lnTo>
                    <a:lnTo>
                      <a:pt x="111" y="539"/>
                    </a:lnTo>
                    <a:lnTo>
                      <a:pt x="111" y="541"/>
                    </a:lnTo>
                    <a:lnTo>
                      <a:pt x="111" y="542"/>
                    </a:lnTo>
                    <a:lnTo>
                      <a:pt x="109" y="544"/>
                    </a:lnTo>
                    <a:lnTo>
                      <a:pt x="109" y="545"/>
                    </a:lnTo>
                    <a:lnTo>
                      <a:pt x="109" y="547"/>
                    </a:lnTo>
                    <a:lnTo>
                      <a:pt x="108" y="547"/>
                    </a:lnTo>
                    <a:lnTo>
                      <a:pt x="106" y="547"/>
                    </a:lnTo>
                    <a:lnTo>
                      <a:pt x="105" y="547"/>
                    </a:lnTo>
                    <a:lnTo>
                      <a:pt x="105" y="549"/>
                    </a:lnTo>
                    <a:lnTo>
                      <a:pt x="103" y="550"/>
                    </a:lnTo>
                    <a:lnTo>
                      <a:pt x="103" y="549"/>
                    </a:lnTo>
                    <a:lnTo>
                      <a:pt x="103" y="550"/>
                    </a:lnTo>
                    <a:lnTo>
                      <a:pt x="103" y="552"/>
                    </a:lnTo>
                    <a:lnTo>
                      <a:pt x="102" y="552"/>
                    </a:lnTo>
                    <a:lnTo>
                      <a:pt x="102" y="553"/>
                    </a:lnTo>
                    <a:lnTo>
                      <a:pt x="102" y="552"/>
                    </a:lnTo>
                    <a:lnTo>
                      <a:pt x="100" y="552"/>
                    </a:lnTo>
                    <a:lnTo>
                      <a:pt x="98" y="552"/>
                    </a:lnTo>
                    <a:lnTo>
                      <a:pt x="98" y="553"/>
                    </a:lnTo>
                    <a:lnTo>
                      <a:pt x="98" y="555"/>
                    </a:lnTo>
                    <a:lnTo>
                      <a:pt x="97" y="555"/>
                    </a:lnTo>
                    <a:lnTo>
                      <a:pt x="95" y="555"/>
                    </a:lnTo>
                    <a:lnTo>
                      <a:pt x="95" y="553"/>
                    </a:lnTo>
                    <a:lnTo>
                      <a:pt x="94" y="553"/>
                    </a:lnTo>
                    <a:lnTo>
                      <a:pt x="94" y="555"/>
                    </a:lnTo>
                    <a:lnTo>
                      <a:pt x="94" y="556"/>
                    </a:lnTo>
                    <a:lnTo>
                      <a:pt x="92" y="556"/>
                    </a:lnTo>
                    <a:lnTo>
                      <a:pt x="92" y="558"/>
                    </a:lnTo>
                    <a:lnTo>
                      <a:pt x="90" y="556"/>
                    </a:lnTo>
                    <a:lnTo>
                      <a:pt x="90" y="558"/>
                    </a:lnTo>
                    <a:lnTo>
                      <a:pt x="89" y="558"/>
                    </a:lnTo>
                    <a:lnTo>
                      <a:pt x="87" y="558"/>
                    </a:lnTo>
                    <a:lnTo>
                      <a:pt x="87" y="560"/>
                    </a:lnTo>
                    <a:lnTo>
                      <a:pt x="87" y="561"/>
                    </a:lnTo>
                    <a:lnTo>
                      <a:pt x="89" y="563"/>
                    </a:lnTo>
                    <a:lnTo>
                      <a:pt x="87" y="564"/>
                    </a:lnTo>
                    <a:lnTo>
                      <a:pt x="89" y="564"/>
                    </a:lnTo>
                    <a:lnTo>
                      <a:pt x="89" y="566"/>
                    </a:lnTo>
                    <a:lnTo>
                      <a:pt x="87" y="566"/>
                    </a:lnTo>
                    <a:lnTo>
                      <a:pt x="86" y="568"/>
                    </a:lnTo>
                    <a:lnTo>
                      <a:pt x="86" y="569"/>
                    </a:lnTo>
                    <a:lnTo>
                      <a:pt x="86" y="571"/>
                    </a:lnTo>
                    <a:lnTo>
                      <a:pt x="84" y="571"/>
                    </a:lnTo>
                    <a:lnTo>
                      <a:pt x="83" y="571"/>
                    </a:lnTo>
                    <a:lnTo>
                      <a:pt x="83" y="572"/>
                    </a:lnTo>
                    <a:lnTo>
                      <a:pt x="81" y="572"/>
                    </a:lnTo>
                    <a:lnTo>
                      <a:pt x="79" y="572"/>
                    </a:lnTo>
                    <a:lnTo>
                      <a:pt x="79" y="574"/>
                    </a:lnTo>
                    <a:lnTo>
                      <a:pt x="81" y="574"/>
                    </a:lnTo>
                    <a:lnTo>
                      <a:pt x="81" y="575"/>
                    </a:lnTo>
                    <a:lnTo>
                      <a:pt x="81" y="577"/>
                    </a:lnTo>
                    <a:lnTo>
                      <a:pt x="79" y="577"/>
                    </a:lnTo>
                    <a:lnTo>
                      <a:pt x="78" y="577"/>
                    </a:lnTo>
                    <a:lnTo>
                      <a:pt x="78" y="575"/>
                    </a:lnTo>
                    <a:lnTo>
                      <a:pt x="76" y="577"/>
                    </a:lnTo>
                    <a:lnTo>
                      <a:pt x="75" y="577"/>
                    </a:lnTo>
                    <a:lnTo>
                      <a:pt x="73" y="577"/>
                    </a:lnTo>
                    <a:lnTo>
                      <a:pt x="73" y="575"/>
                    </a:lnTo>
                    <a:lnTo>
                      <a:pt x="73" y="574"/>
                    </a:lnTo>
                    <a:lnTo>
                      <a:pt x="73" y="572"/>
                    </a:lnTo>
                    <a:lnTo>
                      <a:pt x="71" y="572"/>
                    </a:lnTo>
                    <a:lnTo>
                      <a:pt x="70" y="572"/>
                    </a:lnTo>
                    <a:lnTo>
                      <a:pt x="68" y="572"/>
                    </a:lnTo>
                    <a:lnTo>
                      <a:pt x="67" y="574"/>
                    </a:lnTo>
                    <a:lnTo>
                      <a:pt x="65" y="574"/>
                    </a:lnTo>
                    <a:lnTo>
                      <a:pt x="64" y="574"/>
                    </a:lnTo>
                    <a:lnTo>
                      <a:pt x="64" y="572"/>
                    </a:lnTo>
                    <a:lnTo>
                      <a:pt x="62" y="574"/>
                    </a:lnTo>
                    <a:lnTo>
                      <a:pt x="60" y="574"/>
                    </a:lnTo>
                    <a:lnTo>
                      <a:pt x="60" y="575"/>
                    </a:lnTo>
                    <a:lnTo>
                      <a:pt x="59" y="574"/>
                    </a:lnTo>
                    <a:lnTo>
                      <a:pt x="57" y="572"/>
                    </a:lnTo>
                    <a:lnTo>
                      <a:pt x="57" y="574"/>
                    </a:lnTo>
                    <a:lnTo>
                      <a:pt x="56" y="574"/>
                    </a:lnTo>
                    <a:lnTo>
                      <a:pt x="56" y="575"/>
                    </a:lnTo>
                    <a:lnTo>
                      <a:pt x="54" y="575"/>
                    </a:lnTo>
                    <a:lnTo>
                      <a:pt x="54" y="577"/>
                    </a:lnTo>
                    <a:lnTo>
                      <a:pt x="54" y="575"/>
                    </a:lnTo>
                    <a:lnTo>
                      <a:pt x="52" y="575"/>
                    </a:lnTo>
                    <a:lnTo>
                      <a:pt x="52" y="574"/>
                    </a:lnTo>
                    <a:lnTo>
                      <a:pt x="52" y="575"/>
                    </a:lnTo>
                    <a:lnTo>
                      <a:pt x="51" y="575"/>
                    </a:lnTo>
                    <a:lnTo>
                      <a:pt x="49" y="575"/>
                    </a:lnTo>
                    <a:lnTo>
                      <a:pt x="48" y="575"/>
                    </a:lnTo>
                    <a:lnTo>
                      <a:pt x="46" y="575"/>
                    </a:lnTo>
                    <a:lnTo>
                      <a:pt x="45" y="575"/>
                    </a:lnTo>
                    <a:lnTo>
                      <a:pt x="45" y="577"/>
                    </a:lnTo>
                    <a:lnTo>
                      <a:pt x="43" y="577"/>
                    </a:lnTo>
                    <a:lnTo>
                      <a:pt x="43" y="579"/>
                    </a:lnTo>
                    <a:lnTo>
                      <a:pt x="41" y="579"/>
                    </a:lnTo>
                    <a:lnTo>
                      <a:pt x="40" y="579"/>
                    </a:lnTo>
                    <a:lnTo>
                      <a:pt x="40" y="577"/>
                    </a:lnTo>
                    <a:lnTo>
                      <a:pt x="40" y="575"/>
                    </a:lnTo>
                    <a:lnTo>
                      <a:pt x="38" y="577"/>
                    </a:lnTo>
                    <a:lnTo>
                      <a:pt x="38" y="575"/>
                    </a:lnTo>
                    <a:lnTo>
                      <a:pt x="37" y="575"/>
                    </a:lnTo>
                    <a:lnTo>
                      <a:pt x="37" y="577"/>
                    </a:lnTo>
                    <a:lnTo>
                      <a:pt x="35" y="577"/>
                    </a:lnTo>
                    <a:lnTo>
                      <a:pt x="35" y="579"/>
                    </a:lnTo>
                    <a:lnTo>
                      <a:pt x="33" y="579"/>
                    </a:lnTo>
                    <a:lnTo>
                      <a:pt x="32" y="579"/>
                    </a:lnTo>
                    <a:lnTo>
                      <a:pt x="30" y="579"/>
                    </a:lnTo>
                    <a:lnTo>
                      <a:pt x="29" y="577"/>
                    </a:lnTo>
                    <a:lnTo>
                      <a:pt x="29" y="575"/>
                    </a:lnTo>
                    <a:lnTo>
                      <a:pt x="29" y="574"/>
                    </a:lnTo>
                    <a:lnTo>
                      <a:pt x="27" y="574"/>
                    </a:lnTo>
                    <a:lnTo>
                      <a:pt x="26" y="574"/>
                    </a:lnTo>
                    <a:lnTo>
                      <a:pt x="26" y="575"/>
                    </a:lnTo>
                    <a:lnTo>
                      <a:pt x="24" y="575"/>
                    </a:lnTo>
                    <a:lnTo>
                      <a:pt x="24" y="577"/>
                    </a:lnTo>
                    <a:lnTo>
                      <a:pt x="22" y="577"/>
                    </a:lnTo>
                    <a:lnTo>
                      <a:pt x="21" y="577"/>
                    </a:lnTo>
                    <a:lnTo>
                      <a:pt x="22" y="577"/>
                    </a:lnTo>
                    <a:lnTo>
                      <a:pt x="22" y="575"/>
                    </a:lnTo>
                    <a:lnTo>
                      <a:pt x="21" y="575"/>
                    </a:lnTo>
                    <a:lnTo>
                      <a:pt x="19" y="575"/>
                    </a:lnTo>
                    <a:lnTo>
                      <a:pt x="18" y="575"/>
                    </a:lnTo>
                    <a:lnTo>
                      <a:pt x="18" y="577"/>
                    </a:lnTo>
                    <a:lnTo>
                      <a:pt x="18" y="579"/>
                    </a:lnTo>
                    <a:lnTo>
                      <a:pt x="16" y="579"/>
                    </a:lnTo>
                    <a:lnTo>
                      <a:pt x="16" y="577"/>
                    </a:lnTo>
                    <a:lnTo>
                      <a:pt x="14" y="577"/>
                    </a:lnTo>
                    <a:lnTo>
                      <a:pt x="14" y="575"/>
                    </a:lnTo>
                    <a:lnTo>
                      <a:pt x="13" y="575"/>
                    </a:lnTo>
                    <a:lnTo>
                      <a:pt x="11" y="575"/>
                    </a:lnTo>
                    <a:lnTo>
                      <a:pt x="11" y="574"/>
                    </a:lnTo>
                    <a:lnTo>
                      <a:pt x="10" y="574"/>
                    </a:lnTo>
                    <a:lnTo>
                      <a:pt x="10" y="572"/>
                    </a:lnTo>
                    <a:lnTo>
                      <a:pt x="8" y="572"/>
                    </a:lnTo>
                    <a:lnTo>
                      <a:pt x="8" y="574"/>
                    </a:lnTo>
                    <a:lnTo>
                      <a:pt x="6" y="574"/>
                    </a:lnTo>
                    <a:lnTo>
                      <a:pt x="6" y="572"/>
                    </a:lnTo>
                    <a:lnTo>
                      <a:pt x="6" y="571"/>
                    </a:lnTo>
                    <a:lnTo>
                      <a:pt x="6" y="569"/>
                    </a:lnTo>
                    <a:lnTo>
                      <a:pt x="8" y="569"/>
                    </a:lnTo>
                    <a:lnTo>
                      <a:pt x="8" y="568"/>
                    </a:lnTo>
                    <a:lnTo>
                      <a:pt x="10" y="568"/>
                    </a:lnTo>
                    <a:lnTo>
                      <a:pt x="10" y="566"/>
                    </a:lnTo>
                    <a:lnTo>
                      <a:pt x="10" y="564"/>
                    </a:lnTo>
                    <a:lnTo>
                      <a:pt x="10" y="563"/>
                    </a:lnTo>
                    <a:lnTo>
                      <a:pt x="8" y="564"/>
                    </a:lnTo>
                    <a:lnTo>
                      <a:pt x="6" y="564"/>
                    </a:lnTo>
                    <a:lnTo>
                      <a:pt x="6" y="566"/>
                    </a:lnTo>
                    <a:lnTo>
                      <a:pt x="6" y="564"/>
                    </a:lnTo>
                    <a:lnTo>
                      <a:pt x="6" y="563"/>
                    </a:lnTo>
                    <a:lnTo>
                      <a:pt x="5" y="563"/>
                    </a:lnTo>
                    <a:lnTo>
                      <a:pt x="5" y="561"/>
                    </a:lnTo>
                    <a:lnTo>
                      <a:pt x="3" y="561"/>
                    </a:lnTo>
                    <a:lnTo>
                      <a:pt x="3" y="560"/>
                    </a:lnTo>
                    <a:lnTo>
                      <a:pt x="3" y="558"/>
                    </a:lnTo>
                    <a:lnTo>
                      <a:pt x="3" y="556"/>
                    </a:lnTo>
                    <a:lnTo>
                      <a:pt x="2" y="556"/>
                    </a:lnTo>
                    <a:lnTo>
                      <a:pt x="2" y="555"/>
                    </a:lnTo>
                    <a:lnTo>
                      <a:pt x="2" y="553"/>
                    </a:lnTo>
                    <a:lnTo>
                      <a:pt x="3" y="553"/>
                    </a:lnTo>
                    <a:lnTo>
                      <a:pt x="3" y="552"/>
                    </a:lnTo>
                    <a:lnTo>
                      <a:pt x="5" y="550"/>
                    </a:lnTo>
                    <a:lnTo>
                      <a:pt x="5" y="549"/>
                    </a:lnTo>
                    <a:lnTo>
                      <a:pt x="6" y="549"/>
                    </a:lnTo>
                    <a:lnTo>
                      <a:pt x="8" y="547"/>
                    </a:lnTo>
                    <a:lnTo>
                      <a:pt x="8" y="545"/>
                    </a:lnTo>
                    <a:lnTo>
                      <a:pt x="5" y="544"/>
                    </a:lnTo>
                    <a:lnTo>
                      <a:pt x="5" y="542"/>
                    </a:lnTo>
                    <a:lnTo>
                      <a:pt x="3" y="542"/>
                    </a:lnTo>
                    <a:lnTo>
                      <a:pt x="2" y="541"/>
                    </a:lnTo>
                    <a:lnTo>
                      <a:pt x="2" y="539"/>
                    </a:lnTo>
                    <a:lnTo>
                      <a:pt x="3" y="537"/>
                    </a:lnTo>
                    <a:lnTo>
                      <a:pt x="3" y="536"/>
                    </a:lnTo>
                    <a:lnTo>
                      <a:pt x="3" y="534"/>
                    </a:lnTo>
                    <a:lnTo>
                      <a:pt x="2" y="534"/>
                    </a:lnTo>
                    <a:lnTo>
                      <a:pt x="0" y="534"/>
                    </a:lnTo>
                    <a:lnTo>
                      <a:pt x="3" y="530"/>
                    </a:lnTo>
                    <a:lnTo>
                      <a:pt x="5" y="526"/>
                    </a:lnTo>
                    <a:lnTo>
                      <a:pt x="6" y="525"/>
                    </a:lnTo>
                    <a:lnTo>
                      <a:pt x="6" y="523"/>
                    </a:lnTo>
                    <a:lnTo>
                      <a:pt x="8" y="520"/>
                    </a:lnTo>
                    <a:lnTo>
                      <a:pt x="8" y="518"/>
                    </a:lnTo>
                    <a:lnTo>
                      <a:pt x="8" y="512"/>
                    </a:lnTo>
                    <a:lnTo>
                      <a:pt x="10" y="511"/>
                    </a:lnTo>
                    <a:lnTo>
                      <a:pt x="11" y="511"/>
                    </a:lnTo>
                    <a:lnTo>
                      <a:pt x="14" y="511"/>
                    </a:lnTo>
                    <a:lnTo>
                      <a:pt x="18" y="509"/>
                    </a:lnTo>
                    <a:lnTo>
                      <a:pt x="19" y="507"/>
                    </a:lnTo>
                    <a:lnTo>
                      <a:pt x="19" y="506"/>
                    </a:lnTo>
                    <a:lnTo>
                      <a:pt x="21" y="503"/>
                    </a:lnTo>
                    <a:lnTo>
                      <a:pt x="21" y="501"/>
                    </a:lnTo>
                    <a:lnTo>
                      <a:pt x="21" y="498"/>
                    </a:lnTo>
                    <a:lnTo>
                      <a:pt x="19" y="498"/>
                    </a:lnTo>
                    <a:lnTo>
                      <a:pt x="18" y="495"/>
                    </a:lnTo>
                    <a:lnTo>
                      <a:pt x="19" y="490"/>
                    </a:lnTo>
                    <a:lnTo>
                      <a:pt x="24" y="482"/>
                    </a:lnTo>
                    <a:lnTo>
                      <a:pt x="29" y="474"/>
                    </a:lnTo>
                    <a:lnTo>
                      <a:pt x="33" y="465"/>
                    </a:lnTo>
                    <a:lnTo>
                      <a:pt x="35" y="463"/>
                    </a:lnTo>
                    <a:lnTo>
                      <a:pt x="35" y="461"/>
                    </a:lnTo>
                    <a:lnTo>
                      <a:pt x="37" y="461"/>
                    </a:lnTo>
                    <a:lnTo>
                      <a:pt x="38" y="461"/>
                    </a:lnTo>
                    <a:lnTo>
                      <a:pt x="41" y="461"/>
                    </a:lnTo>
                    <a:lnTo>
                      <a:pt x="43" y="461"/>
                    </a:lnTo>
                    <a:lnTo>
                      <a:pt x="46" y="460"/>
                    </a:lnTo>
                    <a:lnTo>
                      <a:pt x="48" y="457"/>
                    </a:lnTo>
                    <a:lnTo>
                      <a:pt x="48" y="455"/>
                    </a:lnTo>
                    <a:lnTo>
                      <a:pt x="48" y="449"/>
                    </a:lnTo>
                    <a:lnTo>
                      <a:pt x="46" y="447"/>
                    </a:lnTo>
                    <a:lnTo>
                      <a:pt x="46" y="446"/>
                    </a:lnTo>
                    <a:lnTo>
                      <a:pt x="45" y="442"/>
                    </a:lnTo>
                    <a:lnTo>
                      <a:pt x="46" y="442"/>
                    </a:lnTo>
                    <a:lnTo>
                      <a:pt x="46" y="441"/>
                    </a:lnTo>
                    <a:lnTo>
                      <a:pt x="48" y="439"/>
                    </a:lnTo>
                    <a:lnTo>
                      <a:pt x="51" y="434"/>
                    </a:lnTo>
                    <a:lnTo>
                      <a:pt x="56" y="425"/>
                    </a:lnTo>
                    <a:lnTo>
                      <a:pt x="59" y="420"/>
                    </a:lnTo>
                    <a:lnTo>
                      <a:pt x="60" y="419"/>
                    </a:lnTo>
                    <a:lnTo>
                      <a:pt x="67" y="408"/>
                    </a:lnTo>
                    <a:lnTo>
                      <a:pt x="68" y="406"/>
                    </a:lnTo>
                    <a:lnTo>
                      <a:pt x="78" y="390"/>
                    </a:lnTo>
                    <a:lnTo>
                      <a:pt x="79" y="389"/>
                    </a:lnTo>
                    <a:lnTo>
                      <a:pt x="84" y="377"/>
                    </a:lnTo>
                    <a:lnTo>
                      <a:pt x="86" y="376"/>
                    </a:lnTo>
                    <a:lnTo>
                      <a:pt x="89" y="369"/>
                    </a:lnTo>
                    <a:lnTo>
                      <a:pt x="92" y="365"/>
                    </a:lnTo>
                    <a:lnTo>
                      <a:pt x="95" y="360"/>
                    </a:lnTo>
                    <a:lnTo>
                      <a:pt x="98" y="355"/>
                    </a:lnTo>
                    <a:lnTo>
                      <a:pt x="100" y="352"/>
                    </a:lnTo>
                    <a:lnTo>
                      <a:pt x="105" y="344"/>
                    </a:lnTo>
                    <a:lnTo>
                      <a:pt x="106" y="341"/>
                    </a:lnTo>
                    <a:lnTo>
                      <a:pt x="108" y="339"/>
                    </a:lnTo>
                    <a:lnTo>
                      <a:pt x="111" y="339"/>
                    </a:lnTo>
                    <a:lnTo>
                      <a:pt x="116" y="339"/>
                    </a:lnTo>
                    <a:lnTo>
                      <a:pt x="117" y="339"/>
                    </a:lnTo>
                    <a:lnTo>
                      <a:pt x="119" y="338"/>
                    </a:lnTo>
                    <a:lnTo>
                      <a:pt x="121" y="336"/>
                    </a:lnTo>
                    <a:lnTo>
                      <a:pt x="121" y="335"/>
                    </a:lnTo>
                    <a:lnTo>
                      <a:pt x="122" y="331"/>
                    </a:lnTo>
                    <a:lnTo>
                      <a:pt x="121" y="328"/>
                    </a:lnTo>
                    <a:lnTo>
                      <a:pt x="121" y="327"/>
                    </a:lnTo>
                    <a:lnTo>
                      <a:pt x="121" y="324"/>
                    </a:lnTo>
                    <a:lnTo>
                      <a:pt x="122" y="322"/>
                    </a:lnTo>
                    <a:lnTo>
                      <a:pt x="124" y="322"/>
                    </a:lnTo>
                    <a:lnTo>
                      <a:pt x="125" y="322"/>
                    </a:lnTo>
                    <a:lnTo>
                      <a:pt x="127" y="320"/>
                    </a:lnTo>
                    <a:lnTo>
                      <a:pt x="128" y="320"/>
                    </a:lnTo>
                    <a:lnTo>
                      <a:pt x="128" y="319"/>
                    </a:lnTo>
                    <a:lnTo>
                      <a:pt x="130" y="319"/>
                    </a:lnTo>
                    <a:lnTo>
                      <a:pt x="132" y="319"/>
                    </a:lnTo>
                    <a:lnTo>
                      <a:pt x="132" y="320"/>
                    </a:lnTo>
                    <a:lnTo>
                      <a:pt x="133" y="320"/>
                    </a:lnTo>
                    <a:lnTo>
                      <a:pt x="135" y="320"/>
                    </a:lnTo>
                    <a:lnTo>
                      <a:pt x="138" y="320"/>
                    </a:lnTo>
                    <a:lnTo>
                      <a:pt x="141" y="319"/>
                    </a:lnTo>
                    <a:lnTo>
                      <a:pt x="143" y="319"/>
                    </a:lnTo>
                    <a:lnTo>
                      <a:pt x="149" y="322"/>
                    </a:lnTo>
                    <a:lnTo>
                      <a:pt x="152" y="320"/>
                    </a:lnTo>
                    <a:lnTo>
                      <a:pt x="154" y="320"/>
                    </a:lnTo>
                    <a:lnTo>
                      <a:pt x="155" y="320"/>
                    </a:lnTo>
                    <a:lnTo>
                      <a:pt x="157" y="320"/>
                    </a:lnTo>
                    <a:lnTo>
                      <a:pt x="157" y="319"/>
                    </a:lnTo>
                    <a:lnTo>
                      <a:pt x="160" y="319"/>
                    </a:lnTo>
                    <a:lnTo>
                      <a:pt x="165" y="319"/>
                    </a:lnTo>
                    <a:lnTo>
                      <a:pt x="174" y="314"/>
                    </a:lnTo>
                    <a:lnTo>
                      <a:pt x="178" y="314"/>
                    </a:lnTo>
                    <a:lnTo>
                      <a:pt x="181" y="312"/>
                    </a:lnTo>
                    <a:lnTo>
                      <a:pt x="185" y="312"/>
                    </a:lnTo>
                    <a:lnTo>
                      <a:pt x="190" y="311"/>
                    </a:lnTo>
                    <a:lnTo>
                      <a:pt x="193" y="311"/>
                    </a:lnTo>
                    <a:lnTo>
                      <a:pt x="195" y="311"/>
                    </a:lnTo>
                    <a:lnTo>
                      <a:pt x="195" y="309"/>
                    </a:lnTo>
                    <a:lnTo>
                      <a:pt x="197" y="309"/>
                    </a:lnTo>
                    <a:lnTo>
                      <a:pt x="198" y="309"/>
                    </a:lnTo>
                    <a:lnTo>
                      <a:pt x="201" y="308"/>
                    </a:lnTo>
                    <a:lnTo>
                      <a:pt x="206" y="306"/>
                    </a:lnTo>
                    <a:lnTo>
                      <a:pt x="208" y="306"/>
                    </a:lnTo>
                    <a:lnTo>
                      <a:pt x="214" y="305"/>
                    </a:lnTo>
                    <a:lnTo>
                      <a:pt x="219" y="305"/>
                    </a:lnTo>
                    <a:lnTo>
                      <a:pt x="224" y="306"/>
                    </a:lnTo>
                    <a:lnTo>
                      <a:pt x="225" y="306"/>
                    </a:lnTo>
                    <a:lnTo>
                      <a:pt x="227" y="306"/>
                    </a:lnTo>
                    <a:lnTo>
                      <a:pt x="228" y="305"/>
                    </a:lnTo>
                    <a:lnTo>
                      <a:pt x="231" y="305"/>
                    </a:lnTo>
                    <a:lnTo>
                      <a:pt x="233" y="305"/>
                    </a:lnTo>
                    <a:lnTo>
                      <a:pt x="235" y="305"/>
                    </a:lnTo>
                    <a:lnTo>
                      <a:pt x="236" y="305"/>
                    </a:lnTo>
                    <a:lnTo>
                      <a:pt x="238" y="306"/>
                    </a:lnTo>
                    <a:lnTo>
                      <a:pt x="241" y="308"/>
                    </a:lnTo>
                    <a:lnTo>
                      <a:pt x="243" y="309"/>
                    </a:lnTo>
                    <a:lnTo>
                      <a:pt x="244" y="311"/>
                    </a:lnTo>
                    <a:lnTo>
                      <a:pt x="244" y="314"/>
                    </a:lnTo>
                    <a:lnTo>
                      <a:pt x="244" y="316"/>
                    </a:lnTo>
                    <a:lnTo>
                      <a:pt x="246" y="316"/>
                    </a:lnTo>
                    <a:lnTo>
                      <a:pt x="247" y="317"/>
                    </a:lnTo>
                    <a:lnTo>
                      <a:pt x="250" y="316"/>
                    </a:lnTo>
                    <a:lnTo>
                      <a:pt x="252" y="316"/>
                    </a:lnTo>
                    <a:lnTo>
                      <a:pt x="257" y="317"/>
                    </a:lnTo>
                    <a:lnTo>
                      <a:pt x="257" y="316"/>
                    </a:lnTo>
                    <a:lnTo>
                      <a:pt x="258" y="314"/>
                    </a:lnTo>
                    <a:lnTo>
                      <a:pt x="257" y="312"/>
                    </a:lnTo>
                    <a:lnTo>
                      <a:pt x="257" y="311"/>
                    </a:lnTo>
                    <a:lnTo>
                      <a:pt x="258" y="308"/>
                    </a:lnTo>
                    <a:lnTo>
                      <a:pt x="258" y="306"/>
                    </a:lnTo>
                    <a:lnTo>
                      <a:pt x="263" y="298"/>
                    </a:lnTo>
                    <a:lnTo>
                      <a:pt x="263" y="295"/>
                    </a:lnTo>
                    <a:lnTo>
                      <a:pt x="263" y="289"/>
                    </a:lnTo>
                    <a:lnTo>
                      <a:pt x="263" y="287"/>
                    </a:lnTo>
                    <a:lnTo>
                      <a:pt x="263" y="284"/>
                    </a:lnTo>
                    <a:lnTo>
                      <a:pt x="263" y="278"/>
                    </a:lnTo>
                    <a:lnTo>
                      <a:pt x="263" y="276"/>
                    </a:lnTo>
                    <a:lnTo>
                      <a:pt x="263" y="265"/>
                    </a:lnTo>
                    <a:lnTo>
                      <a:pt x="265" y="262"/>
                    </a:lnTo>
                    <a:lnTo>
                      <a:pt x="265" y="260"/>
                    </a:lnTo>
                    <a:lnTo>
                      <a:pt x="265" y="257"/>
                    </a:lnTo>
                    <a:lnTo>
                      <a:pt x="265" y="255"/>
                    </a:lnTo>
                    <a:lnTo>
                      <a:pt x="263" y="252"/>
                    </a:lnTo>
                    <a:lnTo>
                      <a:pt x="260" y="249"/>
                    </a:lnTo>
                    <a:lnTo>
                      <a:pt x="257" y="246"/>
                    </a:lnTo>
                    <a:lnTo>
                      <a:pt x="255" y="243"/>
                    </a:lnTo>
                    <a:lnTo>
                      <a:pt x="255" y="241"/>
                    </a:lnTo>
                    <a:lnTo>
                      <a:pt x="257" y="240"/>
                    </a:lnTo>
                    <a:lnTo>
                      <a:pt x="257" y="236"/>
                    </a:lnTo>
                    <a:lnTo>
                      <a:pt x="258" y="235"/>
                    </a:lnTo>
                    <a:lnTo>
                      <a:pt x="260" y="232"/>
                    </a:lnTo>
                    <a:lnTo>
                      <a:pt x="262" y="228"/>
                    </a:lnTo>
                    <a:lnTo>
                      <a:pt x="262" y="227"/>
                    </a:lnTo>
                    <a:lnTo>
                      <a:pt x="263" y="224"/>
                    </a:lnTo>
                    <a:lnTo>
                      <a:pt x="263" y="222"/>
                    </a:lnTo>
                    <a:lnTo>
                      <a:pt x="265" y="221"/>
                    </a:lnTo>
                    <a:lnTo>
                      <a:pt x="265" y="219"/>
                    </a:lnTo>
                    <a:lnTo>
                      <a:pt x="265" y="213"/>
                    </a:lnTo>
                    <a:lnTo>
                      <a:pt x="266" y="208"/>
                    </a:lnTo>
                    <a:lnTo>
                      <a:pt x="268" y="206"/>
                    </a:lnTo>
                    <a:lnTo>
                      <a:pt x="269" y="197"/>
                    </a:lnTo>
                    <a:lnTo>
                      <a:pt x="274" y="183"/>
                    </a:lnTo>
                    <a:lnTo>
                      <a:pt x="276" y="175"/>
                    </a:lnTo>
                    <a:lnTo>
                      <a:pt x="276" y="173"/>
                    </a:lnTo>
                    <a:lnTo>
                      <a:pt x="279" y="164"/>
                    </a:lnTo>
                    <a:lnTo>
                      <a:pt x="282" y="154"/>
                    </a:lnTo>
                    <a:lnTo>
                      <a:pt x="284" y="144"/>
                    </a:lnTo>
                    <a:lnTo>
                      <a:pt x="285" y="141"/>
                    </a:lnTo>
                    <a:lnTo>
                      <a:pt x="288" y="140"/>
                    </a:lnTo>
                    <a:lnTo>
                      <a:pt x="288" y="138"/>
                    </a:lnTo>
                    <a:lnTo>
                      <a:pt x="292" y="137"/>
                    </a:lnTo>
                    <a:lnTo>
                      <a:pt x="293" y="135"/>
                    </a:lnTo>
                    <a:lnTo>
                      <a:pt x="296" y="129"/>
                    </a:lnTo>
                    <a:lnTo>
                      <a:pt x="306" y="106"/>
                    </a:lnTo>
                    <a:lnTo>
                      <a:pt x="306" y="105"/>
                    </a:lnTo>
                    <a:lnTo>
                      <a:pt x="307" y="102"/>
                    </a:lnTo>
                    <a:lnTo>
                      <a:pt x="307" y="100"/>
                    </a:lnTo>
                    <a:lnTo>
                      <a:pt x="309" y="95"/>
                    </a:lnTo>
                    <a:lnTo>
                      <a:pt x="320" y="72"/>
                    </a:lnTo>
                    <a:lnTo>
                      <a:pt x="320" y="70"/>
                    </a:lnTo>
                    <a:lnTo>
                      <a:pt x="322" y="68"/>
                    </a:lnTo>
                    <a:lnTo>
                      <a:pt x="322" y="67"/>
                    </a:lnTo>
                    <a:lnTo>
                      <a:pt x="322" y="64"/>
                    </a:lnTo>
                    <a:lnTo>
                      <a:pt x="322" y="61"/>
                    </a:lnTo>
                    <a:lnTo>
                      <a:pt x="322" y="56"/>
                    </a:lnTo>
                    <a:lnTo>
                      <a:pt x="322" y="54"/>
                    </a:lnTo>
                    <a:lnTo>
                      <a:pt x="326" y="38"/>
                    </a:lnTo>
                    <a:lnTo>
                      <a:pt x="328" y="37"/>
                    </a:lnTo>
                    <a:lnTo>
                      <a:pt x="334" y="11"/>
                    </a:lnTo>
                    <a:lnTo>
                      <a:pt x="336" y="10"/>
                    </a:lnTo>
                    <a:lnTo>
                      <a:pt x="336" y="8"/>
                    </a:lnTo>
                    <a:lnTo>
                      <a:pt x="341" y="3"/>
                    </a:lnTo>
                    <a:lnTo>
                      <a:pt x="342" y="3"/>
                    </a:lnTo>
                    <a:lnTo>
                      <a:pt x="344" y="0"/>
                    </a:lnTo>
                    <a:lnTo>
                      <a:pt x="344" y="2"/>
                    </a:lnTo>
                    <a:lnTo>
                      <a:pt x="345" y="3"/>
                    </a:lnTo>
                    <a:lnTo>
                      <a:pt x="347" y="5"/>
                    </a:lnTo>
                    <a:lnTo>
                      <a:pt x="349" y="7"/>
                    </a:lnTo>
                    <a:lnTo>
                      <a:pt x="349" y="8"/>
                    </a:lnTo>
                    <a:close/>
                  </a:path>
                </a:pathLst>
              </a:custGeom>
              <a:solidFill>
                <a:srgbClr val="E1E1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138"/>
              </a:p>
            </p:txBody>
          </p:sp>
          <p:sp>
            <p:nvSpPr>
              <p:cNvPr id="12" name="Freeform 10"/>
              <p:cNvSpPr>
                <a:spLocks/>
              </p:cNvSpPr>
              <p:nvPr/>
            </p:nvSpPr>
            <p:spPr bwMode="auto">
              <a:xfrm>
                <a:off x="2452" y="985"/>
                <a:ext cx="762" cy="222"/>
              </a:xfrm>
              <a:custGeom>
                <a:avLst/>
                <a:gdLst>
                  <a:gd name="T0" fmla="*/ 8 w 762"/>
                  <a:gd name="T1" fmla="*/ 19 h 222"/>
                  <a:gd name="T2" fmla="*/ 20 w 762"/>
                  <a:gd name="T3" fmla="*/ 40 h 222"/>
                  <a:gd name="T4" fmla="*/ 36 w 762"/>
                  <a:gd name="T5" fmla="*/ 45 h 222"/>
                  <a:gd name="T6" fmla="*/ 63 w 762"/>
                  <a:gd name="T7" fmla="*/ 48 h 222"/>
                  <a:gd name="T8" fmla="*/ 79 w 762"/>
                  <a:gd name="T9" fmla="*/ 56 h 222"/>
                  <a:gd name="T10" fmla="*/ 92 w 762"/>
                  <a:gd name="T11" fmla="*/ 73 h 222"/>
                  <a:gd name="T12" fmla="*/ 107 w 762"/>
                  <a:gd name="T13" fmla="*/ 86 h 222"/>
                  <a:gd name="T14" fmla="*/ 122 w 762"/>
                  <a:gd name="T15" fmla="*/ 95 h 222"/>
                  <a:gd name="T16" fmla="*/ 136 w 762"/>
                  <a:gd name="T17" fmla="*/ 105 h 222"/>
                  <a:gd name="T18" fmla="*/ 153 w 762"/>
                  <a:gd name="T19" fmla="*/ 110 h 222"/>
                  <a:gd name="T20" fmla="*/ 171 w 762"/>
                  <a:gd name="T21" fmla="*/ 103 h 222"/>
                  <a:gd name="T22" fmla="*/ 188 w 762"/>
                  <a:gd name="T23" fmla="*/ 95 h 222"/>
                  <a:gd name="T24" fmla="*/ 212 w 762"/>
                  <a:gd name="T25" fmla="*/ 89 h 222"/>
                  <a:gd name="T26" fmla="*/ 228 w 762"/>
                  <a:gd name="T27" fmla="*/ 95 h 222"/>
                  <a:gd name="T28" fmla="*/ 237 w 762"/>
                  <a:gd name="T29" fmla="*/ 106 h 222"/>
                  <a:gd name="T30" fmla="*/ 242 w 762"/>
                  <a:gd name="T31" fmla="*/ 106 h 222"/>
                  <a:gd name="T32" fmla="*/ 253 w 762"/>
                  <a:gd name="T33" fmla="*/ 106 h 222"/>
                  <a:gd name="T34" fmla="*/ 274 w 762"/>
                  <a:gd name="T35" fmla="*/ 110 h 222"/>
                  <a:gd name="T36" fmla="*/ 290 w 762"/>
                  <a:gd name="T37" fmla="*/ 110 h 222"/>
                  <a:gd name="T38" fmla="*/ 309 w 762"/>
                  <a:gd name="T39" fmla="*/ 106 h 222"/>
                  <a:gd name="T40" fmla="*/ 329 w 762"/>
                  <a:gd name="T41" fmla="*/ 98 h 222"/>
                  <a:gd name="T42" fmla="*/ 345 w 762"/>
                  <a:gd name="T43" fmla="*/ 92 h 222"/>
                  <a:gd name="T44" fmla="*/ 358 w 762"/>
                  <a:gd name="T45" fmla="*/ 76 h 222"/>
                  <a:gd name="T46" fmla="*/ 362 w 762"/>
                  <a:gd name="T47" fmla="*/ 59 h 222"/>
                  <a:gd name="T48" fmla="*/ 373 w 762"/>
                  <a:gd name="T49" fmla="*/ 45 h 222"/>
                  <a:gd name="T50" fmla="*/ 381 w 762"/>
                  <a:gd name="T51" fmla="*/ 32 h 222"/>
                  <a:gd name="T52" fmla="*/ 394 w 762"/>
                  <a:gd name="T53" fmla="*/ 43 h 222"/>
                  <a:gd name="T54" fmla="*/ 415 w 762"/>
                  <a:gd name="T55" fmla="*/ 62 h 222"/>
                  <a:gd name="T56" fmla="*/ 432 w 762"/>
                  <a:gd name="T57" fmla="*/ 68 h 222"/>
                  <a:gd name="T58" fmla="*/ 450 w 762"/>
                  <a:gd name="T59" fmla="*/ 68 h 222"/>
                  <a:gd name="T60" fmla="*/ 462 w 762"/>
                  <a:gd name="T61" fmla="*/ 78 h 222"/>
                  <a:gd name="T62" fmla="*/ 480 w 762"/>
                  <a:gd name="T63" fmla="*/ 72 h 222"/>
                  <a:gd name="T64" fmla="*/ 494 w 762"/>
                  <a:gd name="T65" fmla="*/ 75 h 222"/>
                  <a:gd name="T66" fmla="*/ 516 w 762"/>
                  <a:gd name="T67" fmla="*/ 72 h 222"/>
                  <a:gd name="T68" fmla="*/ 526 w 762"/>
                  <a:gd name="T69" fmla="*/ 76 h 222"/>
                  <a:gd name="T70" fmla="*/ 537 w 762"/>
                  <a:gd name="T71" fmla="*/ 67 h 222"/>
                  <a:gd name="T72" fmla="*/ 541 w 762"/>
                  <a:gd name="T73" fmla="*/ 64 h 222"/>
                  <a:gd name="T74" fmla="*/ 549 w 762"/>
                  <a:gd name="T75" fmla="*/ 59 h 222"/>
                  <a:gd name="T76" fmla="*/ 559 w 762"/>
                  <a:gd name="T77" fmla="*/ 56 h 222"/>
                  <a:gd name="T78" fmla="*/ 568 w 762"/>
                  <a:gd name="T79" fmla="*/ 53 h 222"/>
                  <a:gd name="T80" fmla="*/ 576 w 762"/>
                  <a:gd name="T81" fmla="*/ 48 h 222"/>
                  <a:gd name="T82" fmla="*/ 589 w 762"/>
                  <a:gd name="T83" fmla="*/ 54 h 222"/>
                  <a:gd name="T84" fmla="*/ 608 w 762"/>
                  <a:gd name="T85" fmla="*/ 57 h 222"/>
                  <a:gd name="T86" fmla="*/ 590 w 762"/>
                  <a:gd name="T87" fmla="*/ 68 h 222"/>
                  <a:gd name="T88" fmla="*/ 584 w 762"/>
                  <a:gd name="T89" fmla="*/ 81 h 222"/>
                  <a:gd name="T90" fmla="*/ 606 w 762"/>
                  <a:gd name="T91" fmla="*/ 75 h 222"/>
                  <a:gd name="T92" fmla="*/ 622 w 762"/>
                  <a:gd name="T93" fmla="*/ 67 h 222"/>
                  <a:gd name="T94" fmla="*/ 644 w 762"/>
                  <a:gd name="T95" fmla="*/ 65 h 222"/>
                  <a:gd name="T96" fmla="*/ 654 w 762"/>
                  <a:gd name="T97" fmla="*/ 91 h 222"/>
                  <a:gd name="T98" fmla="*/ 662 w 762"/>
                  <a:gd name="T99" fmla="*/ 106 h 222"/>
                  <a:gd name="T100" fmla="*/ 662 w 762"/>
                  <a:gd name="T101" fmla="*/ 127 h 222"/>
                  <a:gd name="T102" fmla="*/ 667 w 762"/>
                  <a:gd name="T103" fmla="*/ 140 h 222"/>
                  <a:gd name="T104" fmla="*/ 687 w 762"/>
                  <a:gd name="T105" fmla="*/ 146 h 222"/>
                  <a:gd name="T106" fmla="*/ 711 w 762"/>
                  <a:gd name="T107" fmla="*/ 143 h 222"/>
                  <a:gd name="T108" fmla="*/ 725 w 762"/>
                  <a:gd name="T109" fmla="*/ 149 h 222"/>
                  <a:gd name="T110" fmla="*/ 741 w 762"/>
                  <a:gd name="T111" fmla="*/ 157 h 222"/>
                  <a:gd name="T112" fmla="*/ 750 w 762"/>
                  <a:gd name="T113" fmla="*/ 170 h 222"/>
                  <a:gd name="T114" fmla="*/ 739 w 762"/>
                  <a:gd name="T115" fmla="*/ 186 h 222"/>
                  <a:gd name="T116" fmla="*/ 741 w 762"/>
                  <a:gd name="T117" fmla="*/ 209 h 222"/>
                  <a:gd name="T118" fmla="*/ 760 w 762"/>
                  <a:gd name="T119" fmla="*/ 217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62" h="222">
                    <a:moveTo>
                      <a:pt x="0" y="0"/>
                    </a:moveTo>
                    <a:lnTo>
                      <a:pt x="1" y="0"/>
                    </a:lnTo>
                    <a:lnTo>
                      <a:pt x="3" y="0"/>
                    </a:lnTo>
                    <a:lnTo>
                      <a:pt x="3" y="2"/>
                    </a:lnTo>
                    <a:lnTo>
                      <a:pt x="3" y="3"/>
                    </a:lnTo>
                    <a:lnTo>
                      <a:pt x="3" y="5"/>
                    </a:lnTo>
                    <a:lnTo>
                      <a:pt x="1" y="5"/>
                    </a:lnTo>
                    <a:lnTo>
                      <a:pt x="1" y="7"/>
                    </a:lnTo>
                    <a:lnTo>
                      <a:pt x="3" y="8"/>
                    </a:lnTo>
                    <a:lnTo>
                      <a:pt x="3" y="10"/>
                    </a:lnTo>
                    <a:lnTo>
                      <a:pt x="3" y="11"/>
                    </a:lnTo>
                    <a:lnTo>
                      <a:pt x="3" y="13"/>
                    </a:lnTo>
                    <a:lnTo>
                      <a:pt x="4" y="14"/>
                    </a:lnTo>
                    <a:lnTo>
                      <a:pt x="4" y="16"/>
                    </a:lnTo>
                    <a:lnTo>
                      <a:pt x="6" y="16"/>
                    </a:lnTo>
                    <a:lnTo>
                      <a:pt x="6" y="18"/>
                    </a:lnTo>
                    <a:lnTo>
                      <a:pt x="8" y="19"/>
                    </a:lnTo>
                    <a:lnTo>
                      <a:pt x="8" y="21"/>
                    </a:lnTo>
                    <a:lnTo>
                      <a:pt x="9" y="21"/>
                    </a:lnTo>
                    <a:lnTo>
                      <a:pt x="11" y="21"/>
                    </a:lnTo>
                    <a:lnTo>
                      <a:pt x="11" y="22"/>
                    </a:lnTo>
                    <a:lnTo>
                      <a:pt x="11" y="24"/>
                    </a:lnTo>
                    <a:lnTo>
                      <a:pt x="12" y="26"/>
                    </a:lnTo>
                    <a:lnTo>
                      <a:pt x="12" y="27"/>
                    </a:lnTo>
                    <a:lnTo>
                      <a:pt x="12" y="29"/>
                    </a:lnTo>
                    <a:lnTo>
                      <a:pt x="12" y="30"/>
                    </a:lnTo>
                    <a:lnTo>
                      <a:pt x="14" y="32"/>
                    </a:lnTo>
                    <a:lnTo>
                      <a:pt x="14" y="33"/>
                    </a:lnTo>
                    <a:lnTo>
                      <a:pt x="15" y="35"/>
                    </a:lnTo>
                    <a:lnTo>
                      <a:pt x="15" y="37"/>
                    </a:lnTo>
                    <a:lnTo>
                      <a:pt x="17" y="38"/>
                    </a:lnTo>
                    <a:lnTo>
                      <a:pt x="19" y="38"/>
                    </a:lnTo>
                    <a:lnTo>
                      <a:pt x="19" y="40"/>
                    </a:lnTo>
                    <a:lnTo>
                      <a:pt x="20" y="40"/>
                    </a:lnTo>
                    <a:lnTo>
                      <a:pt x="20" y="41"/>
                    </a:lnTo>
                    <a:lnTo>
                      <a:pt x="20" y="40"/>
                    </a:lnTo>
                    <a:lnTo>
                      <a:pt x="22" y="40"/>
                    </a:lnTo>
                    <a:lnTo>
                      <a:pt x="22" y="38"/>
                    </a:lnTo>
                    <a:lnTo>
                      <a:pt x="22" y="40"/>
                    </a:lnTo>
                    <a:lnTo>
                      <a:pt x="23" y="40"/>
                    </a:lnTo>
                    <a:lnTo>
                      <a:pt x="25" y="40"/>
                    </a:lnTo>
                    <a:lnTo>
                      <a:pt x="25" y="41"/>
                    </a:lnTo>
                    <a:lnTo>
                      <a:pt x="27" y="41"/>
                    </a:lnTo>
                    <a:lnTo>
                      <a:pt x="28" y="41"/>
                    </a:lnTo>
                    <a:lnTo>
                      <a:pt x="28" y="43"/>
                    </a:lnTo>
                    <a:lnTo>
                      <a:pt x="30" y="43"/>
                    </a:lnTo>
                    <a:lnTo>
                      <a:pt x="31" y="43"/>
                    </a:lnTo>
                    <a:lnTo>
                      <a:pt x="31" y="45"/>
                    </a:lnTo>
                    <a:lnTo>
                      <a:pt x="33" y="45"/>
                    </a:lnTo>
                    <a:lnTo>
                      <a:pt x="34" y="45"/>
                    </a:lnTo>
                    <a:lnTo>
                      <a:pt x="36" y="45"/>
                    </a:lnTo>
                    <a:lnTo>
                      <a:pt x="38" y="45"/>
                    </a:lnTo>
                    <a:lnTo>
                      <a:pt x="39" y="45"/>
                    </a:lnTo>
                    <a:lnTo>
                      <a:pt x="41" y="45"/>
                    </a:lnTo>
                    <a:lnTo>
                      <a:pt x="42" y="46"/>
                    </a:lnTo>
                    <a:lnTo>
                      <a:pt x="44" y="46"/>
                    </a:lnTo>
                    <a:lnTo>
                      <a:pt x="46" y="46"/>
                    </a:lnTo>
                    <a:lnTo>
                      <a:pt x="47" y="46"/>
                    </a:lnTo>
                    <a:lnTo>
                      <a:pt x="49" y="46"/>
                    </a:lnTo>
                    <a:lnTo>
                      <a:pt x="50" y="48"/>
                    </a:lnTo>
                    <a:lnTo>
                      <a:pt x="52" y="48"/>
                    </a:lnTo>
                    <a:lnTo>
                      <a:pt x="54" y="48"/>
                    </a:lnTo>
                    <a:lnTo>
                      <a:pt x="55" y="48"/>
                    </a:lnTo>
                    <a:lnTo>
                      <a:pt x="57" y="48"/>
                    </a:lnTo>
                    <a:lnTo>
                      <a:pt x="58" y="48"/>
                    </a:lnTo>
                    <a:lnTo>
                      <a:pt x="60" y="48"/>
                    </a:lnTo>
                    <a:lnTo>
                      <a:pt x="61" y="48"/>
                    </a:lnTo>
                    <a:lnTo>
                      <a:pt x="63" y="48"/>
                    </a:lnTo>
                    <a:lnTo>
                      <a:pt x="63" y="49"/>
                    </a:lnTo>
                    <a:lnTo>
                      <a:pt x="65" y="49"/>
                    </a:lnTo>
                    <a:lnTo>
                      <a:pt x="65" y="51"/>
                    </a:lnTo>
                    <a:lnTo>
                      <a:pt x="66" y="51"/>
                    </a:lnTo>
                    <a:lnTo>
                      <a:pt x="68" y="51"/>
                    </a:lnTo>
                    <a:lnTo>
                      <a:pt x="68" y="53"/>
                    </a:lnTo>
                    <a:lnTo>
                      <a:pt x="69" y="53"/>
                    </a:lnTo>
                    <a:lnTo>
                      <a:pt x="71" y="53"/>
                    </a:lnTo>
                    <a:lnTo>
                      <a:pt x="71" y="54"/>
                    </a:lnTo>
                    <a:lnTo>
                      <a:pt x="73" y="54"/>
                    </a:lnTo>
                    <a:lnTo>
                      <a:pt x="74" y="54"/>
                    </a:lnTo>
                    <a:lnTo>
                      <a:pt x="74" y="53"/>
                    </a:lnTo>
                    <a:lnTo>
                      <a:pt x="76" y="53"/>
                    </a:lnTo>
                    <a:lnTo>
                      <a:pt x="76" y="54"/>
                    </a:lnTo>
                    <a:lnTo>
                      <a:pt x="77" y="54"/>
                    </a:lnTo>
                    <a:lnTo>
                      <a:pt x="77" y="56"/>
                    </a:lnTo>
                    <a:lnTo>
                      <a:pt x="79" y="56"/>
                    </a:lnTo>
                    <a:lnTo>
                      <a:pt x="79" y="57"/>
                    </a:lnTo>
                    <a:lnTo>
                      <a:pt x="80" y="57"/>
                    </a:lnTo>
                    <a:lnTo>
                      <a:pt x="80" y="59"/>
                    </a:lnTo>
                    <a:lnTo>
                      <a:pt x="80" y="60"/>
                    </a:lnTo>
                    <a:lnTo>
                      <a:pt x="82" y="60"/>
                    </a:lnTo>
                    <a:lnTo>
                      <a:pt x="82" y="62"/>
                    </a:lnTo>
                    <a:lnTo>
                      <a:pt x="82" y="64"/>
                    </a:lnTo>
                    <a:lnTo>
                      <a:pt x="84" y="65"/>
                    </a:lnTo>
                    <a:lnTo>
                      <a:pt x="84" y="67"/>
                    </a:lnTo>
                    <a:lnTo>
                      <a:pt x="84" y="68"/>
                    </a:lnTo>
                    <a:lnTo>
                      <a:pt x="85" y="68"/>
                    </a:lnTo>
                    <a:lnTo>
                      <a:pt x="87" y="70"/>
                    </a:lnTo>
                    <a:lnTo>
                      <a:pt x="88" y="70"/>
                    </a:lnTo>
                    <a:lnTo>
                      <a:pt x="90" y="70"/>
                    </a:lnTo>
                    <a:lnTo>
                      <a:pt x="90" y="72"/>
                    </a:lnTo>
                    <a:lnTo>
                      <a:pt x="92" y="72"/>
                    </a:lnTo>
                    <a:lnTo>
                      <a:pt x="92" y="73"/>
                    </a:lnTo>
                    <a:lnTo>
                      <a:pt x="93" y="73"/>
                    </a:lnTo>
                    <a:lnTo>
                      <a:pt x="93" y="75"/>
                    </a:lnTo>
                    <a:lnTo>
                      <a:pt x="95" y="75"/>
                    </a:lnTo>
                    <a:lnTo>
                      <a:pt x="95" y="76"/>
                    </a:lnTo>
                    <a:lnTo>
                      <a:pt x="95" y="78"/>
                    </a:lnTo>
                    <a:lnTo>
                      <a:pt x="96" y="78"/>
                    </a:lnTo>
                    <a:lnTo>
                      <a:pt x="98" y="79"/>
                    </a:lnTo>
                    <a:lnTo>
                      <a:pt x="98" y="81"/>
                    </a:lnTo>
                    <a:lnTo>
                      <a:pt x="99" y="81"/>
                    </a:lnTo>
                    <a:lnTo>
                      <a:pt x="101" y="81"/>
                    </a:lnTo>
                    <a:lnTo>
                      <a:pt x="101" y="83"/>
                    </a:lnTo>
                    <a:lnTo>
                      <a:pt x="103" y="83"/>
                    </a:lnTo>
                    <a:lnTo>
                      <a:pt x="104" y="83"/>
                    </a:lnTo>
                    <a:lnTo>
                      <a:pt x="104" y="84"/>
                    </a:lnTo>
                    <a:lnTo>
                      <a:pt x="106" y="84"/>
                    </a:lnTo>
                    <a:lnTo>
                      <a:pt x="107" y="84"/>
                    </a:lnTo>
                    <a:lnTo>
                      <a:pt x="107" y="86"/>
                    </a:lnTo>
                    <a:lnTo>
                      <a:pt x="109" y="86"/>
                    </a:lnTo>
                    <a:lnTo>
                      <a:pt x="111" y="86"/>
                    </a:lnTo>
                    <a:lnTo>
                      <a:pt x="111" y="87"/>
                    </a:lnTo>
                    <a:lnTo>
                      <a:pt x="112" y="87"/>
                    </a:lnTo>
                    <a:lnTo>
                      <a:pt x="112" y="89"/>
                    </a:lnTo>
                    <a:lnTo>
                      <a:pt x="114" y="89"/>
                    </a:lnTo>
                    <a:lnTo>
                      <a:pt x="114" y="91"/>
                    </a:lnTo>
                    <a:lnTo>
                      <a:pt x="115" y="91"/>
                    </a:lnTo>
                    <a:lnTo>
                      <a:pt x="117" y="91"/>
                    </a:lnTo>
                    <a:lnTo>
                      <a:pt x="117" y="92"/>
                    </a:lnTo>
                    <a:lnTo>
                      <a:pt x="118" y="92"/>
                    </a:lnTo>
                    <a:lnTo>
                      <a:pt x="118" y="94"/>
                    </a:lnTo>
                    <a:lnTo>
                      <a:pt x="120" y="94"/>
                    </a:lnTo>
                    <a:lnTo>
                      <a:pt x="120" y="95"/>
                    </a:lnTo>
                    <a:lnTo>
                      <a:pt x="122" y="95"/>
                    </a:lnTo>
                    <a:lnTo>
                      <a:pt x="122" y="97"/>
                    </a:lnTo>
                    <a:lnTo>
                      <a:pt x="122" y="95"/>
                    </a:lnTo>
                    <a:lnTo>
                      <a:pt x="123" y="95"/>
                    </a:lnTo>
                    <a:lnTo>
                      <a:pt x="125" y="95"/>
                    </a:lnTo>
                    <a:lnTo>
                      <a:pt x="125" y="97"/>
                    </a:lnTo>
                    <a:lnTo>
                      <a:pt x="126" y="97"/>
                    </a:lnTo>
                    <a:lnTo>
                      <a:pt x="126" y="98"/>
                    </a:lnTo>
                    <a:lnTo>
                      <a:pt x="128" y="98"/>
                    </a:lnTo>
                    <a:lnTo>
                      <a:pt x="128" y="100"/>
                    </a:lnTo>
                    <a:lnTo>
                      <a:pt x="128" y="102"/>
                    </a:lnTo>
                    <a:lnTo>
                      <a:pt x="130" y="103"/>
                    </a:lnTo>
                    <a:lnTo>
                      <a:pt x="130" y="102"/>
                    </a:lnTo>
                    <a:lnTo>
                      <a:pt x="131" y="102"/>
                    </a:lnTo>
                    <a:lnTo>
                      <a:pt x="131" y="103"/>
                    </a:lnTo>
                    <a:lnTo>
                      <a:pt x="131" y="105"/>
                    </a:lnTo>
                    <a:lnTo>
                      <a:pt x="133" y="105"/>
                    </a:lnTo>
                    <a:lnTo>
                      <a:pt x="134" y="103"/>
                    </a:lnTo>
                    <a:lnTo>
                      <a:pt x="134" y="105"/>
                    </a:lnTo>
                    <a:lnTo>
                      <a:pt x="136" y="105"/>
                    </a:lnTo>
                    <a:lnTo>
                      <a:pt x="136" y="103"/>
                    </a:lnTo>
                    <a:lnTo>
                      <a:pt x="137" y="103"/>
                    </a:lnTo>
                    <a:lnTo>
                      <a:pt x="139" y="105"/>
                    </a:lnTo>
                    <a:lnTo>
                      <a:pt x="139" y="106"/>
                    </a:lnTo>
                    <a:lnTo>
                      <a:pt x="141" y="106"/>
                    </a:lnTo>
                    <a:lnTo>
                      <a:pt x="142" y="106"/>
                    </a:lnTo>
                    <a:lnTo>
                      <a:pt x="141" y="108"/>
                    </a:lnTo>
                    <a:lnTo>
                      <a:pt x="142" y="108"/>
                    </a:lnTo>
                    <a:lnTo>
                      <a:pt x="144" y="108"/>
                    </a:lnTo>
                    <a:lnTo>
                      <a:pt x="144" y="106"/>
                    </a:lnTo>
                    <a:lnTo>
                      <a:pt x="145" y="106"/>
                    </a:lnTo>
                    <a:lnTo>
                      <a:pt x="147" y="108"/>
                    </a:lnTo>
                    <a:lnTo>
                      <a:pt x="149" y="108"/>
                    </a:lnTo>
                    <a:lnTo>
                      <a:pt x="150" y="108"/>
                    </a:lnTo>
                    <a:lnTo>
                      <a:pt x="150" y="110"/>
                    </a:lnTo>
                    <a:lnTo>
                      <a:pt x="152" y="110"/>
                    </a:lnTo>
                    <a:lnTo>
                      <a:pt x="153" y="110"/>
                    </a:lnTo>
                    <a:lnTo>
                      <a:pt x="155" y="110"/>
                    </a:lnTo>
                    <a:lnTo>
                      <a:pt x="156" y="110"/>
                    </a:lnTo>
                    <a:lnTo>
                      <a:pt x="158" y="110"/>
                    </a:lnTo>
                    <a:lnTo>
                      <a:pt x="158" y="108"/>
                    </a:lnTo>
                    <a:lnTo>
                      <a:pt x="160" y="108"/>
                    </a:lnTo>
                    <a:lnTo>
                      <a:pt x="161" y="108"/>
                    </a:lnTo>
                    <a:lnTo>
                      <a:pt x="163" y="108"/>
                    </a:lnTo>
                    <a:lnTo>
                      <a:pt x="163" y="106"/>
                    </a:lnTo>
                    <a:lnTo>
                      <a:pt x="163" y="105"/>
                    </a:lnTo>
                    <a:lnTo>
                      <a:pt x="164" y="105"/>
                    </a:lnTo>
                    <a:lnTo>
                      <a:pt x="166" y="105"/>
                    </a:lnTo>
                    <a:lnTo>
                      <a:pt x="166" y="106"/>
                    </a:lnTo>
                    <a:lnTo>
                      <a:pt x="168" y="106"/>
                    </a:lnTo>
                    <a:lnTo>
                      <a:pt x="168" y="105"/>
                    </a:lnTo>
                    <a:lnTo>
                      <a:pt x="169" y="105"/>
                    </a:lnTo>
                    <a:lnTo>
                      <a:pt x="169" y="103"/>
                    </a:lnTo>
                    <a:lnTo>
                      <a:pt x="171" y="103"/>
                    </a:lnTo>
                    <a:lnTo>
                      <a:pt x="172" y="103"/>
                    </a:lnTo>
                    <a:lnTo>
                      <a:pt x="174" y="103"/>
                    </a:lnTo>
                    <a:lnTo>
                      <a:pt x="174" y="105"/>
                    </a:lnTo>
                    <a:lnTo>
                      <a:pt x="174" y="103"/>
                    </a:lnTo>
                    <a:lnTo>
                      <a:pt x="175" y="103"/>
                    </a:lnTo>
                    <a:lnTo>
                      <a:pt x="175" y="102"/>
                    </a:lnTo>
                    <a:lnTo>
                      <a:pt x="177" y="102"/>
                    </a:lnTo>
                    <a:lnTo>
                      <a:pt x="177" y="100"/>
                    </a:lnTo>
                    <a:lnTo>
                      <a:pt x="179" y="100"/>
                    </a:lnTo>
                    <a:lnTo>
                      <a:pt x="180" y="100"/>
                    </a:lnTo>
                    <a:lnTo>
                      <a:pt x="182" y="98"/>
                    </a:lnTo>
                    <a:lnTo>
                      <a:pt x="183" y="98"/>
                    </a:lnTo>
                    <a:lnTo>
                      <a:pt x="185" y="98"/>
                    </a:lnTo>
                    <a:lnTo>
                      <a:pt x="187" y="98"/>
                    </a:lnTo>
                    <a:lnTo>
                      <a:pt x="187" y="97"/>
                    </a:lnTo>
                    <a:lnTo>
                      <a:pt x="187" y="95"/>
                    </a:lnTo>
                    <a:lnTo>
                      <a:pt x="188" y="95"/>
                    </a:lnTo>
                    <a:lnTo>
                      <a:pt x="190" y="95"/>
                    </a:lnTo>
                    <a:lnTo>
                      <a:pt x="191" y="94"/>
                    </a:lnTo>
                    <a:lnTo>
                      <a:pt x="191" y="92"/>
                    </a:lnTo>
                    <a:lnTo>
                      <a:pt x="193" y="91"/>
                    </a:lnTo>
                    <a:lnTo>
                      <a:pt x="193" y="89"/>
                    </a:lnTo>
                    <a:lnTo>
                      <a:pt x="193" y="87"/>
                    </a:lnTo>
                    <a:lnTo>
                      <a:pt x="194" y="87"/>
                    </a:lnTo>
                    <a:lnTo>
                      <a:pt x="196" y="87"/>
                    </a:lnTo>
                    <a:lnTo>
                      <a:pt x="199" y="87"/>
                    </a:lnTo>
                    <a:lnTo>
                      <a:pt x="201" y="87"/>
                    </a:lnTo>
                    <a:lnTo>
                      <a:pt x="204" y="89"/>
                    </a:lnTo>
                    <a:lnTo>
                      <a:pt x="206" y="87"/>
                    </a:lnTo>
                    <a:lnTo>
                      <a:pt x="207" y="87"/>
                    </a:lnTo>
                    <a:lnTo>
                      <a:pt x="209" y="87"/>
                    </a:lnTo>
                    <a:lnTo>
                      <a:pt x="210" y="87"/>
                    </a:lnTo>
                    <a:lnTo>
                      <a:pt x="210" y="89"/>
                    </a:lnTo>
                    <a:lnTo>
                      <a:pt x="212" y="89"/>
                    </a:lnTo>
                    <a:lnTo>
                      <a:pt x="213" y="89"/>
                    </a:lnTo>
                    <a:lnTo>
                      <a:pt x="215" y="89"/>
                    </a:lnTo>
                    <a:lnTo>
                      <a:pt x="215" y="91"/>
                    </a:lnTo>
                    <a:lnTo>
                      <a:pt x="217" y="91"/>
                    </a:lnTo>
                    <a:lnTo>
                      <a:pt x="217" y="89"/>
                    </a:lnTo>
                    <a:lnTo>
                      <a:pt x="217" y="91"/>
                    </a:lnTo>
                    <a:lnTo>
                      <a:pt x="218" y="91"/>
                    </a:lnTo>
                    <a:lnTo>
                      <a:pt x="218" y="89"/>
                    </a:lnTo>
                    <a:lnTo>
                      <a:pt x="220" y="91"/>
                    </a:lnTo>
                    <a:lnTo>
                      <a:pt x="221" y="91"/>
                    </a:lnTo>
                    <a:lnTo>
                      <a:pt x="221" y="92"/>
                    </a:lnTo>
                    <a:lnTo>
                      <a:pt x="223" y="92"/>
                    </a:lnTo>
                    <a:lnTo>
                      <a:pt x="225" y="92"/>
                    </a:lnTo>
                    <a:lnTo>
                      <a:pt x="225" y="94"/>
                    </a:lnTo>
                    <a:lnTo>
                      <a:pt x="226" y="94"/>
                    </a:lnTo>
                    <a:lnTo>
                      <a:pt x="228" y="94"/>
                    </a:lnTo>
                    <a:lnTo>
                      <a:pt x="228" y="95"/>
                    </a:lnTo>
                    <a:lnTo>
                      <a:pt x="229" y="95"/>
                    </a:lnTo>
                    <a:lnTo>
                      <a:pt x="229" y="97"/>
                    </a:lnTo>
                    <a:lnTo>
                      <a:pt x="229" y="98"/>
                    </a:lnTo>
                    <a:lnTo>
                      <a:pt x="231" y="98"/>
                    </a:lnTo>
                    <a:lnTo>
                      <a:pt x="232" y="98"/>
                    </a:lnTo>
                    <a:lnTo>
                      <a:pt x="232" y="100"/>
                    </a:lnTo>
                    <a:lnTo>
                      <a:pt x="234" y="100"/>
                    </a:lnTo>
                    <a:lnTo>
                      <a:pt x="234" y="102"/>
                    </a:lnTo>
                    <a:lnTo>
                      <a:pt x="236" y="102"/>
                    </a:lnTo>
                    <a:lnTo>
                      <a:pt x="236" y="103"/>
                    </a:lnTo>
                    <a:lnTo>
                      <a:pt x="237" y="103"/>
                    </a:lnTo>
                    <a:lnTo>
                      <a:pt x="239" y="103"/>
                    </a:lnTo>
                    <a:lnTo>
                      <a:pt x="239" y="102"/>
                    </a:lnTo>
                    <a:lnTo>
                      <a:pt x="239" y="103"/>
                    </a:lnTo>
                    <a:lnTo>
                      <a:pt x="239" y="105"/>
                    </a:lnTo>
                    <a:lnTo>
                      <a:pt x="239" y="106"/>
                    </a:lnTo>
                    <a:lnTo>
                      <a:pt x="237" y="106"/>
                    </a:lnTo>
                    <a:lnTo>
                      <a:pt x="236" y="106"/>
                    </a:lnTo>
                    <a:lnTo>
                      <a:pt x="236" y="108"/>
                    </a:lnTo>
                    <a:lnTo>
                      <a:pt x="237" y="108"/>
                    </a:lnTo>
                    <a:lnTo>
                      <a:pt x="237" y="110"/>
                    </a:lnTo>
                    <a:lnTo>
                      <a:pt x="239" y="111"/>
                    </a:lnTo>
                    <a:lnTo>
                      <a:pt x="239" y="113"/>
                    </a:lnTo>
                    <a:lnTo>
                      <a:pt x="239" y="114"/>
                    </a:lnTo>
                    <a:lnTo>
                      <a:pt x="240" y="114"/>
                    </a:lnTo>
                    <a:lnTo>
                      <a:pt x="242" y="114"/>
                    </a:lnTo>
                    <a:lnTo>
                      <a:pt x="242" y="113"/>
                    </a:lnTo>
                    <a:lnTo>
                      <a:pt x="240" y="111"/>
                    </a:lnTo>
                    <a:lnTo>
                      <a:pt x="240" y="110"/>
                    </a:lnTo>
                    <a:lnTo>
                      <a:pt x="240" y="108"/>
                    </a:lnTo>
                    <a:lnTo>
                      <a:pt x="240" y="106"/>
                    </a:lnTo>
                    <a:lnTo>
                      <a:pt x="242" y="106"/>
                    </a:lnTo>
                    <a:lnTo>
                      <a:pt x="242" y="108"/>
                    </a:lnTo>
                    <a:lnTo>
                      <a:pt x="242" y="106"/>
                    </a:lnTo>
                    <a:lnTo>
                      <a:pt x="244" y="106"/>
                    </a:lnTo>
                    <a:lnTo>
                      <a:pt x="244" y="105"/>
                    </a:lnTo>
                    <a:lnTo>
                      <a:pt x="245" y="105"/>
                    </a:lnTo>
                    <a:lnTo>
                      <a:pt x="245" y="103"/>
                    </a:lnTo>
                    <a:lnTo>
                      <a:pt x="247" y="103"/>
                    </a:lnTo>
                    <a:lnTo>
                      <a:pt x="247" y="105"/>
                    </a:lnTo>
                    <a:lnTo>
                      <a:pt x="248" y="105"/>
                    </a:lnTo>
                    <a:lnTo>
                      <a:pt x="248" y="106"/>
                    </a:lnTo>
                    <a:lnTo>
                      <a:pt x="248" y="108"/>
                    </a:lnTo>
                    <a:lnTo>
                      <a:pt x="250" y="108"/>
                    </a:lnTo>
                    <a:lnTo>
                      <a:pt x="250" y="110"/>
                    </a:lnTo>
                    <a:lnTo>
                      <a:pt x="248" y="110"/>
                    </a:lnTo>
                    <a:lnTo>
                      <a:pt x="250" y="110"/>
                    </a:lnTo>
                    <a:lnTo>
                      <a:pt x="250" y="108"/>
                    </a:lnTo>
                    <a:lnTo>
                      <a:pt x="250" y="106"/>
                    </a:lnTo>
                    <a:lnTo>
                      <a:pt x="252" y="106"/>
                    </a:lnTo>
                    <a:lnTo>
                      <a:pt x="253" y="106"/>
                    </a:lnTo>
                    <a:lnTo>
                      <a:pt x="255" y="106"/>
                    </a:lnTo>
                    <a:lnTo>
                      <a:pt x="256" y="106"/>
                    </a:lnTo>
                    <a:lnTo>
                      <a:pt x="256" y="108"/>
                    </a:lnTo>
                    <a:lnTo>
                      <a:pt x="256" y="110"/>
                    </a:lnTo>
                    <a:lnTo>
                      <a:pt x="258" y="110"/>
                    </a:lnTo>
                    <a:lnTo>
                      <a:pt x="258" y="111"/>
                    </a:lnTo>
                    <a:lnTo>
                      <a:pt x="259" y="111"/>
                    </a:lnTo>
                    <a:lnTo>
                      <a:pt x="261" y="111"/>
                    </a:lnTo>
                    <a:lnTo>
                      <a:pt x="263" y="111"/>
                    </a:lnTo>
                    <a:lnTo>
                      <a:pt x="264" y="111"/>
                    </a:lnTo>
                    <a:lnTo>
                      <a:pt x="266" y="111"/>
                    </a:lnTo>
                    <a:lnTo>
                      <a:pt x="267" y="111"/>
                    </a:lnTo>
                    <a:lnTo>
                      <a:pt x="269" y="111"/>
                    </a:lnTo>
                    <a:lnTo>
                      <a:pt x="271" y="111"/>
                    </a:lnTo>
                    <a:lnTo>
                      <a:pt x="271" y="110"/>
                    </a:lnTo>
                    <a:lnTo>
                      <a:pt x="272" y="110"/>
                    </a:lnTo>
                    <a:lnTo>
                      <a:pt x="274" y="110"/>
                    </a:lnTo>
                    <a:lnTo>
                      <a:pt x="274" y="108"/>
                    </a:lnTo>
                    <a:lnTo>
                      <a:pt x="274" y="106"/>
                    </a:lnTo>
                    <a:lnTo>
                      <a:pt x="275" y="106"/>
                    </a:lnTo>
                    <a:lnTo>
                      <a:pt x="275" y="105"/>
                    </a:lnTo>
                    <a:lnTo>
                      <a:pt x="277" y="105"/>
                    </a:lnTo>
                    <a:lnTo>
                      <a:pt x="277" y="106"/>
                    </a:lnTo>
                    <a:lnTo>
                      <a:pt x="278" y="106"/>
                    </a:lnTo>
                    <a:lnTo>
                      <a:pt x="278" y="108"/>
                    </a:lnTo>
                    <a:lnTo>
                      <a:pt x="278" y="110"/>
                    </a:lnTo>
                    <a:lnTo>
                      <a:pt x="280" y="110"/>
                    </a:lnTo>
                    <a:lnTo>
                      <a:pt x="282" y="110"/>
                    </a:lnTo>
                    <a:lnTo>
                      <a:pt x="283" y="111"/>
                    </a:lnTo>
                    <a:lnTo>
                      <a:pt x="285" y="111"/>
                    </a:lnTo>
                    <a:lnTo>
                      <a:pt x="286" y="111"/>
                    </a:lnTo>
                    <a:lnTo>
                      <a:pt x="288" y="111"/>
                    </a:lnTo>
                    <a:lnTo>
                      <a:pt x="290" y="111"/>
                    </a:lnTo>
                    <a:lnTo>
                      <a:pt x="290" y="110"/>
                    </a:lnTo>
                    <a:lnTo>
                      <a:pt x="291" y="110"/>
                    </a:lnTo>
                    <a:lnTo>
                      <a:pt x="291" y="108"/>
                    </a:lnTo>
                    <a:lnTo>
                      <a:pt x="293" y="108"/>
                    </a:lnTo>
                    <a:lnTo>
                      <a:pt x="294" y="108"/>
                    </a:lnTo>
                    <a:lnTo>
                      <a:pt x="296" y="108"/>
                    </a:lnTo>
                    <a:lnTo>
                      <a:pt x="296" y="110"/>
                    </a:lnTo>
                    <a:lnTo>
                      <a:pt x="297" y="110"/>
                    </a:lnTo>
                    <a:lnTo>
                      <a:pt x="299" y="110"/>
                    </a:lnTo>
                    <a:lnTo>
                      <a:pt x="299" y="108"/>
                    </a:lnTo>
                    <a:lnTo>
                      <a:pt x="301" y="106"/>
                    </a:lnTo>
                    <a:lnTo>
                      <a:pt x="301" y="108"/>
                    </a:lnTo>
                    <a:lnTo>
                      <a:pt x="302" y="108"/>
                    </a:lnTo>
                    <a:lnTo>
                      <a:pt x="304" y="108"/>
                    </a:lnTo>
                    <a:lnTo>
                      <a:pt x="305" y="108"/>
                    </a:lnTo>
                    <a:lnTo>
                      <a:pt x="307" y="108"/>
                    </a:lnTo>
                    <a:lnTo>
                      <a:pt x="309" y="108"/>
                    </a:lnTo>
                    <a:lnTo>
                      <a:pt x="309" y="106"/>
                    </a:lnTo>
                    <a:lnTo>
                      <a:pt x="310" y="105"/>
                    </a:lnTo>
                    <a:lnTo>
                      <a:pt x="312" y="105"/>
                    </a:lnTo>
                    <a:lnTo>
                      <a:pt x="312" y="103"/>
                    </a:lnTo>
                    <a:lnTo>
                      <a:pt x="313" y="103"/>
                    </a:lnTo>
                    <a:lnTo>
                      <a:pt x="315" y="103"/>
                    </a:lnTo>
                    <a:lnTo>
                      <a:pt x="315" y="102"/>
                    </a:lnTo>
                    <a:lnTo>
                      <a:pt x="316" y="102"/>
                    </a:lnTo>
                    <a:lnTo>
                      <a:pt x="318" y="102"/>
                    </a:lnTo>
                    <a:lnTo>
                      <a:pt x="320" y="102"/>
                    </a:lnTo>
                    <a:lnTo>
                      <a:pt x="321" y="102"/>
                    </a:lnTo>
                    <a:lnTo>
                      <a:pt x="323" y="102"/>
                    </a:lnTo>
                    <a:lnTo>
                      <a:pt x="323" y="100"/>
                    </a:lnTo>
                    <a:lnTo>
                      <a:pt x="324" y="100"/>
                    </a:lnTo>
                    <a:lnTo>
                      <a:pt x="324" y="98"/>
                    </a:lnTo>
                    <a:lnTo>
                      <a:pt x="326" y="98"/>
                    </a:lnTo>
                    <a:lnTo>
                      <a:pt x="328" y="98"/>
                    </a:lnTo>
                    <a:lnTo>
                      <a:pt x="329" y="98"/>
                    </a:lnTo>
                    <a:lnTo>
                      <a:pt x="329" y="97"/>
                    </a:lnTo>
                    <a:lnTo>
                      <a:pt x="331" y="97"/>
                    </a:lnTo>
                    <a:lnTo>
                      <a:pt x="331" y="95"/>
                    </a:lnTo>
                    <a:lnTo>
                      <a:pt x="332" y="95"/>
                    </a:lnTo>
                    <a:lnTo>
                      <a:pt x="334" y="95"/>
                    </a:lnTo>
                    <a:lnTo>
                      <a:pt x="334" y="94"/>
                    </a:lnTo>
                    <a:lnTo>
                      <a:pt x="335" y="95"/>
                    </a:lnTo>
                    <a:lnTo>
                      <a:pt x="337" y="95"/>
                    </a:lnTo>
                    <a:lnTo>
                      <a:pt x="339" y="97"/>
                    </a:lnTo>
                    <a:lnTo>
                      <a:pt x="339" y="95"/>
                    </a:lnTo>
                    <a:lnTo>
                      <a:pt x="340" y="95"/>
                    </a:lnTo>
                    <a:lnTo>
                      <a:pt x="342" y="94"/>
                    </a:lnTo>
                    <a:lnTo>
                      <a:pt x="343" y="94"/>
                    </a:lnTo>
                    <a:lnTo>
                      <a:pt x="343" y="92"/>
                    </a:lnTo>
                    <a:lnTo>
                      <a:pt x="342" y="92"/>
                    </a:lnTo>
                    <a:lnTo>
                      <a:pt x="343" y="92"/>
                    </a:lnTo>
                    <a:lnTo>
                      <a:pt x="345" y="92"/>
                    </a:lnTo>
                    <a:lnTo>
                      <a:pt x="345" y="91"/>
                    </a:lnTo>
                    <a:lnTo>
                      <a:pt x="345" y="89"/>
                    </a:lnTo>
                    <a:lnTo>
                      <a:pt x="347" y="89"/>
                    </a:lnTo>
                    <a:lnTo>
                      <a:pt x="347" y="87"/>
                    </a:lnTo>
                    <a:lnTo>
                      <a:pt x="347" y="86"/>
                    </a:lnTo>
                    <a:lnTo>
                      <a:pt x="348" y="86"/>
                    </a:lnTo>
                    <a:lnTo>
                      <a:pt x="350" y="84"/>
                    </a:lnTo>
                    <a:lnTo>
                      <a:pt x="351" y="84"/>
                    </a:lnTo>
                    <a:lnTo>
                      <a:pt x="353" y="84"/>
                    </a:lnTo>
                    <a:lnTo>
                      <a:pt x="353" y="83"/>
                    </a:lnTo>
                    <a:lnTo>
                      <a:pt x="353" y="81"/>
                    </a:lnTo>
                    <a:lnTo>
                      <a:pt x="354" y="81"/>
                    </a:lnTo>
                    <a:lnTo>
                      <a:pt x="354" y="79"/>
                    </a:lnTo>
                    <a:lnTo>
                      <a:pt x="356" y="79"/>
                    </a:lnTo>
                    <a:lnTo>
                      <a:pt x="356" y="78"/>
                    </a:lnTo>
                    <a:lnTo>
                      <a:pt x="358" y="78"/>
                    </a:lnTo>
                    <a:lnTo>
                      <a:pt x="358" y="76"/>
                    </a:lnTo>
                    <a:lnTo>
                      <a:pt x="358" y="75"/>
                    </a:lnTo>
                    <a:lnTo>
                      <a:pt x="356" y="75"/>
                    </a:lnTo>
                    <a:lnTo>
                      <a:pt x="356" y="73"/>
                    </a:lnTo>
                    <a:lnTo>
                      <a:pt x="358" y="73"/>
                    </a:lnTo>
                    <a:lnTo>
                      <a:pt x="358" y="72"/>
                    </a:lnTo>
                    <a:lnTo>
                      <a:pt x="359" y="72"/>
                    </a:lnTo>
                    <a:lnTo>
                      <a:pt x="359" y="70"/>
                    </a:lnTo>
                    <a:lnTo>
                      <a:pt x="359" y="68"/>
                    </a:lnTo>
                    <a:lnTo>
                      <a:pt x="361" y="68"/>
                    </a:lnTo>
                    <a:lnTo>
                      <a:pt x="359" y="68"/>
                    </a:lnTo>
                    <a:lnTo>
                      <a:pt x="359" y="67"/>
                    </a:lnTo>
                    <a:lnTo>
                      <a:pt x="361" y="67"/>
                    </a:lnTo>
                    <a:lnTo>
                      <a:pt x="361" y="65"/>
                    </a:lnTo>
                    <a:lnTo>
                      <a:pt x="362" y="64"/>
                    </a:lnTo>
                    <a:lnTo>
                      <a:pt x="362" y="62"/>
                    </a:lnTo>
                    <a:lnTo>
                      <a:pt x="362" y="60"/>
                    </a:lnTo>
                    <a:lnTo>
                      <a:pt x="362" y="59"/>
                    </a:lnTo>
                    <a:lnTo>
                      <a:pt x="364" y="59"/>
                    </a:lnTo>
                    <a:lnTo>
                      <a:pt x="364" y="57"/>
                    </a:lnTo>
                    <a:lnTo>
                      <a:pt x="364" y="56"/>
                    </a:lnTo>
                    <a:lnTo>
                      <a:pt x="366" y="56"/>
                    </a:lnTo>
                    <a:lnTo>
                      <a:pt x="366" y="54"/>
                    </a:lnTo>
                    <a:lnTo>
                      <a:pt x="367" y="54"/>
                    </a:lnTo>
                    <a:lnTo>
                      <a:pt x="367" y="53"/>
                    </a:lnTo>
                    <a:lnTo>
                      <a:pt x="367" y="51"/>
                    </a:lnTo>
                    <a:lnTo>
                      <a:pt x="367" y="49"/>
                    </a:lnTo>
                    <a:lnTo>
                      <a:pt x="369" y="49"/>
                    </a:lnTo>
                    <a:lnTo>
                      <a:pt x="370" y="48"/>
                    </a:lnTo>
                    <a:lnTo>
                      <a:pt x="370" y="46"/>
                    </a:lnTo>
                    <a:lnTo>
                      <a:pt x="372" y="46"/>
                    </a:lnTo>
                    <a:lnTo>
                      <a:pt x="372" y="48"/>
                    </a:lnTo>
                    <a:lnTo>
                      <a:pt x="373" y="48"/>
                    </a:lnTo>
                    <a:lnTo>
                      <a:pt x="373" y="46"/>
                    </a:lnTo>
                    <a:lnTo>
                      <a:pt x="373" y="45"/>
                    </a:lnTo>
                    <a:lnTo>
                      <a:pt x="373" y="43"/>
                    </a:lnTo>
                    <a:lnTo>
                      <a:pt x="373" y="41"/>
                    </a:lnTo>
                    <a:lnTo>
                      <a:pt x="375" y="41"/>
                    </a:lnTo>
                    <a:lnTo>
                      <a:pt x="377" y="41"/>
                    </a:lnTo>
                    <a:lnTo>
                      <a:pt x="377" y="43"/>
                    </a:lnTo>
                    <a:lnTo>
                      <a:pt x="377" y="41"/>
                    </a:lnTo>
                    <a:lnTo>
                      <a:pt x="375" y="41"/>
                    </a:lnTo>
                    <a:lnTo>
                      <a:pt x="375" y="40"/>
                    </a:lnTo>
                    <a:lnTo>
                      <a:pt x="377" y="40"/>
                    </a:lnTo>
                    <a:lnTo>
                      <a:pt x="378" y="40"/>
                    </a:lnTo>
                    <a:lnTo>
                      <a:pt x="378" y="38"/>
                    </a:lnTo>
                    <a:lnTo>
                      <a:pt x="377" y="38"/>
                    </a:lnTo>
                    <a:lnTo>
                      <a:pt x="378" y="37"/>
                    </a:lnTo>
                    <a:lnTo>
                      <a:pt x="378" y="35"/>
                    </a:lnTo>
                    <a:lnTo>
                      <a:pt x="378" y="33"/>
                    </a:lnTo>
                    <a:lnTo>
                      <a:pt x="380" y="32"/>
                    </a:lnTo>
                    <a:lnTo>
                      <a:pt x="381" y="32"/>
                    </a:lnTo>
                    <a:lnTo>
                      <a:pt x="381" y="30"/>
                    </a:lnTo>
                    <a:lnTo>
                      <a:pt x="381" y="29"/>
                    </a:lnTo>
                    <a:lnTo>
                      <a:pt x="383" y="29"/>
                    </a:lnTo>
                    <a:lnTo>
                      <a:pt x="385" y="29"/>
                    </a:lnTo>
                    <a:lnTo>
                      <a:pt x="386" y="29"/>
                    </a:lnTo>
                    <a:lnTo>
                      <a:pt x="386" y="30"/>
                    </a:lnTo>
                    <a:lnTo>
                      <a:pt x="388" y="30"/>
                    </a:lnTo>
                    <a:lnTo>
                      <a:pt x="388" y="32"/>
                    </a:lnTo>
                    <a:lnTo>
                      <a:pt x="389" y="33"/>
                    </a:lnTo>
                    <a:lnTo>
                      <a:pt x="389" y="35"/>
                    </a:lnTo>
                    <a:lnTo>
                      <a:pt x="391" y="37"/>
                    </a:lnTo>
                    <a:lnTo>
                      <a:pt x="391" y="38"/>
                    </a:lnTo>
                    <a:lnTo>
                      <a:pt x="391" y="40"/>
                    </a:lnTo>
                    <a:lnTo>
                      <a:pt x="392" y="40"/>
                    </a:lnTo>
                    <a:lnTo>
                      <a:pt x="392" y="41"/>
                    </a:lnTo>
                    <a:lnTo>
                      <a:pt x="392" y="43"/>
                    </a:lnTo>
                    <a:lnTo>
                      <a:pt x="394" y="43"/>
                    </a:lnTo>
                    <a:lnTo>
                      <a:pt x="396" y="45"/>
                    </a:lnTo>
                    <a:lnTo>
                      <a:pt x="397" y="45"/>
                    </a:lnTo>
                    <a:lnTo>
                      <a:pt x="397" y="46"/>
                    </a:lnTo>
                    <a:lnTo>
                      <a:pt x="399" y="46"/>
                    </a:lnTo>
                    <a:lnTo>
                      <a:pt x="399" y="48"/>
                    </a:lnTo>
                    <a:lnTo>
                      <a:pt x="400" y="48"/>
                    </a:lnTo>
                    <a:lnTo>
                      <a:pt x="402" y="49"/>
                    </a:lnTo>
                    <a:lnTo>
                      <a:pt x="404" y="51"/>
                    </a:lnTo>
                    <a:lnTo>
                      <a:pt x="405" y="53"/>
                    </a:lnTo>
                    <a:lnTo>
                      <a:pt x="407" y="54"/>
                    </a:lnTo>
                    <a:lnTo>
                      <a:pt x="408" y="56"/>
                    </a:lnTo>
                    <a:lnTo>
                      <a:pt x="408" y="57"/>
                    </a:lnTo>
                    <a:lnTo>
                      <a:pt x="410" y="59"/>
                    </a:lnTo>
                    <a:lnTo>
                      <a:pt x="411" y="59"/>
                    </a:lnTo>
                    <a:lnTo>
                      <a:pt x="411" y="60"/>
                    </a:lnTo>
                    <a:lnTo>
                      <a:pt x="413" y="62"/>
                    </a:lnTo>
                    <a:lnTo>
                      <a:pt x="415" y="62"/>
                    </a:lnTo>
                    <a:lnTo>
                      <a:pt x="415" y="60"/>
                    </a:lnTo>
                    <a:lnTo>
                      <a:pt x="416" y="60"/>
                    </a:lnTo>
                    <a:lnTo>
                      <a:pt x="418" y="60"/>
                    </a:lnTo>
                    <a:lnTo>
                      <a:pt x="419" y="60"/>
                    </a:lnTo>
                    <a:lnTo>
                      <a:pt x="421" y="62"/>
                    </a:lnTo>
                    <a:lnTo>
                      <a:pt x="423" y="62"/>
                    </a:lnTo>
                    <a:lnTo>
                      <a:pt x="424" y="62"/>
                    </a:lnTo>
                    <a:lnTo>
                      <a:pt x="426" y="62"/>
                    </a:lnTo>
                    <a:lnTo>
                      <a:pt x="427" y="62"/>
                    </a:lnTo>
                    <a:lnTo>
                      <a:pt x="429" y="62"/>
                    </a:lnTo>
                    <a:lnTo>
                      <a:pt x="431" y="62"/>
                    </a:lnTo>
                    <a:lnTo>
                      <a:pt x="432" y="64"/>
                    </a:lnTo>
                    <a:lnTo>
                      <a:pt x="432" y="65"/>
                    </a:lnTo>
                    <a:lnTo>
                      <a:pt x="434" y="65"/>
                    </a:lnTo>
                    <a:lnTo>
                      <a:pt x="434" y="67"/>
                    </a:lnTo>
                    <a:lnTo>
                      <a:pt x="432" y="67"/>
                    </a:lnTo>
                    <a:lnTo>
                      <a:pt x="432" y="68"/>
                    </a:lnTo>
                    <a:lnTo>
                      <a:pt x="432" y="70"/>
                    </a:lnTo>
                    <a:lnTo>
                      <a:pt x="434" y="70"/>
                    </a:lnTo>
                    <a:lnTo>
                      <a:pt x="434" y="72"/>
                    </a:lnTo>
                    <a:lnTo>
                      <a:pt x="434" y="73"/>
                    </a:lnTo>
                    <a:lnTo>
                      <a:pt x="435" y="73"/>
                    </a:lnTo>
                    <a:lnTo>
                      <a:pt x="435" y="72"/>
                    </a:lnTo>
                    <a:lnTo>
                      <a:pt x="437" y="72"/>
                    </a:lnTo>
                    <a:lnTo>
                      <a:pt x="438" y="72"/>
                    </a:lnTo>
                    <a:lnTo>
                      <a:pt x="438" y="70"/>
                    </a:lnTo>
                    <a:lnTo>
                      <a:pt x="440" y="70"/>
                    </a:lnTo>
                    <a:lnTo>
                      <a:pt x="442" y="70"/>
                    </a:lnTo>
                    <a:lnTo>
                      <a:pt x="443" y="70"/>
                    </a:lnTo>
                    <a:lnTo>
                      <a:pt x="445" y="70"/>
                    </a:lnTo>
                    <a:lnTo>
                      <a:pt x="446" y="70"/>
                    </a:lnTo>
                    <a:lnTo>
                      <a:pt x="446" y="68"/>
                    </a:lnTo>
                    <a:lnTo>
                      <a:pt x="448" y="68"/>
                    </a:lnTo>
                    <a:lnTo>
                      <a:pt x="450" y="68"/>
                    </a:lnTo>
                    <a:lnTo>
                      <a:pt x="450" y="70"/>
                    </a:lnTo>
                    <a:lnTo>
                      <a:pt x="451" y="70"/>
                    </a:lnTo>
                    <a:lnTo>
                      <a:pt x="451" y="72"/>
                    </a:lnTo>
                    <a:lnTo>
                      <a:pt x="451" y="73"/>
                    </a:lnTo>
                    <a:lnTo>
                      <a:pt x="453" y="75"/>
                    </a:lnTo>
                    <a:lnTo>
                      <a:pt x="454" y="75"/>
                    </a:lnTo>
                    <a:lnTo>
                      <a:pt x="454" y="73"/>
                    </a:lnTo>
                    <a:lnTo>
                      <a:pt x="454" y="75"/>
                    </a:lnTo>
                    <a:lnTo>
                      <a:pt x="456" y="75"/>
                    </a:lnTo>
                    <a:lnTo>
                      <a:pt x="457" y="75"/>
                    </a:lnTo>
                    <a:lnTo>
                      <a:pt x="457" y="73"/>
                    </a:lnTo>
                    <a:lnTo>
                      <a:pt x="457" y="75"/>
                    </a:lnTo>
                    <a:lnTo>
                      <a:pt x="459" y="75"/>
                    </a:lnTo>
                    <a:lnTo>
                      <a:pt x="461" y="75"/>
                    </a:lnTo>
                    <a:lnTo>
                      <a:pt x="461" y="76"/>
                    </a:lnTo>
                    <a:lnTo>
                      <a:pt x="461" y="78"/>
                    </a:lnTo>
                    <a:lnTo>
                      <a:pt x="462" y="78"/>
                    </a:lnTo>
                    <a:lnTo>
                      <a:pt x="462" y="79"/>
                    </a:lnTo>
                    <a:lnTo>
                      <a:pt x="464" y="79"/>
                    </a:lnTo>
                    <a:lnTo>
                      <a:pt x="464" y="78"/>
                    </a:lnTo>
                    <a:lnTo>
                      <a:pt x="464" y="79"/>
                    </a:lnTo>
                    <a:lnTo>
                      <a:pt x="465" y="79"/>
                    </a:lnTo>
                    <a:lnTo>
                      <a:pt x="465" y="78"/>
                    </a:lnTo>
                    <a:lnTo>
                      <a:pt x="467" y="78"/>
                    </a:lnTo>
                    <a:lnTo>
                      <a:pt x="467" y="76"/>
                    </a:lnTo>
                    <a:lnTo>
                      <a:pt x="469" y="76"/>
                    </a:lnTo>
                    <a:lnTo>
                      <a:pt x="469" y="75"/>
                    </a:lnTo>
                    <a:lnTo>
                      <a:pt x="470" y="75"/>
                    </a:lnTo>
                    <a:lnTo>
                      <a:pt x="472" y="73"/>
                    </a:lnTo>
                    <a:lnTo>
                      <a:pt x="473" y="73"/>
                    </a:lnTo>
                    <a:lnTo>
                      <a:pt x="475" y="73"/>
                    </a:lnTo>
                    <a:lnTo>
                      <a:pt x="476" y="72"/>
                    </a:lnTo>
                    <a:lnTo>
                      <a:pt x="478" y="72"/>
                    </a:lnTo>
                    <a:lnTo>
                      <a:pt x="480" y="72"/>
                    </a:lnTo>
                    <a:lnTo>
                      <a:pt x="481" y="72"/>
                    </a:lnTo>
                    <a:lnTo>
                      <a:pt x="481" y="70"/>
                    </a:lnTo>
                    <a:lnTo>
                      <a:pt x="481" y="68"/>
                    </a:lnTo>
                    <a:lnTo>
                      <a:pt x="481" y="67"/>
                    </a:lnTo>
                    <a:lnTo>
                      <a:pt x="483" y="67"/>
                    </a:lnTo>
                    <a:lnTo>
                      <a:pt x="483" y="68"/>
                    </a:lnTo>
                    <a:lnTo>
                      <a:pt x="483" y="70"/>
                    </a:lnTo>
                    <a:lnTo>
                      <a:pt x="484" y="72"/>
                    </a:lnTo>
                    <a:lnTo>
                      <a:pt x="484" y="73"/>
                    </a:lnTo>
                    <a:lnTo>
                      <a:pt x="486" y="75"/>
                    </a:lnTo>
                    <a:lnTo>
                      <a:pt x="486" y="76"/>
                    </a:lnTo>
                    <a:lnTo>
                      <a:pt x="488" y="76"/>
                    </a:lnTo>
                    <a:lnTo>
                      <a:pt x="489" y="78"/>
                    </a:lnTo>
                    <a:lnTo>
                      <a:pt x="491" y="76"/>
                    </a:lnTo>
                    <a:lnTo>
                      <a:pt x="492" y="76"/>
                    </a:lnTo>
                    <a:lnTo>
                      <a:pt x="492" y="75"/>
                    </a:lnTo>
                    <a:lnTo>
                      <a:pt x="494" y="75"/>
                    </a:lnTo>
                    <a:lnTo>
                      <a:pt x="494" y="73"/>
                    </a:lnTo>
                    <a:lnTo>
                      <a:pt x="495" y="73"/>
                    </a:lnTo>
                    <a:lnTo>
                      <a:pt x="495" y="72"/>
                    </a:lnTo>
                    <a:lnTo>
                      <a:pt x="497" y="72"/>
                    </a:lnTo>
                    <a:lnTo>
                      <a:pt x="499" y="72"/>
                    </a:lnTo>
                    <a:lnTo>
                      <a:pt x="500" y="72"/>
                    </a:lnTo>
                    <a:lnTo>
                      <a:pt x="500" y="73"/>
                    </a:lnTo>
                    <a:lnTo>
                      <a:pt x="502" y="73"/>
                    </a:lnTo>
                    <a:lnTo>
                      <a:pt x="502" y="75"/>
                    </a:lnTo>
                    <a:lnTo>
                      <a:pt x="505" y="75"/>
                    </a:lnTo>
                    <a:lnTo>
                      <a:pt x="508" y="73"/>
                    </a:lnTo>
                    <a:lnTo>
                      <a:pt x="510" y="73"/>
                    </a:lnTo>
                    <a:lnTo>
                      <a:pt x="510" y="72"/>
                    </a:lnTo>
                    <a:lnTo>
                      <a:pt x="511" y="72"/>
                    </a:lnTo>
                    <a:lnTo>
                      <a:pt x="513" y="72"/>
                    </a:lnTo>
                    <a:lnTo>
                      <a:pt x="514" y="72"/>
                    </a:lnTo>
                    <a:lnTo>
                      <a:pt x="516" y="72"/>
                    </a:lnTo>
                    <a:lnTo>
                      <a:pt x="516" y="73"/>
                    </a:lnTo>
                    <a:lnTo>
                      <a:pt x="518" y="73"/>
                    </a:lnTo>
                    <a:lnTo>
                      <a:pt x="518" y="72"/>
                    </a:lnTo>
                    <a:lnTo>
                      <a:pt x="518" y="70"/>
                    </a:lnTo>
                    <a:lnTo>
                      <a:pt x="518" y="68"/>
                    </a:lnTo>
                    <a:lnTo>
                      <a:pt x="519" y="68"/>
                    </a:lnTo>
                    <a:lnTo>
                      <a:pt x="521" y="68"/>
                    </a:lnTo>
                    <a:lnTo>
                      <a:pt x="519" y="68"/>
                    </a:lnTo>
                    <a:lnTo>
                      <a:pt x="519" y="70"/>
                    </a:lnTo>
                    <a:lnTo>
                      <a:pt x="521" y="70"/>
                    </a:lnTo>
                    <a:lnTo>
                      <a:pt x="521" y="72"/>
                    </a:lnTo>
                    <a:lnTo>
                      <a:pt x="521" y="73"/>
                    </a:lnTo>
                    <a:lnTo>
                      <a:pt x="522" y="73"/>
                    </a:lnTo>
                    <a:lnTo>
                      <a:pt x="524" y="73"/>
                    </a:lnTo>
                    <a:lnTo>
                      <a:pt x="526" y="73"/>
                    </a:lnTo>
                    <a:lnTo>
                      <a:pt x="526" y="75"/>
                    </a:lnTo>
                    <a:lnTo>
                      <a:pt x="526" y="76"/>
                    </a:lnTo>
                    <a:lnTo>
                      <a:pt x="527" y="76"/>
                    </a:lnTo>
                    <a:lnTo>
                      <a:pt x="527" y="75"/>
                    </a:lnTo>
                    <a:lnTo>
                      <a:pt x="529" y="73"/>
                    </a:lnTo>
                    <a:lnTo>
                      <a:pt x="529" y="75"/>
                    </a:lnTo>
                    <a:lnTo>
                      <a:pt x="530" y="75"/>
                    </a:lnTo>
                    <a:lnTo>
                      <a:pt x="532" y="75"/>
                    </a:lnTo>
                    <a:lnTo>
                      <a:pt x="532" y="73"/>
                    </a:lnTo>
                    <a:lnTo>
                      <a:pt x="532" y="72"/>
                    </a:lnTo>
                    <a:lnTo>
                      <a:pt x="533" y="72"/>
                    </a:lnTo>
                    <a:lnTo>
                      <a:pt x="535" y="72"/>
                    </a:lnTo>
                    <a:lnTo>
                      <a:pt x="537" y="70"/>
                    </a:lnTo>
                    <a:lnTo>
                      <a:pt x="535" y="70"/>
                    </a:lnTo>
                    <a:lnTo>
                      <a:pt x="535" y="68"/>
                    </a:lnTo>
                    <a:lnTo>
                      <a:pt x="533" y="68"/>
                    </a:lnTo>
                    <a:lnTo>
                      <a:pt x="533" y="67"/>
                    </a:lnTo>
                    <a:lnTo>
                      <a:pt x="535" y="67"/>
                    </a:lnTo>
                    <a:lnTo>
                      <a:pt x="537" y="67"/>
                    </a:lnTo>
                    <a:lnTo>
                      <a:pt x="538" y="67"/>
                    </a:lnTo>
                    <a:lnTo>
                      <a:pt x="538" y="68"/>
                    </a:lnTo>
                    <a:lnTo>
                      <a:pt x="538" y="70"/>
                    </a:lnTo>
                    <a:lnTo>
                      <a:pt x="540" y="70"/>
                    </a:lnTo>
                    <a:lnTo>
                      <a:pt x="540" y="68"/>
                    </a:lnTo>
                    <a:lnTo>
                      <a:pt x="541" y="68"/>
                    </a:lnTo>
                    <a:lnTo>
                      <a:pt x="543" y="68"/>
                    </a:lnTo>
                    <a:lnTo>
                      <a:pt x="541" y="68"/>
                    </a:lnTo>
                    <a:lnTo>
                      <a:pt x="541" y="67"/>
                    </a:lnTo>
                    <a:lnTo>
                      <a:pt x="541" y="65"/>
                    </a:lnTo>
                    <a:lnTo>
                      <a:pt x="543" y="65"/>
                    </a:lnTo>
                    <a:lnTo>
                      <a:pt x="545" y="65"/>
                    </a:lnTo>
                    <a:lnTo>
                      <a:pt x="545" y="64"/>
                    </a:lnTo>
                    <a:lnTo>
                      <a:pt x="545" y="65"/>
                    </a:lnTo>
                    <a:lnTo>
                      <a:pt x="543" y="65"/>
                    </a:lnTo>
                    <a:lnTo>
                      <a:pt x="543" y="64"/>
                    </a:lnTo>
                    <a:lnTo>
                      <a:pt x="541" y="64"/>
                    </a:lnTo>
                    <a:lnTo>
                      <a:pt x="540" y="64"/>
                    </a:lnTo>
                    <a:lnTo>
                      <a:pt x="540" y="62"/>
                    </a:lnTo>
                    <a:lnTo>
                      <a:pt x="541" y="62"/>
                    </a:lnTo>
                    <a:lnTo>
                      <a:pt x="541" y="60"/>
                    </a:lnTo>
                    <a:lnTo>
                      <a:pt x="541" y="59"/>
                    </a:lnTo>
                    <a:lnTo>
                      <a:pt x="543" y="59"/>
                    </a:lnTo>
                    <a:lnTo>
                      <a:pt x="543" y="57"/>
                    </a:lnTo>
                    <a:lnTo>
                      <a:pt x="541" y="57"/>
                    </a:lnTo>
                    <a:lnTo>
                      <a:pt x="541" y="56"/>
                    </a:lnTo>
                    <a:lnTo>
                      <a:pt x="541" y="54"/>
                    </a:lnTo>
                    <a:lnTo>
                      <a:pt x="543" y="54"/>
                    </a:lnTo>
                    <a:lnTo>
                      <a:pt x="543" y="56"/>
                    </a:lnTo>
                    <a:lnTo>
                      <a:pt x="545" y="56"/>
                    </a:lnTo>
                    <a:lnTo>
                      <a:pt x="546" y="57"/>
                    </a:lnTo>
                    <a:lnTo>
                      <a:pt x="546" y="59"/>
                    </a:lnTo>
                    <a:lnTo>
                      <a:pt x="548" y="59"/>
                    </a:lnTo>
                    <a:lnTo>
                      <a:pt x="549" y="59"/>
                    </a:lnTo>
                    <a:lnTo>
                      <a:pt x="549" y="57"/>
                    </a:lnTo>
                    <a:lnTo>
                      <a:pt x="549" y="56"/>
                    </a:lnTo>
                    <a:lnTo>
                      <a:pt x="551" y="56"/>
                    </a:lnTo>
                    <a:lnTo>
                      <a:pt x="551" y="54"/>
                    </a:lnTo>
                    <a:lnTo>
                      <a:pt x="552" y="54"/>
                    </a:lnTo>
                    <a:lnTo>
                      <a:pt x="554" y="54"/>
                    </a:lnTo>
                    <a:lnTo>
                      <a:pt x="556" y="54"/>
                    </a:lnTo>
                    <a:lnTo>
                      <a:pt x="556" y="56"/>
                    </a:lnTo>
                    <a:lnTo>
                      <a:pt x="554" y="57"/>
                    </a:lnTo>
                    <a:lnTo>
                      <a:pt x="554" y="59"/>
                    </a:lnTo>
                    <a:lnTo>
                      <a:pt x="554" y="60"/>
                    </a:lnTo>
                    <a:lnTo>
                      <a:pt x="556" y="60"/>
                    </a:lnTo>
                    <a:lnTo>
                      <a:pt x="556" y="59"/>
                    </a:lnTo>
                    <a:lnTo>
                      <a:pt x="557" y="59"/>
                    </a:lnTo>
                    <a:lnTo>
                      <a:pt x="557" y="57"/>
                    </a:lnTo>
                    <a:lnTo>
                      <a:pt x="557" y="56"/>
                    </a:lnTo>
                    <a:lnTo>
                      <a:pt x="559" y="56"/>
                    </a:lnTo>
                    <a:lnTo>
                      <a:pt x="559" y="54"/>
                    </a:lnTo>
                    <a:lnTo>
                      <a:pt x="560" y="54"/>
                    </a:lnTo>
                    <a:lnTo>
                      <a:pt x="560" y="53"/>
                    </a:lnTo>
                    <a:lnTo>
                      <a:pt x="562" y="53"/>
                    </a:lnTo>
                    <a:lnTo>
                      <a:pt x="562" y="54"/>
                    </a:lnTo>
                    <a:lnTo>
                      <a:pt x="560" y="54"/>
                    </a:lnTo>
                    <a:lnTo>
                      <a:pt x="560" y="56"/>
                    </a:lnTo>
                    <a:lnTo>
                      <a:pt x="562" y="56"/>
                    </a:lnTo>
                    <a:lnTo>
                      <a:pt x="564" y="56"/>
                    </a:lnTo>
                    <a:lnTo>
                      <a:pt x="564" y="57"/>
                    </a:lnTo>
                    <a:lnTo>
                      <a:pt x="564" y="59"/>
                    </a:lnTo>
                    <a:lnTo>
                      <a:pt x="565" y="59"/>
                    </a:lnTo>
                    <a:lnTo>
                      <a:pt x="565" y="57"/>
                    </a:lnTo>
                    <a:lnTo>
                      <a:pt x="567" y="57"/>
                    </a:lnTo>
                    <a:lnTo>
                      <a:pt x="567" y="56"/>
                    </a:lnTo>
                    <a:lnTo>
                      <a:pt x="568" y="54"/>
                    </a:lnTo>
                    <a:lnTo>
                      <a:pt x="568" y="53"/>
                    </a:lnTo>
                    <a:lnTo>
                      <a:pt x="570" y="53"/>
                    </a:lnTo>
                    <a:lnTo>
                      <a:pt x="570" y="51"/>
                    </a:lnTo>
                    <a:lnTo>
                      <a:pt x="571" y="51"/>
                    </a:lnTo>
                    <a:lnTo>
                      <a:pt x="573" y="49"/>
                    </a:lnTo>
                    <a:lnTo>
                      <a:pt x="571" y="49"/>
                    </a:lnTo>
                    <a:lnTo>
                      <a:pt x="571" y="48"/>
                    </a:lnTo>
                    <a:lnTo>
                      <a:pt x="571" y="46"/>
                    </a:lnTo>
                    <a:lnTo>
                      <a:pt x="573" y="46"/>
                    </a:lnTo>
                    <a:lnTo>
                      <a:pt x="575" y="45"/>
                    </a:lnTo>
                    <a:lnTo>
                      <a:pt x="576" y="45"/>
                    </a:lnTo>
                    <a:lnTo>
                      <a:pt x="576" y="43"/>
                    </a:lnTo>
                    <a:lnTo>
                      <a:pt x="578" y="43"/>
                    </a:lnTo>
                    <a:lnTo>
                      <a:pt x="579" y="45"/>
                    </a:lnTo>
                    <a:lnTo>
                      <a:pt x="578" y="45"/>
                    </a:lnTo>
                    <a:lnTo>
                      <a:pt x="578" y="46"/>
                    </a:lnTo>
                    <a:lnTo>
                      <a:pt x="578" y="48"/>
                    </a:lnTo>
                    <a:lnTo>
                      <a:pt x="576" y="48"/>
                    </a:lnTo>
                    <a:lnTo>
                      <a:pt x="576" y="49"/>
                    </a:lnTo>
                    <a:lnTo>
                      <a:pt x="576" y="51"/>
                    </a:lnTo>
                    <a:lnTo>
                      <a:pt x="576" y="53"/>
                    </a:lnTo>
                    <a:lnTo>
                      <a:pt x="578" y="51"/>
                    </a:lnTo>
                    <a:lnTo>
                      <a:pt x="578" y="53"/>
                    </a:lnTo>
                    <a:lnTo>
                      <a:pt x="579" y="53"/>
                    </a:lnTo>
                    <a:lnTo>
                      <a:pt x="581" y="53"/>
                    </a:lnTo>
                    <a:lnTo>
                      <a:pt x="581" y="51"/>
                    </a:lnTo>
                    <a:lnTo>
                      <a:pt x="581" y="49"/>
                    </a:lnTo>
                    <a:lnTo>
                      <a:pt x="583" y="49"/>
                    </a:lnTo>
                    <a:lnTo>
                      <a:pt x="584" y="49"/>
                    </a:lnTo>
                    <a:lnTo>
                      <a:pt x="584" y="51"/>
                    </a:lnTo>
                    <a:lnTo>
                      <a:pt x="586" y="51"/>
                    </a:lnTo>
                    <a:lnTo>
                      <a:pt x="586" y="53"/>
                    </a:lnTo>
                    <a:lnTo>
                      <a:pt x="586" y="54"/>
                    </a:lnTo>
                    <a:lnTo>
                      <a:pt x="587" y="54"/>
                    </a:lnTo>
                    <a:lnTo>
                      <a:pt x="589" y="54"/>
                    </a:lnTo>
                    <a:lnTo>
                      <a:pt x="589" y="53"/>
                    </a:lnTo>
                    <a:lnTo>
                      <a:pt x="590" y="53"/>
                    </a:lnTo>
                    <a:lnTo>
                      <a:pt x="590" y="51"/>
                    </a:lnTo>
                    <a:lnTo>
                      <a:pt x="592" y="51"/>
                    </a:lnTo>
                    <a:lnTo>
                      <a:pt x="592" y="53"/>
                    </a:lnTo>
                    <a:lnTo>
                      <a:pt x="594" y="53"/>
                    </a:lnTo>
                    <a:lnTo>
                      <a:pt x="595" y="53"/>
                    </a:lnTo>
                    <a:lnTo>
                      <a:pt x="597" y="53"/>
                    </a:lnTo>
                    <a:lnTo>
                      <a:pt x="598" y="53"/>
                    </a:lnTo>
                    <a:lnTo>
                      <a:pt x="600" y="53"/>
                    </a:lnTo>
                    <a:lnTo>
                      <a:pt x="602" y="54"/>
                    </a:lnTo>
                    <a:lnTo>
                      <a:pt x="603" y="54"/>
                    </a:lnTo>
                    <a:lnTo>
                      <a:pt x="605" y="54"/>
                    </a:lnTo>
                    <a:lnTo>
                      <a:pt x="606" y="54"/>
                    </a:lnTo>
                    <a:lnTo>
                      <a:pt x="608" y="54"/>
                    </a:lnTo>
                    <a:lnTo>
                      <a:pt x="608" y="56"/>
                    </a:lnTo>
                    <a:lnTo>
                      <a:pt x="608" y="57"/>
                    </a:lnTo>
                    <a:lnTo>
                      <a:pt x="608" y="59"/>
                    </a:lnTo>
                    <a:lnTo>
                      <a:pt x="606" y="59"/>
                    </a:lnTo>
                    <a:lnTo>
                      <a:pt x="606" y="60"/>
                    </a:lnTo>
                    <a:lnTo>
                      <a:pt x="605" y="62"/>
                    </a:lnTo>
                    <a:lnTo>
                      <a:pt x="605" y="64"/>
                    </a:lnTo>
                    <a:lnTo>
                      <a:pt x="603" y="64"/>
                    </a:lnTo>
                    <a:lnTo>
                      <a:pt x="602" y="64"/>
                    </a:lnTo>
                    <a:lnTo>
                      <a:pt x="600" y="64"/>
                    </a:lnTo>
                    <a:lnTo>
                      <a:pt x="598" y="64"/>
                    </a:lnTo>
                    <a:lnTo>
                      <a:pt x="598" y="65"/>
                    </a:lnTo>
                    <a:lnTo>
                      <a:pt x="597" y="65"/>
                    </a:lnTo>
                    <a:lnTo>
                      <a:pt x="595" y="65"/>
                    </a:lnTo>
                    <a:lnTo>
                      <a:pt x="594" y="65"/>
                    </a:lnTo>
                    <a:lnTo>
                      <a:pt x="592" y="65"/>
                    </a:lnTo>
                    <a:lnTo>
                      <a:pt x="592" y="67"/>
                    </a:lnTo>
                    <a:lnTo>
                      <a:pt x="592" y="68"/>
                    </a:lnTo>
                    <a:lnTo>
                      <a:pt x="590" y="68"/>
                    </a:lnTo>
                    <a:lnTo>
                      <a:pt x="590" y="70"/>
                    </a:lnTo>
                    <a:lnTo>
                      <a:pt x="590" y="72"/>
                    </a:lnTo>
                    <a:lnTo>
                      <a:pt x="589" y="72"/>
                    </a:lnTo>
                    <a:lnTo>
                      <a:pt x="587" y="73"/>
                    </a:lnTo>
                    <a:lnTo>
                      <a:pt x="586" y="73"/>
                    </a:lnTo>
                    <a:lnTo>
                      <a:pt x="584" y="73"/>
                    </a:lnTo>
                    <a:lnTo>
                      <a:pt x="583" y="73"/>
                    </a:lnTo>
                    <a:lnTo>
                      <a:pt x="583" y="75"/>
                    </a:lnTo>
                    <a:lnTo>
                      <a:pt x="583" y="76"/>
                    </a:lnTo>
                    <a:lnTo>
                      <a:pt x="584" y="76"/>
                    </a:lnTo>
                    <a:lnTo>
                      <a:pt x="584" y="78"/>
                    </a:lnTo>
                    <a:lnTo>
                      <a:pt x="583" y="78"/>
                    </a:lnTo>
                    <a:lnTo>
                      <a:pt x="583" y="79"/>
                    </a:lnTo>
                    <a:lnTo>
                      <a:pt x="581" y="79"/>
                    </a:lnTo>
                    <a:lnTo>
                      <a:pt x="581" y="81"/>
                    </a:lnTo>
                    <a:lnTo>
                      <a:pt x="583" y="81"/>
                    </a:lnTo>
                    <a:lnTo>
                      <a:pt x="584" y="81"/>
                    </a:lnTo>
                    <a:lnTo>
                      <a:pt x="584" y="79"/>
                    </a:lnTo>
                    <a:lnTo>
                      <a:pt x="586" y="79"/>
                    </a:lnTo>
                    <a:lnTo>
                      <a:pt x="586" y="78"/>
                    </a:lnTo>
                    <a:lnTo>
                      <a:pt x="587" y="78"/>
                    </a:lnTo>
                    <a:lnTo>
                      <a:pt x="589" y="78"/>
                    </a:lnTo>
                    <a:lnTo>
                      <a:pt x="590" y="78"/>
                    </a:lnTo>
                    <a:lnTo>
                      <a:pt x="592" y="78"/>
                    </a:lnTo>
                    <a:lnTo>
                      <a:pt x="594" y="78"/>
                    </a:lnTo>
                    <a:lnTo>
                      <a:pt x="595" y="78"/>
                    </a:lnTo>
                    <a:lnTo>
                      <a:pt x="597" y="76"/>
                    </a:lnTo>
                    <a:lnTo>
                      <a:pt x="598" y="76"/>
                    </a:lnTo>
                    <a:lnTo>
                      <a:pt x="600" y="76"/>
                    </a:lnTo>
                    <a:lnTo>
                      <a:pt x="600" y="75"/>
                    </a:lnTo>
                    <a:lnTo>
                      <a:pt x="602" y="75"/>
                    </a:lnTo>
                    <a:lnTo>
                      <a:pt x="603" y="75"/>
                    </a:lnTo>
                    <a:lnTo>
                      <a:pt x="605" y="75"/>
                    </a:lnTo>
                    <a:lnTo>
                      <a:pt x="606" y="75"/>
                    </a:lnTo>
                    <a:lnTo>
                      <a:pt x="608" y="75"/>
                    </a:lnTo>
                    <a:lnTo>
                      <a:pt x="609" y="75"/>
                    </a:lnTo>
                    <a:lnTo>
                      <a:pt x="611" y="75"/>
                    </a:lnTo>
                    <a:lnTo>
                      <a:pt x="611" y="73"/>
                    </a:lnTo>
                    <a:lnTo>
                      <a:pt x="613" y="73"/>
                    </a:lnTo>
                    <a:lnTo>
                      <a:pt x="613" y="72"/>
                    </a:lnTo>
                    <a:lnTo>
                      <a:pt x="614" y="72"/>
                    </a:lnTo>
                    <a:lnTo>
                      <a:pt x="614" y="70"/>
                    </a:lnTo>
                    <a:lnTo>
                      <a:pt x="616" y="68"/>
                    </a:lnTo>
                    <a:lnTo>
                      <a:pt x="617" y="67"/>
                    </a:lnTo>
                    <a:lnTo>
                      <a:pt x="617" y="65"/>
                    </a:lnTo>
                    <a:lnTo>
                      <a:pt x="617" y="64"/>
                    </a:lnTo>
                    <a:lnTo>
                      <a:pt x="619" y="64"/>
                    </a:lnTo>
                    <a:lnTo>
                      <a:pt x="621" y="64"/>
                    </a:lnTo>
                    <a:lnTo>
                      <a:pt x="621" y="65"/>
                    </a:lnTo>
                    <a:lnTo>
                      <a:pt x="621" y="67"/>
                    </a:lnTo>
                    <a:lnTo>
                      <a:pt x="622" y="67"/>
                    </a:lnTo>
                    <a:lnTo>
                      <a:pt x="622" y="68"/>
                    </a:lnTo>
                    <a:lnTo>
                      <a:pt x="624" y="70"/>
                    </a:lnTo>
                    <a:lnTo>
                      <a:pt x="625" y="70"/>
                    </a:lnTo>
                    <a:lnTo>
                      <a:pt x="625" y="72"/>
                    </a:lnTo>
                    <a:lnTo>
                      <a:pt x="627" y="72"/>
                    </a:lnTo>
                    <a:lnTo>
                      <a:pt x="629" y="72"/>
                    </a:lnTo>
                    <a:lnTo>
                      <a:pt x="632" y="72"/>
                    </a:lnTo>
                    <a:lnTo>
                      <a:pt x="633" y="72"/>
                    </a:lnTo>
                    <a:lnTo>
                      <a:pt x="635" y="72"/>
                    </a:lnTo>
                    <a:lnTo>
                      <a:pt x="636" y="70"/>
                    </a:lnTo>
                    <a:lnTo>
                      <a:pt x="638" y="68"/>
                    </a:lnTo>
                    <a:lnTo>
                      <a:pt x="640" y="68"/>
                    </a:lnTo>
                    <a:lnTo>
                      <a:pt x="640" y="67"/>
                    </a:lnTo>
                    <a:lnTo>
                      <a:pt x="641" y="67"/>
                    </a:lnTo>
                    <a:lnTo>
                      <a:pt x="641" y="65"/>
                    </a:lnTo>
                    <a:lnTo>
                      <a:pt x="643" y="65"/>
                    </a:lnTo>
                    <a:lnTo>
                      <a:pt x="644" y="65"/>
                    </a:lnTo>
                    <a:lnTo>
                      <a:pt x="646" y="65"/>
                    </a:lnTo>
                    <a:lnTo>
                      <a:pt x="644" y="72"/>
                    </a:lnTo>
                    <a:lnTo>
                      <a:pt x="644" y="73"/>
                    </a:lnTo>
                    <a:lnTo>
                      <a:pt x="644" y="75"/>
                    </a:lnTo>
                    <a:lnTo>
                      <a:pt x="646" y="75"/>
                    </a:lnTo>
                    <a:lnTo>
                      <a:pt x="648" y="76"/>
                    </a:lnTo>
                    <a:lnTo>
                      <a:pt x="648" y="78"/>
                    </a:lnTo>
                    <a:lnTo>
                      <a:pt x="649" y="78"/>
                    </a:lnTo>
                    <a:lnTo>
                      <a:pt x="649" y="79"/>
                    </a:lnTo>
                    <a:lnTo>
                      <a:pt x="649" y="81"/>
                    </a:lnTo>
                    <a:lnTo>
                      <a:pt x="651" y="81"/>
                    </a:lnTo>
                    <a:lnTo>
                      <a:pt x="651" y="83"/>
                    </a:lnTo>
                    <a:lnTo>
                      <a:pt x="652" y="84"/>
                    </a:lnTo>
                    <a:lnTo>
                      <a:pt x="652" y="86"/>
                    </a:lnTo>
                    <a:lnTo>
                      <a:pt x="654" y="87"/>
                    </a:lnTo>
                    <a:lnTo>
                      <a:pt x="654" y="89"/>
                    </a:lnTo>
                    <a:lnTo>
                      <a:pt x="654" y="91"/>
                    </a:lnTo>
                    <a:lnTo>
                      <a:pt x="655" y="91"/>
                    </a:lnTo>
                    <a:lnTo>
                      <a:pt x="655" y="92"/>
                    </a:lnTo>
                    <a:lnTo>
                      <a:pt x="657" y="92"/>
                    </a:lnTo>
                    <a:lnTo>
                      <a:pt x="657" y="94"/>
                    </a:lnTo>
                    <a:lnTo>
                      <a:pt x="657" y="95"/>
                    </a:lnTo>
                    <a:lnTo>
                      <a:pt x="657" y="97"/>
                    </a:lnTo>
                    <a:lnTo>
                      <a:pt x="659" y="97"/>
                    </a:lnTo>
                    <a:lnTo>
                      <a:pt x="659" y="98"/>
                    </a:lnTo>
                    <a:lnTo>
                      <a:pt x="660" y="98"/>
                    </a:lnTo>
                    <a:lnTo>
                      <a:pt x="662" y="98"/>
                    </a:lnTo>
                    <a:lnTo>
                      <a:pt x="662" y="100"/>
                    </a:lnTo>
                    <a:lnTo>
                      <a:pt x="660" y="100"/>
                    </a:lnTo>
                    <a:lnTo>
                      <a:pt x="660" y="102"/>
                    </a:lnTo>
                    <a:lnTo>
                      <a:pt x="660" y="103"/>
                    </a:lnTo>
                    <a:lnTo>
                      <a:pt x="662" y="103"/>
                    </a:lnTo>
                    <a:lnTo>
                      <a:pt x="662" y="105"/>
                    </a:lnTo>
                    <a:lnTo>
                      <a:pt x="662" y="106"/>
                    </a:lnTo>
                    <a:lnTo>
                      <a:pt x="662" y="108"/>
                    </a:lnTo>
                    <a:lnTo>
                      <a:pt x="660" y="108"/>
                    </a:lnTo>
                    <a:lnTo>
                      <a:pt x="660" y="110"/>
                    </a:lnTo>
                    <a:lnTo>
                      <a:pt x="660" y="111"/>
                    </a:lnTo>
                    <a:lnTo>
                      <a:pt x="662" y="111"/>
                    </a:lnTo>
                    <a:lnTo>
                      <a:pt x="662" y="113"/>
                    </a:lnTo>
                    <a:lnTo>
                      <a:pt x="660" y="113"/>
                    </a:lnTo>
                    <a:lnTo>
                      <a:pt x="662" y="114"/>
                    </a:lnTo>
                    <a:lnTo>
                      <a:pt x="663" y="116"/>
                    </a:lnTo>
                    <a:lnTo>
                      <a:pt x="663" y="117"/>
                    </a:lnTo>
                    <a:lnTo>
                      <a:pt x="662" y="119"/>
                    </a:lnTo>
                    <a:lnTo>
                      <a:pt x="662" y="121"/>
                    </a:lnTo>
                    <a:lnTo>
                      <a:pt x="662" y="122"/>
                    </a:lnTo>
                    <a:lnTo>
                      <a:pt x="662" y="124"/>
                    </a:lnTo>
                    <a:lnTo>
                      <a:pt x="663" y="124"/>
                    </a:lnTo>
                    <a:lnTo>
                      <a:pt x="663" y="125"/>
                    </a:lnTo>
                    <a:lnTo>
                      <a:pt x="662" y="127"/>
                    </a:lnTo>
                    <a:lnTo>
                      <a:pt x="662" y="125"/>
                    </a:lnTo>
                    <a:lnTo>
                      <a:pt x="662" y="127"/>
                    </a:lnTo>
                    <a:lnTo>
                      <a:pt x="660" y="127"/>
                    </a:lnTo>
                    <a:lnTo>
                      <a:pt x="662" y="129"/>
                    </a:lnTo>
                    <a:lnTo>
                      <a:pt x="663" y="129"/>
                    </a:lnTo>
                    <a:lnTo>
                      <a:pt x="663" y="130"/>
                    </a:lnTo>
                    <a:lnTo>
                      <a:pt x="662" y="132"/>
                    </a:lnTo>
                    <a:lnTo>
                      <a:pt x="660" y="133"/>
                    </a:lnTo>
                    <a:lnTo>
                      <a:pt x="660" y="135"/>
                    </a:lnTo>
                    <a:lnTo>
                      <a:pt x="660" y="136"/>
                    </a:lnTo>
                    <a:lnTo>
                      <a:pt x="660" y="138"/>
                    </a:lnTo>
                    <a:lnTo>
                      <a:pt x="660" y="140"/>
                    </a:lnTo>
                    <a:lnTo>
                      <a:pt x="662" y="140"/>
                    </a:lnTo>
                    <a:lnTo>
                      <a:pt x="662" y="138"/>
                    </a:lnTo>
                    <a:lnTo>
                      <a:pt x="663" y="138"/>
                    </a:lnTo>
                    <a:lnTo>
                      <a:pt x="665" y="140"/>
                    </a:lnTo>
                    <a:lnTo>
                      <a:pt x="667" y="140"/>
                    </a:lnTo>
                    <a:lnTo>
                      <a:pt x="668" y="140"/>
                    </a:lnTo>
                    <a:lnTo>
                      <a:pt x="668" y="141"/>
                    </a:lnTo>
                    <a:lnTo>
                      <a:pt x="670" y="141"/>
                    </a:lnTo>
                    <a:lnTo>
                      <a:pt x="671" y="141"/>
                    </a:lnTo>
                    <a:lnTo>
                      <a:pt x="673" y="141"/>
                    </a:lnTo>
                    <a:lnTo>
                      <a:pt x="673" y="143"/>
                    </a:lnTo>
                    <a:lnTo>
                      <a:pt x="674" y="143"/>
                    </a:lnTo>
                    <a:lnTo>
                      <a:pt x="676" y="143"/>
                    </a:lnTo>
                    <a:lnTo>
                      <a:pt x="678" y="143"/>
                    </a:lnTo>
                    <a:lnTo>
                      <a:pt x="679" y="143"/>
                    </a:lnTo>
                    <a:lnTo>
                      <a:pt x="681" y="143"/>
                    </a:lnTo>
                    <a:lnTo>
                      <a:pt x="682" y="144"/>
                    </a:lnTo>
                    <a:lnTo>
                      <a:pt x="684" y="146"/>
                    </a:lnTo>
                    <a:lnTo>
                      <a:pt x="686" y="146"/>
                    </a:lnTo>
                    <a:lnTo>
                      <a:pt x="686" y="148"/>
                    </a:lnTo>
                    <a:lnTo>
                      <a:pt x="687" y="148"/>
                    </a:lnTo>
                    <a:lnTo>
                      <a:pt x="687" y="146"/>
                    </a:lnTo>
                    <a:lnTo>
                      <a:pt x="689" y="146"/>
                    </a:lnTo>
                    <a:lnTo>
                      <a:pt x="690" y="148"/>
                    </a:lnTo>
                    <a:lnTo>
                      <a:pt x="692" y="149"/>
                    </a:lnTo>
                    <a:lnTo>
                      <a:pt x="692" y="148"/>
                    </a:lnTo>
                    <a:lnTo>
                      <a:pt x="695" y="148"/>
                    </a:lnTo>
                    <a:lnTo>
                      <a:pt x="697" y="146"/>
                    </a:lnTo>
                    <a:lnTo>
                      <a:pt x="698" y="146"/>
                    </a:lnTo>
                    <a:lnTo>
                      <a:pt x="700" y="146"/>
                    </a:lnTo>
                    <a:lnTo>
                      <a:pt x="701" y="146"/>
                    </a:lnTo>
                    <a:lnTo>
                      <a:pt x="703" y="146"/>
                    </a:lnTo>
                    <a:lnTo>
                      <a:pt x="705" y="146"/>
                    </a:lnTo>
                    <a:lnTo>
                      <a:pt x="706" y="146"/>
                    </a:lnTo>
                    <a:lnTo>
                      <a:pt x="708" y="146"/>
                    </a:lnTo>
                    <a:lnTo>
                      <a:pt x="708" y="144"/>
                    </a:lnTo>
                    <a:lnTo>
                      <a:pt x="708" y="143"/>
                    </a:lnTo>
                    <a:lnTo>
                      <a:pt x="709" y="143"/>
                    </a:lnTo>
                    <a:lnTo>
                      <a:pt x="711" y="143"/>
                    </a:lnTo>
                    <a:lnTo>
                      <a:pt x="712" y="143"/>
                    </a:lnTo>
                    <a:lnTo>
                      <a:pt x="714" y="143"/>
                    </a:lnTo>
                    <a:lnTo>
                      <a:pt x="716" y="143"/>
                    </a:lnTo>
                    <a:lnTo>
                      <a:pt x="717" y="141"/>
                    </a:lnTo>
                    <a:lnTo>
                      <a:pt x="719" y="141"/>
                    </a:lnTo>
                    <a:lnTo>
                      <a:pt x="719" y="140"/>
                    </a:lnTo>
                    <a:lnTo>
                      <a:pt x="720" y="140"/>
                    </a:lnTo>
                    <a:lnTo>
                      <a:pt x="722" y="138"/>
                    </a:lnTo>
                    <a:lnTo>
                      <a:pt x="724" y="138"/>
                    </a:lnTo>
                    <a:lnTo>
                      <a:pt x="724" y="140"/>
                    </a:lnTo>
                    <a:lnTo>
                      <a:pt x="725" y="141"/>
                    </a:lnTo>
                    <a:lnTo>
                      <a:pt x="725" y="143"/>
                    </a:lnTo>
                    <a:lnTo>
                      <a:pt x="725" y="144"/>
                    </a:lnTo>
                    <a:lnTo>
                      <a:pt x="727" y="146"/>
                    </a:lnTo>
                    <a:lnTo>
                      <a:pt x="727" y="148"/>
                    </a:lnTo>
                    <a:lnTo>
                      <a:pt x="725" y="148"/>
                    </a:lnTo>
                    <a:lnTo>
                      <a:pt x="725" y="149"/>
                    </a:lnTo>
                    <a:lnTo>
                      <a:pt x="725" y="151"/>
                    </a:lnTo>
                    <a:lnTo>
                      <a:pt x="727" y="151"/>
                    </a:lnTo>
                    <a:lnTo>
                      <a:pt x="727" y="152"/>
                    </a:lnTo>
                    <a:lnTo>
                      <a:pt x="725" y="152"/>
                    </a:lnTo>
                    <a:lnTo>
                      <a:pt x="725" y="154"/>
                    </a:lnTo>
                    <a:lnTo>
                      <a:pt x="727" y="154"/>
                    </a:lnTo>
                    <a:lnTo>
                      <a:pt x="727" y="156"/>
                    </a:lnTo>
                    <a:lnTo>
                      <a:pt x="728" y="156"/>
                    </a:lnTo>
                    <a:lnTo>
                      <a:pt x="730" y="156"/>
                    </a:lnTo>
                    <a:lnTo>
                      <a:pt x="731" y="156"/>
                    </a:lnTo>
                    <a:lnTo>
                      <a:pt x="733" y="156"/>
                    </a:lnTo>
                    <a:lnTo>
                      <a:pt x="735" y="156"/>
                    </a:lnTo>
                    <a:lnTo>
                      <a:pt x="736" y="156"/>
                    </a:lnTo>
                    <a:lnTo>
                      <a:pt x="738" y="156"/>
                    </a:lnTo>
                    <a:lnTo>
                      <a:pt x="739" y="156"/>
                    </a:lnTo>
                    <a:lnTo>
                      <a:pt x="741" y="156"/>
                    </a:lnTo>
                    <a:lnTo>
                      <a:pt x="741" y="157"/>
                    </a:lnTo>
                    <a:lnTo>
                      <a:pt x="741" y="159"/>
                    </a:lnTo>
                    <a:lnTo>
                      <a:pt x="743" y="159"/>
                    </a:lnTo>
                    <a:lnTo>
                      <a:pt x="743" y="160"/>
                    </a:lnTo>
                    <a:lnTo>
                      <a:pt x="743" y="162"/>
                    </a:lnTo>
                    <a:lnTo>
                      <a:pt x="744" y="162"/>
                    </a:lnTo>
                    <a:lnTo>
                      <a:pt x="744" y="163"/>
                    </a:lnTo>
                    <a:lnTo>
                      <a:pt x="746" y="163"/>
                    </a:lnTo>
                    <a:lnTo>
                      <a:pt x="747" y="162"/>
                    </a:lnTo>
                    <a:lnTo>
                      <a:pt x="749" y="162"/>
                    </a:lnTo>
                    <a:lnTo>
                      <a:pt x="750" y="162"/>
                    </a:lnTo>
                    <a:lnTo>
                      <a:pt x="752" y="162"/>
                    </a:lnTo>
                    <a:lnTo>
                      <a:pt x="752" y="163"/>
                    </a:lnTo>
                    <a:lnTo>
                      <a:pt x="750" y="163"/>
                    </a:lnTo>
                    <a:lnTo>
                      <a:pt x="750" y="165"/>
                    </a:lnTo>
                    <a:lnTo>
                      <a:pt x="750" y="167"/>
                    </a:lnTo>
                    <a:lnTo>
                      <a:pt x="750" y="168"/>
                    </a:lnTo>
                    <a:lnTo>
                      <a:pt x="750" y="170"/>
                    </a:lnTo>
                    <a:lnTo>
                      <a:pt x="750" y="171"/>
                    </a:lnTo>
                    <a:lnTo>
                      <a:pt x="750" y="173"/>
                    </a:lnTo>
                    <a:lnTo>
                      <a:pt x="750" y="175"/>
                    </a:lnTo>
                    <a:lnTo>
                      <a:pt x="749" y="175"/>
                    </a:lnTo>
                    <a:lnTo>
                      <a:pt x="749" y="176"/>
                    </a:lnTo>
                    <a:lnTo>
                      <a:pt x="747" y="176"/>
                    </a:lnTo>
                    <a:lnTo>
                      <a:pt x="747" y="178"/>
                    </a:lnTo>
                    <a:lnTo>
                      <a:pt x="746" y="178"/>
                    </a:lnTo>
                    <a:lnTo>
                      <a:pt x="744" y="178"/>
                    </a:lnTo>
                    <a:lnTo>
                      <a:pt x="744" y="179"/>
                    </a:lnTo>
                    <a:lnTo>
                      <a:pt x="743" y="179"/>
                    </a:lnTo>
                    <a:lnTo>
                      <a:pt x="743" y="181"/>
                    </a:lnTo>
                    <a:lnTo>
                      <a:pt x="741" y="181"/>
                    </a:lnTo>
                    <a:lnTo>
                      <a:pt x="741" y="182"/>
                    </a:lnTo>
                    <a:lnTo>
                      <a:pt x="739" y="182"/>
                    </a:lnTo>
                    <a:lnTo>
                      <a:pt x="739" y="184"/>
                    </a:lnTo>
                    <a:lnTo>
                      <a:pt x="739" y="186"/>
                    </a:lnTo>
                    <a:lnTo>
                      <a:pt x="739" y="187"/>
                    </a:lnTo>
                    <a:lnTo>
                      <a:pt x="739" y="189"/>
                    </a:lnTo>
                    <a:lnTo>
                      <a:pt x="739" y="190"/>
                    </a:lnTo>
                    <a:lnTo>
                      <a:pt x="739" y="192"/>
                    </a:lnTo>
                    <a:lnTo>
                      <a:pt x="738" y="192"/>
                    </a:lnTo>
                    <a:lnTo>
                      <a:pt x="739" y="194"/>
                    </a:lnTo>
                    <a:lnTo>
                      <a:pt x="739" y="195"/>
                    </a:lnTo>
                    <a:lnTo>
                      <a:pt x="739" y="197"/>
                    </a:lnTo>
                    <a:lnTo>
                      <a:pt x="739" y="198"/>
                    </a:lnTo>
                    <a:lnTo>
                      <a:pt x="739" y="200"/>
                    </a:lnTo>
                    <a:lnTo>
                      <a:pt x="739" y="201"/>
                    </a:lnTo>
                    <a:lnTo>
                      <a:pt x="741" y="203"/>
                    </a:lnTo>
                    <a:lnTo>
                      <a:pt x="741" y="205"/>
                    </a:lnTo>
                    <a:lnTo>
                      <a:pt x="741" y="206"/>
                    </a:lnTo>
                    <a:lnTo>
                      <a:pt x="741" y="208"/>
                    </a:lnTo>
                    <a:lnTo>
                      <a:pt x="739" y="208"/>
                    </a:lnTo>
                    <a:lnTo>
                      <a:pt x="741" y="209"/>
                    </a:lnTo>
                    <a:lnTo>
                      <a:pt x="743" y="211"/>
                    </a:lnTo>
                    <a:lnTo>
                      <a:pt x="744" y="211"/>
                    </a:lnTo>
                    <a:lnTo>
                      <a:pt x="744" y="213"/>
                    </a:lnTo>
                    <a:lnTo>
                      <a:pt x="746" y="213"/>
                    </a:lnTo>
                    <a:lnTo>
                      <a:pt x="747" y="213"/>
                    </a:lnTo>
                    <a:lnTo>
                      <a:pt x="747" y="211"/>
                    </a:lnTo>
                    <a:lnTo>
                      <a:pt x="749" y="211"/>
                    </a:lnTo>
                    <a:lnTo>
                      <a:pt x="749" y="213"/>
                    </a:lnTo>
                    <a:lnTo>
                      <a:pt x="750" y="213"/>
                    </a:lnTo>
                    <a:lnTo>
                      <a:pt x="752" y="214"/>
                    </a:lnTo>
                    <a:lnTo>
                      <a:pt x="754" y="214"/>
                    </a:lnTo>
                    <a:lnTo>
                      <a:pt x="755" y="214"/>
                    </a:lnTo>
                    <a:lnTo>
                      <a:pt x="755" y="216"/>
                    </a:lnTo>
                    <a:lnTo>
                      <a:pt x="757" y="216"/>
                    </a:lnTo>
                    <a:lnTo>
                      <a:pt x="758" y="216"/>
                    </a:lnTo>
                    <a:lnTo>
                      <a:pt x="758" y="217"/>
                    </a:lnTo>
                    <a:lnTo>
                      <a:pt x="760" y="217"/>
                    </a:lnTo>
                    <a:lnTo>
                      <a:pt x="760" y="219"/>
                    </a:lnTo>
                    <a:lnTo>
                      <a:pt x="760" y="220"/>
                    </a:lnTo>
                    <a:lnTo>
                      <a:pt x="762" y="220"/>
                    </a:lnTo>
                    <a:lnTo>
                      <a:pt x="762" y="222"/>
                    </a:lnTo>
                  </a:path>
                </a:pathLst>
              </a:custGeom>
              <a:noFill/>
              <a:ln w="476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13" name="Freeform 11"/>
              <p:cNvSpPr>
                <a:spLocks/>
              </p:cNvSpPr>
              <p:nvPr/>
            </p:nvSpPr>
            <p:spPr bwMode="auto">
              <a:xfrm>
                <a:off x="3214" y="1193"/>
                <a:ext cx="326" cy="1253"/>
              </a:xfrm>
              <a:custGeom>
                <a:avLst/>
                <a:gdLst>
                  <a:gd name="T0" fmla="*/ 14 w 326"/>
                  <a:gd name="T1" fmla="*/ 6 h 1253"/>
                  <a:gd name="T2" fmla="*/ 33 w 326"/>
                  <a:gd name="T3" fmla="*/ 1 h 1253"/>
                  <a:gd name="T4" fmla="*/ 44 w 326"/>
                  <a:gd name="T5" fmla="*/ 11 h 1253"/>
                  <a:gd name="T6" fmla="*/ 50 w 326"/>
                  <a:gd name="T7" fmla="*/ 25 h 1253"/>
                  <a:gd name="T8" fmla="*/ 57 w 326"/>
                  <a:gd name="T9" fmla="*/ 43 h 1253"/>
                  <a:gd name="T10" fmla="*/ 63 w 326"/>
                  <a:gd name="T11" fmla="*/ 54 h 1253"/>
                  <a:gd name="T12" fmla="*/ 58 w 326"/>
                  <a:gd name="T13" fmla="*/ 70 h 1253"/>
                  <a:gd name="T14" fmla="*/ 63 w 326"/>
                  <a:gd name="T15" fmla="*/ 82 h 1253"/>
                  <a:gd name="T16" fmla="*/ 61 w 326"/>
                  <a:gd name="T17" fmla="*/ 95 h 1253"/>
                  <a:gd name="T18" fmla="*/ 46 w 326"/>
                  <a:gd name="T19" fmla="*/ 106 h 1253"/>
                  <a:gd name="T20" fmla="*/ 28 w 326"/>
                  <a:gd name="T21" fmla="*/ 112 h 1253"/>
                  <a:gd name="T22" fmla="*/ 36 w 326"/>
                  <a:gd name="T23" fmla="*/ 131 h 1253"/>
                  <a:gd name="T24" fmla="*/ 42 w 326"/>
                  <a:gd name="T25" fmla="*/ 150 h 1253"/>
                  <a:gd name="T26" fmla="*/ 47 w 326"/>
                  <a:gd name="T27" fmla="*/ 173 h 1253"/>
                  <a:gd name="T28" fmla="*/ 50 w 326"/>
                  <a:gd name="T29" fmla="*/ 199 h 1253"/>
                  <a:gd name="T30" fmla="*/ 68 w 326"/>
                  <a:gd name="T31" fmla="*/ 212 h 1253"/>
                  <a:gd name="T32" fmla="*/ 85 w 326"/>
                  <a:gd name="T33" fmla="*/ 209 h 1253"/>
                  <a:gd name="T34" fmla="*/ 99 w 326"/>
                  <a:gd name="T35" fmla="*/ 201 h 1253"/>
                  <a:gd name="T36" fmla="*/ 125 w 326"/>
                  <a:gd name="T37" fmla="*/ 203 h 1253"/>
                  <a:gd name="T38" fmla="*/ 134 w 326"/>
                  <a:gd name="T39" fmla="*/ 222 h 1253"/>
                  <a:gd name="T40" fmla="*/ 152 w 326"/>
                  <a:gd name="T41" fmla="*/ 218 h 1253"/>
                  <a:gd name="T42" fmla="*/ 172 w 326"/>
                  <a:gd name="T43" fmla="*/ 209 h 1253"/>
                  <a:gd name="T44" fmla="*/ 202 w 326"/>
                  <a:gd name="T45" fmla="*/ 206 h 1253"/>
                  <a:gd name="T46" fmla="*/ 199 w 326"/>
                  <a:gd name="T47" fmla="*/ 228 h 1253"/>
                  <a:gd name="T48" fmla="*/ 210 w 326"/>
                  <a:gd name="T49" fmla="*/ 260 h 1253"/>
                  <a:gd name="T50" fmla="*/ 218 w 326"/>
                  <a:gd name="T51" fmla="*/ 290 h 1253"/>
                  <a:gd name="T52" fmla="*/ 226 w 326"/>
                  <a:gd name="T53" fmla="*/ 315 h 1253"/>
                  <a:gd name="T54" fmla="*/ 244 w 326"/>
                  <a:gd name="T55" fmla="*/ 382 h 1253"/>
                  <a:gd name="T56" fmla="*/ 272 w 326"/>
                  <a:gd name="T57" fmla="*/ 429 h 1253"/>
                  <a:gd name="T58" fmla="*/ 288 w 326"/>
                  <a:gd name="T59" fmla="*/ 461 h 1253"/>
                  <a:gd name="T60" fmla="*/ 299 w 326"/>
                  <a:gd name="T61" fmla="*/ 499 h 1253"/>
                  <a:gd name="T62" fmla="*/ 321 w 326"/>
                  <a:gd name="T63" fmla="*/ 534 h 1253"/>
                  <a:gd name="T64" fmla="*/ 323 w 326"/>
                  <a:gd name="T65" fmla="*/ 584 h 1253"/>
                  <a:gd name="T66" fmla="*/ 313 w 326"/>
                  <a:gd name="T67" fmla="*/ 618 h 1253"/>
                  <a:gd name="T68" fmla="*/ 301 w 326"/>
                  <a:gd name="T69" fmla="*/ 661 h 1253"/>
                  <a:gd name="T70" fmla="*/ 312 w 326"/>
                  <a:gd name="T71" fmla="*/ 713 h 1253"/>
                  <a:gd name="T72" fmla="*/ 315 w 326"/>
                  <a:gd name="T73" fmla="*/ 762 h 1253"/>
                  <a:gd name="T74" fmla="*/ 310 w 326"/>
                  <a:gd name="T75" fmla="*/ 803 h 1253"/>
                  <a:gd name="T76" fmla="*/ 307 w 326"/>
                  <a:gd name="T77" fmla="*/ 846 h 1253"/>
                  <a:gd name="T78" fmla="*/ 286 w 326"/>
                  <a:gd name="T79" fmla="*/ 851 h 1253"/>
                  <a:gd name="T80" fmla="*/ 266 w 326"/>
                  <a:gd name="T81" fmla="*/ 870 h 1253"/>
                  <a:gd name="T82" fmla="*/ 294 w 326"/>
                  <a:gd name="T83" fmla="*/ 900 h 1253"/>
                  <a:gd name="T84" fmla="*/ 275 w 326"/>
                  <a:gd name="T85" fmla="*/ 938 h 1253"/>
                  <a:gd name="T86" fmla="*/ 270 w 326"/>
                  <a:gd name="T87" fmla="*/ 963 h 1253"/>
                  <a:gd name="T88" fmla="*/ 239 w 326"/>
                  <a:gd name="T89" fmla="*/ 957 h 1253"/>
                  <a:gd name="T90" fmla="*/ 228 w 326"/>
                  <a:gd name="T91" fmla="*/ 976 h 1253"/>
                  <a:gd name="T92" fmla="*/ 236 w 326"/>
                  <a:gd name="T93" fmla="*/ 1020 h 1253"/>
                  <a:gd name="T94" fmla="*/ 209 w 326"/>
                  <a:gd name="T95" fmla="*/ 1060 h 1253"/>
                  <a:gd name="T96" fmla="*/ 236 w 326"/>
                  <a:gd name="T97" fmla="*/ 1082 h 1253"/>
                  <a:gd name="T98" fmla="*/ 223 w 326"/>
                  <a:gd name="T99" fmla="*/ 1120 h 1253"/>
                  <a:gd name="T100" fmla="*/ 201 w 326"/>
                  <a:gd name="T101" fmla="*/ 1156 h 1253"/>
                  <a:gd name="T102" fmla="*/ 142 w 326"/>
                  <a:gd name="T103" fmla="*/ 1236 h 1253"/>
                  <a:gd name="T104" fmla="*/ 79 w 326"/>
                  <a:gd name="T105" fmla="*/ 1240 h 1253"/>
                  <a:gd name="T106" fmla="*/ 71 w 326"/>
                  <a:gd name="T107" fmla="*/ 1169 h 1253"/>
                  <a:gd name="T108" fmla="*/ 50 w 326"/>
                  <a:gd name="T109" fmla="*/ 1092 h 1253"/>
                  <a:gd name="T110" fmla="*/ 103 w 326"/>
                  <a:gd name="T111" fmla="*/ 1074 h 1253"/>
                  <a:gd name="T112" fmla="*/ 115 w 326"/>
                  <a:gd name="T113" fmla="*/ 1071 h 1253"/>
                  <a:gd name="T114" fmla="*/ 106 w 326"/>
                  <a:gd name="T115" fmla="*/ 1065 h 1253"/>
                  <a:gd name="T116" fmla="*/ 107 w 326"/>
                  <a:gd name="T117" fmla="*/ 1049 h 1253"/>
                  <a:gd name="T118" fmla="*/ 93 w 326"/>
                  <a:gd name="T119" fmla="*/ 1042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6" h="1253">
                    <a:moveTo>
                      <a:pt x="0" y="14"/>
                    </a:moveTo>
                    <a:lnTo>
                      <a:pt x="1" y="14"/>
                    </a:lnTo>
                    <a:lnTo>
                      <a:pt x="1" y="16"/>
                    </a:lnTo>
                    <a:lnTo>
                      <a:pt x="3" y="16"/>
                    </a:lnTo>
                    <a:lnTo>
                      <a:pt x="3" y="14"/>
                    </a:lnTo>
                    <a:lnTo>
                      <a:pt x="4" y="14"/>
                    </a:lnTo>
                    <a:lnTo>
                      <a:pt x="6" y="14"/>
                    </a:lnTo>
                    <a:lnTo>
                      <a:pt x="7" y="14"/>
                    </a:lnTo>
                    <a:lnTo>
                      <a:pt x="9" y="14"/>
                    </a:lnTo>
                    <a:lnTo>
                      <a:pt x="9" y="12"/>
                    </a:lnTo>
                    <a:lnTo>
                      <a:pt x="11" y="12"/>
                    </a:lnTo>
                    <a:lnTo>
                      <a:pt x="11" y="11"/>
                    </a:lnTo>
                    <a:lnTo>
                      <a:pt x="12" y="11"/>
                    </a:lnTo>
                    <a:lnTo>
                      <a:pt x="12" y="9"/>
                    </a:lnTo>
                    <a:lnTo>
                      <a:pt x="12" y="8"/>
                    </a:lnTo>
                    <a:lnTo>
                      <a:pt x="14" y="8"/>
                    </a:lnTo>
                    <a:lnTo>
                      <a:pt x="14" y="6"/>
                    </a:lnTo>
                    <a:lnTo>
                      <a:pt x="15" y="6"/>
                    </a:lnTo>
                    <a:lnTo>
                      <a:pt x="17" y="6"/>
                    </a:lnTo>
                    <a:lnTo>
                      <a:pt x="19" y="6"/>
                    </a:lnTo>
                    <a:lnTo>
                      <a:pt x="19" y="5"/>
                    </a:lnTo>
                    <a:lnTo>
                      <a:pt x="19" y="3"/>
                    </a:lnTo>
                    <a:lnTo>
                      <a:pt x="20" y="3"/>
                    </a:lnTo>
                    <a:lnTo>
                      <a:pt x="22" y="3"/>
                    </a:lnTo>
                    <a:lnTo>
                      <a:pt x="23" y="3"/>
                    </a:lnTo>
                    <a:lnTo>
                      <a:pt x="25" y="3"/>
                    </a:lnTo>
                    <a:lnTo>
                      <a:pt x="26" y="3"/>
                    </a:lnTo>
                    <a:lnTo>
                      <a:pt x="26" y="1"/>
                    </a:lnTo>
                    <a:lnTo>
                      <a:pt x="28" y="1"/>
                    </a:lnTo>
                    <a:lnTo>
                      <a:pt x="28" y="0"/>
                    </a:lnTo>
                    <a:lnTo>
                      <a:pt x="30" y="0"/>
                    </a:lnTo>
                    <a:lnTo>
                      <a:pt x="31" y="0"/>
                    </a:lnTo>
                    <a:lnTo>
                      <a:pt x="33" y="0"/>
                    </a:lnTo>
                    <a:lnTo>
                      <a:pt x="33" y="1"/>
                    </a:lnTo>
                    <a:lnTo>
                      <a:pt x="34" y="1"/>
                    </a:lnTo>
                    <a:lnTo>
                      <a:pt x="36" y="1"/>
                    </a:lnTo>
                    <a:lnTo>
                      <a:pt x="38" y="1"/>
                    </a:lnTo>
                    <a:lnTo>
                      <a:pt x="38" y="0"/>
                    </a:lnTo>
                    <a:lnTo>
                      <a:pt x="39" y="0"/>
                    </a:lnTo>
                    <a:lnTo>
                      <a:pt x="41" y="0"/>
                    </a:lnTo>
                    <a:lnTo>
                      <a:pt x="41" y="1"/>
                    </a:lnTo>
                    <a:lnTo>
                      <a:pt x="42" y="1"/>
                    </a:lnTo>
                    <a:lnTo>
                      <a:pt x="42" y="3"/>
                    </a:lnTo>
                    <a:lnTo>
                      <a:pt x="44" y="3"/>
                    </a:lnTo>
                    <a:lnTo>
                      <a:pt x="46" y="3"/>
                    </a:lnTo>
                    <a:lnTo>
                      <a:pt x="46" y="5"/>
                    </a:lnTo>
                    <a:lnTo>
                      <a:pt x="46" y="6"/>
                    </a:lnTo>
                    <a:lnTo>
                      <a:pt x="46" y="8"/>
                    </a:lnTo>
                    <a:lnTo>
                      <a:pt x="46" y="9"/>
                    </a:lnTo>
                    <a:lnTo>
                      <a:pt x="44" y="9"/>
                    </a:lnTo>
                    <a:lnTo>
                      <a:pt x="44" y="11"/>
                    </a:lnTo>
                    <a:lnTo>
                      <a:pt x="44" y="12"/>
                    </a:lnTo>
                    <a:lnTo>
                      <a:pt x="46" y="12"/>
                    </a:lnTo>
                    <a:lnTo>
                      <a:pt x="46" y="14"/>
                    </a:lnTo>
                    <a:lnTo>
                      <a:pt x="46" y="16"/>
                    </a:lnTo>
                    <a:lnTo>
                      <a:pt x="46" y="17"/>
                    </a:lnTo>
                    <a:lnTo>
                      <a:pt x="46" y="19"/>
                    </a:lnTo>
                    <a:lnTo>
                      <a:pt x="46" y="20"/>
                    </a:lnTo>
                    <a:lnTo>
                      <a:pt x="46" y="22"/>
                    </a:lnTo>
                    <a:lnTo>
                      <a:pt x="46" y="24"/>
                    </a:lnTo>
                    <a:lnTo>
                      <a:pt x="46" y="25"/>
                    </a:lnTo>
                    <a:lnTo>
                      <a:pt x="44" y="25"/>
                    </a:lnTo>
                    <a:lnTo>
                      <a:pt x="44" y="27"/>
                    </a:lnTo>
                    <a:lnTo>
                      <a:pt x="46" y="27"/>
                    </a:lnTo>
                    <a:lnTo>
                      <a:pt x="46" y="25"/>
                    </a:lnTo>
                    <a:lnTo>
                      <a:pt x="47" y="25"/>
                    </a:lnTo>
                    <a:lnTo>
                      <a:pt x="49" y="25"/>
                    </a:lnTo>
                    <a:lnTo>
                      <a:pt x="50" y="25"/>
                    </a:lnTo>
                    <a:lnTo>
                      <a:pt x="50" y="27"/>
                    </a:lnTo>
                    <a:lnTo>
                      <a:pt x="52" y="27"/>
                    </a:lnTo>
                    <a:lnTo>
                      <a:pt x="52" y="28"/>
                    </a:lnTo>
                    <a:lnTo>
                      <a:pt x="53" y="28"/>
                    </a:lnTo>
                    <a:lnTo>
                      <a:pt x="53" y="30"/>
                    </a:lnTo>
                    <a:lnTo>
                      <a:pt x="53" y="31"/>
                    </a:lnTo>
                    <a:lnTo>
                      <a:pt x="53" y="33"/>
                    </a:lnTo>
                    <a:lnTo>
                      <a:pt x="52" y="33"/>
                    </a:lnTo>
                    <a:lnTo>
                      <a:pt x="52" y="35"/>
                    </a:lnTo>
                    <a:lnTo>
                      <a:pt x="53" y="35"/>
                    </a:lnTo>
                    <a:lnTo>
                      <a:pt x="55" y="35"/>
                    </a:lnTo>
                    <a:lnTo>
                      <a:pt x="55" y="36"/>
                    </a:lnTo>
                    <a:lnTo>
                      <a:pt x="55" y="38"/>
                    </a:lnTo>
                    <a:lnTo>
                      <a:pt x="55" y="39"/>
                    </a:lnTo>
                    <a:lnTo>
                      <a:pt x="57" y="39"/>
                    </a:lnTo>
                    <a:lnTo>
                      <a:pt x="57" y="41"/>
                    </a:lnTo>
                    <a:lnTo>
                      <a:pt x="57" y="43"/>
                    </a:lnTo>
                    <a:lnTo>
                      <a:pt x="58" y="44"/>
                    </a:lnTo>
                    <a:lnTo>
                      <a:pt x="60" y="46"/>
                    </a:lnTo>
                    <a:lnTo>
                      <a:pt x="61" y="46"/>
                    </a:lnTo>
                    <a:lnTo>
                      <a:pt x="61" y="44"/>
                    </a:lnTo>
                    <a:lnTo>
                      <a:pt x="63" y="44"/>
                    </a:lnTo>
                    <a:lnTo>
                      <a:pt x="66" y="44"/>
                    </a:lnTo>
                    <a:lnTo>
                      <a:pt x="68" y="46"/>
                    </a:lnTo>
                    <a:lnTo>
                      <a:pt x="68" y="47"/>
                    </a:lnTo>
                    <a:lnTo>
                      <a:pt x="69" y="47"/>
                    </a:lnTo>
                    <a:lnTo>
                      <a:pt x="71" y="47"/>
                    </a:lnTo>
                    <a:lnTo>
                      <a:pt x="71" y="49"/>
                    </a:lnTo>
                    <a:lnTo>
                      <a:pt x="69" y="49"/>
                    </a:lnTo>
                    <a:lnTo>
                      <a:pt x="68" y="49"/>
                    </a:lnTo>
                    <a:lnTo>
                      <a:pt x="68" y="50"/>
                    </a:lnTo>
                    <a:lnTo>
                      <a:pt x="66" y="52"/>
                    </a:lnTo>
                    <a:lnTo>
                      <a:pt x="65" y="52"/>
                    </a:lnTo>
                    <a:lnTo>
                      <a:pt x="63" y="54"/>
                    </a:lnTo>
                    <a:lnTo>
                      <a:pt x="61" y="54"/>
                    </a:lnTo>
                    <a:lnTo>
                      <a:pt x="60" y="55"/>
                    </a:lnTo>
                    <a:lnTo>
                      <a:pt x="58" y="57"/>
                    </a:lnTo>
                    <a:lnTo>
                      <a:pt x="58" y="58"/>
                    </a:lnTo>
                    <a:lnTo>
                      <a:pt x="60" y="58"/>
                    </a:lnTo>
                    <a:lnTo>
                      <a:pt x="63" y="60"/>
                    </a:lnTo>
                    <a:lnTo>
                      <a:pt x="65" y="62"/>
                    </a:lnTo>
                    <a:lnTo>
                      <a:pt x="66" y="62"/>
                    </a:lnTo>
                    <a:lnTo>
                      <a:pt x="66" y="63"/>
                    </a:lnTo>
                    <a:lnTo>
                      <a:pt x="66" y="65"/>
                    </a:lnTo>
                    <a:lnTo>
                      <a:pt x="65" y="65"/>
                    </a:lnTo>
                    <a:lnTo>
                      <a:pt x="65" y="66"/>
                    </a:lnTo>
                    <a:lnTo>
                      <a:pt x="63" y="66"/>
                    </a:lnTo>
                    <a:lnTo>
                      <a:pt x="61" y="66"/>
                    </a:lnTo>
                    <a:lnTo>
                      <a:pt x="60" y="68"/>
                    </a:lnTo>
                    <a:lnTo>
                      <a:pt x="58" y="68"/>
                    </a:lnTo>
                    <a:lnTo>
                      <a:pt x="58" y="70"/>
                    </a:lnTo>
                    <a:lnTo>
                      <a:pt x="57" y="70"/>
                    </a:lnTo>
                    <a:lnTo>
                      <a:pt x="57" y="71"/>
                    </a:lnTo>
                    <a:lnTo>
                      <a:pt x="57" y="73"/>
                    </a:lnTo>
                    <a:lnTo>
                      <a:pt x="55" y="73"/>
                    </a:lnTo>
                    <a:lnTo>
                      <a:pt x="55" y="74"/>
                    </a:lnTo>
                    <a:lnTo>
                      <a:pt x="55" y="76"/>
                    </a:lnTo>
                    <a:lnTo>
                      <a:pt x="57" y="76"/>
                    </a:lnTo>
                    <a:lnTo>
                      <a:pt x="58" y="76"/>
                    </a:lnTo>
                    <a:lnTo>
                      <a:pt x="60" y="76"/>
                    </a:lnTo>
                    <a:lnTo>
                      <a:pt x="60" y="77"/>
                    </a:lnTo>
                    <a:lnTo>
                      <a:pt x="61" y="77"/>
                    </a:lnTo>
                    <a:lnTo>
                      <a:pt x="63" y="77"/>
                    </a:lnTo>
                    <a:lnTo>
                      <a:pt x="63" y="79"/>
                    </a:lnTo>
                    <a:lnTo>
                      <a:pt x="65" y="79"/>
                    </a:lnTo>
                    <a:lnTo>
                      <a:pt x="65" y="81"/>
                    </a:lnTo>
                    <a:lnTo>
                      <a:pt x="65" y="82"/>
                    </a:lnTo>
                    <a:lnTo>
                      <a:pt x="63" y="82"/>
                    </a:lnTo>
                    <a:lnTo>
                      <a:pt x="63" y="84"/>
                    </a:lnTo>
                    <a:lnTo>
                      <a:pt x="63" y="85"/>
                    </a:lnTo>
                    <a:lnTo>
                      <a:pt x="63" y="87"/>
                    </a:lnTo>
                    <a:lnTo>
                      <a:pt x="61" y="87"/>
                    </a:lnTo>
                    <a:lnTo>
                      <a:pt x="60" y="87"/>
                    </a:lnTo>
                    <a:lnTo>
                      <a:pt x="60" y="85"/>
                    </a:lnTo>
                    <a:lnTo>
                      <a:pt x="58" y="85"/>
                    </a:lnTo>
                    <a:lnTo>
                      <a:pt x="57" y="85"/>
                    </a:lnTo>
                    <a:lnTo>
                      <a:pt x="55" y="87"/>
                    </a:lnTo>
                    <a:lnTo>
                      <a:pt x="55" y="89"/>
                    </a:lnTo>
                    <a:lnTo>
                      <a:pt x="57" y="89"/>
                    </a:lnTo>
                    <a:lnTo>
                      <a:pt x="57" y="90"/>
                    </a:lnTo>
                    <a:lnTo>
                      <a:pt x="58" y="92"/>
                    </a:lnTo>
                    <a:lnTo>
                      <a:pt x="60" y="92"/>
                    </a:lnTo>
                    <a:lnTo>
                      <a:pt x="60" y="93"/>
                    </a:lnTo>
                    <a:lnTo>
                      <a:pt x="61" y="93"/>
                    </a:lnTo>
                    <a:lnTo>
                      <a:pt x="61" y="95"/>
                    </a:lnTo>
                    <a:lnTo>
                      <a:pt x="63" y="95"/>
                    </a:lnTo>
                    <a:lnTo>
                      <a:pt x="61" y="96"/>
                    </a:lnTo>
                    <a:lnTo>
                      <a:pt x="60" y="96"/>
                    </a:lnTo>
                    <a:lnTo>
                      <a:pt x="60" y="98"/>
                    </a:lnTo>
                    <a:lnTo>
                      <a:pt x="58" y="98"/>
                    </a:lnTo>
                    <a:lnTo>
                      <a:pt x="58" y="100"/>
                    </a:lnTo>
                    <a:lnTo>
                      <a:pt x="57" y="100"/>
                    </a:lnTo>
                    <a:lnTo>
                      <a:pt x="57" y="101"/>
                    </a:lnTo>
                    <a:lnTo>
                      <a:pt x="55" y="101"/>
                    </a:lnTo>
                    <a:lnTo>
                      <a:pt x="53" y="101"/>
                    </a:lnTo>
                    <a:lnTo>
                      <a:pt x="52" y="101"/>
                    </a:lnTo>
                    <a:lnTo>
                      <a:pt x="52" y="103"/>
                    </a:lnTo>
                    <a:lnTo>
                      <a:pt x="50" y="103"/>
                    </a:lnTo>
                    <a:lnTo>
                      <a:pt x="49" y="104"/>
                    </a:lnTo>
                    <a:lnTo>
                      <a:pt x="47" y="104"/>
                    </a:lnTo>
                    <a:lnTo>
                      <a:pt x="47" y="106"/>
                    </a:lnTo>
                    <a:lnTo>
                      <a:pt x="46" y="106"/>
                    </a:lnTo>
                    <a:lnTo>
                      <a:pt x="46" y="104"/>
                    </a:lnTo>
                    <a:lnTo>
                      <a:pt x="44" y="104"/>
                    </a:lnTo>
                    <a:lnTo>
                      <a:pt x="42" y="104"/>
                    </a:lnTo>
                    <a:lnTo>
                      <a:pt x="41" y="104"/>
                    </a:lnTo>
                    <a:lnTo>
                      <a:pt x="41" y="106"/>
                    </a:lnTo>
                    <a:lnTo>
                      <a:pt x="39" y="106"/>
                    </a:lnTo>
                    <a:lnTo>
                      <a:pt x="38" y="106"/>
                    </a:lnTo>
                    <a:lnTo>
                      <a:pt x="36" y="106"/>
                    </a:lnTo>
                    <a:lnTo>
                      <a:pt x="34" y="106"/>
                    </a:lnTo>
                    <a:lnTo>
                      <a:pt x="34" y="108"/>
                    </a:lnTo>
                    <a:lnTo>
                      <a:pt x="33" y="108"/>
                    </a:lnTo>
                    <a:lnTo>
                      <a:pt x="31" y="108"/>
                    </a:lnTo>
                    <a:lnTo>
                      <a:pt x="30" y="108"/>
                    </a:lnTo>
                    <a:lnTo>
                      <a:pt x="30" y="109"/>
                    </a:lnTo>
                    <a:lnTo>
                      <a:pt x="28" y="109"/>
                    </a:lnTo>
                    <a:lnTo>
                      <a:pt x="28" y="111"/>
                    </a:lnTo>
                    <a:lnTo>
                      <a:pt x="28" y="112"/>
                    </a:lnTo>
                    <a:lnTo>
                      <a:pt x="28" y="114"/>
                    </a:lnTo>
                    <a:lnTo>
                      <a:pt x="30" y="114"/>
                    </a:lnTo>
                    <a:lnTo>
                      <a:pt x="30" y="115"/>
                    </a:lnTo>
                    <a:lnTo>
                      <a:pt x="31" y="115"/>
                    </a:lnTo>
                    <a:lnTo>
                      <a:pt x="31" y="117"/>
                    </a:lnTo>
                    <a:lnTo>
                      <a:pt x="30" y="117"/>
                    </a:lnTo>
                    <a:lnTo>
                      <a:pt x="30" y="119"/>
                    </a:lnTo>
                    <a:lnTo>
                      <a:pt x="30" y="120"/>
                    </a:lnTo>
                    <a:lnTo>
                      <a:pt x="31" y="122"/>
                    </a:lnTo>
                    <a:lnTo>
                      <a:pt x="31" y="123"/>
                    </a:lnTo>
                    <a:lnTo>
                      <a:pt x="33" y="123"/>
                    </a:lnTo>
                    <a:lnTo>
                      <a:pt x="33" y="125"/>
                    </a:lnTo>
                    <a:lnTo>
                      <a:pt x="34" y="127"/>
                    </a:lnTo>
                    <a:lnTo>
                      <a:pt x="34" y="128"/>
                    </a:lnTo>
                    <a:lnTo>
                      <a:pt x="36" y="128"/>
                    </a:lnTo>
                    <a:lnTo>
                      <a:pt x="36" y="130"/>
                    </a:lnTo>
                    <a:lnTo>
                      <a:pt x="36" y="131"/>
                    </a:lnTo>
                    <a:lnTo>
                      <a:pt x="36" y="133"/>
                    </a:lnTo>
                    <a:lnTo>
                      <a:pt x="38" y="133"/>
                    </a:lnTo>
                    <a:lnTo>
                      <a:pt x="38" y="134"/>
                    </a:lnTo>
                    <a:lnTo>
                      <a:pt x="38" y="136"/>
                    </a:lnTo>
                    <a:lnTo>
                      <a:pt x="38" y="138"/>
                    </a:lnTo>
                    <a:lnTo>
                      <a:pt x="38" y="139"/>
                    </a:lnTo>
                    <a:lnTo>
                      <a:pt x="39" y="139"/>
                    </a:lnTo>
                    <a:lnTo>
                      <a:pt x="39" y="141"/>
                    </a:lnTo>
                    <a:lnTo>
                      <a:pt x="41" y="141"/>
                    </a:lnTo>
                    <a:lnTo>
                      <a:pt x="41" y="142"/>
                    </a:lnTo>
                    <a:lnTo>
                      <a:pt x="41" y="144"/>
                    </a:lnTo>
                    <a:lnTo>
                      <a:pt x="41" y="146"/>
                    </a:lnTo>
                    <a:lnTo>
                      <a:pt x="42" y="146"/>
                    </a:lnTo>
                    <a:lnTo>
                      <a:pt x="42" y="147"/>
                    </a:lnTo>
                    <a:lnTo>
                      <a:pt x="41" y="149"/>
                    </a:lnTo>
                    <a:lnTo>
                      <a:pt x="42" y="149"/>
                    </a:lnTo>
                    <a:lnTo>
                      <a:pt x="42" y="150"/>
                    </a:lnTo>
                    <a:lnTo>
                      <a:pt x="42" y="152"/>
                    </a:lnTo>
                    <a:lnTo>
                      <a:pt x="44" y="152"/>
                    </a:lnTo>
                    <a:lnTo>
                      <a:pt x="44" y="153"/>
                    </a:lnTo>
                    <a:lnTo>
                      <a:pt x="44" y="155"/>
                    </a:lnTo>
                    <a:lnTo>
                      <a:pt x="44" y="157"/>
                    </a:lnTo>
                    <a:lnTo>
                      <a:pt x="44" y="158"/>
                    </a:lnTo>
                    <a:lnTo>
                      <a:pt x="46" y="158"/>
                    </a:lnTo>
                    <a:lnTo>
                      <a:pt x="46" y="160"/>
                    </a:lnTo>
                    <a:lnTo>
                      <a:pt x="46" y="161"/>
                    </a:lnTo>
                    <a:lnTo>
                      <a:pt x="46" y="163"/>
                    </a:lnTo>
                    <a:lnTo>
                      <a:pt x="46" y="165"/>
                    </a:lnTo>
                    <a:lnTo>
                      <a:pt x="46" y="166"/>
                    </a:lnTo>
                    <a:lnTo>
                      <a:pt x="46" y="168"/>
                    </a:lnTo>
                    <a:lnTo>
                      <a:pt x="46" y="169"/>
                    </a:lnTo>
                    <a:lnTo>
                      <a:pt x="46" y="171"/>
                    </a:lnTo>
                    <a:lnTo>
                      <a:pt x="47" y="171"/>
                    </a:lnTo>
                    <a:lnTo>
                      <a:pt x="47" y="173"/>
                    </a:lnTo>
                    <a:lnTo>
                      <a:pt x="47" y="174"/>
                    </a:lnTo>
                    <a:lnTo>
                      <a:pt x="47" y="176"/>
                    </a:lnTo>
                    <a:lnTo>
                      <a:pt x="47" y="177"/>
                    </a:lnTo>
                    <a:lnTo>
                      <a:pt x="47" y="179"/>
                    </a:lnTo>
                    <a:lnTo>
                      <a:pt x="47" y="182"/>
                    </a:lnTo>
                    <a:lnTo>
                      <a:pt x="47" y="184"/>
                    </a:lnTo>
                    <a:lnTo>
                      <a:pt x="47" y="185"/>
                    </a:lnTo>
                    <a:lnTo>
                      <a:pt x="47" y="187"/>
                    </a:lnTo>
                    <a:lnTo>
                      <a:pt x="47" y="188"/>
                    </a:lnTo>
                    <a:lnTo>
                      <a:pt x="47" y="190"/>
                    </a:lnTo>
                    <a:lnTo>
                      <a:pt x="49" y="192"/>
                    </a:lnTo>
                    <a:lnTo>
                      <a:pt x="49" y="193"/>
                    </a:lnTo>
                    <a:lnTo>
                      <a:pt x="49" y="195"/>
                    </a:lnTo>
                    <a:lnTo>
                      <a:pt x="49" y="196"/>
                    </a:lnTo>
                    <a:lnTo>
                      <a:pt x="49" y="198"/>
                    </a:lnTo>
                    <a:lnTo>
                      <a:pt x="50" y="198"/>
                    </a:lnTo>
                    <a:lnTo>
                      <a:pt x="50" y="199"/>
                    </a:lnTo>
                    <a:lnTo>
                      <a:pt x="52" y="199"/>
                    </a:lnTo>
                    <a:lnTo>
                      <a:pt x="52" y="201"/>
                    </a:lnTo>
                    <a:lnTo>
                      <a:pt x="53" y="201"/>
                    </a:lnTo>
                    <a:lnTo>
                      <a:pt x="53" y="203"/>
                    </a:lnTo>
                    <a:lnTo>
                      <a:pt x="55" y="204"/>
                    </a:lnTo>
                    <a:lnTo>
                      <a:pt x="55" y="206"/>
                    </a:lnTo>
                    <a:lnTo>
                      <a:pt x="57" y="206"/>
                    </a:lnTo>
                    <a:lnTo>
                      <a:pt x="57" y="207"/>
                    </a:lnTo>
                    <a:lnTo>
                      <a:pt x="58" y="209"/>
                    </a:lnTo>
                    <a:lnTo>
                      <a:pt x="58" y="211"/>
                    </a:lnTo>
                    <a:lnTo>
                      <a:pt x="60" y="211"/>
                    </a:lnTo>
                    <a:lnTo>
                      <a:pt x="60" y="212"/>
                    </a:lnTo>
                    <a:lnTo>
                      <a:pt x="61" y="212"/>
                    </a:lnTo>
                    <a:lnTo>
                      <a:pt x="63" y="212"/>
                    </a:lnTo>
                    <a:lnTo>
                      <a:pt x="65" y="212"/>
                    </a:lnTo>
                    <a:lnTo>
                      <a:pt x="66" y="212"/>
                    </a:lnTo>
                    <a:lnTo>
                      <a:pt x="68" y="212"/>
                    </a:lnTo>
                    <a:lnTo>
                      <a:pt x="69" y="211"/>
                    </a:lnTo>
                    <a:lnTo>
                      <a:pt x="71" y="211"/>
                    </a:lnTo>
                    <a:lnTo>
                      <a:pt x="72" y="211"/>
                    </a:lnTo>
                    <a:lnTo>
                      <a:pt x="74" y="211"/>
                    </a:lnTo>
                    <a:lnTo>
                      <a:pt x="74" y="212"/>
                    </a:lnTo>
                    <a:lnTo>
                      <a:pt x="74" y="211"/>
                    </a:lnTo>
                    <a:lnTo>
                      <a:pt x="76" y="211"/>
                    </a:lnTo>
                    <a:lnTo>
                      <a:pt x="77" y="211"/>
                    </a:lnTo>
                    <a:lnTo>
                      <a:pt x="77" y="212"/>
                    </a:lnTo>
                    <a:lnTo>
                      <a:pt x="79" y="214"/>
                    </a:lnTo>
                    <a:lnTo>
                      <a:pt x="79" y="212"/>
                    </a:lnTo>
                    <a:lnTo>
                      <a:pt x="80" y="212"/>
                    </a:lnTo>
                    <a:lnTo>
                      <a:pt x="82" y="212"/>
                    </a:lnTo>
                    <a:lnTo>
                      <a:pt x="84" y="212"/>
                    </a:lnTo>
                    <a:lnTo>
                      <a:pt x="84" y="211"/>
                    </a:lnTo>
                    <a:lnTo>
                      <a:pt x="85" y="211"/>
                    </a:lnTo>
                    <a:lnTo>
                      <a:pt x="85" y="209"/>
                    </a:lnTo>
                    <a:lnTo>
                      <a:pt x="85" y="207"/>
                    </a:lnTo>
                    <a:lnTo>
                      <a:pt x="84" y="207"/>
                    </a:lnTo>
                    <a:lnTo>
                      <a:pt x="84" y="206"/>
                    </a:lnTo>
                    <a:lnTo>
                      <a:pt x="85" y="206"/>
                    </a:lnTo>
                    <a:lnTo>
                      <a:pt x="87" y="206"/>
                    </a:lnTo>
                    <a:lnTo>
                      <a:pt x="87" y="204"/>
                    </a:lnTo>
                    <a:lnTo>
                      <a:pt x="88" y="204"/>
                    </a:lnTo>
                    <a:lnTo>
                      <a:pt x="90" y="204"/>
                    </a:lnTo>
                    <a:lnTo>
                      <a:pt x="91" y="203"/>
                    </a:lnTo>
                    <a:lnTo>
                      <a:pt x="91" y="204"/>
                    </a:lnTo>
                    <a:lnTo>
                      <a:pt x="93" y="204"/>
                    </a:lnTo>
                    <a:lnTo>
                      <a:pt x="95" y="204"/>
                    </a:lnTo>
                    <a:lnTo>
                      <a:pt x="95" y="203"/>
                    </a:lnTo>
                    <a:lnTo>
                      <a:pt x="96" y="203"/>
                    </a:lnTo>
                    <a:lnTo>
                      <a:pt x="96" y="201"/>
                    </a:lnTo>
                    <a:lnTo>
                      <a:pt x="98" y="201"/>
                    </a:lnTo>
                    <a:lnTo>
                      <a:pt x="99" y="201"/>
                    </a:lnTo>
                    <a:lnTo>
                      <a:pt x="101" y="201"/>
                    </a:lnTo>
                    <a:lnTo>
                      <a:pt x="103" y="201"/>
                    </a:lnTo>
                    <a:lnTo>
                      <a:pt x="104" y="201"/>
                    </a:lnTo>
                    <a:lnTo>
                      <a:pt x="106" y="201"/>
                    </a:lnTo>
                    <a:lnTo>
                      <a:pt x="107" y="201"/>
                    </a:lnTo>
                    <a:lnTo>
                      <a:pt x="107" y="203"/>
                    </a:lnTo>
                    <a:lnTo>
                      <a:pt x="109" y="203"/>
                    </a:lnTo>
                    <a:lnTo>
                      <a:pt x="110" y="203"/>
                    </a:lnTo>
                    <a:lnTo>
                      <a:pt x="112" y="203"/>
                    </a:lnTo>
                    <a:lnTo>
                      <a:pt x="114" y="204"/>
                    </a:lnTo>
                    <a:lnTo>
                      <a:pt x="115" y="204"/>
                    </a:lnTo>
                    <a:lnTo>
                      <a:pt x="117" y="204"/>
                    </a:lnTo>
                    <a:lnTo>
                      <a:pt x="118" y="203"/>
                    </a:lnTo>
                    <a:lnTo>
                      <a:pt x="120" y="203"/>
                    </a:lnTo>
                    <a:lnTo>
                      <a:pt x="122" y="203"/>
                    </a:lnTo>
                    <a:lnTo>
                      <a:pt x="123" y="203"/>
                    </a:lnTo>
                    <a:lnTo>
                      <a:pt x="125" y="203"/>
                    </a:lnTo>
                    <a:lnTo>
                      <a:pt x="126" y="203"/>
                    </a:lnTo>
                    <a:lnTo>
                      <a:pt x="128" y="203"/>
                    </a:lnTo>
                    <a:lnTo>
                      <a:pt x="129" y="203"/>
                    </a:lnTo>
                    <a:lnTo>
                      <a:pt x="131" y="203"/>
                    </a:lnTo>
                    <a:lnTo>
                      <a:pt x="133" y="204"/>
                    </a:lnTo>
                    <a:lnTo>
                      <a:pt x="133" y="206"/>
                    </a:lnTo>
                    <a:lnTo>
                      <a:pt x="133" y="207"/>
                    </a:lnTo>
                    <a:lnTo>
                      <a:pt x="133" y="209"/>
                    </a:lnTo>
                    <a:lnTo>
                      <a:pt x="134" y="211"/>
                    </a:lnTo>
                    <a:lnTo>
                      <a:pt x="134" y="212"/>
                    </a:lnTo>
                    <a:lnTo>
                      <a:pt x="136" y="214"/>
                    </a:lnTo>
                    <a:lnTo>
                      <a:pt x="136" y="215"/>
                    </a:lnTo>
                    <a:lnTo>
                      <a:pt x="136" y="217"/>
                    </a:lnTo>
                    <a:lnTo>
                      <a:pt x="136" y="218"/>
                    </a:lnTo>
                    <a:lnTo>
                      <a:pt x="136" y="220"/>
                    </a:lnTo>
                    <a:lnTo>
                      <a:pt x="136" y="222"/>
                    </a:lnTo>
                    <a:lnTo>
                      <a:pt x="134" y="222"/>
                    </a:lnTo>
                    <a:lnTo>
                      <a:pt x="134" y="223"/>
                    </a:lnTo>
                    <a:lnTo>
                      <a:pt x="134" y="225"/>
                    </a:lnTo>
                    <a:lnTo>
                      <a:pt x="133" y="225"/>
                    </a:lnTo>
                    <a:lnTo>
                      <a:pt x="134" y="225"/>
                    </a:lnTo>
                    <a:lnTo>
                      <a:pt x="136" y="225"/>
                    </a:lnTo>
                    <a:lnTo>
                      <a:pt x="137" y="225"/>
                    </a:lnTo>
                    <a:lnTo>
                      <a:pt x="139" y="223"/>
                    </a:lnTo>
                    <a:lnTo>
                      <a:pt x="141" y="223"/>
                    </a:lnTo>
                    <a:lnTo>
                      <a:pt x="142" y="223"/>
                    </a:lnTo>
                    <a:lnTo>
                      <a:pt x="144" y="223"/>
                    </a:lnTo>
                    <a:lnTo>
                      <a:pt x="145" y="223"/>
                    </a:lnTo>
                    <a:lnTo>
                      <a:pt x="147" y="222"/>
                    </a:lnTo>
                    <a:lnTo>
                      <a:pt x="148" y="222"/>
                    </a:lnTo>
                    <a:lnTo>
                      <a:pt x="148" y="220"/>
                    </a:lnTo>
                    <a:lnTo>
                      <a:pt x="150" y="220"/>
                    </a:lnTo>
                    <a:lnTo>
                      <a:pt x="150" y="218"/>
                    </a:lnTo>
                    <a:lnTo>
                      <a:pt x="152" y="218"/>
                    </a:lnTo>
                    <a:lnTo>
                      <a:pt x="153" y="218"/>
                    </a:lnTo>
                    <a:lnTo>
                      <a:pt x="155" y="218"/>
                    </a:lnTo>
                    <a:lnTo>
                      <a:pt x="156" y="217"/>
                    </a:lnTo>
                    <a:lnTo>
                      <a:pt x="156" y="215"/>
                    </a:lnTo>
                    <a:lnTo>
                      <a:pt x="158" y="215"/>
                    </a:lnTo>
                    <a:lnTo>
                      <a:pt x="158" y="214"/>
                    </a:lnTo>
                    <a:lnTo>
                      <a:pt x="158" y="212"/>
                    </a:lnTo>
                    <a:lnTo>
                      <a:pt x="158" y="211"/>
                    </a:lnTo>
                    <a:lnTo>
                      <a:pt x="160" y="211"/>
                    </a:lnTo>
                    <a:lnTo>
                      <a:pt x="161" y="211"/>
                    </a:lnTo>
                    <a:lnTo>
                      <a:pt x="163" y="211"/>
                    </a:lnTo>
                    <a:lnTo>
                      <a:pt x="164" y="211"/>
                    </a:lnTo>
                    <a:lnTo>
                      <a:pt x="166" y="211"/>
                    </a:lnTo>
                    <a:lnTo>
                      <a:pt x="167" y="211"/>
                    </a:lnTo>
                    <a:lnTo>
                      <a:pt x="169" y="211"/>
                    </a:lnTo>
                    <a:lnTo>
                      <a:pt x="171" y="211"/>
                    </a:lnTo>
                    <a:lnTo>
                      <a:pt x="172" y="209"/>
                    </a:lnTo>
                    <a:lnTo>
                      <a:pt x="174" y="209"/>
                    </a:lnTo>
                    <a:lnTo>
                      <a:pt x="175" y="209"/>
                    </a:lnTo>
                    <a:lnTo>
                      <a:pt x="179" y="209"/>
                    </a:lnTo>
                    <a:lnTo>
                      <a:pt x="180" y="211"/>
                    </a:lnTo>
                    <a:lnTo>
                      <a:pt x="182" y="211"/>
                    </a:lnTo>
                    <a:lnTo>
                      <a:pt x="183" y="209"/>
                    </a:lnTo>
                    <a:lnTo>
                      <a:pt x="185" y="209"/>
                    </a:lnTo>
                    <a:lnTo>
                      <a:pt x="186" y="209"/>
                    </a:lnTo>
                    <a:lnTo>
                      <a:pt x="188" y="209"/>
                    </a:lnTo>
                    <a:lnTo>
                      <a:pt x="190" y="209"/>
                    </a:lnTo>
                    <a:lnTo>
                      <a:pt x="191" y="207"/>
                    </a:lnTo>
                    <a:lnTo>
                      <a:pt x="193" y="207"/>
                    </a:lnTo>
                    <a:lnTo>
                      <a:pt x="194" y="206"/>
                    </a:lnTo>
                    <a:lnTo>
                      <a:pt x="196" y="206"/>
                    </a:lnTo>
                    <a:lnTo>
                      <a:pt x="198" y="206"/>
                    </a:lnTo>
                    <a:lnTo>
                      <a:pt x="201" y="206"/>
                    </a:lnTo>
                    <a:lnTo>
                      <a:pt x="202" y="206"/>
                    </a:lnTo>
                    <a:lnTo>
                      <a:pt x="204" y="204"/>
                    </a:lnTo>
                    <a:lnTo>
                      <a:pt x="205" y="204"/>
                    </a:lnTo>
                    <a:lnTo>
                      <a:pt x="205" y="206"/>
                    </a:lnTo>
                    <a:lnTo>
                      <a:pt x="204" y="207"/>
                    </a:lnTo>
                    <a:lnTo>
                      <a:pt x="204" y="209"/>
                    </a:lnTo>
                    <a:lnTo>
                      <a:pt x="204" y="211"/>
                    </a:lnTo>
                    <a:lnTo>
                      <a:pt x="202" y="212"/>
                    </a:lnTo>
                    <a:lnTo>
                      <a:pt x="201" y="214"/>
                    </a:lnTo>
                    <a:lnTo>
                      <a:pt x="201" y="215"/>
                    </a:lnTo>
                    <a:lnTo>
                      <a:pt x="199" y="217"/>
                    </a:lnTo>
                    <a:lnTo>
                      <a:pt x="199" y="218"/>
                    </a:lnTo>
                    <a:lnTo>
                      <a:pt x="199" y="220"/>
                    </a:lnTo>
                    <a:lnTo>
                      <a:pt x="198" y="222"/>
                    </a:lnTo>
                    <a:lnTo>
                      <a:pt x="198" y="223"/>
                    </a:lnTo>
                    <a:lnTo>
                      <a:pt x="198" y="225"/>
                    </a:lnTo>
                    <a:lnTo>
                      <a:pt x="199" y="226"/>
                    </a:lnTo>
                    <a:lnTo>
                      <a:pt x="199" y="228"/>
                    </a:lnTo>
                    <a:lnTo>
                      <a:pt x="199" y="231"/>
                    </a:lnTo>
                    <a:lnTo>
                      <a:pt x="199" y="233"/>
                    </a:lnTo>
                    <a:lnTo>
                      <a:pt x="199" y="234"/>
                    </a:lnTo>
                    <a:lnTo>
                      <a:pt x="199" y="236"/>
                    </a:lnTo>
                    <a:lnTo>
                      <a:pt x="201" y="239"/>
                    </a:lnTo>
                    <a:lnTo>
                      <a:pt x="201" y="242"/>
                    </a:lnTo>
                    <a:lnTo>
                      <a:pt x="202" y="242"/>
                    </a:lnTo>
                    <a:lnTo>
                      <a:pt x="202" y="244"/>
                    </a:lnTo>
                    <a:lnTo>
                      <a:pt x="204" y="245"/>
                    </a:lnTo>
                    <a:lnTo>
                      <a:pt x="205" y="249"/>
                    </a:lnTo>
                    <a:lnTo>
                      <a:pt x="205" y="250"/>
                    </a:lnTo>
                    <a:lnTo>
                      <a:pt x="209" y="252"/>
                    </a:lnTo>
                    <a:lnTo>
                      <a:pt x="209" y="253"/>
                    </a:lnTo>
                    <a:lnTo>
                      <a:pt x="210" y="255"/>
                    </a:lnTo>
                    <a:lnTo>
                      <a:pt x="210" y="256"/>
                    </a:lnTo>
                    <a:lnTo>
                      <a:pt x="210" y="258"/>
                    </a:lnTo>
                    <a:lnTo>
                      <a:pt x="210" y="260"/>
                    </a:lnTo>
                    <a:lnTo>
                      <a:pt x="210" y="261"/>
                    </a:lnTo>
                    <a:lnTo>
                      <a:pt x="210" y="263"/>
                    </a:lnTo>
                    <a:lnTo>
                      <a:pt x="209" y="264"/>
                    </a:lnTo>
                    <a:lnTo>
                      <a:pt x="209" y="268"/>
                    </a:lnTo>
                    <a:lnTo>
                      <a:pt x="209" y="269"/>
                    </a:lnTo>
                    <a:lnTo>
                      <a:pt x="210" y="271"/>
                    </a:lnTo>
                    <a:lnTo>
                      <a:pt x="210" y="272"/>
                    </a:lnTo>
                    <a:lnTo>
                      <a:pt x="210" y="274"/>
                    </a:lnTo>
                    <a:lnTo>
                      <a:pt x="212" y="274"/>
                    </a:lnTo>
                    <a:lnTo>
                      <a:pt x="213" y="277"/>
                    </a:lnTo>
                    <a:lnTo>
                      <a:pt x="215" y="279"/>
                    </a:lnTo>
                    <a:lnTo>
                      <a:pt x="217" y="280"/>
                    </a:lnTo>
                    <a:lnTo>
                      <a:pt x="217" y="282"/>
                    </a:lnTo>
                    <a:lnTo>
                      <a:pt x="218" y="283"/>
                    </a:lnTo>
                    <a:lnTo>
                      <a:pt x="218" y="285"/>
                    </a:lnTo>
                    <a:lnTo>
                      <a:pt x="218" y="288"/>
                    </a:lnTo>
                    <a:lnTo>
                      <a:pt x="218" y="290"/>
                    </a:lnTo>
                    <a:lnTo>
                      <a:pt x="220" y="290"/>
                    </a:lnTo>
                    <a:lnTo>
                      <a:pt x="220" y="291"/>
                    </a:lnTo>
                    <a:lnTo>
                      <a:pt x="218" y="293"/>
                    </a:lnTo>
                    <a:lnTo>
                      <a:pt x="220" y="295"/>
                    </a:lnTo>
                    <a:lnTo>
                      <a:pt x="220" y="296"/>
                    </a:lnTo>
                    <a:lnTo>
                      <a:pt x="218" y="301"/>
                    </a:lnTo>
                    <a:lnTo>
                      <a:pt x="218" y="302"/>
                    </a:lnTo>
                    <a:lnTo>
                      <a:pt x="218" y="304"/>
                    </a:lnTo>
                    <a:lnTo>
                      <a:pt x="220" y="306"/>
                    </a:lnTo>
                    <a:lnTo>
                      <a:pt x="220" y="307"/>
                    </a:lnTo>
                    <a:lnTo>
                      <a:pt x="220" y="309"/>
                    </a:lnTo>
                    <a:lnTo>
                      <a:pt x="221" y="309"/>
                    </a:lnTo>
                    <a:lnTo>
                      <a:pt x="223" y="310"/>
                    </a:lnTo>
                    <a:lnTo>
                      <a:pt x="223" y="312"/>
                    </a:lnTo>
                    <a:lnTo>
                      <a:pt x="224" y="312"/>
                    </a:lnTo>
                    <a:lnTo>
                      <a:pt x="226" y="314"/>
                    </a:lnTo>
                    <a:lnTo>
                      <a:pt x="226" y="315"/>
                    </a:lnTo>
                    <a:lnTo>
                      <a:pt x="228" y="315"/>
                    </a:lnTo>
                    <a:lnTo>
                      <a:pt x="228" y="317"/>
                    </a:lnTo>
                    <a:lnTo>
                      <a:pt x="228" y="318"/>
                    </a:lnTo>
                    <a:lnTo>
                      <a:pt x="226" y="318"/>
                    </a:lnTo>
                    <a:lnTo>
                      <a:pt x="226" y="320"/>
                    </a:lnTo>
                    <a:lnTo>
                      <a:pt x="224" y="321"/>
                    </a:lnTo>
                    <a:lnTo>
                      <a:pt x="228" y="325"/>
                    </a:lnTo>
                    <a:lnTo>
                      <a:pt x="231" y="323"/>
                    </a:lnTo>
                    <a:lnTo>
                      <a:pt x="234" y="323"/>
                    </a:lnTo>
                    <a:lnTo>
                      <a:pt x="232" y="334"/>
                    </a:lnTo>
                    <a:lnTo>
                      <a:pt x="232" y="340"/>
                    </a:lnTo>
                    <a:lnTo>
                      <a:pt x="232" y="350"/>
                    </a:lnTo>
                    <a:lnTo>
                      <a:pt x="231" y="356"/>
                    </a:lnTo>
                    <a:lnTo>
                      <a:pt x="232" y="366"/>
                    </a:lnTo>
                    <a:lnTo>
                      <a:pt x="237" y="371"/>
                    </a:lnTo>
                    <a:lnTo>
                      <a:pt x="240" y="375"/>
                    </a:lnTo>
                    <a:lnTo>
                      <a:pt x="244" y="382"/>
                    </a:lnTo>
                    <a:lnTo>
                      <a:pt x="248" y="388"/>
                    </a:lnTo>
                    <a:lnTo>
                      <a:pt x="255" y="393"/>
                    </a:lnTo>
                    <a:lnTo>
                      <a:pt x="259" y="397"/>
                    </a:lnTo>
                    <a:lnTo>
                      <a:pt x="264" y="397"/>
                    </a:lnTo>
                    <a:lnTo>
                      <a:pt x="269" y="405"/>
                    </a:lnTo>
                    <a:lnTo>
                      <a:pt x="270" y="412"/>
                    </a:lnTo>
                    <a:lnTo>
                      <a:pt x="269" y="412"/>
                    </a:lnTo>
                    <a:lnTo>
                      <a:pt x="269" y="413"/>
                    </a:lnTo>
                    <a:lnTo>
                      <a:pt x="267" y="413"/>
                    </a:lnTo>
                    <a:lnTo>
                      <a:pt x="267" y="415"/>
                    </a:lnTo>
                    <a:lnTo>
                      <a:pt x="266" y="417"/>
                    </a:lnTo>
                    <a:lnTo>
                      <a:pt x="266" y="418"/>
                    </a:lnTo>
                    <a:lnTo>
                      <a:pt x="267" y="423"/>
                    </a:lnTo>
                    <a:lnTo>
                      <a:pt x="267" y="424"/>
                    </a:lnTo>
                    <a:lnTo>
                      <a:pt x="269" y="424"/>
                    </a:lnTo>
                    <a:lnTo>
                      <a:pt x="269" y="426"/>
                    </a:lnTo>
                    <a:lnTo>
                      <a:pt x="272" y="429"/>
                    </a:lnTo>
                    <a:lnTo>
                      <a:pt x="272" y="431"/>
                    </a:lnTo>
                    <a:lnTo>
                      <a:pt x="274" y="432"/>
                    </a:lnTo>
                    <a:lnTo>
                      <a:pt x="275" y="434"/>
                    </a:lnTo>
                    <a:lnTo>
                      <a:pt x="275" y="436"/>
                    </a:lnTo>
                    <a:lnTo>
                      <a:pt x="277" y="437"/>
                    </a:lnTo>
                    <a:lnTo>
                      <a:pt x="278" y="440"/>
                    </a:lnTo>
                    <a:lnTo>
                      <a:pt x="280" y="442"/>
                    </a:lnTo>
                    <a:lnTo>
                      <a:pt x="280" y="443"/>
                    </a:lnTo>
                    <a:lnTo>
                      <a:pt x="282" y="445"/>
                    </a:lnTo>
                    <a:lnTo>
                      <a:pt x="283" y="447"/>
                    </a:lnTo>
                    <a:lnTo>
                      <a:pt x="285" y="448"/>
                    </a:lnTo>
                    <a:lnTo>
                      <a:pt x="285" y="450"/>
                    </a:lnTo>
                    <a:lnTo>
                      <a:pt x="286" y="451"/>
                    </a:lnTo>
                    <a:lnTo>
                      <a:pt x="286" y="453"/>
                    </a:lnTo>
                    <a:lnTo>
                      <a:pt x="288" y="456"/>
                    </a:lnTo>
                    <a:lnTo>
                      <a:pt x="288" y="459"/>
                    </a:lnTo>
                    <a:lnTo>
                      <a:pt x="288" y="461"/>
                    </a:lnTo>
                    <a:lnTo>
                      <a:pt x="288" y="466"/>
                    </a:lnTo>
                    <a:lnTo>
                      <a:pt x="288" y="470"/>
                    </a:lnTo>
                    <a:lnTo>
                      <a:pt x="288" y="474"/>
                    </a:lnTo>
                    <a:lnTo>
                      <a:pt x="289" y="475"/>
                    </a:lnTo>
                    <a:lnTo>
                      <a:pt x="289" y="478"/>
                    </a:lnTo>
                    <a:lnTo>
                      <a:pt x="289" y="480"/>
                    </a:lnTo>
                    <a:lnTo>
                      <a:pt x="289" y="481"/>
                    </a:lnTo>
                    <a:lnTo>
                      <a:pt x="289" y="483"/>
                    </a:lnTo>
                    <a:lnTo>
                      <a:pt x="288" y="486"/>
                    </a:lnTo>
                    <a:lnTo>
                      <a:pt x="288" y="489"/>
                    </a:lnTo>
                    <a:lnTo>
                      <a:pt x="288" y="493"/>
                    </a:lnTo>
                    <a:lnTo>
                      <a:pt x="288" y="494"/>
                    </a:lnTo>
                    <a:lnTo>
                      <a:pt x="289" y="496"/>
                    </a:lnTo>
                    <a:lnTo>
                      <a:pt x="291" y="497"/>
                    </a:lnTo>
                    <a:lnTo>
                      <a:pt x="293" y="497"/>
                    </a:lnTo>
                    <a:lnTo>
                      <a:pt x="297" y="499"/>
                    </a:lnTo>
                    <a:lnTo>
                      <a:pt x="299" y="499"/>
                    </a:lnTo>
                    <a:lnTo>
                      <a:pt x="301" y="499"/>
                    </a:lnTo>
                    <a:lnTo>
                      <a:pt x="302" y="499"/>
                    </a:lnTo>
                    <a:lnTo>
                      <a:pt x="302" y="500"/>
                    </a:lnTo>
                    <a:lnTo>
                      <a:pt x="302" y="502"/>
                    </a:lnTo>
                    <a:lnTo>
                      <a:pt x="304" y="504"/>
                    </a:lnTo>
                    <a:lnTo>
                      <a:pt x="305" y="505"/>
                    </a:lnTo>
                    <a:lnTo>
                      <a:pt x="307" y="508"/>
                    </a:lnTo>
                    <a:lnTo>
                      <a:pt x="307" y="510"/>
                    </a:lnTo>
                    <a:lnTo>
                      <a:pt x="308" y="510"/>
                    </a:lnTo>
                    <a:lnTo>
                      <a:pt x="310" y="513"/>
                    </a:lnTo>
                    <a:lnTo>
                      <a:pt x="312" y="516"/>
                    </a:lnTo>
                    <a:lnTo>
                      <a:pt x="315" y="523"/>
                    </a:lnTo>
                    <a:lnTo>
                      <a:pt x="316" y="526"/>
                    </a:lnTo>
                    <a:lnTo>
                      <a:pt x="318" y="527"/>
                    </a:lnTo>
                    <a:lnTo>
                      <a:pt x="320" y="531"/>
                    </a:lnTo>
                    <a:lnTo>
                      <a:pt x="321" y="532"/>
                    </a:lnTo>
                    <a:lnTo>
                      <a:pt x="321" y="534"/>
                    </a:lnTo>
                    <a:lnTo>
                      <a:pt x="321" y="537"/>
                    </a:lnTo>
                    <a:lnTo>
                      <a:pt x="323" y="540"/>
                    </a:lnTo>
                    <a:lnTo>
                      <a:pt x="323" y="542"/>
                    </a:lnTo>
                    <a:lnTo>
                      <a:pt x="323" y="545"/>
                    </a:lnTo>
                    <a:lnTo>
                      <a:pt x="323" y="548"/>
                    </a:lnTo>
                    <a:lnTo>
                      <a:pt x="324" y="550"/>
                    </a:lnTo>
                    <a:lnTo>
                      <a:pt x="324" y="553"/>
                    </a:lnTo>
                    <a:lnTo>
                      <a:pt x="324" y="556"/>
                    </a:lnTo>
                    <a:lnTo>
                      <a:pt x="324" y="558"/>
                    </a:lnTo>
                    <a:lnTo>
                      <a:pt x="324" y="562"/>
                    </a:lnTo>
                    <a:lnTo>
                      <a:pt x="326" y="565"/>
                    </a:lnTo>
                    <a:lnTo>
                      <a:pt x="326" y="567"/>
                    </a:lnTo>
                    <a:lnTo>
                      <a:pt x="326" y="573"/>
                    </a:lnTo>
                    <a:lnTo>
                      <a:pt x="326" y="577"/>
                    </a:lnTo>
                    <a:lnTo>
                      <a:pt x="324" y="580"/>
                    </a:lnTo>
                    <a:lnTo>
                      <a:pt x="323" y="583"/>
                    </a:lnTo>
                    <a:lnTo>
                      <a:pt x="323" y="584"/>
                    </a:lnTo>
                    <a:lnTo>
                      <a:pt x="321" y="588"/>
                    </a:lnTo>
                    <a:lnTo>
                      <a:pt x="318" y="589"/>
                    </a:lnTo>
                    <a:lnTo>
                      <a:pt x="316" y="592"/>
                    </a:lnTo>
                    <a:lnTo>
                      <a:pt x="315" y="596"/>
                    </a:lnTo>
                    <a:lnTo>
                      <a:pt x="313" y="602"/>
                    </a:lnTo>
                    <a:lnTo>
                      <a:pt x="310" y="605"/>
                    </a:lnTo>
                    <a:lnTo>
                      <a:pt x="310" y="607"/>
                    </a:lnTo>
                    <a:lnTo>
                      <a:pt x="308" y="607"/>
                    </a:lnTo>
                    <a:lnTo>
                      <a:pt x="305" y="608"/>
                    </a:lnTo>
                    <a:lnTo>
                      <a:pt x="305" y="610"/>
                    </a:lnTo>
                    <a:lnTo>
                      <a:pt x="305" y="611"/>
                    </a:lnTo>
                    <a:lnTo>
                      <a:pt x="307" y="615"/>
                    </a:lnTo>
                    <a:lnTo>
                      <a:pt x="308" y="616"/>
                    </a:lnTo>
                    <a:lnTo>
                      <a:pt x="310" y="616"/>
                    </a:lnTo>
                    <a:lnTo>
                      <a:pt x="312" y="616"/>
                    </a:lnTo>
                    <a:lnTo>
                      <a:pt x="313" y="616"/>
                    </a:lnTo>
                    <a:lnTo>
                      <a:pt x="313" y="618"/>
                    </a:lnTo>
                    <a:lnTo>
                      <a:pt x="315" y="621"/>
                    </a:lnTo>
                    <a:lnTo>
                      <a:pt x="316" y="622"/>
                    </a:lnTo>
                    <a:lnTo>
                      <a:pt x="316" y="626"/>
                    </a:lnTo>
                    <a:lnTo>
                      <a:pt x="316" y="627"/>
                    </a:lnTo>
                    <a:lnTo>
                      <a:pt x="316" y="629"/>
                    </a:lnTo>
                    <a:lnTo>
                      <a:pt x="316" y="630"/>
                    </a:lnTo>
                    <a:lnTo>
                      <a:pt x="316" y="632"/>
                    </a:lnTo>
                    <a:lnTo>
                      <a:pt x="315" y="635"/>
                    </a:lnTo>
                    <a:lnTo>
                      <a:pt x="313" y="638"/>
                    </a:lnTo>
                    <a:lnTo>
                      <a:pt x="312" y="642"/>
                    </a:lnTo>
                    <a:lnTo>
                      <a:pt x="308" y="648"/>
                    </a:lnTo>
                    <a:lnTo>
                      <a:pt x="307" y="651"/>
                    </a:lnTo>
                    <a:lnTo>
                      <a:pt x="305" y="654"/>
                    </a:lnTo>
                    <a:lnTo>
                      <a:pt x="304" y="656"/>
                    </a:lnTo>
                    <a:lnTo>
                      <a:pt x="302" y="656"/>
                    </a:lnTo>
                    <a:lnTo>
                      <a:pt x="302" y="659"/>
                    </a:lnTo>
                    <a:lnTo>
                      <a:pt x="301" y="661"/>
                    </a:lnTo>
                    <a:lnTo>
                      <a:pt x="301" y="662"/>
                    </a:lnTo>
                    <a:lnTo>
                      <a:pt x="301" y="664"/>
                    </a:lnTo>
                    <a:lnTo>
                      <a:pt x="301" y="665"/>
                    </a:lnTo>
                    <a:lnTo>
                      <a:pt x="301" y="667"/>
                    </a:lnTo>
                    <a:lnTo>
                      <a:pt x="302" y="670"/>
                    </a:lnTo>
                    <a:lnTo>
                      <a:pt x="304" y="672"/>
                    </a:lnTo>
                    <a:lnTo>
                      <a:pt x="305" y="675"/>
                    </a:lnTo>
                    <a:lnTo>
                      <a:pt x="307" y="678"/>
                    </a:lnTo>
                    <a:lnTo>
                      <a:pt x="308" y="680"/>
                    </a:lnTo>
                    <a:lnTo>
                      <a:pt x="310" y="681"/>
                    </a:lnTo>
                    <a:lnTo>
                      <a:pt x="312" y="684"/>
                    </a:lnTo>
                    <a:lnTo>
                      <a:pt x="316" y="689"/>
                    </a:lnTo>
                    <a:lnTo>
                      <a:pt x="316" y="691"/>
                    </a:lnTo>
                    <a:lnTo>
                      <a:pt x="315" y="697"/>
                    </a:lnTo>
                    <a:lnTo>
                      <a:pt x="313" y="702"/>
                    </a:lnTo>
                    <a:lnTo>
                      <a:pt x="312" y="711"/>
                    </a:lnTo>
                    <a:lnTo>
                      <a:pt x="312" y="713"/>
                    </a:lnTo>
                    <a:lnTo>
                      <a:pt x="313" y="719"/>
                    </a:lnTo>
                    <a:lnTo>
                      <a:pt x="313" y="724"/>
                    </a:lnTo>
                    <a:lnTo>
                      <a:pt x="315" y="727"/>
                    </a:lnTo>
                    <a:lnTo>
                      <a:pt x="316" y="730"/>
                    </a:lnTo>
                    <a:lnTo>
                      <a:pt x="318" y="735"/>
                    </a:lnTo>
                    <a:lnTo>
                      <a:pt x="320" y="737"/>
                    </a:lnTo>
                    <a:lnTo>
                      <a:pt x="321" y="743"/>
                    </a:lnTo>
                    <a:lnTo>
                      <a:pt x="323" y="748"/>
                    </a:lnTo>
                    <a:lnTo>
                      <a:pt x="321" y="751"/>
                    </a:lnTo>
                    <a:lnTo>
                      <a:pt x="321" y="752"/>
                    </a:lnTo>
                    <a:lnTo>
                      <a:pt x="320" y="754"/>
                    </a:lnTo>
                    <a:lnTo>
                      <a:pt x="316" y="754"/>
                    </a:lnTo>
                    <a:lnTo>
                      <a:pt x="315" y="754"/>
                    </a:lnTo>
                    <a:lnTo>
                      <a:pt x="315" y="756"/>
                    </a:lnTo>
                    <a:lnTo>
                      <a:pt x="315" y="757"/>
                    </a:lnTo>
                    <a:lnTo>
                      <a:pt x="315" y="759"/>
                    </a:lnTo>
                    <a:lnTo>
                      <a:pt x="315" y="762"/>
                    </a:lnTo>
                    <a:lnTo>
                      <a:pt x="315" y="764"/>
                    </a:lnTo>
                    <a:lnTo>
                      <a:pt x="315" y="765"/>
                    </a:lnTo>
                    <a:lnTo>
                      <a:pt x="313" y="767"/>
                    </a:lnTo>
                    <a:lnTo>
                      <a:pt x="313" y="768"/>
                    </a:lnTo>
                    <a:lnTo>
                      <a:pt x="313" y="770"/>
                    </a:lnTo>
                    <a:lnTo>
                      <a:pt x="313" y="771"/>
                    </a:lnTo>
                    <a:lnTo>
                      <a:pt x="313" y="775"/>
                    </a:lnTo>
                    <a:lnTo>
                      <a:pt x="313" y="776"/>
                    </a:lnTo>
                    <a:lnTo>
                      <a:pt x="313" y="779"/>
                    </a:lnTo>
                    <a:lnTo>
                      <a:pt x="312" y="781"/>
                    </a:lnTo>
                    <a:lnTo>
                      <a:pt x="312" y="783"/>
                    </a:lnTo>
                    <a:lnTo>
                      <a:pt x="312" y="786"/>
                    </a:lnTo>
                    <a:lnTo>
                      <a:pt x="312" y="792"/>
                    </a:lnTo>
                    <a:lnTo>
                      <a:pt x="312" y="795"/>
                    </a:lnTo>
                    <a:lnTo>
                      <a:pt x="312" y="797"/>
                    </a:lnTo>
                    <a:lnTo>
                      <a:pt x="310" y="802"/>
                    </a:lnTo>
                    <a:lnTo>
                      <a:pt x="310" y="803"/>
                    </a:lnTo>
                    <a:lnTo>
                      <a:pt x="310" y="806"/>
                    </a:lnTo>
                    <a:lnTo>
                      <a:pt x="308" y="809"/>
                    </a:lnTo>
                    <a:lnTo>
                      <a:pt x="307" y="814"/>
                    </a:lnTo>
                    <a:lnTo>
                      <a:pt x="305" y="816"/>
                    </a:lnTo>
                    <a:lnTo>
                      <a:pt x="304" y="819"/>
                    </a:lnTo>
                    <a:lnTo>
                      <a:pt x="302" y="824"/>
                    </a:lnTo>
                    <a:lnTo>
                      <a:pt x="304" y="827"/>
                    </a:lnTo>
                    <a:lnTo>
                      <a:pt x="305" y="830"/>
                    </a:lnTo>
                    <a:lnTo>
                      <a:pt x="305" y="832"/>
                    </a:lnTo>
                    <a:lnTo>
                      <a:pt x="305" y="835"/>
                    </a:lnTo>
                    <a:lnTo>
                      <a:pt x="304" y="838"/>
                    </a:lnTo>
                    <a:lnTo>
                      <a:pt x="304" y="840"/>
                    </a:lnTo>
                    <a:lnTo>
                      <a:pt x="305" y="840"/>
                    </a:lnTo>
                    <a:lnTo>
                      <a:pt x="305" y="841"/>
                    </a:lnTo>
                    <a:lnTo>
                      <a:pt x="305" y="843"/>
                    </a:lnTo>
                    <a:lnTo>
                      <a:pt x="307" y="844"/>
                    </a:lnTo>
                    <a:lnTo>
                      <a:pt x="307" y="846"/>
                    </a:lnTo>
                    <a:lnTo>
                      <a:pt x="307" y="847"/>
                    </a:lnTo>
                    <a:lnTo>
                      <a:pt x="308" y="849"/>
                    </a:lnTo>
                    <a:lnTo>
                      <a:pt x="308" y="851"/>
                    </a:lnTo>
                    <a:lnTo>
                      <a:pt x="308" y="852"/>
                    </a:lnTo>
                    <a:lnTo>
                      <a:pt x="308" y="854"/>
                    </a:lnTo>
                    <a:lnTo>
                      <a:pt x="307" y="854"/>
                    </a:lnTo>
                    <a:lnTo>
                      <a:pt x="307" y="855"/>
                    </a:lnTo>
                    <a:lnTo>
                      <a:pt x="305" y="855"/>
                    </a:lnTo>
                    <a:lnTo>
                      <a:pt x="304" y="855"/>
                    </a:lnTo>
                    <a:lnTo>
                      <a:pt x="302" y="855"/>
                    </a:lnTo>
                    <a:lnTo>
                      <a:pt x="301" y="855"/>
                    </a:lnTo>
                    <a:lnTo>
                      <a:pt x="299" y="854"/>
                    </a:lnTo>
                    <a:lnTo>
                      <a:pt x="297" y="854"/>
                    </a:lnTo>
                    <a:lnTo>
                      <a:pt x="294" y="854"/>
                    </a:lnTo>
                    <a:lnTo>
                      <a:pt x="293" y="852"/>
                    </a:lnTo>
                    <a:lnTo>
                      <a:pt x="289" y="852"/>
                    </a:lnTo>
                    <a:lnTo>
                      <a:pt x="286" y="851"/>
                    </a:lnTo>
                    <a:lnTo>
                      <a:pt x="285" y="851"/>
                    </a:lnTo>
                    <a:lnTo>
                      <a:pt x="283" y="851"/>
                    </a:lnTo>
                    <a:lnTo>
                      <a:pt x="282" y="851"/>
                    </a:lnTo>
                    <a:lnTo>
                      <a:pt x="280" y="852"/>
                    </a:lnTo>
                    <a:lnTo>
                      <a:pt x="278" y="852"/>
                    </a:lnTo>
                    <a:lnTo>
                      <a:pt x="277" y="852"/>
                    </a:lnTo>
                    <a:lnTo>
                      <a:pt x="275" y="852"/>
                    </a:lnTo>
                    <a:lnTo>
                      <a:pt x="275" y="854"/>
                    </a:lnTo>
                    <a:lnTo>
                      <a:pt x="272" y="854"/>
                    </a:lnTo>
                    <a:lnTo>
                      <a:pt x="270" y="855"/>
                    </a:lnTo>
                    <a:lnTo>
                      <a:pt x="269" y="855"/>
                    </a:lnTo>
                    <a:lnTo>
                      <a:pt x="267" y="857"/>
                    </a:lnTo>
                    <a:lnTo>
                      <a:pt x="267" y="862"/>
                    </a:lnTo>
                    <a:lnTo>
                      <a:pt x="266" y="863"/>
                    </a:lnTo>
                    <a:lnTo>
                      <a:pt x="266" y="865"/>
                    </a:lnTo>
                    <a:lnTo>
                      <a:pt x="264" y="867"/>
                    </a:lnTo>
                    <a:lnTo>
                      <a:pt x="266" y="870"/>
                    </a:lnTo>
                    <a:lnTo>
                      <a:pt x="266" y="873"/>
                    </a:lnTo>
                    <a:lnTo>
                      <a:pt x="267" y="873"/>
                    </a:lnTo>
                    <a:lnTo>
                      <a:pt x="269" y="876"/>
                    </a:lnTo>
                    <a:lnTo>
                      <a:pt x="272" y="878"/>
                    </a:lnTo>
                    <a:lnTo>
                      <a:pt x="274" y="879"/>
                    </a:lnTo>
                    <a:lnTo>
                      <a:pt x="275" y="881"/>
                    </a:lnTo>
                    <a:lnTo>
                      <a:pt x="277" y="881"/>
                    </a:lnTo>
                    <a:lnTo>
                      <a:pt x="280" y="882"/>
                    </a:lnTo>
                    <a:lnTo>
                      <a:pt x="282" y="882"/>
                    </a:lnTo>
                    <a:lnTo>
                      <a:pt x="285" y="886"/>
                    </a:lnTo>
                    <a:lnTo>
                      <a:pt x="288" y="887"/>
                    </a:lnTo>
                    <a:lnTo>
                      <a:pt x="291" y="889"/>
                    </a:lnTo>
                    <a:lnTo>
                      <a:pt x="293" y="889"/>
                    </a:lnTo>
                    <a:lnTo>
                      <a:pt x="293" y="890"/>
                    </a:lnTo>
                    <a:lnTo>
                      <a:pt x="294" y="892"/>
                    </a:lnTo>
                    <a:lnTo>
                      <a:pt x="294" y="895"/>
                    </a:lnTo>
                    <a:lnTo>
                      <a:pt x="294" y="900"/>
                    </a:lnTo>
                    <a:lnTo>
                      <a:pt x="293" y="905"/>
                    </a:lnTo>
                    <a:lnTo>
                      <a:pt x="293" y="909"/>
                    </a:lnTo>
                    <a:lnTo>
                      <a:pt x="293" y="912"/>
                    </a:lnTo>
                    <a:lnTo>
                      <a:pt x="291" y="912"/>
                    </a:lnTo>
                    <a:lnTo>
                      <a:pt x="289" y="916"/>
                    </a:lnTo>
                    <a:lnTo>
                      <a:pt x="288" y="917"/>
                    </a:lnTo>
                    <a:lnTo>
                      <a:pt x="286" y="919"/>
                    </a:lnTo>
                    <a:lnTo>
                      <a:pt x="286" y="920"/>
                    </a:lnTo>
                    <a:lnTo>
                      <a:pt x="286" y="922"/>
                    </a:lnTo>
                    <a:lnTo>
                      <a:pt x="286" y="924"/>
                    </a:lnTo>
                    <a:lnTo>
                      <a:pt x="285" y="925"/>
                    </a:lnTo>
                    <a:lnTo>
                      <a:pt x="282" y="928"/>
                    </a:lnTo>
                    <a:lnTo>
                      <a:pt x="280" y="930"/>
                    </a:lnTo>
                    <a:lnTo>
                      <a:pt x="280" y="931"/>
                    </a:lnTo>
                    <a:lnTo>
                      <a:pt x="278" y="935"/>
                    </a:lnTo>
                    <a:lnTo>
                      <a:pt x="277" y="936"/>
                    </a:lnTo>
                    <a:lnTo>
                      <a:pt x="275" y="938"/>
                    </a:lnTo>
                    <a:lnTo>
                      <a:pt x="274" y="939"/>
                    </a:lnTo>
                    <a:lnTo>
                      <a:pt x="272" y="941"/>
                    </a:lnTo>
                    <a:lnTo>
                      <a:pt x="270" y="943"/>
                    </a:lnTo>
                    <a:lnTo>
                      <a:pt x="272" y="944"/>
                    </a:lnTo>
                    <a:lnTo>
                      <a:pt x="274" y="947"/>
                    </a:lnTo>
                    <a:lnTo>
                      <a:pt x="274" y="950"/>
                    </a:lnTo>
                    <a:lnTo>
                      <a:pt x="275" y="952"/>
                    </a:lnTo>
                    <a:lnTo>
                      <a:pt x="277" y="955"/>
                    </a:lnTo>
                    <a:lnTo>
                      <a:pt x="277" y="957"/>
                    </a:lnTo>
                    <a:lnTo>
                      <a:pt x="277" y="958"/>
                    </a:lnTo>
                    <a:lnTo>
                      <a:pt x="277" y="960"/>
                    </a:lnTo>
                    <a:lnTo>
                      <a:pt x="277" y="962"/>
                    </a:lnTo>
                    <a:lnTo>
                      <a:pt x="277" y="963"/>
                    </a:lnTo>
                    <a:lnTo>
                      <a:pt x="275" y="963"/>
                    </a:lnTo>
                    <a:lnTo>
                      <a:pt x="274" y="963"/>
                    </a:lnTo>
                    <a:lnTo>
                      <a:pt x="272" y="963"/>
                    </a:lnTo>
                    <a:lnTo>
                      <a:pt x="270" y="963"/>
                    </a:lnTo>
                    <a:lnTo>
                      <a:pt x="269" y="963"/>
                    </a:lnTo>
                    <a:lnTo>
                      <a:pt x="267" y="963"/>
                    </a:lnTo>
                    <a:lnTo>
                      <a:pt x="266" y="963"/>
                    </a:lnTo>
                    <a:lnTo>
                      <a:pt x="264" y="963"/>
                    </a:lnTo>
                    <a:lnTo>
                      <a:pt x="263" y="962"/>
                    </a:lnTo>
                    <a:lnTo>
                      <a:pt x="261" y="962"/>
                    </a:lnTo>
                    <a:lnTo>
                      <a:pt x="259" y="962"/>
                    </a:lnTo>
                    <a:lnTo>
                      <a:pt x="258" y="962"/>
                    </a:lnTo>
                    <a:lnTo>
                      <a:pt x="256" y="962"/>
                    </a:lnTo>
                    <a:lnTo>
                      <a:pt x="255" y="962"/>
                    </a:lnTo>
                    <a:lnTo>
                      <a:pt x="253" y="960"/>
                    </a:lnTo>
                    <a:lnTo>
                      <a:pt x="251" y="960"/>
                    </a:lnTo>
                    <a:lnTo>
                      <a:pt x="248" y="960"/>
                    </a:lnTo>
                    <a:lnTo>
                      <a:pt x="247" y="958"/>
                    </a:lnTo>
                    <a:lnTo>
                      <a:pt x="245" y="958"/>
                    </a:lnTo>
                    <a:lnTo>
                      <a:pt x="242" y="958"/>
                    </a:lnTo>
                    <a:lnTo>
                      <a:pt x="239" y="957"/>
                    </a:lnTo>
                    <a:lnTo>
                      <a:pt x="237" y="955"/>
                    </a:lnTo>
                    <a:lnTo>
                      <a:pt x="234" y="955"/>
                    </a:lnTo>
                    <a:lnTo>
                      <a:pt x="232" y="955"/>
                    </a:lnTo>
                    <a:lnTo>
                      <a:pt x="231" y="954"/>
                    </a:lnTo>
                    <a:lnTo>
                      <a:pt x="229" y="954"/>
                    </a:lnTo>
                    <a:lnTo>
                      <a:pt x="229" y="955"/>
                    </a:lnTo>
                    <a:lnTo>
                      <a:pt x="228" y="955"/>
                    </a:lnTo>
                    <a:lnTo>
                      <a:pt x="226" y="955"/>
                    </a:lnTo>
                    <a:lnTo>
                      <a:pt x="226" y="957"/>
                    </a:lnTo>
                    <a:lnTo>
                      <a:pt x="224" y="957"/>
                    </a:lnTo>
                    <a:lnTo>
                      <a:pt x="224" y="958"/>
                    </a:lnTo>
                    <a:lnTo>
                      <a:pt x="223" y="960"/>
                    </a:lnTo>
                    <a:lnTo>
                      <a:pt x="224" y="965"/>
                    </a:lnTo>
                    <a:lnTo>
                      <a:pt x="224" y="966"/>
                    </a:lnTo>
                    <a:lnTo>
                      <a:pt x="226" y="969"/>
                    </a:lnTo>
                    <a:lnTo>
                      <a:pt x="226" y="973"/>
                    </a:lnTo>
                    <a:lnTo>
                      <a:pt x="228" y="976"/>
                    </a:lnTo>
                    <a:lnTo>
                      <a:pt x="229" y="977"/>
                    </a:lnTo>
                    <a:lnTo>
                      <a:pt x="229" y="981"/>
                    </a:lnTo>
                    <a:lnTo>
                      <a:pt x="231" y="982"/>
                    </a:lnTo>
                    <a:lnTo>
                      <a:pt x="232" y="985"/>
                    </a:lnTo>
                    <a:lnTo>
                      <a:pt x="234" y="989"/>
                    </a:lnTo>
                    <a:lnTo>
                      <a:pt x="236" y="992"/>
                    </a:lnTo>
                    <a:lnTo>
                      <a:pt x="236" y="996"/>
                    </a:lnTo>
                    <a:lnTo>
                      <a:pt x="237" y="998"/>
                    </a:lnTo>
                    <a:lnTo>
                      <a:pt x="237" y="1001"/>
                    </a:lnTo>
                    <a:lnTo>
                      <a:pt x="236" y="1003"/>
                    </a:lnTo>
                    <a:lnTo>
                      <a:pt x="236" y="1004"/>
                    </a:lnTo>
                    <a:lnTo>
                      <a:pt x="236" y="1008"/>
                    </a:lnTo>
                    <a:lnTo>
                      <a:pt x="236" y="1009"/>
                    </a:lnTo>
                    <a:lnTo>
                      <a:pt x="236" y="1011"/>
                    </a:lnTo>
                    <a:lnTo>
                      <a:pt x="237" y="1014"/>
                    </a:lnTo>
                    <a:lnTo>
                      <a:pt x="237" y="1015"/>
                    </a:lnTo>
                    <a:lnTo>
                      <a:pt x="236" y="1020"/>
                    </a:lnTo>
                    <a:lnTo>
                      <a:pt x="236" y="1023"/>
                    </a:lnTo>
                    <a:lnTo>
                      <a:pt x="236" y="1027"/>
                    </a:lnTo>
                    <a:lnTo>
                      <a:pt x="236" y="1031"/>
                    </a:lnTo>
                    <a:lnTo>
                      <a:pt x="236" y="1033"/>
                    </a:lnTo>
                    <a:lnTo>
                      <a:pt x="234" y="1036"/>
                    </a:lnTo>
                    <a:lnTo>
                      <a:pt x="232" y="1039"/>
                    </a:lnTo>
                    <a:lnTo>
                      <a:pt x="231" y="1042"/>
                    </a:lnTo>
                    <a:lnTo>
                      <a:pt x="229" y="1044"/>
                    </a:lnTo>
                    <a:lnTo>
                      <a:pt x="228" y="1046"/>
                    </a:lnTo>
                    <a:lnTo>
                      <a:pt x="226" y="1047"/>
                    </a:lnTo>
                    <a:lnTo>
                      <a:pt x="221" y="1050"/>
                    </a:lnTo>
                    <a:lnTo>
                      <a:pt x="220" y="1050"/>
                    </a:lnTo>
                    <a:lnTo>
                      <a:pt x="218" y="1052"/>
                    </a:lnTo>
                    <a:lnTo>
                      <a:pt x="217" y="1053"/>
                    </a:lnTo>
                    <a:lnTo>
                      <a:pt x="213" y="1057"/>
                    </a:lnTo>
                    <a:lnTo>
                      <a:pt x="210" y="1058"/>
                    </a:lnTo>
                    <a:lnTo>
                      <a:pt x="209" y="1060"/>
                    </a:lnTo>
                    <a:lnTo>
                      <a:pt x="207" y="1061"/>
                    </a:lnTo>
                    <a:lnTo>
                      <a:pt x="207" y="1063"/>
                    </a:lnTo>
                    <a:lnTo>
                      <a:pt x="209" y="1066"/>
                    </a:lnTo>
                    <a:lnTo>
                      <a:pt x="209" y="1068"/>
                    </a:lnTo>
                    <a:lnTo>
                      <a:pt x="209" y="1069"/>
                    </a:lnTo>
                    <a:lnTo>
                      <a:pt x="210" y="1069"/>
                    </a:lnTo>
                    <a:lnTo>
                      <a:pt x="212" y="1069"/>
                    </a:lnTo>
                    <a:lnTo>
                      <a:pt x="213" y="1069"/>
                    </a:lnTo>
                    <a:lnTo>
                      <a:pt x="218" y="1069"/>
                    </a:lnTo>
                    <a:lnTo>
                      <a:pt x="220" y="1071"/>
                    </a:lnTo>
                    <a:lnTo>
                      <a:pt x="223" y="1072"/>
                    </a:lnTo>
                    <a:lnTo>
                      <a:pt x="226" y="1074"/>
                    </a:lnTo>
                    <a:lnTo>
                      <a:pt x="228" y="1076"/>
                    </a:lnTo>
                    <a:lnTo>
                      <a:pt x="229" y="1076"/>
                    </a:lnTo>
                    <a:lnTo>
                      <a:pt x="232" y="1079"/>
                    </a:lnTo>
                    <a:lnTo>
                      <a:pt x="234" y="1080"/>
                    </a:lnTo>
                    <a:lnTo>
                      <a:pt x="236" y="1082"/>
                    </a:lnTo>
                    <a:lnTo>
                      <a:pt x="237" y="1082"/>
                    </a:lnTo>
                    <a:lnTo>
                      <a:pt x="237" y="1084"/>
                    </a:lnTo>
                    <a:lnTo>
                      <a:pt x="237" y="1085"/>
                    </a:lnTo>
                    <a:lnTo>
                      <a:pt x="237" y="1088"/>
                    </a:lnTo>
                    <a:lnTo>
                      <a:pt x="236" y="1090"/>
                    </a:lnTo>
                    <a:lnTo>
                      <a:pt x="236" y="1093"/>
                    </a:lnTo>
                    <a:lnTo>
                      <a:pt x="236" y="1096"/>
                    </a:lnTo>
                    <a:lnTo>
                      <a:pt x="236" y="1098"/>
                    </a:lnTo>
                    <a:lnTo>
                      <a:pt x="234" y="1099"/>
                    </a:lnTo>
                    <a:lnTo>
                      <a:pt x="232" y="1103"/>
                    </a:lnTo>
                    <a:lnTo>
                      <a:pt x="231" y="1106"/>
                    </a:lnTo>
                    <a:lnTo>
                      <a:pt x="231" y="1109"/>
                    </a:lnTo>
                    <a:lnTo>
                      <a:pt x="229" y="1111"/>
                    </a:lnTo>
                    <a:lnTo>
                      <a:pt x="229" y="1112"/>
                    </a:lnTo>
                    <a:lnTo>
                      <a:pt x="228" y="1115"/>
                    </a:lnTo>
                    <a:lnTo>
                      <a:pt x="224" y="1118"/>
                    </a:lnTo>
                    <a:lnTo>
                      <a:pt x="223" y="1120"/>
                    </a:lnTo>
                    <a:lnTo>
                      <a:pt x="220" y="1123"/>
                    </a:lnTo>
                    <a:lnTo>
                      <a:pt x="218" y="1125"/>
                    </a:lnTo>
                    <a:lnTo>
                      <a:pt x="217" y="1125"/>
                    </a:lnTo>
                    <a:lnTo>
                      <a:pt x="215" y="1128"/>
                    </a:lnTo>
                    <a:lnTo>
                      <a:pt x="215" y="1131"/>
                    </a:lnTo>
                    <a:lnTo>
                      <a:pt x="213" y="1131"/>
                    </a:lnTo>
                    <a:lnTo>
                      <a:pt x="213" y="1133"/>
                    </a:lnTo>
                    <a:lnTo>
                      <a:pt x="213" y="1134"/>
                    </a:lnTo>
                    <a:lnTo>
                      <a:pt x="210" y="1134"/>
                    </a:lnTo>
                    <a:lnTo>
                      <a:pt x="209" y="1134"/>
                    </a:lnTo>
                    <a:lnTo>
                      <a:pt x="205" y="1134"/>
                    </a:lnTo>
                    <a:lnTo>
                      <a:pt x="204" y="1136"/>
                    </a:lnTo>
                    <a:lnTo>
                      <a:pt x="201" y="1136"/>
                    </a:lnTo>
                    <a:lnTo>
                      <a:pt x="201" y="1137"/>
                    </a:lnTo>
                    <a:lnTo>
                      <a:pt x="199" y="1141"/>
                    </a:lnTo>
                    <a:lnTo>
                      <a:pt x="199" y="1147"/>
                    </a:lnTo>
                    <a:lnTo>
                      <a:pt x="201" y="1156"/>
                    </a:lnTo>
                    <a:lnTo>
                      <a:pt x="201" y="1168"/>
                    </a:lnTo>
                    <a:lnTo>
                      <a:pt x="199" y="1179"/>
                    </a:lnTo>
                    <a:lnTo>
                      <a:pt x="199" y="1191"/>
                    </a:lnTo>
                    <a:lnTo>
                      <a:pt x="201" y="1202"/>
                    </a:lnTo>
                    <a:lnTo>
                      <a:pt x="201" y="1212"/>
                    </a:lnTo>
                    <a:lnTo>
                      <a:pt x="198" y="1214"/>
                    </a:lnTo>
                    <a:lnTo>
                      <a:pt x="190" y="1218"/>
                    </a:lnTo>
                    <a:lnTo>
                      <a:pt x="186" y="1218"/>
                    </a:lnTo>
                    <a:lnTo>
                      <a:pt x="183" y="1220"/>
                    </a:lnTo>
                    <a:lnTo>
                      <a:pt x="174" y="1221"/>
                    </a:lnTo>
                    <a:lnTo>
                      <a:pt x="166" y="1225"/>
                    </a:lnTo>
                    <a:lnTo>
                      <a:pt x="164" y="1228"/>
                    </a:lnTo>
                    <a:lnTo>
                      <a:pt x="161" y="1228"/>
                    </a:lnTo>
                    <a:lnTo>
                      <a:pt x="156" y="1225"/>
                    </a:lnTo>
                    <a:lnTo>
                      <a:pt x="150" y="1225"/>
                    </a:lnTo>
                    <a:lnTo>
                      <a:pt x="147" y="1228"/>
                    </a:lnTo>
                    <a:lnTo>
                      <a:pt x="142" y="1236"/>
                    </a:lnTo>
                    <a:lnTo>
                      <a:pt x="137" y="1242"/>
                    </a:lnTo>
                    <a:lnTo>
                      <a:pt x="133" y="1245"/>
                    </a:lnTo>
                    <a:lnTo>
                      <a:pt x="128" y="1247"/>
                    </a:lnTo>
                    <a:lnTo>
                      <a:pt x="123" y="1245"/>
                    </a:lnTo>
                    <a:lnTo>
                      <a:pt x="120" y="1239"/>
                    </a:lnTo>
                    <a:lnTo>
                      <a:pt x="117" y="1233"/>
                    </a:lnTo>
                    <a:lnTo>
                      <a:pt x="112" y="1228"/>
                    </a:lnTo>
                    <a:lnTo>
                      <a:pt x="104" y="1223"/>
                    </a:lnTo>
                    <a:lnTo>
                      <a:pt x="99" y="1223"/>
                    </a:lnTo>
                    <a:lnTo>
                      <a:pt x="95" y="1229"/>
                    </a:lnTo>
                    <a:lnTo>
                      <a:pt x="93" y="1240"/>
                    </a:lnTo>
                    <a:lnTo>
                      <a:pt x="91" y="1248"/>
                    </a:lnTo>
                    <a:lnTo>
                      <a:pt x="91" y="1252"/>
                    </a:lnTo>
                    <a:lnTo>
                      <a:pt x="88" y="1252"/>
                    </a:lnTo>
                    <a:lnTo>
                      <a:pt x="87" y="1247"/>
                    </a:lnTo>
                    <a:lnTo>
                      <a:pt x="82" y="1242"/>
                    </a:lnTo>
                    <a:lnTo>
                      <a:pt x="79" y="1240"/>
                    </a:lnTo>
                    <a:lnTo>
                      <a:pt x="77" y="1239"/>
                    </a:lnTo>
                    <a:lnTo>
                      <a:pt x="74" y="1245"/>
                    </a:lnTo>
                    <a:lnTo>
                      <a:pt x="72" y="1252"/>
                    </a:lnTo>
                    <a:lnTo>
                      <a:pt x="71" y="1253"/>
                    </a:lnTo>
                    <a:lnTo>
                      <a:pt x="68" y="1248"/>
                    </a:lnTo>
                    <a:lnTo>
                      <a:pt x="66" y="1242"/>
                    </a:lnTo>
                    <a:lnTo>
                      <a:pt x="66" y="1234"/>
                    </a:lnTo>
                    <a:lnTo>
                      <a:pt x="63" y="1226"/>
                    </a:lnTo>
                    <a:lnTo>
                      <a:pt x="58" y="1218"/>
                    </a:lnTo>
                    <a:lnTo>
                      <a:pt x="57" y="1214"/>
                    </a:lnTo>
                    <a:lnTo>
                      <a:pt x="58" y="1209"/>
                    </a:lnTo>
                    <a:lnTo>
                      <a:pt x="57" y="1201"/>
                    </a:lnTo>
                    <a:lnTo>
                      <a:pt x="57" y="1193"/>
                    </a:lnTo>
                    <a:lnTo>
                      <a:pt x="57" y="1188"/>
                    </a:lnTo>
                    <a:lnTo>
                      <a:pt x="60" y="1182"/>
                    </a:lnTo>
                    <a:lnTo>
                      <a:pt x="65" y="1177"/>
                    </a:lnTo>
                    <a:lnTo>
                      <a:pt x="71" y="1169"/>
                    </a:lnTo>
                    <a:lnTo>
                      <a:pt x="76" y="1160"/>
                    </a:lnTo>
                    <a:lnTo>
                      <a:pt x="80" y="1153"/>
                    </a:lnTo>
                    <a:lnTo>
                      <a:pt x="80" y="1150"/>
                    </a:lnTo>
                    <a:lnTo>
                      <a:pt x="85" y="1145"/>
                    </a:lnTo>
                    <a:lnTo>
                      <a:pt x="87" y="1139"/>
                    </a:lnTo>
                    <a:lnTo>
                      <a:pt x="84" y="1131"/>
                    </a:lnTo>
                    <a:lnTo>
                      <a:pt x="79" y="1126"/>
                    </a:lnTo>
                    <a:lnTo>
                      <a:pt x="74" y="1123"/>
                    </a:lnTo>
                    <a:lnTo>
                      <a:pt x="71" y="1125"/>
                    </a:lnTo>
                    <a:lnTo>
                      <a:pt x="68" y="1125"/>
                    </a:lnTo>
                    <a:lnTo>
                      <a:pt x="65" y="1125"/>
                    </a:lnTo>
                    <a:lnTo>
                      <a:pt x="61" y="1123"/>
                    </a:lnTo>
                    <a:lnTo>
                      <a:pt x="58" y="1120"/>
                    </a:lnTo>
                    <a:lnTo>
                      <a:pt x="57" y="1114"/>
                    </a:lnTo>
                    <a:lnTo>
                      <a:pt x="52" y="1106"/>
                    </a:lnTo>
                    <a:lnTo>
                      <a:pt x="50" y="1098"/>
                    </a:lnTo>
                    <a:lnTo>
                      <a:pt x="50" y="1092"/>
                    </a:lnTo>
                    <a:lnTo>
                      <a:pt x="50" y="1085"/>
                    </a:lnTo>
                    <a:lnTo>
                      <a:pt x="50" y="1082"/>
                    </a:lnTo>
                    <a:lnTo>
                      <a:pt x="50" y="1080"/>
                    </a:lnTo>
                    <a:lnTo>
                      <a:pt x="52" y="1079"/>
                    </a:lnTo>
                    <a:lnTo>
                      <a:pt x="53" y="1080"/>
                    </a:lnTo>
                    <a:lnTo>
                      <a:pt x="57" y="1080"/>
                    </a:lnTo>
                    <a:lnTo>
                      <a:pt x="61" y="1087"/>
                    </a:lnTo>
                    <a:lnTo>
                      <a:pt x="65" y="1090"/>
                    </a:lnTo>
                    <a:lnTo>
                      <a:pt x="66" y="1090"/>
                    </a:lnTo>
                    <a:lnTo>
                      <a:pt x="68" y="1087"/>
                    </a:lnTo>
                    <a:lnTo>
                      <a:pt x="71" y="1085"/>
                    </a:lnTo>
                    <a:lnTo>
                      <a:pt x="77" y="1085"/>
                    </a:lnTo>
                    <a:lnTo>
                      <a:pt x="82" y="1088"/>
                    </a:lnTo>
                    <a:lnTo>
                      <a:pt x="88" y="1090"/>
                    </a:lnTo>
                    <a:lnTo>
                      <a:pt x="91" y="1085"/>
                    </a:lnTo>
                    <a:lnTo>
                      <a:pt x="98" y="1079"/>
                    </a:lnTo>
                    <a:lnTo>
                      <a:pt x="103" y="1074"/>
                    </a:lnTo>
                    <a:lnTo>
                      <a:pt x="106" y="1074"/>
                    </a:lnTo>
                    <a:lnTo>
                      <a:pt x="110" y="1072"/>
                    </a:lnTo>
                    <a:lnTo>
                      <a:pt x="118" y="1074"/>
                    </a:lnTo>
                    <a:lnTo>
                      <a:pt x="125" y="1076"/>
                    </a:lnTo>
                    <a:lnTo>
                      <a:pt x="125" y="1077"/>
                    </a:lnTo>
                    <a:lnTo>
                      <a:pt x="125" y="1076"/>
                    </a:lnTo>
                    <a:lnTo>
                      <a:pt x="123" y="1076"/>
                    </a:lnTo>
                    <a:lnTo>
                      <a:pt x="123" y="1074"/>
                    </a:lnTo>
                    <a:lnTo>
                      <a:pt x="122" y="1074"/>
                    </a:lnTo>
                    <a:lnTo>
                      <a:pt x="122" y="1072"/>
                    </a:lnTo>
                    <a:lnTo>
                      <a:pt x="120" y="1072"/>
                    </a:lnTo>
                    <a:lnTo>
                      <a:pt x="118" y="1072"/>
                    </a:lnTo>
                    <a:lnTo>
                      <a:pt x="117" y="1072"/>
                    </a:lnTo>
                    <a:lnTo>
                      <a:pt x="115" y="1072"/>
                    </a:lnTo>
                    <a:lnTo>
                      <a:pt x="114" y="1072"/>
                    </a:lnTo>
                    <a:lnTo>
                      <a:pt x="114" y="1071"/>
                    </a:lnTo>
                    <a:lnTo>
                      <a:pt x="115" y="1071"/>
                    </a:lnTo>
                    <a:lnTo>
                      <a:pt x="115" y="1069"/>
                    </a:lnTo>
                    <a:lnTo>
                      <a:pt x="117" y="1069"/>
                    </a:lnTo>
                    <a:lnTo>
                      <a:pt x="118" y="1069"/>
                    </a:lnTo>
                    <a:lnTo>
                      <a:pt x="118" y="1068"/>
                    </a:lnTo>
                    <a:lnTo>
                      <a:pt x="120" y="1068"/>
                    </a:lnTo>
                    <a:lnTo>
                      <a:pt x="122" y="1068"/>
                    </a:lnTo>
                    <a:lnTo>
                      <a:pt x="120" y="1068"/>
                    </a:lnTo>
                    <a:lnTo>
                      <a:pt x="120" y="1066"/>
                    </a:lnTo>
                    <a:lnTo>
                      <a:pt x="118" y="1066"/>
                    </a:lnTo>
                    <a:lnTo>
                      <a:pt x="117" y="1066"/>
                    </a:lnTo>
                    <a:lnTo>
                      <a:pt x="115" y="1066"/>
                    </a:lnTo>
                    <a:lnTo>
                      <a:pt x="114" y="1066"/>
                    </a:lnTo>
                    <a:lnTo>
                      <a:pt x="112" y="1065"/>
                    </a:lnTo>
                    <a:lnTo>
                      <a:pt x="110" y="1065"/>
                    </a:lnTo>
                    <a:lnTo>
                      <a:pt x="109" y="1065"/>
                    </a:lnTo>
                    <a:lnTo>
                      <a:pt x="107" y="1065"/>
                    </a:lnTo>
                    <a:lnTo>
                      <a:pt x="106" y="1065"/>
                    </a:lnTo>
                    <a:lnTo>
                      <a:pt x="107" y="1063"/>
                    </a:lnTo>
                    <a:lnTo>
                      <a:pt x="107" y="1061"/>
                    </a:lnTo>
                    <a:lnTo>
                      <a:pt x="109" y="1060"/>
                    </a:lnTo>
                    <a:lnTo>
                      <a:pt x="109" y="1058"/>
                    </a:lnTo>
                    <a:lnTo>
                      <a:pt x="110" y="1057"/>
                    </a:lnTo>
                    <a:lnTo>
                      <a:pt x="109" y="1057"/>
                    </a:lnTo>
                    <a:lnTo>
                      <a:pt x="107" y="1057"/>
                    </a:lnTo>
                    <a:lnTo>
                      <a:pt x="107" y="1055"/>
                    </a:lnTo>
                    <a:lnTo>
                      <a:pt x="109" y="1055"/>
                    </a:lnTo>
                    <a:lnTo>
                      <a:pt x="107" y="1055"/>
                    </a:lnTo>
                    <a:lnTo>
                      <a:pt x="106" y="1055"/>
                    </a:lnTo>
                    <a:lnTo>
                      <a:pt x="106" y="1053"/>
                    </a:lnTo>
                    <a:lnTo>
                      <a:pt x="107" y="1053"/>
                    </a:lnTo>
                    <a:lnTo>
                      <a:pt x="107" y="1052"/>
                    </a:lnTo>
                    <a:lnTo>
                      <a:pt x="109" y="1050"/>
                    </a:lnTo>
                    <a:lnTo>
                      <a:pt x="107" y="1050"/>
                    </a:lnTo>
                    <a:lnTo>
                      <a:pt x="107" y="1049"/>
                    </a:lnTo>
                    <a:lnTo>
                      <a:pt x="109" y="1049"/>
                    </a:lnTo>
                    <a:lnTo>
                      <a:pt x="107" y="1049"/>
                    </a:lnTo>
                    <a:lnTo>
                      <a:pt x="106" y="1047"/>
                    </a:lnTo>
                    <a:lnTo>
                      <a:pt x="106" y="1049"/>
                    </a:lnTo>
                    <a:lnTo>
                      <a:pt x="106" y="1047"/>
                    </a:lnTo>
                    <a:lnTo>
                      <a:pt x="104" y="1047"/>
                    </a:lnTo>
                    <a:lnTo>
                      <a:pt x="104" y="1049"/>
                    </a:lnTo>
                    <a:lnTo>
                      <a:pt x="103" y="1047"/>
                    </a:lnTo>
                    <a:lnTo>
                      <a:pt x="103" y="1049"/>
                    </a:lnTo>
                    <a:lnTo>
                      <a:pt x="103" y="1047"/>
                    </a:lnTo>
                    <a:lnTo>
                      <a:pt x="101" y="1047"/>
                    </a:lnTo>
                    <a:lnTo>
                      <a:pt x="99" y="1046"/>
                    </a:lnTo>
                    <a:lnTo>
                      <a:pt x="98" y="1046"/>
                    </a:lnTo>
                    <a:lnTo>
                      <a:pt x="98" y="1044"/>
                    </a:lnTo>
                    <a:lnTo>
                      <a:pt x="96" y="1044"/>
                    </a:lnTo>
                    <a:lnTo>
                      <a:pt x="95" y="1042"/>
                    </a:lnTo>
                    <a:lnTo>
                      <a:pt x="93" y="1042"/>
                    </a:lnTo>
                    <a:lnTo>
                      <a:pt x="93" y="1041"/>
                    </a:lnTo>
                    <a:lnTo>
                      <a:pt x="91" y="1041"/>
                    </a:lnTo>
                    <a:lnTo>
                      <a:pt x="91" y="1042"/>
                    </a:lnTo>
                    <a:lnTo>
                      <a:pt x="91" y="1044"/>
                    </a:lnTo>
                  </a:path>
                </a:pathLst>
              </a:custGeom>
              <a:noFill/>
              <a:ln w="476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14" name="Freeform 12"/>
              <p:cNvSpPr>
                <a:spLocks/>
              </p:cNvSpPr>
              <p:nvPr/>
            </p:nvSpPr>
            <p:spPr bwMode="auto">
              <a:xfrm>
                <a:off x="2764" y="1963"/>
                <a:ext cx="548" cy="274"/>
              </a:xfrm>
              <a:custGeom>
                <a:avLst/>
                <a:gdLst>
                  <a:gd name="T0" fmla="*/ 530 w 548"/>
                  <a:gd name="T1" fmla="*/ 266 h 274"/>
                  <a:gd name="T2" fmla="*/ 516 w 548"/>
                  <a:gd name="T3" fmla="*/ 263 h 274"/>
                  <a:gd name="T4" fmla="*/ 518 w 548"/>
                  <a:gd name="T5" fmla="*/ 249 h 274"/>
                  <a:gd name="T6" fmla="*/ 532 w 548"/>
                  <a:gd name="T7" fmla="*/ 245 h 274"/>
                  <a:gd name="T8" fmla="*/ 538 w 548"/>
                  <a:gd name="T9" fmla="*/ 230 h 274"/>
                  <a:gd name="T10" fmla="*/ 541 w 548"/>
                  <a:gd name="T11" fmla="*/ 209 h 274"/>
                  <a:gd name="T12" fmla="*/ 546 w 548"/>
                  <a:gd name="T13" fmla="*/ 187 h 274"/>
                  <a:gd name="T14" fmla="*/ 532 w 548"/>
                  <a:gd name="T15" fmla="*/ 174 h 274"/>
                  <a:gd name="T16" fmla="*/ 521 w 548"/>
                  <a:gd name="T17" fmla="*/ 180 h 274"/>
                  <a:gd name="T18" fmla="*/ 505 w 548"/>
                  <a:gd name="T19" fmla="*/ 188 h 274"/>
                  <a:gd name="T20" fmla="*/ 492 w 548"/>
                  <a:gd name="T21" fmla="*/ 206 h 274"/>
                  <a:gd name="T22" fmla="*/ 486 w 548"/>
                  <a:gd name="T23" fmla="*/ 219 h 274"/>
                  <a:gd name="T24" fmla="*/ 475 w 548"/>
                  <a:gd name="T25" fmla="*/ 231 h 274"/>
                  <a:gd name="T26" fmla="*/ 464 w 548"/>
                  <a:gd name="T27" fmla="*/ 241 h 274"/>
                  <a:gd name="T28" fmla="*/ 450 w 548"/>
                  <a:gd name="T29" fmla="*/ 241 h 274"/>
                  <a:gd name="T30" fmla="*/ 442 w 548"/>
                  <a:gd name="T31" fmla="*/ 226 h 274"/>
                  <a:gd name="T32" fmla="*/ 448 w 548"/>
                  <a:gd name="T33" fmla="*/ 212 h 274"/>
                  <a:gd name="T34" fmla="*/ 438 w 548"/>
                  <a:gd name="T35" fmla="*/ 201 h 274"/>
                  <a:gd name="T36" fmla="*/ 427 w 548"/>
                  <a:gd name="T37" fmla="*/ 187 h 274"/>
                  <a:gd name="T38" fmla="*/ 413 w 548"/>
                  <a:gd name="T39" fmla="*/ 193 h 274"/>
                  <a:gd name="T40" fmla="*/ 404 w 548"/>
                  <a:gd name="T41" fmla="*/ 195 h 274"/>
                  <a:gd name="T42" fmla="*/ 388 w 548"/>
                  <a:gd name="T43" fmla="*/ 188 h 274"/>
                  <a:gd name="T44" fmla="*/ 375 w 548"/>
                  <a:gd name="T45" fmla="*/ 177 h 274"/>
                  <a:gd name="T46" fmla="*/ 370 w 548"/>
                  <a:gd name="T47" fmla="*/ 157 h 274"/>
                  <a:gd name="T48" fmla="*/ 369 w 548"/>
                  <a:gd name="T49" fmla="*/ 138 h 274"/>
                  <a:gd name="T50" fmla="*/ 362 w 548"/>
                  <a:gd name="T51" fmla="*/ 119 h 274"/>
                  <a:gd name="T52" fmla="*/ 345 w 548"/>
                  <a:gd name="T53" fmla="*/ 114 h 274"/>
                  <a:gd name="T54" fmla="*/ 328 w 548"/>
                  <a:gd name="T55" fmla="*/ 104 h 274"/>
                  <a:gd name="T56" fmla="*/ 339 w 548"/>
                  <a:gd name="T57" fmla="*/ 98 h 274"/>
                  <a:gd name="T58" fmla="*/ 359 w 548"/>
                  <a:gd name="T59" fmla="*/ 90 h 274"/>
                  <a:gd name="T60" fmla="*/ 374 w 548"/>
                  <a:gd name="T61" fmla="*/ 81 h 274"/>
                  <a:gd name="T62" fmla="*/ 380 w 548"/>
                  <a:gd name="T63" fmla="*/ 70 h 274"/>
                  <a:gd name="T64" fmla="*/ 378 w 548"/>
                  <a:gd name="T65" fmla="*/ 47 h 274"/>
                  <a:gd name="T66" fmla="*/ 386 w 548"/>
                  <a:gd name="T67" fmla="*/ 30 h 274"/>
                  <a:gd name="T68" fmla="*/ 375 w 548"/>
                  <a:gd name="T69" fmla="*/ 6 h 274"/>
                  <a:gd name="T70" fmla="*/ 355 w 548"/>
                  <a:gd name="T71" fmla="*/ 3 h 274"/>
                  <a:gd name="T72" fmla="*/ 337 w 548"/>
                  <a:gd name="T73" fmla="*/ 3 h 274"/>
                  <a:gd name="T74" fmla="*/ 318 w 548"/>
                  <a:gd name="T75" fmla="*/ 1 h 274"/>
                  <a:gd name="T76" fmla="*/ 294 w 548"/>
                  <a:gd name="T77" fmla="*/ 5 h 274"/>
                  <a:gd name="T78" fmla="*/ 274 w 548"/>
                  <a:gd name="T79" fmla="*/ 6 h 274"/>
                  <a:gd name="T80" fmla="*/ 272 w 548"/>
                  <a:gd name="T81" fmla="*/ 27 h 274"/>
                  <a:gd name="T82" fmla="*/ 267 w 548"/>
                  <a:gd name="T83" fmla="*/ 43 h 274"/>
                  <a:gd name="T84" fmla="*/ 261 w 548"/>
                  <a:gd name="T85" fmla="*/ 57 h 274"/>
                  <a:gd name="T86" fmla="*/ 248 w 548"/>
                  <a:gd name="T87" fmla="*/ 71 h 274"/>
                  <a:gd name="T88" fmla="*/ 233 w 548"/>
                  <a:gd name="T89" fmla="*/ 71 h 274"/>
                  <a:gd name="T90" fmla="*/ 223 w 548"/>
                  <a:gd name="T91" fmla="*/ 84 h 274"/>
                  <a:gd name="T92" fmla="*/ 206 w 548"/>
                  <a:gd name="T93" fmla="*/ 82 h 274"/>
                  <a:gd name="T94" fmla="*/ 190 w 548"/>
                  <a:gd name="T95" fmla="*/ 93 h 274"/>
                  <a:gd name="T96" fmla="*/ 172 w 548"/>
                  <a:gd name="T97" fmla="*/ 100 h 274"/>
                  <a:gd name="T98" fmla="*/ 160 w 548"/>
                  <a:gd name="T99" fmla="*/ 111 h 274"/>
                  <a:gd name="T100" fmla="*/ 145 w 548"/>
                  <a:gd name="T101" fmla="*/ 122 h 274"/>
                  <a:gd name="T102" fmla="*/ 126 w 548"/>
                  <a:gd name="T103" fmla="*/ 130 h 274"/>
                  <a:gd name="T104" fmla="*/ 112 w 548"/>
                  <a:gd name="T105" fmla="*/ 138 h 274"/>
                  <a:gd name="T106" fmla="*/ 95 w 548"/>
                  <a:gd name="T107" fmla="*/ 138 h 274"/>
                  <a:gd name="T108" fmla="*/ 82 w 548"/>
                  <a:gd name="T109" fmla="*/ 152 h 274"/>
                  <a:gd name="T110" fmla="*/ 63 w 548"/>
                  <a:gd name="T111" fmla="*/ 155 h 274"/>
                  <a:gd name="T112" fmla="*/ 46 w 548"/>
                  <a:gd name="T113" fmla="*/ 160 h 274"/>
                  <a:gd name="T114" fmla="*/ 31 w 548"/>
                  <a:gd name="T115" fmla="*/ 149 h 274"/>
                  <a:gd name="T116" fmla="*/ 16 w 548"/>
                  <a:gd name="T117" fmla="*/ 136 h 274"/>
                  <a:gd name="T118" fmla="*/ 3 w 548"/>
                  <a:gd name="T119" fmla="*/ 12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8" h="274">
                    <a:moveTo>
                      <a:pt x="541" y="274"/>
                    </a:moveTo>
                    <a:lnTo>
                      <a:pt x="540" y="274"/>
                    </a:lnTo>
                    <a:lnTo>
                      <a:pt x="538" y="274"/>
                    </a:lnTo>
                    <a:lnTo>
                      <a:pt x="537" y="274"/>
                    </a:lnTo>
                    <a:lnTo>
                      <a:pt x="535" y="274"/>
                    </a:lnTo>
                    <a:lnTo>
                      <a:pt x="535" y="272"/>
                    </a:lnTo>
                    <a:lnTo>
                      <a:pt x="535" y="271"/>
                    </a:lnTo>
                    <a:lnTo>
                      <a:pt x="537" y="271"/>
                    </a:lnTo>
                    <a:lnTo>
                      <a:pt x="537" y="269"/>
                    </a:lnTo>
                    <a:lnTo>
                      <a:pt x="538" y="269"/>
                    </a:lnTo>
                    <a:lnTo>
                      <a:pt x="537" y="269"/>
                    </a:lnTo>
                    <a:lnTo>
                      <a:pt x="537" y="268"/>
                    </a:lnTo>
                    <a:lnTo>
                      <a:pt x="535" y="268"/>
                    </a:lnTo>
                    <a:lnTo>
                      <a:pt x="534" y="268"/>
                    </a:lnTo>
                    <a:lnTo>
                      <a:pt x="534" y="266"/>
                    </a:lnTo>
                    <a:lnTo>
                      <a:pt x="532" y="266"/>
                    </a:lnTo>
                    <a:lnTo>
                      <a:pt x="530" y="266"/>
                    </a:lnTo>
                    <a:lnTo>
                      <a:pt x="529" y="266"/>
                    </a:lnTo>
                    <a:lnTo>
                      <a:pt x="529" y="268"/>
                    </a:lnTo>
                    <a:lnTo>
                      <a:pt x="527" y="268"/>
                    </a:lnTo>
                    <a:lnTo>
                      <a:pt x="527" y="266"/>
                    </a:lnTo>
                    <a:lnTo>
                      <a:pt x="526" y="266"/>
                    </a:lnTo>
                    <a:lnTo>
                      <a:pt x="524" y="266"/>
                    </a:lnTo>
                    <a:lnTo>
                      <a:pt x="522" y="266"/>
                    </a:lnTo>
                    <a:lnTo>
                      <a:pt x="522" y="268"/>
                    </a:lnTo>
                    <a:lnTo>
                      <a:pt x="521" y="268"/>
                    </a:lnTo>
                    <a:lnTo>
                      <a:pt x="519" y="268"/>
                    </a:lnTo>
                    <a:lnTo>
                      <a:pt x="518" y="268"/>
                    </a:lnTo>
                    <a:lnTo>
                      <a:pt x="518" y="269"/>
                    </a:lnTo>
                    <a:lnTo>
                      <a:pt x="518" y="268"/>
                    </a:lnTo>
                    <a:lnTo>
                      <a:pt x="516" y="268"/>
                    </a:lnTo>
                    <a:lnTo>
                      <a:pt x="516" y="266"/>
                    </a:lnTo>
                    <a:lnTo>
                      <a:pt x="516" y="264"/>
                    </a:lnTo>
                    <a:lnTo>
                      <a:pt x="516" y="263"/>
                    </a:lnTo>
                    <a:lnTo>
                      <a:pt x="515" y="263"/>
                    </a:lnTo>
                    <a:lnTo>
                      <a:pt x="515" y="261"/>
                    </a:lnTo>
                    <a:lnTo>
                      <a:pt x="513" y="261"/>
                    </a:lnTo>
                    <a:lnTo>
                      <a:pt x="511" y="260"/>
                    </a:lnTo>
                    <a:lnTo>
                      <a:pt x="513" y="260"/>
                    </a:lnTo>
                    <a:lnTo>
                      <a:pt x="513" y="258"/>
                    </a:lnTo>
                    <a:lnTo>
                      <a:pt x="515" y="258"/>
                    </a:lnTo>
                    <a:lnTo>
                      <a:pt x="516" y="258"/>
                    </a:lnTo>
                    <a:lnTo>
                      <a:pt x="516" y="257"/>
                    </a:lnTo>
                    <a:lnTo>
                      <a:pt x="516" y="255"/>
                    </a:lnTo>
                    <a:lnTo>
                      <a:pt x="515" y="255"/>
                    </a:lnTo>
                    <a:lnTo>
                      <a:pt x="515" y="253"/>
                    </a:lnTo>
                    <a:lnTo>
                      <a:pt x="515" y="252"/>
                    </a:lnTo>
                    <a:lnTo>
                      <a:pt x="516" y="252"/>
                    </a:lnTo>
                    <a:lnTo>
                      <a:pt x="516" y="250"/>
                    </a:lnTo>
                    <a:lnTo>
                      <a:pt x="518" y="250"/>
                    </a:lnTo>
                    <a:lnTo>
                      <a:pt x="518" y="249"/>
                    </a:lnTo>
                    <a:lnTo>
                      <a:pt x="518" y="247"/>
                    </a:lnTo>
                    <a:lnTo>
                      <a:pt x="519" y="249"/>
                    </a:lnTo>
                    <a:lnTo>
                      <a:pt x="519" y="250"/>
                    </a:lnTo>
                    <a:lnTo>
                      <a:pt x="519" y="252"/>
                    </a:lnTo>
                    <a:lnTo>
                      <a:pt x="521" y="252"/>
                    </a:lnTo>
                    <a:lnTo>
                      <a:pt x="522" y="252"/>
                    </a:lnTo>
                    <a:lnTo>
                      <a:pt x="522" y="250"/>
                    </a:lnTo>
                    <a:lnTo>
                      <a:pt x="524" y="250"/>
                    </a:lnTo>
                    <a:lnTo>
                      <a:pt x="524" y="249"/>
                    </a:lnTo>
                    <a:lnTo>
                      <a:pt x="526" y="247"/>
                    </a:lnTo>
                    <a:lnTo>
                      <a:pt x="526" y="245"/>
                    </a:lnTo>
                    <a:lnTo>
                      <a:pt x="527" y="245"/>
                    </a:lnTo>
                    <a:lnTo>
                      <a:pt x="529" y="245"/>
                    </a:lnTo>
                    <a:lnTo>
                      <a:pt x="529" y="244"/>
                    </a:lnTo>
                    <a:lnTo>
                      <a:pt x="530" y="244"/>
                    </a:lnTo>
                    <a:lnTo>
                      <a:pt x="530" y="245"/>
                    </a:lnTo>
                    <a:lnTo>
                      <a:pt x="532" y="245"/>
                    </a:lnTo>
                    <a:lnTo>
                      <a:pt x="534" y="245"/>
                    </a:lnTo>
                    <a:lnTo>
                      <a:pt x="534" y="244"/>
                    </a:lnTo>
                    <a:lnTo>
                      <a:pt x="534" y="242"/>
                    </a:lnTo>
                    <a:lnTo>
                      <a:pt x="535" y="242"/>
                    </a:lnTo>
                    <a:lnTo>
                      <a:pt x="535" y="241"/>
                    </a:lnTo>
                    <a:lnTo>
                      <a:pt x="537" y="239"/>
                    </a:lnTo>
                    <a:lnTo>
                      <a:pt x="537" y="238"/>
                    </a:lnTo>
                    <a:lnTo>
                      <a:pt x="538" y="238"/>
                    </a:lnTo>
                    <a:lnTo>
                      <a:pt x="538" y="236"/>
                    </a:lnTo>
                    <a:lnTo>
                      <a:pt x="537" y="236"/>
                    </a:lnTo>
                    <a:lnTo>
                      <a:pt x="535" y="234"/>
                    </a:lnTo>
                    <a:lnTo>
                      <a:pt x="537" y="233"/>
                    </a:lnTo>
                    <a:lnTo>
                      <a:pt x="535" y="233"/>
                    </a:lnTo>
                    <a:lnTo>
                      <a:pt x="535" y="231"/>
                    </a:lnTo>
                    <a:lnTo>
                      <a:pt x="537" y="231"/>
                    </a:lnTo>
                    <a:lnTo>
                      <a:pt x="538" y="231"/>
                    </a:lnTo>
                    <a:lnTo>
                      <a:pt x="538" y="230"/>
                    </a:lnTo>
                    <a:lnTo>
                      <a:pt x="540" y="230"/>
                    </a:lnTo>
                    <a:lnTo>
                      <a:pt x="538" y="230"/>
                    </a:lnTo>
                    <a:lnTo>
                      <a:pt x="538" y="228"/>
                    </a:lnTo>
                    <a:lnTo>
                      <a:pt x="538" y="226"/>
                    </a:lnTo>
                    <a:lnTo>
                      <a:pt x="540" y="226"/>
                    </a:lnTo>
                    <a:lnTo>
                      <a:pt x="540" y="225"/>
                    </a:lnTo>
                    <a:lnTo>
                      <a:pt x="540" y="223"/>
                    </a:lnTo>
                    <a:lnTo>
                      <a:pt x="540" y="222"/>
                    </a:lnTo>
                    <a:lnTo>
                      <a:pt x="540" y="220"/>
                    </a:lnTo>
                    <a:lnTo>
                      <a:pt x="540" y="219"/>
                    </a:lnTo>
                    <a:lnTo>
                      <a:pt x="541" y="219"/>
                    </a:lnTo>
                    <a:lnTo>
                      <a:pt x="541" y="217"/>
                    </a:lnTo>
                    <a:lnTo>
                      <a:pt x="541" y="215"/>
                    </a:lnTo>
                    <a:lnTo>
                      <a:pt x="541" y="214"/>
                    </a:lnTo>
                    <a:lnTo>
                      <a:pt x="541" y="212"/>
                    </a:lnTo>
                    <a:lnTo>
                      <a:pt x="541" y="211"/>
                    </a:lnTo>
                    <a:lnTo>
                      <a:pt x="541" y="209"/>
                    </a:lnTo>
                    <a:lnTo>
                      <a:pt x="541" y="207"/>
                    </a:lnTo>
                    <a:lnTo>
                      <a:pt x="541" y="206"/>
                    </a:lnTo>
                    <a:lnTo>
                      <a:pt x="541" y="204"/>
                    </a:lnTo>
                    <a:lnTo>
                      <a:pt x="541" y="203"/>
                    </a:lnTo>
                    <a:lnTo>
                      <a:pt x="541" y="201"/>
                    </a:lnTo>
                    <a:lnTo>
                      <a:pt x="543" y="201"/>
                    </a:lnTo>
                    <a:lnTo>
                      <a:pt x="543" y="199"/>
                    </a:lnTo>
                    <a:lnTo>
                      <a:pt x="543" y="198"/>
                    </a:lnTo>
                    <a:lnTo>
                      <a:pt x="545" y="196"/>
                    </a:lnTo>
                    <a:lnTo>
                      <a:pt x="546" y="196"/>
                    </a:lnTo>
                    <a:lnTo>
                      <a:pt x="546" y="195"/>
                    </a:lnTo>
                    <a:lnTo>
                      <a:pt x="548" y="195"/>
                    </a:lnTo>
                    <a:lnTo>
                      <a:pt x="546" y="193"/>
                    </a:lnTo>
                    <a:lnTo>
                      <a:pt x="546" y="192"/>
                    </a:lnTo>
                    <a:lnTo>
                      <a:pt x="546" y="190"/>
                    </a:lnTo>
                    <a:lnTo>
                      <a:pt x="546" y="188"/>
                    </a:lnTo>
                    <a:lnTo>
                      <a:pt x="546" y="187"/>
                    </a:lnTo>
                    <a:lnTo>
                      <a:pt x="545" y="187"/>
                    </a:lnTo>
                    <a:lnTo>
                      <a:pt x="545" y="185"/>
                    </a:lnTo>
                    <a:lnTo>
                      <a:pt x="545" y="184"/>
                    </a:lnTo>
                    <a:lnTo>
                      <a:pt x="543" y="184"/>
                    </a:lnTo>
                    <a:lnTo>
                      <a:pt x="543" y="182"/>
                    </a:lnTo>
                    <a:lnTo>
                      <a:pt x="543" y="180"/>
                    </a:lnTo>
                    <a:lnTo>
                      <a:pt x="541" y="180"/>
                    </a:lnTo>
                    <a:lnTo>
                      <a:pt x="541" y="179"/>
                    </a:lnTo>
                    <a:lnTo>
                      <a:pt x="543" y="177"/>
                    </a:lnTo>
                    <a:lnTo>
                      <a:pt x="541" y="177"/>
                    </a:lnTo>
                    <a:lnTo>
                      <a:pt x="541" y="176"/>
                    </a:lnTo>
                    <a:lnTo>
                      <a:pt x="540" y="174"/>
                    </a:lnTo>
                    <a:lnTo>
                      <a:pt x="538" y="173"/>
                    </a:lnTo>
                    <a:lnTo>
                      <a:pt x="537" y="173"/>
                    </a:lnTo>
                    <a:lnTo>
                      <a:pt x="535" y="173"/>
                    </a:lnTo>
                    <a:lnTo>
                      <a:pt x="534" y="174"/>
                    </a:lnTo>
                    <a:lnTo>
                      <a:pt x="532" y="174"/>
                    </a:lnTo>
                    <a:lnTo>
                      <a:pt x="530" y="174"/>
                    </a:lnTo>
                    <a:lnTo>
                      <a:pt x="530" y="176"/>
                    </a:lnTo>
                    <a:lnTo>
                      <a:pt x="529" y="176"/>
                    </a:lnTo>
                    <a:lnTo>
                      <a:pt x="529" y="174"/>
                    </a:lnTo>
                    <a:lnTo>
                      <a:pt x="527" y="174"/>
                    </a:lnTo>
                    <a:lnTo>
                      <a:pt x="526" y="176"/>
                    </a:lnTo>
                    <a:lnTo>
                      <a:pt x="526" y="177"/>
                    </a:lnTo>
                    <a:lnTo>
                      <a:pt x="527" y="177"/>
                    </a:lnTo>
                    <a:lnTo>
                      <a:pt x="529" y="177"/>
                    </a:lnTo>
                    <a:lnTo>
                      <a:pt x="530" y="177"/>
                    </a:lnTo>
                    <a:lnTo>
                      <a:pt x="532" y="177"/>
                    </a:lnTo>
                    <a:lnTo>
                      <a:pt x="532" y="179"/>
                    </a:lnTo>
                    <a:lnTo>
                      <a:pt x="530" y="179"/>
                    </a:lnTo>
                    <a:lnTo>
                      <a:pt x="530" y="180"/>
                    </a:lnTo>
                    <a:lnTo>
                      <a:pt x="530" y="182"/>
                    </a:lnTo>
                    <a:lnTo>
                      <a:pt x="522" y="182"/>
                    </a:lnTo>
                    <a:lnTo>
                      <a:pt x="521" y="180"/>
                    </a:lnTo>
                    <a:lnTo>
                      <a:pt x="519" y="180"/>
                    </a:lnTo>
                    <a:lnTo>
                      <a:pt x="519" y="182"/>
                    </a:lnTo>
                    <a:lnTo>
                      <a:pt x="518" y="182"/>
                    </a:lnTo>
                    <a:lnTo>
                      <a:pt x="518" y="184"/>
                    </a:lnTo>
                    <a:lnTo>
                      <a:pt x="516" y="184"/>
                    </a:lnTo>
                    <a:lnTo>
                      <a:pt x="515" y="184"/>
                    </a:lnTo>
                    <a:lnTo>
                      <a:pt x="515" y="185"/>
                    </a:lnTo>
                    <a:lnTo>
                      <a:pt x="513" y="185"/>
                    </a:lnTo>
                    <a:lnTo>
                      <a:pt x="513" y="187"/>
                    </a:lnTo>
                    <a:lnTo>
                      <a:pt x="511" y="187"/>
                    </a:lnTo>
                    <a:lnTo>
                      <a:pt x="511" y="188"/>
                    </a:lnTo>
                    <a:lnTo>
                      <a:pt x="511" y="190"/>
                    </a:lnTo>
                    <a:lnTo>
                      <a:pt x="510" y="192"/>
                    </a:lnTo>
                    <a:lnTo>
                      <a:pt x="508" y="192"/>
                    </a:lnTo>
                    <a:lnTo>
                      <a:pt x="508" y="190"/>
                    </a:lnTo>
                    <a:lnTo>
                      <a:pt x="507" y="190"/>
                    </a:lnTo>
                    <a:lnTo>
                      <a:pt x="505" y="188"/>
                    </a:lnTo>
                    <a:lnTo>
                      <a:pt x="503" y="190"/>
                    </a:lnTo>
                    <a:lnTo>
                      <a:pt x="503" y="192"/>
                    </a:lnTo>
                    <a:lnTo>
                      <a:pt x="502" y="192"/>
                    </a:lnTo>
                    <a:lnTo>
                      <a:pt x="502" y="193"/>
                    </a:lnTo>
                    <a:lnTo>
                      <a:pt x="502" y="195"/>
                    </a:lnTo>
                    <a:lnTo>
                      <a:pt x="500" y="196"/>
                    </a:lnTo>
                    <a:lnTo>
                      <a:pt x="500" y="198"/>
                    </a:lnTo>
                    <a:lnTo>
                      <a:pt x="500" y="199"/>
                    </a:lnTo>
                    <a:lnTo>
                      <a:pt x="499" y="199"/>
                    </a:lnTo>
                    <a:lnTo>
                      <a:pt x="497" y="199"/>
                    </a:lnTo>
                    <a:lnTo>
                      <a:pt x="496" y="199"/>
                    </a:lnTo>
                    <a:lnTo>
                      <a:pt x="496" y="201"/>
                    </a:lnTo>
                    <a:lnTo>
                      <a:pt x="494" y="201"/>
                    </a:lnTo>
                    <a:lnTo>
                      <a:pt x="494" y="203"/>
                    </a:lnTo>
                    <a:lnTo>
                      <a:pt x="492" y="203"/>
                    </a:lnTo>
                    <a:lnTo>
                      <a:pt x="492" y="204"/>
                    </a:lnTo>
                    <a:lnTo>
                      <a:pt x="492" y="206"/>
                    </a:lnTo>
                    <a:lnTo>
                      <a:pt x="492" y="207"/>
                    </a:lnTo>
                    <a:lnTo>
                      <a:pt x="491" y="206"/>
                    </a:lnTo>
                    <a:lnTo>
                      <a:pt x="491" y="207"/>
                    </a:lnTo>
                    <a:lnTo>
                      <a:pt x="489" y="207"/>
                    </a:lnTo>
                    <a:lnTo>
                      <a:pt x="488" y="207"/>
                    </a:lnTo>
                    <a:lnTo>
                      <a:pt x="489" y="207"/>
                    </a:lnTo>
                    <a:lnTo>
                      <a:pt x="489" y="209"/>
                    </a:lnTo>
                    <a:lnTo>
                      <a:pt x="491" y="209"/>
                    </a:lnTo>
                    <a:lnTo>
                      <a:pt x="491" y="211"/>
                    </a:lnTo>
                    <a:lnTo>
                      <a:pt x="491" y="212"/>
                    </a:lnTo>
                    <a:lnTo>
                      <a:pt x="489" y="212"/>
                    </a:lnTo>
                    <a:lnTo>
                      <a:pt x="489" y="214"/>
                    </a:lnTo>
                    <a:lnTo>
                      <a:pt x="489" y="215"/>
                    </a:lnTo>
                    <a:lnTo>
                      <a:pt x="488" y="215"/>
                    </a:lnTo>
                    <a:lnTo>
                      <a:pt x="488" y="217"/>
                    </a:lnTo>
                    <a:lnTo>
                      <a:pt x="488" y="219"/>
                    </a:lnTo>
                    <a:lnTo>
                      <a:pt x="486" y="219"/>
                    </a:lnTo>
                    <a:lnTo>
                      <a:pt x="486" y="220"/>
                    </a:lnTo>
                    <a:lnTo>
                      <a:pt x="486" y="222"/>
                    </a:lnTo>
                    <a:lnTo>
                      <a:pt x="484" y="222"/>
                    </a:lnTo>
                    <a:lnTo>
                      <a:pt x="483" y="222"/>
                    </a:lnTo>
                    <a:lnTo>
                      <a:pt x="481" y="222"/>
                    </a:lnTo>
                    <a:lnTo>
                      <a:pt x="481" y="223"/>
                    </a:lnTo>
                    <a:lnTo>
                      <a:pt x="480" y="223"/>
                    </a:lnTo>
                    <a:lnTo>
                      <a:pt x="480" y="225"/>
                    </a:lnTo>
                    <a:lnTo>
                      <a:pt x="481" y="226"/>
                    </a:lnTo>
                    <a:lnTo>
                      <a:pt x="480" y="226"/>
                    </a:lnTo>
                    <a:lnTo>
                      <a:pt x="480" y="228"/>
                    </a:lnTo>
                    <a:lnTo>
                      <a:pt x="480" y="226"/>
                    </a:lnTo>
                    <a:lnTo>
                      <a:pt x="478" y="228"/>
                    </a:lnTo>
                    <a:lnTo>
                      <a:pt x="478" y="230"/>
                    </a:lnTo>
                    <a:lnTo>
                      <a:pt x="476" y="230"/>
                    </a:lnTo>
                    <a:lnTo>
                      <a:pt x="475" y="230"/>
                    </a:lnTo>
                    <a:lnTo>
                      <a:pt x="475" y="231"/>
                    </a:lnTo>
                    <a:lnTo>
                      <a:pt x="475" y="233"/>
                    </a:lnTo>
                    <a:lnTo>
                      <a:pt x="476" y="233"/>
                    </a:lnTo>
                    <a:lnTo>
                      <a:pt x="475" y="233"/>
                    </a:lnTo>
                    <a:lnTo>
                      <a:pt x="475" y="234"/>
                    </a:lnTo>
                    <a:lnTo>
                      <a:pt x="473" y="234"/>
                    </a:lnTo>
                    <a:lnTo>
                      <a:pt x="472" y="234"/>
                    </a:lnTo>
                    <a:lnTo>
                      <a:pt x="470" y="234"/>
                    </a:lnTo>
                    <a:lnTo>
                      <a:pt x="469" y="234"/>
                    </a:lnTo>
                    <a:lnTo>
                      <a:pt x="469" y="236"/>
                    </a:lnTo>
                    <a:lnTo>
                      <a:pt x="469" y="238"/>
                    </a:lnTo>
                    <a:lnTo>
                      <a:pt x="469" y="239"/>
                    </a:lnTo>
                    <a:lnTo>
                      <a:pt x="469" y="241"/>
                    </a:lnTo>
                    <a:lnTo>
                      <a:pt x="469" y="242"/>
                    </a:lnTo>
                    <a:lnTo>
                      <a:pt x="467" y="242"/>
                    </a:lnTo>
                    <a:lnTo>
                      <a:pt x="465" y="242"/>
                    </a:lnTo>
                    <a:lnTo>
                      <a:pt x="464" y="242"/>
                    </a:lnTo>
                    <a:lnTo>
                      <a:pt x="464" y="241"/>
                    </a:lnTo>
                    <a:lnTo>
                      <a:pt x="462" y="241"/>
                    </a:lnTo>
                    <a:lnTo>
                      <a:pt x="462" y="239"/>
                    </a:lnTo>
                    <a:lnTo>
                      <a:pt x="461" y="239"/>
                    </a:lnTo>
                    <a:lnTo>
                      <a:pt x="461" y="238"/>
                    </a:lnTo>
                    <a:lnTo>
                      <a:pt x="459" y="238"/>
                    </a:lnTo>
                    <a:lnTo>
                      <a:pt x="459" y="239"/>
                    </a:lnTo>
                    <a:lnTo>
                      <a:pt x="457" y="239"/>
                    </a:lnTo>
                    <a:lnTo>
                      <a:pt x="457" y="241"/>
                    </a:lnTo>
                    <a:lnTo>
                      <a:pt x="456" y="241"/>
                    </a:lnTo>
                    <a:lnTo>
                      <a:pt x="456" y="239"/>
                    </a:lnTo>
                    <a:lnTo>
                      <a:pt x="454" y="239"/>
                    </a:lnTo>
                    <a:lnTo>
                      <a:pt x="454" y="241"/>
                    </a:lnTo>
                    <a:lnTo>
                      <a:pt x="454" y="242"/>
                    </a:lnTo>
                    <a:lnTo>
                      <a:pt x="453" y="242"/>
                    </a:lnTo>
                    <a:lnTo>
                      <a:pt x="451" y="242"/>
                    </a:lnTo>
                    <a:lnTo>
                      <a:pt x="450" y="242"/>
                    </a:lnTo>
                    <a:lnTo>
                      <a:pt x="450" y="241"/>
                    </a:lnTo>
                    <a:lnTo>
                      <a:pt x="448" y="241"/>
                    </a:lnTo>
                    <a:lnTo>
                      <a:pt x="448" y="239"/>
                    </a:lnTo>
                    <a:lnTo>
                      <a:pt x="446" y="239"/>
                    </a:lnTo>
                    <a:lnTo>
                      <a:pt x="445" y="239"/>
                    </a:lnTo>
                    <a:lnTo>
                      <a:pt x="445" y="238"/>
                    </a:lnTo>
                    <a:lnTo>
                      <a:pt x="445" y="236"/>
                    </a:lnTo>
                    <a:lnTo>
                      <a:pt x="445" y="234"/>
                    </a:lnTo>
                    <a:lnTo>
                      <a:pt x="446" y="234"/>
                    </a:lnTo>
                    <a:lnTo>
                      <a:pt x="446" y="233"/>
                    </a:lnTo>
                    <a:lnTo>
                      <a:pt x="448" y="231"/>
                    </a:lnTo>
                    <a:lnTo>
                      <a:pt x="448" y="230"/>
                    </a:lnTo>
                    <a:lnTo>
                      <a:pt x="446" y="230"/>
                    </a:lnTo>
                    <a:lnTo>
                      <a:pt x="446" y="228"/>
                    </a:lnTo>
                    <a:lnTo>
                      <a:pt x="445" y="228"/>
                    </a:lnTo>
                    <a:lnTo>
                      <a:pt x="443" y="228"/>
                    </a:lnTo>
                    <a:lnTo>
                      <a:pt x="442" y="228"/>
                    </a:lnTo>
                    <a:lnTo>
                      <a:pt x="442" y="226"/>
                    </a:lnTo>
                    <a:lnTo>
                      <a:pt x="440" y="226"/>
                    </a:lnTo>
                    <a:lnTo>
                      <a:pt x="440" y="225"/>
                    </a:lnTo>
                    <a:lnTo>
                      <a:pt x="440" y="223"/>
                    </a:lnTo>
                    <a:lnTo>
                      <a:pt x="442" y="223"/>
                    </a:lnTo>
                    <a:lnTo>
                      <a:pt x="443" y="223"/>
                    </a:lnTo>
                    <a:lnTo>
                      <a:pt x="443" y="222"/>
                    </a:lnTo>
                    <a:lnTo>
                      <a:pt x="445" y="222"/>
                    </a:lnTo>
                    <a:lnTo>
                      <a:pt x="445" y="220"/>
                    </a:lnTo>
                    <a:lnTo>
                      <a:pt x="445" y="219"/>
                    </a:lnTo>
                    <a:lnTo>
                      <a:pt x="445" y="217"/>
                    </a:lnTo>
                    <a:lnTo>
                      <a:pt x="446" y="217"/>
                    </a:lnTo>
                    <a:lnTo>
                      <a:pt x="448" y="217"/>
                    </a:lnTo>
                    <a:lnTo>
                      <a:pt x="448" y="215"/>
                    </a:lnTo>
                    <a:lnTo>
                      <a:pt x="450" y="215"/>
                    </a:lnTo>
                    <a:lnTo>
                      <a:pt x="450" y="214"/>
                    </a:lnTo>
                    <a:lnTo>
                      <a:pt x="450" y="212"/>
                    </a:lnTo>
                    <a:lnTo>
                      <a:pt x="448" y="212"/>
                    </a:lnTo>
                    <a:lnTo>
                      <a:pt x="448" y="211"/>
                    </a:lnTo>
                    <a:lnTo>
                      <a:pt x="448" y="209"/>
                    </a:lnTo>
                    <a:lnTo>
                      <a:pt x="450" y="209"/>
                    </a:lnTo>
                    <a:lnTo>
                      <a:pt x="448" y="209"/>
                    </a:lnTo>
                    <a:lnTo>
                      <a:pt x="448" y="207"/>
                    </a:lnTo>
                    <a:lnTo>
                      <a:pt x="450" y="207"/>
                    </a:lnTo>
                    <a:lnTo>
                      <a:pt x="450" y="206"/>
                    </a:lnTo>
                    <a:lnTo>
                      <a:pt x="450" y="204"/>
                    </a:lnTo>
                    <a:lnTo>
                      <a:pt x="450" y="203"/>
                    </a:lnTo>
                    <a:lnTo>
                      <a:pt x="448" y="203"/>
                    </a:lnTo>
                    <a:lnTo>
                      <a:pt x="446" y="203"/>
                    </a:lnTo>
                    <a:lnTo>
                      <a:pt x="445" y="203"/>
                    </a:lnTo>
                    <a:lnTo>
                      <a:pt x="443" y="203"/>
                    </a:lnTo>
                    <a:lnTo>
                      <a:pt x="443" y="201"/>
                    </a:lnTo>
                    <a:lnTo>
                      <a:pt x="442" y="201"/>
                    </a:lnTo>
                    <a:lnTo>
                      <a:pt x="440" y="201"/>
                    </a:lnTo>
                    <a:lnTo>
                      <a:pt x="438" y="201"/>
                    </a:lnTo>
                    <a:lnTo>
                      <a:pt x="437" y="201"/>
                    </a:lnTo>
                    <a:lnTo>
                      <a:pt x="437" y="199"/>
                    </a:lnTo>
                    <a:lnTo>
                      <a:pt x="435" y="199"/>
                    </a:lnTo>
                    <a:lnTo>
                      <a:pt x="434" y="199"/>
                    </a:lnTo>
                    <a:lnTo>
                      <a:pt x="434" y="198"/>
                    </a:lnTo>
                    <a:lnTo>
                      <a:pt x="432" y="198"/>
                    </a:lnTo>
                    <a:lnTo>
                      <a:pt x="431" y="196"/>
                    </a:lnTo>
                    <a:lnTo>
                      <a:pt x="431" y="195"/>
                    </a:lnTo>
                    <a:lnTo>
                      <a:pt x="431" y="193"/>
                    </a:lnTo>
                    <a:lnTo>
                      <a:pt x="431" y="192"/>
                    </a:lnTo>
                    <a:lnTo>
                      <a:pt x="429" y="192"/>
                    </a:lnTo>
                    <a:lnTo>
                      <a:pt x="429" y="190"/>
                    </a:lnTo>
                    <a:lnTo>
                      <a:pt x="431" y="190"/>
                    </a:lnTo>
                    <a:lnTo>
                      <a:pt x="429" y="190"/>
                    </a:lnTo>
                    <a:lnTo>
                      <a:pt x="429" y="188"/>
                    </a:lnTo>
                    <a:lnTo>
                      <a:pt x="427" y="188"/>
                    </a:lnTo>
                    <a:lnTo>
                      <a:pt x="427" y="187"/>
                    </a:lnTo>
                    <a:lnTo>
                      <a:pt x="426" y="187"/>
                    </a:lnTo>
                    <a:lnTo>
                      <a:pt x="424" y="187"/>
                    </a:lnTo>
                    <a:lnTo>
                      <a:pt x="423" y="187"/>
                    </a:lnTo>
                    <a:lnTo>
                      <a:pt x="423" y="185"/>
                    </a:lnTo>
                    <a:lnTo>
                      <a:pt x="421" y="185"/>
                    </a:lnTo>
                    <a:lnTo>
                      <a:pt x="421" y="184"/>
                    </a:lnTo>
                    <a:lnTo>
                      <a:pt x="419" y="182"/>
                    </a:lnTo>
                    <a:lnTo>
                      <a:pt x="418" y="184"/>
                    </a:lnTo>
                    <a:lnTo>
                      <a:pt x="418" y="185"/>
                    </a:lnTo>
                    <a:lnTo>
                      <a:pt x="416" y="185"/>
                    </a:lnTo>
                    <a:lnTo>
                      <a:pt x="416" y="187"/>
                    </a:lnTo>
                    <a:lnTo>
                      <a:pt x="415" y="187"/>
                    </a:lnTo>
                    <a:lnTo>
                      <a:pt x="415" y="188"/>
                    </a:lnTo>
                    <a:lnTo>
                      <a:pt x="413" y="188"/>
                    </a:lnTo>
                    <a:lnTo>
                      <a:pt x="413" y="190"/>
                    </a:lnTo>
                    <a:lnTo>
                      <a:pt x="413" y="192"/>
                    </a:lnTo>
                    <a:lnTo>
                      <a:pt x="413" y="193"/>
                    </a:lnTo>
                    <a:lnTo>
                      <a:pt x="415" y="193"/>
                    </a:lnTo>
                    <a:lnTo>
                      <a:pt x="415" y="195"/>
                    </a:lnTo>
                    <a:lnTo>
                      <a:pt x="415" y="196"/>
                    </a:lnTo>
                    <a:lnTo>
                      <a:pt x="416" y="196"/>
                    </a:lnTo>
                    <a:lnTo>
                      <a:pt x="415" y="198"/>
                    </a:lnTo>
                    <a:lnTo>
                      <a:pt x="413" y="196"/>
                    </a:lnTo>
                    <a:lnTo>
                      <a:pt x="412" y="196"/>
                    </a:lnTo>
                    <a:lnTo>
                      <a:pt x="412" y="195"/>
                    </a:lnTo>
                    <a:lnTo>
                      <a:pt x="410" y="195"/>
                    </a:lnTo>
                    <a:lnTo>
                      <a:pt x="410" y="193"/>
                    </a:lnTo>
                    <a:lnTo>
                      <a:pt x="408" y="193"/>
                    </a:lnTo>
                    <a:lnTo>
                      <a:pt x="408" y="192"/>
                    </a:lnTo>
                    <a:lnTo>
                      <a:pt x="407" y="192"/>
                    </a:lnTo>
                    <a:lnTo>
                      <a:pt x="407" y="193"/>
                    </a:lnTo>
                    <a:lnTo>
                      <a:pt x="405" y="193"/>
                    </a:lnTo>
                    <a:lnTo>
                      <a:pt x="405" y="195"/>
                    </a:lnTo>
                    <a:lnTo>
                      <a:pt x="404" y="195"/>
                    </a:lnTo>
                    <a:lnTo>
                      <a:pt x="404" y="196"/>
                    </a:lnTo>
                    <a:lnTo>
                      <a:pt x="402" y="198"/>
                    </a:lnTo>
                    <a:lnTo>
                      <a:pt x="400" y="198"/>
                    </a:lnTo>
                    <a:lnTo>
                      <a:pt x="399" y="198"/>
                    </a:lnTo>
                    <a:lnTo>
                      <a:pt x="397" y="198"/>
                    </a:lnTo>
                    <a:lnTo>
                      <a:pt x="397" y="196"/>
                    </a:lnTo>
                    <a:lnTo>
                      <a:pt x="396" y="196"/>
                    </a:lnTo>
                    <a:lnTo>
                      <a:pt x="396" y="195"/>
                    </a:lnTo>
                    <a:lnTo>
                      <a:pt x="394" y="195"/>
                    </a:lnTo>
                    <a:lnTo>
                      <a:pt x="393" y="195"/>
                    </a:lnTo>
                    <a:lnTo>
                      <a:pt x="393" y="193"/>
                    </a:lnTo>
                    <a:lnTo>
                      <a:pt x="391" y="193"/>
                    </a:lnTo>
                    <a:lnTo>
                      <a:pt x="391" y="192"/>
                    </a:lnTo>
                    <a:lnTo>
                      <a:pt x="389" y="192"/>
                    </a:lnTo>
                    <a:lnTo>
                      <a:pt x="388" y="192"/>
                    </a:lnTo>
                    <a:lnTo>
                      <a:pt x="388" y="190"/>
                    </a:lnTo>
                    <a:lnTo>
                      <a:pt x="388" y="188"/>
                    </a:lnTo>
                    <a:lnTo>
                      <a:pt x="386" y="188"/>
                    </a:lnTo>
                    <a:lnTo>
                      <a:pt x="386" y="187"/>
                    </a:lnTo>
                    <a:lnTo>
                      <a:pt x="385" y="187"/>
                    </a:lnTo>
                    <a:lnTo>
                      <a:pt x="385" y="185"/>
                    </a:lnTo>
                    <a:lnTo>
                      <a:pt x="383" y="185"/>
                    </a:lnTo>
                    <a:lnTo>
                      <a:pt x="381" y="185"/>
                    </a:lnTo>
                    <a:lnTo>
                      <a:pt x="381" y="184"/>
                    </a:lnTo>
                    <a:lnTo>
                      <a:pt x="380" y="184"/>
                    </a:lnTo>
                    <a:lnTo>
                      <a:pt x="380" y="182"/>
                    </a:lnTo>
                    <a:lnTo>
                      <a:pt x="378" y="182"/>
                    </a:lnTo>
                    <a:lnTo>
                      <a:pt x="378" y="180"/>
                    </a:lnTo>
                    <a:lnTo>
                      <a:pt x="378" y="182"/>
                    </a:lnTo>
                    <a:lnTo>
                      <a:pt x="378" y="180"/>
                    </a:lnTo>
                    <a:lnTo>
                      <a:pt x="377" y="180"/>
                    </a:lnTo>
                    <a:lnTo>
                      <a:pt x="377" y="179"/>
                    </a:lnTo>
                    <a:lnTo>
                      <a:pt x="377" y="177"/>
                    </a:lnTo>
                    <a:lnTo>
                      <a:pt x="375" y="177"/>
                    </a:lnTo>
                    <a:lnTo>
                      <a:pt x="375" y="176"/>
                    </a:lnTo>
                    <a:lnTo>
                      <a:pt x="375" y="174"/>
                    </a:lnTo>
                    <a:lnTo>
                      <a:pt x="375" y="173"/>
                    </a:lnTo>
                    <a:lnTo>
                      <a:pt x="374" y="173"/>
                    </a:lnTo>
                    <a:lnTo>
                      <a:pt x="374" y="171"/>
                    </a:lnTo>
                    <a:lnTo>
                      <a:pt x="374" y="169"/>
                    </a:lnTo>
                    <a:lnTo>
                      <a:pt x="372" y="169"/>
                    </a:lnTo>
                    <a:lnTo>
                      <a:pt x="372" y="168"/>
                    </a:lnTo>
                    <a:lnTo>
                      <a:pt x="372" y="166"/>
                    </a:lnTo>
                    <a:lnTo>
                      <a:pt x="370" y="166"/>
                    </a:lnTo>
                    <a:lnTo>
                      <a:pt x="370" y="165"/>
                    </a:lnTo>
                    <a:lnTo>
                      <a:pt x="372" y="165"/>
                    </a:lnTo>
                    <a:lnTo>
                      <a:pt x="370" y="163"/>
                    </a:lnTo>
                    <a:lnTo>
                      <a:pt x="370" y="161"/>
                    </a:lnTo>
                    <a:lnTo>
                      <a:pt x="370" y="160"/>
                    </a:lnTo>
                    <a:lnTo>
                      <a:pt x="370" y="158"/>
                    </a:lnTo>
                    <a:lnTo>
                      <a:pt x="370" y="157"/>
                    </a:lnTo>
                    <a:lnTo>
                      <a:pt x="370" y="155"/>
                    </a:lnTo>
                    <a:lnTo>
                      <a:pt x="370" y="152"/>
                    </a:lnTo>
                    <a:lnTo>
                      <a:pt x="370" y="154"/>
                    </a:lnTo>
                    <a:lnTo>
                      <a:pt x="369" y="154"/>
                    </a:lnTo>
                    <a:lnTo>
                      <a:pt x="369" y="152"/>
                    </a:lnTo>
                    <a:lnTo>
                      <a:pt x="369" y="150"/>
                    </a:lnTo>
                    <a:lnTo>
                      <a:pt x="367" y="150"/>
                    </a:lnTo>
                    <a:lnTo>
                      <a:pt x="367" y="149"/>
                    </a:lnTo>
                    <a:lnTo>
                      <a:pt x="366" y="149"/>
                    </a:lnTo>
                    <a:lnTo>
                      <a:pt x="366" y="147"/>
                    </a:lnTo>
                    <a:lnTo>
                      <a:pt x="366" y="146"/>
                    </a:lnTo>
                    <a:lnTo>
                      <a:pt x="367" y="146"/>
                    </a:lnTo>
                    <a:lnTo>
                      <a:pt x="369" y="144"/>
                    </a:lnTo>
                    <a:lnTo>
                      <a:pt x="369" y="142"/>
                    </a:lnTo>
                    <a:lnTo>
                      <a:pt x="369" y="141"/>
                    </a:lnTo>
                    <a:lnTo>
                      <a:pt x="369" y="139"/>
                    </a:lnTo>
                    <a:lnTo>
                      <a:pt x="369" y="138"/>
                    </a:lnTo>
                    <a:lnTo>
                      <a:pt x="369" y="136"/>
                    </a:lnTo>
                    <a:lnTo>
                      <a:pt x="369" y="135"/>
                    </a:lnTo>
                    <a:lnTo>
                      <a:pt x="367" y="133"/>
                    </a:lnTo>
                    <a:lnTo>
                      <a:pt x="367" y="131"/>
                    </a:lnTo>
                    <a:lnTo>
                      <a:pt x="367" y="130"/>
                    </a:lnTo>
                    <a:lnTo>
                      <a:pt x="369" y="130"/>
                    </a:lnTo>
                    <a:lnTo>
                      <a:pt x="369" y="128"/>
                    </a:lnTo>
                    <a:lnTo>
                      <a:pt x="369" y="127"/>
                    </a:lnTo>
                    <a:lnTo>
                      <a:pt x="369" y="125"/>
                    </a:lnTo>
                    <a:lnTo>
                      <a:pt x="369" y="123"/>
                    </a:lnTo>
                    <a:lnTo>
                      <a:pt x="367" y="123"/>
                    </a:lnTo>
                    <a:lnTo>
                      <a:pt x="367" y="122"/>
                    </a:lnTo>
                    <a:lnTo>
                      <a:pt x="366" y="122"/>
                    </a:lnTo>
                    <a:lnTo>
                      <a:pt x="366" y="120"/>
                    </a:lnTo>
                    <a:lnTo>
                      <a:pt x="364" y="120"/>
                    </a:lnTo>
                    <a:lnTo>
                      <a:pt x="364" y="119"/>
                    </a:lnTo>
                    <a:lnTo>
                      <a:pt x="362" y="119"/>
                    </a:lnTo>
                    <a:lnTo>
                      <a:pt x="362" y="117"/>
                    </a:lnTo>
                    <a:lnTo>
                      <a:pt x="362" y="119"/>
                    </a:lnTo>
                    <a:lnTo>
                      <a:pt x="361" y="119"/>
                    </a:lnTo>
                    <a:lnTo>
                      <a:pt x="361" y="120"/>
                    </a:lnTo>
                    <a:lnTo>
                      <a:pt x="359" y="119"/>
                    </a:lnTo>
                    <a:lnTo>
                      <a:pt x="358" y="119"/>
                    </a:lnTo>
                    <a:lnTo>
                      <a:pt x="356" y="119"/>
                    </a:lnTo>
                    <a:lnTo>
                      <a:pt x="355" y="117"/>
                    </a:lnTo>
                    <a:lnTo>
                      <a:pt x="353" y="117"/>
                    </a:lnTo>
                    <a:lnTo>
                      <a:pt x="351" y="117"/>
                    </a:lnTo>
                    <a:lnTo>
                      <a:pt x="351" y="116"/>
                    </a:lnTo>
                    <a:lnTo>
                      <a:pt x="350" y="116"/>
                    </a:lnTo>
                    <a:lnTo>
                      <a:pt x="350" y="114"/>
                    </a:lnTo>
                    <a:lnTo>
                      <a:pt x="348" y="114"/>
                    </a:lnTo>
                    <a:lnTo>
                      <a:pt x="348" y="116"/>
                    </a:lnTo>
                    <a:lnTo>
                      <a:pt x="347" y="116"/>
                    </a:lnTo>
                    <a:lnTo>
                      <a:pt x="345" y="114"/>
                    </a:lnTo>
                    <a:lnTo>
                      <a:pt x="343" y="114"/>
                    </a:lnTo>
                    <a:lnTo>
                      <a:pt x="342" y="114"/>
                    </a:lnTo>
                    <a:lnTo>
                      <a:pt x="342" y="112"/>
                    </a:lnTo>
                    <a:lnTo>
                      <a:pt x="340" y="112"/>
                    </a:lnTo>
                    <a:lnTo>
                      <a:pt x="340" y="111"/>
                    </a:lnTo>
                    <a:lnTo>
                      <a:pt x="340" y="112"/>
                    </a:lnTo>
                    <a:lnTo>
                      <a:pt x="339" y="111"/>
                    </a:lnTo>
                    <a:lnTo>
                      <a:pt x="337" y="111"/>
                    </a:lnTo>
                    <a:lnTo>
                      <a:pt x="336" y="111"/>
                    </a:lnTo>
                    <a:lnTo>
                      <a:pt x="336" y="109"/>
                    </a:lnTo>
                    <a:lnTo>
                      <a:pt x="334" y="109"/>
                    </a:lnTo>
                    <a:lnTo>
                      <a:pt x="332" y="108"/>
                    </a:lnTo>
                    <a:lnTo>
                      <a:pt x="331" y="108"/>
                    </a:lnTo>
                    <a:lnTo>
                      <a:pt x="331" y="106"/>
                    </a:lnTo>
                    <a:lnTo>
                      <a:pt x="329" y="106"/>
                    </a:lnTo>
                    <a:lnTo>
                      <a:pt x="329" y="104"/>
                    </a:lnTo>
                    <a:lnTo>
                      <a:pt x="328" y="104"/>
                    </a:lnTo>
                    <a:lnTo>
                      <a:pt x="328" y="103"/>
                    </a:lnTo>
                    <a:lnTo>
                      <a:pt x="328" y="101"/>
                    </a:lnTo>
                    <a:lnTo>
                      <a:pt x="328" y="100"/>
                    </a:lnTo>
                    <a:lnTo>
                      <a:pt x="328" y="98"/>
                    </a:lnTo>
                    <a:lnTo>
                      <a:pt x="328" y="97"/>
                    </a:lnTo>
                    <a:lnTo>
                      <a:pt x="328" y="95"/>
                    </a:lnTo>
                    <a:lnTo>
                      <a:pt x="329" y="95"/>
                    </a:lnTo>
                    <a:lnTo>
                      <a:pt x="329" y="97"/>
                    </a:lnTo>
                    <a:lnTo>
                      <a:pt x="331" y="97"/>
                    </a:lnTo>
                    <a:lnTo>
                      <a:pt x="332" y="97"/>
                    </a:lnTo>
                    <a:lnTo>
                      <a:pt x="332" y="98"/>
                    </a:lnTo>
                    <a:lnTo>
                      <a:pt x="334" y="98"/>
                    </a:lnTo>
                    <a:lnTo>
                      <a:pt x="334" y="97"/>
                    </a:lnTo>
                    <a:lnTo>
                      <a:pt x="336" y="97"/>
                    </a:lnTo>
                    <a:lnTo>
                      <a:pt x="336" y="98"/>
                    </a:lnTo>
                    <a:lnTo>
                      <a:pt x="337" y="98"/>
                    </a:lnTo>
                    <a:lnTo>
                      <a:pt x="339" y="98"/>
                    </a:lnTo>
                    <a:lnTo>
                      <a:pt x="340" y="98"/>
                    </a:lnTo>
                    <a:lnTo>
                      <a:pt x="340" y="97"/>
                    </a:lnTo>
                    <a:lnTo>
                      <a:pt x="342" y="97"/>
                    </a:lnTo>
                    <a:lnTo>
                      <a:pt x="343" y="97"/>
                    </a:lnTo>
                    <a:lnTo>
                      <a:pt x="345" y="98"/>
                    </a:lnTo>
                    <a:lnTo>
                      <a:pt x="347" y="98"/>
                    </a:lnTo>
                    <a:lnTo>
                      <a:pt x="347" y="97"/>
                    </a:lnTo>
                    <a:lnTo>
                      <a:pt x="348" y="97"/>
                    </a:lnTo>
                    <a:lnTo>
                      <a:pt x="350" y="97"/>
                    </a:lnTo>
                    <a:lnTo>
                      <a:pt x="350" y="95"/>
                    </a:lnTo>
                    <a:lnTo>
                      <a:pt x="351" y="95"/>
                    </a:lnTo>
                    <a:lnTo>
                      <a:pt x="353" y="95"/>
                    </a:lnTo>
                    <a:lnTo>
                      <a:pt x="355" y="95"/>
                    </a:lnTo>
                    <a:lnTo>
                      <a:pt x="356" y="93"/>
                    </a:lnTo>
                    <a:lnTo>
                      <a:pt x="358" y="92"/>
                    </a:lnTo>
                    <a:lnTo>
                      <a:pt x="359" y="92"/>
                    </a:lnTo>
                    <a:lnTo>
                      <a:pt x="359" y="90"/>
                    </a:lnTo>
                    <a:lnTo>
                      <a:pt x="361" y="90"/>
                    </a:lnTo>
                    <a:lnTo>
                      <a:pt x="361" y="89"/>
                    </a:lnTo>
                    <a:lnTo>
                      <a:pt x="362" y="89"/>
                    </a:lnTo>
                    <a:lnTo>
                      <a:pt x="364" y="89"/>
                    </a:lnTo>
                    <a:lnTo>
                      <a:pt x="364" y="87"/>
                    </a:lnTo>
                    <a:lnTo>
                      <a:pt x="366" y="87"/>
                    </a:lnTo>
                    <a:lnTo>
                      <a:pt x="366" y="85"/>
                    </a:lnTo>
                    <a:lnTo>
                      <a:pt x="366" y="87"/>
                    </a:lnTo>
                    <a:lnTo>
                      <a:pt x="367" y="87"/>
                    </a:lnTo>
                    <a:lnTo>
                      <a:pt x="367" y="85"/>
                    </a:lnTo>
                    <a:lnTo>
                      <a:pt x="369" y="87"/>
                    </a:lnTo>
                    <a:lnTo>
                      <a:pt x="370" y="85"/>
                    </a:lnTo>
                    <a:lnTo>
                      <a:pt x="370" y="84"/>
                    </a:lnTo>
                    <a:lnTo>
                      <a:pt x="372" y="85"/>
                    </a:lnTo>
                    <a:lnTo>
                      <a:pt x="374" y="84"/>
                    </a:lnTo>
                    <a:lnTo>
                      <a:pt x="374" y="82"/>
                    </a:lnTo>
                    <a:lnTo>
                      <a:pt x="374" y="81"/>
                    </a:lnTo>
                    <a:lnTo>
                      <a:pt x="375" y="81"/>
                    </a:lnTo>
                    <a:lnTo>
                      <a:pt x="377" y="81"/>
                    </a:lnTo>
                    <a:lnTo>
                      <a:pt x="378" y="81"/>
                    </a:lnTo>
                    <a:lnTo>
                      <a:pt x="378" y="79"/>
                    </a:lnTo>
                    <a:lnTo>
                      <a:pt x="380" y="79"/>
                    </a:lnTo>
                    <a:lnTo>
                      <a:pt x="380" y="81"/>
                    </a:lnTo>
                    <a:lnTo>
                      <a:pt x="381" y="81"/>
                    </a:lnTo>
                    <a:lnTo>
                      <a:pt x="383" y="79"/>
                    </a:lnTo>
                    <a:lnTo>
                      <a:pt x="383" y="77"/>
                    </a:lnTo>
                    <a:lnTo>
                      <a:pt x="383" y="76"/>
                    </a:lnTo>
                    <a:lnTo>
                      <a:pt x="381" y="76"/>
                    </a:lnTo>
                    <a:lnTo>
                      <a:pt x="383" y="74"/>
                    </a:lnTo>
                    <a:lnTo>
                      <a:pt x="381" y="74"/>
                    </a:lnTo>
                    <a:lnTo>
                      <a:pt x="383" y="73"/>
                    </a:lnTo>
                    <a:lnTo>
                      <a:pt x="381" y="73"/>
                    </a:lnTo>
                    <a:lnTo>
                      <a:pt x="381" y="71"/>
                    </a:lnTo>
                    <a:lnTo>
                      <a:pt x="380" y="70"/>
                    </a:lnTo>
                    <a:lnTo>
                      <a:pt x="380" y="68"/>
                    </a:lnTo>
                    <a:lnTo>
                      <a:pt x="378" y="68"/>
                    </a:lnTo>
                    <a:lnTo>
                      <a:pt x="378" y="66"/>
                    </a:lnTo>
                    <a:lnTo>
                      <a:pt x="378" y="65"/>
                    </a:lnTo>
                    <a:lnTo>
                      <a:pt x="378" y="63"/>
                    </a:lnTo>
                    <a:lnTo>
                      <a:pt x="378" y="62"/>
                    </a:lnTo>
                    <a:lnTo>
                      <a:pt x="378" y="60"/>
                    </a:lnTo>
                    <a:lnTo>
                      <a:pt x="378" y="58"/>
                    </a:lnTo>
                    <a:lnTo>
                      <a:pt x="378" y="57"/>
                    </a:lnTo>
                    <a:lnTo>
                      <a:pt x="380" y="57"/>
                    </a:lnTo>
                    <a:lnTo>
                      <a:pt x="380" y="55"/>
                    </a:lnTo>
                    <a:lnTo>
                      <a:pt x="380" y="54"/>
                    </a:lnTo>
                    <a:lnTo>
                      <a:pt x="378" y="54"/>
                    </a:lnTo>
                    <a:lnTo>
                      <a:pt x="378" y="52"/>
                    </a:lnTo>
                    <a:lnTo>
                      <a:pt x="378" y="51"/>
                    </a:lnTo>
                    <a:lnTo>
                      <a:pt x="378" y="49"/>
                    </a:lnTo>
                    <a:lnTo>
                      <a:pt x="378" y="47"/>
                    </a:lnTo>
                    <a:lnTo>
                      <a:pt x="378" y="46"/>
                    </a:lnTo>
                    <a:lnTo>
                      <a:pt x="380" y="46"/>
                    </a:lnTo>
                    <a:lnTo>
                      <a:pt x="380" y="44"/>
                    </a:lnTo>
                    <a:lnTo>
                      <a:pt x="381" y="44"/>
                    </a:lnTo>
                    <a:lnTo>
                      <a:pt x="381" y="43"/>
                    </a:lnTo>
                    <a:lnTo>
                      <a:pt x="383" y="43"/>
                    </a:lnTo>
                    <a:lnTo>
                      <a:pt x="383" y="41"/>
                    </a:lnTo>
                    <a:lnTo>
                      <a:pt x="381" y="41"/>
                    </a:lnTo>
                    <a:lnTo>
                      <a:pt x="381" y="39"/>
                    </a:lnTo>
                    <a:lnTo>
                      <a:pt x="381" y="38"/>
                    </a:lnTo>
                    <a:lnTo>
                      <a:pt x="381" y="36"/>
                    </a:lnTo>
                    <a:lnTo>
                      <a:pt x="383" y="36"/>
                    </a:lnTo>
                    <a:lnTo>
                      <a:pt x="383" y="35"/>
                    </a:lnTo>
                    <a:lnTo>
                      <a:pt x="385" y="35"/>
                    </a:lnTo>
                    <a:lnTo>
                      <a:pt x="385" y="33"/>
                    </a:lnTo>
                    <a:lnTo>
                      <a:pt x="386" y="32"/>
                    </a:lnTo>
                    <a:lnTo>
                      <a:pt x="386" y="30"/>
                    </a:lnTo>
                    <a:lnTo>
                      <a:pt x="386" y="28"/>
                    </a:lnTo>
                    <a:lnTo>
                      <a:pt x="385" y="28"/>
                    </a:lnTo>
                    <a:lnTo>
                      <a:pt x="385" y="27"/>
                    </a:lnTo>
                    <a:lnTo>
                      <a:pt x="385" y="25"/>
                    </a:lnTo>
                    <a:lnTo>
                      <a:pt x="385" y="24"/>
                    </a:lnTo>
                    <a:lnTo>
                      <a:pt x="385" y="22"/>
                    </a:lnTo>
                    <a:lnTo>
                      <a:pt x="385" y="20"/>
                    </a:lnTo>
                    <a:lnTo>
                      <a:pt x="385" y="17"/>
                    </a:lnTo>
                    <a:lnTo>
                      <a:pt x="385" y="16"/>
                    </a:lnTo>
                    <a:lnTo>
                      <a:pt x="383" y="14"/>
                    </a:lnTo>
                    <a:lnTo>
                      <a:pt x="383" y="13"/>
                    </a:lnTo>
                    <a:lnTo>
                      <a:pt x="381" y="9"/>
                    </a:lnTo>
                    <a:lnTo>
                      <a:pt x="381" y="8"/>
                    </a:lnTo>
                    <a:lnTo>
                      <a:pt x="380" y="8"/>
                    </a:lnTo>
                    <a:lnTo>
                      <a:pt x="378" y="8"/>
                    </a:lnTo>
                    <a:lnTo>
                      <a:pt x="377" y="6"/>
                    </a:lnTo>
                    <a:lnTo>
                      <a:pt x="375" y="6"/>
                    </a:lnTo>
                    <a:lnTo>
                      <a:pt x="374" y="6"/>
                    </a:lnTo>
                    <a:lnTo>
                      <a:pt x="372" y="6"/>
                    </a:lnTo>
                    <a:lnTo>
                      <a:pt x="370" y="6"/>
                    </a:lnTo>
                    <a:lnTo>
                      <a:pt x="370" y="5"/>
                    </a:lnTo>
                    <a:lnTo>
                      <a:pt x="369" y="5"/>
                    </a:lnTo>
                    <a:lnTo>
                      <a:pt x="369" y="6"/>
                    </a:lnTo>
                    <a:lnTo>
                      <a:pt x="367" y="6"/>
                    </a:lnTo>
                    <a:lnTo>
                      <a:pt x="366" y="6"/>
                    </a:lnTo>
                    <a:lnTo>
                      <a:pt x="364" y="6"/>
                    </a:lnTo>
                    <a:lnTo>
                      <a:pt x="362" y="6"/>
                    </a:lnTo>
                    <a:lnTo>
                      <a:pt x="361" y="6"/>
                    </a:lnTo>
                    <a:lnTo>
                      <a:pt x="359" y="6"/>
                    </a:lnTo>
                    <a:lnTo>
                      <a:pt x="359" y="5"/>
                    </a:lnTo>
                    <a:lnTo>
                      <a:pt x="358" y="5"/>
                    </a:lnTo>
                    <a:lnTo>
                      <a:pt x="358" y="3"/>
                    </a:lnTo>
                    <a:lnTo>
                      <a:pt x="356" y="3"/>
                    </a:lnTo>
                    <a:lnTo>
                      <a:pt x="355" y="3"/>
                    </a:lnTo>
                    <a:lnTo>
                      <a:pt x="355" y="1"/>
                    </a:lnTo>
                    <a:lnTo>
                      <a:pt x="353" y="1"/>
                    </a:lnTo>
                    <a:lnTo>
                      <a:pt x="353" y="0"/>
                    </a:lnTo>
                    <a:lnTo>
                      <a:pt x="351" y="0"/>
                    </a:lnTo>
                    <a:lnTo>
                      <a:pt x="351" y="1"/>
                    </a:lnTo>
                    <a:lnTo>
                      <a:pt x="351" y="0"/>
                    </a:lnTo>
                    <a:lnTo>
                      <a:pt x="350" y="0"/>
                    </a:lnTo>
                    <a:lnTo>
                      <a:pt x="348" y="0"/>
                    </a:lnTo>
                    <a:lnTo>
                      <a:pt x="347" y="0"/>
                    </a:lnTo>
                    <a:lnTo>
                      <a:pt x="345" y="0"/>
                    </a:lnTo>
                    <a:lnTo>
                      <a:pt x="343" y="0"/>
                    </a:lnTo>
                    <a:lnTo>
                      <a:pt x="342" y="0"/>
                    </a:lnTo>
                    <a:lnTo>
                      <a:pt x="342" y="1"/>
                    </a:lnTo>
                    <a:lnTo>
                      <a:pt x="340" y="1"/>
                    </a:lnTo>
                    <a:lnTo>
                      <a:pt x="339" y="1"/>
                    </a:lnTo>
                    <a:lnTo>
                      <a:pt x="339" y="3"/>
                    </a:lnTo>
                    <a:lnTo>
                      <a:pt x="337" y="3"/>
                    </a:lnTo>
                    <a:lnTo>
                      <a:pt x="336" y="3"/>
                    </a:lnTo>
                    <a:lnTo>
                      <a:pt x="334" y="3"/>
                    </a:lnTo>
                    <a:lnTo>
                      <a:pt x="334" y="1"/>
                    </a:lnTo>
                    <a:lnTo>
                      <a:pt x="332" y="1"/>
                    </a:lnTo>
                    <a:lnTo>
                      <a:pt x="332" y="3"/>
                    </a:lnTo>
                    <a:lnTo>
                      <a:pt x="331" y="3"/>
                    </a:lnTo>
                    <a:lnTo>
                      <a:pt x="329" y="5"/>
                    </a:lnTo>
                    <a:lnTo>
                      <a:pt x="328" y="5"/>
                    </a:lnTo>
                    <a:lnTo>
                      <a:pt x="328" y="3"/>
                    </a:lnTo>
                    <a:lnTo>
                      <a:pt x="326" y="3"/>
                    </a:lnTo>
                    <a:lnTo>
                      <a:pt x="326" y="5"/>
                    </a:lnTo>
                    <a:lnTo>
                      <a:pt x="326" y="3"/>
                    </a:lnTo>
                    <a:lnTo>
                      <a:pt x="324" y="3"/>
                    </a:lnTo>
                    <a:lnTo>
                      <a:pt x="323" y="3"/>
                    </a:lnTo>
                    <a:lnTo>
                      <a:pt x="321" y="1"/>
                    </a:lnTo>
                    <a:lnTo>
                      <a:pt x="320" y="1"/>
                    </a:lnTo>
                    <a:lnTo>
                      <a:pt x="318" y="1"/>
                    </a:lnTo>
                    <a:lnTo>
                      <a:pt x="317" y="3"/>
                    </a:lnTo>
                    <a:lnTo>
                      <a:pt x="315" y="3"/>
                    </a:lnTo>
                    <a:lnTo>
                      <a:pt x="313" y="3"/>
                    </a:lnTo>
                    <a:lnTo>
                      <a:pt x="312" y="3"/>
                    </a:lnTo>
                    <a:lnTo>
                      <a:pt x="310" y="3"/>
                    </a:lnTo>
                    <a:lnTo>
                      <a:pt x="309" y="3"/>
                    </a:lnTo>
                    <a:lnTo>
                      <a:pt x="307" y="3"/>
                    </a:lnTo>
                    <a:lnTo>
                      <a:pt x="307" y="5"/>
                    </a:lnTo>
                    <a:lnTo>
                      <a:pt x="307" y="3"/>
                    </a:lnTo>
                    <a:lnTo>
                      <a:pt x="305" y="3"/>
                    </a:lnTo>
                    <a:lnTo>
                      <a:pt x="304" y="3"/>
                    </a:lnTo>
                    <a:lnTo>
                      <a:pt x="302" y="3"/>
                    </a:lnTo>
                    <a:lnTo>
                      <a:pt x="301" y="3"/>
                    </a:lnTo>
                    <a:lnTo>
                      <a:pt x="299" y="3"/>
                    </a:lnTo>
                    <a:lnTo>
                      <a:pt x="297" y="3"/>
                    </a:lnTo>
                    <a:lnTo>
                      <a:pt x="296" y="5"/>
                    </a:lnTo>
                    <a:lnTo>
                      <a:pt x="294" y="5"/>
                    </a:lnTo>
                    <a:lnTo>
                      <a:pt x="293" y="5"/>
                    </a:lnTo>
                    <a:lnTo>
                      <a:pt x="291" y="5"/>
                    </a:lnTo>
                    <a:lnTo>
                      <a:pt x="291" y="6"/>
                    </a:lnTo>
                    <a:lnTo>
                      <a:pt x="290" y="6"/>
                    </a:lnTo>
                    <a:lnTo>
                      <a:pt x="288" y="6"/>
                    </a:lnTo>
                    <a:lnTo>
                      <a:pt x="286" y="6"/>
                    </a:lnTo>
                    <a:lnTo>
                      <a:pt x="285" y="6"/>
                    </a:lnTo>
                    <a:lnTo>
                      <a:pt x="283" y="6"/>
                    </a:lnTo>
                    <a:lnTo>
                      <a:pt x="282" y="6"/>
                    </a:lnTo>
                    <a:lnTo>
                      <a:pt x="282" y="8"/>
                    </a:lnTo>
                    <a:lnTo>
                      <a:pt x="280" y="6"/>
                    </a:lnTo>
                    <a:lnTo>
                      <a:pt x="278" y="6"/>
                    </a:lnTo>
                    <a:lnTo>
                      <a:pt x="278" y="8"/>
                    </a:lnTo>
                    <a:lnTo>
                      <a:pt x="277" y="8"/>
                    </a:lnTo>
                    <a:lnTo>
                      <a:pt x="277" y="6"/>
                    </a:lnTo>
                    <a:lnTo>
                      <a:pt x="275" y="6"/>
                    </a:lnTo>
                    <a:lnTo>
                      <a:pt x="274" y="6"/>
                    </a:lnTo>
                    <a:lnTo>
                      <a:pt x="274" y="8"/>
                    </a:lnTo>
                    <a:lnTo>
                      <a:pt x="274" y="9"/>
                    </a:lnTo>
                    <a:lnTo>
                      <a:pt x="275" y="11"/>
                    </a:lnTo>
                    <a:lnTo>
                      <a:pt x="275" y="13"/>
                    </a:lnTo>
                    <a:lnTo>
                      <a:pt x="275" y="14"/>
                    </a:lnTo>
                    <a:lnTo>
                      <a:pt x="274" y="14"/>
                    </a:lnTo>
                    <a:lnTo>
                      <a:pt x="274" y="16"/>
                    </a:lnTo>
                    <a:lnTo>
                      <a:pt x="274" y="17"/>
                    </a:lnTo>
                    <a:lnTo>
                      <a:pt x="274" y="19"/>
                    </a:lnTo>
                    <a:lnTo>
                      <a:pt x="274" y="20"/>
                    </a:lnTo>
                    <a:lnTo>
                      <a:pt x="274" y="22"/>
                    </a:lnTo>
                    <a:lnTo>
                      <a:pt x="272" y="22"/>
                    </a:lnTo>
                    <a:lnTo>
                      <a:pt x="271" y="22"/>
                    </a:lnTo>
                    <a:lnTo>
                      <a:pt x="271" y="24"/>
                    </a:lnTo>
                    <a:lnTo>
                      <a:pt x="271" y="25"/>
                    </a:lnTo>
                    <a:lnTo>
                      <a:pt x="272" y="25"/>
                    </a:lnTo>
                    <a:lnTo>
                      <a:pt x="272" y="27"/>
                    </a:lnTo>
                    <a:lnTo>
                      <a:pt x="274" y="27"/>
                    </a:lnTo>
                    <a:lnTo>
                      <a:pt x="274" y="28"/>
                    </a:lnTo>
                    <a:lnTo>
                      <a:pt x="272" y="28"/>
                    </a:lnTo>
                    <a:lnTo>
                      <a:pt x="271" y="28"/>
                    </a:lnTo>
                    <a:lnTo>
                      <a:pt x="269" y="28"/>
                    </a:lnTo>
                    <a:lnTo>
                      <a:pt x="269" y="30"/>
                    </a:lnTo>
                    <a:lnTo>
                      <a:pt x="269" y="32"/>
                    </a:lnTo>
                    <a:lnTo>
                      <a:pt x="269" y="33"/>
                    </a:lnTo>
                    <a:lnTo>
                      <a:pt x="271" y="33"/>
                    </a:lnTo>
                    <a:lnTo>
                      <a:pt x="271" y="35"/>
                    </a:lnTo>
                    <a:lnTo>
                      <a:pt x="269" y="35"/>
                    </a:lnTo>
                    <a:lnTo>
                      <a:pt x="269" y="36"/>
                    </a:lnTo>
                    <a:lnTo>
                      <a:pt x="267" y="36"/>
                    </a:lnTo>
                    <a:lnTo>
                      <a:pt x="267" y="38"/>
                    </a:lnTo>
                    <a:lnTo>
                      <a:pt x="267" y="39"/>
                    </a:lnTo>
                    <a:lnTo>
                      <a:pt x="267" y="41"/>
                    </a:lnTo>
                    <a:lnTo>
                      <a:pt x="267" y="43"/>
                    </a:lnTo>
                    <a:lnTo>
                      <a:pt x="266" y="43"/>
                    </a:lnTo>
                    <a:lnTo>
                      <a:pt x="264" y="43"/>
                    </a:lnTo>
                    <a:lnTo>
                      <a:pt x="264" y="44"/>
                    </a:lnTo>
                    <a:lnTo>
                      <a:pt x="263" y="44"/>
                    </a:lnTo>
                    <a:lnTo>
                      <a:pt x="261" y="44"/>
                    </a:lnTo>
                    <a:lnTo>
                      <a:pt x="261" y="46"/>
                    </a:lnTo>
                    <a:lnTo>
                      <a:pt x="259" y="46"/>
                    </a:lnTo>
                    <a:lnTo>
                      <a:pt x="259" y="47"/>
                    </a:lnTo>
                    <a:lnTo>
                      <a:pt x="258" y="47"/>
                    </a:lnTo>
                    <a:lnTo>
                      <a:pt x="258" y="49"/>
                    </a:lnTo>
                    <a:lnTo>
                      <a:pt x="256" y="49"/>
                    </a:lnTo>
                    <a:lnTo>
                      <a:pt x="256" y="51"/>
                    </a:lnTo>
                    <a:lnTo>
                      <a:pt x="258" y="51"/>
                    </a:lnTo>
                    <a:lnTo>
                      <a:pt x="258" y="52"/>
                    </a:lnTo>
                    <a:lnTo>
                      <a:pt x="259" y="54"/>
                    </a:lnTo>
                    <a:lnTo>
                      <a:pt x="259" y="55"/>
                    </a:lnTo>
                    <a:lnTo>
                      <a:pt x="261" y="57"/>
                    </a:lnTo>
                    <a:lnTo>
                      <a:pt x="259" y="58"/>
                    </a:lnTo>
                    <a:lnTo>
                      <a:pt x="258" y="58"/>
                    </a:lnTo>
                    <a:lnTo>
                      <a:pt x="258" y="60"/>
                    </a:lnTo>
                    <a:lnTo>
                      <a:pt x="259" y="62"/>
                    </a:lnTo>
                    <a:lnTo>
                      <a:pt x="259" y="63"/>
                    </a:lnTo>
                    <a:lnTo>
                      <a:pt x="258" y="63"/>
                    </a:lnTo>
                    <a:lnTo>
                      <a:pt x="258" y="65"/>
                    </a:lnTo>
                    <a:lnTo>
                      <a:pt x="256" y="65"/>
                    </a:lnTo>
                    <a:lnTo>
                      <a:pt x="255" y="65"/>
                    </a:lnTo>
                    <a:lnTo>
                      <a:pt x="255" y="66"/>
                    </a:lnTo>
                    <a:lnTo>
                      <a:pt x="253" y="66"/>
                    </a:lnTo>
                    <a:lnTo>
                      <a:pt x="253" y="68"/>
                    </a:lnTo>
                    <a:lnTo>
                      <a:pt x="252" y="68"/>
                    </a:lnTo>
                    <a:lnTo>
                      <a:pt x="252" y="70"/>
                    </a:lnTo>
                    <a:lnTo>
                      <a:pt x="252" y="71"/>
                    </a:lnTo>
                    <a:lnTo>
                      <a:pt x="250" y="71"/>
                    </a:lnTo>
                    <a:lnTo>
                      <a:pt x="248" y="71"/>
                    </a:lnTo>
                    <a:lnTo>
                      <a:pt x="245" y="71"/>
                    </a:lnTo>
                    <a:lnTo>
                      <a:pt x="245" y="73"/>
                    </a:lnTo>
                    <a:lnTo>
                      <a:pt x="244" y="73"/>
                    </a:lnTo>
                    <a:lnTo>
                      <a:pt x="242" y="73"/>
                    </a:lnTo>
                    <a:lnTo>
                      <a:pt x="242" y="71"/>
                    </a:lnTo>
                    <a:lnTo>
                      <a:pt x="240" y="71"/>
                    </a:lnTo>
                    <a:lnTo>
                      <a:pt x="239" y="71"/>
                    </a:lnTo>
                    <a:lnTo>
                      <a:pt x="239" y="70"/>
                    </a:lnTo>
                    <a:lnTo>
                      <a:pt x="239" y="68"/>
                    </a:lnTo>
                    <a:lnTo>
                      <a:pt x="239" y="66"/>
                    </a:lnTo>
                    <a:lnTo>
                      <a:pt x="237" y="66"/>
                    </a:lnTo>
                    <a:lnTo>
                      <a:pt x="236" y="66"/>
                    </a:lnTo>
                    <a:lnTo>
                      <a:pt x="234" y="66"/>
                    </a:lnTo>
                    <a:lnTo>
                      <a:pt x="234" y="68"/>
                    </a:lnTo>
                    <a:lnTo>
                      <a:pt x="233" y="68"/>
                    </a:lnTo>
                    <a:lnTo>
                      <a:pt x="233" y="70"/>
                    </a:lnTo>
                    <a:lnTo>
                      <a:pt x="233" y="71"/>
                    </a:lnTo>
                    <a:lnTo>
                      <a:pt x="231" y="71"/>
                    </a:lnTo>
                    <a:lnTo>
                      <a:pt x="231" y="73"/>
                    </a:lnTo>
                    <a:lnTo>
                      <a:pt x="231" y="74"/>
                    </a:lnTo>
                    <a:lnTo>
                      <a:pt x="229" y="74"/>
                    </a:lnTo>
                    <a:lnTo>
                      <a:pt x="229" y="76"/>
                    </a:lnTo>
                    <a:lnTo>
                      <a:pt x="229" y="77"/>
                    </a:lnTo>
                    <a:lnTo>
                      <a:pt x="231" y="79"/>
                    </a:lnTo>
                    <a:lnTo>
                      <a:pt x="231" y="81"/>
                    </a:lnTo>
                    <a:lnTo>
                      <a:pt x="229" y="81"/>
                    </a:lnTo>
                    <a:lnTo>
                      <a:pt x="229" y="82"/>
                    </a:lnTo>
                    <a:lnTo>
                      <a:pt x="228" y="82"/>
                    </a:lnTo>
                    <a:lnTo>
                      <a:pt x="228" y="81"/>
                    </a:lnTo>
                    <a:lnTo>
                      <a:pt x="226" y="81"/>
                    </a:lnTo>
                    <a:lnTo>
                      <a:pt x="225" y="81"/>
                    </a:lnTo>
                    <a:lnTo>
                      <a:pt x="225" y="82"/>
                    </a:lnTo>
                    <a:lnTo>
                      <a:pt x="223" y="82"/>
                    </a:lnTo>
                    <a:lnTo>
                      <a:pt x="223" y="84"/>
                    </a:lnTo>
                    <a:lnTo>
                      <a:pt x="223" y="85"/>
                    </a:lnTo>
                    <a:lnTo>
                      <a:pt x="223" y="87"/>
                    </a:lnTo>
                    <a:lnTo>
                      <a:pt x="221" y="87"/>
                    </a:lnTo>
                    <a:lnTo>
                      <a:pt x="220" y="87"/>
                    </a:lnTo>
                    <a:lnTo>
                      <a:pt x="218" y="87"/>
                    </a:lnTo>
                    <a:lnTo>
                      <a:pt x="217" y="85"/>
                    </a:lnTo>
                    <a:lnTo>
                      <a:pt x="215" y="85"/>
                    </a:lnTo>
                    <a:lnTo>
                      <a:pt x="214" y="85"/>
                    </a:lnTo>
                    <a:lnTo>
                      <a:pt x="214" y="87"/>
                    </a:lnTo>
                    <a:lnTo>
                      <a:pt x="212" y="87"/>
                    </a:lnTo>
                    <a:lnTo>
                      <a:pt x="210" y="87"/>
                    </a:lnTo>
                    <a:lnTo>
                      <a:pt x="209" y="87"/>
                    </a:lnTo>
                    <a:lnTo>
                      <a:pt x="209" y="85"/>
                    </a:lnTo>
                    <a:lnTo>
                      <a:pt x="209" y="84"/>
                    </a:lnTo>
                    <a:lnTo>
                      <a:pt x="207" y="84"/>
                    </a:lnTo>
                    <a:lnTo>
                      <a:pt x="207" y="82"/>
                    </a:lnTo>
                    <a:lnTo>
                      <a:pt x="206" y="82"/>
                    </a:lnTo>
                    <a:lnTo>
                      <a:pt x="204" y="82"/>
                    </a:lnTo>
                    <a:lnTo>
                      <a:pt x="204" y="84"/>
                    </a:lnTo>
                    <a:lnTo>
                      <a:pt x="202" y="84"/>
                    </a:lnTo>
                    <a:lnTo>
                      <a:pt x="202" y="85"/>
                    </a:lnTo>
                    <a:lnTo>
                      <a:pt x="201" y="85"/>
                    </a:lnTo>
                    <a:lnTo>
                      <a:pt x="199" y="85"/>
                    </a:lnTo>
                    <a:lnTo>
                      <a:pt x="199" y="87"/>
                    </a:lnTo>
                    <a:lnTo>
                      <a:pt x="198" y="87"/>
                    </a:lnTo>
                    <a:lnTo>
                      <a:pt x="198" y="89"/>
                    </a:lnTo>
                    <a:lnTo>
                      <a:pt x="196" y="89"/>
                    </a:lnTo>
                    <a:lnTo>
                      <a:pt x="195" y="89"/>
                    </a:lnTo>
                    <a:lnTo>
                      <a:pt x="195" y="90"/>
                    </a:lnTo>
                    <a:lnTo>
                      <a:pt x="193" y="90"/>
                    </a:lnTo>
                    <a:lnTo>
                      <a:pt x="193" y="92"/>
                    </a:lnTo>
                    <a:lnTo>
                      <a:pt x="191" y="92"/>
                    </a:lnTo>
                    <a:lnTo>
                      <a:pt x="190" y="92"/>
                    </a:lnTo>
                    <a:lnTo>
                      <a:pt x="190" y="93"/>
                    </a:lnTo>
                    <a:lnTo>
                      <a:pt x="188" y="93"/>
                    </a:lnTo>
                    <a:lnTo>
                      <a:pt x="188" y="95"/>
                    </a:lnTo>
                    <a:lnTo>
                      <a:pt x="187" y="95"/>
                    </a:lnTo>
                    <a:lnTo>
                      <a:pt x="185" y="95"/>
                    </a:lnTo>
                    <a:lnTo>
                      <a:pt x="185" y="97"/>
                    </a:lnTo>
                    <a:lnTo>
                      <a:pt x="185" y="98"/>
                    </a:lnTo>
                    <a:lnTo>
                      <a:pt x="183" y="100"/>
                    </a:lnTo>
                    <a:lnTo>
                      <a:pt x="182" y="100"/>
                    </a:lnTo>
                    <a:lnTo>
                      <a:pt x="180" y="101"/>
                    </a:lnTo>
                    <a:lnTo>
                      <a:pt x="180" y="103"/>
                    </a:lnTo>
                    <a:lnTo>
                      <a:pt x="179" y="103"/>
                    </a:lnTo>
                    <a:lnTo>
                      <a:pt x="177" y="103"/>
                    </a:lnTo>
                    <a:lnTo>
                      <a:pt x="177" y="101"/>
                    </a:lnTo>
                    <a:lnTo>
                      <a:pt x="177" y="100"/>
                    </a:lnTo>
                    <a:lnTo>
                      <a:pt x="176" y="100"/>
                    </a:lnTo>
                    <a:lnTo>
                      <a:pt x="174" y="100"/>
                    </a:lnTo>
                    <a:lnTo>
                      <a:pt x="172" y="100"/>
                    </a:lnTo>
                    <a:lnTo>
                      <a:pt x="171" y="101"/>
                    </a:lnTo>
                    <a:lnTo>
                      <a:pt x="171" y="103"/>
                    </a:lnTo>
                    <a:lnTo>
                      <a:pt x="169" y="104"/>
                    </a:lnTo>
                    <a:lnTo>
                      <a:pt x="169" y="106"/>
                    </a:lnTo>
                    <a:lnTo>
                      <a:pt x="169" y="108"/>
                    </a:lnTo>
                    <a:lnTo>
                      <a:pt x="169" y="109"/>
                    </a:lnTo>
                    <a:lnTo>
                      <a:pt x="168" y="109"/>
                    </a:lnTo>
                    <a:lnTo>
                      <a:pt x="168" y="108"/>
                    </a:lnTo>
                    <a:lnTo>
                      <a:pt x="166" y="108"/>
                    </a:lnTo>
                    <a:lnTo>
                      <a:pt x="164" y="108"/>
                    </a:lnTo>
                    <a:lnTo>
                      <a:pt x="163" y="108"/>
                    </a:lnTo>
                    <a:lnTo>
                      <a:pt x="161" y="108"/>
                    </a:lnTo>
                    <a:lnTo>
                      <a:pt x="160" y="108"/>
                    </a:lnTo>
                    <a:lnTo>
                      <a:pt x="158" y="108"/>
                    </a:lnTo>
                    <a:lnTo>
                      <a:pt x="158" y="109"/>
                    </a:lnTo>
                    <a:lnTo>
                      <a:pt x="158" y="111"/>
                    </a:lnTo>
                    <a:lnTo>
                      <a:pt x="160" y="111"/>
                    </a:lnTo>
                    <a:lnTo>
                      <a:pt x="160" y="112"/>
                    </a:lnTo>
                    <a:lnTo>
                      <a:pt x="158" y="112"/>
                    </a:lnTo>
                    <a:lnTo>
                      <a:pt x="157" y="112"/>
                    </a:lnTo>
                    <a:lnTo>
                      <a:pt x="155" y="112"/>
                    </a:lnTo>
                    <a:lnTo>
                      <a:pt x="153" y="114"/>
                    </a:lnTo>
                    <a:lnTo>
                      <a:pt x="153" y="116"/>
                    </a:lnTo>
                    <a:lnTo>
                      <a:pt x="153" y="117"/>
                    </a:lnTo>
                    <a:lnTo>
                      <a:pt x="153" y="119"/>
                    </a:lnTo>
                    <a:lnTo>
                      <a:pt x="152" y="119"/>
                    </a:lnTo>
                    <a:lnTo>
                      <a:pt x="150" y="119"/>
                    </a:lnTo>
                    <a:lnTo>
                      <a:pt x="150" y="117"/>
                    </a:lnTo>
                    <a:lnTo>
                      <a:pt x="149" y="117"/>
                    </a:lnTo>
                    <a:lnTo>
                      <a:pt x="149" y="119"/>
                    </a:lnTo>
                    <a:lnTo>
                      <a:pt x="149" y="120"/>
                    </a:lnTo>
                    <a:lnTo>
                      <a:pt x="149" y="122"/>
                    </a:lnTo>
                    <a:lnTo>
                      <a:pt x="147" y="122"/>
                    </a:lnTo>
                    <a:lnTo>
                      <a:pt x="145" y="122"/>
                    </a:lnTo>
                    <a:lnTo>
                      <a:pt x="144" y="122"/>
                    </a:lnTo>
                    <a:lnTo>
                      <a:pt x="142" y="122"/>
                    </a:lnTo>
                    <a:lnTo>
                      <a:pt x="141" y="122"/>
                    </a:lnTo>
                    <a:lnTo>
                      <a:pt x="139" y="122"/>
                    </a:lnTo>
                    <a:lnTo>
                      <a:pt x="139" y="123"/>
                    </a:lnTo>
                    <a:lnTo>
                      <a:pt x="138" y="123"/>
                    </a:lnTo>
                    <a:lnTo>
                      <a:pt x="136" y="123"/>
                    </a:lnTo>
                    <a:lnTo>
                      <a:pt x="136" y="125"/>
                    </a:lnTo>
                    <a:lnTo>
                      <a:pt x="134" y="125"/>
                    </a:lnTo>
                    <a:lnTo>
                      <a:pt x="134" y="127"/>
                    </a:lnTo>
                    <a:lnTo>
                      <a:pt x="134" y="128"/>
                    </a:lnTo>
                    <a:lnTo>
                      <a:pt x="133" y="128"/>
                    </a:lnTo>
                    <a:lnTo>
                      <a:pt x="131" y="128"/>
                    </a:lnTo>
                    <a:lnTo>
                      <a:pt x="130" y="128"/>
                    </a:lnTo>
                    <a:lnTo>
                      <a:pt x="128" y="128"/>
                    </a:lnTo>
                    <a:lnTo>
                      <a:pt x="126" y="128"/>
                    </a:lnTo>
                    <a:lnTo>
                      <a:pt x="126" y="130"/>
                    </a:lnTo>
                    <a:lnTo>
                      <a:pt x="125" y="130"/>
                    </a:lnTo>
                    <a:lnTo>
                      <a:pt x="123" y="130"/>
                    </a:lnTo>
                    <a:lnTo>
                      <a:pt x="123" y="131"/>
                    </a:lnTo>
                    <a:lnTo>
                      <a:pt x="122" y="131"/>
                    </a:lnTo>
                    <a:lnTo>
                      <a:pt x="120" y="131"/>
                    </a:lnTo>
                    <a:lnTo>
                      <a:pt x="120" y="130"/>
                    </a:lnTo>
                    <a:lnTo>
                      <a:pt x="119" y="130"/>
                    </a:lnTo>
                    <a:lnTo>
                      <a:pt x="117" y="130"/>
                    </a:lnTo>
                    <a:lnTo>
                      <a:pt x="115" y="130"/>
                    </a:lnTo>
                    <a:lnTo>
                      <a:pt x="115" y="131"/>
                    </a:lnTo>
                    <a:lnTo>
                      <a:pt x="115" y="133"/>
                    </a:lnTo>
                    <a:lnTo>
                      <a:pt x="115" y="135"/>
                    </a:lnTo>
                    <a:lnTo>
                      <a:pt x="117" y="135"/>
                    </a:lnTo>
                    <a:lnTo>
                      <a:pt x="117" y="136"/>
                    </a:lnTo>
                    <a:lnTo>
                      <a:pt x="115" y="138"/>
                    </a:lnTo>
                    <a:lnTo>
                      <a:pt x="114" y="138"/>
                    </a:lnTo>
                    <a:lnTo>
                      <a:pt x="112" y="138"/>
                    </a:lnTo>
                    <a:lnTo>
                      <a:pt x="112" y="136"/>
                    </a:lnTo>
                    <a:lnTo>
                      <a:pt x="111" y="136"/>
                    </a:lnTo>
                    <a:lnTo>
                      <a:pt x="111" y="135"/>
                    </a:lnTo>
                    <a:lnTo>
                      <a:pt x="109" y="135"/>
                    </a:lnTo>
                    <a:lnTo>
                      <a:pt x="109" y="133"/>
                    </a:lnTo>
                    <a:lnTo>
                      <a:pt x="107" y="133"/>
                    </a:lnTo>
                    <a:lnTo>
                      <a:pt x="106" y="133"/>
                    </a:lnTo>
                    <a:lnTo>
                      <a:pt x="104" y="133"/>
                    </a:lnTo>
                    <a:lnTo>
                      <a:pt x="104" y="135"/>
                    </a:lnTo>
                    <a:lnTo>
                      <a:pt x="103" y="135"/>
                    </a:lnTo>
                    <a:lnTo>
                      <a:pt x="101" y="136"/>
                    </a:lnTo>
                    <a:lnTo>
                      <a:pt x="99" y="136"/>
                    </a:lnTo>
                    <a:lnTo>
                      <a:pt x="99" y="138"/>
                    </a:lnTo>
                    <a:lnTo>
                      <a:pt x="98" y="138"/>
                    </a:lnTo>
                    <a:lnTo>
                      <a:pt x="98" y="139"/>
                    </a:lnTo>
                    <a:lnTo>
                      <a:pt x="96" y="139"/>
                    </a:lnTo>
                    <a:lnTo>
                      <a:pt x="95" y="138"/>
                    </a:lnTo>
                    <a:lnTo>
                      <a:pt x="95" y="139"/>
                    </a:lnTo>
                    <a:lnTo>
                      <a:pt x="93" y="139"/>
                    </a:lnTo>
                    <a:lnTo>
                      <a:pt x="93" y="141"/>
                    </a:lnTo>
                    <a:lnTo>
                      <a:pt x="93" y="142"/>
                    </a:lnTo>
                    <a:lnTo>
                      <a:pt x="93" y="144"/>
                    </a:lnTo>
                    <a:lnTo>
                      <a:pt x="92" y="144"/>
                    </a:lnTo>
                    <a:lnTo>
                      <a:pt x="92" y="142"/>
                    </a:lnTo>
                    <a:lnTo>
                      <a:pt x="90" y="142"/>
                    </a:lnTo>
                    <a:lnTo>
                      <a:pt x="88" y="142"/>
                    </a:lnTo>
                    <a:lnTo>
                      <a:pt x="88" y="144"/>
                    </a:lnTo>
                    <a:lnTo>
                      <a:pt x="88" y="146"/>
                    </a:lnTo>
                    <a:lnTo>
                      <a:pt x="87" y="146"/>
                    </a:lnTo>
                    <a:lnTo>
                      <a:pt x="85" y="147"/>
                    </a:lnTo>
                    <a:lnTo>
                      <a:pt x="84" y="149"/>
                    </a:lnTo>
                    <a:lnTo>
                      <a:pt x="84" y="150"/>
                    </a:lnTo>
                    <a:lnTo>
                      <a:pt x="82" y="150"/>
                    </a:lnTo>
                    <a:lnTo>
                      <a:pt x="82" y="152"/>
                    </a:lnTo>
                    <a:lnTo>
                      <a:pt x="80" y="152"/>
                    </a:lnTo>
                    <a:lnTo>
                      <a:pt x="79" y="152"/>
                    </a:lnTo>
                    <a:lnTo>
                      <a:pt x="77" y="152"/>
                    </a:lnTo>
                    <a:lnTo>
                      <a:pt x="77" y="154"/>
                    </a:lnTo>
                    <a:lnTo>
                      <a:pt x="76" y="154"/>
                    </a:lnTo>
                    <a:lnTo>
                      <a:pt x="74" y="154"/>
                    </a:lnTo>
                    <a:lnTo>
                      <a:pt x="73" y="154"/>
                    </a:lnTo>
                    <a:lnTo>
                      <a:pt x="71" y="154"/>
                    </a:lnTo>
                    <a:lnTo>
                      <a:pt x="71" y="155"/>
                    </a:lnTo>
                    <a:lnTo>
                      <a:pt x="69" y="155"/>
                    </a:lnTo>
                    <a:lnTo>
                      <a:pt x="69" y="154"/>
                    </a:lnTo>
                    <a:lnTo>
                      <a:pt x="69" y="155"/>
                    </a:lnTo>
                    <a:lnTo>
                      <a:pt x="68" y="155"/>
                    </a:lnTo>
                    <a:lnTo>
                      <a:pt x="68" y="157"/>
                    </a:lnTo>
                    <a:lnTo>
                      <a:pt x="66" y="157"/>
                    </a:lnTo>
                    <a:lnTo>
                      <a:pt x="65" y="155"/>
                    </a:lnTo>
                    <a:lnTo>
                      <a:pt x="63" y="155"/>
                    </a:lnTo>
                    <a:lnTo>
                      <a:pt x="63" y="154"/>
                    </a:lnTo>
                    <a:lnTo>
                      <a:pt x="61" y="154"/>
                    </a:lnTo>
                    <a:lnTo>
                      <a:pt x="61" y="155"/>
                    </a:lnTo>
                    <a:lnTo>
                      <a:pt x="61" y="157"/>
                    </a:lnTo>
                    <a:lnTo>
                      <a:pt x="61" y="158"/>
                    </a:lnTo>
                    <a:lnTo>
                      <a:pt x="60" y="158"/>
                    </a:lnTo>
                    <a:lnTo>
                      <a:pt x="60" y="160"/>
                    </a:lnTo>
                    <a:lnTo>
                      <a:pt x="58" y="160"/>
                    </a:lnTo>
                    <a:lnTo>
                      <a:pt x="58" y="158"/>
                    </a:lnTo>
                    <a:lnTo>
                      <a:pt x="57" y="158"/>
                    </a:lnTo>
                    <a:lnTo>
                      <a:pt x="55" y="158"/>
                    </a:lnTo>
                    <a:lnTo>
                      <a:pt x="54" y="158"/>
                    </a:lnTo>
                    <a:lnTo>
                      <a:pt x="52" y="158"/>
                    </a:lnTo>
                    <a:lnTo>
                      <a:pt x="50" y="158"/>
                    </a:lnTo>
                    <a:lnTo>
                      <a:pt x="49" y="160"/>
                    </a:lnTo>
                    <a:lnTo>
                      <a:pt x="47" y="160"/>
                    </a:lnTo>
                    <a:lnTo>
                      <a:pt x="46" y="160"/>
                    </a:lnTo>
                    <a:lnTo>
                      <a:pt x="46" y="158"/>
                    </a:lnTo>
                    <a:lnTo>
                      <a:pt x="46" y="157"/>
                    </a:lnTo>
                    <a:lnTo>
                      <a:pt x="44" y="157"/>
                    </a:lnTo>
                    <a:lnTo>
                      <a:pt x="44" y="155"/>
                    </a:lnTo>
                    <a:lnTo>
                      <a:pt x="42" y="154"/>
                    </a:lnTo>
                    <a:lnTo>
                      <a:pt x="41" y="154"/>
                    </a:lnTo>
                    <a:lnTo>
                      <a:pt x="41" y="152"/>
                    </a:lnTo>
                    <a:lnTo>
                      <a:pt x="41" y="154"/>
                    </a:lnTo>
                    <a:lnTo>
                      <a:pt x="41" y="152"/>
                    </a:lnTo>
                    <a:lnTo>
                      <a:pt x="39" y="154"/>
                    </a:lnTo>
                    <a:lnTo>
                      <a:pt x="38" y="154"/>
                    </a:lnTo>
                    <a:lnTo>
                      <a:pt x="36" y="154"/>
                    </a:lnTo>
                    <a:lnTo>
                      <a:pt x="36" y="152"/>
                    </a:lnTo>
                    <a:lnTo>
                      <a:pt x="35" y="152"/>
                    </a:lnTo>
                    <a:lnTo>
                      <a:pt x="33" y="150"/>
                    </a:lnTo>
                    <a:lnTo>
                      <a:pt x="33" y="149"/>
                    </a:lnTo>
                    <a:lnTo>
                      <a:pt x="31" y="149"/>
                    </a:lnTo>
                    <a:lnTo>
                      <a:pt x="31" y="147"/>
                    </a:lnTo>
                    <a:lnTo>
                      <a:pt x="30" y="147"/>
                    </a:lnTo>
                    <a:lnTo>
                      <a:pt x="30" y="146"/>
                    </a:lnTo>
                    <a:lnTo>
                      <a:pt x="28" y="146"/>
                    </a:lnTo>
                    <a:lnTo>
                      <a:pt x="27" y="146"/>
                    </a:lnTo>
                    <a:lnTo>
                      <a:pt x="25" y="146"/>
                    </a:lnTo>
                    <a:lnTo>
                      <a:pt x="25" y="144"/>
                    </a:lnTo>
                    <a:lnTo>
                      <a:pt x="23" y="144"/>
                    </a:lnTo>
                    <a:lnTo>
                      <a:pt x="23" y="142"/>
                    </a:lnTo>
                    <a:lnTo>
                      <a:pt x="23" y="141"/>
                    </a:lnTo>
                    <a:lnTo>
                      <a:pt x="23" y="139"/>
                    </a:lnTo>
                    <a:lnTo>
                      <a:pt x="22" y="139"/>
                    </a:lnTo>
                    <a:lnTo>
                      <a:pt x="20" y="138"/>
                    </a:lnTo>
                    <a:lnTo>
                      <a:pt x="19" y="138"/>
                    </a:lnTo>
                    <a:lnTo>
                      <a:pt x="19" y="136"/>
                    </a:lnTo>
                    <a:lnTo>
                      <a:pt x="17" y="136"/>
                    </a:lnTo>
                    <a:lnTo>
                      <a:pt x="16" y="136"/>
                    </a:lnTo>
                    <a:lnTo>
                      <a:pt x="16" y="135"/>
                    </a:lnTo>
                    <a:lnTo>
                      <a:pt x="16" y="133"/>
                    </a:lnTo>
                    <a:lnTo>
                      <a:pt x="16" y="131"/>
                    </a:lnTo>
                    <a:lnTo>
                      <a:pt x="16" y="130"/>
                    </a:lnTo>
                    <a:lnTo>
                      <a:pt x="14" y="130"/>
                    </a:lnTo>
                    <a:lnTo>
                      <a:pt x="12" y="130"/>
                    </a:lnTo>
                    <a:lnTo>
                      <a:pt x="11" y="130"/>
                    </a:lnTo>
                    <a:lnTo>
                      <a:pt x="9" y="128"/>
                    </a:lnTo>
                    <a:lnTo>
                      <a:pt x="8" y="128"/>
                    </a:lnTo>
                    <a:lnTo>
                      <a:pt x="8" y="127"/>
                    </a:lnTo>
                    <a:lnTo>
                      <a:pt x="6" y="127"/>
                    </a:lnTo>
                    <a:lnTo>
                      <a:pt x="6" y="125"/>
                    </a:lnTo>
                    <a:lnTo>
                      <a:pt x="4" y="125"/>
                    </a:lnTo>
                    <a:lnTo>
                      <a:pt x="4" y="123"/>
                    </a:lnTo>
                    <a:lnTo>
                      <a:pt x="4" y="122"/>
                    </a:lnTo>
                    <a:lnTo>
                      <a:pt x="4" y="120"/>
                    </a:lnTo>
                    <a:lnTo>
                      <a:pt x="3" y="120"/>
                    </a:lnTo>
                    <a:lnTo>
                      <a:pt x="3" y="119"/>
                    </a:lnTo>
                    <a:lnTo>
                      <a:pt x="1" y="119"/>
                    </a:lnTo>
                    <a:lnTo>
                      <a:pt x="1" y="117"/>
                    </a:lnTo>
                    <a:lnTo>
                      <a:pt x="0" y="116"/>
                    </a:lnTo>
                  </a:path>
                </a:pathLst>
              </a:custGeom>
              <a:noFill/>
              <a:ln w="476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15" name="Freeform 13"/>
              <p:cNvSpPr>
                <a:spLocks/>
              </p:cNvSpPr>
              <p:nvPr/>
            </p:nvSpPr>
            <p:spPr bwMode="auto">
              <a:xfrm>
                <a:off x="2307" y="1505"/>
                <a:ext cx="457" cy="574"/>
              </a:xfrm>
              <a:custGeom>
                <a:avLst/>
                <a:gdLst>
                  <a:gd name="T0" fmla="*/ 438 w 457"/>
                  <a:gd name="T1" fmla="*/ 567 h 574"/>
                  <a:gd name="T2" fmla="*/ 416 w 457"/>
                  <a:gd name="T3" fmla="*/ 558 h 574"/>
                  <a:gd name="T4" fmla="*/ 398 w 457"/>
                  <a:gd name="T5" fmla="*/ 569 h 574"/>
                  <a:gd name="T6" fmla="*/ 385 w 457"/>
                  <a:gd name="T7" fmla="*/ 553 h 574"/>
                  <a:gd name="T8" fmla="*/ 363 w 457"/>
                  <a:gd name="T9" fmla="*/ 547 h 574"/>
                  <a:gd name="T10" fmla="*/ 354 w 457"/>
                  <a:gd name="T11" fmla="*/ 528 h 574"/>
                  <a:gd name="T12" fmla="*/ 357 w 457"/>
                  <a:gd name="T13" fmla="*/ 510 h 574"/>
                  <a:gd name="T14" fmla="*/ 339 w 457"/>
                  <a:gd name="T15" fmla="*/ 499 h 574"/>
                  <a:gd name="T16" fmla="*/ 320 w 457"/>
                  <a:gd name="T17" fmla="*/ 490 h 574"/>
                  <a:gd name="T18" fmla="*/ 300 w 457"/>
                  <a:gd name="T19" fmla="*/ 483 h 574"/>
                  <a:gd name="T20" fmla="*/ 278 w 457"/>
                  <a:gd name="T21" fmla="*/ 480 h 574"/>
                  <a:gd name="T22" fmla="*/ 262 w 457"/>
                  <a:gd name="T23" fmla="*/ 472 h 574"/>
                  <a:gd name="T24" fmla="*/ 243 w 457"/>
                  <a:gd name="T25" fmla="*/ 472 h 574"/>
                  <a:gd name="T26" fmla="*/ 224 w 457"/>
                  <a:gd name="T27" fmla="*/ 466 h 574"/>
                  <a:gd name="T28" fmla="*/ 208 w 457"/>
                  <a:gd name="T29" fmla="*/ 474 h 574"/>
                  <a:gd name="T30" fmla="*/ 194 w 457"/>
                  <a:gd name="T31" fmla="*/ 471 h 574"/>
                  <a:gd name="T32" fmla="*/ 175 w 457"/>
                  <a:gd name="T33" fmla="*/ 464 h 574"/>
                  <a:gd name="T34" fmla="*/ 160 w 457"/>
                  <a:gd name="T35" fmla="*/ 455 h 574"/>
                  <a:gd name="T36" fmla="*/ 167 w 457"/>
                  <a:gd name="T37" fmla="*/ 434 h 574"/>
                  <a:gd name="T38" fmla="*/ 148 w 457"/>
                  <a:gd name="T39" fmla="*/ 431 h 574"/>
                  <a:gd name="T40" fmla="*/ 130 w 457"/>
                  <a:gd name="T41" fmla="*/ 439 h 574"/>
                  <a:gd name="T42" fmla="*/ 116 w 457"/>
                  <a:gd name="T43" fmla="*/ 425 h 574"/>
                  <a:gd name="T44" fmla="*/ 100 w 457"/>
                  <a:gd name="T45" fmla="*/ 417 h 574"/>
                  <a:gd name="T46" fmla="*/ 96 w 457"/>
                  <a:gd name="T47" fmla="*/ 401 h 574"/>
                  <a:gd name="T48" fmla="*/ 97 w 457"/>
                  <a:gd name="T49" fmla="*/ 387 h 574"/>
                  <a:gd name="T50" fmla="*/ 102 w 457"/>
                  <a:gd name="T51" fmla="*/ 369 h 574"/>
                  <a:gd name="T52" fmla="*/ 113 w 457"/>
                  <a:gd name="T53" fmla="*/ 353 h 574"/>
                  <a:gd name="T54" fmla="*/ 111 w 457"/>
                  <a:gd name="T55" fmla="*/ 341 h 574"/>
                  <a:gd name="T56" fmla="*/ 99 w 457"/>
                  <a:gd name="T57" fmla="*/ 353 h 574"/>
                  <a:gd name="T58" fmla="*/ 91 w 457"/>
                  <a:gd name="T59" fmla="*/ 339 h 574"/>
                  <a:gd name="T60" fmla="*/ 99 w 457"/>
                  <a:gd name="T61" fmla="*/ 322 h 574"/>
                  <a:gd name="T62" fmla="*/ 110 w 457"/>
                  <a:gd name="T63" fmla="*/ 304 h 574"/>
                  <a:gd name="T64" fmla="*/ 122 w 457"/>
                  <a:gd name="T65" fmla="*/ 288 h 574"/>
                  <a:gd name="T66" fmla="*/ 134 w 457"/>
                  <a:gd name="T67" fmla="*/ 271 h 574"/>
                  <a:gd name="T68" fmla="*/ 151 w 457"/>
                  <a:gd name="T69" fmla="*/ 257 h 574"/>
                  <a:gd name="T70" fmla="*/ 164 w 457"/>
                  <a:gd name="T71" fmla="*/ 249 h 574"/>
                  <a:gd name="T72" fmla="*/ 173 w 457"/>
                  <a:gd name="T73" fmla="*/ 247 h 574"/>
                  <a:gd name="T74" fmla="*/ 157 w 457"/>
                  <a:gd name="T75" fmla="*/ 239 h 574"/>
                  <a:gd name="T76" fmla="*/ 145 w 457"/>
                  <a:gd name="T77" fmla="*/ 233 h 574"/>
                  <a:gd name="T78" fmla="*/ 146 w 457"/>
                  <a:gd name="T79" fmla="*/ 211 h 574"/>
                  <a:gd name="T80" fmla="*/ 151 w 457"/>
                  <a:gd name="T81" fmla="*/ 193 h 574"/>
                  <a:gd name="T82" fmla="*/ 167 w 457"/>
                  <a:gd name="T83" fmla="*/ 190 h 574"/>
                  <a:gd name="T84" fmla="*/ 165 w 457"/>
                  <a:gd name="T85" fmla="*/ 179 h 574"/>
                  <a:gd name="T86" fmla="*/ 167 w 457"/>
                  <a:gd name="T87" fmla="*/ 165 h 574"/>
                  <a:gd name="T88" fmla="*/ 159 w 457"/>
                  <a:gd name="T89" fmla="*/ 146 h 574"/>
                  <a:gd name="T90" fmla="*/ 141 w 457"/>
                  <a:gd name="T91" fmla="*/ 155 h 574"/>
                  <a:gd name="T92" fmla="*/ 132 w 457"/>
                  <a:gd name="T93" fmla="*/ 141 h 574"/>
                  <a:gd name="T94" fmla="*/ 130 w 457"/>
                  <a:gd name="T95" fmla="*/ 124 h 574"/>
                  <a:gd name="T96" fmla="*/ 119 w 457"/>
                  <a:gd name="T97" fmla="*/ 105 h 574"/>
                  <a:gd name="T98" fmla="*/ 107 w 457"/>
                  <a:gd name="T99" fmla="*/ 89 h 574"/>
                  <a:gd name="T100" fmla="*/ 107 w 457"/>
                  <a:gd name="T101" fmla="*/ 68 h 574"/>
                  <a:gd name="T102" fmla="*/ 108 w 457"/>
                  <a:gd name="T103" fmla="*/ 52 h 574"/>
                  <a:gd name="T104" fmla="*/ 97 w 457"/>
                  <a:gd name="T105" fmla="*/ 46 h 574"/>
                  <a:gd name="T106" fmla="*/ 77 w 457"/>
                  <a:gd name="T107" fmla="*/ 63 h 574"/>
                  <a:gd name="T108" fmla="*/ 58 w 457"/>
                  <a:gd name="T109" fmla="*/ 81 h 574"/>
                  <a:gd name="T110" fmla="*/ 43 w 457"/>
                  <a:gd name="T111" fmla="*/ 68 h 574"/>
                  <a:gd name="T112" fmla="*/ 40 w 457"/>
                  <a:gd name="T113" fmla="*/ 51 h 574"/>
                  <a:gd name="T114" fmla="*/ 27 w 457"/>
                  <a:gd name="T115" fmla="*/ 33 h 574"/>
                  <a:gd name="T116" fmla="*/ 18 w 457"/>
                  <a:gd name="T117" fmla="*/ 17 h 574"/>
                  <a:gd name="T118" fmla="*/ 2 w 457"/>
                  <a:gd name="T119" fmla="*/ 5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57" h="574">
                    <a:moveTo>
                      <a:pt x="457" y="574"/>
                    </a:moveTo>
                    <a:lnTo>
                      <a:pt x="455" y="572"/>
                    </a:lnTo>
                    <a:lnTo>
                      <a:pt x="454" y="572"/>
                    </a:lnTo>
                    <a:lnTo>
                      <a:pt x="454" y="570"/>
                    </a:lnTo>
                    <a:lnTo>
                      <a:pt x="452" y="570"/>
                    </a:lnTo>
                    <a:lnTo>
                      <a:pt x="450" y="570"/>
                    </a:lnTo>
                    <a:lnTo>
                      <a:pt x="449" y="570"/>
                    </a:lnTo>
                    <a:lnTo>
                      <a:pt x="449" y="572"/>
                    </a:lnTo>
                    <a:lnTo>
                      <a:pt x="447" y="572"/>
                    </a:lnTo>
                    <a:lnTo>
                      <a:pt x="446" y="570"/>
                    </a:lnTo>
                    <a:lnTo>
                      <a:pt x="444" y="570"/>
                    </a:lnTo>
                    <a:lnTo>
                      <a:pt x="442" y="570"/>
                    </a:lnTo>
                    <a:lnTo>
                      <a:pt x="441" y="570"/>
                    </a:lnTo>
                    <a:lnTo>
                      <a:pt x="441" y="569"/>
                    </a:lnTo>
                    <a:lnTo>
                      <a:pt x="439" y="569"/>
                    </a:lnTo>
                    <a:lnTo>
                      <a:pt x="439" y="567"/>
                    </a:lnTo>
                    <a:lnTo>
                      <a:pt x="438" y="567"/>
                    </a:lnTo>
                    <a:lnTo>
                      <a:pt x="436" y="567"/>
                    </a:lnTo>
                    <a:lnTo>
                      <a:pt x="435" y="567"/>
                    </a:lnTo>
                    <a:lnTo>
                      <a:pt x="433" y="567"/>
                    </a:lnTo>
                    <a:lnTo>
                      <a:pt x="431" y="567"/>
                    </a:lnTo>
                    <a:lnTo>
                      <a:pt x="430" y="567"/>
                    </a:lnTo>
                    <a:lnTo>
                      <a:pt x="428" y="566"/>
                    </a:lnTo>
                    <a:lnTo>
                      <a:pt x="427" y="564"/>
                    </a:lnTo>
                    <a:lnTo>
                      <a:pt x="427" y="562"/>
                    </a:lnTo>
                    <a:lnTo>
                      <a:pt x="425" y="562"/>
                    </a:lnTo>
                    <a:lnTo>
                      <a:pt x="423" y="561"/>
                    </a:lnTo>
                    <a:lnTo>
                      <a:pt x="422" y="561"/>
                    </a:lnTo>
                    <a:lnTo>
                      <a:pt x="422" y="559"/>
                    </a:lnTo>
                    <a:lnTo>
                      <a:pt x="420" y="559"/>
                    </a:lnTo>
                    <a:lnTo>
                      <a:pt x="419" y="559"/>
                    </a:lnTo>
                    <a:lnTo>
                      <a:pt x="419" y="558"/>
                    </a:lnTo>
                    <a:lnTo>
                      <a:pt x="417" y="558"/>
                    </a:lnTo>
                    <a:lnTo>
                      <a:pt x="416" y="558"/>
                    </a:lnTo>
                    <a:lnTo>
                      <a:pt x="414" y="558"/>
                    </a:lnTo>
                    <a:lnTo>
                      <a:pt x="412" y="558"/>
                    </a:lnTo>
                    <a:lnTo>
                      <a:pt x="411" y="558"/>
                    </a:lnTo>
                    <a:lnTo>
                      <a:pt x="411" y="559"/>
                    </a:lnTo>
                    <a:lnTo>
                      <a:pt x="409" y="559"/>
                    </a:lnTo>
                    <a:lnTo>
                      <a:pt x="408" y="558"/>
                    </a:lnTo>
                    <a:lnTo>
                      <a:pt x="406" y="558"/>
                    </a:lnTo>
                    <a:lnTo>
                      <a:pt x="404" y="559"/>
                    </a:lnTo>
                    <a:lnTo>
                      <a:pt x="404" y="561"/>
                    </a:lnTo>
                    <a:lnTo>
                      <a:pt x="403" y="562"/>
                    </a:lnTo>
                    <a:lnTo>
                      <a:pt x="403" y="564"/>
                    </a:lnTo>
                    <a:lnTo>
                      <a:pt x="403" y="566"/>
                    </a:lnTo>
                    <a:lnTo>
                      <a:pt x="403" y="567"/>
                    </a:lnTo>
                    <a:lnTo>
                      <a:pt x="401" y="567"/>
                    </a:lnTo>
                    <a:lnTo>
                      <a:pt x="401" y="569"/>
                    </a:lnTo>
                    <a:lnTo>
                      <a:pt x="400" y="569"/>
                    </a:lnTo>
                    <a:lnTo>
                      <a:pt x="398" y="569"/>
                    </a:lnTo>
                    <a:lnTo>
                      <a:pt x="397" y="569"/>
                    </a:lnTo>
                    <a:lnTo>
                      <a:pt x="395" y="569"/>
                    </a:lnTo>
                    <a:lnTo>
                      <a:pt x="395" y="567"/>
                    </a:lnTo>
                    <a:lnTo>
                      <a:pt x="393" y="567"/>
                    </a:lnTo>
                    <a:lnTo>
                      <a:pt x="393" y="566"/>
                    </a:lnTo>
                    <a:lnTo>
                      <a:pt x="392" y="564"/>
                    </a:lnTo>
                    <a:lnTo>
                      <a:pt x="390" y="564"/>
                    </a:lnTo>
                    <a:lnTo>
                      <a:pt x="390" y="562"/>
                    </a:lnTo>
                    <a:lnTo>
                      <a:pt x="389" y="562"/>
                    </a:lnTo>
                    <a:lnTo>
                      <a:pt x="389" y="561"/>
                    </a:lnTo>
                    <a:lnTo>
                      <a:pt x="389" y="559"/>
                    </a:lnTo>
                    <a:lnTo>
                      <a:pt x="387" y="559"/>
                    </a:lnTo>
                    <a:lnTo>
                      <a:pt x="387" y="558"/>
                    </a:lnTo>
                    <a:lnTo>
                      <a:pt x="387" y="556"/>
                    </a:lnTo>
                    <a:lnTo>
                      <a:pt x="387" y="555"/>
                    </a:lnTo>
                    <a:lnTo>
                      <a:pt x="385" y="555"/>
                    </a:lnTo>
                    <a:lnTo>
                      <a:pt x="385" y="553"/>
                    </a:lnTo>
                    <a:lnTo>
                      <a:pt x="384" y="553"/>
                    </a:lnTo>
                    <a:lnTo>
                      <a:pt x="384" y="551"/>
                    </a:lnTo>
                    <a:lnTo>
                      <a:pt x="382" y="551"/>
                    </a:lnTo>
                    <a:lnTo>
                      <a:pt x="381" y="551"/>
                    </a:lnTo>
                    <a:lnTo>
                      <a:pt x="381" y="550"/>
                    </a:lnTo>
                    <a:lnTo>
                      <a:pt x="379" y="550"/>
                    </a:lnTo>
                    <a:lnTo>
                      <a:pt x="379" y="548"/>
                    </a:lnTo>
                    <a:lnTo>
                      <a:pt x="377" y="548"/>
                    </a:lnTo>
                    <a:lnTo>
                      <a:pt x="376" y="548"/>
                    </a:lnTo>
                    <a:lnTo>
                      <a:pt x="374" y="548"/>
                    </a:lnTo>
                    <a:lnTo>
                      <a:pt x="373" y="548"/>
                    </a:lnTo>
                    <a:lnTo>
                      <a:pt x="371" y="548"/>
                    </a:lnTo>
                    <a:lnTo>
                      <a:pt x="370" y="548"/>
                    </a:lnTo>
                    <a:lnTo>
                      <a:pt x="368" y="548"/>
                    </a:lnTo>
                    <a:lnTo>
                      <a:pt x="366" y="547"/>
                    </a:lnTo>
                    <a:lnTo>
                      <a:pt x="365" y="547"/>
                    </a:lnTo>
                    <a:lnTo>
                      <a:pt x="363" y="547"/>
                    </a:lnTo>
                    <a:lnTo>
                      <a:pt x="363" y="545"/>
                    </a:lnTo>
                    <a:lnTo>
                      <a:pt x="362" y="545"/>
                    </a:lnTo>
                    <a:lnTo>
                      <a:pt x="362" y="543"/>
                    </a:lnTo>
                    <a:lnTo>
                      <a:pt x="360" y="543"/>
                    </a:lnTo>
                    <a:lnTo>
                      <a:pt x="360" y="542"/>
                    </a:lnTo>
                    <a:lnTo>
                      <a:pt x="358" y="542"/>
                    </a:lnTo>
                    <a:lnTo>
                      <a:pt x="358" y="540"/>
                    </a:lnTo>
                    <a:lnTo>
                      <a:pt x="357" y="540"/>
                    </a:lnTo>
                    <a:lnTo>
                      <a:pt x="357" y="539"/>
                    </a:lnTo>
                    <a:lnTo>
                      <a:pt x="357" y="537"/>
                    </a:lnTo>
                    <a:lnTo>
                      <a:pt x="355" y="537"/>
                    </a:lnTo>
                    <a:lnTo>
                      <a:pt x="355" y="535"/>
                    </a:lnTo>
                    <a:lnTo>
                      <a:pt x="355" y="534"/>
                    </a:lnTo>
                    <a:lnTo>
                      <a:pt x="354" y="532"/>
                    </a:lnTo>
                    <a:lnTo>
                      <a:pt x="354" y="531"/>
                    </a:lnTo>
                    <a:lnTo>
                      <a:pt x="354" y="529"/>
                    </a:lnTo>
                    <a:lnTo>
                      <a:pt x="354" y="528"/>
                    </a:lnTo>
                    <a:lnTo>
                      <a:pt x="352" y="528"/>
                    </a:lnTo>
                    <a:lnTo>
                      <a:pt x="352" y="526"/>
                    </a:lnTo>
                    <a:lnTo>
                      <a:pt x="351" y="526"/>
                    </a:lnTo>
                    <a:lnTo>
                      <a:pt x="351" y="524"/>
                    </a:lnTo>
                    <a:lnTo>
                      <a:pt x="349" y="523"/>
                    </a:lnTo>
                    <a:lnTo>
                      <a:pt x="349" y="521"/>
                    </a:lnTo>
                    <a:lnTo>
                      <a:pt x="351" y="520"/>
                    </a:lnTo>
                    <a:lnTo>
                      <a:pt x="352" y="520"/>
                    </a:lnTo>
                    <a:lnTo>
                      <a:pt x="352" y="518"/>
                    </a:lnTo>
                    <a:lnTo>
                      <a:pt x="352" y="516"/>
                    </a:lnTo>
                    <a:lnTo>
                      <a:pt x="354" y="516"/>
                    </a:lnTo>
                    <a:lnTo>
                      <a:pt x="354" y="515"/>
                    </a:lnTo>
                    <a:lnTo>
                      <a:pt x="355" y="515"/>
                    </a:lnTo>
                    <a:lnTo>
                      <a:pt x="355" y="513"/>
                    </a:lnTo>
                    <a:lnTo>
                      <a:pt x="355" y="512"/>
                    </a:lnTo>
                    <a:lnTo>
                      <a:pt x="357" y="512"/>
                    </a:lnTo>
                    <a:lnTo>
                      <a:pt x="357" y="510"/>
                    </a:lnTo>
                    <a:lnTo>
                      <a:pt x="358" y="509"/>
                    </a:lnTo>
                    <a:lnTo>
                      <a:pt x="358" y="507"/>
                    </a:lnTo>
                    <a:lnTo>
                      <a:pt x="358" y="505"/>
                    </a:lnTo>
                    <a:lnTo>
                      <a:pt x="358" y="504"/>
                    </a:lnTo>
                    <a:lnTo>
                      <a:pt x="357" y="502"/>
                    </a:lnTo>
                    <a:lnTo>
                      <a:pt x="355" y="502"/>
                    </a:lnTo>
                    <a:lnTo>
                      <a:pt x="355" y="501"/>
                    </a:lnTo>
                    <a:lnTo>
                      <a:pt x="354" y="501"/>
                    </a:lnTo>
                    <a:lnTo>
                      <a:pt x="352" y="499"/>
                    </a:lnTo>
                    <a:lnTo>
                      <a:pt x="351" y="499"/>
                    </a:lnTo>
                    <a:lnTo>
                      <a:pt x="349" y="499"/>
                    </a:lnTo>
                    <a:lnTo>
                      <a:pt x="347" y="499"/>
                    </a:lnTo>
                    <a:lnTo>
                      <a:pt x="346" y="499"/>
                    </a:lnTo>
                    <a:lnTo>
                      <a:pt x="344" y="499"/>
                    </a:lnTo>
                    <a:lnTo>
                      <a:pt x="343" y="499"/>
                    </a:lnTo>
                    <a:lnTo>
                      <a:pt x="341" y="499"/>
                    </a:lnTo>
                    <a:lnTo>
                      <a:pt x="339" y="499"/>
                    </a:lnTo>
                    <a:lnTo>
                      <a:pt x="338" y="499"/>
                    </a:lnTo>
                    <a:lnTo>
                      <a:pt x="336" y="497"/>
                    </a:lnTo>
                    <a:lnTo>
                      <a:pt x="335" y="497"/>
                    </a:lnTo>
                    <a:lnTo>
                      <a:pt x="333" y="497"/>
                    </a:lnTo>
                    <a:lnTo>
                      <a:pt x="332" y="497"/>
                    </a:lnTo>
                    <a:lnTo>
                      <a:pt x="332" y="496"/>
                    </a:lnTo>
                    <a:lnTo>
                      <a:pt x="330" y="496"/>
                    </a:lnTo>
                    <a:lnTo>
                      <a:pt x="328" y="496"/>
                    </a:lnTo>
                    <a:lnTo>
                      <a:pt x="327" y="496"/>
                    </a:lnTo>
                    <a:lnTo>
                      <a:pt x="327" y="494"/>
                    </a:lnTo>
                    <a:lnTo>
                      <a:pt x="325" y="494"/>
                    </a:lnTo>
                    <a:lnTo>
                      <a:pt x="324" y="494"/>
                    </a:lnTo>
                    <a:lnTo>
                      <a:pt x="324" y="493"/>
                    </a:lnTo>
                    <a:lnTo>
                      <a:pt x="322" y="493"/>
                    </a:lnTo>
                    <a:lnTo>
                      <a:pt x="322" y="491"/>
                    </a:lnTo>
                    <a:lnTo>
                      <a:pt x="320" y="491"/>
                    </a:lnTo>
                    <a:lnTo>
                      <a:pt x="320" y="490"/>
                    </a:lnTo>
                    <a:lnTo>
                      <a:pt x="319" y="490"/>
                    </a:lnTo>
                    <a:lnTo>
                      <a:pt x="319" y="488"/>
                    </a:lnTo>
                    <a:lnTo>
                      <a:pt x="317" y="488"/>
                    </a:lnTo>
                    <a:lnTo>
                      <a:pt x="316" y="488"/>
                    </a:lnTo>
                    <a:lnTo>
                      <a:pt x="314" y="488"/>
                    </a:lnTo>
                    <a:lnTo>
                      <a:pt x="313" y="488"/>
                    </a:lnTo>
                    <a:lnTo>
                      <a:pt x="311" y="488"/>
                    </a:lnTo>
                    <a:lnTo>
                      <a:pt x="309" y="488"/>
                    </a:lnTo>
                    <a:lnTo>
                      <a:pt x="308" y="488"/>
                    </a:lnTo>
                    <a:lnTo>
                      <a:pt x="306" y="488"/>
                    </a:lnTo>
                    <a:lnTo>
                      <a:pt x="305" y="488"/>
                    </a:lnTo>
                    <a:lnTo>
                      <a:pt x="303" y="488"/>
                    </a:lnTo>
                    <a:lnTo>
                      <a:pt x="303" y="486"/>
                    </a:lnTo>
                    <a:lnTo>
                      <a:pt x="301" y="486"/>
                    </a:lnTo>
                    <a:lnTo>
                      <a:pt x="301" y="485"/>
                    </a:lnTo>
                    <a:lnTo>
                      <a:pt x="300" y="485"/>
                    </a:lnTo>
                    <a:lnTo>
                      <a:pt x="300" y="483"/>
                    </a:lnTo>
                    <a:lnTo>
                      <a:pt x="300" y="482"/>
                    </a:lnTo>
                    <a:lnTo>
                      <a:pt x="298" y="482"/>
                    </a:lnTo>
                    <a:lnTo>
                      <a:pt x="297" y="482"/>
                    </a:lnTo>
                    <a:lnTo>
                      <a:pt x="297" y="480"/>
                    </a:lnTo>
                    <a:lnTo>
                      <a:pt x="295" y="480"/>
                    </a:lnTo>
                    <a:lnTo>
                      <a:pt x="294" y="478"/>
                    </a:lnTo>
                    <a:lnTo>
                      <a:pt x="292" y="478"/>
                    </a:lnTo>
                    <a:lnTo>
                      <a:pt x="292" y="480"/>
                    </a:lnTo>
                    <a:lnTo>
                      <a:pt x="290" y="480"/>
                    </a:lnTo>
                    <a:lnTo>
                      <a:pt x="289" y="480"/>
                    </a:lnTo>
                    <a:lnTo>
                      <a:pt x="287" y="480"/>
                    </a:lnTo>
                    <a:lnTo>
                      <a:pt x="286" y="480"/>
                    </a:lnTo>
                    <a:lnTo>
                      <a:pt x="284" y="480"/>
                    </a:lnTo>
                    <a:lnTo>
                      <a:pt x="282" y="480"/>
                    </a:lnTo>
                    <a:lnTo>
                      <a:pt x="281" y="480"/>
                    </a:lnTo>
                    <a:lnTo>
                      <a:pt x="279" y="480"/>
                    </a:lnTo>
                    <a:lnTo>
                      <a:pt x="278" y="480"/>
                    </a:lnTo>
                    <a:lnTo>
                      <a:pt x="278" y="478"/>
                    </a:lnTo>
                    <a:lnTo>
                      <a:pt x="276" y="478"/>
                    </a:lnTo>
                    <a:lnTo>
                      <a:pt x="276" y="480"/>
                    </a:lnTo>
                    <a:lnTo>
                      <a:pt x="275" y="480"/>
                    </a:lnTo>
                    <a:lnTo>
                      <a:pt x="273" y="480"/>
                    </a:lnTo>
                    <a:lnTo>
                      <a:pt x="271" y="480"/>
                    </a:lnTo>
                    <a:lnTo>
                      <a:pt x="270" y="480"/>
                    </a:lnTo>
                    <a:lnTo>
                      <a:pt x="268" y="480"/>
                    </a:lnTo>
                    <a:lnTo>
                      <a:pt x="268" y="478"/>
                    </a:lnTo>
                    <a:lnTo>
                      <a:pt x="267" y="478"/>
                    </a:lnTo>
                    <a:lnTo>
                      <a:pt x="267" y="477"/>
                    </a:lnTo>
                    <a:lnTo>
                      <a:pt x="265" y="477"/>
                    </a:lnTo>
                    <a:lnTo>
                      <a:pt x="265" y="475"/>
                    </a:lnTo>
                    <a:lnTo>
                      <a:pt x="265" y="474"/>
                    </a:lnTo>
                    <a:lnTo>
                      <a:pt x="263" y="474"/>
                    </a:lnTo>
                    <a:lnTo>
                      <a:pt x="263" y="472"/>
                    </a:lnTo>
                    <a:lnTo>
                      <a:pt x="262" y="472"/>
                    </a:lnTo>
                    <a:lnTo>
                      <a:pt x="260" y="472"/>
                    </a:lnTo>
                    <a:lnTo>
                      <a:pt x="259" y="472"/>
                    </a:lnTo>
                    <a:lnTo>
                      <a:pt x="257" y="471"/>
                    </a:lnTo>
                    <a:lnTo>
                      <a:pt x="257" y="472"/>
                    </a:lnTo>
                    <a:lnTo>
                      <a:pt x="256" y="472"/>
                    </a:lnTo>
                    <a:lnTo>
                      <a:pt x="254" y="472"/>
                    </a:lnTo>
                    <a:lnTo>
                      <a:pt x="252" y="472"/>
                    </a:lnTo>
                    <a:lnTo>
                      <a:pt x="252" y="471"/>
                    </a:lnTo>
                    <a:lnTo>
                      <a:pt x="251" y="471"/>
                    </a:lnTo>
                    <a:lnTo>
                      <a:pt x="249" y="471"/>
                    </a:lnTo>
                    <a:lnTo>
                      <a:pt x="248" y="471"/>
                    </a:lnTo>
                    <a:lnTo>
                      <a:pt x="246" y="471"/>
                    </a:lnTo>
                    <a:lnTo>
                      <a:pt x="246" y="472"/>
                    </a:lnTo>
                    <a:lnTo>
                      <a:pt x="244" y="472"/>
                    </a:lnTo>
                    <a:lnTo>
                      <a:pt x="244" y="474"/>
                    </a:lnTo>
                    <a:lnTo>
                      <a:pt x="243" y="474"/>
                    </a:lnTo>
                    <a:lnTo>
                      <a:pt x="243" y="472"/>
                    </a:lnTo>
                    <a:lnTo>
                      <a:pt x="241" y="472"/>
                    </a:lnTo>
                    <a:lnTo>
                      <a:pt x="240" y="471"/>
                    </a:lnTo>
                    <a:lnTo>
                      <a:pt x="238" y="471"/>
                    </a:lnTo>
                    <a:lnTo>
                      <a:pt x="237" y="471"/>
                    </a:lnTo>
                    <a:lnTo>
                      <a:pt x="235" y="471"/>
                    </a:lnTo>
                    <a:lnTo>
                      <a:pt x="235" y="469"/>
                    </a:lnTo>
                    <a:lnTo>
                      <a:pt x="233" y="469"/>
                    </a:lnTo>
                    <a:lnTo>
                      <a:pt x="233" y="467"/>
                    </a:lnTo>
                    <a:lnTo>
                      <a:pt x="233" y="466"/>
                    </a:lnTo>
                    <a:lnTo>
                      <a:pt x="232" y="466"/>
                    </a:lnTo>
                    <a:lnTo>
                      <a:pt x="232" y="464"/>
                    </a:lnTo>
                    <a:lnTo>
                      <a:pt x="230" y="464"/>
                    </a:lnTo>
                    <a:lnTo>
                      <a:pt x="229" y="464"/>
                    </a:lnTo>
                    <a:lnTo>
                      <a:pt x="227" y="464"/>
                    </a:lnTo>
                    <a:lnTo>
                      <a:pt x="227" y="466"/>
                    </a:lnTo>
                    <a:lnTo>
                      <a:pt x="225" y="466"/>
                    </a:lnTo>
                    <a:lnTo>
                      <a:pt x="224" y="466"/>
                    </a:lnTo>
                    <a:lnTo>
                      <a:pt x="222" y="466"/>
                    </a:lnTo>
                    <a:lnTo>
                      <a:pt x="221" y="466"/>
                    </a:lnTo>
                    <a:lnTo>
                      <a:pt x="219" y="466"/>
                    </a:lnTo>
                    <a:lnTo>
                      <a:pt x="218" y="466"/>
                    </a:lnTo>
                    <a:lnTo>
                      <a:pt x="216" y="466"/>
                    </a:lnTo>
                    <a:lnTo>
                      <a:pt x="214" y="466"/>
                    </a:lnTo>
                    <a:lnTo>
                      <a:pt x="213" y="466"/>
                    </a:lnTo>
                    <a:lnTo>
                      <a:pt x="211" y="466"/>
                    </a:lnTo>
                    <a:lnTo>
                      <a:pt x="210" y="466"/>
                    </a:lnTo>
                    <a:lnTo>
                      <a:pt x="210" y="467"/>
                    </a:lnTo>
                    <a:lnTo>
                      <a:pt x="210" y="469"/>
                    </a:lnTo>
                    <a:lnTo>
                      <a:pt x="210" y="471"/>
                    </a:lnTo>
                    <a:lnTo>
                      <a:pt x="208" y="471"/>
                    </a:lnTo>
                    <a:lnTo>
                      <a:pt x="208" y="472"/>
                    </a:lnTo>
                    <a:lnTo>
                      <a:pt x="206" y="472"/>
                    </a:lnTo>
                    <a:lnTo>
                      <a:pt x="206" y="474"/>
                    </a:lnTo>
                    <a:lnTo>
                      <a:pt x="208" y="474"/>
                    </a:lnTo>
                    <a:lnTo>
                      <a:pt x="208" y="475"/>
                    </a:lnTo>
                    <a:lnTo>
                      <a:pt x="208" y="477"/>
                    </a:lnTo>
                    <a:lnTo>
                      <a:pt x="208" y="478"/>
                    </a:lnTo>
                    <a:lnTo>
                      <a:pt x="206" y="478"/>
                    </a:lnTo>
                    <a:lnTo>
                      <a:pt x="205" y="478"/>
                    </a:lnTo>
                    <a:lnTo>
                      <a:pt x="203" y="480"/>
                    </a:lnTo>
                    <a:lnTo>
                      <a:pt x="202" y="480"/>
                    </a:lnTo>
                    <a:lnTo>
                      <a:pt x="202" y="478"/>
                    </a:lnTo>
                    <a:lnTo>
                      <a:pt x="200" y="478"/>
                    </a:lnTo>
                    <a:lnTo>
                      <a:pt x="200" y="477"/>
                    </a:lnTo>
                    <a:lnTo>
                      <a:pt x="199" y="477"/>
                    </a:lnTo>
                    <a:lnTo>
                      <a:pt x="199" y="475"/>
                    </a:lnTo>
                    <a:lnTo>
                      <a:pt x="199" y="474"/>
                    </a:lnTo>
                    <a:lnTo>
                      <a:pt x="197" y="474"/>
                    </a:lnTo>
                    <a:lnTo>
                      <a:pt x="195" y="472"/>
                    </a:lnTo>
                    <a:lnTo>
                      <a:pt x="195" y="471"/>
                    </a:lnTo>
                    <a:lnTo>
                      <a:pt x="194" y="471"/>
                    </a:lnTo>
                    <a:lnTo>
                      <a:pt x="194" y="469"/>
                    </a:lnTo>
                    <a:lnTo>
                      <a:pt x="192" y="469"/>
                    </a:lnTo>
                    <a:lnTo>
                      <a:pt x="191" y="469"/>
                    </a:lnTo>
                    <a:lnTo>
                      <a:pt x="189" y="467"/>
                    </a:lnTo>
                    <a:lnTo>
                      <a:pt x="187" y="467"/>
                    </a:lnTo>
                    <a:lnTo>
                      <a:pt x="187" y="466"/>
                    </a:lnTo>
                    <a:lnTo>
                      <a:pt x="186" y="466"/>
                    </a:lnTo>
                    <a:lnTo>
                      <a:pt x="186" y="464"/>
                    </a:lnTo>
                    <a:lnTo>
                      <a:pt x="184" y="464"/>
                    </a:lnTo>
                    <a:lnTo>
                      <a:pt x="183" y="464"/>
                    </a:lnTo>
                    <a:lnTo>
                      <a:pt x="181" y="464"/>
                    </a:lnTo>
                    <a:lnTo>
                      <a:pt x="181" y="463"/>
                    </a:lnTo>
                    <a:lnTo>
                      <a:pt x="179" y="463"/>
                    </a:lnTo>
                    <a:lnTo>
                      <a:pt x="178" y="463"/>
                    </a:lnTo>
                    <a:lnTo>
                      <a:pt x="178" y="464"/>
                    </a:lnTo>
                    <a:lnTo>
                      <a:pt x="176" y="464"/>
                    </a:lnTo>
                    <a:lnTo>
                      <a:pt x="175" y="464"/>
                    </a:lnTo>
                    <a:lnTo>
                      <a:pt x="175" y="466"/>
                    </a:lnTo>
                    <a:lnTo>
                      <a:pt x="173" y="466"/>
                    </a:lnTo>
                    <a:lnTo>
                      <a:pt x="172" y="466"/>
                    </a:lnTo>
                    <a:lnTo>
                      <a:pt x="170" y="466"/>
                    </a:lnTo>
                    <a:lnTo>
                      <a:pt x="168" y="466"/>
                    </a:lnTo>
                    <a:lnTo>
                      <a:pt x="167" y="466"/>
                    </a:lnTo>
                    <a:lnTo>
                      <a:pt x="167" y="464"/>
                    </a:lnTo>
                    <a:lnTo>
                      <a:pt x="165" y="464"/>
                    </a:lnTo>
                    <a:lnTo>
                      <a:pt x="165" y="463"/>
                    </a:lnTo>
                    <a:lnTo>
                      <a:pt x="164" y="463"/>
                    </a:lnTo>
                    <a:lnTo>
                      <a:pt x="164" y="461"/>
                    </a:lnTo>
                    <a:lnTo>
                      <a:pt x="164" y="459"/>
                    </a:lnTo>
                    <a:lnTo>
                      <a:pt x="164" y="458"/>
                    </a:lnTo>
                    <a:lnTo>
                      <a:pt x="162" y="458"/>
                    </a:lnTo>
                    <a:lnTo>
                      <a:pt x="162" y="456"/>
                    </a:lnTo>
                    <a:lnTo>
                      <a:pt x="160" y="456"/>
                    </a:lnTo>
                    <a:lnTo>
                      <a:pt x="160" y="455"/>
                    </a:lnTo>
                    <a:lnTo>
                      <a:pt x="160" y="453"/>
                    </a:lnTo>
                    <a:lnTo>
                      <a:pt x="160" y="452"/>
                    </a:lnTo>
                    <a:lnTo>
                      <a:pt x="162" y="450"/>
                    </a:lnTo>
                    <a:lnTo>
                      <a:pt x="162" y="448"/>
                    </a:lnTo>
                    <a:lnTo>
                      <a:pt x="162" y="447"/>
                    </a:lnTo>
                    <a:lnTo>
                      <a:pt x="164" y="447"/>
                    </a:lnTo>
                    <a:lnTo>
                      <a:pt x="164" y="445"/>
                    </a:lnTo>
                    <a:lnTo>
                      <a:pt x="164" y="444"/>
                    </a:lnTo>
                    <a:lnTo>
                      <a:pt x="165" y="444"/>
                    </a:lnTo>
                    <a:lnTo>
                      <a:pt x="165" y="442"/>
                    </a:lnTo>
                    <a:lnTo>
                      <a:pt x="167" y="440"/>
                    </a:lnTo>
                    <a:lnTo>
                      <a:pt x="167" y="439"/>
                    </a:lnTo>
                    <a:lnTo>
                      <a:pt x="168" y="439"/>
                    </a:lnTo>
                    <a:lnTo>
                      <a:pt x="168" y="437"/>
                    </a:lnTo>
                    <a:lnTo>
                      <a:pt x="167" y="437"/>
                    </a:lnTo>
                    <a:lnTo>
                      <a:pt x="167" y="436"/>
                    </a:lnTo>
                    <a:lnTo>
                      <a:pt x="167" y="434"/>
                    </a:lnTo>
                    <a:lnTo>
                      <a:pt x="165" y="434"/>
                    </a:lnTo>
                    <a:lnTo>
                      <a:pt x="165" y="432"/>
                    </a:lnTo>
                    <a:lnTo>
                      <a:pt x="164" y="432"/>
                    </a:lnTo>
                    <a:lnTo>
                      <a:pt x="164" y="431"/>
                    </a:lnTo>
                    <a:lnTo>
                      <a:pt x="164" y="429"/>
                    </a:lnTo>
                    <a:lnTo>
                      <a:pt x="162" y="429"/>
                    </a:lnTo>
                    <a:lnTo>
                      <a:pt x="160" y="431"/>
                    </a:lnTo>
                    <a:lnTo>
                      <a:pt x="159" y="431"/>
                    </a:lnTo>
                    <a:lnTo>
                      <a:pt x="157" y="431"/>
                    </a:lnTo>
                    <a:lnTo>
                      <a:pt x="156" y="431"/>
                    </a:lnTo>
                    <a:lnTo>
                      <a:pt x="154" y="431"/>
                    </a:lnTo>
                    <a:lnTo>
                      <a:pt x="153" y="431"/>
                    </a:lnTo>
                    <a:lnTo>
                      <a:pt x="151" y="431"/>
                    </a:lnTo>
                    <a:lnTo>
                      <a:pt x="151" y="429"/>
                    </a:lnTo>
                    <a:lnTo>
                      <a:pt x="149" y="429"/>
                    </a:lnTo>
                    <a:lnTo>
                      <a:pt x="148" y="429"/>
                    </a:lnTo>
                    <a:lnTo>
                      <a:pt x="148" y="431"/>
                    </a:lnTo>
                    <a:lnTo>
                      <a:pt x="146" y="431"/>
                    </a:lnTo>
                    <a:lnTo>
                      <a:pt x="145" y="431"/>
                    </a:lnTo>
                    <a:lnTo>
                      <a:pt x="143" y="431"/>
                    </a:lnTo>
                    <a:lnTo>
                      <a:pt x="141" y="431"/>
                    </a:lnTo>
                    <a:lnTo>
                      <a:pt x="141" y="432"/>
                    </a:lnTo>
                    <a:lnTo>
                      <a:pt x="141" y="434"/>
                    </a:lnTo>
                    <a:lnTo>
                      <a:pt x="140" y="434"/>
                    </a:lnTo>
                    <a:lnTo>
                      <a:pt x="140" y="436"/>
                    </a:lnTo>
                    <a:lnTo>
                      <a:pt x="140" y="437"/>
                    </a:lnTo>
                    <a:lnTo>
                      <a:pt x="138" y="437"/>
                    </a:lnTo>
                    <a:lnTo>
                      <a:pt x="138" y="439"/>
                    </a:lnTo>
                    <a:lnTo>
                      <a:pt x="137" y="439"/>
                    </a:lnTo>
                    <a:lnTo>
                      <a:pt x="135" y="439"/>
                    </a:lnTo>
                    <a:lnTo>
                      <a:pt x="134" y="439"/>
                    </a:lnTo>
                    <a:lnTo>
                      <a:pt x="134" y="437"/>
                    </a:lnTo>
                    <a:lnTo>
                      <a:pt x="132" y="439"/>
                    </a:lnTo>
                    <a:lnTo>
                      <a:pt x="130" y="439"/>
                    </a:lnTo>
                    <a:lnTo>
                      <a:pt x="129" y="439"/>
                    </a:lnTo>
                    <a:lnTo>
                      <a:pt x="127" y="439"/>
                    </a:lnTo>
                    <a:lnTo>
                      <a:pt x="127" y="437"/>
                    </a:lnTo>
                    <a:lnTo>
                      <a:pt x="126" y="437"/>
                    </a:lnTo>
                    <a:lnTo>
                      <a:pt x="126" y="436"/>
                    </a:lnTo>
                    <a:lnTo>
                      <a:pt x="124" y="436"/>
                    </a:lnTo>
                    <a:lnTo>
                      <a:pt x="124" y="434"/>
                    </a:lnTo>
                    <a:lnTo>
                      <a:pt x="122" y="434"/>
                    </a:lnTo>
                    <a:lnTo>
                      <a:pt x="122" y="432"/>
                    </a:lnTo>
                    <a:lnTo>
                      <a:pt x="121" y="432"/>
                    </a:lnTo>
                    <a:lnTo>
                      <a:pt x="121" y="431"/>
                    </a:lnTo>
                    <a:lnTo>
                      <a:pt x="121" y="429"/>
                    </a:lnTo>
                    <a:lnTo>
                      <a:pt x="119" y="429"/>
                    </a:lnTo>
                    <a:lnTo>
                      <a:pt x="119" y="428"/>
                    </a:lnTo>
                    <a:lnTo>
                      <a:pt x="119" y="426"/>
                    </a:lnTo>
                    <a:lnTo>
                      <a:pt x="118" y="425"/>
                    </a:lnTo>
                    <a:lnTo>
                      <a:pt x="116" y="425"/>
                    </a:lnTo>
                    <a:lnTo>
                      <a:pt x="116" y="423"/>
                    </a:lnTo>
                    <a:lnTo>
                      <a:pt x="115" y="423"/>
                    </a:lnTo>
                    <a:lnTo>
                      <a:pt x="115" y="421"/>
                    </a:lnTo>
                    <a:lnTo>
                      <a:pt x="115" y="420"/>
                    </a:lnTo>
                    <a:lnTo>
                      <a:pt x="115" y="418"/>
                    </a:lnTo>
                    <a:lnTo>
                      <a:pt x="113" y="418"/>
                    </a:lnTo>
                    <a:lnTo>
                      <a:pt x="115" y="417"/>
                    </a:lnTo>
                    <a:lnTo>
                      <a:pt x="113" y="417"/>
                    </a:lnTo>
                    <a:lnTo>
                      <a:pt x="111" y="417"/>
                    </a:lnTo>
                    <a:lnTo>
                      <a:pt x="110" y="418"/>
                    </a:lnTo>
                    <a:lnTo>
                      <a:pt x="108" y="418"/>
                    </a:lnTo>
                    <a:lnTo>
                      <a:pt x="107" y="418"/>
                    </a:lnTo>
                    <a:lnTo>
                      <a:pt x="105" y="418"/>
                    </a:lnTo>
                    <a:lnTo>
                      <a:pt x="103" y="418"/>
                    </a:lnTo>
                    <a:lnTo>
                      <a:pt x="102" y="418"/>
                    </a:lnTo>
                    <a:lnTo>
                      <a:pt x="102" y="417"/>
                    </a:lnTo>
                    <a:lnTo>
                      <a:pt x="100" y="417"/>
                    </a:lnTo>
                    <a:lnTo>
                      <a:pt x="100" y="415"/>
                    </a:lnTo>
                    <a:lnTo>
                      <a:pt x="100" y="413"/>
                    </a:lnTo>
                    <a:lnTo>
                      <a:pt x="99" y="413"/>
                    </a:lnTo>
                    <a:lnTo>
                      <a:pt x="99" y="412"/>
                    </a:lnTo>
                    <a:lnTo>
                      <a:pt x="99" y="410"/>
                    </a:lnTo>
                    <a:lnTo>
                      <a:pt x="99" y="409"/>
                    </a:lnTo>
                    <a:lnTo>
                      <a:pt x="97" y="409"/>
                    </a:lnTo>
                    <a:lnTo>
                      <a:pt x="97" y="410"/>
                    </a:lnTo>
                    <a:lnTo>
                      <a:pt x="96" y="410"/>
                    </a:lnTo>
                    <a:lnTo>
                      <a:pt x="96" y="409"/>
                    </a:lnTo>
                    <a:lnTo>
                      <a:pt x="96" y="407"/>
                    </a:lnTo>
                    <a:lnTo>
                      <a:pt x="97" y="407"/>
                    </a:lnTo>
                    <a:lnTo>
                      <a:pt x="97" y="406"/>
                    </a:lnTo>
                    <a:lnTo>
                      <a:pt x="97" y="404"/>
                    </a:lnTo>
                    <a:lnTo>
                      <a:pt x="97" y="402"/>
                    </a:lnTo>
                    <a:lnTo>
                      <a:pt x="97" y="401"/>
                    </a:lnTo>
                    <a:lnTo>
                      <a:pt x="96" y="401"/>
                    </a:lnTo>
                    <a:lnTo>
                      <a:pt x="96" y="399"/>
                    </a:lnTo>
                    <a:lnTo>
                      <a:pt x="94" y="398"/>
                    </a:lnTo>
                    <a:lnTo>
                      <a:pt x="94" y="396"/>
                    </a:lnTo>
                    <a:lnTo>
                      <a:pt x="92" y="396"/>
                    </a:lnTo>
                    <a:lnTo>
                      <a:pt x="91" y="396"/>
                    </a:lnTo>
                    <a:lnTo>
                      <a:pt x="91" y="394"/>
                    </a:lnTo>
                    <a:lnTo>
                      <a:pt x="91" y="393"/>
                    </a:lnTo>
                    <a:lnTo>
                      <a:pt x="91" y="391"/>
                    </a:lnTo>
                    <a:lnTo>
                      <a:pt x="92" y="391"/>
                    </a:lnTo>
                    <a:lnTo>
                      <a:pt x="92" y="390"/>
                    </a:lnTo>
                    <a:lnTo>
                      <a:pt x="94" y="390"/>
                    </a:lnTo>
                    <a:lnTo>
                      <a:pt x="96" y="390"/>
                    </a:lnTo>
                    <a:lnTo>
                      <a:pt x="97" y="390"/>
                    </a:lnTo>
                    <a:lnTo>
                      <a:pt x="99" y="390"/>
                    </a:lnTo>
                    <a:lnTo>
                      <a:pt x="99" y="388"/>
                    </a:lnTo>
                    <a:lnTo>
                      <a:pt x="97" y="388"/>
                    </a:lnTo>
                    <a:lnTo>
                      <a:pt x="97" y="387"/>
                    </a:lnTo>
                    <a:lnTo>
                      <a:pt x="97" y="385"/>
                    </a:lnTo>
                    <a:lnTo>
                      <a:pt x="97" y="383"/>
                    </a:lnTo>
                    <a:lnTo>
                      <a:pt x="99" y="382"/>
                    </a:lnTo>
                    <a:lnTo>
                      <a:pt x="100" y="382"/>
                    </a:lnTo>
                    <a:lnTo>
                      <a:pt x="102" y="380"/>
                    </a:lnTo>
                    <a:lnTo>
                      <a:pt x="103" y="379"/>
                    </a:lnTo>
                    <a:lnTo>
                      <a:pt x="103" y="377"/>
                    </a:lnTo>
                    <a:lnTo>
                      <a:pt x="102" y="377"/>
                    </a:lnTo>
                    <a:lnTo>
                      <a:pt x="102" y="375"/>
                    </a:lnTo>
                    <a:lnTo>
                      <a:pt x="100" y="375"/>
                    </a:lnTo>
                    <a:lnTo>
                      <a:pt x="100" y="374"/>
                    </a:lnTo>
                    <a:lnTo>
                      <a:pt x="99" y="374"/>
                    </a:lnTo>
                    <a:lnTo>
                      <a:pt x="99" y="372"/>
                    </a:lnTo>
                    <a:lnTo>
                      <a:pt x="100" y="372"/>
                    </a:lnTo>
                    <a:lnTo>
                      <a:pt x="102" y="372"/>
                    </a:lnTo>
                    <a:lnTo>
                      <a:pt x="102" y="371"/>
                    </a:lnTo>
                    <a:lnTo>
                      <a:pt x="102" y="369"/>
                    </a:lnTo>
                    <a:lnTo>
                      <a:pt x="100" y="369"/>
                    </a:lnTo>
                    <a:lnTo>
                      <a:pt x="100" y="368"/>
                    </a:lnTo>
                    <a:lnTo>
                      <a:pt x="100" y="366"/>
                    </a:lnTo>
                    <a:lnTo>
                      <a:pt x="102" y="364"/>
                    </a:lnTo>
                    <a:lnTo>
                      <a:pt x="103" y="363"/>
                    </a:lnTo>
                    <a:lnTo>
                      <a:pt x="103" y="361"/>
                    </a:lnTo>
                    <a:lnTo>
                      <a:pt x="105" y="361"/>
                    </a:lnTo>
                    <a:lnTo>
                      <a:pt x="105" y="360"/>
                    </a:lnTo>
                    <a:lnTo>
                      <a:pt x="105" y="358"/>
                    </a:lnTo>
                    <a:lnTo>
                      <a:pt x="107" y="358"/>
                    </a:lnTo>
                    <a:lnTo>
                      <a:pt x="107" y="356"/>
                    </a:lnTo>
                    <a:lnTo>
                      <a:pt x="108" y="356"/>
                    </a:lnTo>
                    <a:lnTo>
                      <a:pt x="110" y="356"/>
                    </a:lnTo>
                    <a:lnTo>
                      <a:pt x="111" y="356"/>
                    </a:lnTo>
                    <a:lnTo>
                      <a:pt x="111" y="355"/>
                    </a:lnTo>
                    <a:lnTo>
                      <a:pt x="113" y="355"/>
                    </a:lnTo>
                    <a:lnTo>
                      <a:pt x="113" y="353"/>
                    </a:lnTo>
                    <a:lnTo>
                      <a:pt x="115" y="353"/>
                    </a:lnTo>
                    <a:lnTo>
                      <a:pt x="115" y="352"/>
                    </a:lnTo>
                    <a:lnTo>
                      <a:pt x="116" y="352"/>
                    </a:lnTo>
                    <a:lnTo>
                      <a:pt x="116" y="350"/>
                    </a:lnTo>
                    <a:lnTo>
                      <a:pt x="116" y="349"/>
                    </a:lnTo>
                    <a:lnTo>
                      <a:pt x="118" y="349"/>
                    </a:lnTo>
                    <a:lnTo>
                      <a:pt x="118" y="347"/>
                    </a:lnTo>
                    <a:lnTo>
                      <a:pt x="118" y="345"/>
                    </a:lnTo>
                    <a:lnTo>
                      <a:pt x="118" y="344"/>
                    </a:lnTo>
                    <a:lnTo>
                      <a:pt x="118" y="342"/>
                    </a:lnTo>
                    <a:lnTo>
                      <a:pt x="119" y="342"/>
                    </a:lnTo>
                    <a:lnTo>
                      <a:pt x="119" y="341"/>
                    </a:lnTo>
                    <a:lnTo>
                      <a:pt x="118" y="341"/>
                    </a:lnTo>
                    <a:lnTo>
                      <a:pt x="116" y="341"/>
                    </a:lnTo>
                    <a:lnTo>
                      <a:pt x="115" y="341"/>
                    </a:lnTo>
                    <a:lnTo>
                      <a:pt x="113" y="341"/>
                    </a:lnTo>
                    <a:lnTo>
                      <a:pt x="111" y="341"/>
                    </a:lnTo>
                    <a:lnTo>
                      <a:pt x="110" y="341"/>
                    </a:lnTo>
                    <a:lnTo>
                      <a:pt x="108" y="341"/>
                    </a:lnTo>
                    <a:lnTo>
                      <a:pt x="108" y="342"/>
                    </a:lnTo>
                    <a:lnTo>
                      <a:pt x="107" y="342"/>
                    </a:lnTo>
                    <a:lnTo>
                      <a:pt x="107" y="344"/>
                    </a:lnTo>
                    <a:lnTo>
                      <a:pt x="105" y="345"/>
                    </a:lnTo>
                    <a:lnTo>
                      <a:pt x="105" y="347"/>
                    </a:lnTo>
                    <a:lnTo>
                      <a:pt x="103" y="347"/>
                    </a:lnTo>
                    <a:lnTo>
                      <a:pt x="103" y="349"/>
                    </a:lnTo>
                    <a:lnTo>
                      <a:pt x="102" y="349"/>
                    </a:lnTo>
                    <a:lnTo>
                      <a:pt x="102" y="350"/>
                    </a:lnTo>
                    <a:lnTo>
                      <a:pt x="100" y="350"/>
                    </a:lnTo>
                    <a:lnTo>
                      <a:pt x="100" y="352"/>
                    </a:lnTo>
                    <a:lnTo>
                      <a:pt x="99" y="352"/>
                    </a:lnTo>
                    <a:lnTo>
                      <a:pt x="99" y="353"/>
                    </a:lnTo>
                    <a:lnTo>
                      <a:pt x="100" y="353"/>
                    </a:lnTo>
                    <a:lnTo>
                      <a:pt x="99" y="353"/>
                    </a:lnTo>
                    <a:lnTo>
                      <a:pt x="97" y="353"/>
                    </a:lnTo>
                    <a:lnTo>
                      <a:pt x="96" y="353"/>
                    </a:lnTo>
                    <a:lnTo>
                      <a:pt x="94" y="353"/>
                    </a:lnTo>
                    <a:lnTo>
                      <a:pt x="92" y="355"/>
                    </a:lnTo>
                    <a:lnTo>
                      <a:pt x="92" y="353"/>
                    </a:lnTo>
                    <a:lnTo>
                      <a:pt x="91" y="353"/>
                    </a:lnTo>
                    <a:lnTo>
                      <a:pt x="91" y="352"/>
                    </a:lnTo>
                    <a:lnTo>
                      <a:pt x="92" y="352"/>
                    </a:lnTo>
                    <a:lnTo>
                      <a:pt x="92" y="350"/>
                    </a:lnTo>
                    <a:lnTo>
                      <a:pt x="92" y="349"/>
                    </a:lnTo>
                    <a:lnTo>
                      <a:pt x="92" y="347"/>
                    </a:lnTo>
                    <a:lnTo>
                      <a:pt x="92" y="345"/>
                    </a:lnTo>
                    <a:lnTo>
                      <a:pt x="92" y="344"/>
                    </a:lnTo>
                    <a:lnTo>
                      <a:pt x="92" y="342"/>
                    </a:lnTo>
                    <a:lnTo>
                      <a:pt x="92" y="341"/>
                    </a:lnTo>
                    <a:lnTo>
                      <a:pt x="91" y="341"/>
                    </a:lnTo>
                    <a:lnTo>
                      <a:pt x="91" y="339"/>
                    </a:lnTo>
                    <a:lnTo>
                      <a:pt x="91" y="337"/>
                    </a:lnTo>
                    <a:lnTo>
                      <a:pt x="91" y="336"/>
                    </a:lnTo>
                    <a:lnTo>
                      <a:pt x="92" y="336"/>
                    </a:lnTo>
                    <a:lnTo>
                      <a:pt x="94" y="336"/>
                    </a:lnTo>
                    <a:lnTo>
                      <a:pt x="96" y="336"/>
                    </a:lnTo>
                    <a:lnTo>
                      <a:pt x="96" y="334"/>
                    </a:lnTo>
                    <a:lnTo>
                      <a:pt x="96" y="333"/>
                    </a:lnTo>
                    <a:lnTo>
                      <a:pt x="96" y="331"/>
                    </a:lnTo>
                    <a:lnTo>
                      <a:pt x="97" y="331"/>
                    </a:lnTo>
                    <a:lnTo>
                      <a:pt x="99" y="331"/>
                    </a:lnTo>
                    <a:lnTo>
                      <a:pt x="99" y="330"/>
                    </a:lnTo>
                    <a:lnTo>
                      <a:pt x="99" y="328"/>
                    </a:lnTo>
                    <a:lnTo>
                      <a:pt x="99" y="326"/>
                    </a:lnTo>
                    <a:lnTo>
                      <a:pt x="99" y="325"/>
                    </a:lnTo>
                    <a:lnTo>
                      <a:pt x="100" y="325"/>
                    </a:lnTo>
                    <a:lnTo>
                      <a:pt x="100" y="323"/>
                    </a:lnTo>
                    <a:lnTo>
                      <a:pt x="99" y="322"/>
                    </a:lnTo>
                    <a:lnTo>
                      <a:pt x="99" y="320"/>
                    </a:lnTo>
                    <a:lnTo>
                      <a:pt x="99" y="318"/>
                    </a:lnTo>
                    <a:lnTo>
                      <a:pt x="100" y="318"/>
                    </a:lnTo>
                    <a:lnTo>
                      <a:pt x="100" y="317"/>
                    </a:lnTo>
                    <a:lnTo>
                      <a:pt x="102" y="315"/>
                    </a:lnTo>
                    <a:lnTo>
                      <a:pt x="102" y="314"/>
                    </a:lnTo>
                    <a:lnTo>
                      <a:pt x="103" y="314"/>
                    </a:lnTo>
                    <a:lnTo>
                      <a:pt x="103" y="312"/>
                    </a:lnTo>
                    <a:lnTo>
                      <a:pt x="105" y="312"/>
                    </a:lnTo>
                    <a:lnTo>
                      <a:pt x="107" y="310"/>
                    </a:lnTo>
                    <a:lnTo>
                      <a:pt x="105" y="310"/>
                    </a:lnTo>
                    <a:lnTo>
                      <a:pt x="105" y="309"/>
                    </a:lnTo>
                    <a:lnTo>
                      <a:pt x="107" y="307"/>
                    </a:lnTo>
                    <a:lnTo>
                      <a:pt x="108" y="307"/>
                    </a:lnTo>
                    <a:lnTo>
                      <a:pt x="108" y="306"/>
                    </a:lnTo>
                    <a:lnTo>
                      <a:pt x="110" y="306"/>
                    </a:lnTo>
                    <a:lnTo>
                      <a:pt x="110" y="304"/>
                    </a:lnTo>
                    <a:lnTo>
                      <a:pt x="110" y="303"/>
                    </a:lnTo>
                    <a:lnTo>
                      <a:pt x="111" y="303"/>
                    </a:lnTo>
                    <a:lnTo>
                      <a:pt x="111" y="301"/>
                    </a:lnTo>
                    <a:lnTo>
                      <a:pt x="111" y="299"/>
                    </a:lnTo>
                    <a:lnTo>
                      <a:pt x="110" y="299"/>
                    </a:lnTo>
                    <a:lnTo>
                      <a:pt x="110" y="298"/>
                    </a:lnTo>
                    <a:lnTo>
                      <a:pt x="111" y="298"/>
                    </a:lnTo>
                    <a:lnTo>
                      <a:pt x="113" y="296"/>
                    </a:lnTo>
                    <a:lnTo>
                      <a:pt x="115" y="295"/>
                    </a:lnTo>
                    <a:lnTo>
                      <a:pt x="116" y="295"/>
                    </a:lnTo>
                    <a:lnTo>
                      <a:pt x="116" y="293"/>
                    </a:lnTo>
                    <a:lnTo>
                      <a:pt x="118" y="293"/>
                    </a:lnTo>
                    <a:lnTo>
                      <a:pt x="119" y="291"/>
                    </a:lnTo>
                    <a:lnTo>
                      <a:pt x="119" y="290"/>
                    </a:lnTo>
                    <a:lnTo>
                      <a:pt x="121" y="290"/>
                    </a:lnTo>
                    <a:lnTo>
                      <a:pt x="121" y="288"/>
                    </a:lnTo>
                    <a:lnTo>
                      <a:pt x="122" y="288"/>
                    </a:lnTo>
                    <a:lnTo>
                      <a:pt x="124" y="287"/>
                    </a:lnTo>
                    <a:lnTo>
                      <a:pt x="126" y="287"/>
                    </a:lnTo>
                    <a:lnTo>
                      <a:pt x="126" y="285"/>
                    </a:lnTo>
                    <a:lnTo>
                      <a:pt x="127" y="285"/>
                    </a:lnTo>
                    <a:lnTo>
                      <a:pt x="127" y="284"/>
                    </a:lnTo>
                    <a:lnTo>
                      <a:pt x="127" y="282"/>
                    </a:lnTo>
                    <a:lnTo>
                      <a:pt x="129" y="282"/>
                    </a:lnTo>
                    <a:lnTo>
                      <a:pt x="129" y="280"/>
                    </a:lnTo>
                    <a:lnTo>
                      <a:pt x="130" y="280"/>
                    </a:lnTo>
                    <a:lnTo>
                      <a:pt x="130" y="279"/>
                    </a:lnTo>
                    <a:lnTo>
                      <a:pt x="130" y="277"/>
                    </a:lnTo>
                    <a:lnTo>
                      <a:pt x="130" y="276"/>
                    </a:lnTo>
                    <a:lnTo>
                      <a:pt x="132" y="276"/>
                    </a:lnTo>
                    <a:lnTo>
                      <a:pt x="132" y="274"/>
                    </a:lnTo>
                    <a:lnTo>
                      <a:pt x="132" y="272"/>
                    </a:lnTo>
                    <a:lnTo>
                      <a:pt x="134" y="272"/>
                    </a:lnTo>
                    <a:lnTo>
                      <a:pt x="134" y="271"/>
                    </a:lnTo>
                    <a:lnTo>
                      <a:pt x="134" y="269"/>
                    </a:lnTo>
                    <a:lnTo>
                      <a:pt x="135" y="269"/>
                    </a:lnTo>
                    <a:lnTo>
                      <a:pt x="135" y="268"/>
                    </a:lnTo>
                    <a:lnTo>
                      <a:pt x="137" y="266"/>
                    </a:lnTo>
                    <a:lnTo>
                      <a:pt x="137" y="265"/>
                    </a:lnTo>
                    <a:lnTo>
                      <a:pt x="138" y="265"/>
                    </a:lnTo>
                    <a:lnTo>
                      <a:pt x="138" y="263"/>
                    </a:lnTo>
                    <a:lnTo>
                      <a:pt x="140" y="263"/>
                    </a:lnTo>
                    <a:lnTo>
                      <a:pt x="141" y="263"/>
                    </a:lnTo>
                    <a:lnTo>
                      <a:pt x="143" y="263"/>
                    </a:lnTo>
                    <a:lnTo>
                      <a:pt x="145" y="263"/>
                    </a:lnTo>
                    <a:lnTo>
                      <a:pt x="146" y="261"/>
                    </a:lnTo>
                    <a:lnTo>
                      <a:pt x="148" y="260"/>
                    </a:lnTo>
                    <a:lnTo>
                      <a:pt x="149" y="260"/>
                    </a:lnTo>
                    <a:lnTo>
                      <a:pt x="151" y="260"/>
                    </a:lnTo>
                    <a:lnTo>
                      <a:pt x="151" y="258"/>
                    </a:lnTo>
                    <a:lnTo>
                      <a:pt x="151" y="257"/>
                    </a:lnTo>
                    <a:lnTo>
                      <a:pt x="153" y="257"/>
                    </a:lnTo>
                    <a:lnTo>
                      <a:pt x="153" y="255"/>
                    </a:lnTo>
                    <a:lnTo>
                      <a:pt x="154" y="255"/>
                    </a:lnTo>
                    <a:lnTo>
                      <a:pt x="154" y="253"/>
                    </a:lnTo>
                    <a:lnTo>
                      <a:pt x="156" y="253"/>
                    </a:lnTo>
                    <a:lnTo>
                      <a:pt x="156" y="252"/>
                    </a:lnTo>
                    <a:lnTo>
                      <a:pt x="157" y="252"/>
                    </a:lnTo>
                    <a:lnTo>
                      <a:pt x="157" y="250"/>
                    </a:lnTo>
                    <a:lnTo>
                      <a:pt x="157" y="249"/>
                    </a:lnTo>
                    <a:lnTo>
                      <a:pt x="159" y="249"/>
                    </a:lnTo>
                    <a:lnTo>
                      <a:pt x="159" y="247"/>
                    </a:lnTo>
                    <a:lnTo>
                      <a:pt x="160" y="247"/>
                    </a:lnTo>
                    <a:lnTo>
                      <a:pt x="160" y="246"/>
                    </a:lnTo>
                    <a:lnTo>
                      <a:pt x="162" y="246"/>
                    </a:lnTo>
                    <a:lnTo>
                      <a:pt x="164" y="246"/>
                    </a:lnTo>
                    <a:lnTo>
                      <a:pt x="164" y="247"/>
                    </a:lnTo>
                    <a:lnTo>
                      <a:pt x="164" y="249"/>
                    </a:lnTo>
                    <a:lnTo>
                      <a:pt x="164" y="250"/>
                    </a:lnTo>
                    <a:lnTo>
                      <a:pt x="165" y="250"/>
                    </a:lnTo>
                    <a:lnTo>
                      <a:pt x="167" y="250"/>
                    </a:lnTo>
                    <a:lnTo>
                      <a:pt x="167" y="252"/>
                    </a:lnTo>
                    <a:lnTo>
                      <a:pt x="168" y="252"/>
                    </a:lnTo>
                    <a:lnTo>
                      <a:pt x="170" y="252"/>
                    </a:lnTo>
                    <a:lnTo>
                      <a:pt x="172" y="252"/>
                    </a:lnTo>
                    <a:lnTo>
                      <a:pt x="172" y="250"/>
                    </a:lnTo>
                    <a:lnTo>
                      <a:pt x="172" y="249"/>
                    </a:lnTo>
                    <a:lnTo>
                      <a:pt x="173" y="249"/>
                    </a:lnTo>
                    <a:lnTo>
                      <a:pt x="175" y="249"/>
                    </a:lnTo>
                    <a:lnTo>
                      <a:pt x="176" y="250"/>
                    </a:lnTo>
                    <a:lnTo>
                      <a:pt x="176" y="249"/>
                    </a:lnTo>
                    <a:lnTo>
                      <a:pt x="176" y="247"/>
                    </a:lnTo>
                    <a:lnTo>
                      <a:pt x="175" y="246"/>
                    </a:lnTo>
                    <a:lnTo>
                      <a:pt x="175" y="247"/>
                    </a:lnTo>
                    <a:lnTo>
                      <a:pt x="173" y="247"/>
                    </a:lnTo>
                    <a:lnTo>
                      <a:pt x="172" y="246"/>
                    </a:lnTo>
                    <a:lnTo>
                      <a:pt x="170" y="244"/>
                    </a:lnTo>
                    <a:lnTo>
                      <a:pt x="170" y="242"/>
                    </a:lnTo>
                    <a:lnTo>
                      <a:pt x="170" y="241"/>
                    </a:lnTo>
                    <a:lnTo>
                      <a:pt x="170" y="239"/>
                    </a:lnTo>
                    <a:lnTo>
                      <a:pt x="168" y="239"/>
                    </a:lnTo>
                    <a:lnTo>
                      <a:pt x="168" y="238"/>
                    </a:lnTo>
                    <a:lnTo>
                      <a:pt x="167" y="238"/>
                    </a:lnTo>
                    <a:lnTo>
                      <a:pt x="167" y="239"/>
                    </a:lnTo>
                    <a:lnTo>
                      <a:pt x="167" y="238"/>
                    </a:lnTo>
                    <a:lnTo>
                      <a:pt x="165" y="238"/>
                    </a:lnTo>
                    <a:lnTo>
                      <a:pt x="164" y="238"/>
                    </a:lnTo>
                    <a:lnTo>
                      <a:pt x="162" y="238"/>
                    </a:lnTo>
                    <a:lnTo>
                      <a:pt x="160" y="238"/>
                    </a:lnTo>
                    <a:lnTo>
                      <a:pt x="160" y="239"/>
                    </a:lnTo>
                    <a:lnTo>
                      <a:pt x="159" y="239"/>
                    </a:lnTo>
                    <a:lnTo>
                      <a:pt x="157" y="239"/>
                    </a:lnTo>
                    <a:lnTo>
                      <a:pt x="156" y="239"/>
                    </a:lnTo>
                    <a:lnTo>
                      <a:pt x="154" y="239"/>
                    </a:lnTo>
                    <a:lnTo>
                      <a:pt x="154" y="238"/>
                    </a:lnTo>
                    <a:lnTo>
                      <a:pt x="153" y="238"/>
                    </a:lnTo>
                    <a:lnTo>
                      <a:pt x="153" y="236"/>
                    </a:lnTo>
                    <a:lnTo>
                      <a:pt x="151" y="236"/>
                    </a:lnTo>
                    <a:lnTo>
                      <a:pt x="149" y="236"/>
                    </a:lnTo>
                    <a:lnTo>
                      <a:pt x="149" y="234"/>
                    </a:lnTo>
                    <a:lnTo>
                      <a:pt x="149" y="233"/>
                    </a:lnTo>
                    <a:lnTo>
                      <a:pt x="148" y="233"/>
                    </a:lnTo>
                    <a:lnTo>
                      <a:pt x="146" y="233"/>
                    </a:lnTo>
                    <a:lnTo>
                      <a:pt x="146" y="234"/>
                    </a:lnTo>
                    <a:lnTo>
                      <a:pt x="145" y="234"/>
                    </a:lnTo>
                    <a:lnTo>
                      <a:pt x="143" y="236"/>
                    </a:lnTo>
                    <a:lnTo>
                      <a:pt x="143" y="234"/>
                    </a:lnTo>
                    <a:lnTo>
                      <a:pt x="145" y="234"/>
                    </a:lnTo>
                    <a:lnTo>
                      <a:pt x="145" y="233"/>
                    </a:lnTo>
                    <a:lnTo>
                      <a:pt x="145" y="231"/>
                    </a:lnTo>
                    <a:lnTo>
                      <a:pt x="145" y="230"/>
                    </a:lnTo>
                    <a:lnTo>
                      <a:pt x="145" y="228"/>
                    </a:lnTo>
                    <a:lnTo>
                      <a:pt x="145" y="227"/>
                    </a:lnTo>
                    <a:lnTo>
                      <a:pt x="145" y="225"/>
                    </a:lnTo>
                    <a:lnTo>
                      <a:pt x="145" y="223"/>
                    </a:lnTo>
                    <a:lnTo>
                      <a:pt x="145" y="222"/>
                    </a:lnTo>
                    <a:lnTo>
                      <a:pt x="145" y="220"/>
                    </a:lnTo>
                    <a:lnTo>
                      <a:pt x="145" y="219"/>
                    </a:lnTo>
                    <a:lnTo>
                      <a:pt x="145" y="217"/>
                    </a:lnTo>
                    <a:lnTo>
                      <a:pt x="145" y="215"/>
                    </a:lnTo>
                    <a:lnTo>
                      <a:pt x="143" y="215"/>
                    </a:lnTo>
                    <a:lnTo>
                      <a:pt x="143" y="214"/>
                    </a:lnTo>
                    <a:lnTo>
                      <a:pt x="143" y="212"/>
                    </a:lnTo>
                    <a:lnTo>
                      <a:pt x="145" y="212"/>
                    </a:lnTo>
                    <a:lnTo>
                      <a:pt x="145" y="211"/>
                    </a:lnTo>
                    <a:lnTo>
                      <a:pt x="146" y="211"/>
                    </a:lnTo>
                    <a:lnTo>
                      <a:pt x="146" y="209"/>
                    </a:lnTo>
                    <a:lnTo>
                      <a:pt x="148" y="209"/>
                    </a:lnTo>
                    <a:lnTo>
                      <a:pt x="148" y="208"/>
                    </a:lnTo>
                    <a:lnTo>
                      <a:pt x="146" y="206"/>
                    </a:lnTo>
                    <a:lnTo>
                      <a:pt x="146" y="204"/>
                    </a:lnTo>
                    <a:lnTo>
                      <a:pt x="146" y="203"/>
                    </a:lnTo>
                    <a:lnTo>
                      <a:pt x="145" y="203"/>
                    </a:lnTo>
                    <a:lnTo>
                      <a:pt x="145" y="201"/>
                    </a:lnTo>
                    <a:lnTo>
                      <a:pt x="146" y="201"/>
                    </a:lnTo>
                    <a:lnTo>
                      <a:pt x="148" y="201"/>
                    </a:lnTo>
                    <a:lnTo>
                      <a:pt x="148" y="200"/>
                    </a:lnTo>
                    <a:lnTo>
                      <a:pt x="149" y="200"/>
                    </a:lnTo>
                    <a:lnTo>
                      <a:pt x="151" y="200"/>
                    </a:lnTo>
                    <a:lnTo>
                      <a:pt x="151" y="198"/>
                    </a:lnTo>
                    <a:lnTo>
                      <a:pt x="151" y="196"/>
                    </a:lnTo>
                    <a:lnTo>
                      <a:pt x="151" y="195"/>
                    </a:lnTo>
                    <a:lnTo>
                      <a:pt x="151" y="193"/>
                    </a:lnTo>
                    <a:lnTo>
                      <a:pt x="153" y="193"/>
                    </a:lnTo>
                    <a:lnTo>
                      <a:pt x="153" y="195"/>
                    </a:lnTo>
                    <a:lnTo>
                      <a:pt x="154" y="195"/>
                    </a:lnTo>
                    <a:lnTo>
                      <a:pt x="154" y="196"/>
                    </a:lnTo>
                    <a:lnTo>
                      <a:pt x="156" y="196"/>
                    </a:lnTo>
                    <a:lnTo>
                      <a:pt x="156" y="195"/>
                    </a:lnTo>
                    <a:lnTo>
                      <a:pt x="157" y="195"/>
                    </a:lnTo>
                    <a:lnTo>
                      <a:pt x="159" y="195"/>
                    </a:lnTo>
                    <a:lnTo>
                      <a:pt x="159" y="193"/>
                    </a:lnTo>
                    <a:lnTo>
                      <a:pt x="160" y="193"/>
                    </a:lnTo>
                    <a:lnTo>
                      <a:pt x="160" y="192"/>
                    </a:lnTo>
                    <a:lnTo>
                      <a:pt x="162" y="192"/>
                    </a:lnTo>
                    <a:lnTo>
                      <a:pt x="164" y="190"/>
                    </a:lnTo>
                    <a:lnTo>
                      <a:pt x="164" y="188"/>
                    </a:lnTo>
                    <a:lnTo>
                      <a:pt x="164" y="190"/>
                    </a:lnTo>
                    <a:lnTo>
                      <a:pt x="165" y="190"/>
                    </a:lnTo>
                    <a:lnTo>
                      <a:pt x="167" y="190"/>
                    </a:lnTo>
                    <a:lnTo>
                      <a:pt x="168" y="190"/>
                    </a:lnTo>
                    <a:lnTo>
                      <a:pt x="170" y="190"/>
                    </a:lnTo>
                    <a:lnTo>
                      <a:pt x="172" y="190"/>
                    </a:lnTo>
                    <a:lnTo>
                      <a:pt x="172" y="192"/>
                    </a:lnTo>
                    <a:lnTo>
                      <a:pt x="172" y="190"/>
                    </a:lnTo>
                    <a:lnTo>
                      <a:pt x="172" y="188"/>
                    </a:lnTo>
                    <a:lnTo>
                      <a:pt x="173" y="187"/>
                    </a:lnTo>
                    <a:lnTo>
                      <a:pt x="173" y="185"/>
                    </a:lnTo>
                    <a:lnTo>
                      <a:pt x="172" y="185"/>
                    </a:lnTo>
                    <a:lnTo>
                      <a:pt x="172" y="184"/>
                    </a:lnTo>
                    <a:lnTo>
                      <a:pt x="170" y="182"/>
                    </a:lnTo>
                    <a:lnTo>
                      <a:pt x="168" y="182"/>
                    </a:lnTo>
                    <a:lnTo>
                      <a:pt x="167" y="182"/>
                    </a:lnTo>
                    <a:lnTo>
                      <a:pt x="165" y="181"/>
                    </a:lnTo>
                    <a:lnTo>
                      <a:pt x="164" y="181"/>
                    </a:lnTo>
                    <a:lnTo>
                      <a:pt x="165" y="181"/>
                    </a:lnTo>
                    <a:lnTo>
                      <a:pt x="165" y="179"/>
                    </a:lnTo>
                    <a:lnTo>
                      <a:pt x="165" y="177"/>
                    </a:lnTo>
                    <a:lnTo>
                      <a:pt x="167" y="176"/>
                    </a:lnTo>
                    <a:lnTo>
                      <a:pt x="168" y="176"/>
                    </a:lnTo>
                    <a:lnTo>
                      <a:pt x="170" y="176"/>
                    </a:lnTo>
                    <a:lnTo>
                      <a:pt x="172" y="176"/>
                    </a:lnTo>
                    <a:lnTo>
                      <a:pt x="173" y="176"/>
                    </a:lnTo>
                    <a:lnTo>
                      <a:pt x="173" y="174"/>
                    </a:lnTo>
                    <a:lnTo>
                      <a:pt x="173" y="173"/>
                    </a:lnTo>
                    <a:lnTo>
                      <a:pt x="173" y="171"/>
                    </a:lnTo>
                    <a:lnTo>
                      <a:pt x="173" y="169"/>
                    </a:lnTo>
                    <a:lnTo>
                      <a:pt x="172" y="169"/>
                    </a:lnTo>
                    <a:lnTo>
                      <a:pt x="172" y="168"/>
                    </a:lnTo>
                    <a:lnTo>
                      <a:pt x="170" y="168"/>
                    </a:lnTo>
                    <a:lnTo>
                      <a:pt x="170" y="166"/>
                    </a:lnTo>
                    <a:lnTo>
                      <a:pt x="168" y="166"/>
                    </a:lnTo>
                    <a:lnTo>
                      <a:pt x="168" y="165"/>
                    </a:lnTo>
                    <a:lnTo>
                      <a:pt x="167" y="165"/>
                    </a:lnTo>
                    <a:lnTo>
                      <a:pt x="165" y="165"/>
                    </a:lnTo>
                    <a:lnTo>
                      <a:pt x="164" y="165"/>
                    </a:lnTo>
                    <a:lnTo>
                      <a:pt x="164" y="163"/>
                    </a:lnTo>
                    <a:lnTo>
                      <a:pt x="164" y="162"/>
                    </a:lnTo>
                    <a:lnTo>
                      <a:pt x="164" y="160"/>
                    </a:lnTo>
                    <a:lnTo>
                      <a:pt x="164" y="158"/>
                    </a:lnTo>
                    <a:lnTo>
                      <a:pt x="164" y="157"/>
                    </a:lnTo>
                    <a:lnTo>
                      <a:pt x="164" y="155"/>
                    </a:lnTo>
                    <a:lnTo>
                      <a:pt x="164" y="154"/>
                    </a:lnTo>
                    <a:lnTo>
                      <a:pt x="164" y="152"/>
                    </a:lnTo>
                    <a:lnTo>
                      <a:pt x="162" y="152"/>
                    </a:lnTo>
                    <a:lnTo>
                      <a:pt x="162" y="150"/>
                    </a:lnTo>
                    <a:lnTo>
                      <a:pt x="160" y="150"/>
                    </a:lnTo>
                    <a:lnTo>
                      <a:pt x="160" y="149"/>
                    </a:lnTo>
                    <a:lnTo>
                      <a:pt x="160" y="147"/>
                    </a:lnTo>
                    <a:lnTo>
                      <a:pt x="159" y="147"/>
                    </a:lnTo>
                    <a:lnTo>
                      <a:pt x="159" y="146"/>
                    </a:lnTo>
                    <a:lnTo>
                      <a:pt x="157" y="146"/>
                    </a:lnTo>
                    <a:lnTo>
                      <a:pt x="156" y="146"/>
                    </a:lnTo>
                    <a:lnTo>
                      <a:pt x="154" y="144"/>
                    </a:lnTo>
                    <a:lnTo>
                      <a:pt x="154" y="146"/>
                    </a:lnTo>
                    <a:lnTo>
                      <a:pt x="154" y="147"/>
                    </a:lnTo>
                    <a:lnTo>
                      <a:pt x="154" y="149"/>
                    </a:lnTo>
                    <a:lnTo>
                      <a:pt x="154" y="150"/>
                    </a:lnTo>
                    <a:lnTo>
                      <a:pt x="153" y="150"/>
                    </a:lnTo>
                    <a:lnTo>
                      <a:pt x="151" y="150"/>
                    </a:lnTo>
                    <a:lnTo>
                      <a:pt x="149" y="152"/>
                    </a:lnTo>
                    <a:lnTo>
                      <a:pt x="148" y="152"/>
                    </a:lnTo>
                    <a:lnTo>
                      <a:pt x="146" y="152"/>
                    </a:lnTo>
                    <a:lnTo>
                      <a:pt x="145" y="152"/>
                    </a:lnTo>
                    <a:lnTo>
                      <a:pt x="145" y="154"/>
                    </a:lnTo>
                    <a:lnTo>
                      <a:pt x="143" y="154"/>
                    </a:lnTo>
                    <a:lnTo>
                      <a:pt x="141" y="154"/>
                    </a:lnTo>
                    <a:lnTo>
                      <a:pt x="141" y="155"/>
                    </a:lnTo>
                    <a:lnTo>
                      <a:pt x="140" y="155"/>
                    </a:lnTo>
                    <a:lnTo>
                      <a:pt x="138" y="155"/>
                    </a:lnTo>
                    <a:lnTo>
                      <a:pt x="137" y="155"/>
                    </a:lnTo>
                    <a:lnTo>
                      <a:pt x="137" y="157"/>
                    </a:lnTo>
                    <a:lnTo>
                      <a:pt x="135" y="157"/>
                    </a:lnTo>
                    <a:lnTo>
                      <a:pt x="135" y="158"/>
                    </a:lnTo>
                    <a:lnTo>
                      <a:pt x="132" y="157"/>
                    </a:lnTo>
                    <a:lnTo>
                      <a:pt x="130" y="155"/>
                    </a:lnTo>
                    <a:lnTo>
                      <a:pt x="127" y="152"/>
                    </a:lnTo>
                    <a:lnTo>
                      <a:pt x="127" y="150"/>
                    </a:lnTo>
                    <a:lnTo>
                      <a:pt x="126" y="149"/>
                    </a:lnTo>
                    <a:lnTo>
                      <a:pt x="127" y="149"/>
                    </a:lnTo>
                    <a:lnTo>
                      <a:pt x="127" y="147"/>
                    </a:lnTo>
                    <a:lnTo>
                      <a:pt x="129" y="146"/>
                    </a:lnTo>
                    <a:lnTo>
                      <a:pt x="130" y="144"/>
                    </a:lnTo>
                    <a:lnTo>
                      <a:pt x="130" y="143"/>
                    </a:lnTo>
                    <a:lnTo>
                      <a:pt x="132" y="141"/>
                    </a:lnTo>
                    <a:lnTo>
                      <a:pt x="132" y="139"/>
                    </a:lnTo>
                    <a:lnTo>
                      <a:pt x="134" y="139"/>
                    </a:lnTo>
                    <a:lnTo>
                      <a:pt x="134" y="138"/>
                    </a:lnTo>
                    <a:lnTo>
                      <a:pt x="135" y="138"/>
                    </a:lnTo>
                    <a:lnTo>
                      <a:pt x="135" y="136"/>
                    </a:lnTo>
                    <a:lnTo>
                      <a:pt x="137" y="135"/>
                    </a:lnTo>
                    <a:lnTo>
                      <a:pt x="137" y="136"/>
                    </a:lnTo>
                    <a:lnTo>
                      <a:pt x="138" y="135"/>
                    </a:lnTo>
                    <a:lnTo>
                      <a:pt x="138" y="133"/>
                    </a:lnTo>
                    <a:lnTo>
                      <a:pt x="137" y="133"/>
                    </a:lnTo>
                    <a:lnTo>
                      <a:pt x="137" y="131"/>
                    </a:lnTo>
                    <a:lnTo>
                      <a:pt x="135" y="131"/>
                    </a:lnTo>
                    <a:lnTo>
                      <a:pt x="135" y="130"/>
                    </a:lnTo>
                    <a:lnTo>
                      <a:pt x="134" y="128"/>
                    </a:lnTo>
                    <a:lnTo>
                      <a:pt x="132" y="127"/>
                    </a:lnTo>
                    <a:lnTo>
                      <a:pt x="130" y="125"/>
                    </a:lnTo>
                    <a:lnTo>
                      <a:pt x="130" y="124"/>
                    </a:lnTo>
                    <a:lnTo>
                      <a:pt x="129" y="122"/>
                    </a:lnTo>
                    <a:lnTo>
                      <a:pt x="129" y="120"/>
                    </a:lnTo>
                    <a:lnTo>
                      <a:pt x="127" y="120"/>
                    </a:lnTo>
                    <a:lnTo>
                      <a:pt x="126" y="119"/>
                    </a:lnTo>
                    <a:lnTo>
                      <a:pt x="126" y="117"/>
                    </a:lnTo>
                    <a:lnTo>
                      <a:pt x="124" y="117"/>
                    </a:lnTo>
                    <a:lnTo>
                      <a:pt x="124" y="116"/>
                    </a:lnTo>
                    <a:lnTo>
                      <a:pt x="124" y="114"/>
                    </a:lnTo>
                    <a:lnTo>
                      <a:pt x="122" y="114"/>
                    </a:lnTo>
                    <a:lnTo>
                      <a:pt x="122" y="112"/>
                    </a:lnTo>
                    <a:lnTo>
                      <a:pt x="121" y="111"/>
                    </a:lnTo>
                    <a:lnTo>
                      <a:pt x="121" y="109"/>
                    </a:lnTo>
                    <a:lnTo>
                      <a:pt x="122" y="109"/>
                    </a:lnTo>
                    <a:lnTo>
                      <a:pt x="121" y="108"/>
                    </a:lnTo>
                    <a:lnTo>
                      <a:pt x="121" y="106"/>
                    </a:lnTo>
                    <a:lnTo>
                      <a:pt x="121" y="105"/>
                    </a:lnTo>
                    <a:lnTo>
                      <a:pt x="119" y="105"/>
                    </a:lnTo>
                    <a:lnTo>
                      <a:pt x="119" y="103"/>
                    </a:lnTo>
                    <a:lnTo>
                      <a:pt x="118" y="103"/>
                    </a:lnTo>
                    <a:lnTo>
                      <a:pt x="118" y="101"/>
                    </a:lnTo>
                    <a:lnTo>
                      <a:pt x="116" y="101"/>
                    </a:lnTo>
                    <a:lnTo>
                      <a:pt x="115" y="101"/>
                    </a:lnTo>
                    <a:lnTo>
                      <a:pt x="113" y="101"/>
                    </a:lnTo>
                    <a:lnTo>
                      <a:pt x="111" y="101"/>
                    </a:lnTo>
                    <a:lnTo>
                      <a:pt x="111" y="100"/>
                    </a:lnTo>
                    <a:lnTo>
                      <a:pt x="111" y="98"/>
                    </a:lnTo>
                    <a:lnTo>
                      <a:pt x="111" y="97"/>
                    </a:lnTo>
                    <a:lnTo>
                      <a:pt x="110" y="97"/>
                    </a:lnTo>
                    <a:lnTo>
                      <a:pt x="108" y="95"/>
                    </a:lnTo>
                    <a:lnTo>
                      <a:pt x="108" y="93"/>
                    </a:lnTo>
                    <a:lnTo>
                      <a:pt x="107" y="93"/>
                    </a:lnTo>
                    <a:lnTo>
                      <a:pt x="107" y="92"/>
                    </a:lnTo>
                    <a:lnTo>
                      <a:pt x="107" y="90"/>
                    </a:lnTo>
                    <a:lnTo>
                      <a:pt x="107" y="89"/>
                    </a:lnTo>
                    <a:lnTo>
                      <a:pt x="107" y="87"/>
                    </a:lnTo>
                    <a:lnTo>
                      <a:pt x="107" y="85"/>
                    </a:lnTo>
                    <a:lnTo>
                      <a:pt x="107" y="84"/>
                    </a:lnTo>
                    <a:lnTo>
                      <a:pt x="105" y="84"/>
                    </a:lnTo>
                    <a:lnTo>
                      <a:pt x="105" y="82"/>
                    </a:lnTo>
                    <a:lnTo>
                      <a:pt x="105" y="81"/>
                    </a:lnTo>
                    <a:lnTo>
                      <a:pt x="107" y="81"/>
                    </a:lnTo>
                    <a:lnTo>
                      <a:pt x="107" y="79"/>
                    </a:lnTo>
                    <a:lnTo>
                      <a:pt x="107" y="78"/>
                    </a:lnTo>
                    <a:lnTo>
                      <a:pt x="107" y="76"/>
                    </a:lnTo>
                    <a:lnTo>
                      <a:pt x="107" y="74"/>
                    </a:lnTo>
                    <a:lnTo>
                      <a:pt x="105" y="74"/>
                    </a:lnTo>
                    <a:lnTo>
                      <a:pt x="105" y="73"/>
                    </a:lnTo>
                    <a:lnTo>
                      <a:pt x="105" y="71"/>
                    </a:lnTo>
                    <a:lnTo>
                      <a:pt x="105" y="70"/>
                    </a:lnTo>
                    <a:lnTo>
                      <a:pt x="107" y="70"/>
                    </a:lnTo>
                    <a:lnTo>
                      <a:pt x="107" y="68"/>
                    </a:lnTo>
                    <a:lnTo>
                      <a:pt x="105" y="68"/>
                    </a:lnTo>
                    <a:lnTo>
                      <a:pt x="107" y="66"/>
                    </a:lnTo>
                    <a:lnTo>
                      <a:pt x="107" y="65"/>
                    </a:lnTo>
                    <a:lnTo>
                      <a:pt x="107" y="63"/>
                    </a:lnTo>
                    <a:lnTo>
                      <a:pt x="108" y="63"/>
                    </a:lnTo>
                    <a:lnTo>
                      <a:pt x="107" y="63"/>
                    </a:lnTo>
                    <a:lnTo>
                      <a:pt x="107" y="62"/>
                    </a:lnTo>
                    <a:lnTo>
                      <a:pt x="108" y="60"/>
                    </a:lnTo>
                    <a:lnTo>
                      <a:pt x="108" y="59"/>
                    </a:lnTo>
                    <a:lnTo>
                      <a:pt x="107" y="59"/>
                    </a:lnTo>
                    <a:lnTo>
                      <a:pt x="107" y="57"/>
                    </a:lnTo>
                    <a:lnTo>
                      <a:pt x="108" y="57"/>
                    </a:lnTo>
                    <a:lnTo>
                      <a:pt x="108" y="55"/>
                    </a:lnTo>
                    <a:lnTo>
                      <a:pt x="108" y="54"/>
                    </a:lnTo>
                    <a:lnTo>
                      <a:pt x="107" y="54"/>
                    </a:lnTo>
                    <a:lnTo>
                      <a:pt x="107" y="52"/>
                    </a:lnTo>
                    <a:lnTo>
                      <a:pt x="108" y="52"/>
                    </a:lnTo>
                    <a:lnTo>
                      <a:pt x="108" y="51"/>
                    </a:lnTo>
                    <a:lnTo>
                      <a:pt x="107" y="51"/>
                    </a:lnTo>
                    <a:lnTo>
                      <a:pt x="107" y="49"/>
                    </a:lnTo>
                    <a:lnTo>
                      <a:pt x="105" y="49"/>
                    </a:lnTo>
                    <a:lnTo>
                      <a:pt x="105" y="47"/>
                    </a:lnTo>
                    <a:lnTo>
                      <a:pt x="105" y="46"/>
                    </a:lnTo>
                    <a:lnTo>
                      <a:pt x="103" y="46"/>
                    </a:lnTo>
                    <a:lnTo>
                      <a:pt x="103" y="44"/>
                    </a:lnTo>
                    <a:lnTo>
                      <a:pt x="105" y="44"/>
                    </a:lnTo>
                    <a:lnTo>
                      <a:pt x="105" y="43"/>
                    </a:lnTo>
                    <a:lnTo>
                      <a:pt x="105" y="44"/>
                    </a:lnTo>
                    <a:lnTo>
                      <a:pt x="103" y="43"/>
                    </a:lnTo>
                    <a:lnTo>
                      <a:pt x="102" y="43"/>
                    </a:lnTo>
                    <a:lnTo>
                      <a:pt x="102" y="41"/>
                    </a:lnTo>
                    <a:lnTo>
                      <a:pt x="100" y="43"/>
                    </a:lnTo>
                    <a:lnTo>
                      <a:pt x="99" y="44"/>
                    </a:lnTo>
                    <a:lnTo>
                      <a:pt x="97" y="46"/>
                    </a:lnTo>
                    <a:lnTo>
                      <a:pt x="96" y="47"/>
                    </a:lnTo>
                    <a:lnTo>
                      <a:pt x="96" y="49"/>
                    </a:lnTo>
                    <a:lnTo>
                      <a:pt x="94" y="49"/>
                    </a:lnTo>
                    <a:lnTo>
                      <a:pt x="94" y="51"/>
                    </a:lnTo>
                    <a:lnTo>
                      <a:pt x="92" y="51"/>
                    </a:lnTo>
                    <a:lnTo>
                      <a:pt x="92" y="52"/>
                    </a:lnTo>
                    <a:lnTo>
                      <a:pt x="91" y="54"/>
                    </a:lnTo>
                    <a:lnTo>
                      <a:pt x="89" y="55"/>
                    </a:lnTo>
                    <a:lnTo>
                      <a:pt x="88" y="55"/>
                    </a:lnTo>
                    <a:lnTo>
                      <a:pt x="84" y="59"/>
                    </a:lnTo>
                    <a:lnTo>
                      <a:pt x="84" y="60"/>
                    </a:lnTo>
                    <a:lnTo>
                      <a:pt x="83" y="60"/>
                    </a:lnTo>
                    <a:lnTo>
                      <a:pt x="81" y="60"/>
                    </a:lnTo>
                    <a:lnTo>
                      <a:pt x="81" y="62"/>
                    </a:lnTo>
                    <a:lnTo>
                      <a:pt x="80" y="62"/>
                    </a:lnTo>
                    <a:lnTo>
                      <a:pt x="78" y="63"/>
                    </a:lnTo>
                    <a:lnTo>
                      <a:pt x="77" y="63"/>
                    </a:lnTo>
                    <a:lnTo>
                      <a:pt x="77" y="65"/>
                    </a:lnTo>
                    <a:lnTo>
                      <a:pt x="75" y="65"/>
                    </a:lnTo>
                    <a:lnTo>
                      <a:pt x="73" y="66"/>
                    </a:lnTo>
                    <a:lnTo>
                      <a:pt x="72" y="66"/>
                    </a:lnTo>
                    <a:lnTo>
                      <a:pt x="72" y="68"/>
                    </a:lnTo>
                    <a:lnTo>
                      <a:pt x="70" y="68"/>
                    </a:lnTo>
                    <a:lnTo>
                      <a:pt x="70" y="70"/>
                    </a:lnTo>
                    <a:lnTo>
                      <a:pt x="69" y="71"/>
                    </a:lnTo>
                    <a:lnTo>
                      <a:pt x="67" y="73"/>
                    </a:lnTo>
                    <a:lnTo>
                      <a:pt x="65" y="74"/>
                    </a:lnTo>
                    <a:lnTo>
                      <a:pt x="64" y="76"/>
                    </a:lnTo>
                    <a:lnTo>
                      <a:pt x="62" y="78"/>
                    </a:lnTo>
                    <a:lnTo>
                      <a:pt x="61" y="78"/>
                    </a:lnTo>
                    <a:lnTo>
                      <a:pt x="61" y="79"/>
                    </a:lnTo>
                    <a:lnTo>
                      <a:pt x="59" y="79"/>
                    </a:lnTo>
                    <a:lnTo>
                      <a:pt x="59" y="81"/>
                    </a:lnTo>
                    <a:lnTo>
                      <a:pt x="58" y="81"/>
                    </a:lnTo>
                    <a:lnTo>
                      <a:pt x="56" y="81"/>
                    </a:lnTo>
                    <a:lnTo>
                      <a:pt x="56" y="79"/>
                    </a:lnTo>
                    <a:lnTo>
                      <a:pt x="54" y="79"/>
                    </a:lnTo>
                    <a:lnTo>
                      <a:pt x="53" y="79"/>
                    </a:lnTo>
                    <a:lnTo>
                      <a:pt x="51" y="79"/>
                    </a:lnTo>
                    <a:lnTo>
                      <a:pt x="50" y="79"/>
                    </a:lnTo>
                    <a:lnTo>
                      <a:pt x="48" y="79"/>
                    </a:lnTo>
                    <a:lnTo>
                      <a:pt x="48" y="78"/>
                    </a:lnTo>
                    <a:lnTo>
                      <a:pt x="46" y="78"/>
                    </a:lnTo>
                    <a:lnTo>
                      <a:pt x="46" y="76"/>
                    </a:lnTo>
                    <a:lnTo>
                      <a:pt x="45" y="74"/>
                    </a:lnTo>
                    <a:lnTo>
                      <a:pt x="43" y="74"/>
                    </a:lnTo>
                    <a:lnTo>
                      <a:pt x="43" y="73"/>
                    </a:lnTo>
                    <a:lnTo>
                      <a:pt x="43" y="71"/>
                    </a:lnTo>
                    <a:lnTo>
                      <a:pt x="43" y="70"/>
                    </a:lnTo>
                    <a:lnTo>
                      <a:pt x="45" y="70"/>
                    </a:lnTo>
                    <a:lnTo>
                      <a:pt x="43" y="68"/>
                    </a:lnTo>
                    <a:lnTo>
                      <a:pt x="42" y="68"/>
                    </a:lnTo>
                    <a:lnTo>
                      <a:pt x="42" y="66"/>
                    </a:lnTo>
                    <a:lnTo>
                      <a:pt x="43" y="66"/>
                    </a:lnTo>
                    <a:lnTo>
                      <a:pt x="43" y="65"/>
                    </a:lnTo>
                    <a:lnTo>
                      <a:pt x="42" y="65"/>
                    </a:lnTo>
                    <a:lnTo>
                      <a:pt x="42" y="63"/>
                    </a:lnTo>
                    <a:lnTo>
                      <a:pt x="43" y="63"/>
                    </a:lnTo>
                    <a:lnTo>
                      <a:pt x="43" y="62"/>
                    </a:lnTo>
                    <a:lnTo>
                      <a:pt x="43" y="60"/>
                    </a:lnTo>
                    <a:lnTo>
                      <a:pt x="42" y="60"/>
                    </a:lnTo>
                    <a:lnTo>
                      <a:pt x="42" y="59"/>
                    </a:lnTo>
                    <a:lnTo>
                      <a:pt x="42" y="57"/>
                    </a:lnTo>
                    <a:lnTo>
                      <a:pt x="42" y="55"/>
                    </a:lnTo>
                    <a:lnTo>
                      <a:pt x="42" y="54"/>
                    </a:lnTo>
                    <a:lnTo>
                      <a:pt x="40" y="54"/>
                    </a:lnTo>
                    <a:lnTo>
                      <a:pt x="40" y="52"/>
                    </a:lnTo>
                    <a:lnTo>
                      <a:pt x="40" y="51"/>
                    </a:lnTo>
                    <a:lnTo>
                      <a:pt x="40" y="49"/>
                    </a:lnTo>
                    <a:lnTo>
                      <a:pt x="40" y="47"/>
                    </a:lnTo>
                    <a:lnTo>
                      <a:pt x="40" y="46"/>
                    </a:lnTo>
                    <a:lnTo>
                      <a:pt x="39" y="46"/>
                    </a:lnTo>
                    <a:lnTo>
                      <a:pt x="39" y="44"/>
                    </a:lnTo>
                    <a:lnTo>
                      <a:pt x="39" y="43"/>
                    </a:lnTo>
                    <a:lnTo>
                      <a:pt x="37" y="43"/>
                    </a:lnTo>
                    <a:lnTo>
                      <a:pt x="35" y="41"/>
                    </a:lnTo>
                    <a:lnTo>
                      <a:pt x="34" y="41"/>
                    </a:lnTo>
                    <a:lnTo>
                      <a:pt x="34" y="40"/>
                    </a:lnTo>
                    <a:lnTo>
                      <a:pt x="32" y="40"/>
                    </a:lnTo>
                    <a:lnTo>
                      <a:pt x="32" y="38"/>
                    </a:lnTo>
                    <a:lnTo>
                      <a:pt x="32" y="36"/>
                    </a:lnTo>
                    <a:lnTo>
                      <a:pt x="31" y="36"/>
                    </a:lnTo>
                    <a:lnTo>
                      <a:pt x="31" y="35"/>
                    </a:lnTo>
                    <a:lnTo>
                      <a:pt x="29" y="35"/>
                    </a:lnTo>
                    <a:lnTo>
                      <a:pt x="27" y="33"/>
                    </a:lnTo>
                    <a:lnTo>
                      <a:pt x="27" y="32"/>
                    </a:lnTo>
                    <a:lnTo>
                      <a:pt x="26" y="32"/>
                    </a:lnTo>
                    <a:lnTo>
                      <a:pt x="26" y="30"/>
                    </a:lnTo>
                    <a:lnTo>
                      <a:pt x="24" y="32"/>
                    </a:lnTo>
                    <a:lnTo>
                      <a:pt x="23" y="32"/>
                    </a:lnTo>
                    <a:lnTo>
                      <a:pt x="23" y="30"/>
                    </a:lnTo>
                    <a:lnTo>
                      <a:pt x="23" y="28"/>
                    </a:lnTo>
                    <a:lnTo>
                      <a:pt x="23" y="27"/>
                    </a:lnTo>
                    <a:lnTo>
                      <a:pt x="23" y="25"/>
                    </a:lnTo>
                    <a:lnTo>
                      <a:pt x="23" y="24"/>
                    </a:lnTo>
                    <a:lnTo>
                      <a:pt x="21" y="24"/>
                    </a:lnTo>
                    <a:lnTo>
                      <a:pt x="21" y="22"/>
                    </a:lnTo>
                    <a:lnTo>
                      <a:pt x="20" y="22"/>
                    </a:lnTo>
                    <a:lnTo>
                      <a:pt x="20" y="21"/>
                    </a:lnTo>
                    <a:lnTo>
                      <a:pt x="20" y="19"/>
                    </a:lnTo>
                    <a:lnTo>
                      <a:pt x="18" y="19"/>
                    </a:lnTo>
                    <a:lnTo>
                      <a:pt x="18" y="17"/>
                    </a:lnTo>
                    <a:lnTo>
                      <a:pt x="18" y="16"/>
                    </a:lnTo>
                    <a:lnTo>
                      <a:pt x="16" y="16"/>
                    </a:lnTo>
                    <a:lnTo>
                      <a:pt x="16" y="14"/>
                    </a:lnTo>
                    <a:lnTo>
                      <a:pt x="15" y="14"/>
                    </a:lnTo>
                    <a:lnTo>
                      <a:pt x="13" y="14"/>
                    </a:lnTo>
                    <a:lnTo>
                      <a:pt x="12" y="13"/>
                    </a:lnTo>
                    <a:lnTo>
                      <a:pt x="12" y="11"/>
                    </a:lnTo>
                    <a:lnTo>
                      <a:pt x="10" y="11"/>
                    </a:lnTo>
                    <a:lnTo>
                      <a:pt x="10" y="9"/>
                    </a:lnTo>
                    <a:lnTo>
                      <a:pt x="10" y="8"/>
                    </a:lnTo>
                    <a:lnTo>
                      <a:pt x="8" y="8"/>
                    </a:lnTo>
                    <a:lnTo>
                      <a:pt x="7" y="8"/>
                    </a:lnTo>
                    <a:lnTo>
                      <a:pt x="5" y="8"/>
                    </a:lnTo>
                    <a:lnTo>
                      <a:pt x="5" y="6"/>
                    </a:lnTo>
                    <a:lnTo>
                      <a:pt x="4" y="6"/>
                    </a:lnTo>
                    <a:lnTo>
                      <a:pt x="4" y="5"/>
                    </a:lnTo>
                    <a:lnTo>
                      <a:pt x="2" y="5"/>
                    </a:lnTo>
                    <a:lnTo>
                      <a:pt x="2" y="3"/>
                    </a:lnTo>
                    <a:lnTo>
                      <a:pt x="2" y="2"/>
                    </a:lnTo>
                    <a:lnTo>
                      <a:pt x="2" y="0"/>
                    </a:lnTo>
                    <a:lnTo>
                      <a:pt x="0" y="0"/>
                    </a:lnTo>
                  </a:path>
                </a:pathLst>
              </a:custGeom>
              <a:noFill/>
              <a:ln w="476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16" name="Freeform 14"/>
              <p:cNvSpPr>
                <a:spLocks/>
              </p:cNvSpPr>
              <p:nvPr/>
            </p:nvSpPr>
            <p:spPr bwMode="auto">
              <a:xfrm>
                <a:off x="2103" y="977"/>
                <a:ext cx="349" cy="579"/>
              </a:xfrm>
              <a:custGeom>
                <a:avLst/>
                <a:gdLst>
                  <a:gd name="T0" fmla="*/ 201 w 349"/>
                  <a:gd name="T1" fmla="*/ 520 h 579"/>
                  <a:gd name="T2" fmla="*/ 201 w 349"/>
                  <a:gd name="T3" fmla="*/ 512 h 579"/>
                  <a:gd name="T4" fmla="*/ 192 w 349"/>
                  <a:gd name="T5" fmla="*/ 512 h 579"/>
                  <a:gd name="T6" fmla="*/ 185 w 349"/>
                  <a:gd name="T7" fmla="*/ 514 h 579"/>
                  <a:gd name="T8" fmla="*/ 176 w 349"/>
                  <a:gd name="T9" fmla="*/ 512 h 579"/>
                  <a:gd name="T10" fmla="*/ 168 w 349"/>
                  <a:gd name="T11" fmla="*/ 509 h 579"/>
                  <a:gd name="T12" fmla="*/ 160 w 349"/>
                  <a:gd name="T13" fmla="*/ 504 h 579"/>
                  <a:gd name="T14" fmla="*/ 152 w 349"/>
                  <a:gd name="T15" fmla="*/ 501 h 579"/>
                  <a:gd name="T16" fmla="*/ 144 w 349"/>
                  <a:gd name="T17" fmla="*/ 504 h 579"/>
                  <a:gd name="T18" fmla="*/ 141 w 349"/>
                  <a:gd name="T19" fmla="*/ 506 h 579"/>
                  <a:gd name="T20" fmla="*/ 138 w 349"/>
                  <a:gd name="T21" fmla="*/ 515 h 579"/>
                  <a:gd name="T22" fmla="*/ 133 w 349"/>
                  <a:gd name="T23" fmla="*/ 526 h 579"/>
                  <a:gd name="T24" fmla="*/ 125 w 349"/>
                  <a:gd name="T25" fmla="*/ 533 h 579"/>
                  <a:gd name="T26" fmla="*/ 116 w 349"/>
                  <a:gd name="T27" fmla="*/ 534 h 579"/>
                  <a:gd name="T28" fmla="*/ 111 w 349"/>
                  <a:gd name="T29" fmla="*/ 539 h 579"/>
                  <a:gd name="T30" fmla="*/ 105 w 349"/>
                  <a:gd name="T31" fmla="*/ 547 h 579"/>
                  <a:gd name="T32" fmla="*/ 102 w 349"/>
                  <a:gd name="T33" fmla="*/ 552 h 579"/>
                  <a:gd name="T34" fmla="*/ 94 w 349"/>
                  <a:gd name="T35" fmla="*/ 553 h 579"/>
                  <a:gd name="T36" fmla="*/ 87 w 349"/>
                  <a:gd name="T37" fmla="*/ 558 h 579"/>
                  <a:gd name="T38" fmla="*/ 86 w 349"/>
                  <a:gd name="T39" fmla="*/ 568 h 579"/>
                  <a:gd name="T40" fmla="*/ 79 w 349"/>
                  <a:gd name="T41" fmla="*/ 574 h 579"/>
                  <a:gd name="T42" fmla="*/ 75 w 349"/>
                  <a:gd name="T43" fmla="*/ 577 h 579"/>
                  <a:gd name="T44" fmla="*/ 67 w 349"/>
                  <a:gd name="T45" fmla="*/ 574 h 579"/>
                  <a:gd name="T46" fmla="*/ 57 w 349"/>
                  <a:gd name="T47" fmla="*/ 572 h 579"/>
                  <a:gd name="T48" fmla="*/ 52 w 349"/>
                  <a:gd name="T49" fmla="*/ 574 h 579"/>
                  <a:gd name="T50" fmla="*/ 43 w 349"/>
                  <a:gd name="T51" fmla="*/ 577 h 579"/>
                  <a:gd name="T52" fmla="*/ 37 w 349"/>
                  <a:gd name="T53" fmla="*/ 575 h 579"/>
                  <a:gd name="T54" fmla="*/ 29 w 349"/>
                  <a:gd name="T55" fmla="*/ 575 h 579"/>
                  <a:gd name="T56" fmla="*/ 21 w 349"/>
                  <a:gd name="T57" fmla="*/ 577 h 579"/>
                  <a:gd name="T58" fmla="*/ 16 w 349"/>
                  <a:gd name="T59" fmla="*/ 579 h 579"/>
                  <a:gd name="T60" fmla="*/ 10 w 349"/>
                  <a:gd name="T61" fmla="*/ 572 h 579"/>
                  <a:gd name="T62" fmla="*/ 8 w 349"/>
                  <a:gd name="T63" fmla="*/ 568 h 579"/>
                  <a:gd name="T64" fmla="*/ 6 w 349"/>
                  <a:gd name="T65" fmla="*/ 564 h 579"/>
                  <a:gd name="T66" fmla="*/ 2 w 349"/>
                  <a:gd name="T67" fmla="*/ 556 h 579"/>
                  <a:gd name="T68" fmla="*/ 8 w 349"/>
                  <a:gd name="T69" fmla="*/ 547 h 579"/>
                  <a:gd name="T70" fmla="*/ 3 w 349"/>
                  <a:gd name="T71" fmla="*/ 536 h 579"/>
                  <a:gd name="T72" fmla="*/ 8 w 349"/>
                  <a:gd name="T73" fmla="*/ 520 h 579"/>
                  <a:gd name="T74" fmla="*/ 19 w 349"/>
                  <a:gd name="T75" fmla="*/ 506 h 579"/>
                  <a:gd name="T76" fmla="*/ 29 w 349"/>
                  <a:gd name="T77" fmla="*/ 474 h 579"/>
                  <a:gd name="T78" fmla="*/ 46 w 349"/>
                  <a:gd name="T79" fmla="*/ 460 h 579"/>
                  <a:gd name="T80" fmla="*/ 46 w 349"/>
                  <a:gd name="T81" fmla="*/ 441 h 579"/>
                  <a:gd name="T82" fmla="*/ 78 w 349"/>
                  <a:gd name="T83" fmla="*/ 390 h 579"/>
                  <a:gd name="T84" fmla="*/ 100 w 349"/>
                  <a:gd name="T85" fmla="*/ 352 h 579"/>
                  <a:gd name="T86" fmla="*/ 121 w 349"/>
                  <a:gd name="T87" fmla="*/ 336 h 579"/>
                  <a:gd name="T88" fmla="*/ 125 w 349"/>
                  <a:gd name="T89" fmla="*/ 322 h 579"/>
                  <a:gd name="T90" fmla="*/ 135 w 349"/>
                  <a:gd name="T91" fmla="*/ 320 h 579"/>
                  <a:gd name="T92" fmla="*/ 157 w 349"/>
                  <a:gd name="T93" fmla="*/ 320 h 579"/>
                  <a:gd name="T94" fmla="*/ 190 w 349"/>
                  <a:gd name="T95" fmla="*/ 311 h 579"/>
                  <a:gd name="T96" fmla="*/ 208 w 349"/>
                  <a:gd name="T97" fmla="*/ 306 h 579"/>
                  <a:gd name="T98" fmla="*/ 233 w 349"/>
                  <a:gd name="T99" fmla="*/ 305 h 579"/>
                  <a:gd name="T100" fmla="*/ 244 w 349"/>
                  <a:gd name="T101" fmla="*/ 316 h 579"/>
                  <a:gd name="T102" fmla="*/ 257 w 349"/>
                  <a:gd name="T103" fmla="*/ 312 h 579"/>
                  <a:gd name="T104" fmla="*/ 263 w 349"/>
                  <a:gd name="T105" fmla="*/ 284 h 579"/>
                  <a:gd name="T106" fmla="*/ 263 w 349"/>
                  <a:gd name="T107" fmla="*/ 252 h 579"/>
                  <a:gd name="T108" fmla="*/ 260 w 349"/>
                  <a:gd name="T109" fmla="*/ 232 h 579"/>
                  <a:gd name="T110" fmla="*/ 266 w 349"/>
                  <a:gd name="T111" fmla="*/ 208 h 579"/>
                  <a:gd name="T112" fmla="*/ 284 w 349"/>
                  <a:gd name="T113" fmla="*/ 144 h 579"/>
                  <a:gd name="T114" fmla="*/ 306 w 349"/>
                  <a:gd name="T115" fmla="*/ 105 h 579"/>
                  <a:gd name="T116" fmla="*/ 322 w 349"/>
                  <a:gd name="T117" fmla="*/ 64 h 579"/>
                  <a:gd name="T118" fmla="*/ 336 w 349"/>
                  <a:gd name="T119" fmla="*/ 8 h 579"/>
                  <a:gd name="T120" fmla="*/ 349 w 349"/>
                  <a:gd name="T121" fmla="*/ 8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49" h="579">
                    <a:moveTo>
                      <a:pt x="204" y="528"/>
                    </a:moveTo>
                    <a:lnTo>
                      <a:pt x="203" y="528"/>
                    </a:lnTo>
                    <a:lnTo>
                      <a:pt x="203" y="526"/>
                    </a:lnTo>
                    <a:lnTo>
                      <a:pt x="203" y="525"/>
                    </a:lnTo>
                    <a:lnTo>
                      <a:pt x="203" y="523"/>
                    </a:lnTo>
                    <a:lnTo>
                      <a:pt x="203" y="522"/>
                    </a:lnTo>
                    <a:lnTo>
                      <a:pt x="203" y="520"/>
                    </a:lnTo>
                    <a:lnTo>
                      <a:pt x="201" y="520"/>
                    </a:lnTo>
                    <a:lnTo>
                      <a:pt x="201" y="518"/>
                    </a:lnTo>
                    <a:lnTo>
                      <a:pt x="201" y="517"/>
                    </a:lnTo>
                    <a:lnTo>
                      <a:pt x="200" y="517"/>
                    </a:lnTo>
                    <a:lnTo>
                      <a:pt x="200" y="515"/>
                    </a:lnTo>
                    <a:lnTo>
                      <a:pt x="201" y="514"/>
                    </a:lnTo>
                    <a:lnTo>
                      <a:pt x="203" y="514"/>
                    </a:lnTo>
                    <a:lnTo>
                      <a:pt x="201" y="514"/>
                    </a:lnTo>
                    <a:lnTo>
                      <a:pt x="201" y="512"/>
                    </a:lnTo>
                    <a:lnTo>
                      <a:pt x="200" y="512"/>
                    </a:lnTo>
                    <a:lnTo>
                      <a:pt x="198" y="512"/>
                    </a:lnTo>
                    <a:lnTo>
                      <a:pt x="197" y="512"/>
                    </a:lnTo>
                    <a:lnTo>
                      <a:pt x="197" y="514"/>
                    </a:lnTo>
                    <a:lnTo>
                      <a:pt x="195" y="514"/>
                    </a:lnTo>
                    <a:lnTo>
                      <a:pt x="195" y="512"/>
                    </a:lnTo>
                    <a:lnTo>
                      <a:pt x="193" y="512"/>
                    </a:lnTo>
                    <a:lnTo>
                      <a:pt x="192" y="512"/>
                    </a:lnTo>
                    <a:lnTo>
                      <a:pt x="192" y="514"/>
                    </a:lnTo>
                    <a:lnTo>
                      <a:pt x="190" y="514"/>
                    </a:lnTo>
                    <a:lnTo>
                      <a:pt x="190" y="512"/>
                    </a:lnTo>
                    <a:lnTo>
                      <a:pt x="189" y="512"/>
                    </a:lnTo>
                    <a:lnTo>
                      <a:pt x="189" y="511"/>
                    </a:lnTo>
                    <a:lnTo>
                      <a:pt x="187" y="511"/>
                    </a:lnTo>
                    <a:lnTo>
                      <a:pt x="185" y="512"/>
                    </a:lnTo>
                    <a:lnTo>
                      <a:pt x="185" y="514"/>
                    </a:lnTo>
                    <a:lnTo>
                      <a:pt x="184" y="514"/>
                    </a:lnTo>
                    <a:lnTo>
                      <a:pt x="182" y="514"/>
                    </a:lnTo>
                    <a:lnTo>
                      <a:pt x="182" y="515"/>
                    </a:lnTo>
                    <a:lnTo>
                      <a:pt x="181" y="515"/>
                    </a:lnTo>
                    <a:lnTo>
                      <a:pt x="181" y="514"/>
                    </a:lnTo>
                    <a:lnTo>
                      <a:pt x="179" y="512"/>
                    </a:lnTo>
                    <a:lnTo>
                      <a:pt x="178" y="512"/>
                    </a:lnTo>
                    <a:lnTo>
                      <a:pt x="176" y="512"/>
                    </a:lnTo>
                    <a:lnTo>
                      <a:pt x="174" y="512"/>
                    </a:lnTo>
                    <a:lnTo>
                      <a:pt x="174" y="511"/>
                    </a:lnTo>
                    <a:lnTo>
                      <a:pt x="173" y="511"/>
                    </a:lnTo>
                    <a:lnTo>
                      <a:pt x="171" y="511"/>
                    </a:lnTo>
                    <a:lnTo>
                      <a:pt x="171" y="512"/>
                    </a:lnTo>
                    <a:lnTo>
                      <a:pt x="170" y="511"/>
                    </a:lnTo>
                    <a:lnTo>
                      <a:pt x="168" y="511"/>
                    </a:lnTo>
                    <a:lnTo>
                      <a:pt x="168" y="509"/>
                    </a:lnTo>
                    <a:lnTo>
                      <a:pt x="168" y="507"/>
                    </a:lnTo>
                    <a:lnTo>
                      <a:pt x="166" y="507"/>
                    </a:lnTo>
                    <a:lnTo>
                      <a:pt x="165" y="507"/>
                    </a:lnTo>
                    <a:lnTo>
                      <a:pt x="163" y="507"/>
                    </a:lnTo>
                    <a:lnTo>
                      <a:pt x="163" y="506"/>
                    </a:lnTo>
                    <a:lnTo>
                      <a:pt x="162" y="506"/>
                    </a:lnTo>
                    <a:lnTo>
                      <a:pt x="160" y="506"/>
                    </a:lnTo>
                    <a:lnTo>
                      <a:pt x="160" y="504"/>
                    </a:lnTo>
                    <a:lnTo>
                      <a:pt x="159" y="506"/>
                    </a:lnTo>
                    <a:lnTo>
                      <a:pt x="157" y="506"/>
                    </a:lnTo>
                    <a:lnTo>
                      <a:pt x="155" y="506"/>
                    </a:lnTo>
                    <a:lnTo>
                      <a:pt x="155" y="504"/>
                    </a:lnTo>
                    <a:lnTo>
                      <a:pt x="155" y="503"/>
                    </a:lnTo>
                    <a:lnTo>
                      <a:pt x="154" y="503"/>
                    </a:lnTo>
                    <a:lnTo>
                      <a:pt x="152" y="503"/>
                    </a:lnTo>
                    <a:lnTo>
                      <a:pt x="152" y="501"/>
                    </a:lnTo>
                    <a:lnTo>
                      <a:pt x="152" y="499"/>
                    </a:lnTo>
                    <a:lnTo>
                      <a:pt x="151" y="499"/>
                    </a:lnTo>
                    <a:lnTo>
                      <a:pt x="151" y="501"/>
                    </a:lnTo>
                    <a:lnTo>
                      <a:pt x="149" y="503"/>
                    </a:lnTo>
                    <a:lnTo>
                      <a:pt x="147" y="503"/>
                    </a:lnTo>
                    <a:lnTo>
                      <a:pt x="146" y="503"/>
                    </a:lnTo>
                    <a:lnTo>
                      <a:pt x="146" y="504"/>
                    </a:lnTo>
                    <a:lnTo>
                      <a:pt x="144" y="504"/>
                    </a:lnTo>
                    <a:lnTo>
                      <a:pt x="144" y="506"/>
                    </a:lnTo>
                    <a:lnTo>
                      <a:pt x="144" y="507"/>
                    </a:lnTo>
                    <a:lnTo>
                      <a:pt x="146" y="509"/>
                    </a:lnTo>
                    <a:lnTo>
                      <a:pt x="144" y="509"/>
                    </a:lnTo>
                    <a:lnTo>
                      <a:pt x="143" y="509"/>
                    </a:lnTo>
                    <a:lnTo>
                      <a:pt x="143" y="507"/>
                    </a:lnTo>
                    <a:lnTo>
                      <a:pt x="143" y="506"/>
                    </a:lnTo>
                    <a:lnTo>
                      <a:pt x="141" y="506"/>
                    </a:lnTo>
                    <a:lnTo>
                      <a:pt x="141" y="507"/>
                    </a:lnTo>
                    <a:lnTo>
                      <a:pt x="141" y="509"/>
                    </a:lnTo>
                    <a:lnTo>
                      <a:pt x="141" y="511"/>
                    </a:lnTo>
                    <a:lnTo>
                      <a:pt x="140" y="511"/>
                    </a:lnTo>
                    <a:lnTo>
                      <a:pt x="140" y="512"/>
                    </a:lnTo>
                    <a:lnTo>
                      <a:pt x="138" y="512"/>
                    </a:lnTo>
                    <a:lnTo>
                      <a:pt x="138" y="514"/>
                    </a:lnTo>
                    <a:lnTo>
                      <a:pt x="138" y="515"/>
                    </a:lnTo>
                    <a:lnTo>
                      <a:pt x="136" y="517"/>
                    </a:lnTo>
                    <a:lnTo>
                      <a:pt x="136" y="518"/>
                    </a:lnTo>
                    <a:lnTo>
                      <a:pt x="136" y="520"/>
                    </a:lnTo>
                    <a:lnTo>
                      <a:pt x="136" y="522"/>
                    </a:lnTo>
                    <a:lnTo>
                      <a:pt x="135" y="522"/>
                    </a:lnTo>
                    <a:lnTo>
                      <a:pt x="135" y="523"/>
                    </a:lnTo>
                    <a:lnTo>
                      <a:pt x="133" y="525"/>
                    </a:lnTo>
                    <a:lnTo>
                      <a:pt x="133" y="526"/>
                    </a:lnTo>
                    <a:lnTo>
                      <a:pt x="133" y="528"/>
                    </a:lnTo>
                    <a:lnTo>
                      <a:pt x="133" y="530"/>
                    </a:lnTo>
                    <a:lnTo>
                      <a:pt x="132" y="530"/>
                    </a:lnTo>
                    <a:lnTo>
                      <a:pt x="132" y="531"/>
                    </a:lnTo>
                    <a:lnTo>
                      <a:pt x="130" y="533"/>
                    </a:lnTo>
                    <a:lnTo>
                      <a:pt x="128" y="533"/>
                    </a:lnTo>
                    <a:lnTo>
                      <a:pt x="127" y="533"/>
                    </a:lnTo>
                    <a:lnTo>
                      <a:pt x="125" y="533"/>
                    </a:lnTo>
                    <a:lnTo>
                      <a:pt x="124" y="533"/>
                    </a:lnTo>
                    <a:lnTo>
                      <a:pt x="124" y="531"/>
                    </a:lnTo>
                    <a:lnTo>
                      <a:pt x="124" y="533"/>
                    </a:lnTo>
                    <a:lnTo>
                      <a:pt x="122" y="533"/>
                    </a:lnTo>
                    <a:lnTo>
                      <a:pt x="121" y="533"/>
                    </a:lnTo>
                    <a:lnTo>
                      <a:pt x="119" y="534"/>
                    </a:lnTo>
                    <a:lnTo>
                      <a:pt x="117" y="534"/>
                    </a:lnTo>
                    <a:lnTo>
                      <a:pt x="116" y="534"/>
                    </a:lnTo>
                    <a:lnTo>
                      <a:pt x="116" y="533"/>
                    </a:lnTo>
                    <a:lnTo>
                      <a:pt x="114" y="533"/>
                    </a:lnTo>
                    <a:lnTo>
                      <a:pt x="113" y="533"/>
                    </a:lnTo>
                    <a:lnTo>
                      <a:pt x="113" y="534"/>
                    </a:lnTo>
                    <a:lnTo>
                      <a:pt x="113" y="536"/>
                    </a:lnTo>
                    <a:lnTo>
                      <a:pt x="113" y="537"/>
                    </a:lnTo>
                    <a:lnTo>
                      <a:pt x="113" y="539"/>
                    </a:lnTo>
                    <a:lnTo>
                      <a:pt x="111" y="539"/>
                    </a:lnTo>
                    <a:lnTo>
                      <a:pt x="111" y="541"/>
                    </a:lnTo>
                    <a:lnTo>
                      <a:pt x="111" y="542"/>
                    </a:lnTo>
                    <a:lnTo>
                      <a:pt x="109" y="544"/>
                    </a:lnTo>
                    <a:lnTo>
                      <a:pt x="109" y="545"/>
                    </a:lnTo>
                    <a:lnTo>
                      <a:pt x="109" y="547"/>
                    </a:lnTo>
                    <a:lnTo>
                      <a:pt x="108" y="547"/>
                    </a:lnTo>
                    <a:lnTo>
                      <a:pt x="106" y="547"/>
                    </a:lnTo>
                    <a:lnTo>
                      <a:pt x="105" y="547"/>
                    </a:lnTo>
                    <a:lnTo>
                      <a:pt x="105" y="549"/>
                    </a:lnTo>
                    <a:lnTo>
                      <a:pt x="103" y="550"/>
                    </a:lnTo>
                    <a:lnTo>
                      <a:pt x="103" y="549"/>
                    </a:lnTo>
                    <a:lnTo>
                      <a:pt x="103" y="550"/>
                    </a:lnTo>
                    <a:lnTo>
                      <a:pt x="103" y="552"/>
                    </a:lnTo>
                    <a:lnTo>
                      <a:pt x="102" y="552"/>
                    </a:lnTo>
                    <a:lnTo>
                      <a:pt x="102" y="553"/>
                    </a:lnTo>
                    <a:lnTo>
                      <a:pt x="102" y="552"/>
                    </a:lnTo>
                    <a:lnTo>
                      <a:pt x="100" y="552"/>
                    </a:lnTo>
                    <a:lnTo>
                      <a:pt x="98" y="552"/>
                    </a:lnTo>
                    <a:lnTo>
                      <a:pt x="98" y="553"/>
                    </a:lnTo>
                    <a:lnTo>
                      <a:pt x="98" y="555"/>
                    </a:lnTo>
                    <a:lnTo>
                      <a:pt x="97" y="555"/>
                    </a:lnTo>
                    <a:lnTo>
                      <a:pt x="95" y="555"/>
                    </a:lnTo>
                    <a:lnTo>
                      <a:pt x="95" y="553"/>
                    </a:lnTo>
                    <a:lnTo>
                      <a:pt x="94" y="553"/>
                    </a:lnTo>
                    <a:lnTo>
                      <a:pt x="94" y="555"/>
                    </a:lnTo>
                    <a:lnTo>
                      <a:pt x="94" y="556"/>
                    </a:lnTo>
                    <a:lnTo>
                      <a:pt x="92" y="556"/>
                    </a:lnTo>
                    <a:lnTo>
                      <a:pt x="92" y="558"/>
                    </a:lnTo>
                    <a:lnTo>
                      <a:pt x="90" y="556"/>
                    </a:lnTo>
                    <a:lnTo>
                      <a:pt x="90" y="558"/>
                    </a:lnTo>
                    <a:lnTo>
                      <a:pt x="89" y="558"/>
                    </a:lnTo>
                    <a:lnTo>
                      <a:pt x="87" y="558"/>
                    </a:lnTo>
                    <a:lnTo>
                      <a:pt x="87" y="560"/>
                    </a:lnTo>
                    <a:lnTo>
                      <a:pt x="87" y="561"/>
                    </a:lnTo>
                    <a:lnTo>
                      <a:pt x="89" y="563"/>
                    </a:lnTo>
                    <a:lnTo>
                      <a:pt x="87" y="564"/>
                    </a:lnTo>
                    <a:lnTo>
                      <a:pt x="89" y="564"/>
                    </a:lnTo>
                    <a:lnTo>
                      <a:pt x="89" y="566"/>
                    </a:lnTo>
                    <a:lnTo>
                      <a:pt x="87" y="566"/>
                    </a:lnTo>
                    <a:lnTo>
                      <a:pt x="86" y="568"/>
                    </a:lnTo>
                    <a:lnTo>
                      <a:pt x="86" y="569"/>
                    </a:lnTo>
                    <a:lnTo>
                      <a:pt x="86" y="571"/>
                    </a:lnTo>
                    <a:lnTo>
                      <a:pt x="84" y="571"/>
                    </a:lnTo>
                    <a:lnTo>
                      <a:pt x="83" y="571"/>
                    </a:lnTo>
                    <a:lnTo>
                      <a:pt x="83" y="572"/>
                    </a:lnTo>
                    <a:lnTo>
                      <a:pt x="81" y="572"/>
                    </a:lnTo>
                    <a:lnTo>
                      <a:pt x="79" y="572"/>
                    </a:lnTo>
                    <a:lnTo>
                      <a:pt x="79" y="574"/>
                    </a:lnTo>
                    <a:lnTo>
                      <a:pt x="81" y="574"/>
                    </a:lnTo>
                    <a:lnTo>
                      <a:pt x="81" y="575"/>
                    </a:lnTo>
                    <a:lnTo>
                      <a:pt x="81" y="577"/>
                    </a:lnTo>
                    <a:lnTo>
                      <a:pt x="79" y="577"/>
                    </a:lnTo>
                    <a:lnTo>
                      <a:pt x="78" y="577"/>
                    </a:lnTo>
                    <a:lnTo>
                      <a:pt x="78" y="575"/>
                    </a:lnTo>
                    <a:lnTo>
                      <a:pt x="76" y="577"/>
                    </a:lnTo>
                    <a:lnTo>
                      <a:pt x="75" y="577"/>
                    </a:lnTo>
                    <a:lnTo>
                      <a:pt x="73" y="577"/>
                    </a:lnTo>
                    <a:lnTo>
                      <a:pt x="73" y="575"/>
                    </a:lnTo>
                    <a:lnTo>
                      <a:pt x="73" y="574"/>
                    </a:lnTo>
                    <a:lnTo>
                      <a:pt x="73" y="572"/>
                    </a:lnTo>
                    <a:lnTo>
                      <a:pt x="71" y="572"/>
                    </a:lnTo>
                    <a:lnTo>
                      <a:pt x="70" y="572"/>
                    </a:lnTo>
                    <a:lnTo>
                      <a:pt x="68" y="572"/>
                    </a:lnTo>
                    <a:lnTo>
                      <a:pt x="67" y="574"/>
                    </a:lnTo>
                    <a:lnTo>
                      <a:pt x="65" y="574"/>
                    </a:lnTo>
                    <a:lnTo>
                      <a:pt x="64" y="574"/>
                    </a:lnTo>
                    <a:lnTo>
                      <a:pt x="64" y="572"/>
                    </a:lnTo>
                    <a:lnTo>
                      <a:pt x="62" y="574"/>
                    </a:lnTo>
                    <a:lnTo>
                      <a:pt x="60" y="574"/>
                    </a:lnTo>
                    <a:lnTo>
                      <a:pt x="60" y="575"/>
                    </a:lnTo>
                    <a:lnTo>
                      <a:pt x="59" y="574"/>
                    </a:lnTo>
                    <a:lnTo>
                      <a:pt x="57" y="572"/>
                    </a:lnTo>
                    <a:lnTo>
                      <a:pt x="57" y="574"/>
                    </a:lnTo>
                    <a:lnTo>
                      <a:pt x="56" y="574"/>
                    </a:lnTo>
                    <a:lnTo>
                      <a:pt x="56" y="575"/>
                    </a:lnTo>
                    <a:lnTo>
                      <a:pt x="54" y="575"/>
                    </a:lnTo>
                    <a:lnTo>
                      <a:pt x="54" y="577"/>
                    </a:lnTo>
                    <a:lnTo>
                      <a:pt x="54" y="575"/>
                    </a:lnTo>
                    <a:lnTo>
                      <a:pt x="52" y="575"/>
                    </a:lnTo>
                    <a:lnTo>
                      <a:pt x="52" y="574"/>
                    </a:lnTo>
                    <a:lnTo>
                      <a:pt x="52" y="575"/>
                    </a:lnTo>
                    <a:lnTo>
                      <a:pt x="51" y="575"/>
                    </a:lnTo>
                    <a:lnTo>
                      <a:pt x="49" y="575"/>
                    </a:lnTo>
                    <a:lnTo>
                      <a:pt x="48" y="575"/>
                    </a:lnTo>
                    <a:lnTo>
                      <a:pt x="46" y="575"/>
                    </a:lnTo>
                    <a:lnTo>
                      <a:pt x="45" y="575"/>
                    </a:lnTo>
                    <a:lnTo>
                      <a:pt x="45" y="577"/>
                    </a:lnTo>
                    <a:lnTo>
                      <a:pt x="43" y="577"/>
                    </a:lnTo>
                    <a:lnTo>
                      <a:pt x="43" y="579"/>
                    </a:lnTo>
                    <a:lnTo>
                      <a:pt x="41" y="579"/>
                    </a:lnTo>
                    <a:lnTo>
                      <a:pt x="40" y="579"/>
                    </a:lnTo>
                    <a:lnTo>
                      <a:pt x="40" y="577"/>
                    </a:lnTo>
                    <a:lnTo>
                      <a:pt x="40" y="575"/>
                    </a:lnTo>
                    <a:lnTo>
                      <a:pt x="38" y="577"/>
                    </a:lnTo>
                    <a:lnTo>
                      <a:pt x="38" y="575"/>
                    </a:lnTo>
                    <a:lnTo>
                      <a:pt x="37" y="575"/>
                    </a:lnTo>
                    <a:lnTo>
                      <a:pt x="37" y="577"/>
                    </a:lnTo>
                    <a:lnTo>
                      <a:pt x="35" y="577"/>
                    </a:lnTo>
                    <a:lnTo>
                      <a:pt x="35" y="579"/>
                    </a:lnTo>
                    <a:lnTo>
                      <a:pt x="33" y="579"/>
                    </a:lnTo>
                    <a:lnTo>
                      <a:pt x="32" y="579"/>
                    </a:lnTo>
                    <a:lnTo>
                      <a:pt x="30" y="579"/>
                    </a:lnTo>
                    <a:lnTo>
                      <a:pt x="29" y="577"/>
                    </a:lnTo>
                    <a:lnTo>
                      <a:pt x="29" y="575"/>
                    </a:lnTo>
                    <a:lnTo>
                      <a:pt x="29" y="574"/>
                    </a:lnTo>
                    <a:lnTo>
                      <a:pt x="27" y="574"/>
                    </a:lnTo>
                    <a:lnTo>
                      <a:pt x="26" y="574"/>
                    </a:lnTo>
                    <a:lnTo>
                      <a:pt x="26" y="575"/>
                    </a:lnTo>
                    <a:lnTo>
                      <a:pt x="24" y="575"/>
                    </a:lnTo>
                    <a:lnTo>
                      <a:pt x="24" y="577"/>
                    </a:lnTo>
                    <a:lnTo>
                      <a:pt x="22" y="577"/>
                    </a:lnTo>
                    <a:lnTo>
                      <a:pt x="21" y="577"/>
                    </a:lnTo>
                    <a:lnTo>
                      <a:pt x="22" y="577"/>
                    </a:lnTo>
                    <a:lnTo>
                      <a:pt x="22" y="575"/>
                    </a:lnTo>
                    <a:lnTo>
                      <a:pt x="21" y="575"/>
                    </a:lnTo>
                    <a:lnTo>
                      <a:pt x="19" y="575"/>
                    </a:lnTo>
                    <a:lnTo>
                      <a:pt x="18" y="575"/>
                    </a:lnTo>
                    <a:lnTo>
                      <a:pt x="18" y="577"/>
                    </a:lnTo>
                    <a:lnTo>
                      <a:pt x="18" y="579"/>
                    </a:lnTo>
                    <a:lnTo>
                      <a:pt x="16" y="579"/>
                    </a:lnTo>
                    <a:lnTo>
                      <a:pt x="16" y="577"/>
                    </a:lnTo>
                    <a:lnTo>
                      <a:pt x="14" y="577"/>
                    </a:lnTo>
                    <a:lnTo>
                      <a:pt x="14" y="575"/>
                    </a:lnTo>
                    <a:lnTo>
                      <a:pt x="13" y="575"/>
                    </a:lnTo>
                    <a:lnTo>
                      <a:pt x="11" y="575"/>
                    </a:lnTo>
                    <a:lnTo>
                      <a:pt x="11" y="574"/>
                    </a:lnTo>
                    <a:lnTo>
                      <a:pt x="10" y="574"/>
                    </a:lnTo>
                    <a:lnTo>
                      <a:pt x="10" y="572"/>
                    </a:lnTo>
                    <a:lnTo>
                      <a:pt x="8" y="572"/>
                    </a:lnTo>
                    <a:lnTo>
                      <a:pt x="8" y="574"/>
                    </a:lnTo>
                    <a:lnTo>
                      <a:pt x="6" y="574"/>
                    </a:lnTo>
                    <a:lnTo>
                      <a:pt x="6" y="572"/>
                    </a:lnTo>
                    <a:lnTo>
                      <a:pt x="6" y="571"/>
                    </a:lnTo>
                    <a:lnTo>
                      <a:pt x="6" y="569"/>
                    </a:lnTo>
                    <a:lnTo>
                      <a:pt x="8" y="569"/>
                    </a:lnTo>
                    <a:lnTo>
                      <a:pt x="8" y="568"/>
                    </a:lnTo>
                    <a:lnTo>
                      <a:pt x="10" y="568"/>
                    </a:lnTo>
                    <a:lnTo>
                      <a:pt x="10" y="566"/>
                    </a:lnTo>
                    <a:lnTo>
                      <a:pt x="10" y="564"/>
                    </a:lnTo>
                    <a:lnTo>
                      <a:pt x="10" y="563"/>
                    </a:lnTo>
                    <a:lnTo>
                      <a:pt x="8" y="564"/>
                    </a:lnTo>
                    <a:lnTo>
                      <a:pt x="6" y="564"/>
                    </a:lnTo>
                    <a:lnTo>
                      <a:pt x="6" y="566"/>
                    </a:lnTo>
                    <a:lnTo>
                      <a:pt x="6" y="564"/>
                    </a:lnTo>
                    <a:lnTo>
                      <a:pt x="6" y="563"/>
                    </a:lnTo>
                    <a:lnTo>
                      <a:pt x="5" y="563"/>
                    </a:lnTo>
                    <a:lnTo>
                      <a:pt x="5" y="561"/>
                    </a:lnTo>
                    <a:lnTo>
                      <a:pt x="3" y="561"/>
                    </a:lnTo>
                    <a:lnTo>
                      <a:pt x="3" y="560"/>
                    </a:lnTo>
                    <a:lnTo>
                      <a:pt x="3" y="558"/>
                    </a:lnTo>
                    <a:lnTo>
                      <a:pt x="3" y="556"/>
                    </a:lnTo>
                    <a:lnTo>
                      <a:pt x="2" y="556"/>
                    </a:lnTo>
                    <a:lnTo>
                      <a:pt x="2" y="555"/>
                    </a:lnTo>
                    <a:lnTo>
                      <a:pt x="2" y="553"/>
                    </a:lnTo>
                    <a:lnTo>
                      <a:pt x="3" y="553"/>
                    </a:lnTo>
                    <a:lnTo>
                      <a:pt x="3" y="552"/>
                    </a:lnTo>
                    <a:lnTo>
                      <a:pt x="5" y="550"/>
                    </a:lnTo>
                    <a:lnTo>
                      <a:pt x="5" y="549"/>
                    </a:lnTo>
                    <a:lnTo>
                      <a:pt x="6" y="549"/>
                    </a:lnTo>
                    <a:lnTo>
                      <a:pt x="8" y="547"/>
                    </a:lnTo>
                    <a:lnTo>
                      <a:pt x="8" y="545"/>
                    </a:lnTo>
                    <a:lnTo>
                      <a:pt x="5" y="544"/>
                    </a:lnTo>
                    <a:lnTo>
                      <a:pt x="5" y="542"/>
                    </a:lnTo>
                    <a:lnTo>
                      <a:pt x="3" y="542"/>
                    </a:lnTo>
                    <a:lnTo>
                      <a:pt x="2" y="541"/>
                    </a:lnTo>
                    <a:lnTo>
                      <a:pt x="2" y="539"/>
                    </a:lnTo>
                    <a:lnTo>
                      <a:pt x="3" y="537"/>
                    </a:lnTo>
                    <a:lnTo>
                      <a:pt x="3" y="536"/>
                    </a:lnTo>
                    <a:lnTo>
                      <a:pt x="3" y="534"/>
                    </a:lnTo>
                    <a:lnTo>
                      <a:pt x="2" y="534"/>
                    </a:lnTo>
                    <a:lnTo>
                      <a:pt x="0" y="534"/>
                    </a:lnTo>
                    <a:lnTo>
                      <a:pt x="3" y="530"/>
                    </a:lnTo>
                    <a:lnTo>
                      <a:pt x="5" y="526"/>
                    </a:lnTo>
                    <a:lnTo>
                      <a:pt x="6" y="525"/>
                    </a:lnTo>
                    <a:lnTo>
                      <a:pt x="6" y="523"/>
                    </a:lnTo>
                    <a:lnTo>
                      <a:pt x="8" y="520"/>
                    </a:lnTo>
                    <a:lnTo>
                      <a:pt x="8" y="518"/>
                    </a:lnTo>
                    <a:lnTo>
                      <a:pt x="8" y="512"/>
                    </a:lnTo>
                    <a:lnTo>
                      <a:pt x="10" y="511"/>
                    </a:lnTo>
                    <a:lnTo>
                      <a:pt x="11" y="511"/>
                    </a:lnTo>
                    <a:lnTo>
                      <a:pt x="14" y="511"/>
                    </a:lnTo>
                    <a:lnTo>
                      <a:pt x="18" y="509"/>
                    </a:lnTo>
                    <a:lnTo>
                      <a:pt x="19" y="507"/>
                    </a:lnTo>
                    <a:lnTo>
                      <a:pt x="19" y="506"/>
                    </a:lnTo>
                    <a:lnTo>
                      <a:pt x="21" y="503"/>
                    </a:lnTo>
                    <a:lnTo>
                      <a:pt x="21" y="501"/>
                    </a:lnTo>
                    <a:lnTo>
                      <a:pt x="21" y="498"/>
                    </a:lnTo>
                    <a:lnTo>
                      <a:pt x="19" y="498"/>
                    </a:lnTo>
                    <a:lnTo>
                      <a:pt x="18" y="495"/>
                    </a:lnTo>
                    <a:lnTo>
                      <a:pt x="19" y="490"/>
                    </a:lnTo>
                    <a:lnTo>
                      <a:pt x="24" y="482"/>
                    </a:lnTo>
                    <a:lnTo>
                      <a:pt x="29" y="474"/>
                    </a:lnTo>
                    <a:lnTo>
                      <a:pt x="33" y="465"/>
                    </a:lnTo>
                    <a:lnTo>
                      <a:pt x="35" y="463"/>
                    </a:lnTo>
                    <a:lnTo>
                      <a:pt x="35" y="461"/>
                    </a:lnTo>
                    <a:lnTo>
                      <a:pt x="37" y="461"/>
                    </a:lnTo>
                    <a:lnTo>
                      <a:pt x="38" y="461"/>
                    </a:lnTo>
                    <a:lnTo>
                      <a:pt x="41" y="461"/>
                    </a:lnTo>
                    <a:lnTo>
                      <a:pt x="43" y="461"/>
                    </a:lnTo>
                    <a:lnTo>
                      <a:pt x="46" y="460"/>
                    </a:lnTo>
                    <a:lnTo>
                      <a:pt x="48" y="457"/>
                    </a:lnTo>
                    <a:lnTo>
                      <a:pt x="48" y="455"/>
                    </a:lnTo>
                    <a:lnTo>
                      <a:pt x="48" y="449"/>
                    </a:lnTo>
                    <a:lnTo>
                      <a:pt x="46" y="447"/>
                    </a:lnTo>
                    <a:lnTo>
                      <a:pt x="46" y="446"/>
                    </a:lnTo>
                    <a:lnTo>
                      <a:pt x="45" y="442"/>
                    </a:lnTo>
                    <a:lnTo>
                      <a:pt x="46" y="442"/>
                    </a:lnTo>
                    <a:lnTo>
                      <a:pt x="46" y="441"/>
                    </a:lnTo>
                    <a:lnTo>
                      <a:pt x="48" y="439"/>
                    </a:lnTo>
                    <a:lnTo>
                      <a:pt x="51" y="434"/>
                    </a:lnTo>
                    <a:lnTo>
                      <a:pt x="56" y="425"/>
                    </a:lnTo>
                    <a:lnTo>
                      <a:pt x="59" y="420"/>
                    </a:lnTo>
                    <a:lnTo>
                      <a:pt x="60" y="419"/>
                    </a:lnTo>
                    <a:lnTo>
                      <a:pt x="67" y="408"/>
                    </a:lnTo>
                    <a:lnTo>
                      <a:pt x="68" y="406"/>
                    </a:lnTo>
                    <a:lnTo>
                      <a:pt x="78" y="390"/>
                    </a:lnTo>
                    <a:lnTo>
                      <a:pt x="79" y="389"/>
                    </a:lnTo>
                    <a:lnTo>
                      <a:pt x="84" y="377"/>
                    </a:lnTo>
                    <a:lnTo>
                      <a:pt x="86" y="376"/>
                    </a:lnTo>
                    <a:lnTo>
                      <a:pt x="89" y="369"/>
                    </a:lnTo>
                    <a:lnTo>
                      <a:pt x="92" y="365"/>
                    </a:lnTo>
                    <a:lnTo>
                      <a:pt x="95" y="360"/>
                    </a:lnTo>
                    <a:lnTo>
                      <a:pt x="98" y="355"/>
                    </a:lnTo>
                    <a:lnTo>
                      <a:pt x="100" y="352"/>
                    </a:lnTo>
                    <a:lnTo>
                      <a:pt x="105" y="344"/>
                    </a:lnTo>
                    <a:lnTo>
                      <a:pt x="106" y="341"/>
                    </a:lnTo>
                    <a:lnTo>
                      <a:pt x="108" y="339"/>
                    </a:lnTo>
                    <a:lnTo>
                      <a:pt x="111" y="339"/>
                    </a:lnTo>
                    <a:lnTo>
                      <a:pt x="116" y="339"/>
                    </a:lnTo>
                    <a:lnTo>
                      <a:pt x="117" y="339"/>
                    </a:lnTo>
                    <a:lnTo>
                      <a:pt x="119" y="338"/>
                    </a:lnTo>
                    <a:lnTo>
                      <a:pt x="121" y="336"/>
                    </a:lnTo>
                    <a:lnTo>
                      <a:pt x="121" y="335"/>
                    </a:lnTo>
                    <a:lnTo>
                      <a:pt x="122" y="331"/>
                    </a:lnTo>
                    <a:lnTo>
                      <a:pt x="121" y="328"/>
                    </a:lnTo>
                    <a:lnTo>
                      <a:pt x="121" y="327"/>
                    </a:lnTo>
                    <a:lnTo>
                      <a:pt x="121" y="324"/>
                    </a:lnTo>
                    <a:lnTo>
                      <a:pt x="122" y="322"/>
                    </a:lnTo>
                    <a:lnTo>
                      <a:pt x="124" y="322"/>
                    </a:lnTo>
                    <a:lnTo>
                      <a:pt x="125" y="322"/>
                    </a:lnTo>
                    <a:lnTo>
                      <a:pt x="127" y="320"/>
                    </a:lnTo>
                    <a:lnTo>
                      <a:pt x="128" y="320"/>
                    </a:lnTo>
                    <a:lnTo>
                      <a:pt x="128" y="319"/>
                    </a:lnTo>
                    <a:lnTo>
                      <a:pt x="130" y="319"/>
                    </a:lnTo>
                    <a:lnTo>
                      <a:pt x="132" y="319"/>
                    </a:lnTo>
                    <a:lnTo>
                      <a:pt x="132" y="320"/>
                    </a:lnTo>
                    <a:lnTo>
                      <a:pt x="133" y="320"/>
                    </a:lnTo>
                    <a:lnTo>
                      <a:pt x="135" y="320"/>
                    </a:lnTo>
                    <a:lnTo>
                      <a:pt x="138" y="320"/>
                    </a:lnTo>
                    <a:lnTo>
                      <a:pt x="141" y="319"/>
                    </a:lnTo>
                    <a:lnTo>
                      <a:pt x="143" y="319"/>
                    </a:lnTo>
                    <a:lnTo>
                      <a:pt x="149" y="322"/>
                    </a:lnTo>
                    <a:lnTo>
                      <a:pt x="152" y="320"/>
                    </a:lnTo>
                    <a:lnTo>
                      <a:pt x="154" y="320"/>
                    </a:lnTo>
                    <a:lnTo>
                      <a:pt x="155" y="320"/>
                    </a:lnTo>
                    <a:lnTo>
                      <a:pt x="157" y="320"/>
                    </a:lnTo>
                    <a:lnTo>
                      <a:pt x="157" y="319"/>
                    </a:lnTo>
                    <a:lnTo>
                      <a:pt x="160" y="319"/>
                    </a:lnTo>
                    <a:lnTo>
                      <a:pt x="165" y="319"/>
                    </a:lnTo>
                    <a:lnTo>
                      <a:pt x="174" y="314"/>
                    </a:lnTo>
                    <a:lnTo>
                      <a:pt x="178" y="314"/>
                    </a:lnTo>
                    <a:lnTo>
                      <a:pt x="181" y="312"/>
                    </a:lnTo>
                    <a:lnTo>
                      <a:pt x="185" y="312"/>
                    </a:lnTo>
                    <a:lnTo>
                      <a:pt x="190" y="311"/>
                    </a:lnTo>
                    <a:lnTo>
                      <a:pt x="193" y="311"/>
                    </a:lnTo>
                    <a:lnTo>
                      <a:pt x="195" y="311"/>
                    </a:lnTo>
                    <a:lnTo>
                      <a:pt x="195" y="309"/>
                    </a:lnTo>
                    <a:lnTo>
                      <a:pt x="197" y="309"/>
                    </a:lnTo>
                    <a:lnTo>
                      <a:pt x="198" y="309"/>
                    </a:lnTo>
                    <a:lnTo>
                      <a:pt x="201" y="308"/>
                    </a:lnTo>
                    <a:lnTo>
                      <a:pt x="206" y="306"/>
                    </a:lnTo>
                    <a:lnTo>
                      <a:pt x="208" y="306"/>
                    </a:lnTo>
                    <a:lnTo>
                      <a:pt x="214" y="305"/>
                    </a:lnTo>
                    <a:lnTo>
                      <a:pt x="219" y="305"/>
                    </a:lnTo>
                    <a:lnTo>
                      <a:pt x="224" y="306"/>
                    </a:lnTo>
                    <a:lnTo>
                      <a:pt x="225" y="306"/>
                    </a:lnTo>
                    <a:lnTo>
                      <a:pt x="227" y="306"/>
                    </a:lnTo>
                    <a:lnTo>
                      <a:pt x="228" y="305"/>
                    </a:lnTo>
                    <a:lnTo>
                      <a:pt x="231" y="305"/>
                    </a:lnTo>
                    <a:lnTo>
                      <a:pt x="233" y="305"/>
                    </a:lnTo>
                    <a:lnTo>
                      <a:pt x="235" y="305"/>
                    </a:lnTo>
                    <a:lnTo>
                      <a:pt x="236" y="305"/>
                    </a:lnTo>
                    <a:lnTo>
                      <a:pt x="238" y="306"/>
                    </a:lnTo>
                    <a:lnTo>
                      <a:pt x="241" y="308"/>
                    </a:lnTo>
                    <a:lnTo>
                      <a:pt x="243" y="309"/>
                    </a:lnTo>
                    <a:lnTo>
                      <a:pt x="244" y="311"/>
                    </a:lnTo>
                    <a:lnTo>
                      <a:pt x="244" y="314"/>
                    </a:lnTo>
                    <a:lnTo>
                      <a:pt x="244" y="316"/>
                    </a:lnTo>
                    <a:lnTo>
                      <a:pt x="246" y="316"/>
                    </a:lnTo>
                    <a:lnTo>
                      <a:pt x="247" y="317"/>
                    </a:lnTo>
                    <a:lnTo>
                      <a:pt x="250" y="316"/>
                    </a:lnTo>
                    <a:lnTo>
                      <a:pt x="252" y="316"/>
                    </a:lnTo>
                    <a:lnTo>
                      <a:pt x="257" y="317"/>
                    </a:lnTo>
                    <a:lnTo>
                      <a:pt x="257" y="316"/>
                    </a:lnTo>
                    <a:lnTo>
                      <a:pt x="258" y="314"/>
                    </a:lnTo>
                    <a:lnTo>
                      <a:pt x="257" y="312"/>
                    </a:lnTo>
                    <a:lnTo>
                      <a:pt x="257" y="311"/>
                    </a:lnTo>
                    <a:lnTo>
                      <a:pt x="258" y="308"/>
                    </a:lnTo>
                    <a:lnTo>
                      <a:pt x="258" y="306"/>
                    </a:lnTo>
                    <a:lnTo>
                      <a:pt x="263" y="298"/>
                    </a:lnTo>
                    <a:lnTo>
                      <a:pt x="263" y="295"/>
                    </a:lnTo>
                    <a:lnTo>
                      <a:pt x="263" y="289"/>
                    </a:lnTo>
                    <a:lnTo>
                      <a:pt x="263" y="287"/>
                    </a:lnTo>
                    <a:lnTo>
                      <a:pt x="263" y="284"/>
                    </a:lnTo>
                    <a:lnTo>
                      <a:pt x="263" y="278"/>
                    </a:lnTo>
                    <a:lnTo>
                      <a:pt x="263" y="276"/>
                    </a:lnTo>
                    <a:lnTo>
                      <a:pt x="263" y="265"/>
                    </a:lnTo>
                    <a:lnTo>
                      <a:pt x="265" y="262"/>
                    </a:lnTo>
                    <a:lnTo>
                      <a:pt x="265" y="260"/>
                    </a:lnTo>
                    <a:lnTo>
                      <a:pt x="265" y="257"/>
                    </a:lnTo>
                    <a:lnTo>
                      <a:pt x="265" y="255"/>
                    </a:lnTo>
                    <a:lnTo>
                      <a:pt x="263" y="252"/>
                    </a:lnTo>
                    <a:lnTo>
                      <a:pt x="260" y="249"/>
                    </a:lnTo>
                    <a:lnTo>
                      <a:pt x="257" y="246"/>
                    </a:lnTo>
                    <a:lnTo>
                      <a:pt x="255" y="243"/>
                    </a:lnTo>
                    <a:lnTo>
                      <a:pt x="255" y="241"/>
                    </a:lnTo>
                    <a:lnTo>
                      <a:pt x="257" y="240"/>
                    </a:lnTo>
                    <a:lnTo>
                      <a:pt x="257" y="236"/>
                    </a:lnTo>
                    <a:lnTo>
                      <a:pt x="258" y="235"/>
                    </a:lnTo>
                    <a:lnTo>
                      <a:pt x="260" y="232"/>
                    </a:lnTo>
                    <a:lnTo>
                      <a:pt x="262" y="228"/>
                    </a:lnTo>
                    <a:lnTo>
                      <a:pt x="262" y="227"/>
                    </a:lnTo>
                    <a:lnTo>
                      <a:pt x="263" y="224"/>
                    </a:lnTo>
                    <a:lnTo>
                      <a:pt x="263" y="222"/>
                    </a:lnTo>
                    <a:lnTo>
                      <a:pt x="265" y="221"/>
                    </a:lnTo>
                    <a:lnTo>
                      <a:pt x="265" y="219"/>
                    </a:lnTo>
                    <a:lnTo>
                      <a:pt x="265" y="213"/>
                    </a:lnTo>
                    <a:lnTo>
                      <a:pt x="266" y="208"/>
                    </a:lnTo>
                    <a:lnTo>
                      <a:pt x="268" y="206"/>
                    </a:lnTo>
                    <a:lnTo>
                      <a:pt x="269" y="197"/>
                    </a:lnTo>
                    <a:lnTo>
                      <a:pt x="274" y="183"/>
                    </a:lnTo>
                    <a:lnTo>
                      <a:pt x="276" y="175"/>
                    </a:lnTo>
                    <a:lnTo>
                      <a:pt x="276" y="173"/>
                    </a:lnTo>
                    <a:lnTo>
                      <a:pt x="279" y="164"/>
                    </a:lnTo>
                    <a:lnTo>
                      <a:pt x="282" y="154"/>
                    </a:lnTo>
                    <a:lnTo>
                      <a:pt x="284" y="144"/>
                    </a:lnTo>
                    <a:lnTo>
                      <a:pt x="285" y="141"/>
                    </a:lnTo>
                    <a:lnTo>
                      <a:pt x="288" y="140"/>
                    </a:lnTo>
                    <a:lnTo>
                      <a:pt x="288" y="138"/>
                    </a:lnTo>
                    <a:lnTo>
                      <a:pt x="292" y="137"/>
                    </a:lnTo>
                    <a:lnTo>
                      <a:pt x="293" y="135"/>
                    </a:lnTo>
                    <a:lnTo>
                      <a:pt x="296" y="129"/>
                    </a:lnTo>
                    <a:lnTo>
                      <a:pt x="306" y="106"/>
                    </a:lnTo>
                    <a:lnTo>
                      <a:pt x="306" y="105"/>
                    </a:lnTo>
                    <a:lnTo>
                      <a:pt x="307" y="102"/>
                    </a:lnTo>
                    <a:lnTo>
                      <a:pt x="307" y="100"/>
                    </a:lnTo>
                    <a:lnTo>
                      <a:pt x="309" y="95"/>
                    </a:lnTo>
                    <a:lnTo>
                      <a:pt x="320" y="72"/>
                    </a:lnTo>
                    <a:lnTo>
                      <a:pt x="320" y="70"/>
                    </a:lnTo>
                    <a:lnTo>
                      <a:pt x="322" y="68"/>
                    </a:lnTo>
                    <a:lnTo>
                      <a:pt x="322" y="67"/>
                    </a:lnTo>
                    <a:lnTo>
                      <a:pt x="322" y="64"/>
                    </a:lnTo>
                    <a:lnTo>
                      <a:pt x="322" y="61"/>
                    </a:lnTo>
                    <a:lnTo>
                      <a:pt x="322" y="56"/>
                    </a:lnTo>
                    <a:lnTo>
                      <a:pt x="322" y="54"/>
                    </a:lnTo>
                    <a:lnTo>
                      <a:pt x="326" y="38"/>
                    </a:lnTo>
                    <a:lnTo>
                      <a:pt x="328" y="37"/>
                    </a:lnTo>
                    <a:lnTo>
                      <a:pt x="334" y="11"/>
                    </a:lnTo>
                    <a:lnTo>
                      <a:pt x="336" y="10"/>
                    </a:lnTo>
                    <a:lnTo>
                      <a:pt x="336" y="8"/>
                    </a:lnTo>
                    <a:lnTo>
                      <a:pt x="341" y="3"/>
                    </a:lnTo>
                    <a:lnTo>
                      <a:pt x="342" y="3"/>
                    </a:lnTo>
                    <a:lnTo>
                      <a:pt x="344" y="0"/>
                    </a:lnTo>
                    <a:lnTo>
                      <a:pt x="344" y="2"/>
                    </a:lnTo>
                    <a:lnTo>
                      <a:pt x="345" y="3"/>
                    </a:lnTo>
                    <a:lnTo>
                      <a:pt x="347" y="5"/>
                    </a:lnTo>
                    <a:lnTo>
                      <a:pt x="349" y="7"/>
                    </a:lnTo>
                    <a:lnTo>
                      <a:pt x="349" y="8"/>
                    </a:lnTo>
                  </a:path>
                </a:pathLst>
              </a:custGeom>
              <a:noFill/>
              <a:ln w="476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17" name="Freeform 15"/>
              <p:cNvSpPr>
                <a:spLocks noEditPoints="1"/>
              </p:cNvSpPr>
              <p:nvPr/>
            </p:nvSpPr>
            <p:spPr bwMode="auto">
              <a:xfrm>
                <a:off x="1763" y="1476"/>
                <a:ext cx="855" cy="954"/>
              </a:xfrm>
              <a:custGeom>
                <a:avLst/>
                <a:gdLst>
                  <a:gd name="T0" fmla="*/ 635 w 855"/>
                  <a:gd name="T1" fmla="*/ 894 h 954"/>
                  <a:gd name="T2" fmla="*/ 614 w 855"/>
                  <a:gd name="T3" fmla="*/ 905 h 954"/>
                  <a:gd name="T4" fmla="*/ 624 w 855"/>
                  <a:gd name="T5" fmla="*/ 953 h 954"/>
                  <a:gd name="T6" fmla="*/ 576 w 855"/>
                  <a:gd name="T7" fmla="*/ 934 h 954"/>
                  <a:gd name="T8" fmla="*/ 562 w 855"/>
                  <a:gd name="T9" fmla="*/ 900 h 954"/>
                  <a:gd name="T10" fmla="*/ 678 w 855"/>
                  <a:gd name="T11" fmla="*/ 767 h 954"/>
                  <a:gd name="T12" fmla="*/ 662 w 855"/>
                  <a:gd name="T13" fmla="*/ 766 h 954"/>
                  <a:gd name="T14" fmla="*/ 518 w 855"/>
                  <a:gd name="T15" fmla="*/ 13 h 954"/>
                  <a:gd name="T16" fmla="*/ 560 w 855"/>
                  <a:gd name="T17" fmla="*/ 45 h 954"/>
                  <a:gd name="T18" fmla="*/ 587 w 855"/>
                  <a:gd name="T19" fmla="*/ 102 h 954"/>
                  <a:gd name="T20" fmla="*/ 647 w 855"/>
                  <a:gd name="T21" fmla="*/ 75 h 954"/>
                  <a:gd name="T22" fmla="*/ 663 w 855"/>
                  <a:gd name="T23" fmla="*/ 132 h 954"/>
                  <a:gd name="T24" fmla="*/ 690 w 855"/>
                  <a:gd name="T25" fmla="*/ 181 h 954"/>
                  <a:gd name="T26" fmla="*/ 716 w 855"/>
                  <a:gd name="T27" fmla="*/ 217 h 954"/>
                  <a:gd name="T28" fmla="*/ 689 w 855"/>
                  <a:gd name="T29" fmla="*/ 262 h 954"/>
                  <a:gd name="T30" fmla="*/ 703 w 855"/>
                  <a:gd name="T31" fmla="*/ 276 h 954"/>
                  <a:gd name="T32" fmla="*/ 654 w 855"/>
                  <a:gd name="T33" fmla="*/ 328 h 954"/>
                  <a:gd name="T34" fmla="*/ 644 w 855"/>
                  <a:gd name="T35" fmla="*/ 382 h 954"/>
                  <a:gd name="T36" fmla="*/ 644 w 855"/>
                  <a:gd name="T37" fmla="*/ 404 h 954"/>
                  <a:gd name="T38" fmla="*/ 659 w 855"/>
                  <a:gd name="T39" fmla="*/ 449 h 954"/>
                  <a:gd name="T40" fmla="*/ 711 w 855"/>
                  <a:gd name="T41" fmla="*/ 466 h 954"/>
                  <a:gd name="T42" fmla="*/ 744 w 855"/>
                  <a:gd name="T43" fmla="*/ 507 h 954"/>
                  <a:gd name="T44" fmla="*/ 801 w 855"/>
                  <a:gd name="T45" fmla="*/ 500 h 954"/>
                  <a:gd name="T46" fmla="*/ 849 w 855"/>
                  <a:gd name="T47" fmla="*/ 528 h 954"/>
                  <a:gd name="T48" fmla="*/ 817 w 855"/>
                  <a:gd name="T49" fmla="*/ 538 h 954"/>
                  <a:gd name="T50" fmla="*/ 762 w 855"/>
                  <a:gd name="T51" fmla="*/ 511 h 954"/>
                  <a:gd name="T52" fmla="*/ 709 w 855"/>
                  <a:gd name="T53" fmla="*/ 534 h 954"/>
                  <a:gd name="T54" fmla="*/ 690 w 855"/>
                  <a:gd name="T55" fmla="*/ 507 h 954"/>
                  <a:gd name="T56" fmla="*/ 655 w 855"/>
                  <a:gd name="T57" fmla="*/ 557 h 954"/>
                  <a:gd name="T58" fmla="*/ 611 w 855"/>
                  <a:gd name="T59" fmla="*/ 588 h 954"/>
                  <a:gd name="T60" fmla="*/ 587 w 855"/>
                  <a:gd name="T61" fmla="*/ 650 h 954"/>
                  <a:gd name="T62" fmla="*/ 594 w 855"/>
                  <a:gd name="T63" fmla="*/ 694 h 954"/>
                  <a:gd name="T64" fmla="*/ 636 w 855"/>
                  <a:gd name="T65" fmla="*/ 729 h 954"/>
                  <a:gd name="T66" fmla="*/ 647 w 855"/>
                  <a:gd name="T67" fmla="*/ 785 h 954"/>
                  <a:gd name="T68" fmla="*/ 603 w 855"/>
                  <a:gd name="T69" fmla="*/ 797 h 954"/>
                  <a:gd name="T70" fmla="*/ 609 w 855"/>
                  <a:gd name="T71" fmla="*/ 834 h 954"/>
                  <a:gd name="T72" fmla="*/ 567 w 855"/>
                  <a:gd name="T73" fmla="*/ 839 h 954"/>
                  <a:gd name="T74" fmla="*/ 527 w 855"/>
                  <a:gd name="T75" fmla="*/ 794 h 954"/>
                  <a:gd name="T76" fmla="*/ 481 w 855"/>
                  <a:gd name="T77" fmla="*/ 770 h 954"/>
                  <a:gd name="T78" fmla="*/ 454 w 855"/>
                  <a:gd name="T79" fmla="*/ 734 h 954"/>
                  <a:gd name="T80" fmla="*/ 421 w 855"/>
                  <a:gd name="T81" fmla="*/ 688 h 954"/>
                  <a:gd name="T82" fmla="*/ 373 w 855"/>
                  <a:gd name="T83" fmla="*/ 672 h 954"/>
                  <a:gd name="T84" fmla="*/ 364 w 855"/>
                  <a:gd name="T85" fmla="*/ 641 h 954"/>
                  <a:gd name="T86" fmla="*/ 313 w 855"/>
                  <a:gd name="T87" fmla="*/ 620 h 954"/>
                  <a:gd name="T88" fmla="*/ 269 w 855"/>
                  <a:gd name="T89" fmla="*/ 593 h 954"/>
                  <a:gd name="T90" fmla="*/ 223 w 855"/>
                  <a:gd name="T91" fmla="*/ 599 h 954"/>
                  <a:gd name="T92" fmla="*/ 221 w 855"/>
                  <a:gd name="T93" fmla="*/ 652 h 954"/>
                  <a:gd name="T94" fmla="*/ 202 w 855"/>
                  <a:gd name="T95" fmla="*/ 704 h 954"/>
                  <a:gd name="T96" fmla="*/ 158 w 855"/>
                  <a:gd name="T97" fmla="*/ 718 h 954"/>
                  <a:gd name="T98" fmla="*/ 99 w 855"/>
                  <a:gd name="T99" fmla="*/ 699 h 954"/>
                  <a:gd name="T100" fmla="*/ 115 w 855"/>
                  <a:gd name="T101" fmla="*/ 744 h 954"/>
                  <a:gd name="T102" fmla="*/ 80 w 855"/>
                  <a:gd name="T103" fmla="*/ 766 h 954"/>
                  <a:gd name="T104" fmla="*/ 88 w 855"/>
                  <a:gd name="T105" fmla="*/ 788 h 954"/>
                  <a:gd name="T106" fmla="*/ 47 w 855"/>
                  <a:gd name="T107" fmla="*/ 839 h 954"/>
                  <a:gd name="T108" fmla="*/ 19 w 855"/>
                  <a:gd name="T109" fmla="*/ 671 h 954"/>
                  <a:gd name="T110" fmla="*/ 50 w 855"/>
                  <a:gd name="T111" fmla="*/ 446 h 954"/>
                  <a:gd name="T112" fmla="*/ 198 w 855"/>
                  <a:gd name="T113" fmla="*/ 393 h 954"/>
                  <a:gd name="T114" fmla="*/ 253 w 855"/>
                  <a:gd name="T115" fmla="*/ 222 h 954"/>
                  <a:gd name="T116" fmla="*/ 342 w 855"/>
                  <a:gd name="T117" fmla="*/ 42 h 954"/>
                  <a:gd name="T118" fmla="*/ 366 w 855"/>
                  <a:gd name="T119" fmla="*/ 76 h 954"/>
                  <a:gd name="T120" fmla="*/ 421 w 855"/>
                  <a:gd name="T121" fmla="*/ 78 h 954"/>
                  <a:gd name="T122" fmla="*/ 454 w 855"/>
                  <a:gd name="T123" fmla="*/ 34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55" h="954">
                    <a:moveTo>
                      <a:pt x="638" y="894"/>
                    </a:moveTo>
                    <a:lnTo>
                      <a:pt x="640" y="894"/>
                    </a:lnTo>
                    <a:lnTo>
                      <a:pt x="640" y="896"/>
                    </a:lnTo>
                    <a:lnTo>
                      <a:pt x="641" y="896"/>
                    </a:lnTo>
                    <a:lnTo>
                      <a:pt x="641" y="897"/>
                    </a:lnTo>
                    <a:lnTo>
                      <a:pt x="641" y="899"/>
                    </a:lnTo>
                    <a:lnTo>
                      <a:pt x="641" y="900"/>
                    </a:lnTo>
                    <a:lnTo>
                      <a:pt x="643" y="900"/>
                    </a:lnTo>
                    <a:lnTo>
                      <a:pt x="644" y="900"/>
                    </a:lnTo>
                    <a:lnTo>
                      <a:pt x="644" y="902"/>
                    </a:lnTo>
                    <a:lnTo>
                      <a:pt x="646" y="902"/>
                    </a:lnTo>
                    <a:lnTo>
                      <a:pt x="646" y="904"/>
                    </a:lnTo>
                    <a:lnTo>
                      <a:pt x="647" y="904"/>
                    </a:lnTo>
                    <a:lnTo>
                      <a:pt x="649" y="904"/>
                    </a:lnTo>
                    <a:lnTo>
                      <a:pt x="649" y="905"/>
                    </a:lnTo>
                    <a:lnTo>
                      <a:pt x="649" y="907"/>
                    </a:lnTo>
                    <a:lnTo>
                      <a:pt x="647" y="907"/>
                    </a:lnTo>
                    <a:lnTo>
                      <a:pt x="647" y="908"/>
                    </a:lnTo>
                    <a:lnTo>
                      <a:pt x="646" y="908"/>
                    </a:lnTo>
                    <a:lnTo>
                      <a:pt x="644" y="908"/>
                    </a:lnTo>
                    <a:lnTo>
                      <a:pt x="643" y="908"/>
                    </a:lnTo>
                    <a:lnTo>
                      <a:pt x="643" y="910"/>
                    </a:lnTo>
                    <a:lnTo>
                      <a:pt x="641" y="910"/>
                    </a:lnTo>
                    <a:lnTo>
                      <a:pt x="640" y="910"/>
                    </a:lnTo>
                    <a:lnTo>
                      <a:pt x="640" y="911"/>
                    </a:lnTo>
                    <a:lnTo>
                      <a:pt x="638" y="911"/>
                    </a:lnTo>
                    <a:lnTo>
                      <a:pt x="636" y="911"/>
                    </a:lnTo>
                    <a:lnTo>
                      <a:pt x="635" y="911"/>
                    </a:lnTo>
                    <a:lnTo>
                      <a:pt x="635" y="913"/>
                    </a:lnTo>
                    <a:lnTo>
                      <a:pt x="633" y="913"/>
                    </a:lnTo>
                    <a:lnTo>
                      <a:pt x="632" y="913"/>
                    </a:lnTo>
                    <a:lnTo>
                      <a:pt x="630" y="913"/>
                    </a:lnTo>
                    <a:lnTo>
                      <a:pt x="630" y="911"/>
                    </a:lnTo>
                    <a:lnTo>
                      <a:pt x="628" y="911"/>
                    </a:lnTo>
                    <a:lnTo>
                      <a:pt x="628" y="910"/>
                    </a:lnTo>
                    <a:lnTo>
                      <a:pt x="627" y="910"/>
                    </a:lnTo>
                    <a:lnTo>
                      <a:pt x="627" y="908"/>
                    </a:lnTo>
                    <a:lnTo>
                      <a:pt x="627" y="907"/>
                    </a:lnTo>
                    <a:lnTo>
                      <a:pt x="625" y="907"/>
                    </a:lnTo>
                    <a:lnTo>
                      <a:pt x="624" y="907"/>
                    </a:lnTo>
                    <a:lnTo>
                      <a:pt x="622" y="905"/>
                    </a:lnTo>
                    <a:lnTo>
                      <a:pt x="621" y="905"/>
                    </a:lnTo>
                    <a:lnTo>
                      <a:pt x="621" y="904"/>
                    </a:lnTo>
                    <a:lnTo>
                      <a:pt x="622" y="904"/>
                    </a:lnTo>
                    <a:lnTo>
                      <a:pt x="622" y="902"/>
                    </a:lnTo>
                    <a:lnTo>
                      <a:pt x="624" y="900"/>
                    </a:lnTo>
                    <a:lnTo>
                      <a:pt x="625" y="900"/>
                    </a:lnTo>
                    <a:lnTo>
                      <a:pt x="627" y="900"/>
                    </a:lnTo>
                    <a:lnTo>
                      <a:pt x="627" y="899"/>
                    </a:lnTo>
                    <a:lnTo>
                      <a:pt x="628" y="899"/>
                    </a:lnTo>
                    <a:lnTo>
                      <a:pt x="628" y="897"/>
                    </a:lnTo>
                    <a:lnTo>
                      <a:pt x="630" y="897"/>
                    </a:lnTo>
                    <a:lnTo>
                      <a:pt x="632" y="897"/>
                    </a:lnTo>
                    <a:lnTo>
                      <a:pt x="633" y="897"/>
                    </a:lnTo>
                    <a:lnTo>
                      <a:pt x="633" y="896"/>
                    </a:lnTo>
                    <a:lnTo>
                      <a:pt x="633" y="894"/>
                    </a:lnTo>
                    <a:lnTo>
                      <a:pt x="635" y="894"/>
                    </a:lnTo>
                    <a:lnTo>
                      <a:pt x="636" y="894"/>
                    </a:lnTo>
                    <a:lnTo>
                      <a:pt x="636" y="892"/>
                    </a:lnTo>
                    <a:lnTo>
                      <a:pt x="638" y="894"/>
                    </a:lnTo>
                    <a:close/>
                    <a:moveTo>
                      <a:pt x="575" y="883"/>
                    </a:moveTo>
                    <a:lnTo>
                      <a:pt x="575" y="885"/>
                    </a:lnTo>
                    <a:lnTo>
                      <a:pt x="576" y="885"/>
                    </a:lnTo>
                    <a:lnTo>
                      <a:pt x="578" y="885"/>
                    </a:lnTo>
                    <a:lnTo>
                      <a:pt x="579" y="885"/>
                    </a:lnTo>
                    <a:lnTo>
                      <a:pt x="581" y="885"/>
                    </a:lnTo>
                    <a:lnTo>
                      <a:pt x="583" y="885"/>
                    </a:lnTo>
                    <a:lnTo>
                      <a:pt x="583" y="886"/>
                    </a:lnTo>
                    <a:lnTo>
                      <a:pt x="584" y="886"/>
                    </a:lnTo>
                    <a:lnTo>
                      <a:pt x="586" y="886"/>
                    </a:lnTo>
                    <a:lnTo>
                      <a:pt x="587" y="885"/>
                    </a:lnTo>
                    <a:lnTo>
                      <a:pt x="587" y="886"/>
                    </a:lnTo>
                    <a:lnTo>
                      <a:pt x="587" y="885"/>
                    </a:lnTo>
                    <a:lnTo>
                      <a:pt x="589" y="885"/>
                    </a:lnTo>
                    <a:lnTo>
                      <a:pt x="590" y="885"/>
                    </a:lnTo>
                    <a:lnTo>
                      <a:pt x="590" y="886"/>
                    </a:lnTo>
                    <a:lnTo>
                      <a:pt x="592" y="885"/>
                    </a:lnTo>
                    <a:lnTo>
                      <a:pt x="594" y="885"/>
                    </a:lnTo>
                    <a:lnTo>
                      <a:pt x="595" y="885"/>
                    </a:lnTo>
                    <a:lnTo>
                      <a:pt x="597" y="885"/>
                    </a:lnTo>
                    <a:lnTo>
                      <a:pt x="597" y="886"/>
                    </a:lnTo>
                    <a:lnTo>
                      <a:pt x="598" y="886"/>
                    </a:lnTo>
                    <a:lnTo>
                      <a:pt x="598" y="885"/>
                    </a:lnTo>
                    <a:lnTo>
                      <a:pt x="598" y="886"/>
                    </a:lnTo>
                    <a:lnTo>
                      <a:pt x="600" y="886"/>
                    </a:lnTo>
                    <a:lnTo>
                      <a:pt x="600" y="888"/>
                    </a:lnTo>
                    <a:lnTo>
                      <a:pt x="602" y="888"/>
                    </a:lnTo>
                    <a:lnTo>
                      <a:pt x="603" y="888"/>
                    </a:lnTo>
                    <a:lnTo>
                      <a:pt x="605" y="888"/>
                    </a:lnTo>
                    <a:lnTo>
                      <a:pt x="605" y="889"/>
                    </a:lnTo>
                    <a:lnTo>
                      <a:pt x="606" y="889"/>
                    </a:lnTo>
                    <a:lnTo>
                      <a:pt x="606" y="891"/>
                    </a:lnTo>
                    <a:lnTo>
                      <a:pt x="605" y="891"/>
                    </a:lnTo>
                    <a:lnTo>
                      <a:pt x="605" y="892"/>
                    </a:lnTo>
                    <a:lnTo>
                      <a:pt x="603" y="892"/>
                    </a:lnTo>
                    <a:lnTo>
                      <a:pt x="602" y="892"/>
                    </a:lnTo>
                    <a:lnTo>
                      <a:pt x="602" y="894"/>
                    </a:lnTo>
                    <a:lnTo>
                      <a:pt x="602" y="892"/>
                    </a:lnTo>
                    <a:lnTo>
                      <a:pt x="602" y="894"/>
                    </a:lnTo>
                    <a:lnTo>
                      <a:pt x="600" y="894"/>
                    </a:lnTo>
                    <a:lnTo>
                      <a:pt x="602" y="896"/>
                    </a:lnTo>
                    <a:lnTo>
                      <a:pt x="603" y="897"/>
                    </a:lnTo>
                    <a:lnTo>
                      <a:pt x="603" y="899"/>
                    </a:lnTo>
                    <a:lnTo>
                      <a:pt x="605" y="899"/>
                    </a:lnTo>
                    <a:lnTo>
                      <a:pt x="606" y="899"/>
                    </a:lnTo>
                    <a:lnTo>
                      <a:pt x="606" y="900"/>
                    </a:lnTo>
                    <a:lnTo>
                      <a:pt x="608" y="900"/>
                    </a:lnTo>
                    <a:lnTo>
                      <a:pt x="609" y="900"/>
                    </a:lnTo>
                    <a:lnTo>
                      <a:pt x="609" y="902"/>
                    </a:lnTo>
                    <a:lnTo>
                      <a:pt x="611" y="902"/>
                    </a:lnTo>
                    <a:lnTo>
                      <a:pt x="611" y="904"/>
                    </a:lnTo>
                    <a:lnTo>
                      <a:pt x="613" y="904"/>
                    </a:lnTo>
                    <a:lnTo>
                      <a:pt x="613" y="905"/>
                    </a:lnTo>
                    <a:lnTo>
                      <a:pt x="614" y="905"/>
                    </a:lnTo>
                    <a:lnTo>
                      <a:pt x="614" y="904"/>
                    </a:lnTo>
                    <a:lnTo>
                      <a:pt x="616" y="904"/>
                    </a:lnTo>
                    <a:lnTo>
                      <a:pt x="616" y="902"/>
                    </a:lnTo>
                    <a:lnTo>
                      <a:pt x="617" y="902"/>
                    </a:lnTo>
                    <a:lnTo>
                      <a:pt x="619" y="902"/>
                    </a:lnTo>
                    <a:lnTo>
                      <a:pt x="617" y="902"/>
                    </a:lnTo>
                    <a:lnTo>
                      <a:pt x="617" y="904"/>
                    </a:lnTo>
                    <a:lnTo>
                      <a:pt x="617" y="905"/>
                    </a:lnTo>
                    <a:lnTo>
                      <a:pt x="617" y="907"/>
                    </a:lnTo>
                    <a:lnTo>
                      <a:pt x="617" y="908"/>
                    </a:lnTo>
                    <a:lnTo>
                      <a:pt x="617" y="910"/>
                    </a:lnTo>
                    <a:lnTo>
                      <a:pt x="617" y="911"/>
                    </a:lnTo>
                    <a:lnTo>
                      <a:pt x="617" y="913"/>
                    </a:lnTo>
                    <a:lnTo>
                      <a:pt x="616" y="913"/>
                    </a:lnTo>
                    <a:lnTo>
                      <a:pt x="616" y="915"/>
                    </a:lnTo>
                    <a:lnTo>
                      <a:pt x="616" y="916"/>
                    </a:lnTo>
                    <a:lnTo>
                      <a:pt x="616" y="918"/>
                    </a:lnTo>
                    <a:lnTo>
                      <a:pt x="616" y="919"/>
                    </a:lnTo>
                    <a:lnTo>
                      <a:pt x="616" y="921"/>
                    </a:lnTo>
                    <a:lnTo>
                      <a:pt x="616" y="923"/>
                    </a:lnTo>
                    <a:lnTo>
                      <a:pt x="616" y="924"/>
                    </a:lnTo>
                    <a:lnTo>
                      <a:pt x="614" y="924"/>
                    </a:lnTo>
                    <a:lnTo>
                      <a:pt x="614" y="926"/>
                    </a:lnTo>
                    <a:lnTo>
                      <a:pt x="614" y="927"/>
                    </a:lnTo>
                    <a:lnTo>
                      <a:pt x="614" y="929"/>
                    </a:lnTo>
                    <a:lnTo>
                      <a:pt x="614" y="931"/>
                    </a:lnTo>
                    <a:lnTo>
                      <a:pt x="616" y="931"/>
                    </a:lnTo>
                    <a:lnTo>
                      <a:pt x="616" y="932"/>
                    </a:lnTo>
                    <a:lnTo>
                      <a:pt x="616" y="931"/>
                    </a:lnTo>
                    <a:lnTo>
                      <a:pt x="617" y="931"/>
                    </a:lnTo>
                    <a:lnTo>
                      <a:pt x="619" y="931"/>
                    </a:lnTo>
                    <a:lnTo>
                      <a:pt x="619" y="932"/>
                    </a:lnTo>
                    <a:lnTo>
                      <a:pt x="619" y="934"/>
                    </a:lnTo>
                    <a:lnTo>
                      <a:pt x="621" y="934"/>
                    </a:lnTo>
                    <a:lnTo>
                      <a:pt x="621" y="935"/>
                    </a:lnTo>
                    <a:lnTo>
                      <a:pt x="622" y="935"/>
                    </a:lnTo>
                    <a:lnTo>
                      <a:pt x="622" y="937"/>
                    </a:lnTo>
                    <a:lnTo>
                      <a:pt x="622" y="938"/>
                    </a:lnTo>
                    <a:lnTo>
                      <a:pt x="624" y="938"/>
                    </a:lnTo>
                    <a:lnTo>
                      <a:pt x="624" y="940"/>
                    </a:lnTo>
                    <a:lnTo>
                      <a:pt x="622" y="942"/>
                    </a:lnTo>
                    <a:lnTo>
                      <a:pt x="621" y="942"/>
                    </a:lnTo>
                    <a:lnTo>
                      <a:pt x="621" y="943"/>
                    </a:lnTo>
                    <a:lnTo>
                      <a:pt x="619" y="943"/>
                    </a:lnTo>
                    <a:lnTo>
                      <a:pt x="617" y="943"/>
                    </a:lnTo>
                    <a:lnTo>
                      <a:pt x="617" y="945"/>
                    </a:lnTo>
                    <a:lnTo>
                      <a:pt x="619" y="945"/>
                    </a:lnTo>
                    <a:lnTo>
                      <a:pt x="619" y="946"/>
                    </a:lnTo>
                    <a:lnTo>
                      <a:pt x="621" y="946"/>
                    </a:lnTo>
                    <a:lnTo>
                      <a:pt x="621" y="948"/>
                    </a:lnTo>
                    <a:lnTo>
                      <a:pt x="622" y="948"/>
                    </a:lnTo>
                    <a:lnTo>
                      <a:pt x="622" y="950"/>
                    </a:lnTo>
                    <a:lnTo>
                      <a:pt x="624" y="950"/>
                    </a:lnTo>
                    <a:lnTo>
                      <a:pt x="624" y="951"/>
                    </a:lnTo>
                    <a:lnTo>
                      <a:pt x="622" y="951"/>
                    </a:lnTo>
                    <a:lnTo>
                      <a:pt x="622" y="953"/>
                    </a:lnTo>
                    <a:lnTo>
                      <a:pt x="624" y="953"/>
                    </a:lnTo>
                    <a:lnTo>
                      <a:pt x="624" y="954"/>
                    </a:lnTo>
                    <a:lnTo>
                      <a:pt x="622" y="954"/>
                    </a:lnTo>
                    <a:lnTo>
                      <a:pt x="621" y="954"/>
                    </a:lnTo>
                    <a:lnTo>
                      <a:pt x="619" y="954"/>
                    </a:lnTo>
                    <a:lnTo>
                      <a:pt x="619" y="953"/>
                    </a:lnTo>
                    <a:lnTo>
                      <a:pt x="617" y="953"/>
                    </a:lnTo>
                    <a:lnTo>
                      <a:pt x="616" y="953"/>
                    </a:lnTo>
                    <a:lnTo>
                      <a:pt x="614" y="953"/>
                    </a:lnTo>
                    <a:lnTo>
                      <a:pt x="614" y="951"/>
                    </a:lnTo>
                    <a:lnTo>
                      <a:pt x="613" y="951"/>
                    </a:lnTo>
                    <a:lnTo>
                      <a:pt x="613" y="950"/>
                    </a:lnTo>
                    <a:lnTo>
                      <a:pt x="611" y="950"/>
                    </a:lnTo>
                    <a:lnTo>
                      <a:pt x="611" y="948"/>
                    </a:lnTo>
                    <a:lnTo>
                      <a:pt x="611" y="946"/>
                    </a:lnTo>
                    <a:lnTo>
                      <a:pt x="611" y="945"/>
                    </a:lnTo>
                    <a:lnTo>
                      <a:pt x="611" y="943"/>
                    </a:lnTo>
                    <a:lnTo>
                      <a:pt x="611" y="942"/>
                    </a:lnTo>
                    <a:lnTo>
                      <a:pt x="611" y="940"/>
                    </a:lnTo>
                    <a:lnTo>
                      <a:pt x="611" y="938"/>
                    </a:lnTo>
                    <a:lnTo>
                      <a:pt x="609" y="937"/>
                    </a:lnTo>
                    <a:lnTo>
                      <a:pt x="608" y="937"/>
                    </a:lnTo>
                    <a:lnTo>
                      <a:pt x="606" y="937"/>
                    </a:lnTo>
                    <a:lnTo>
                      <a:pt x="605" y="935"/>
                    </a:lnTo>
                    <a:lnTo>
                      <a:pt x="603" y="935"/>
                    </a:lnTo>
                    <a:lnTo>
                      <a:pt x="603" y="934"/>
                    </a:lnTo>
                    <a:lnTo>
                      <a:pt x="602" y="934"/>
                    </a:lnTo>
                    <a:lnTo>
                      <a:pt x="602" y="932"/>
                    </a:lnTo>
                    <a:lnTo>
                      <a:pt x="600" y="932"/>
                    </a:lnTo>
                    <a:lnTo>
                      <a:pt x="600" y="931"/>
                    </a:lnTo>
                    <a:lnTo>
                      <a:pt x="602" y="931"/>
                    </a:lnTo>
                    <a:lnTo>
                      <a:pt x="602" y="929"/>
                    </a:lnTo>
                    <a:lnTo>
                      <a:pt x="600" y="929"/>
                    </a:lnTo>
                    <a:lnTo>
                      <a:pt x="598" y="927"/>
                    </a:lnTo>
                    <a:lnTo>
                      <a:pt x="598" y="929"/>
                    </a:lnTo>
                    <a:lnTo>
                      <a:pt x="598" y="931"/>
                    </a:lnTo>
                    <a:lnTo>
                      <a:pt x="597" y="931"/>
                    </a:lnTo>
                    <a:lnTo>
                      <a:pt x="595" y="931"/>
                    </a:lnTo>
                    <a:lnTo>
                      <a:pt x="594" y="931"/>
                    </a:lnTo>
                    <a:lnTo>
                      <a:pt x="594" y="932"/>
                    </a:lnTo>
                    <a:lnTo>
                      <a:pt x="594" y="934"/>
                    </a:lnTo>
                    <a:lnTo>
                      <a:pt x="592" y="934"/>
                    </a:lnTo>
                    <a:lnTo>
                      <a:pt x="592" y="935"/>
                    </a:lnTo>
                    <a:lnTo>
                      <a:pt x="592" y="937"/>
                    </a:lnTo>
                    <a:lnTo>
                      <a:pt x="592" y="938"/>
                    </a:lnTo>
                    <a:lnTo>
                      <a:pt x="590" y="938"/>
                    </a:lnTo>
                    <a:lnTo>
                      <a:pt x="589" y="938"/>
                    </a:lnTo>
                    <a:lnTo>
                      <a:pt x="587" y="938"/>
                    </a:lnTo>
                    <a:lnTo>
                      <a:pt x="586" y="938"/>
                    </a:lnTo>
                    <a:lnTo>
                      <a:pt x="584" y="938"/>
                    </a:lnTo>
                    <a:lnTo>
                      <a:pt x="583" y="938"/>
                    </a:lnTo>
                    <a:lnTo>
                      <a:pt x="581" y="938"/>
                    </a:lnTo>
                    <a:lnTo>
                      <a:pt x="581" y="937"/>
                    </a:lnTo>
                    <a:lnTo>
                      <a:pt x="579" y="937"/>
                    </a:lnTo>
                    <a:lnTo>
                      <a:pt x="579" y="935"/>
                    </a:lnTo>
                    <a:lnTo>
                      <a:pt x="579" y="934"/>
                    </a:lnTo>
                    <a:lnTo>
                      <a:pt x="578" y="934"/>
                    </a:lnTo>
                    <a:lnTo>
                      <a:pt x="576" y="934"/>
                    </a:lnTo>
                    <a:lnTo>
                      <a:pt x="576" y="935"/>
                    </a:lnTo>
                    <a:lnTo>
                      <a:pt x="575" y="935"/>
                    </a:lnTo>
                    <a:lnTo>
                      <a:pt x="573" y="934"/>
                    </a:lnTo>
                    <a:lnTo>
                      <a:pt x="571" y="935"/>
                    </a:lnTo>
                    <a:lnTo>
                      <a:pt x="570" y="935"/>
                    </a:lnTo>
                    <a:lnTo>
                      <a:pt x="568" y="935"/>
                    </a:lnTo>
                    <a:lnTo>
                      <a:pt x="567" y="935"/>
                    </a:lnTo>
                    <a:lnTo>
                      <a:pt x="565" y="935"/>
                    </a:lnTo>
                    <a:lnTo>
                      <a:pt x="564" y="935"/>
                    </a:lnTo>
                    <a:lnTo>
                      <a:pt x="562" y="935"/>
                    </a:lnTo>
                    <a:lnTo>
                      <a:pt x="564" y="935"/>
                    </a:lnTo>
                    <a:lnTo>
                      <a:pt x="564" y="937"/>
                    </a:lnTo>
                    <a:lnTo>
                      <a:pt x="562" y="937"/>
                    </a:lnTo>
                    <a:lnTo>
                      <a:pt x="560" y="937"/>
                    </a:lnTo>
                    <a:lnTo>
                      <a:pt x="560" y="935"/>
                    </a:lnTo>
                    <a:lnTo>
                      <a:pt x="559" y="935"/>
                    </a:lnTo>
                    <a:lnTo>
                      <a:pt x="557" y="935"/>
                    </a:lnTo>
                    <a:lnTo>
                      <a:pt x="557" y="934"/>
                    </a:lnTo>
                    <a:lnTo>
                      <a:pt x="556" y="934"/>
                    </a:lnTo>
                    <a:lnTo>
                      <a:pt x="556" y="932"/>
                    </a:lnTo>
                    <a:lnTo>
                      <a:pt x="556" y="931"/>
                    </a:lnTo>
                    <a:lnTo>
                      <a:pt x="554" y="929"/>
                    </a:lnTo>
                    <a:lnTo>
                      <a:pt x="554" y="927"/>
                    </a:lnTo>
                    <a:lnTo>
                      <a:pt x="556" y="927"/>
                    </a:lnTo>
                    <a:lnTo>
                      <a:pt x="556" y="926"/>
                    </a:lnTo>
                    <a:lnTo>
                      <a:pt x="556" y="924"/>
                    </a:lnTo>
                    <a:lnTo>
                      <a:pt x="556" y="923"/>
                    </a:lnTo>
                    <a:lnTo>
                      <a:pt x="554" y="921"/>
                    </a:lnTo>
                    <a:lnTo>
                      <a:pt x="556" y="921"/>
                    </a:lnTo>
                    <a:lnTo>
                      <a:pt x="554" y="921"/>
                    </a:lnTo>
                    <a:lnTo>
                      <a:pt x="554" y="919"/>
                    </a:lnTo>
                    <a:lnTo>
                      <a:pt x="556" y="919"/>
                    </a:lnTo>
                    <a:lnTo>
                      <a:pt x="556" y="918"/>
                    </a:lnTo>
                    <a:lnTo>
                      <a:pt x="554" y="918"/>
                    </a:lnTo>
                    <a:lnTo>
                      <a:pt x="556" y="918"/>
                    </a:lnTo>
                    <a:lnTo>
                      <a:pt x="556" y="916"/>
                    </a:lnTo>
                    <a:lnTo>
                      <a:pt x="554" y="916"/>
                    </a:lnTo>
                    <a:lnTo>
                      <a:pt x="554" y="915"/>
                    </a:lnTo>
                    <a:lnTo>
                      <a:pt x="556" y="915"/>
                    </a:lnTo>
                    <a:lnTo>
                      <a:pt x="556" y="913"/>
                    </a:lnTo>
                    <a:lnTo>
                      <a:pt x="554" y="913"/>
                    </a:lnTo>
                    <a:lnTo>
                      <a:pt x="554" y="911"/>
                    </a:lnTo>
                    <a:lnTo>
                      <a:pt x="556" y="911"/>
                    </a:lnTo>
                    <a:lnTo>
                      <a:pt x="556" y="910"/>
                    </a:lnTo>
                    <a:lnTo>
                      <a:pt x="557" y="910"/>
                    </a:lnTo>
                    <a:lnTo>
                      <a:pt x="557" y="908"/>
                    </a:lnTo>
                    <a:lnTo>
                      <a:pt x="557" y="907"/>
                    </a:lnTo>
                    <a:lnTo>
                      <a:pt x="557" y="905"/>
                    </a:lnTo>
                    <a:lnTo>
                      <a:pt x="559" y="907"/>
                    </a:lnTo>
                    <a:lnTo>
                      <a:pt x="559" y="905"/>
                    </a:lnTo>
                    <a:lnTo>
                      <a:pt x="559" y="904"/>
                    </a:lnTo>
                    <a:lnTo>
                      <a:pt x="560" y="904"/>
                    </a:lnTo>
                    <a:lnTo>
                      <a:pt x="560" y="902"/>
                    </a:lnTo>
                    <a:lnTo>
                      <a:pt x="560" y="900"/>
                    </a:lnTo>
                    <a:lnTo>
                      <a:pt x="562" y="900"/>
                    </a:lnTo>
                    <a:lnTo>
                      <a:pt x="562" y="902"/>
                    </a:lnTo>
                    <a:lnTo>
                      <a:pt x="562" y="900"/>
                    </a:lnTo>
                    <a:lnTo>
                      <a:pt x="564" y="900"/>
                    </a:lnTo>
                    <a:lnTo>
                      <a:pt x="564" y="899"/>
                    </a:lnTo>
                    <a:lnTo>
                      <a:pt x="564" y="897"/>
                    </a:lnTo>
                    <a:lnTo>
                      <a:pt x="562" y="897"/>
                    </a:lnTo>
                    <a:lnTo>
                      <a:pt x="564" y="897"/>
                    </a:lnTo>
                    <a:lnTo>
                      <a:pt x="564" y="896"/>
                    </a:lnTo>
                    <a:lnTo>
                      <a:pt x="564" y="894"/>
                    </a:lnTo>
                    <a:lnTo>
                      <a:pt x="562" y="892"/>
                    </a:lnTo>
                    <a:lnTo>
                      <a:pt x="564" y="891"/>
                    </a:lnTo>
                    <a:lnTo>
                      <a:pt x="564" y="889"/>
                    </a:lnTo>
                    <a:lnTo>
                      <a:pt x="565" y="889"/>
                    </a:lnTo>
                    <a:lnTo>
                      <a:pt x="565" y="888"/>
                    </a:lnTo>
                    <a:lnTo>
                      <a:pt x="565" y="886"/>
                    </a:lnTo>
                    <a:lnTo>
                      <a:pt x="565" y="885"/>
                    </a:lnTo>
                    <a:lnTo>
                      <a:pt x="565" y="883"/>
                    </a:lnTo>
                    <a:lnTo>
                      <a:pt x="565" y="881"/>
                    </a:lnTo>
                    <a:lnTo>
                      <a:pt x="567" y="883"/>
                    </a:lnTo>
                    <a:lnTo>
                      <a:pt x="568" y="883"/>
                    </a:lnTo>
                    <a:lnTo>
                      <a:pt x="570" y="883"/>
                    </a:lnTo>
                    <a:lnTo>
                      <a:pt x="571" y="883"/>
                    </a:lnTo>
                    <a:lnTo>
                      <a:pt x="571" y="881"/>
                    </a:lnTo>
                    <a:lnTo>
                      <a:pt x="573" y="881"/>
                    </a:lnTo>
                    <a:lnTo>
                      <a:pt x="573" y="883"/>
                    </a:lnTo>
                    <a:lnTo>
                      <a:pt x="575" y="883"/>
                    </a:lnTo>
                    <a:close/>
                    <a:moveTo>
                      <a:pt x="685" y="739"/>
                    </a:moveTo>
                    <a:lnTo>
                      <a:pt x="685" y="740"/>
                    </a:lnTo>
                    <a:lnTo>
                      <a:pt x="687" y="740"/>
                    </a:lnTo>
                    <a:lnTo>
                      <a:pt x="689" y="742"/>
                    </a:lnTo>
                    <a:lnTo>
                      <a:pt x="690" y="744"/>
                    </a:lnTo>
                    <a:lnTo>
                      <a:pt x="690" y="745"/>
                    </a:lnTo>
                    <a:lnTo>
                      <a:pt x="692" y="745"/>
                    </a:lnTo>
                    <a:lnTo>
                      <a:pt x="692" y="747"/>
                    </a:lnTo>
                    <a:lnTo>
                      <a:pt x="693" y="747"/>
                    </a:lnTo>
                    <a:lnTo>
                      <a:pt x="695" y="747"/>
                    </a:lnTo>
                    <a:lnTo>
                      <a:pt x="697" y="747"/>
                    </a:lnTo>
                    <a:lnTo>
                      <a:pt x="697" y="748"/>
                    </a:lnTo>
                    <a:lnTo>
                      <a:pt x="697" y="750"/>
                    </a:lnTo>
                    <a:lnTo>
                      <a:pt x="697" y="751"/>
                    </a:lnTo>
                    <a:lnTo>
                      <a:pt x="697" y="753"/>
                    </a:lnTo>
                    <a:lnTo>
                      <a:pt x="697" y="755"/>
                    </a:lnTo>
                    <a:lnTo>
                      <a:pt x="695" y="755"/>
                    </a:lnTo>
                    <a:lnTo>
                      <a:pt x="693" y="755"/>
                    </a:lnTo>
                    <a:lnTo>
                      <a:pt x="692" y="755"/>
                    </a:lnTo>
                    <a:lnTo>
                      <a:pt x="692" y="756"/>
                    </a:lnTo>
                    <a:lnTo>
                      <a:pt x="692" y="758"/>
                    </a:lnTo>
                    <a:lnTo>
                      <a:pt x="690" y="759"/>
                    </a:lnTo>
                    <a:lnTo>
                      <a:pt x="689" y="759"/>
                    </a:lnTo>
                    <a:lnTo>
                      <a:pt x="689" y="761"/>
                    </a:lnTo>
                    <a:lnTo>
                      <a:pt x="687" y="761"/>
                    </a:lnTo>
                    <a:lnTo>
                      <a:pt x="685" y="761"/>
                    </a:lnTo>
                    <a:lnTo>
                      <a:pt x="684" y="761"/>
                    </a:lnTo>
                    <a:lnTo>
                      <a:pt x="682" y="761"/>
                    </a:lnTo>
                    <a:lnTo>
                      <a:pt x="681" y="763"/>
                    </a:lnTo>
                    <a:lnTo>
                      <a:pt x="679" y="764"/>
                    </a:lnTo>
                    <a:lnTo>
                      <a:pt x="679" y="766"/>
                    </a:lnTo>
                    <a:lnTo>
                      <a:pt x="678" y="766"/>
                    </a:lnTo>
                    <a:lnTo>
                      <a:pt x="678" y="767"/>
                    </a:lnTo>
                    <a:lnTo>
                      <a:pt x="679" y="769"/>
                    </a:lnTo>
                    <a:lnTo>
                      <a:pt x="679" y="770"/>
                    </a:lnTo>
                    <a:lnTo>
                      <a:pt x="681" y="770"/>
                    </a:lnTo>
                    <a:lnTo>
                      <a:pt x="682" y="770"/>
                    </a:lnTo>
                    <a:lnTo>
                      <a:pt x="682" y="772"/>
                    </a:lnTo>
                    <a:lnTo>
                      <a:pt x="682" y="774"/>
                    </a:lnTo>
                    <a:lnTo>
                      <a:pt x="682" y="775"/>
                    </a:lnTo>
                    <a:lnTo>
                      <a:pt x="684" y="775"/>
                    </a:lnTo>
                    <a:lnTo>
                      <a:pt x="684" y="777"/>
                    </a:lnTo>
                    <a:lnTo>
                      <a:pt x="684" y="778"/>
                    </a:lnTo>
                    <a:lnTo>
                      <a:pt x="682" y="780"/>
                    </a:lnTo>
                    <a:lnTo>
                      <a:pt x="684" y="780"/>
                    </a:lnTo>
                    <a:lnTo>
                      <a:pt x="684" y="782"/>
                    </a:lnTo>
                    <a:lnTo>
                      <a:pt x="684" y="783"/>
                    </a:lnTo>
                    <a:lnTo>
                      <a:pt x="685" y="783"/>
                    </a:lnTo>
                    <a:lnTo>
                      <a:pt x="687" y="783"/>
                    </a:lnTo>
                    <a:lnTo>
                      <a:pt x="687" y="785"/>
                    </a:lnTo>
                    <a:lnTo>
                      <a:pt x="687" y="786"/>
                    </a:lnTo>
                    <a:lnTo>
                      <a:pt x="685" y="786"/>
                    </a:lnTo>
                    <a:lnTo>
                      <a:pt x="684" y="786"/>
                    </a:lnTo>
                    <a:lnTo>
                      <a:pt x="682" y="786"/>
                    </a:lnTo>
                    <a:lnTo>
                      <a:pt x="681" y="786"/>
                    </a:lnTo>
                    <a:lnTo>
                      <a:pt x="681" y="785"/>
                    </a:lnTo>
                    <a:lnTo>
                      <a:pt x="681" y="783"/>
                    </a:lnTo>
                    <a:lnTo>
                      <a:pt x="679" y="783"/>
                    </a:lnTo>
                    <a:lnTo>
                      <a:pt x="679" y="785"/>
                    </a:lnTo>
                    <a:lnTo>
                      <a:pt x="678" y="785"/>
                    </a:lnTo>
                    <a:lnTo>
                      <a:pt x="676" y="785"/>
                    </a:lnTo>
                    <a:lnTo>
                      <a:pt x="676" y="786"/>
                    </a:lnTo>
                    <a:lnTo>
                      <a:pt x="674" y="786"/>
                    </a:lnTo>
                    <a:lnTo>
                      <a:pt x="674" y="788"/>
                    </a:lnTo>
                    <a:lnTo>
                      <a:pt x="673" y="789"/>
                    </a:lnTo>
                    <a:lnTo>
                      <a:pt x="673" y="791"/>
                    </a:lnTo>
                    <a:lnTo>
                      <a:pt x="673" y="793"/>
                    </a:lnTo>
                    <a:lnTo>
                      <a:pt x="671" y="793"/>
                    </a:lnTo>
                    <a:lnTo>
                      <a:pt x="671" y="791"/>
                    </a:lnTo>
                    <a:lnTo>
                      <a:pt x="670" y="791"/>
                    </a:lnTo>
                    <a:lnTo>
                      <a:pt x="670" y="789"/>
                    </a:lnTo>
                    <a:lnTo>
                      <a:pt x="668" y="789"/>
                    </a:lnTo>
                    <a:lnTo>
                      <a:pt x="668" y="788"/>
                    </a:lnTo>
                    <a:lnTo>
                      <a:pt x="668" y="786"/>
                    </a:lnTo>
                    <a:lnTo>
                      <a:pt x="666" y="786"/>
                    </a:lnTo>
                    <a:lnTo>
                      <a:pt x="666" y="785"/>
                    </a:lnTo>
                    <a:lnTo>
                      <a:pt x="666" y="783"/>
                    </a:lnTo>
                    <a:lnTo>
                      <a:pt x="666" y="782"/>
                    </a:lnTo>
                    <a:lnTo>
                      <a:pt x="665" y="782"/>
                    </a:lnTo>
                    <a:lnTo>
                      <a:pt x="665" y="780"/>
                    </a:lnTo>
                    <a:lnTo>
                      <a:pt x="665" y="778"/>
                    </a:lnTo>
                    <a:lnTo>
                      <a:pt x="665" y="777"/>
                    </a:lnTo>
                    <a:lnTo>
                      <a:pt x="663" y="777"/>
                    </a:lnTo>
                    <a:lnTo>
                      <a:pt x="663" y="775"/>
                    </a:lnTo>
                    <a:lnTo>
                      <a:pt x="663" y="774"/>
                    </a:lnTo>
                    <a:lnTo>
                      <a:pt x="663" y="772"/>
                    </a:lnTo>
                    <a:lnTo>
                      <a:pt x="663" y="770"/>
                    </a:lnTo>
                    <a:lnTo>
                      <a:pt x="663" y="769"/>
                    </a:lnTo>
                    <a:lnTo>
                      <a:pt x="662" y="767"/>
                    </a:lnTo>
                    <a:lnTo>
                      <a:pt x="662" y="766"/>
                    </a:lnTo>
                    <a:lnTo>
                      <a:pt x="662" y="764"/>
                    </a:lnTo>
                    <a:lnTo>
                      <a:pt x="662" y="763"/>
                    </a:lnTo>
                    <a:lnTo>
                      <a:pt x="663" y="763"/>
                    </a:lnTo>
                    <a:lnTo>
                      <a:pt x="663" y="761"/>
                    </a:lnTo>
                    <a:lnTo>
                      <a:pt x="662" y="761"/>
                    </a:lnTo>
                    <a:lnTo>
                      <a:pt x="662" y="759"/>
                    </a:lnTo>
                    <a:lnTo>
                      <a:pt x="663" y="759"/>
                    </a:lnTo>
                    <a:lnTo>
                      <a:pt x="663" y="758"/>
                    </a:lnTo>
                    <a:lnTo>
                      <a:pt x="663" y="756"/>
                    </a:lnTo>
                    <a:lnTo>
                      <a:pt x="663" y="755"/>
                    </a:lnTo>
                    <a:lnTo>
                      <a:pt x="663" y="753"/>
                    </a:lnTo>
                    <a:lnTo>
                      <a:pt x="665" y="753"/>
                    </a:lnTo>
                    <a:lnTo>
                      <a:pt x="663" y="753"/>
                    </a:lnTo>
                    <a:lnTo>
                      <a:pt x="663" y="751"/>
                    </a:lnTo>
                    <a:lnTo>
                      <a:pt x="665" y="751"/>
                    </a:lnTo>
                    <a:lnTo>
                      <a:pt x="665" y="750"/>
                    </a:lnTo>
                    <a:lnTo>
                      <a:pt x="665" y="748"/>
                    </a:lnTo>
                    <a:lnTo>
                      <a:pt x="666" y="748"/>
                    </a:lnTo>
                    <a:lnTo>
                      <a:pt x="666" y="747"/>
                    </a:lnTo>
                    <a:lnTo>
                      <a:pt x="666" y="745"/>
                    </a:lnTo>
                    <a:lnTo>
                      <a:pt x="668" y="745"/>
                    </a:lnTo>
                    <a:lnTo>
                      <a:pt x="670" y="745"/>
                    </a:lnTo>
                    <a:lnTo>
                      <a:pt x="671" y="744"/>
                    </a:lnTo>
                    <a:lnTo>
                      <a:pt x="673" y="744"/>
                    </a:lnTo>
                    <a:lnTo>
                      <a:pt x="674" y="744"/>
                    </a:lnTo>
                    <a:lnTo>
                      <a:pt x="674" y="742"/>
                    </a:lnTo>
                    <a:lnTo>
                      <a:pt x="676" y="742"/>
                    </a:lnTo>
                    <a:lnTo>
                      <a:pt x="676" y="740"/>
                    </a:lnTo>
                    <a:lnTo>
                      <a:pt x="678" y="740"/>
                    </a:lnTo>
                    <a:lnTo>
                      <a:pt x="679" y="739"/>
                    </a:lnTo>
                    <a:lnTo>
                      <a:pt x="681" y="739"/>
                    </a:lnTo>
                    <a:lnTo>
                      <a:pt x="682" y="739"/>
                    </a:lnTo>
                    <a:lnTo>
                      <a:pt x="684" y="739"/>
                    </a:lnTo>
                    <a:lnTo>
                      <a:pt x="685" y="739"/>
                    </a:lnTo>
                    <a:close/>
                    <a:moveTo>
                      <a:pt x="495" y="4"/>
                    </a:moveTo>
                    <a:lnTo>
                      <a:pt x="495" y="5"/>
                    </a:lnTo>
                    <a:lnTo>
                      <a:pt x="495" y="7"/>
                    </a:lnTo>
                    <a:lnTo>
                      <a:pt x="497" y="7"/>
                    </a:lnTo>
                    <a:lnTo>
                      <a:pt x="499" y="7"/>
                    </a:lnTo>
                    <a:lnTo>
                      <a:pt x="500" y="5"/>
                    </a:lnTo>
                    <a:lnTo>
                      <a:pt x="500" y="7"/>
                    </a:lnTo>
                    <a:lnTo>
                      <a:pt x="502" y="7"/>
                    </a:lnTo>
                    <a:lnTo>
                      <a:pt x="503" y="7"/>
                    </a:lnTo>
                    <a:lnTo>
                      <a:pt x="503" y="8"/>
                    </a:lnTo>
                    <a:lnTo>
                      <a:pt x="505" y="8"/>
                    </a:lnTo>
                    <a:lnTo>
                      <a:pt x="506" y="8"/>
                    </a:lnTo>
                    <a:lnTo>
                      <a:pt x="508" y="8"/>
                    </a:lnTo>
                    <a:lnTo>
                      <a:pt x="508" y="10"/>
                    </a:lnTo>
                    <a:lnTo>
                      <a:pt x="508" y="12"/>
                    </a:lnTo>
                    <a:lnTo>
                      <a:pt x="510" y="12"/>
                    </a:lnTo>
                    <a:lnTo>
                      <a:pt x="511" y="13"/>
                    </a:lnTo>
                    <a:lnTo>
                      <a:pt x="511" y="12"/>
                    </a:lnTo>
                    <a:lnTo>
                      <a:pt x="513" y="12"/>
                    </a:lnTo>
                    <a:lnTo>
                      <a:pt x="514" y="12"/>
                    </a:lnTo>
                    <a:lnTo>
                      <a:pt x="514" y="13"/>
                    </a:lnTo>
                    <a:lnTo>
                      <a:pt x="516" y="13"/>
                    </a:lnTo>
                    <a:lnTo>
                      <a:pt x="518" y="13"/>
                    </a:lnTo>
                    <a:lnTo>
                      <a:pt x="519" y="13"/>
                    </a:lnTo>
                    <a:lnTo>
                      <a:pt x="521" y="15"/>
                    </a:lnTo>
                    <a:lnTo>
                      <a:pt x="521" y="16"/>
                    </a:lnTo>
                    <a:lnTo>
                      <a:pt x="522" y="16"/>
                    </a:lnTo>
                    <a:lnTo>
                      <a:pt x="522" y="15"/>
                    </a:lnTo>
                    <a:lnTo>
                      <a:pt x="524" y="15"/>
                    </a:lnTo>
                    <a:lnTo>
                      <a:pt x="525" y="15"/>
                    </a:lnTo>
                    <a:lnTo>
                      <a:pt x="525" y="13"/>
                    </a:lnTo>
                    <a:lnTo>
                      <a:pt x="527" y="12"/>
                    </a:lnTo>
                    <a:lnTo>
                      <a:pt x="529" y="12"/>
                    </a:lnTo>
                    <a:lnTo>
                      <a:pt x="529" y="13"/>
                    </a:lnTo>
                    <a:lnTo>
                      <a:pt x="530" y="13"/>
                    </a:lnTo>
                    <a:lnTo>
                      <a:pt x="530" y="15"/>
                    </a:lnTo>
                    <a:lnTo>
                      <a:pt x="532" y="15"/>
                    </a:lnTo>
                    <a:lnTo>
                      <a:pt x="532" y="13"/>
                    </a:lnTo>
                    <a:lnTo>
                      <a:pt x="533" y="13"/>
                    </a:lnTo>
                    <a:lnTo>
                      <a:pt x="535" y="13"/>
                    </a:lnTo>
                    <a:lnTo>
                      <a:pt x="535" y="15"/>
                    </a:lnTo>
                    <a:lnTo>
                      <a:pt x="537" y="15"/>
                    </a:lnTo>
                    <a:lnTo>
                      <a:pt x="537" y="13"/>
                    </a:lnTo>
                    <a:lnTo>
                      <a:pt x="538" y="13"/>
                    </a:lnTo>
                    <a:lnTo>
                      <a:pt x="540" y="13"/>
                    </a:lnTo>
                    <a:lnTo>
                      <a:pt x="541" y="13"/>
                    </a:lnTo>
                    <a:lnTo>
                      <a:pt x="541" y="15"/>
                    </a:lnTo>
                    <a:lnTo>
                      <a:pt x="543" y="15"/>
                    </a:lnTo>
                    <a:lnTo>
                      <a:pt x="541" y="15"/>
                    </a:lnTo>
                    <a:lnTo>
                      <a:pt x="540" y="16"/>
                    </a:lnTo>
                    <a:lnTo>
                      <a:pt x="540" y="18"/>
                    </a:lnTo>
                    <a:lnTo>
                      <a:pt x="541" y="18"/>
                    </a:lnTo>
                    <a:lnTo>
                      <a:pt x="541" y="19"/>
                    </a:lnTo>
                    <a:lnTo>
                      <a:pt x="541" y="21"/>
                    </a:lnTo>
                    <a:lnTo>
                      <a:pt x="543" y="21"/>
                    </a:lnTo>
                    <a:lnTo>
                      <a:pt x="543" y="23"/>
                    </a:lnTo>
                    <a:lnTo>
                      <a:pt x="543" y="24"/>
                    </a:lnTo>
                    <a:lnTo>
                      <a:pt x="543" y="26"/>
                    </a:lnTo>
                    <a:lnTo>
                      <a:pt x="543" y="27"/>
                    </a:lnTo>
                    <a:lnTo>
                      <a:pt x="543" y="29"/>
                    </a:lnTo>
                    <a:lnTo>
                      <a:pt x="544" y="29"/>
                    </a:lnTo>
                    <a:lnTo>
                      <a:pt x="546" y="29"/>
                    </a:lnTo>
                    <a:lnTo>
                      <a:pt x="546" y="31"/>
                    </a:lnTo>
                    <a:lnTo>
                      <a:pt x="546" y="32"/>
                    </a:lnTo>
                    <a:lnTo>
                      <a:pt x="546" y="34"/>
                    </a:lnTo>
                    <a:lnTo>
                      <a:pt x="548" y="34"/>
                    </a:lnTo>
                    <a:lnTo>
                      <a:pt x="548" y="35"/>
                    </a:lnTo>
                    <a:lnTo>
                      <a:pt x="549" y="35"/>
                    </a:lnTo>
                    <a:lnTo>
                      <a:pt x="549" y="37"/>
                    </a:lnTo>
                    <a:lnTo>
                      <a:pt x="551" y="37"/>
                    </a:lnTo>
                    <a:lnTo>
                      <a:pt x="552" y="37"/>
                    </a:lnTo>
                    <a:lnTo>
                      <a:pt x="554" y="37"/>
                    </a:lnTo>
                    <a:lnTo>
                      <a:pt x="554" y="38"/>
                    </a:lnTo>
                    <a:lnTo>
                      <a:pt x="554" y="40"/>
                    </a:lnTo>
                    <a:lnTo>
                      <a:pt x="556" y="40"/>
                    </a:lnTo>
                    <a:lnTo>
                      <a:pt x="556" y="42"/>
                    </a:lnTo>
                    <a:lnTo>
                      <a:pt x="557" y="43"/>
                    </a:lnTo>
                    <a:lnTo>
                      <a:pt x="559" y="43"/>
                    </a:lnTo>
                    <a:lnTo>
                      <a:pt x="560" y="43"/>
                    </a:lnTo>
                    <a:lnTo>
                      <a:pt x="560" y="45"/>
                    </a:lnTo>
                    <a:lnTo>
                      <a:pt x="562" y="45"/>
                    </a:lnTo>
                    <a:lnTo>
                      <a:pt x="562" y="46"/>
                    </a:lnTo>
                    <a:lnTo>
                      <a:pt x="562" y="48"/>
                    </a:lnTo>
                    <a:lnTo>
                      <a:pt x="564" y="48"/>
                    </a:lnTo>
                    <a:lnTo>
                      <a:pt x="564" y="50"/>
                    </a:lnTo>
                    <a:lnTo>
                      <a:pt x="564" y="51"/>
                    </a:lnTo>
                    <a:lnTo>
                      <a:pt x="565" y="51"/>
                    </a:lnTo>
                    <a:lnTo>
                      <a:pt x="565" y="53"/>
                    </a:lnTo>
                    <a:lnTo>
                      <a:pt x="567" y="53"/>
                    </a:lnTo>
                    <a:lnTo>
                      <a:pt x="567" y="54"/>
                    </a:lnTo>
                    <a:lnTo>
                      <a:pt x="567" y="56"/>
                    </a:lnTo>
                    <a:lnTo>
                      <a:pt x="567" y="57"/>
                    </a:lnTo>
                    <a:lnTo>
                      <a:pt x="567" y="59"/>
                    </a:lnTo>
                    <a:lnTo>
                      <a:pt x="567" y="61"/>
                    </a:lnTo>
                    <a:lnTo>
                      <a:pt x="568" y="61"/>
                    </a:lnTo>
                    <a:lnTo>
                      <a:pt x="570" y="59"/>
                    </a:lnTo>
                    <a:lnTo>
                      <a:pt x="570" y="61"/>
                    </a:lnTo>
                    <a:lnTo>
                      <a:pt x="571" y="61"/>
                    </a:lnTo>
                    <a:lnTo>
                      <a:pt x="571" y="62"/>
                    </a:lnTo>
                    <a:lnTo>
                      <a:pt x="573" y="64"/>
                    </a:lnTo>
                    <a:lnTo>
                      <a:pt x="575" y="64"/>
                    </a:lnTo>
                    <a:lnTo>
                      <a:pt x="575" y="65"/>
                    </a:lnTo>
                    <a:lnTo>
                      <a:pt x="576" y="65"/>
                    </a:lnTo>
                    <a:lnTo>
                      <a:pt x="576" y="67"/>
                    </a:lnTo>
                    <a:lnTo>
                      <a:pt x="576" y="69"/>
                    </a:lnTo>
                    <a:lnTo>
                      <a:pt x="578" y="69"/>
                    </a:lnTo>
                    <a:lnTo>
                      <a:pt x="578" y="70"/>
                    </a:lnTo>
                    <a:lnTo>
                      <a:pt x="579" y="70"/>
                    </a:lnTo>
                    <a:lnTo>
                      <a:pt x="581" y="72"/>
                    </a:lnTo>
                    <a:lnTo>
                      <a:pt x="583" y="72"/>
                    </a:lnTo>
                    <a:lnTo>
                      <a:pt x="583" y="73"/>
                    </a:lnTo>
                    <a:lnTo>
                      <a:pt x="583" y="75"/>
                    </a:lnTo>
                    <a:lnTo>
                      <a:pt x="584" y="75"/>
                    </a:lnTo>
                    <a:lnTo>
                      <a:pt x="584" y="76"/>
                    </a:lnTo>
                    <a:lnTo>
                      <a:pt x="584" y="78"/>
                    </a:lnTo>
                    <a:lnTo>
                      <a:pt x="584" y="80"/>
                    </a:lnTo>
                    <a:lnTo>
                      <a:pt x="584" y="81"/>
                    </a:lnTo>
                    <a:lnTo>
                      <a:pt x="584" y="83"/>
                    </a:lnTo>
                    <a:lnTo>
                      <a:pt x="586" y="83"/>
                    </a:lnTo>
                    <a:lnTo>
                      <a:pt x="586" y="84"/>
                    </a:lnTo>
                    <a:lnTo>
                      <a:pt x="586" y="86"/>
                    </a:lnTo>
                    <a:lnTo>
                      <a:pt x="586" y="88"/>
                    </a:lnTo>
                    <a:lnTo>
                      <a:pt x="586" y="89"/>
                    </a:lnTo>
                    <a:lnTo>
                      <a:pt x="587" y="89"/>
                    </a:lnTo>
                    <a:lnTo>
                      <a:pt x="587" y="91"/>
                    </a:lnTo>
                    <a:lnTo>
                      <a:pt x="587" y="92"/>
                    </a:lnTo>
                    <a:lnTo>
                      <a:pt x="586" y="92"/>
                    </a:lnTo>
                    <a:lnTo>
                      <a:pt x="586" y="94"/>
                    </a:lnTo>
                    <a:lnTo>
                      <a:pt x="587" y="94"/>
                    </a:lnTo>
                    <a:lnTo>
                      <a:pt x="587" y="95"/>
                    </a:lnTo>
                    <a:lnTo>
                      <a:pt x="586" y="95"/>
                    </a:lnTo>
                    <a:lnTo>
                      <a:pt x="586" y="97"/>
                    </a:lnTo>
                    <a:lnTo>
                      <a:pt x="587" y="97"/>
                    </a:lnTo>
                    <a:lnTo>
                      <a:pt x="589" y="99"/>
                    </a:lnTo>
                    <a:lnTo>
                      <a:pt x="587" y="99"/>
                    </a:lnTo>
                    <a:lnTo>
                      <a:pt x="587" y="100"/>
                    </a:lnTo>
                    <a:lnTo>
                      <a:pt x="587" y="102"/>
                    </a:lnTo>
                    <a:lnTo>
                      <a:pt x="587" y="103"/>
                    </a:lnTo>
                    <a:lnTo>
                      <a:pt x="589" y="103"/>
                    </a:lnTo>
                    <a:lnTo>
                      <a:pt x="590" y="105"/>
                    </a:lnTo>
                    <a:lnTo>
                      <a:pt x="590" y="107"/>
                    </a:lnTo>
                    <a:lnTo>
                      <a:pt x="592" y="107"/>
                    </a:lnTo>
                    <a:lnTo>
                      <a:pt x="592" y="108"/>
                    </a:lnTo>
                    <a:lnTo>
                      <a:pt x="594" y="108"/>
                    </a:lnTo>
                    <a:lnTo>
                      <a:pt x="595" y="108"/>
                    </a:lnTo>
                    <a:lnTo>
                      <a:pt x="597" y="108"/>
                    </a:lnTo>
                    <a:lnTo>
                      <a:pt x="598" y="108"/>
                    </a:lnTo>
                    <a:lnTo>
                      <a:pt x="600" y="108"/>
                    </a:lnTo>
                    <a:lnTo>
                      <a:pt x="600" y="110"/>
                    </a:lnTo>
                    <a:lnTo>
                      <a:pt x="602" y="110"/>
                    </a:lnTo>
                    <a:lnTo>
                      <a:pt x="603" y="110"/>
                    </a:lnTo>
                    <a:lnTo>
                      <a:pt x="603" y="108"/>
                    </a:lnTo>
                    <a:lnTo>
                      <a:pt x="605" y="108"/>
                    </a:lnTo>
                    <a:lnTo>
                      <a:pt x="605" y="107"/>
                    </a:lnTo>
                    <a:lnTo>
                      <a:pt x="606" y="107"/>
                    </a:lnTo>
                    <a:lnTo>
                      <a:pt x="608" y="105"/>
                    </a:lnTo>
                    <a:lnTo>
                      <a:pt x="609" y="103"/>
                    </a:lnTo>
                    <a:lnTo>
                      <a:pt x="611" y="102"/>
                    </a:lnTo>
                    <a:lnTo>
                      <a:pt x="613" y="100"/>
                    </a:lnTo>
                    <a:lnTo>
                      <a:pt x="614" y="99"/>
                    </a:lnTo>
                    <a:lnTo>
                      <a:pt x="614" y="97"/>
                    </a:lnTo>
                    <a:lnTo>
                      <a:pt x="616" y="97"/>
                    </a:lnTo>
                    <a:lnTo>
                      <a:pt x="616" y="95"/>
                    </a:lnTo>
                    <a:lnTo>
                      <a:pt x="617" y="95"/>
                    </a:lnTo>
                    <a:lnTo>
                      <a:pt x="619" y="94"/>
                    </a:lnTo>
                    <a:lnTo>
                      <a:pt x="621" y="94"/>
                    </a:lnTo>
                    <a:lnTo>
                      <a:pt x="621" y="92"/>
                    </a:lnTo>
                    <a:lnTo>
                      <a:pt x="622" y="92"/>
                    </a:lnTo>
                    <a:lnTo>
                      <a:pt x="624" y="91"/>
                    </a:lnTo>
                    <a:lnTo>
                      <a:pt x="625" y="91"/>
                    </a:lnTo>
                    <a:lnTo>
                      <a:pt x="625" y="89"/>
                    </a:lnTo>
                    <a:lnTo>
                      <a:pt x="627" y="89"/>
                    </a:lnTo>
                    <a:lnTo>
                      <a:pt x="628" y="89"/>
                    </a:lnTo>
                    <a:lnTo>
                      <a:pt x="628" y="88"/>
                    </a:lnTo>
                    <a:lnTo>
                      <a:pt x="632" y="84"/>
                    </a:lnTo>
                    <a:lnTo>
                      <a:pt x="633" y="84"/>
                    </a:lnTo>
                    <a:lnTo>
                      <a:pt x="635" y="83"/>
                    </a:lnTo>
                    <a:lnTo>
                      <a:pt x="636" y="81"/>
                    </a:lnTo>
                    <a:lnTo>
                      <a:pt x="636" y="80"/>
                    </a:lnTo>
                    <a:lnTo>
                      <a:pt x="638" y="80"/>
                    </a:lnTo>
                    <a:lnTo>
                      <a:pt x="638" y="78"/>
                    </a:lnTo>
                    <a:lnTo>
                      <a:pt x="640" y="78"/>
                    </a:lnTo>
                    <a:lnTo>
                      <a:pt x="640" y="76"/>
                    </a:lnTo>
                    <a:lnTo>
                      <a:pt x="641" y="75"/>
                    </a:lnTo>
                    <a:lnTo>
                      <a:pt x="643" y="73"/>
                    </a:lnTo>
                    <a:lnTo>
                      <a:pt x="644" y="72"/>
                    </a:lnTo>
                    <a:lnTo>
                      <a:pt x="646" y="70"/>
                    </a:lnTo>
                    <a:lnTo>
                      <a:pt x="646" y="72"/>
                    </a:lnTo>
                    <a:lnTo>
                      <a:pt x="647" y="72"/>
                    </a:lnTo>
                    <a:lnTo>
                      <a:pt x="649" y="73"/>
                    </a:lnTo>
                    <a:lnTo>
                      <a:pt x="649" y="72"/>
                    </a:lnTo>
                    <a:lnTo>
                      <a:pt x="649" y="73"/>
                    </a:lnTo>
                    <a:lnTo>
                      <a:pt x="647" y="73"/>
                    </a:lnTo>
                    <a:lnTo>
                      <a:pt x="647" y="75"/>
                    </a:lnTo>
                    <a:lnTo>
                      <a:pt x="649" y="75"/>
                    </a:lnTo>
                    <a:lnTo>
                      <a:pt x="649" y="76"/>
                    </a:lnTo>
                    <a:lnTo>
                      <a:pt x="649" y="78"/>
                    </a:lnTo>
                    <a:lnTo>
                      <a:pt x="651" y="78"/>
                    </a:lnTo>
                    <a:lnTo>
                      <a:pt x="651" y="80"/>
                    </a:lnTo>
                    <a:lnTo>
                      <a:pt x="652" y="80"/>
                    </a:lnTo>
                    <a:lnTo>
                      <a:pt x="652" y="81"/>
                    </a:lnTo>
                    <a:lnTo>
                      <a:pt x="651" y="81"/>
                    </a:lnTo>
                    <a:lnTo>
                      <a:pt x="651" y="83"/>
                    </a:lnTo>
                    <a:lnTo>
                      <a:pt x="652" y="83"/>
                    </a:lnTo>
                    <a:lnTo>
                      <a:pt x="652" y="84"/>
                    </a:lnTo>
                    <a:lnTo>
                      <a:pt x="652" y="86"/>
                    </a:lnTo>
                    <a:lnTo>
                      <a:pt x="651" y="86"/>
                    </a:lnTo>
                    <a:lnTo>
                      <a:pt x="651" y="88"/>
                    </a:lnTo>
                    <a:lnTo>
                      <a:pt x="652" y="88"/>
                    </a:lnTo>
                    <a:lnTo>
                      <a:pt x="652" y="89"/>
                    </a:lnTo>
                    <a:lnTo>
                      <a:pt x="651" y="91"/>
                    </a:lnTo>
                    <a:lnTo>
                      <a:pt x="651" y="92"/>
                    </a:lnTo>
                    <a:lnTo>
                      <a:pt x="652" y="92"/>
                    </a:lnTo>
                    <a:lnTo>
                      <a:pt x="651" y="92"/>
                    </a:lnTo>
                    <a:lnTo>
                      <a:pt x="651" y="94"/>
                    </a:lnTo>
                    <a:lnTo>
                      <a:pt x="651" y="95"/>
                    </a:lnTo>
                    <a:lnTo>
                      <a:pt x="649" y="97"/>
                    </a:lnTo>
                    <a:lnTo>
                      <a:pt x="651" y="97"/>
                    </a:lnTo>
                    <a:lnTo>
                      <a:pt x="651" y="99"/>
                    </a:lnTo>
                    <a:lnTo>
                      <a:pt x="649" y="99"/>
                    </a:lnTo>
                    <a:lnTo>
                      <a:pt x="649" y="100"/>
                    </a:lnTo>
                    <a:lnTo>
                      <a:pt x="649" y="102"/>
                    </a:lnTo>
                    <a:lnTo>
                      <a:pt x="649" y="103"/>
                    </a:lnTo>
                    <a:lnTo>
                      <a:pt x="651" y="103"/>
                    </a:lnTo>
                    <a:lnTo>
                      <a:pt x="651" y="105"/>
                    </a:lnTo>
                    <a:lnTo>
                      <a:pt x="651" y="107"/>
                    </a:lnTo>
                    <a:lnTo>
                      <a:pt x="651" y="108"/>
                    </a:lnTo>
                    <a:lnTo>
                      <a:pt x="651" y="110"/>
                    </a:lnTo>
                    <a:lnTo>
                      <a:pt x="649" y="110"/>
                    </a:lnTo>
                    <a:lnTo>
                      <a:pt x="649" y="111"/>
                    </a:lnTo>
                    <a:lnTo>
                      <a:pt x="649" y="113"/>
                    </a:lnTo>
                    <a:lnTo>
                      <a:pt x="651" y="113"/>
                    </a:lnTo>
                    <a:lnTo>
                      <a:pt x="651" y="114"/>
                    </a:lnTo>
                    <a:lnTo>
                      <a:pt x="651" y="116"/>
                    </a:lnTo>
                    <a:lnTo>
                      <a:pt x="651" y="118"/>
                    </a:lnTo>
                    <a:lnTo>
                      <a:pt x="651" y="119"/>
                    </a:lnTo>
                    <a:lnTo>
                      <a:pt x="651" y="121"/>
                    </a:lnTo>
                    <a:lnTo>
                      <a:pt x="651" y="122"/>
                    </a:lnTo>
                    <a:lnTo>
                      <a:pt x="652" y="122"/>
                    </a:lnTo>
                    <a:lnTo>
                      <a:pt x="652" y="124"/>
                    </a:lnTo>
                    <a:lnTo>
                      <a:pt x="654" y="126"/>
                    </a:lnTo>
                    <a:lnTo>
                      <a:pt x="655" y="126"/>
                    </a:lnTo>
                    <a:lnTo>
                      <a:pt x="655" y="127"/>
                    </a:lnTo>
                    <a:lnTo>
                      <a:pt x="655" y="129"/>
                    </a:lnTo>
                    <a:lnTo>
                      <a:pt x="655" y="130"/>
                    </a:lnTo>
                    <a:lnTo>
                      <a:pt x="657" y="130"/>
                    </a:lnTo>
                    <a:lnTo>
                      <a:pt x="659" y="130"/>
                    </a:lnTo>
                    <a:lnTo>
                      <a:pt x="660" y="130"/>
                    </a:lnTo>
                    <a:lnTo>
                      <a:pt x="662" y="130"/>
                    </a:lnTo>
                    <a:lnTo>
                      <a:pt x="662" y="132"/>
                    </a:lnTo>
                    <a:lnTo>
                      <a:pt x="663" y="132"/>
                    </a:lnTo>
                    <a:lnTo>
                      <a:pt x="663" y="134"/>
                    </a:lnTo>
                    <a:lnTo>
                      <a:pt x="665" y="134"/>
                    </a:lnTo>
                    <a:lnTo>
                      <a:pt x="665" y="135"/>
                    </a:lnTo>
                    <a:lnTo>
                      <a:pt x="665" y="137"/>
                    </a:lnTo>
                    <a:lnTo>
                      <a:pt x="666" y="138"/>
                    </a:lnTo>
                    <a:lnTo>
                      <a:pt x="665" y="138"/>
                    </a:lnTo>
                    <a:lnTo>
                      <a:pt x="665" y="140"/>
                    </a:lnTo>
                    <a:lnTo>
                      <a:pt x="666" y="141"/>
                    </a:lnTo>
                    <a:lnTo>
                      <a:pt x="666" y="143"/>
                    </a:lnTo>
                    <a:lnTo>
                      <a:pt x="668" y="143"/>
                    </a:lnTo>
                    <a:lnTo>
                      <a:pt x="668" y="145"/>
                    </a:lnTo>
                    <a:lnTo>
                      <a:pt x="668" y="146"/>
                    </a:lnTo>
                    <a:lnTo>
                      <a:pt x="670" y="146"/>
                    </a:lnTo>
                    <a:lnTo>
                      <a:pt x="670" y="148"/>
                    </a:lnTo>
                    <a:lnTo>
                      <a:pt x="671" y="149"/>
                    </a:lnTo>
                    <a:lnTo>
                      <a:pt x="673" y="149"/>
                    </a:lnTo>
                    <a:lnTo>
                      <a:pt x="673" y="151"/>
                    </a:lnTo>
                    <a:lnTo>
                      <a:pt x="674" y="153"/>
                    </a:lnTo>
                    <a:lnTo>
                      <a:pt x="674" y="154"/>
                    </a:lnTo>
                    <a:lnTo>
                      <a:pt x="676" y="156"/>
                    </a:lnTo>
                    <a:lnTo>
                      <a:pt x="678" y="157"/>
                    </a:lnTo>
                    <a:lnTo>
                      <a:pt x="679" y="159"/>
                    </a:lnTo>
                    <a:lnTo>
                      <a:pt x="679" y="160"/>
                    </a:lnTo>
                    <a:lnTo>
                      <a:pt x="681" y="160"/>
                    </a:lnTo>
                    <a:lnTo>
                      <a:pt x="681" y="162"/>
                    </a:lnTo>
                    <a:lnTo>
                      <a:pt x="682" y="162"/>
                    </a:lnTo>
                    <a:lnTo>
                      <a:pt x="682" y="164"/>
                    </a:lnTo>
                    <a:lnTo>
                      <a:pt x="681" y="165"/>
                    </a:lnTo>
                    <a:lnTo>
                      <a:pt x="681" y="164"/>
                    </a:lnTo>
                    <a:lnTo>
                      <a:pt x="679" y="165"/>
                    </a:lnTo>
                    <a:lnTo>
                      <a:pt x="679" y="167"/>
                    </a:lnTo>
                    <a:lnTo>
                      <a:pt x="678" y="167"/>
                    </a:lnTo>
                    <a:lnTo>
                      <a:pt x="678" y="168"/>
                    </a:lnTo>
                    <a:lnTo>
                      <a:pt x="676" y="168"/>
                    </a:lnTo>
                    <a:lnTo>
                      <a:pt x="676" y="170"/>
                    </a:lnTo>
                    <a:lnTo>
                      <a:pt x="674" y="172"/>
                    </a:lnTo>
                    <a:lnTo>
                      <a:pt x="674" y="173"/>
                    </a:lnTo>
                    <a:lnTo>
                      <a:pt x="673" y="175"/>
                    </a:lnTo>
                    <a:lnTo>
                      <a:pt x="671" y="176"/>
                    </a:lnTo>
                    <a:lnTo>
                      <a:pt x="671" y="178"/>
                    </a:lnTo>
                    <a:lnTo>
                      <a:pt x="670" y="178"/>
                    </a:lnTo>
                    <a:lnTo>
                      <a:pt x="671" y="179"/>
                    </a:lnTo>
                    <a:lnTo>
                      <a:pt x="671" y="181"/>
                    </a:lnTo>
                    <a:lnTo>
                      <a:pt x="674" y="184"/>
                    </a:lnTo>
                    <a:lnTo>
                      <a:pt x="676" y="186"/>
                    </a:lnTo>
                    <a:lnTo>
                      <a:pt x="679" y="187"/>
                    </a:lnTo>
                    <a:lnTo>
                      <a:pt x="679" y="186"/>
                    </a:lnTo>
                    <a:lnTo>
                      <a:pt x="681" y="186"/>
                    </a:lnTo>
                    <a:lnTo>
                      <a:pt x="681" y="184"/>
                    </a:lnTo>
                    <a:lnTo>
                      <a:pt x="682" y="184"/>
                    </a:lnTo>
                    <a:lnTo>
                      <a:pt x="684" y="184"/>
                    </a:lnTo>
                    <a:lnTo>
                      <a:pt x="685" y="184"/>
                    </a:lnTo>
                    <a:lnTo>
                      <a:pt x="685" y="183"/>
                    </a:lnTo>
                    <a:lnTo>
                      <a:pt x="687" y="183"/>
                    </a:lnTo>
                    <a:lnTo>
                      <a:pt x="689" y="183"/>
                    </a:lnTo>
                    <a:lnTo>
                      <a:pt x="689" y="181"/>
                    </a:lnTo>
                    <a:lnTo>
                      <a:pt x="690" y="181"/>
                    </a:lnTo>
                    <a:lnTo>
                      <a:pt x="692" y="181"/>
                    </a:lnTo>
                    <a:lnTo>
                      <a:pt x="693" y="181"/>
                    </a:lnTo>
                    <a:lnTo>
                      <a:pt x="695" y="179"/>
                    </a:lnTo>
                    <a:lnTo>
                      <a:pt x="697" y="179"/>
                    </a:lnTo>
                    <a:lnTo>
                      <a:pt x="698" y="179"/>
                    </a:lnTo>
                    <a:lnTo>
                      <a:pt x="698" y="178"/>
                    </a:lnTo>
                    <a:lnTo>
                      <a:pt x="698" y="176"/>
                    </a:lnTo>
                    <a:lnTo>
                      <a:pt x="698" y="175"/>
                    </a:lnTo>
                    <a:lnTo>
                      <a:pt x="698" y="173"/>
                    </a:lnTo>
                    <a:lnTo>
                      <a:pt x="700" y="175"/>
                    </a:lnTo>
                    <a:lnTo>
                      <a:pt x="701" y="175"/>
                    </a:lnTo>
                    <a:lnTo>
                      <a:pt x="703" y="175"/>
                    </a:lnTo>
                    <a:lnTo>
                      <a:pt x="703" y="176"/>
                    </a:lnTo>
                    <a:lnTo>
                      <a:pt x="704" y="176"/>
                    </a:lnTo>
                    <a:lnTo>
                      <a:pt x="704" y="178"/>
                    </a:lnTo>
                    <a:lnTo>
                      <a:pt x="704" y="179"/>
                    </a:lnTo>
                    <a:lnTo>
                      <a:pt x="706" y="179"/>
                    </a:lnTo>
                    <a:lnTo>
                      <a:pt x="706" y="181"/>
                    </a:lnTo>
                    <a:lnTo>
                      <a:pt x="708" y="181"/>
                    </a:lnTo>
                    <a:lnTo>
                      <a:pt x="708" y="183"/>
                    </a:lnTo>
                    <a:lnTo>
                      <a:pt x="708" y="184"/>
                    </a:lnTo>
                    <a:lnTo>
                      <a:pt x="708" y="186"/>
                    </a:lnTo>
                    <a:lnTo>
                      <a:pt x="708" y="187"/>
                    </a:lnTo>
                    <a:lnTo>
                      <a:pt x="708" y="189"/>
                    </a:lnTo>
                    <a:lnTo>
                      <a:pt x="708" y="191"/>
                    </a:lnTo>
                    <a:lnTo>
                      <a:pt x="708" y="192"/>
                    </a:lnTo>
                    <a:lnTo>
                      <a:pt x="708" y="194"/>
                    </a:lnTo>
                    <a:lnTo>
                      <a:pt x="709" y="194"/>
                    </a:lnTo>
                    <a:lnTo>
                      <a:pt x="711" y="194"/>
                    </a:lnTo>
                    <a:lnTo>
                      <a:pt x="712" y="194"/>
                    </a:lnTo>
                    <a:lnTo>
                      <a:pt x="712" y="195"/>
                    </a:lnTo>
                    <a:lnTo>
                      <a:pt x="714" y="195"/>
                    </a:lnTo>
                    <a:lnTo>
                      <a:pt x="714" y="197"/>
                    </a:lnTo>
                    <a:lnTo>
                      <a:pt x="716" y="197"/>
                    </a:lnTo>
                    <a:lnTo>
                      <a:pt x="716" y="198"/>
                    </a:lnTo>
                    <a:lnTo>
                      <a:pt x="717" y="198"/>
                    </a:lnTo>
                    <a:lnTo>
                      <a:pt x="717" y="200"/>
                    </a:lnTo>
                    <a:lnTo>
                      <a:pt x="717" y="202"/>
                    </a:lnTo>
                    <a:lnTo>
                      <a:pt x="717" y="203"/>
                    </a:lnTo>
                    <a:lnTo>
                      <a:pt x="717" y="205"/>
                    </a:lnTo>
                    <a:lnTo>
                      <a:pt x="716" y="205"/>
                    </a:lnTo>
                    <a:lnTo>
                      <a:pt x="714" y="205"/>
                    </a:lnTo>
                    <a:lnTo>
                      <a:pt x="712" y="205"/>
                    </a:lnTo>
                    <a:lnTo>
                      <a:pt x="711" y="205"/>
                    </a:lnTo>
                    <a:lnTo>
                      <a:pt x="709" y="206"/>
                    </a:lnTo>
                    <a:lnTo>
                      <a:pt x="709" y="208"/>
                    </a:lnTo>
                    <a:lnTo>
                      <a:pt x="709" y="210"/>
                    </a:lnTo>
                    <a:lnTo>
                      <a:pt x="708" y="210"/>
                    </a:lnTo>
                    <a:lnTo>
                      <a:pt x="709" y="210"/>
                    </a:lnTo>
                    <a:lnTo>
                      <a:pt x="711" y="211"/>
                    </a:lnTo>
                    <a:lnTo>
                      <a:pt x="712" y="211"/>
                    </a:lnTo>
                    <a:lnTo>
                      <a:pt x="714" y="211"/>
                    </a:lnTo>
                    <a:lnTo>
                      <a:pt x="716" y="213"/>
                    </a:lnTo>
                    <a:lnTo>
                      <a:pt x="716" y="214"/>
                    </a:lnTo>
                    <a:lnTo>
                      <a:pt x="717" y="214"/>
                    </a:lnTo>
                    <a:lnTo>
                      <a:pt x="717" y="216"/>
                    </a:lnTo>
                    <a:lnTo>
                      <a:pt x="716" y="217"/>
                    </a:lnTo>
                    <a:lnTo>
                      <a:pt x="716" y="219"/>
                    </a:lnTo>
                    <a:lnTo>
                      <a:pt x="716" y="221"/>
                    </a:lnTo>
                    <a:lnTo>
                      <a:pt x="716" y="219"/>
                    </a:lnTo>
                    <a:lnTo>
                      <a:pt x="714" y="219"/>
                    </a:lnTo>
                    <a:lnTo>
                      <a:pt x="712" y="219"/>
                    </a:lnTo>
                    <a:lnTo>
                      <a:pt x="711" y="219"/>
                    </a:lnTo>
                    <a:lnTo>
                      <a:pt x="709" y="219"/>
                    </a:lnTo>
                    <a:lnTo>
                      <a:pt x="708" y="219"/>
                    </a:lnTo>
                    <a:lnTo>
                      <a:pt x="708" y="217"/>
                    </a:lnTo>
                    <a:lnTo>
                      <a:pt x="708" y="219"/>
                    </a:lnTo>
                    <a:lnTo>
                      <a:pt x="706" y="221"/>
                    </a:lnTo>
                    <a:lnTo>
                      <a:pt x="704" y="221"/>
                    </a:lnTo>
                    <a:lnTo>
                      <a:pt x="704" y="222"/>
                    </a:lnTo>
                    <a:lnTo>
                      <a:pt x="703" y="222"/>
                    </a:lnTo>
                    <a:lnTo>
                      <a:pt x="703" y="224"/>
                    </a:lnTo>
                    <a:lnTo>
                      <a:pt x="701" y="224"/>
                    </a:lnTo>
                    <a:lnTo>
                      <a:pt x="700" y="224"/>
                    </a:lnTo>
                    <a:lnTo>
                      <a:pt x="700" y="225"/>
                    </a:lnTo>
                    <a:lnTo>
                      <a:pt x="698" y="225"/>
                    </a:lnTo>
                    <a:lnTo>
                      <a:pt x="698" y="224"/>
                    </a:lnTo>
                    <a:lnTo>
                      <a:pt x="697" y="224"/>
                    </a:lnTo>
                    <a:lnTo>
                      <a:pt x="697" y="222"/>
                    </a:lnTo>
                    <a:lnTo>
                      <a:pt x="695" y="222"/>
                    </a:lnTo>
                    <a:lnTo>
                      <a:pt x="695" y="224"/>
                    </a:lnTo>
                    <a:lnTo>
                      <a:pt x="695" y="225"/>
                    </a:lnTo>
                    <a:lnTo>
                      <a:pt x="695" y="227"/>
                    </a:lnTo>
                    <a:lnTo>
                      <a:pt x="695" y="229"/>
                    </a:lnTo>
                    <a:lnTo>
                      <a:pt x="693" y="229"/>
                    </a:lnTo>
                    <a:lnTo>
                      <a:pt x="692" y="229"/>
                    </a:lnTo>
                    <a:lnTo>
                      <a:pt x="692" y="230"/>
                    </a:lnTo>
                    <a:lnTo>
                      <a:pt x="690" y="230"/>
                    </a:lnTo>
                    <a:lnTo>
                      <a:pt x="689" y="230"/>
                    </a:lnTo>
                    <a:lnTo>
                      <a:pt x="689" y="232"/>
                    </a:lnTo>
                    <a:lnTo>
                      <a:pt x="690" y="232"/>
                    </a:lnTo>
                    <a:lnTo>
                      <a:pt x="690" y="233"/>
                    </a:lnTo>
                    <a:lnTo>
                      <a:pt x="690" y="235"/>
                    </a:lnTo>
                    <a:lnTo>
                      <a:pt x="692" y="237"/>
                    </a:lnTo>
                    <a:lnTo>
                      <a:pt x="692" y="238"/>
                    </a:lnTo>
                    <a:lnTo>
                      <a:pt x="690" y="238"/>
                    </a:lnTo>
                    <a:lnTo>
                      <a:pt x="690" y="240"/>
                    </a:lnTo>
                    <a:lnTo>
                      <a:pt x="689" y="240"/>
                    </a:lnTo>
                    <a:lnTo>
                      <a:pt x="689" y="241"/>
                    </a:lnTo>
                    <a:lnTo>
                      <a:pt x="687" y="241"/>
                    </a:lnTo>
                    <a:lnTo>
                      <a:pt x="687" y="243"/>
                    </a:lnTo>
                    <a:lnTo>
                      <a:pt x="687" y="244"/>
                    </a:lnTo>
                    <a:lnTo>
                      <a:pt x="689" y="244"/>
                    </a:lnTo>
                    <a:lnTo>
                      <a:pt x="689" y="246"/>
                    </a:lnTo>
                    <a:lnTo>
                      <a:pt x="689" y="248"/>
                    </a:lnTo>
                    <a:lnTo>
                      <a:pt x="689" y="249"/>
                    </a:lnTo>
                    <a:lnTo>
                      <a:pt x="689" y="251"/>
                    </a:lnTo>
                    <a:lnTo>
                      <a:pt x="689" y="252"/>
                    </a:lnTo>
                    <a:lnTo>
                      <a:pt x="689" y="254"/>
                    </a:lnTo>
                    <a:lnTo>
                      <a:pt x="689" y="256"/>
                    </a:lnTo>
                    <a:lnTo>
                      <a:pt x="689" y="257"/>
                    </a:lnTo>
                    <a:lnTo>
                      <a:pt x="689" y="259"/>
                    </a:lnTo>
                    <a:lnTo>
                      <a:pt x="689" y="260"/>
                    </a:lnTo>
                    <a:lnTo>
                      <a:pt x="689" y="262"/>
                    </a:lnTo>
                    <a:lnTo>
                      <a:pt x="689" y="263"/>
                    </a:lnTo>
                    <a:lnTo>
                      <a:pt x="687" y="263"/>
                    </a:lnTo>
                    <a:lnTo>
                      <a:pt x="687" y="265"/>
                    </a:lnTo>
                    <a:lnTo>
                      <a:pt x="689" y="263"/>
                    </a:lnTo>
                    <a:lnTo>
                      <a:pt x="690" y="263"/>
                    </a:lnTo>
                    <a:lnTo>
                      <a:pt x="690" y="262"/>
                    </a:lnTo>
                    <a:lnTo>
                      <a:pt x="692" y="262"/>
                    </a:lnTo>
                    <a:lnTo>
                      <a:pt x="693" y="262"/>
                    </a:lnTo>
                    <a:lnTo>
                      <a:pt x="693" y="263"/>
                    </a:lnTo>
                    <a:lnTo>
                      <a:pt x="693" y="265"/>
                    </a:lnTo>
                    <a:lnTo>
                      <a:pt x="695" y="265"/>
                    </a:lnTo>
                    <a:lnTo>
                      <a:pt x="697" y="265"/>
                    </a:lnTo>
                    <a:lnTo>
                      <a:pt x="697" y="267"/>
                    </a:lnTo>
                    <a:lnTo>
                      <a:pt x="698" y="267"/>
                    </a:lnTo>
                    <a:lnTo>
                      <a:pt x="698" y="268"/>
                    </a:lnTo>
                    <a:lnTo>
                      <a:pt x="700" y="268"/>
                    </a:lnTo>
                    <a:lnTo>
                      <a:pt x="701" y="268"/>
                    </a:lnTo>
                    <a:lnTo>
                      <a:pt x="703" y="268"/>
                    </a:lnTo>
                    <a:lnTo>
                      <a:pt x="704" y="268"/>
                    </a:lnTo>
                    <a:lnTo>
                      <a:pt x="704" y="267"/>
                    </a:lnTo>
                    <a:lnTo>
                      <a:pt x="706" y="267"/>
                    </a:lnTo>
                    <a:lnTo>
                      <a:pt x="708" y="267"/>
                    </a:lnTo>
                    <a:lnTo>
                      <a:pt x="709" y="267"/>
                    </a:lnTo>
                    <a:lnTo>
                      <a:pt x="711" y="267"/>
                    </a:lnTo>
                    <a:lnTo>
                      <a:pt x="711" y="268"/>
                    </a:lnTo>
                    <a:lnTo>
                      <a:pt x="711" y="267"/>
                    </a:lnTo>
                    <a:lnTo>
                      <a:pt x="712" y="267"/>
                    </a:lnTo>
                    <a:lnTo>
                      <a:pt x="712" y="268"/>
                    </a:lnTo>
                    <a:lnTo>
                      <a:pt x="714" y="268"/>
                    </a:lnTo>
                    <a:lnTo>
                      <a:pt x="714" y="270"/>
                    </a:lnTo>
                    <a:lnTo>
                      <a:pt x="714" y="271"/>
                    </a:lnTo>
                    <a:lnTo>
                      <a:pt x="714" y="273"/>
                    </a:lnTo>
                    <a:lnTo>
                      <a:pt x="716" y="275"/>
                    </a:lnTo>
                    <a:lnTo>
                      <a:pt x="717" y="276"/>
                    </a:lnTo>
                    <a:lnTo>
                      <a:pt x="719" y="276"/>
                    </a:lnTo>
                    <a:lnTo>
                      <a:pt x="719" y="275"/>
                    </a:lnTo>
                    <a:lnTo>
                      <a:pt x="720" y="276"/>
                    </a:lnTo>
                    <a:lnTo>
                      <a:pt x="720" y="278"/>
                    </a:lnTo>
                    <a:lnTo>
                      <a:pt x="720" y="279"/>
                    </a:lnTo>
                    <a:lnTo>
                      <a:pt x="719" y="278"/>
                    </a:lnTo>
                    <a:lnTo>
                      <a:pt x="717" y="278"/>
                    </a:lnTo>
                    <a:lnTo>
                      <a:pt x="716" y="278"/>
                    </a:lnTo>
                    <a:lnTo>
                      <a:pt x="716" y="279"/>
                    </a:lnTo>
                    <a:lnTo>
                      <a:pt x="716" y="281"/>
                    </a:lnTo>
                    <a:lnTo>
                      <a:pt x="714" y="281"/>
                    </a:lnTo>
                    <a:lnTo>
                      <a:pt x="712" y="281"/>
                    </a:lnTo>
                    <a:lnTo>
                      <a:pt x="711" y="281"/>
                    </a:lnTo>
                    <a:lnTo>
                      <a:pt x="711" y="279"/>
                    </a:lnTo>
                    <a:lnTo>
                      <a:pt x="709" y="279"/>
                    </a:lnTo>
                    <a:lnTo>
                      <a:pt x="708" y="279"/>
                    </a:lnTo>
                    <a:lnTo>
                      <a:pt x="708" y="278"/>
                    </a:lnTo>
                    <a:lnTo>
                      <a:pt x="708" y="276"/>
                    </a:lnTo>
                    <a:lnTo>
                      <a:pt x="708" y="275"/>
                    </a:lnTo>
                    <a:lnTo>
                      <a:pt x="706" y="275"/>
                    </a:lnTo>
                    <a:lnTo>
                      <a:pt x="704" y="275"/>
                    </a:lnTo>
                    <a:lnTo>
                      <a:pt x="704" y="276"/>
                    </a:lnTo>
                    <a:lnTo>
                      <a:pt x="703" y="276"/>
                    </a:lnTo>
                    <a:lnTo>
                      <a:pt x="703" y="278"/>
                    </a:lnTo>
                    <a:lnTo>
                      <a:pt x="701" y="278"/>
                    </a:lnTo>
                    <a:lnTo>
                      <a:pt x="701" y="279"/>
                    </a:lnTo>
                    <a:lnTo>
                      <a:pt x="701" y="281"/>
                    </a:lnTo>
                    <a:lnTo>
                      <a:pt x="700" y="281"/>
                    </a:lnTo>
                    <a:lnTo>
                      <a:pt x="700" y="282"/>
                    </a:lnTo>
                    <a:lnTo>
                      <a:pt x="698" y="282"/>
                    </a:lnTo>
                    <a:lnTo>
                      <a:pt x="698" y="284"/>
                    </a:lnTo>
                    <a:lnTo>
                      <a:pt x="697" y="284"/>
                    </a:lnTo>
                    <a:lnTo>
                      <a:pt x="697" y="286"/>
                    </a:lnTo>
                    <a:lnTo>
                      <a:pt x="695" y="286"/>
                    </a:lnTo>
                    <a:lnTo>
                      <a:pt x="695" y="287"/>
                    </a:lnTo>
                    <a:lnTo>
                      <a:pt x="695" y="289"/>
                    </a:lnTo>
                    <a:lnTo>
                      <a:pt x="693" y="289"/>
                    </a:lnTo>
                    <a:lnTo>
                      <a:pt x="692" y="289"/>
                    </a:lnTo>
                    <a:lnTo>
                      <a:pt x="690" y="290"/>
                    </a:lnTo>
                    <a:lnTo>
                      <a:pt x="689" y="292"/>
                    </a:lnTo>
                    <a:lnTo>
                      <a:pt x="687" y="292"/>
                    </a:lnTo>
                    <a:lnTo>
                      <a:pt x="685" y="292"/>
                    </a:lnTo>
                    <a:lnTo>
                      <a:pt x="684" y="292"/>
                    </a:lnTo>
                    <a:lnTo>
                      <a:pt x="682" y="292"/>
                    </a:lnTo>
                    <a:lnTo>
                      <a:pt x="682" y="294"/>
                    </a:lnTo>
                    <a:lnTo>
                      <a:pt x="681" y="294"/>
                    </a:lnTo>
                    <a:lnTo>
                      <a:pt x="681" y="295"/>
                    </a:lnTo>
                    <a:lnTo>
                      <a:pt x="679" y="297"/>
                    </a:lnTo>
                    <a:lnTo>
                      <a:pt x="679" y="298"/>
                    </a:lnTo>
                    <a:lnTo>
                      <a:pt x="678" y="298"/>
                    </a:lnTo>
                    <a:lnTo>
                      <a:pt x="678" y="300"/>
                    </a:lnTo>
                    <a:lnTo>
                      <a:pt x="678" y="301"/>
                    </a:lnTo>
                    <a:lnTo>
                      <a:pt x="676" y="301"/>
                    </a:lnTo>
                    <a:lnTo>
                      <a:pt x="676" y="303"/>
                    </a:lnTo>
                    <a:lnTo>
                      <a:pt x="676" y="305"/>
                    </a:lnTo>
                    <a:lnTo>
                      <a:pt x="674" y="305"/>
                    </a:lnTo>
                    <a:lnTo>
                      <a:pt x="674" y="306"/>
                    </a:lnTo>
                    <a:lnTo>
                      <a:pt x="674" y="308"/>
                    </a:lnTo>
                    <a:lnTo>
                      <a:pt x="674" y="309"/>
                    </a:lnTo>
                    <a:lnTo>
                      <a:pt x="673" y="309"/>
                    </a:lnTo>
                    <a:lnTo>
                      <a:pt x="673" y="311"/>
                    </a:lnTo>
                    <a:lnTo>
                      <a:pt x="671" y="311"/>
                    </a:lnTo>
                    <a:lnTo>
                      <a:pt x="671" y="313"/>
                    </a:lnTo>
                    <a:lnTo>
                      <a:pt x="671" y="314"/>
                    </a:lnTo>
                    <a:lnTo>
                      <a:pt x="670" y="314"/>
                    </a:lnTo>
                    <a:lnTo>
                      <a:pt x="670" y="316"/>
                    </a:lnTo>
                    <a:lnTo>
                      <a:pt x="668" y="316"/>
                    </a:lnTo>
                    <a:lnTo>
                      <a:pt x="666" y="317"/>
                    </a:lnTo>
                    <a:lnTo>
                      <a:pt x="665" y="317"/>
                    </a:lnTo>
                    <a:lnTo>
                      <a:pt x="665" y="319"/>
                    </a:lnTo>
                    <a:lnTo>
                      <a:pt x="663" y="319"/>
                    </a:lnTo>
                    <a:lnTo>
                      <a:pt x="663" y="320"/>
                    </a:lnTo>
                    <a:lnTo>
                      <a:pt x="662" y="322"/>
                    </a:lnTo>
                    <a:lnTo>
                      <a:pt x="660" y="322"/>
                    </a:lnTo>
                    <a:lnTo>
                      <a:pt x="660" y="324"/>
                    </a:lnTo>
                    <a:lnTo>
                      <a:pt x="659" y="324"/>
                    </a:lnTo>
                    <a:lnTo>
                      <a:pt x="657" y="325"/>
                    </a:lnTo>
                    <a:lnTo>
                      <a:pt x="655" y="327"/>
                    </a:lnTo>
                    <a:lnTo>
                      <a:pt x="654" y="327"/>
                    </a:lnTo>
                    <a:lnTo>
                      <a:pt x="654" y="328"/>
                    </a:lnTo>
                    <a:lnTo>
                      <a:pt x="655" y="328"/>
                    </a:lnTo>
                    <a:lnTo>
                      <a:pt x="655" y="330"/>
                    </a:lnTo>
                    <a:lnTo>
                      <a:pt x="655" y="332"/>
                    </a:lnTo>
                    <a:lnTo>
                      <a:pt x="654" y="332"/>
                    </a:lnTo>
                    <a:lnTo>
                      <a:pt x="654" y="333"/>
                    </a:lnTo>
                    <a:lnTo>
                      <a:pt x="654" y="335"/>
                    </a:lnTo>
                    <a:lnTo>
                      <a:pt x="652" y="335"/>
                    </a:lnTo>
                    <a:lnTo>
                      <a:pt x="652" y="336"/>
                    </a:lnTo>
                    <a:lnTo>
                      <a:pt x="651" y="336"/>
                    </a:lnTo>
                    <a:lnTo>
                      <a:pt x="649" y="338"/>
                    </a:lnTo>
                    <a:lnTo>
                      <a:pt x="649" y="339"/>
                    </a:lnTo>
                    <a:lnTo>
                      <a:pt x="651" y="339"/>
                    </a:lnTo>
                    <a:lnTo>
                      <a:pt x="649" y="341"/>
                    </a:lnTo>
                    <a:lnTo>
                      <a:pt x="647" y="341"/>
                    </a:lnTo>
                    <a:lnTo>
                      <a:pt x="647" y="343"/>
                    </a:lnTo>
                    <a:lnTo>
                      <a:pt x="646" y="343"/>
                    </a:lnTo>
                    <a:lnTo>
                      <a:pt x="646" y="344"/>
                    </a:lnTo>
                    <a:lnTo>
                      <a:pt x="644" y="346"/>
                    </a:lnTo>
                    <a:lnTo>
                      <a:pt x="644" y="347"/>
                    </a:lnTo>
                    <a:lnTo>
                      <a:pt x="643" y="347"/>
                    </a:lnTo>
                    <a:lnTo>
                      <a:pt x="643" y="349"/>
                    </a:lnTo>
                    <a:lnTo>
                      <a:pt x="643" y="351"/>
                    </a:lnTo>
                    <a:lnTo>
                      <a:pt x="644" y="352"/>
                    </a:lnTo>
                    <a:lnTo>
                      <a:pt x="644" y="354"/>
                    </a:lnTo>
                    <a:lnTo>
                      <a:pt x="643" y="354"/>
                    </a:lnTo>
                    <a:lnTo>
                      <a:pt x="643" y="355"/>
                    </a:lnTo>
                    <a:lnTo>
                      <a:pt x="643" y="357"/>
                    </a:lnTo>
                    <a:lnTo>
                      <a:pt x="643" y="359"/>
                    </a:lnTo>
                    <a:lnTo>
                      <a:pt x="643" y="360"/>
                    </a:lnTo>
                    <a:lnTo>
                      <a:pt x="641" y="360"/>
                    </a:lnTo>
                    <a:lnTo>
                      <a:pt x="640" y="360"/>
                    </a:lnTo>
                    <a:lnTo>
                      <a:pt x="640" y="362"/>
                    </a:lnTo>
                    <a:lnTo>
                      <a:pt x="640" y="363"/>
                    </a:lnTo>
                    <a:lnTo>
                      <a:pt x="640" y="365"/>
                    </a:lnTo>
                    <a:lnTo>
                      <a:pt x="638" y="365"/>
                    </a:lnTo>
                    <a:lnTo>
                      <a:pt x="636" y="365"/>
                    </a:lnTo>
                    <a:lnTo>
                      <a:pt x="635" y="365"/>
                    </a:lnTo>
                    <a:lnTo>
                      <a:pt x="635" y="366"/>
                    </a:lnTo>
                    <a:lnTo>
                      <a:pt x="635" y="368"/>
                    </a:lnTo>
                    <a:lnTo>
                      <a:pt x="635" y="370"/>
                    </a:lnTo>
                    <a:lnTo>
                      <a:pt x="636" y="370"/>
                    </a:lnTo>
                    <a:lnTo>
                      <a:pt x="636" y="371"/>
                    </a:lnTo>
                    <a:lnTo>
                      <a:pt x="636" y="373"/>
                    </a:lnTo>
                    <a:lnTo>
                      <a:pt x="636" y="374"/>
                    </a:lnTo>
                    <a:lnTo>
                      <a:pt x="636" y="376"/>
                    </a:lnTo>
                    <a:lnTo>
                      <a:pt x="636" y="378"/>
                    </a:lnTo>
                    <a:lnTo>
                      <a:pt x="636" y="379"/>
                    </a:lnTo>
                    <a:lnTo>
                      <a:pt x="636" y="381"/>
                    </a:lnTo>
                    <a:lnTo>
                      <a:pt x="635" y="381"/>
                    </a:lnTo>
                    <a:lnTo>
                      <a:pt x="635" y="382"/>
                    </a:lnTo>
                    <a:lnTo>
                      <a:pt x="636" y="382"/>
                    </a:lnTo>
                    <a:lnTo>
                      <a:pt x="636" y="384"/>
                    </a:lnTo>
                    <a:lnTo>
                      <a:pt x="638" y="382"/>
                    </a:lnTo>
                    <a:lnTo>
                      <a:pt x="640" y="382"/>
                    </a:lnTo>
                    <a:lnTo>
                      <a:pt x="641" y="382"/>
                    </a:lnTo>
                    <a:lnTo>
                      <a:pt x="643" y="382"/>
                    </a:lnTo>
                    <a:lnTo>
                      <a:pt x="644" y="382"/>
                    </a:lnTo>
                    <a:lnTo>
                      <a:pt x="643" y="382"/>
                    </a:lnTo>
                    <a:lnTo>
                      <a:pt x="643" y="381"/>
                    </a:lnTo>
                    <a:lnTo>
                      <a:pt x="644" y="381"/>
                    </a:lnTo>
                    <a:lnTo>
                      <a:pt x="644" y="379"/>
                    </a:lnTo>
                    <a:lnTo>
                      <a:pt x="646" y="379"/>
                    </a:lnTo>
                    <a:lnTo>
                      <a:pt x="646" y="378"/>
                    </a:lnTo>
                    <a:lnTo>
                      <a:pt x="647" y="378"/>
                    </a:lnTo>
                    <a:lnTo>
                      <a:pt x="647" y="376"/>
                    </a:lnTo>
                    <a:lnTo>
                      <a:pt x="649" y="376"/>
                    </a:lnTo>
                    <a:lnTo>
                      <a:pt x="649" y="374"/>
                    </a:lnTo>
                    <a:lnTo>
                      <a:pt x="651" y="373"/>
                    </a:lnTo>
                    <a:lnTo>
                      <a:pt x="651" y="371"/>
                    </a:lnTo>
                    <a:lnTo>
                      <a:pt x="652" y="371"/>
                    </a:lnTo>
                    <a:lnTo>
                      <a:pt x="652" y="370"/>
                    </a:lnTo>
                    <a:lnTo>
                      <a:pt x="654" y="370"/>
                    </a:lnTo>
                    <a:lnTo>
                      <a:pt x="655" y="370"/>
                    </a:lnTo>
                    <a:lnTo>
                      <a:pt x="657" y="370"/>
                    </a:lnTo>
                    <a:lnTo>
                      <a:pt x="659" y="370"/>
                    </a:lnTo>
                    <a:lnTo>
                      <a:pt x="660" y="370"/>
                    </a:lnTo>
                    <a:lnTo>
                      <a:pt x="662" y="370"/>
                    </a:lnTo>
                    <a:lnTo>
                      <a:pt x="663" y="370"/>
                    </a:lnTo>
                    <a:lnTo>
                      <a:pt x="663" y="371"/>
                    </a:lnTo>
                    <a:lnTo>
                      <a:pt x="662" y="371"/>
                    </a:lnTo>
                    <a:lnTo>
                      <a:pt x="662" y="373"/>
                    </a:lnTo>
                    <a:lnTo>
                      <a:pt x="662" y="374"/>
                    </a:lnTo>
                    <a:lnTo>
                      <a:pt x="662" y="376"/>
                    </a:lnTo>
                    <a:lnTo>
                      <a:pt x="662" y="378"/>
                    </a:lnTo>
                    <a:lnTo>
                      <a:pt x="660" y="378"/>
                    </a:lnTo>
                    <a:lnTo>
                      <a:pt x="660" y="379"/>
                    </a:lnTo>
                    <a:lnTo>
                      <a:pt x="660" y="381"/>
                    </a:lnTo>
                    <a:lnTo>
                      <a:pt x="659" y="381"/>
                    </a:lnTo>
                    <a:lnTo>
                      <a:pt x="659" y="382"/>
                    </a:lnTo>
                    <a:lnTo>
                      <a:pt x="657" y="382"/>
                    </a:lnTo>
                    <a:lnTo>
                      <a:pt x="657" y="384"/>
                    </a:lnTo>
                    <a:lnTo>
                      <a:pt x="655" y="384"/>
                    </a:lnTo>
                    <a:lnTo>
                      <a:pt x="655" y="385"/>
                    </a:lnTo>
                    <a:lnTo>
                      <a:pt x="654" y="385"/>
                    </a:lnTo>
                    <a:lnTo>
                      <a:pt x="652" y="385"/>
                    </a:lnTo>
                    <a:lnTo>
                      <a:pt x="651" y="385"/>
                    </a:lnTo>
                    <a:lnTo>
                      <a:pt x="651" y="387"/>
                    </a:lnTo>
                    <a:lnTo>
                      <a:pt x="649" y="387"/>
                    </a:lnTo>
                    <a:lnTo>
                      <a:pt x="649" y="389"/>
                    </a:lnTo>
                    <a:lnTo>
                      <a:pt x="649" y="390"/>
                    </a:lnTo>
                    <a:lnTo>
                      <a:pt x="647" y="390"/>
                    </a:lnTo>
                    <a:lnTo>
                      <a:pt x="647" y="392"/>
                    </a:lnTo>
                    <a:lnTo>
                      <a:pt x="646" y="393"/>
                    </a:lnTo>
                    <a:lnTo>
                      <a:pt x="644" y="395"/>
                    </a:lnTo>
                    <a:lnTo>
                      <a:pt x="644" y="397"/>
                    </a:lnTo>
                    <a:lnTo>
                      <a:pt x="644" y="398"/>
                    </a:lnTo>
                    <a:lnTo>
                      <a:pt x="646" y="398"/>
                    </a:lnTo>
                    <a:lnTo>
                      <a:pt x="646" y="400"/>
                    </a:lnTo>
                    <a:lnTo>
                      <a:pt x="646" y="401"/>
                    </a:lnTo>
                    <a:lnTo>
                      <a:pt x="644" y="401"/>
                    </a:lnTo>
                    <a:lnTo>
                      <a:pt x="643" y="401"/>
                    </a:lnTo>
                    <a:lnTo>
                      <a:pt x="643" y="403"/>
                    </a:lnTo>
                    <a:lnTo>
                      <a:pt x="644" y="403"/>
                    </a:lnTo>
                    <a:lnTo>
                      <a:pt x="644" y="404"/>
                    </a:lnTo>
                    <a:lnTo>
                      <a:pt x="646" y="404"/>
                    </a:lnTo>
                    <a:lnTo>
                      <a:pt x="646" y="406"/>
                    </a:lnTo>
                    <a:lnTo>
                      <a:pt x="647" y="406"/>
                    </a:lnTo>
                    <a:lnTo>
                      <a:pt x="647" y="408"/>
                    </a:lnTo>
                    <a:lnTo>
                      <a:pt x="646" y="409"/>
                    </a:lnTo>
                    <a:lnTo>
                      <a:pt x="644" y="411"/>
                    </a:lnTo>
                    <a:lnTo>
                      <a:pt x="643" y="411"/>
                    </a:lnTo>
                    <a:lnTo>
                      <a:pt x="641" y="412"/>
                    </a:lnTo>
                    <a:lnTo>
                      <a:pt x="641" y="414"/>
                    </a:lnTo>
                    <a:lnTo>
                      <a:pt x="641" y="416"/>
                    </a:lnTo>
                    <a:lnTo>
                      <a:pt x="641" y="417"/>
                    </a:lnTo>
                    <a:lnTo>
                      <a:pt x="643" y="417"/>
                    </a:lnTo>
                    <a:lnTo>
                      <a:pt x="643" y="419"/>
                    </a:lnTo>
                    <a:lnTo>
                      <a:pt x="641" y="419"/>
                    </a:lnTo>
                    <a:lnTo>
                      <a:pt x="640" y="419"/>
                    </a:lnTo>
                    <a:lnTo>
                      <a:pt x="638" y="419"/>
                    </a:lnTo>
                    <a:lnTo>
                      <a:pt x="636" y="419"/>
                    </a:lnTo>
                    <a:lnTo>
                      <a:pt x="636" y="420"/>
                    </a:lnTo>
                    <a:lnTo>
                      <a:pt x="635" y="420"/>
                    </a:lnTo>
                    <a:lnTo>
                      <a:pt x="635" y="422"/>
                    </a:lnTo>
                    <a:lnTo>
                      <a:pt x="635" y="423"/>
                    </a:lnTo>
                    <a:lnTo>
                      <a:pt x="635" y="425"/>
                    </a:lnTo>
                    <a:lnTo>
                      <a:pt x="636" y="425"/>
                    </a:lnTo>
                    <a:lnTo>
                      <a:pt x="638" y="425"/>
                    </a:lnTo>
                    <a:lnTo>
                      <a:pt x="638" y="427"/>
                    </a:lnTo>
                    <a:lnTo>
                      <a:pt x="640" y="428"/>
                    </a:lnTo>
                    <a:lnTo>
                      <a:pt x="640" y="430"/>
                    </a:lnTo>
                    <a:lnTo>
                      <a:pt x="641" y="430"/>
                    </a:lnTo>
                    <a:lnTo>
                      <a:pt x="641" y="431"/>
                    </a:lnTo>
                    <a:lnTo>
                      <a:pt x="641" y="433"/>
                    </a:lnTo>
                    <a:lnTo>
                      <a:pt x="641" y="435"/>
                    </a:lnTo>
                    <a:lnTo>
                      <a:pt x="641" y="436"/>
                    </a:lnTo>
                    <a:lnTo>
                      <a:pt x="640" y="436"/>
                    </a:lnTo>
                    <a:lnTo>
                      <a:pt x="640" y="438"/>
                    </a:lnTo>
                    <a:lnTo>
                      <a:pt x="640" y="439"/>
                    </a:lnTo>
                    <a:lnTo>
                      <a:pt x="641" y="439"/>
                    </a:lnTo>
                    <a:lnTo>
                      <a:pt x="641" y="438"/>
                    </a:lnTo>
                    <a:lnTo>
                      <a:pt x="643" y="438"/>
                    </a:lnTo>
                    <a:lnTo>
                      <a:pt x="643" y="439"/>
                    </a:lnTo>
                    <a:lnTo>
                      <a:pt x="643" y="441"/>
                    </a:lnTo>
                    <a:lnTo>
                      <a:pt x="643" y="442"/>
                    </a:lnTo>
                    <a:lnTo>
                      <a:pt x="644" y="442"/>
                    </a:lnTo>
                    <a:lnTo>
                      <a:pt x="644" y="444"/>
                    </a:lnTo>
                    <a:lnTo>
                      <a:pt x="644" y="446"/>
                    </a:lnTo>
                    <a:lnTo>
                      <a:pt x="646" y="446"/>
                    </a:lnTo>
                    <a:lnTo>
                      <a:pt x="646" y="447"/>
                    </a:lnTo>
                    <a:lnTo>
                      <a:pt x="647" y="447"/>
                    </a:lnTo>
                    <a:lnTo>
                      <a:pt x="649" y="447"/>
                    </a:lnTo>
                    <a:lnTo>
                      <a:pt x="651" y="447"/>
                    </a:lnTo>
                    <a:lnTo>
                      <a:pt x="652" y="447"/>
                    </a:lnTo>
                    <a:lnTo>
                      <a:pt x="654" y="447"/>
                    </a:lnTo>
                    <a:lnTo>
                      <a:pt x="655" y="446"/>
                    </a:lnTo>
                    <a:lnTo>
                      <a:pt x="657" y="446"/>
                    </a:lnTo>
                    <a:lnTo>
                      <a:pt x="659" y="446"/>
                    </a:lnTo>
                    <a:lnTo>
                      <a:pt x="657" y="447"/>
                    </a:lnTo>
                    <a:lnTo>
                      <a:pt x="659" y="447"/>
                    </a:lnTo>
                    <a:lnTo>
                      <a:pt x="659" y="449"/>
                    </a:lnTo>
                    <a:lnTo>
                      <a:pt x="659" y="450"/>
                    </a:lnTo>
                    <a:lnTo>
                      <a:pt x="659" y="452"/>
                    </a:lnTo>
                    <a:lnTo>
                      <a:pt x="660" y="452"/>
                    </a:lnTo>
                    <a:lnTo>
                      <a:pt x="660" y="454"/>
                    </a:lnTo>
                    <a:lnTo>
                      <a:pt x="662" y="454"/>
                    </a:lnTo>
                    <a:lnTo>
                      <a:pt x="663" y="455"/>
                    </a:lnTo>
                    <a:lnTo>
                      <a:pt x="663" y="457"/>
                    </a:lnTo>
                    <a:lnTo>
                      <a:pt x="663" y="458"/>
                    </a:lnTo>
                    <a:lnTo>
                      <a:pt x="665" y="458"/>
                    </a:lnTo>
                    <a:lnTo>
                      <a:pt x="665" y="460"/>
                    </a:lnTo>
                    <a:lnTo>
                      <a:pt x="665" y="461"/>
                    </a:lnTo>
                    <a:lnTo>
                      <a:pt x="666" y="461"/>
                    </a:lnTo>
                    <a:lnTo>
                      <a:pt x="666" y="463"/>
                    </a:lnTo>
                    <a:lnTo>
                      <a:pt x="668" y="463"/>
                    </a:lnTo>
                    <a:lnTo>
                      <a:pt x="668" y="465"/>
                    </a:lnTo>
                    <a:lnTo>
                      <a:pt x="670" y="465"/>
                    </a:lnTo>
                    <a:lnTo>
                      <a:pt x="670" y="466"/>
                    </a:lnTo>
                    <a:lnTo>
                      <a:pt x="671" y="466"/>
                    </a:lnTo>
                    <a:lnTo>
                      <a:pt x="671" y="468"/>
                    </a:lnTo>
                    <a:lnTo>
                      <a:pt x="673" y="468"/>
                    </a:lnTo>
                    <a:lnTo>
                      <a:pt x="674" y="468"/>
                    </a:lnTo>
                    <a:lnTo>
                      <a:pt x="676" y="468"/>
                    </a:lnTo>
                    <a:lnTo>
                      <a:pt x="678" y="466"/>
                    </a:lnTo>
                    <a:lnTo>
                      <a:pt x="678" y="468"/>
                    </a:lnTo>
                    <a:lnTo>
                      <a:pt x="679" y="468"/>
                    </a:lnTo>
                    <a:lnTo>
                      <a:pt x="681" y="468"/>
                    </a:lnTo>
                    <a:lnTo>
                      <a:pt x="682" y="468"/>
                    </a:lnTo>
                    <a:lnTo>
                      <a:pt x="682" y="466"/>
                    </a:lnTo>
                    <a:lnTo>
                      <a:pt x="684" y="466"/>
                    </a:lnTo>
                    <a:lnTo>
                      <a:pt x="684" y="465"/>
                    </a:lnTo>
                    <a:lnTo>
                      <a:pt x="684" y="463"/>
                    </a:lnTo>
                    <a:lnTo>
                      <a:pt x="685" y="463"/>
                    </a:lnTo>
                    <a:lnTo>
                      <a:pt x="685" y="461"/>
                    </a:lnTo>
                    <a:lnTo>
                      <a:pt x="685" y="460"/>
                    </a:lnTo>
                    <a:lnTo>
                      <a:pt x="687" y="460"/>
                    </a:lnTo>
                    <a:lnTo>
                      <a:pt x="689" y="460"/>
                    </a:lnTo>
                    <a:lnTo>
                      <a:pt x="690" y="460"/>
                    </a:lnTo>
                    <a:lnTo>
                      <a:pt x="692" y="460"/>
                    </a:lnTo>
                    <a:lnTo>
                      <a:pt x="692" y="458"/>
                    </a:lnTo>
                    <a:lnTo>
                      <a:pt x="693" y="458"/>
                    </a:lnTo>
                    <a:lnTo>
                      <a:pt x="695" y="458"/>
                    </a:lnTo>
                    <a:lnTo>
                      <a:pt x="695" y="460"/>
                    </a:lnTo>
                    <a:lnTo>
                      <a:pt x="697" y="460"/>
                    </a:lnTo>
                    <a:lnTo>
                      <a:pt x="698" y="460"/>
                    </a:lnTo>
                    <a:lnTo>
                      <a:pt x="700" y="460"/>
                    </a:lnTo>
                    <a:lnTo>
                      <a:pt x="701" y="460"/>
                    </a:lnTo>
                    <a:lnTo>
                      <a:pt x="703" y="460"/>
                    </a:lnTo>
                    <a:lnTo>
                      <a:pt x="704" y="460"/>
                    </a:lnTo>
                    <a:lnTo>
                      <a:pt x="706" y="458"/>
                    </a:lnTo>
                    <a:lnTo>
                      <a:pt x="708" y="458"/>
                    </a:lnTo>
                    <a:lnTo>
                      <a:pt x="708" y="460"/>
                    </a:lnTo>
                    <a:lnTo>
                      <a:pt x="708" y="461"/>
                    </a:lnTo>
                    <a:lnTo>
                      <a:pt x="709" y="461"/>
                    </a:lnTo>
                    <a:lnTo>
                      <a:pt x="709" y="463"/>
                    </a:lnTo>
                    <a:lnTo>
                      <a:pt x="711" y="463"/>
                    </a:lnTo>
                    <a:lnTo>
                      <a:pt x="711" y="465"/>
                    </a:lnTo>
                    <a:lnTo>
                      <a:pt x="711" y="466"/>
                    </a:lnTo>
                    <a:lnTo>
                      <a:pt x="712" y="466"/>
                    </a:lnTo>
                    <a:lnTo>
                      <a:pt x="712" y="468"/>
                    </a:lnTo>
                    <a:lnTo>
                      <a:pt x="711" y="468"/>
                    </a:lnTo>
                    <a:lnTo>
                      <a:pt x="711" y="469"/>
                    </a:lnTo>
                    <a:lnTo>
                      <a:pt x="709" y="471"/>
                    </a:lnTo>
                    <a:lnTo>
                      <a:pt x="709" y="473"/>
                    </a:lnTo>
                    <a:lnTo>
                      <a:pt x="708" y="473"/>
                    </a:lnTo>
                    <a:lnTo>
                      <a:pt x="708" y="474"/>
                    </a:lnTo>
                    <a:lnTo>
                      <a:pt x="708" y="476"/>
                    </a:lnTo>
                    <a:lnTo>
                      <a:pt x="706" y="476"/>
                    </a:lnTo>
                    <a:lnTo>
                      <a:pt x="706" y="477"/>
                    </a:lnTo>
                    <a:lnTo>
                      <a:pt x="706" y="479"/>
                    </a:lnTo>
                    <a:lnTo>
                      <a:pt x="704" y="481"/>
                    </a:lnTo>
                    <a:lnTo>
                      <a:pt x="704" y="482"/>
                    </a:lnTo>
                    <a:lnTo>
                      <a:pt x="704" y="484"/>
                    </a:lnTo>
                    <a:lnTo>
                      <a:pt x="704" y="485"/>
                    </a:lnTo>
                    <a:lnTo>
                      <a:pt x="706" y="485"/>
                    </a:lnTo>
                    <a:lnTo>
                      <a:pt x="706" y="487"/>
                    </a:lnTo>
                    <a:lnTo>
                      <a:pt x="708" y="487"/>
                    </a:lnTo>
                    <a:lnTo>
                      <a:pt x="708" y="488"/>
                    </a:lnTo>
                    <a:lnTo>
                      <a:pt x="708" y="490"/>
                    </a:lnTo>
                    <a:lnTo>
                      <a:pt x="708" y="492"/>
                    </a:lnTo>
                    <a:lnTo>
                      <a:pt x="709" y="492"/>
                    </a:lnTo>
                    <a:lnTo>
                      <a:pt x="709" y="493"/>
                    </a:lnTo>
                    <a:lnTo>
                      <a:pt x="711" y="493"/>
                    </a:lnTo>
                    <a:lnTo>
                      <a:pt x="711" y="495"/>
                    </a:lnTo>
                    <a:lnTo>
                      <a:pt x="712" y="495"/>
                    </a:lnTo>
                    <a:lnTo>
                      <a:pt x="714" y="495"/>
                    </a:lnTo>
                    <a:lnTo>
                      <a:pt x="716" y="495"/>
                    </a:lnTo>
                    <a:lnTo>
                      <a:pt x="717" y="495"/>
                    </a:lnTo>
                    <a:lnTo>
                      <a:pt x="719" y="495"/>
                    </a:lnTo>
                    <a:lnTo>
                      <a:pt x="719" y="493"/>
                    </a:lnTo>
                    <a:lnTo>
                      <a:pt x="720" y="493"/>
                    </a:lnTo>
                    <a:lnTo>
                      <a:pt x="722" y="493"/>
                    </a:lnTo>
                    <a:lnTo>
                      <a:pt x="722" y="492"/>
                    </a:lnTo>
                    <a:lnTo>
                      <a:pt x="723" y="492"/>
                    </a:lnTo>
                    <a:lnTo>
                      <a:pt x="725" y="492"/>
                    </a:lnTo>
                    <a:lnTo>
                      <a:pt x="725" y="493"/>
                    </a:lnTo>
                    <a:lnTo>
                      <a:pt x="727" y="493"/>
                    </a:lnTo>
                    <a:lnTo>
                      <a:pt x="728" y="493"/>
                    </a:lnTo>
                    <a:lnTo>
                      <a:pt x="730" y="493"/>
                    </a:lnTo>
                    <a:lnTo>
                      <a:pt x="730" y="495"/>
                    </a:lnTo>
                    <a:lnTo>
                      <a:pt x="731" y="495"/>
                    </a:lnTo>
                    <a:lnTo>
                      <a:pt x="731" y="496"/>
                    </a:lnTo>
                    <a:lnTo>
                      <a:pt x="733" y="496"/>
                    </a:lnTo>
                    <a:lnTo>
                      <a:pt x="735" y="498"/>
                    </a:lnTo>
                    <a:lnTo>
                      <a:pt x="736" y="498"/>
                    </a:lnTo>
                    <a:lnTo>
                      <a:pt x="738" y="498"/>
                    </a:lnTo>
                    <a:lnTo>
                      <a:pt x="738" y="500"/>
                    </a:lnTo>
                    <a:lnTo>
                      <a:pt x="739" y="500"/>
                    </a:lnTo>
                    <a:lnTo>
                      <a:pt x="739" y="501"/>
                    </a:lnTo>
                    <a:lnTo>
                      <a:pt x="741" y="503"/>
                    </a:lnTo>
                    <a:lnTo>
                      <a:pt x="743" y="503"/>
                    </a:lnTo>
                    <a:lnTo>
                      <a:pt x="743" y="504"/>
                    </a:lnTo>
                    <a:lnTo>
                      <a:pt x="743" y="506"/>
                    </a:lnTo>
                    <a:lnTo>
                      <a:pt x="744" y="506"/>
                    </a:lnTo>
                    <a:lnTo>
                      <a:pt x="744" y="507"/>
                    </a:lnTo>
                    <a:lnTo>
                      <a:pt x="746" y="507"/>
                    </a:lnTo>
                    <a:lnTo>
                      <a:pt x="746" y="509"/>
                    </a:lnTo>
                    <a:lnTo>
                      <a:pt x="747" y="509"/>
                    </a:lnTo>
                    <a:lnTo>
                      <a:pt x="749" y="507"/>
                    </a:lnTo>
                    <a:lnTo>
                      <a:pt x="750" y="507"/>
                    </a:lnTo>
                    <a:lnTo>
                      <a:pt x="752" y="507"/>
                    </a:lnTo>
                    <a:lnTo>
                      <a:pt x="752" y="506"/>
                    </a:lnTo>
                    <a:lnTo>
                      <a:pt x="752" y="504"/>
                    </a:lnTo>
                    <a:lnTo>
                      <a:pt x="752" y="503"/>
                    </a:lnTo>
                    <a:lnTo>
                      <a:pt x="750" y="503"/>
                    </a:lnTo>
                    <a:lnTo>
                      <a:pt x="750" y="501"/>
                    </a:lnTo>
                    <a:lnTo>
                      <a:pt x="752" y="501"/>
                    </a:lnTo>
                    <a:lnTo>
                      <a:pt x="752" y="500"/>
                    </a:lnTo>
                    <a:lnTo>
                      <a:pt x="754" y="500"/>
                    </a:lnTo>
                    <a:lnTo>
                      <a:pt x="754" y="498"/>
                    </a:lnTo>
                    <a:lnTo>
                      <a:pt x="754" y="496"/>
                    </a:lnTo>
                    <a:lnTo>
                      <a:pt x="754" y="495"/>
                    </a:lnTo>
                    <a:lnTo>
                      <a:pt x="755" y="495"/>
                    </a:lnTo>
                    <a:lnTo>
                      <a:pt x="757" y="495"/>
                    </a:lnTo>
                    <a:lnTo>
                      <a:pt x="758" y="495"/>
                    </a:lnTo>
                    <a:lnTo>
                      <a:pt x="760" y="495"/>
                    </a:lnTo>
                    <a:lnTo>
                      <a:pt x="762" y="495"/>
                    </a:lnTo>
                    <a:lnTo>
                      <a:pt x="763" y="495"/>
                    </a:lnTo>
                    <a:lnTo>
                      <a:pt x="765" y="495"/>
                    </a:lnTo>
                    <a:lnTo>
                      <a:pt x="766" y="495"/>
                    </a:lnTo>
                    <a:lnTo>
                      <a:pt x="768" y="495"/>
                    </a:lnTo>
                    <a:lnTo>
                      <a:pt x="769" y="495"/>
                    </a:lnTo>
                    <a:lnTo>
                      <a:pt x="771" y="495"/>
                    </a:lnTo>
                    <a:lnTo>
                      <a:pt x="771" y="493"/>
                    </a:lnTo>
                    <a:lnTo>
                      <a:pt x="773" y="493"/>
                    </a:lnTo>
                    <a:lnTo>
                      <a:pt x="774" y="493"/>
                    </a:lnTo>
                    <a:lnTo>
                      <a:pt x="776" y="493"/>
                    </a:lnTo>
                    <a:lnTo>
                      <a:pt x="776" y="495"/>
                    </a:lnTo>
                    <a:lnTo>
                      <a:pt x="777" y="495"/>
                    </a:lnTo>
                    <a:lnTo>
                      <a:pt x="777" y="496"/>
                    </a:lnTo>
                    <a:lnTo>
                      <a:pt x="777" y="498"/>
                    </a:lnTo>
                    <a:lnTo>
                      <a:pt x="779" y="498"/>
                    </a:lnTo>
                    <a:lnTo>
                      <a:pt x="779" y="500"/>
                    </a:lnTo>
                    <a:lnTo>
                      <a:pt x="781" y="500"/>
                    </a:lnTo>
                    <a:lnTo>
                      <a:pt x="782" y="500"/>
                    </a:lnTo>
                    <a:lnTo>
                      <a:pt x="784" y="500"/>
                    </a:lnTo>
                    <a:lnTo>
                      <a:pt x="785" y="501"/>
                    </a:lnTo>
                    <a:lnTo>
                      <a:pt x="787" y="501"/>
                    </a:lnTo>
                    <a:lnTo>
                      <a:pt x="787" y="503"/>
                    </a:lnTo>
                    <a:lnTo>
                      <a:pt x="788" y="503"/>
                    </a:lnTo>
                    <a:lnTo>
                      <a:pt x="788" y="501"/>
                    </a:lnTo>
                    <a:lnTo>
                      <a:pt x="790" y="501"/>
                    </a:lnTo>
                    <a:lnTo>
                      <a:pt x="790" y="500"/>
                    </a:lnTo>
                    <a:lnTo>
                      <a:pt x="792" y="500"/>
                    </a:lnTo>
                    <a:lnTo>
                      <a:pt x="793" y="500"/>
                    </a:lnTo>
                    <a:lnTo>
                      <a:pt x="795" y="500"/>
                    </a:lnTo>
                    <a:lnTo>
                      <a:pt x="796" y="500"/>
                    </a:lnTo>
                    <a:lnTo>
                      <a:pt x="796" y="501"/>
                    </a:lnTo>
                    <a:lnTo>
                      <a:pt x="798" y="501"/>
                    </a:lnTo>
                    <a:lnTo>
                      <a:pt x="800" y="501"/>
                    </a:lnTo>
                    <a:lnTo>
                      <a:pt x="801" y="501"/>
                    </a:lnTo>
                    <a:lnTo>
                      <a:pt x="801" y="500"/>
                    </a:lnTo>
                    <a:lnTo>
                      <a:pt x="803" y="501"/>
                    </a:lnTo>
                    <a:lnTo>
                      <a:pt x="804" y="501"/>
                    </a:lnTo>
                    <a:lnTo>
                      <a:pt x="806" y="501"/>
                    </a:lnTo>
                    <a:lnTo>
                      <a:pt x="807" y="501"/>
                    </a:lnTo>
                    <a:lnTo>
                      <a:pt x="807" y="503"/>
                    </a:lnTo>
                    <a:lnTo>
                      <a:pt x="809" y="503"/>
                    </a:lnTo>
                    <a:lnTo>
                      <a:pt x="809" y="504"/>
                    </a:lnTo>
                    <a:lnTo>
                      <a:pt x="809" y="506"/>
                    </a:lnTo>
                    <a:lnTo>
                      <a:pt x="811" y="506"/>
                    </a:lnTo>
                    <a:lnTo>
                      <a:pt x="811" y="507"/>
                    </a:lnTo>
                    <a:lnTo>
                      <a:pt x="812" y="507"/>
                    </a:lnTo>
                    <a:lnTo>
                      <a:pt x="812" y="509"/>
                    </a:lnTo>
                    <a:lnTo>
                      <a:pt x="814" y="509"/>
                    </a:lnTo>
                    <a:lnTo>
                      <a:pt x="815" y="509"/>
                    </a:lnTo>
                    <a:lnTo>
                      <a:pt x="817" y="509"/>
                    </a:lnTo>
                    <a:lnTo>
                      <a:pt x="819" y="509"/>
                    </a:lnTo>
                    <a:lnTo>
                      <a:pt x="820" y="509"/>
                    </a:lnTo>
                    <a:lnTo>
                      <a:pt x="820" y="507"/>
                    </a:lnTo>
                    <a:lnTo>
                      <a:pt x="822" y="507"/>
                    </a:lnTo>
                    <a:lnTo>
                      <a:pt x="822" y="509"/>
                    </a:lnTo>
                    <a:lnTo>
                      <a:pt x="823" y="509"/>
                    </a:lnTo>
                    <a:lnTo>
                      <a:pt x="825" y="509"/>
                    </a:lnTo>
                    <a:lnTo>
                      <a:pt x="826" y="509"/>
                    </a:lnTo>
                    <a:lnTo>
                      <a:pt x="828" y="509"/>
                    </a:lnTo>
                    <a:lnTo>
                      <a:pt x="830" y="509"/>
                    </a:lnTo>
                    <a:lnTo>
                      <a:pt x="831" y="509"/>
                    </a:lnTo>
                    <a:lnTo>
                      <a:pt x="833" y="509"/>
                    </a:lnTo>
                    <a:lnTo>
                      <a:pt x="834" y="509"/>
                    </a:lnTo>
                    <a:lnTo>
                      <a:pt x="836" y="509"/>
                    </a:lnTo>
                    <a:lnTo>
                      <a:pt x="836" y="507"/>
                    </a:lnTo>
                    <a:lnTo>
                      <a:pt x="838" y="507"/>
                    </a:lnTo>
                    <a:lnTo>
                      <a:pt x="839" y="509"/>
                    </a:lnTo>
                    <a:lnTo>
                      <a:pt x="841" y="509"/>
                    </a:lnTo>
                    <a:lnTo>
                      <a:pt x="841" y="511"/>
                    </a:lnTo>
                    <a:lnTo>
                      <a:pt x="842" y="511"/>
                    </a:lnTo>
                    <a:lnTo>
                      <a:pt x="844" y="511"/>
                    </a:lnTo>
                    <a:lnTo>
                      <a:pt x="844" y="512"/>
                    </a:lnTo>
                    <a:lnTo>
                      <a:pt x="844" y="514"/>
                    </a:lnTo>
                    <a:lnTo>
                      <a:pt x="845" y="514"/>
                    </a:lnTo>
                    <a:lnTo>
                      <a:pt x="845" y="515"/>
                    </a:lnTo>
                    <a:lnTo>
                      <a:pt x="847" y="515"/>
                    </a:lnTo>
                    <a:lnTo>
                      <a:pt x="847" y="517"/>
                    </a:lnTo>
                    <a:lnTo>
                      <a:pt x="849" y="517"/>
                    </a:lnTo>
                    <a:lnTo>
                      <a:pt x="850" y="517"/>
                    </a:lnTo>
                    <a:lnTo>
                      <a:pt x="852" y="517"/>
                    </a:lnTo>
                    <a:lnTo>
                      <a:pt x="853" y="517"/>
                    </a:lnTo>
                    <a:lnTo>
                      <a:pt x="853" y="519"/>
                    </a:lnTo>
                    <a:lnTo>
                      <a:pt x="855" y="519"/>
                    </a:lnTo>
                    <a:lnTo>
                      <a:pt x="853" y="519"/>
                    </a:lnTo>
                    <a:lnTo>
                      <a:pt x="853" y="520"/>
                    </a:lnTo>
                    <a:lnTo>
                      <a:pt x="853" y="522"/>
                    </a:lnTo>
                    <a:lnTo>
                      <a:pt x="853" y="523"/>
                    </a:lnTo>
                    <a:lnTo>
                      <a:pt x="852" y="525"/>
                    </a:lnTo>
                    <a:lnTo>
                      <a:pt x="850" y="525"/>
                    </a:lnTo>
                    <a:lnTo>
                      <a:pt x="850" y="526"/>
                    </a:lnTo>
                    <a:lnTo>
                      <a:pt x="849" y="526"/>
                    </a:lnTo>
                    <a:lnTo>
                      <a:pt x="849" y="528"/>
                    </a:lnTo>
                    <a:lnTo>
                      <a:pt x="850" y="528"/>
                    </a:lnTo>
                    <a:lnTo>
                      <a:pt x="850" y="530"/>
                    </a:lnTo>
                    <a:lnTo>
                      <a:pt x="850" y="531"/>
                    </a:lnTo>
                    <a:lnTo>
                      <a:pt x="850" y="530"/>
                    </a:lnTo>
                    <a:lnTo>
                      <a:pt x="849" y="530"/>
                    </a:lnTo>
                    <a:lnTo>
                      <a:pt x="849" y="531"/>
                    </a:lnTo>
                    <a:lnTo>
                      <a:pt x="849" y="533"/>
                    </a:lnTo>
                    <a:lnTo>
                      <a:pt x="849" y="534"/>
                    </a:lnTo>
                    <a:lnTo>
                      <a:pt x="847" y="534"/>
                    </a:lnTo>
                    <a:lnTo>
                      <a:pt x="847" y="536"/>
                    </a:lnTo>
                    <a:lnTo>
                      <a:pt x="847" y="538"/>
                    </a:lnTo>
                    <a:lnTo>
                      <a:pt x="845" y="538"/>
                    </a:lnTo>
                    <a:lnTo>
                      <a:pt x="844" y="538"/>
                    </a:lnTo>
                    <a:lnTo>
                      <a:pt x="844" y="539"/>
                    </a:lnTo>
                    <a:lnTo>
                      <a:pt x="842" y="539"/>
                    </a:lnTo>
                    <a:lnTo>
                      <a:pt x="842" y="541"/>
                    </a:lnTo>
                    <a:lnTo>
                      <a:pt x="842" y="542"/>
                    </a:lnTo>
                    <a:lnTo>
                      <a:pt x="841" y="542"/>
                    </a:lnTo>
                    <a:lnTo>
                      <a:pt x="841" y="541"/>
                    </a:lnTo>
                    <a:lnTo>
                      <a:pt x="841" y="542"/>
                    </a:lnTo>
                    <a:lnTo>
                      <a:pt x="839" y="542"/>
                    </a:lnTo>
                    <a:lnTo>
                      <a:pt x="839" y="544"/>
                    </a:lnTo>
                    <a:lnTo>
                      <a:pt x="838" y="544"/>
                    </a:lnTo>
                    <a:lnTo>
                      <a:pt x="838" y="542"/>
                    </a:lnTo>
                    <a:lnTo>
                      <a:pt x="838" y="541"/>
                    </a:lnTo>
                    <a:lnTo>
                      <a:pt x="838" y="539"/>
                    </a:lnTo>
                    <a:lnTo>
                      <a:pt x="838" y="538"/>
                    </a:lnTo>
                    <a:lnTo>
                      <a:pt x="836" y="538"/>
                    </a:lnTo>
                    <a:lnTo>
                      <a:pt x="836" y="536"/>
                    </a:lnTo>
                    <a:lnTo>
                      <a:pt x="836" y="534"/>
                    </a:lnTo>
                    <a:lnTo>
                      <a:pt x="836" y="533"/>
                    </a:lnTo>
                    <a:lnTo>
                      <a:pt x="834" y="533"/>
                    </a:lnTo>
                    <a:lnTo>
                      <a:pt x="836" y="533"/>
                    </a:lnTo>
                    <a:lnTo>
                      <a:pt x="836" y="531"/>
                    </a:lnTo>
                    <a:lnTo>
                      <a:pt x="834" y="531"/>
                    </a:lnTo>
                    <a:lnTo>
                      <a:pt x="833" y="531"/>
                    </a:lnTo>
                    <a:lnTo>
                      <a:pt x="831" y="531"/>
                    </a:lnTo>
                    <a:lnTo>
                      <a:pt x="830" y="531"/>
                    </a:lnTo>
                    <a:lnTo>
                      <a:pt x="830" y="533"/>
                    </a:lnTo>
                    <a:lnTo>
                      <a:pt x="828" y="533"/>
                    </a:lnTo>
                    <a:lnTo>
                      <a:pt x="826" y="533"/>
                    </a:lnTo>
                    <a:lnTo>
                      <a:pt x="826" y="534"/>
                    </a:lnTo>
                    <a:lnTo>
                      <a:pt x="825" y="534"/>
                    </a:lnTo>
                    <a:lnTo>
                      <a:pt x="825" y="536"/>
                    </a:lnTo>
                    <a:lnTo>
                      <a:pt x="825" y="538"/>
                    </a:lnTo>
                    <a:lnTo>
                      <a:pt x="823" y="538"/>
                    </a:lnTo>
                    <a:lnTo>
                      <a:pt x="823" y="539"/>
                    </a:lnTo>
                    <a:lnTo>
                      <a:pt x="822" y="539"/>
                    </a:lnTo>
                    <a:lnTo>
                      <a:pt x="823" y="539"/>
                    </a:lnTo>
                    <a:lnTo>
                      <a:pt x="822" y="538"/>
                    </a:lnTo>
                    <a:lnTo>
                      <a:pt x="822" y="536"/>
                    </a:lnTo>
                    <a:lnTo>
                      <a:pt x="822" y="534"/>
                    </a:lnTo>
                    <a:lnTo>
                      <a:pt x="820" y="534"/>
                    </a:lnTo>
                    <a:lnTo>
                      <a:pt x="820" y="536"/>
                    </a:lnTo>
                    <a:lnTo>
                      <a:pt x="819" y="536"/>
                    </a:lnTo>
                    <a:lnTo>
                      <a:pt x="819" y="538"/>
                    </a:lnTo>
                    <a:lnTo>
                      <a:pt x="817" y="538"/>
                    </a:lnTo>
                    <a:lnTo>
                      <a:pt x="817" y="539"/>
                    </a:lnTo>
                    <a:lnTo>
                      <a:pt x="815" y="539"/>
                    </a:lnTo>
                    <a:lnTo>
                      <a:pt x="814" y="539"/>
                    </a:lnTo>
                    <a:lnTo>
                      <a:pt x="812" y="539"/>
                    </a:lnTo>
                    <a:lnTo>
                      <a:pt x="811" y="541"/>
                    </a:lnTo>
                    <a:lnTo>
                      <a:pt x="811" y="539"/>
                    </a:lnTo>
                    <a:lnTo>
                      <a:pt x="809" y="539"/>
                    </a:lnTo>
                    <a:lnTo>
                      <a:pt x="809" y="541"/>
                    </a:lnTo>
                    <a:lnTo>
                      <a:pt x="807" y="541"/>
                    </a:lnTo>
                    <a:lnTo>
                      <a:pt x="806" y="541"/>
                    </a:lnTo>
                    <a:lnTo>
                      <a:pt x="806" y="539"/>
                    </a:lnTo>
                    <a:lnTo>
                      <a:pt x="804" y="539"/>
                    </a:lnTo>
                    <a:lnTo>
                      <a:pt x="803" y="539"/>
                    </a:lnTo>
                    <a:lnTo>
                      <a:pt x="803" y="538"/>
                    </a:lnTo>
                    <a:lnTo>
                      <a:pt x="803" y="536"/>
                    </a:lnTo>
                    <a:lnTo>
                      <a:pt x="803" y="534"/>
                    </a:lnTo>
                    <a:lnTo>
                      <a:pt x="804" y="534"/>
                    </a:lnTo>
                    <a:lnTo>
                      <a:pt x="804" y="533"/>
                    </a:lnTo>
                    <a:lnTo>
                      <a:pt x="804" y="531"/>
                    </a:lnTo>
                    <a:lnTo>
                      <a:pt x="804" y="530"/>
                    </a:lnTo>
                    <a:lnTo>
                      <a:pt x="804" y="528"/>
                    </a:lnTo>
                    <a:lnTo>
                      <a:pt x="803" y="526"/>
                    </a:lnTo>
                    <a:lnTo>
                      <a:pt x="801" y="526"/>
                    </a:lnTo>
                    <a:lnTo>
                      <a:pt x="800" y="526"/>
                    </a:lnTo>
                    <a:lnTo>
                      <a:pt x="798" y="525"/>
                    </a:lnTo>
                    <a:lnTo>
                      <a:pt x="796" y="525"/>
                    </a:lnTo>
                    <a:lnTo>
                      <a:pt x="796" y="523"/>
                    </a:lnTo>
                    <a:lnTo>
                      <a:pt x="795" y="523"/>
                    </a:lnTo>
                    <a:lnTo>
                      <a:pt x="793" y="523"/>
                    </a:lnTo>
                    <a:lnTo>
                      <a:pt x="793" y="522"/>
                    </a:lnTo>
                    <a:lnTo>
                      <a:pt x="792" y="522"/>
                    </a:lnTo>
                    <a:lnTo>
                      <a:pt x="790" y="522"/>
                    </a:lnTo>
                    <a:lnTo>
                      <a:pt x="790" y="520"/>
                    </a:lnTo>
                    <a:lnTo>
                      <a:pt x="788" y="520"/>
                    </a:lnTo>
                    <a:lnTo>
                      <a:pt x="787" y="520"/>
                    </a:lnTo>
                    <a:lnTo>
                      <a:pt x="787" y="519"/>
                    </a:lnTo>
                    <a:lnTo>
                      <a:pt x="785" y="519"/>
                    </a:lnTo>
                    <a:lnTo>
                      <a:pt x="784" y="519"/>
                    </a:lnTo>
                    <a:lnTo>
                      <a:pt x="782" y="517"/>
                    </a:lnTo>
                    <a:lnTo>
                      <a:pt x="781" y="517"/>
                    </a:lnTo>
                    <a:lnTo>
                      <a:pt x="781" y="515"/>
                    </a:lnTo>
                    <a:lnTo>
                      <a:pt x="779" y="515"/>
                    </a:lnTo>
                    <a:lnTo>
                      <a:pt x="777" y="514"/>
                    </a:lnTo>
                    <a:lnTo>
                      <a:pt x="776" y="514"/>
                    </a:lnTo>
                    <a:lnTo>
                      <a:pt x="776" y="512"/>
                    </a:lnTo>
                    <a:lnTo>
                      <a:pt x="774" y="512"/>
                    </a:lnTo>
                    <a:lnTo>
                      <a:pt x="774" y="511"/>
                    </a:lnTo>
                    <a:lnTo>
                      <a:pt x="773" y="511"/>
                    </a:lnTo>
                    <a:lnTo>
                      <a:pt x="773" y="509"/>
                    </a:lnTo>
                    <a:lnTo>
                      <a:pt x="771" y="509"/>
                    </a:lnTo>
                    <a:lnTo>
                      <a:pt x="769" y="509"/>
                    </a:lnTo>
                    <a:lnTo>
                      <a:pt x="768" y="509"/>
                    </a:lnTo>
                    <a:lnTo>
                      <a:pt x="766" y="509"/>
                    </a:lnTo>
                    <a:lnTo>
                      <a:pt x="765" y="509"/>
                    </a:lnTo>
                    <a:lnTo>
                      <a:pt x="763" y="509"/>
                    </a:lnTo>
                    <a:lnTo>
                      <a:pt x="763" y="511"/>
                    </a:lnTo>
                    <a:lnTo>
                      <a:pt x="762" y="511"/>
                    </a:lnTo>
                    <a:lnTo>
                      <a:pt x="760" y="511"/>
                    </a:lnTo>
                    <a:lnTo>
                      <a:pt x="760" y="512"/>
                    </a:lnTo>
                    <a:lnTo>
                      <a:pt x="758" y="512"/>
                    </a:lnTo>
                    <a:lnTo>
                      <a:pt x="758" y="514"/>
                    </a:lnTo>
                    <a:lnTo>
                      <a:pt x="760" y="515"/>
                    </a:lnTo>
                    <a:lnTo>
                      <a:pt x="758" y="515"/>
                    </a:lnTo>
                    <a:lnTo>
                      <a:pt x="757" y="515"/>
                    </a:lnTo>
                    <a:lnTo>
                      <a:pt x="757" y="517"/>
                    </a:lnTo>
                    <a:lnTo>
                      <a:pt x="755" y="517"/>
                    </a:lnTo>
                    <a:lnTo>
                      <a:pt x="754" y="517"/>
                    </a:lnTo>
                    <a:lnTo>
                      <a:pt x="754" y="519"/>
                    </a:lnTo>
                    <a:lnTo>
                      <a:pt x="752" y="519"/>
                    </a:lnTo>
                    <a:lnTo>
                      <a:pt x="750" y="519"/>
                    </a:lnTo>
                    <a:lnTo>
                      <a:pt x="750" y="520"/>
                    </a:lnTo>
                    <a:lnTo>
                      <a:pt x="749" y="520"/>
                    </a:lnTo>
                    <a:lnTo>
                      <a:pt x="747" y="520"/>
                    </a:lnTo>
                    <a:lnTo>
                      <a:pt x="747" y="522"/>
                    </a:lnTo>
                    <a:lnTo>
                      <a:pt x="746" y="522"/>
                    </a:lnTo>
                    <a:lnTo>
                      <a:pt x="744" y="522"/>
                    </a:lnTo>
                    <a:lnTo>
                      <a:pt x="744" y="523"/>
                    </a:lnTo>
                    <a:lnTo>
                      <a:pt x="743" y="523"/>
                    </a:lnTo>
                    <a:lnTo>
                      <a:pt x="743" y="525"/>
                    </a:lnTo>
                    <a:lnTo>
                      <a:pt x="741" y="525"/>
                    </a:lnTo>
                    <a:lnTo>
                      <a:pt x="739" y="525"/>
                    </a:lnTo>
                    <a:lnTo>
                      <a:pt x="738" y="525"/>
                    </a:lnTo>
                    <a:lnTo>
                      <a:pt x="738" y="526"/>
                    </a:lnTo>
                    <a:lnTo>
                      <a:pt x="736" y="526"/>
                    </a:lnTo>
                    <a:lnTo>
                      <a:pt x="736" y="528"/>
                    </a:lnTo>
                    <a:lnTo>
                      <a:pt x="736" y="530"/>
                    </a:lnTo>
                    <a:lnTo>
                      <a:pt x="736" y="531"/>
                    </a:lnTo>
                    <a:lnTo>
                      <a:pt x="736" y="533"/>
                    </a:lnTo>
                    <a:lnTo>
                      <a:pt x="736" y="534"/>
                    </a:lnTo>
                    <a:lnTo>
                      <a:pt x="736" y="536"/>
                    </a:lnTo>
                    <a:lnTo>
                      <a:pt x="736" y="538"/>
                    </a:lnTo>
                    <a:lnTo>
                      <a:pt x="735" y="538"/>
                    </a:lnTo>
                    <a:lnTo>
                      <a:pt x="735" y="539"/>
                    </a:lnTo>
                    <a:lnTo>
                      <a:pt x="733" y="539"/>
                    </a:lnTo>
                    <a:lnTo>
                      <a:pt x="731" y="539"/>
                    </a:lnTo>
                    <a:lnTo>
                      <a:pt x="730" y="539"/>
                    </a:lnTo>
                    <a:lnTo>
                      <a:pt x="728" y="539"/>
                    </a:lnTo>
                    <a:lnTo>
                      <a:pt x="727" y="539"/>
                    </a:lnTo>
                    <a:lnTo>
                      <a:pt x="725" y="541"/>
                    </a:lnTo>
                    <a:lnTo>
                      <a:pt x="723" y="541"/>
                    </a:lnTo>
                    <a:lnTo>
                      <a:pt x="722" y="541"/>
                    </a:lnTo>
                    <a:lnTo>
                      <a:pt x="720" y="541"/>
                    </a:lnTo>
                    <a:lnTo>
                      <a:pt x="719" y="539"/>
                    </a:lnTo>
                    <a:lnTo>
                      <a:pt x="717" y="539"/>
                    </a:lnTo>
                    <a:lnTo>
                      <a:pt x="716" y="539"/>
                    </a:lnTo>
                    <a:lnTo>
                      <a:pt x="716" y="538"/>
                    </a:lnTo>
                    <a:lnTo>
                      <a:pt x="714" y="538"/>
                    </a:lnTo>
                    <a:lnTo>
                      <a:pt x="714" y="536"/>
                    </a:lnTo>
                    <a:lnTo>
                      <a:pt x="712" y="536"/>
                    </a:lnTo>
                    <a:lnTo>
                      <a:pt x="711" y="536"/>
                    </a:lnTo>
                    <a:lnTo>
                      <a:pt x="709" y="536"/>
                    </a:lnTo>
                    <a:lnTo>
                      <a:pt x="709" y="534"/>
                    </a:lnTo>
                    <a:lnTo>
                      <a:pt x="709" y="536"/>
                    </a:lnTo>
                    <a:lnTo>
                      <a:pt x="709" y="534"/>
                    </a:lnTo>
                    <a:lnTo>
                      <a:pt x="709" y="533"/>
                    </a:lnTo>
                    <a:lnTo>
                      <a:pt x="711" y="533"/>
                    </a:lnTo>
                    <a:lnTo>
                      <a:pt x="711" y="531"/>
                    </a:lnTo>
                    <a:lnTo>
                      <a:pt x="711" y="530"/>
                    </a:lnTo>
                    <a:lnTo>
                      <a:pt x="711" y="528"/>
                    </a:lnTo>
                    <a:lnTo>
                      <a:pt x="709" y="526"/>
                    </a:lnTo>
                    <a:lnTo>
                      <a:pt x="709" y="525"/>
                    </a:lnTo>
                    <a:lnTo>
                      <a:pt x="709" y="523"/>
                    </a:lnTo>
                    <a:lnTo>
                      <a:pt x="711" y="523"/>
                    </a:lnTo>
                    <a:lnTo>
                      <a:pt x="711" y="522"/>
                    </a:lnTo>
                    <a:lnTo>
                      <a:pt x="712" y="520"/>
                    </a:lnTo>
                    <a:lnTo>
                      <a:pt x="711" y="520"/>
                    </a:lnTo>
                    <a:lnTo>
                      <a:pt x="712" y="520"/>
                    </a:lnTo>
                    <a:lnTo>
                      <a:pt x="712" y="519"/>
                    </a:lnTo>
                    <a:lnTo>
                      <a:pt x="714" y="519"/>
                    </a:lnTo>
                    <a:lnTo>
                      <a:pt x="714" y="517"/>
                    </a:lnTo>
                    <a:lnTo>
                      <a:pt x="714" y="515"/>
                    </a:lnTo>
                    <a:lnTo>
                      <a:pt x="712" y="515"/>
                    </a:lnTo>
                    <a:lnTo>
                      <a:pt x="714" y="515"/>
                    </a:lnTo>
                    <a:lnTo>
                      <a:pt x="714" y="514"/>
                    </a:lnTo>
                    <a:lnTo>
                      <a:pt x="716" y="514"/>
                    </a:lnTo>
                    <a:lnTo>
                      <a:pt x="716" y="512"/>
                    </a:lnTo>
                    <a:lnTo>
                      <a:pt x="717" y="514"/>
                    </a:lnTo>
                    <a:lnTo>
                      <a:pt x="717" y="512"/>
                    </a:lnTo>
                    <a:lnTo>
                      <a:pt x="717" y="511"/>
                    </a:lnTo>
                    <a:lnTo>
                      <a:pt x="716" y="509"/>
                    </a:lnTo>
                    <a:lnTo>
                      <a:pt x="717" y="509"/>
                    </a:lnTo>
                    <a:lnTo>
                      <a:pt x="716" y="509"/>
                    </a:lnTo>
                    <a:lnTo>
                      <a:pt x="716" y="507"/>
                    </a:lnTo>
                    <a:lnTo>
                      <a:pt x="717" y="506"/>
                    </a:lnTo>
                    <a:lnTo>
                      <a:pt x="717" y="504"/>
                    </a:lnTo>
                    <a:lnTo>
                      <a:pt x="717" y="503"/>
                    </a:lnTo>
                    <a:lnTo>
                      <a:pt x="716" y="503"/>
                    </a:lnTo>
                    <a:lnTo>
                      <a:pt x="716" y="501"/>
                    </a:lnTo>
                    <a:lnTo>
                      <a:pt x="717" y="501"/>
                    </a:lnTo>
                    <a:lnTo>
                      <a:pt x="716" y="501"/>
                    </a:lnTo>
                    <a:lnTo>
                      <a:pt x="714" y="501"/>
                    </a:lnTo>
                    <a:lnTo>
                      <a:pt x="712" y="501"/>
                    </a:lnTo>
                    <a:lnTo>
                      <a:pt x="711" y="501"/>
                    </a:lnTo>
                    <a:lnTo>
                      <a:pt x="711" y="503"/>
                    </a:lnTo>
                    <a:lnTo>
                      <a:pt x="709" y="503"/>
                    </a:lnTo>
                    <a:lnTo>
                      <a:pt x="708" y="503"/>
                    </a:lnTo>
                    <a:lnTo>
                      <a:pt x="706" y="503"/>
                    </a:lnTo>
                    <a:lnTo>
                      <a:pt x="704" y="503"/>
                    </a:lnTo>
                    <a:lnTo>
                      <a:pt x="703" y="503"/>
                    </a:lnTo>
                    <a:lnTo>
                      <a:pt x="703" y="501"/>
                    </a:lnTo>
                    <a:lnTo>
                      <a:pt x="701" y="501"/>
                    </a:lnTo>
                    <a:lnTo>
                      <a:pt x="700" y="501"/>
                    </a:lnTo>
                    <a:lnTo>
                      <a:pt x="698" y="501"/>
                    </a:lnTo>
                    <a:lnTo>
                      <a:pt x="697" y="501"/>
                    </a:lnTo>
                    <a:lnTo>
                      <a:pt x="697" y="503"/>
                    </a:lnTo>
                    <a:lnTo>
                      <a:pt x="695" y="503"/>
                    </a:lnTo>
                    <a:lnTo>
                      <a:pt x="693" y="504"/>
                    </a:lnTo>
                    <a:lnTo>
                      <a:pt x="692" y="504"/>
                    </a:lnTo>
                    <a:lnTo>
                      <a:pt x="692" y="506"/>
                    </a:lnTo>
                    <a:lnTo>
                      <a:pt x="690" y="506"/>
                    </a:lnTo>
                    <a:lnTo>
                      <a:pt x="690" y="507"/>
                    </a:lnTo>
                    <a:lnTo>
                      <a:pt x="689" y="507"/>
                    </a:lnTo>
                    <a:lnTo>
                      <a:pt x="689" y="509"/>
                    </a:lnTo>
                    <a:lnTo>
                      <a:pt x="687" y="509"/>
                    </a:lnTo>
                    <a:lnTo>
                      <a:pt x="687" y="511"/>
                    </a:lnTo>
                    <a:lnTo>
                      <a:pt x="685" y="511"/>
                    </a:lnTo>
                    <a:lnTo>
                      <a:pt x="685" y="512"/>
                    </a:lnTo>
                    <a:lnTo>
                      <a:pt x="684" y="512"/>
                    </a:lnTo>
                    <a:lnTo>
                      <a:pt x="684" y="514"/>
                    </a:lnTo>
                    <a:lnTo>
                      <a:pt x="682" y="514"/>
                    </a:lnTo>
                    <a:lnTo>
                      <a:pt x="682" y="515"/>
                    </a:lnTo>
                    <a:lnTo>
                      <a:pt x="681" y="515"/>
                    </a:lnTo>
                    <a:lnTo>
                      <a:pt x="681" y="517"/>
                    </a:lnTo>
                    <a:lnTo>
                      <a:pt x="679" y="517"/>
                    </a:lnTo>
                    <a:lnTo>
                      <a:pt x="679" y="519"/>
                    </a:lnTo>
                    <a:lnTo>
                      <a:pt x="679" y="520"/>
                    </a:lnTo>
                    <a:lnTo>
                      <a:pt x="678" y="520"/>
                    </a:lnTo>
                    <a:lnTo>
                      <a:pt x="678" y="522"/>
                    </a:lnTo>
                    <a:lnTo>
                      <a:pt x="676" y="522"/>
                    </a:lnTo>
                    <a:lnTo>
                      <a:pt x="676" y="523"/>
                    </a:lnTo>
                    <a:lnTo>
                      <a:pt x="674" y="523"/>
                    </a:lnTo>
                    <a:lnTo>
                      <a:pt x="674" y="525"/>
                    </a:lnTo>
                    <a:lnTo>
                      <a:pt x="673" y="525"/>
                    </a:lnTo>
                    <a:lnTo>
                      <a:pt x="673" y="526"/>
                    </a:lnTo>
                    <a:lnTo>
                      <a:pt x="671" y="526"/>
                    </a:lnTo>
                    <a:lnTo>
                      <a:pt x="670" y="526"/>
                    </a:lnTo>
                    <a:lnTo>
                      <a:pt x="670" y="528"/>
                    </a:lnTo>
                    <a:lnTo>
                      <a:pt x="668" y="528"/>
                    </a:lnTo>
                    <a:lnTo>
                      <a:pt x="668" y="530"/>
                    </a:lnTo>
                    <a:lnTo>
                      <a:pt x="668" y="531"/>
                    </a:lnTo>
                    <a:lnTo>
                      <a:pt x="668" y="533"/>
                    </a:lnTo>
                    <a:lnTo>
                      <a:pt x="668" y="534"/>
                    </a:lnTo>
                    <a:lnTo>
                      <a:pt x="666" y="534"/>
                    </a:lnTo>
                    <a:lnTo>
                      <a:pt x="666" y="536"/>
                    </a:lnTo>
                    <a:lnTo>
                      <a:pt x="666" y="538"/>
                    </a:lnTo>
                    <a:lnTo>
                      <a:pt x="665" y="538"/>
                    </a:lnTo>
                    <a:lnTo>
                      <a:pt x="663" y="538"/>
                    </a:lnTo>
                    <a:lnTo>
                      <a:pt x="662" y="538"/>
                    </a:lnTo>
                    <a:lnTo>
                      <a:pt x="660" y="538"/>
                    </a:lnTo>
                    <a:lnTo>
                      <a:pt x="660" y="539"/>
                    </a:lnTo>
                    <a:lnTo>
                      <a:pt x="660" y="541"/>
                    </a:lnTo>
                    <a:lnTo>
                      <a:pt x="660" y="542"/>
                    </a:lnTo>
                    <a:lnTo>
                      <a:pt x="660" y="544"/>
                    </a:lnTo>
                    <a:lnTo>
                      <a:pt x="660" y="545"/>
                    </a:lnTo>
                    <a:lnTo>
                      <a:pt x="659" y="545"/>
                    </a:lnTo>
                    <a:lnTo>
                      <a:pt x="657" y="545"/>
                    </a:lnTo>
                    <a:lnTo>
                      <a:pt x="657" y="547"/>
                    </a:lnTo>
                    <a:lnTo>
                      <a:pt x="655" y="547"/>
                    </a:lnTo>
                    <a:lnTo>
                      <a:pt x="655" y="549"/>
                    </a:lnTo>
                    <a:lnTo>
                      <a:pt x="654" y="549"/>
                    </a:lnTo>
                    <a:lnTo>
                      <a:pt x="652" y="549"/>
                    </a:lnTo>
                    <a:lnTo>
                      <a:pt x="652" y="550"/>
                    </a:lnTo>
                    <a:lnTo>
                      <a:pt x="652" y="552"/>
                    </a:lnTo>
                    <a:lnTo>
                      <a:pt x="654" y="552"/>
                    </a:lnTo>
                    <a:lnTo>
                      <a:pt x="654" y="553"/>
                    </a:lnTo>
                    <a:lnTo>
                      <a:pt x="654" y="555"/>
                    </a:lnTo>
                    <a:lnTo>
                      <a:pt x="654" y="557"/>
                    </a:lnTo>
                    <a:lnTo>
                      <a:pt x="655" y="557"/>
                    </a:lnTo>
                    <a:lnTo>
                      <a:pt x="655" y="558"/>
                    </a:lnTo>
                    <a:lnTo>
                      <a:pt x="655" y="560"/>
                    </a:lnTo>
                    <a:lnTo>
                      <a:pt x="655" y="561"/>
                    </a:lnTo>
                    <a:lnTo>
                      <a:pt x="654" y="561"/>
                    </a:lnTo>
                    <a:lnTo>
                      <a:pt x="652" y="561"/>
                    </a:lnTo>
                    <a:lnTo>
                      <a:pt x="651" y="561"/>
                    </a:lnTo>
                    <a:lnTo>
                      <a:pt x="649" y="561"/>
                    </a:lnTo>
                    <a:lnTo>
                      <a:pt x="649" y="563"/>
                    </a:lnTo>
                    <a:lnTo>
                      <a:pt x="649" y="564"/>
                    </a:lnTo>
                    <a:lnTo>
                      <a:pt x="649" y="566"/>
                    </a:lnTo>
                    <a:lnTo>
                      <a:pt x="649" y="568"/>
                    </a:lnTo>
                    <a:lnTo>
                      <a:pt x="647" y="568"/>
                    </a:lnTo>
                    <a:lnTo>
                      <a:pt x="647" y="566"/>
                    </a:lnTo>
                    <a:lnTo>
                      <a:pt x="647" y="568"/>
                    </a:lnTo>
                    <a:lnTo>
                      <a:pt x="647" y="569"/>
                    </a:lnTo>
                    <a:lnTo>
                      <a:pt x="649" y="569"/>
                    </a:lnTo>
                    <a:lnTo>
                      <a:pt x="647" y="571"/>
                    </a:lnTo>
                    <a:lnTo>
                      <a:pt x="647" y="572"/>
                    </a:lnTo>
                    <a:lnTo>
                      <a:pt x="646" y="572"/>
                    </a:lnTo>
                    <a:lnTo>
                      <a:pt x="646" y="574"/>
                    </a:lnTo>
                    <a:lnTo>
                      <a:pt x="644" y="574"/>
                    </a:lnTo>
                    <a:lnTo>
                      <a:pt x="644" y="576"/>
                    </a:lnTo>
                    <a:lnTo>
                      <a:pt x="644" y="577"/>
                    </a:lnTo>
                    <a:lnTo>
                      <a:pt x="643" y="577"/>
                    </a:lnTo>
                    <a:lnTo>
                      <a:pt x="641" y="579"/>
                    </a:lnTo>
                    <a:lnTo>
                      <a:pt x="640" y="579"/>
                    </a:lnTo>
                    <a:lnTo>
                      <a:pt x="640" y="577"/>
                    </a:lnTo>
                    <a:lnTo>
                      <a:pt x="638" y="577"/>
                    </a:lnTo>
                    <a:lnTo>
                      <a:pt x="636" y="577"/>
                    </a:lnTo>
                    <a:lnTo>
                      <a:pt x="635" y="577"/>
                    </a:lnTo>
                    <a:lnTo>
                      <a:pt x="633" y="577"/>
                    </a:lnTo>
                    <a:lnTo>
                      <a:pt x="632" y="577"/>
                    </a:lnTo>
                    <a:lnTo>
                      <a:pt x="630" y="577"/>
                    </a:lnTo>
                    <a:lnTo>
                      <a:pt x="630" y="579"/>
                    </a:lnTo>
                    <a:lnTo>
                      <a:pt x="630" y="580"/>
                    </a:lnTo>
                    <a:lnTo>
                      <a:pt x="628" y="582"/>
                    </a:lnTo>
                    <a:lnTo>
                      <a:pt x="628" y="580"/>
                    </a:lnTo>
                    <a:lnTo>
                      <a:pt x="627" y="580"/>
                    </a:lnTo>
                    <a:lnTo>
                      <a:pt x="625" y="580"/>
                    </a:lnTo>
                    <a:lnTo>
                      <a:pt x="625" y="579"/>
                    </a:lnTo>
                    <a:lnTo>
                      <a:pt x="625" y="580"/>
                    </a:lnTo>
                    <a:lnTo>
                      <a:pt x="624" y="580"/>
                    </a:lnTo>
                    <a:lnTo>
                      <a:pt x="622" y="580"/>
                    </a:lnTo>
                    <a:lnTo>
                      <a:pt x="621" y="580"/>
                    </a:lnTo>
                    <a:lnTo>
                      <a:pt x="621" y="582"/>
                    </a:lnTo>
                    <a:lnTo>
                      <a:pt x="619" y="582"/>
                    </a:lnTo>
                    <a:lnTo>
                      <a:pt x="617" y="582"/>
                    </a:lnTo>
                    <a:lnTo>
                      <a:pt x="617" y="584"/>
                    </a:lnTo>
                    <a:lnTo>
                      <a:pt x="617" y="582"/>
                    </a:lnTo>
                    <a:lnTo>
                      <a:pt x="616" y="582"/>
                    </a:lnTo>
                    <a:lnTo>
                      <a:pt x="616" y="584"/>
                    </a:lnTo>
                    <a:lnTo>
                      <a:pt x="614" y="584"/>
                    </a:lnTo>
                    <a:lnTo>
                      <a:pt x="613" y="584"/>
                    </a:lnTo>
                    <a:lnTo>
                      <a:pt x="613" y="585"/>
                    </a:lnTo>
                    <a:lnTo>
                      <a:pt x="613" y="587"/>
                    </a:lnTo>
                    <a:lnTo>
                      <a:pt x="611" y="587"/>
                    </a:lnTo>
                    <a:lnTo>
                      <a:pt x="611" y="588"/>
                    </a:lnTo>
                    <a:lnTo>
                      <a:pt x="608" y="588"/>
                    </a:lnTo>
                    <a:lnTo>
                      <a:pt x="602" y="588"/>
                    </a:lnTo>
                    <a:lnTo>
                      <a:pt x="598" y="590"/>
                    </a:lnTo>
                    <a:lnTo>
                      <a:pt x="598" y="588"/>
                    </a:lnTo>
                    <a:lnTo>
                      <a:pt x="597" y="588"/>
                    </a:lnTo>
                    <a:lnTo>
                      <a:pt x="595" y="588"/>
                    </a:lnTo>
                    <a:lnTo>
                      <a:pt x="595" y="587"/>
                    </a:lnTo>
                    <a:lnTo>
                      <a:pt x="594" y="587"/>
                    </a:lnTo>
                    <a:lnTo>
                      <a:pt x="594" y="585"/>
                    </a:lnTo>
                    <a:lnTo>
                      <a:pt x="592" y="585"/>
                    </a:lnTo>
                    <a:lnTo>
                      <a:pt x="592" y="587"/>
                    </a:lnTo>
                    <a:lnTo>
                      <a:pt x="592" y="590"/>
                    </a:lnTo>
                    <a:lnTo>
                      <a:pt x="592" y="591"/>
                    </a:lnTo>
                    <a:lnTo>
                      <a:pt x="592" y="593"/>
                    </a:lnTo>
                    <a:lnTo>
                      <a:pt x="587" y="595"/>
                    </a:lnTo>
                    <a:lnTo>
                      <a:pt x="587" y="599"/>
                    </a:lnTo>
                    <a:lnTo>
                      <a:pt x="589" y="604"/>
                    </a:lnTo>
                    <a:lnTo>
                      <a:pt x="587" y="607"/>
                    </a:lnTo>
                    <a:lnTo>
                      <a:pt x="589" y="610"/>
                    </a:lnTo>
                    <a:lnTo>
                      <a:pt x="587" y="610"/>
                    </a:lnTo>
                    <a:lnTo>
                      <a:pt x="587" y="612"/>
                    </a:lnTo>
                    <a:lnTo>
                      <a:pt x="589" y="612"/>
                    </a:lnTo>
                    <a:lnTo>
                      <a:pt x="589" y="614"/>
                    </a:lnTo>
                    <a:lnTo>
                      <a:pt x="589" y="615"/>
                    </a:lnTo>
                    <a:lnTo>
                      <a:pt x="587" y="617"/>
                    </a:lnTo>
                    <a:lnTo>
                      <a:pt x="587" y="623"/>
                    </a:lnTo>
                    <a:lnTo>
                      <a:pt x="587" y="625"/>
                    </a:lnTo>
                    <a:lnTo>
                      <a:pt x="589" y="626"/>
                    </a:lnTo>
                    <a:lnTo>
                      <a:pt x="587" y="626"/>
                    </a:lnTo>
                    <a:lnTo>
                      <a:pt x="587" y="628"/>
                    </a:lnTo>
                    <a:lnTo>
                      <a:pt x="589" y="628"/>
                    </a:lnTo>
                    <a:lnTo>
                      <a:pt x="587" y="628"/>
                    </a:lnTo>
                    <a:lnTo>
                      <a:pt x="589" y="628"/>
                    </a:lnTo>
                    <a:lnTo>
                      <a:pt x="589" y="629"/>
                    </a:lnTo>
                    <a:lnTo>
                      <a:pt x="589" y="631"/>
                    </a:lnTo>
                    <a:lnTo>
                      <a:pt x="589" y="633"/>
                    </a:lnTo>
                    <a:lnTo>
                      <a:pt x="589" y="634"/>
                    </a:lnTo>
                    <a:lnTo>
                      <a:pt x="589" y="636"/>
                    </a:lnTo>
                    <a:lnTo>
                      <a:pt x="590" y="636"/>
                    </a:lnTo>
                    <a:lnTo>
                      <a:pt x="590" y="637"/>
                    </a:lnTo>
                    <a:lnTo>
                      <a:pt x="592" y="639"/>
                    </a:lnTo>
                    <a:lnTo>
                      <a:pt x="592" y="641"/>
                    </a:lnTo>
                    <a:lnTo>
                      <a:pt x="594" y="641"/>
                    </a:lnTo>
                    <a:lnTo>
                      <a:pt x="594" y="642"/>
                    </a:lnTo>
                    <a:lnTo>
                      <a:pt x="594" y="644"/>
                    </a:lnTo>
                    <a:lnTo>
                      <a:pt x="592" y="644"/>
                    </a:lnTo>
                    <a:lnTo>
                      <a:pt x="592" y="642"/>
                    </a:lnTo>
                    <a:lnTo>
                      <a:pt x="590" y="642"/>
                    </a:lnTo>
                    <a:lnTo>
                      <a:pt x="589" y="642"/>
                    </a:lnTo>
                    <a:lnTo>
                      <a:pt x="587" y="642"/>
                    </a:lnTo>
                    <a:lnTo>
                      <a:pt x="587" y="644"/>
                    </a:lnTo>
                    <a:lnTo>
                      <a:pt x="587" y="645"/>
                    </a:lnTo>
                    <a:lnTo>
                      <a:pt x="589" y="645"/>
                    </a:lnTo>
                    <a:lnTo>
                      <a:pt x="589" y="647"/>
                    </a:lnTo>
                    <a:lnTo>
                      <a:pt x="589" y="648"/>
                    </a:lnTo>
                    <a:lnTo>
                      <a:pt x="589" y="650"/>
                    </a:lnTo>
                    <a:lnTo>
                      <a:pt x="587" y="650"/>
                    </a:lnTo>
                    <a:lnTo>
                      <a:pt x="587" y="652"/>
                    </a:lnTo>
                    <a:lnTo>
                      <a:pt x="587" y="653"/>
                    </a:lnTo>
                    <a:lnTo>
                      <a:pt x="587" y="655"/>
                    </a:lnTo>
                    <a:lnTo>
                      <a:pt x="589" y="656"/>
                    </a:lnTo>
                    <a:lnTo>
                      <a:pt x="590" y="656"/>
                    </a:lnTo>
                    <a:lnTo>
                      <a:pt x="592" y="656"/>
                    </a:lnTo>
                    <a:lnTo>
                      <a:pt x="594" y="656"/>
                    </a:lnTo>
                    <a:lnTo>
                      <a:pt x="595" y="656"/>
                    </a:lnTo>
                    <a:lnTo>
                      <a:pt x="597" y="656"/>
                    </a:lnTo>
                    <a:lnTo>
                      <a:pt x="598" y="658"/>
                    </a:lnTo>
                    <a:lnTo>
                      <a:pt x="598" y="660"/>
                    </a:lnTo>
                    <a:lnTo>
                      <a:pt x="600" y="660"/>
                    </a:lnTo>
                    <a:lnTo>
                      <a:pt x="602" y="661"/>
                    </a:lnTo>
                    <a:lnTo>
                      <a:pt x="602" y="663"/>
                    </a:lnTo>
                    <a:lnTo>
                      <a:pt x="603" y="664"/>
                    </a:lnTo>
                    <a:lnTo>
                      <a:pt x="602" y="666"/>
                    </a:lnTo>
                    <a:lnTo>
                      <a:pt x="602" y="667"/>
                    </a:lnTo>
                    <a:lnTo>
                      <a:pt x="600" y="667"/>
                    </a:lnTo>
                    <a:lnTo>
                      <a:pt x="598" y="667"/>
                    </a:lnTo>
                    <a:lnTo>
                      <a:pt x="598" y="666"/>
                    </a:lnTo>
                    <a:lnTo>
                      <a:pt x="597" y="666"/>
                    </a:lnTo>
                    <a:lnTo>
                      <a:pt x="595" y="666"/>
                    </a:lnTo>
                    <a:lnTo>
                      <a:pt x="594" y="664"/>
                    </a:lnTo>
                    <a:lnTo>
                      <a:pt x="592" y="664"/>
                    </a:lnTo>
                    <a:lnTo>
                      <a:pt x="592" y="666"/>
                    </a:lnTo>
                    <a:lnTo>
                      <a:pt x="590" y="666"/>
                    </a:lnTo>
                    <a:lnTo>
                      <a:pt x="590" y="664"/>
                    </a:lnTo>
                    <a:lnTo>
                      <a:pt x="590" y="666"/>
                    </a:lnTo>
                    <a:lnTo>
                      <a:pt x="590" y="667"/>
                    </a:lnTo>
                    <a:lnTo>
                      <a:pt x="590" y="669"/>
                    </a:lnTo>
                    <a:lnTo>
                      <a:pt x="592" y="671"/>
                    </a:lnTo>
                    <a:lnTo>
                      <a:pt x="592" y="672"/>
                    </a:lnTo>
                    <a:lnTo>
                      <a:pt x="594" y="672"/>
                    </a:lnTo>
                    <a:lnTo>
                      <a:pt x="594" y="674"/>
                    </a:lnTo>
                    <a:lnTo>
                      <a:pt x="594" y="675"/>
                    </a:lnTo>
                    <a:lnTo>
                      <a:pt x="595" y="677"/>
                    </a:lnTo>
                    <a:lnTo>
                      <a:pt x="595" y="679"/>
                    </a:lnTo>
                    <a:lnTo>
                      <a:pt x="595" y="680"/>
                    </a:lnTo>
                    <a:lnTo>
                      <a:pt x="597" y="682"/>
                    </a:lnTo>
                    <a:lnTo>
                      <a:pt x="597" y="683"/>
                    </a:lnTo>
                    <a:lnTo>
                      <a:pt x="595" y="683"/>
                    </a:lnTo>
                    <a:lnTo>
                      <a:pt x="595" y="685"/>
                    </a:lnTo>
                    <a:lnTo>
                      <a:pt x="595" y="686"/>
                    </a:lnTo>
                    <a:lnTo>
                      <a:pt x="594" y="686"/>
                    </a:lnTo>
                    <a:lnTo>
                      <a:pt x="592" y="688"/>
                    </a:lnTo>
                    <a:lnTo>
                      <a:pt x="592" y="690"/>
                    </a:lnTo>
                    <a:lnTo>
                      <a:pt x="590" y="690"/>
                    </a:lnTo>
                    <a:lnTo>
                      <a:pt x="590" y="691"/>
                    </a:lnTo>
                    <a:lnTo>
                      <a:pt x="589" y="691"/>
                    </a:lnTo>
                    <a:lnTo>
                      <a:pt x="587" y="691"/>
                    </a:lnTo>
                    <a:lnTo>
                      <a:pt x="587" y="693"/>
                    </a:lnTo>
                    <a:lnTo>
                      <a:pt x="587" y="691"/>
                    </a:lnTo>
                    <a:lnTo>
                      <a:pt x="589" y="691"/>
                    </a:lnTo>
                    <a:lnTo>
                      <a:pt x="590" y="691"/>
                    </a:lnTo>
                    <a:lnTo>
                      <a:pt x="590" y="693"/>
                    </a:lnTo>
                    <a:lnTo>
                      <a:pt x="592" y="693"/>
                    </a:lnTo>
                    <a:lnTo>
                      <a:pt x="594" y="694"/>
                    </a:lnTo>
                    <a:lnTo>
                      <a:pt x="594" y="696"/>
                    </a:lnTo>
                    <a:lnTo>
                      <a:pt x="595" y="696"/>
                    </a:lnTo>
                    <a:lnTo>
                      <a:pt x="595" y="698"/>
                    </a:lnTo>
                    <a:lnTo>
                      <a:pt x="595" y="699"/>
                    </a:lnTo>
                    <a:lnTo>
                      <a:pt x="595" y="701"/>
                    </a:lnTo>
                    <a:lnTo>
                      <a:pt x="594" y="701"/>
                    </a:lnTo>
                    <a:lnTo>
                      <a:pt x="594" y="702"/>
                    </a:lnTo>
                    <a:lnTo>
                      <a:pt x="594" y="704"/>
                    </a:lnTo>
                    <a:lnTo>
                      <a:pt x="595" y="704"/>
                    </a:lnTo>
                    <a:lnTo>
                      <a:pt x="597" y="706"/>
                    </a:lnTo>
                    <a:lnTo>
                      <a:pt x="598" y="706"/>
                    </a:lnTo>
                    <a:lnTo>
                      <a:pt x="600" y="706"/>
                    </a:lnTo>
                    <a:lnTo>
                      <a:pt x="600" y="707"/>
                    </a:lnTo>
                    <a:lnTo>
                      <a:pt x="602" y="707"/>
                    </a:lnTo>
                    <a:lnTo>
                      <a:pt x="602" y="709"/>
                    </a:lnTo>
                    <a:lnTo>
                      <a:pt x="603" y="709"/>
                    </a:lnTo>
                    <a:lnTo>
                      <a:pt x="603" y="710"/>
                    </a:lnTo>
                    <a:lnTo>
                      <a:pt x="605" y="710"/>
                    </a:lnTo>
                    <a:lnTo>
                      <a:pt x="606" y="710"/>
                    </a:lnTo>
                    <a:lnTo>
                      <a:pt x="606" y="712"/>
                    </a:lnTo>
                    <a:lnTo>
                      <a:pt x="608" y="712"/>
                    </a:lnTo>
                    <a:lnTo>
                      <a:pt x="608" y="713"/>
                    </a:lnTo>
                    <a:lnTo>
                      <a:pt x="608" y="715"/>
                    </a:lnTo>
                    <a:lnTo>
                      <a:pt x="609" y="715"/>
                    </a:lnTo>
                    <a:lnTo>
                      <a:pt x="608" y="717"/>
                    </a:lnTo>
                    <a:lnTo>
                      <a:pt x="609" y="717"/>
                    </a:lnTo>
                    <a:lnTo>
                      <a:pt x="609" y="718"/>
                    </a:lnTo>
                    <a:lnTo>
                      <a:pt x="611" y="718"/>
                    </a:lnTo>
                    <a:lnTo>
                      <a:pt x="611" y="720"/>
                    </a:lnTo>
                    <a:lnTo>
                      <a:pt x="611" y="721"/>
                    </a:lnTo>
                    <a:lnTo>
                      <a:pt x="613" y="721"/>
                    </a:lnTo>
                    <a:lnTo>
                      <a:pt x="613" y="723"/>
                    </a:lnTo>
                    <a:lnTo>
                      <a:pt x="614" y="723"/>
                    </a:lnTo>
                    <a:lnTo>
                      <a:pt x="616" y="723"/>
                    </a:lnTo>
                    <a:lnTo>
                      <a:pt x="616" y="725"/>
                    </a:lnTo>
                    <a:lnTo>
                      <a:pt x="617" y="725"/>
                    </a:lnTo>
                    <a:lnTo>
                      <a:pt x="617" y="726"/>
                    </a:lnTo>
                    <a:lnTo>
                      <a:pt x="619" y="726"/>
                    </a:lnTo>
                    <a:lnTo>
                      <a:pt x="619" y="728"/>
                    </a:lnTo>
                    <a:lnTo>
                      <a:pt x="621" y="728"/>
                    </a:lnTo>
                    <a:lnTo>
                      <a:pt x="622" y="728"/>
                    </a:lnTo>
                    <a:lnTo>
                      <a:pt x="624" y="728"/>
                    </a:lnTo>
                    <a:lnTo>
                      <a:pt x="624" y="726"/>
                    </a:lnTo>
                    <a:lnTo>
                      <a:pt x="625" y="726"/>
                    </a:lnTo>
                    <a:lnTo>
                      <a:pt x="625" y="725"/>
                    </a:lnTo>
                    <a:lnTo>
                      <a:pt x="625" y="726"/>
                    </a:lnTo>
                    <a:lnTo>
                      <a:pt x="627" y="726"/>
                    </a:lnTo>
                    <a:lnTo>
                      <a:pt x="628" y="726"/>
                    </a:lnTo>
                    <a:lnTo>
                      <a:pt x="628" y="728"/>
                    </a:lnTo>
                    <a:lnTo>
                      <a:pt x="630" y="728"/>
                    </a:lnTo>
                    <a:lnTo>
                      <a:pt x="632" y="728"/>
                    </a:lnTo>
                    <a:lnTo>
                      <a:pt x="632" y="726"/>
                    </a:lnTo>
                    <a:lnTo>
                      <a:pt x="633" y="726"/>
                    </a:lnTo>
                    <a:lnTo>
                      <a:pt x="633" y="728"/>
                    </a:lnTo>
                    <a:lnTo>
                      <a:pt x="635" y="728"/>
                    </a:lnTo>
                    <a:lnTo>
                      <a:pt x="635" y="729"/>
                    </a:lnTo>
                    <a:lnTo>
                      <a:pt x="636" y="729"/>
                    </a:lnTo>
                    <a:lnTo>
                      <a:pt x="636" y="731"/>
                    </a:lnTo>
                    <a:lnTo>
                      <a:pt x="638" y="731"/>
                    </a:lnTo>
                    <a:lnTo>
                      <a:pt x="638" y="732"/>
                    </a:lnTo>
                    <a:lnTo>
                      <a:pt x="640" y="732"/>
                    </a:lnTo>
                    <a:lnTo>
                      <a:pt x="640" y="734"/>
                    </a:lnTo>
                    <a:lnTo>
                      <a:pt x="641" y="734"/>
                    </a:lnTo>
                    <a:lnTo>
                      <a:pt x="643" y="734"/>
                    </a:lnTo>
                    <a:lnTo>
                      <a:pt x="643" y="736"/>
                    </a:lnTo>
                    <a:lnTo>
                      <a:pt x="644" y="736"/>
                    </a:lnTo>
                    <a:lnTo>
                      <a:pt x="644" y="737"/>
                    </a:lnTo>
                    <a:lnTo>
                      <a:pt x="646" y="739"/>
                    </a:lnTo>
                    <a:lnTo>
                      <a:pt x="646" y="740"/>
                    </a:lnTo>
                    <a:lnTo>
                      <a:pt x="647" y="740"/>
                    </a:lnTo>
                    <a:lnTo>
                      <a:pt x="647" y="742"/>
                    </a:lnTo>
                    <a:lnTo>
                      <a:pt x="647" y="744"/>
                    </a:lnTo>
                    <a:lnTo>
                      <a:pt x="647" y="745"/>
                    </a:lnTo>
                    <a:lnTo>
                      <a:pt x="646" y="745"/>
                    </a:lnTo>
                    <a:lnTo>
                      <a:pt x="646" y="747"/>
                    </a:lnTo>
                    <a:lnTo>
                      <a:pt x="644" y="747"/>
                    </a:lnTo>
                    <a:lnTo>
                      <a:pt x="644" y="748"/>
                    </a:lnTo>
                    <a:lnTo>
                      <a:pt x="644" y="750"/>
                    </a:lnTo>
                    <a:lnTo>
                      <a:pt x="644" y="751"/>
                    </a:lnTo>
                    <a:lnTo>
                      <a:pt x="644" y="753"/>
                    </a:lnTo>
                    <a:lnTo>
                      <a:pt x="643" y="753"/>
                    </a:lnTo>
                    <a:lnTo>
                      <a:pt x="643" y="755"/>
                    </a:lnTo>
                    <a:lnTo>
                      <a:pt x="641" y="756"/>
                    </a:lnTo>
                    <a:lnTo>
                      <a:pt x="641" y="758"/>
                    </a:lnTo>
                    <a:lnTo>
                      <a:pt x="641" y="759"/>
                    </a:lnTo>
                    <a:lnTo>
                      <a:pt x="643" y="759"/>
                    </a:lnTo>
                    <a:lnTo>
                      <a:pt x="643" y="761"/>
                    </a:lnTo>
                    <a:lnTo>
                      <a:pt x="644" y="761"/>
                    </a:lnTo>
                    <a:lnTo>
                      <a:pt x="643" y="761"/>
                    </a:lnTo>
                    <a:lnTo>
                      <a:pt x="643" y="763"/>
                    </a:lnTo>
                    <a:lnTo>
                      <a:pt x="644" y="763"/>
                    </a:lnTo>
                    <a:lnTo>
                      <a:pt x="644" y="764"/>
                    </a:lnTo>
                    <a:lnTo>
                      <a:pt x="644" y="766"/>
                    </a:lnTo>
                    <a:lnTo>
                      <a:pt x="646" y="766"/>
                    </a:lnTo>
                    <a:lnTo>
                      <a:pt x="644" y="767"/>
                    </a:lnTo>
                    <a:lnTo>
                      <a:pt x="646" y="767"/>
                    </a:lnTo>
                    <a:lnTo>
                      <a:pt x="646" y="769"/>
                    </a:lnTo>
                    <a:lnTo>
                      <a:pt x="644" y="769"/>
                    </a:lnTo>
                    <a:lnTo>
                      <a:pt x="644" y="770"/>
                    </a:lnTo>
                    <a:lnTo>
                      <a:pt x="646" y="770"/>
                    </a:lnTo>
                    <a:lnTo>
                      <a:pt x="646" y="772"/>
                    </a:lnTo>
                    <a:lnTo>
                      <a:pt x="646" y="774"/>
                    </a:lnTo>
                    <a:lnTo>
                      <a:pt x="646" y="775"/>
                    </a:lnTo>
                    <a:lnTo>
                      <a:pt x="646" y="777"/>
                    </a:lnTo>
                    <a:lnTo>
                      <a:pt x="646" y="778"/>
                    </a:lnTo>
                    <a:lnTo>
                      <a:pt x="647" y="778"/>
                    </a:lnTo>
                    <a:lnTo>
                      <a:pt x="647" y="780"/>
                    </a:lnTo>
                    <a:lnTo>
                      <a:pt x="649" y="780"/>
                    </a:lnTo>
                    <a:lnTo>
                      <a:pt x="649" y="782"/>
                    </a:lnTo>
                    <a:lnTo>
                      <a:pt x="649" y="783"/>
                    </a:lnTo>
                    <a:lnTo>
                      <a:pt x="651" y="783"/>
                    </a:lnTo>
                    <a:lnTo>
                      <a:pt x="651" y="785"/>
                    </a:lnTo>
                    <a:lnTo>
                      <a:pt x="649" y="785"/>
                    </a:lnTo>
                    <a:lnTo>
                      <a:pt x="647" y="785"/>
                    </a:lnTo>
                    <a:lnTo>
                      <a:pt x="647" y="786"/>
                    </a:lnTo>
                    <a:lnTo>
                      <a:pt x="646" y="786"/>
                    </a:lnTo>
                    <a:lnTo>
                      <a:pt x="646" y="788"/>
                    </a:lnTo>
                    <a:lnTo>
                      <a:pt x="647" y="788"/>
                    </a:lnTo>
                    <a:lnTo>
                      <a:pt x="646" y="788"/>
                    </a:lnTo>
                    <a:lnTo>
                      <a:pt x="646" y="789"/>
                    </a:lnTo>
                    <a:lnTo>
                      <a:pt x="646" y="788"/>
                    </a:lnTo>
                    <a:lnTo>
                      <a:pt x="644" y="788"/>
                    </a:lnTo>
                    <a:lnTo>
                      <a:pt x="644" y="789"/>
                    </a:lnTo>
                    <a:lnTo>
                      <a:pt x="644" y="788"/>
                    </a:lnTo>
                    <a:lnTo>
                      <a:pt x="643" y="788"/>
                    </a:lnTo>
                    <a:lnTo>
                      <a:pt x="643" y="789"/>
                    </a:lnTo>
                    <a:lnTo>
                      <a:pt x="644" y="789"/>
                    </a:lnTo>
                    <a:lnTo>
                      <a:pt x="644" y="791"/>
                    </a:lnTo>
                    <a:lnTo>
                      <a:pt x="646" y="791"/>
                    </a:lnTo>
                    <a:lnTo>
                      <a:pt x="646" y="793"/>
                    </a:lnTo>
                    <a:lnTo>
                      <a:pt x="644" y="793"/>
                    </a:lnTo>
                    <a:lnTo>
                      <a:pt x="646" y="793"/>
                    </a:lnTo>
                    <a:lnTo>
                      <a:pt x="644" y="794"/>
                    </a:lnTo>
                    <a:lnTo>
                      <a:pt x="643" y="794"/>
                    </a:lnTo>
                    <a:lnTo>
                      <a:pt x="641" y="794"/>
                    </a:lnTo>
                    <a:lnTo>
                      <a:pt x="641" y="796"/>
                    </a:lnTo>
                    <a:lnTo>
                      <a:pt x="640" y="796"/>
                    </a:lnTo>
                    <a:lnTo>
                      <a:pt x="640" y="794"/>
                    </a:lnTo>
                    <a:lnTo>
                      <a:pt x="640" y="793"/>
                    </a:lnTo>
                    <a:lnTo>
                      <a:pt x="638" y="793"/>
                    </a:lnTo>
                    <a:lnTo>
                      <a:pt x="636" y="793"/>
                    </a:lnTo>
                    <a:lnTo>
                      <a:pt x="635" y="793"/>
                    </a:lnTo>
                    <a:lnTo>
                      <a:pt x="633" y="793"/>
                    </a:lnTo>
                    <a:lnTo>
                      <a:pt x="633" y="791"/>
                    </a:lnTo>
                    <a:lnTo>
                      <a:pt x="632" y="791"/>
                    </a:lnTo>
                    <a:lnTo>
                      <a:pt x="630" y="791"/>
                    </a:lnTo>
                    <a:lnTo>
                      <a:pt x="628" y="791"/>
                    </a:lnTo>
                    <a:lnTo>
                      <a:pt x="627" y="791"/>
                    </a:lnTo>
                    <a:lnTo>
                      <a:pt x="625" y="791"/>
                    </a:lnTo>
                    <a:lnTo>
                      <a:pt x="624" y="791"/>
                    </a:lnTo>
                    <a:lnTo>
                      <a:pt x="622" y="791"/>
                    </a:lnTo>
                    <a:lnTo>
                      <a:pt x="622" y="789"/>
                    </a:lnTo>
                    <a:lnTo>
                      <a:pt x="621" y="789"/>
                    </a:lnTo>
                    <a:lnTo>
                      <a:pt x="619" y="788"/>
                    </a:lnTo>
                    <a:lnTo>
                      <a:pt x="617" y="785"/>
                    </a:lnTo>
                    <a:lnTo>
                      <a:pt x="616" y="785"/>
                    </a:lnTo>
                    <a:lnTo>
                      <a:pt x="614" y="785"/>
                    </a:lnTo>
                    <a:lnTo>
                      <a:pt x="614" y="786"/>
                    </a:lnTo>
                    <a:lnTo>
                      <a:pt x="613" y="786"/>
                    </a:lnTo>
                    <a:lnTo>
                      <a:pt x="611" y="786"/>
                    </a:lnTo>
                    <a:lnTo>
                      <a:pt x="609" y="788"/>
                    </a:lnTo>
                    <a:lnTo>
                      <a:pt x="609" y="789"/>
                    </a:lnTo>
                    <a:lnTo>
                      <a:pt x="608" y="789"/>
                    </a:lnTo>
                    <a:lnTo>
                      <a:pt x="608" y="791"/>
                    </a:lnTo>
                    <a:lnTo>
                      <a:pt x="608" y="793"/>
                    </a:lnTo>
                    <a:lnTo>
                      <a:pt x="608" y="794"/>
                    </a:lnTo>
                    <a:lnTo>
                      <a:pt x="608" y="796"/>
                    </a:lnTo>
                    <a:lnTo>
                      <a:pt x="606" y="796"/>
                    </a:lnTo>
                    <a:lnTo>
                      <a:pt x="606" y="797"/>
                    </a:lnTo>
                    <a:lnTo>
                      <a:pt x="605" y="797"/>
                    </a:lnTo>
                    <a:lnTo>
                      <a:pt x="603" y="797"/>
                    </a:lnTo>
                    <a:lnTo>
                      <a:pt x="602" y="797"/>
                    </a:lnTo>
                    <a:lnTo>
                      <a:pt x="600" y="797"/>
                    </a:lnTo>
                    <a:lnTo>
                      <a:pt x="598" y="797"/>
                    </a:lnTo>
                    <a:lnTo>
                      <a:pt x="598" y="799"/>
                    </a:lnTo>
                    <a:lnTo>
                      <a:pt x="598" y="801"/>
                    </a:lnTo>
                    <a:lnTo>
                      <a:pt x="597" y="802"/>
                    </a:lnTo>
                    <a:lnTo>
                      <a:pt x="597" y="804"/>
                    </a:lnTo>
                    <a:lnTo>
                      <a:pt x="598" y="804"/>
                    </a:lnTo>
                    <a:lnTo>
                      <a:pt x="598" y="805"/>
                    </a:lnTo>
                    <a:lnTo>
                      <a:pt x="600" y="805"/>
                    </a:lnTo>
                    <a:lnTo>
                      <a:pt x="600" y="807"/>
                    </a:lnTo>
                    <a:lnTo>
                      <a:pt x="602" y="807"/>
                    </a:lnTo>
                    <a:lnTo>
                      <a:pt x="602" y="809"/>
                    </a:lnTo>
                    <a:lnTo>
                      <a:pt x="603" y="809"/>
                    </a:lnTo>
                    <a:lnTo>
                      <a:pt x="603" y="810"/>
                    </a:lnTo>
                    <a:lnTo>
                      <a:pt x="605" y="810"/>
                    </a:lnTo>
                    <a:lnTo>
                      <a:pt x="605" y="812"/>
                    </a:lnTo>
                    <a:lnTo>
                      <a:pt x="606" y="812"/>
                    </a:lnTo>
                    <a:lnTo>
                      <a:pt x="606" y="813"/>
                    </a:lnTo>
                    <a:lnTo>
                      <a:pt x="606" y="812"/>
                    </a:lnTo>
                    <a:lnTo>
                      <a:pt x="608" y="812"/>
                    </a:lnTo>
                    <a:lnTo>
                      <a:pt x="609" y="812"/>
                    </a:lnTo>
                    <a:lnTo>
                      <a:pt x="609" y="810"/>
                    </a:lnTo>
                    <a:lnTo>
                      <a:pt x="611" y="810"/>
                    </a:lnTo>
                    <a:lnTo>
                      <a:pt x="611" y="809"/>
                    </a:lnTo>
                    <a:lnTo>
                      <a:pt x="613" y="809"/>
                    </a:lnTo>
                    <a:lnTo>
                      <a:pt x="614" y="809"/>
                    </a:lnTo>
                    <a:lnTo>
                      <a:pt x="614" y="810"/>
                    </a:lnTo>
                    <a:lnTo>
                      <a:pt x="616" y="810"/>
                    </a:lnTo>
                    <a:lnTo>
                      <a:pt x="614" y="810"/>
                    </a:lnTo>
                    <a:lnTo>
                      <a:pt x="614" y="812"/>
                    </a:lnTo>
                    <a:lnTo>
                      <a:pt x="614" y="813"/>
                    </a:lnTo>
                    <a:lnTo>
                      <a:pt x="614" y="815"/>
                    </a:lnTo>
                    <a:lnTo>
                      <a:pt x="614" y="816"/>
                    </a:lnTo>
                    <a:lnTo>
                      <a:pt x="616" y="816"/>
                    </a:lnTo>
                    <a:lnTo>
                      <a:pt x="616" y="818"/>
                    </a:lnTo>
                    <a:lnTo>
                      <a:pt x="617" y="818"/>
                    </a:lnTo>
                    <a:lnTo>
                      <a:pt x="617" y="816"/>
                    </a:lnTo>
                    <a:lnTo>
                      <a:pt x="619" y="816"/>
                    </a:lnTo>
                    <a:lnTo>
                      <a:pt x="619" y="818"/>
                    </a:lnTo>
                    <a:lnTo>
                      <a:pt x="619" y="820"/>
                    </a:lnTo>
                    <a:lnTo>
                      <a:pt x="617" y="820"/>
                    </a:lnTo>
                    <a:lnTo>
                      <a:pt x="617" y="821"/>
                    </a:lnTo>
                    <a:lnTo>
                      <a:pt x="617" y="823"/>
                    </a:lnTo>
                    <a:lnTo>
                      <a:pt x="617" y="824"/>
                    </a:lnTo>
                    <a:lnTo>
                      <a:pt x="617" y="826"/>
                    </a:lnTo>
                    <a:lnTo>
                      <a:pt x="616" y="828"/>
                    </a:lnTo>
                    <a:lnTo>
                      <a:pt x="616" y="829"/>
                    </a:lnTo>
                    <a:lnTo>
                      <a:pt x="614" y="829"/>
                    </a:lnTo>
                    <a:lnTo>
                      <a:pt x="613" y="829"/>
                    </a:lnTo>
                    <a:lnTo>
                      <a:pt x="613" y="828"/>
                    </a:lnTo>
                    <a:lnTo>
                      <a:pt x="611" y="828"/>
                    </a:lnTo>
                    <a:lnTo>
                      <a:pt x="611" y="829"/>
                    </a:lnTo>
                    <a:lnTo>
                      <a:pt x="613" y="829"/>
                    </a:lnTo>
                    <a:lnTo>
                      <a:pt x="611" y="831"/>
                    </a:lnTo>
                    <a:lnTo>
                      <a:pt x="611" y="832"/>
                    </a:lnTo>
                    <a:lnTo>
                      <a:pt x="609" y="834"/>
                    </a:lnTo>
                    <a:lnTo>
                      <a:pt x="608" y="834"/>
                    </a:lnTo>
                    <a:lnTo>
                      <a:pt x="608" y="835"/>
                    </a:lnTo>
                    <a:lnTo>
                      <a:pt x="606" y="837"/>
                    </a:lnTo>
                    <a:lnTo>
                      <a:pt x="608" y="837"/>
                    </a:lnTo>
                    <a:lnTo>
                      <a:pt x="609" y="839"/>
                    </a:lnTo>
                    <a:lnTo>
                      <a:pt x="609" y="840"/>
                    </a:lnTo>
                    <a:lnTo>
                      <a:pt x="609" y="842"/>
                    </a:lnTo>
                    <a:lnTo>
                      <a:pt x="609" y="843"/>
                    </a:lnTo>
                    <a:lnTo>
                      <a:pt x="611" y="843"/>
                    </a:lnTo>
                    <a:lnTo>
                      <a:pt x="611" y="845"/>
                    </a:lnTo>
                    <a:lnTo>
                      <a:pt x="609" y="845"/>
                    </a:lnTo>
                    <a:lnTo>
                      <a:pt x="608" y="845"/>
                    </a:lnTo>
                    <a:lnTo>
                      <a:pt x="608" y="847"/>
                    </a:lnTo>
                    <a:lnTo>
                      <a:pt x="606" y="847"/>
                    </a:lnTo>
                    <a:lnTo>
                      <a:pt x="605" y="847"/>
                    </a:lnTo>
                    <a:lnTo>
                      <a:pt x="603" y="847"/>
                    </a:lnTo>
                    <a:lnTo>
                      <a:pt x="602" y="847"/>
                    </a:lnTo>
                    <a:lnTo>
                      <a:pt x="600" y="848"/>
                    </a:lnTo>
                    <a:lnTo>
                      <a:pt x="598" y="848"/>
                    </a:lnTo>
                    <a:lnTo>
                      <a:pt x="597" y="848"/>
                    </a:lnTo>
                    <a:lnTo>
                      <a:pt x="595" y="848"/>
                    </a:lnTo>
                    <a:lnTo>
                      <a:pt x="594" y="848"/>
                    </a:lnTo>
                    <a:lnTo>
                      <a:pt x="592" y="848"/>
                    </a:lnTo>
                    <a:lnTo>
                      <a:pt x="590" y="848"/>
                    </a:lnTo>
                    <a:lnTo>
                      <a:pt x="592" y="848"/>
                    </a:lnTo>
                    <a:lnTo>
                      <a:pt x="592" y="850"/>
                    </a:lnTo>
                    <a:lnTo>
                      <a:pt x="592" y="851"/>
                    </a:lnTo>
                    <a:lnTo>
                      <a:pt x="590" y="853"/>
                    </a:lnTo>
                    <a:lnTo>
                      <a:pt x="590" y="854"/>
                    </a:lnTo>
                    <a:lnTo>
                      <a:pt x="590" y="856"/>
                    </a:lnTo>
                    <a:lnTo>
                      <a:pt x="589" y="856"/>
                    </a:lnTo>
                    <a:lnTo>
                      <a:pt x="587" y="856"/>
                    </a:lnTo>
                    <a:lnTo>
                      <a:pt x="587" y="858"/>
                    </a:lnTo>
                    <a:lnTo>
                      <a:pt x="586" y="858"/>
                    </a:lnTo>
                    <a:lnTo>
                      <a:pt x="584" y="858"/>
                    </a:lnTo>
                    <a:lnTo>
                      <a:pt x="583" y="858"/>
                    </a:lnTo>
                    <a:lnTo>
                      <a:pt x="581" y="858"/>
                    </a:lnTo>
                    <a:lnTo>
                      <a:pt x="579" y="858"/>
                    </a:lnTo>
                    <a:lnTo>
                      <a:pt x="578" y="858"/>
                    </a:lnTo>
                    <a:lnTo>
                      <a:pt x="576" y="859"/>
                    </a:lnTo>
                    <a:lnTo>
                      <a:pt x="575" y="859"/>
                    </a:lnTo>
                    <a:lnTo>
                      <a:pt x="573" y="859"/>
                    </a:lnTo>
                    <a:lnTo>
                      <a:pt x="573" y="858"/>
                    </a:lnTo>
                    <a:lnTo>
                      <a:pt x="573" y="856"/>
                    </a:lnTo>
                    <a:lnTo>
                      <a:pt x="573" y="854"/>
                    </a:lnTo>
                    <a:lnTo>
                      <a:pt x="571" y="854"/>
                    </a:lnTo>
                    <a:lnTo>
                      <a:pt x="571" y="853"/>
                    </a:lnTo>
                    <a:lnTo>
                      <a:pt x="571" y="851"/>
                    </a:lnTo>
                    <a:lnTo>
                      <a:pt x="570" y="850"/>
                    </a:lnTo>
                    <a:lnTo>
                      <a:pt x="570" y="848"/>
                    </a:lnTo>
                    <a:lnTo>
                      <a:pt x="568" y="847"/>
                    </a:lnTo>
                    <a:lnTo>
                      <a:pt x="568" y="845"/>
                    </a:lnTo>
                    <a:lnTo>
                      <a:pt x="568" y="843"/>
                    </a:lnTo>
                    <a:lnTo>
                      <a:pt x="568" y="842"/>
                    </a:lnTo>
                    <a:lnTo>
                      <a:pt x="568" y="840"/>
                    </a:lnTo>
                    <a:lnTo>
                      <a:pt x="567" y="840"/>
                    </a:lnTo>
                    <a:lnTo>
                      <a:pt x="567" y="839"/>
                    </a:lnTo>
                    <a:lnTo>
                      <a:pt x="567" y="837"/>
                    </a:lnTo>
                    <a:lnTo>
                      <a:pt x="567" y="835"/>
                    </a:lnTo>
                    <a:lnTo>
                      <a:pt x="567" y="834"/>
                    </a:lnTo>
                    <a:lnTo>
                      <a:pt x="567" y="832"/>
                    </a:lnTo>
                    <a:lnTo>
                      <a:pt x="567" y="831"/>
                    </a:lnTo>
                    <a:lnTo>
                      <a:pt x="565" y="831"/>
                    </a:lnTo>
                    <a:lnTo>
                      <a:pt x="565" y="829"/>
                    </a:lnTo>
                    <a:lnTo>
                      <a:pt x="565" y="828"/>
                    </a:lnTo>
                    <a:lnTo>
                      <a:pt x="564" y="828"/>
                    </a:lnTo>
                    <a:lnTo>
                      <a:pt x="564" y="826"/>
                    </a:lnTo>
                    <a:lnTo>
                      <a:pt x="562" y="826"/>
                    </a:lnTo>
                    <a:lnTo>
                      <a:pt x="562" y="824"/>
                    </a:lnTo>
                    <a:lnTo>
                      <a:pt x="560" y="824"/>
                    </a:lnTo>
                    <a:lnTo>
                      <a:pt x="559" y="824"/>
                    </a:lnTo>
                    <a:lnTo>
                      <a:pt x="557" y="824"/>
                    </a:lnTo>
                    <a:lnTo>
                      <a:pt x="557" y="826"/>
                    </a:lnTo>
                    <a:lnTo>
                      <a:pt x="556" y="826"/>
                    </a:lnTo>
                    <a:lnTo>
                      <a:pt x="556" y="824"/>
                    </a:lnTo>
                    <a:lnTo>
                      <a:pt x="554" y="824"/>
                    </a:lnTo>
                    <a:lnTo>
                      <a:pt x="554" y="826"/>
                    </a:lnTo>
                    <a:lnTo>
                      <a:pt x="552" y="826"/>
                    </a:lnTo>
                    <a:lnTo>
                      <a:pt x="552" y="824"/>
                    </a:lnTo>
                    <a:lnTo>
                      <a:pt x="551" y="824"/>
                    </a:lnTo>
                    <a:lnTo>
                      <a:pt x="551" y="823"/>
                    </a:lnTo>
                    <a:lnTo>
                      <a:pt x="549" y="823"/>
                    </a:lnTo>
                    <a:lnTo>
                      <a:pt x="549" y="821"/>
                    </a:lnTo>
                    <a:lnTo>
                      <a:pt x="548" y="821"/>
                    </a:lnTo>
                    <a:lnTo>
                      <a:pt x="548" y="820"/>
                    </a:lnTo>
                    <a:lnTo>
                      <a:pt x="546" y="820"/>
                    </a:lnTo>
                    <a:lnTo>
                      <a:pt x="544" y="820"/>
                    </a:lnTo>
                    <a:lnTo>
                      <a:pt x="544" y="818"/>
                    </a:lnTo>
                    <a:lnTo>
                      <a:pt x="543" y="818"/>
                    </a:lnTo>
                    <a:lnTo>
                      <a:pt x="541" y="818"/>
                    </a:lnTo>
                    <a:lnTo>
                      <a:pt x="541" y="816"/>
                    </a:lnTo>
                    <a:lnTo>
                      <a:pt x="541" y="815"/>
                    </a:lnTo>
                    <a:lnTo>
                      <a:pt x="541" y="813"/>
                    </a:lnTo>
                    <a:lnTo>
                      <a:pt x="541" y="812"/>
                    </a:lnTo>
                    <a:lnTo>
                      <a:pt x="540" y="812"/>
                    </a:lnTo>
                    <a:lnTo>
                      <a:pt x="540" y="810"/>
                    </a:lnTo>
                    <a:lnTo>
                      <a:pt x="540" y="809"/>
                    </a:lnTo>
                    <a:lnTo>
                      <a:pt x="540" y="807"/>
                    </a:lnTo>
                    <a:lnTo>
                      <a:pt x="540" y="805"/>
                    </a:lnTo>
                    <a:lnTo>
                      <a:pt x="538" y="805"/>
                    </a:lnTo>
                    <a:lnTo>
                      <a:pt x="537" y="805"/>
                    </a:lnTo>
                    <a:lnTo>
                      <a:pt x="533" y="805"/>
                    </a:lnTo>
                    <a:lnTo>
                      <a:pt x="532" y="805"/>
                    </a:lnTo>
                    <a:lnTo>
                      <a:pt x="530" y="805"/>
                    </a:lnTo>
                    <a:lnTo>
                      <a:pt x="529" y="805"/>
                    </a:lnTo>
                    <a:lnTo>
                      <a:pt x="529" y="804"/>
                    </a:lnTo>
                    <a:lnTo>
                      <a:pt x="527" y="804"/>
                    </a:lnTo>
                    <a:lnTo>
                      <a:pt x="527" y="802"/>
                    </a:lnTo>
                    <a:lnTo>
                      <a:pt x="527" y="801"/>
                    </a:lnTo>
                    <a:lnTo>
                      <a:pt x="529" y="799"/>
                    </a:lnTo>
                    <a:lnTo>
                      <a:pt x="529" y="797"/>
                    </a:lnTo>
                    <a:lnTo>
                      <a:pt x="529" y="796"/>
                    </a:lnTo>
                    <a:lnTo>
                      <a:pt x="527" y="796"/>
                    </a:lnTo>
                    <a:lnTo>
                      <a:pt x="527" y="794"/>
                    </a:lnTo>
                    <a:lnTo>
                      <a:pt x="527" y="793"/>
                    </a:lnTo>
                    <a:lnTo>
                      <a:pt x="525" y="794"/>
                    </a:lnTo>
                    <a:lnTo>
                      <a:pt x="524" y="794"/>
                    </a:lnTo>
                    <a:lnTo>
                      <a:pt x="522" y="794"/>
                    </a:lnTo>
                    <a:lnTo>
                      <a:pt x="521" y="794"/>
                    </a:lnTo>
                    <a:lnTo>
                      <a:pt x="519" y="794"/>
                    </a:lnTo>
                    <a:lnTo>
                      <a:pt x="518" y="794"/>
                    </a:lnTo>
                    <a:lnTo>
                      <a:pt x="516" y="794"/>
                    </a:lnTo>
                    <a:lnTo>
                      <a:pt x="514" y="794"/>
                    </a:lnTo>
                    <a:lnTo>
                      <a:pt x="513" y="794"/>
                    </a:lnTo>
                    <a:lnTo>
                      <a:pt x="511" y="794"/>
                    </a:lnTo>
                    <a:lnTo>
                      <a:pt x="510" y="794"/>
                    </a:lnTo>
                    <a:lnTo>
                      <a:pt x="508" y="794"/>
                    </a:lnTo>
                    <a:lnTo>
                      <a:pt x="506" y="794"/>
                    </a:lnTo>
                    <a:lnTo>
                      <a:pt x="505" y="793"/>
                    </a:lnTo>
                    <a:lnTo>
                      <a:pt x="505" y="794"/>
                    </a:lnTo>
                    <a:lnTo>
                      <a:pt x="505" y="796"/>
                    </a:lnTo>
                    <a:lnTo>
                      <a:pt x="503" y="796"/>
                    </a:lnTo>
                    <a:lnTo>
                      <a:pt x="503" y="797"/>
                    </a:lnTo>
                    <a:lnTo>
                      <a:pt x="503" y="796"/>
                    </a:lnTo>
                    <a:lnTo>
                      <a:pt x="502" y="796"/>
                    </a:lnTo>
                    <a:lnTo>
                      <a:pt x="502" y="797"/>
                    </a:lnTo>
                    <a:lnTo>
                      <a:pt x="500" y="797"/>
                    </a:lnTo>
                    <a:lnTo>
                      <a:pt x="499" y="797"/>
                    </a:lnTo>
                    <a:lnTo>
                      <a:pt x="497" y="796"/>
                    </a:lnTo>
                    <a:lnTo>
                      <a:pt x="495" y="796"/>
                    </a:lnTo>
                    <a:lnTo>
                      <a:pt x="495" y="797"/>
                    </a:lnTo>
                    <a:lnTo>
                      <a:pt x="495" y="799"/>
                    </a:lnTo>
                    <a:lnTo>
                      <a:pt x="494" y="799"/>
                    </a:lnTo>
                    <a:lnTo>
                      <a:pt x="492" y="799"/>
                    </a:lnTo>
                    <a:lnTo>
                      <a:pt x="491" y="799"/>
                    </a:lnTo>
                    <a:lnTo>
                      <a:pt x="489" y="797"/>
                    </a:lnTo>
                    <a:lnTo>
                      <a:pt x="487" y="797"/>
                    </a:lnTo>
                    <a:lnTo>
                      <a:pt x="486" y="797"/>
                    </a:lnTo>
                    <a:lnTo>
                      <a:pt x="484" y="797"/>
                    </a:lnTo>
                    <a:lnTo>
                      <a:pt x="484" y="796"/>
                    </a:lnTo>
                    <a:lnTo>
                      <a:pt x="483" y="796"/>
                    </a:lnTo>
                    <a:lnTo>
                      <a:pt x="481" y="794"/>
                    </a:lnTo>
                    <a:lnTo>
                      <a:pt x="481" y="796"/>
                    </a:lnTo>
                    <a:lnTo>
                      <a:pt x="480" y="794"/>
                    </a:lnTo>
                    <a:lnTo>
                      <a:pt x="480" y="793"/>
                    </a:lnTo>
                    <a:lnTo>
                      <a:pt x="480" y="791"/>
                    </a:lnTo>
                    <a:lnTo>
                      <a:pt x="480" y="789"/>
                    </a:lnTo>
                    <a:lnTo>
                      <a:pt x="480" y="788"/>
                    </a:lnTo>
                    <a:lnTo>
                      <a:pt x="480" y="786"/>
                    </a:lnTo>
                    <a:lnTo>
                      <a:pt x="481" y="786"/>
                    </a:lnTo>
                    <a:lnTo>
                      <a:pt x="481" y="785"/>
                    </a:lnTo>
                    <a:lnTo>
                      <a:pt x="481" y="783"/>
                    </a:lnTo>
                    <a:lnTo>
                      <a:pt x="481" y="782"/>
                    </a:lnTo>
                    <a:lnTo>
                      <a:pt x="483" y="782"/>
                    </a:lnTo>
                    <a:lnTo>
                      <a:pt x="483" y="780"/>
                    </a:lnTo>
                    <a:lnTo>
                      <a:pt x="483" y="778"/>
                    </a:lnTo>
                    <a:lnTo>
                      <a:pt x="483" y="777"/>
                    </a:lnTo>
                    <a:lnTo>
                      <a:pt x="481" y="775"/>
                    </a:lnTo>
                    <a:lnTo>
                      <a:pt x="481" y="774"/>
                    </a:lnTo>
                    <a:lnTo>
                      <a:pt x="481" y="772"/>
                    </a:lnTo>
                    <a:lnTo>
                      <a:pt x="481" y="770"/>
                    </a:lnTo>
                    <a:lnTo>
                      <a:pt x="483" y="770"/>
                    </a:lnTo>
                    <a:lnTo>
                      <a:pt x="483" y="769"/>
                    </a:lnTo>
                    <a:lnTo>
                      <a:pt x="484" y="769"/>
                    </a:lnTo>
                    <a:lnTo>
                      <a:pt x="484" y="767"/>
                    </a:lnTo>
                    <a:lnTo>
                      <a:pt x="486" y="767"/>
                    </a:lnTo>
                    <a:lnTo>
                      <a:pt x="487" y="767"/>
                    </a:lnTo>
                    <a:lnTo>
                      <a:pt x="487" y="769"/>
                    </a:lnTo>
                    <a:lnTo>
                      <a:pt x="487" y="767"/>
                    </a:lnTo>
                    <a:lnTo>
                      <a:pt x="489" y="767"/>
                    </a:lnTo>
                    <a:lnTo>
                      <a:pt x="491" y="767"/>
                    </a:lnTo>
                    <a:lnTo>
                      <a:pt x="491" y="766"/>
                    </a:lnTo>
                    <a:lnTo>
                      <a:pt x="489" y="766"/>
                    </a:lnTo>
                    <a:lnTo>
                      <a:pt x="489" y="764"/>
                    </a:lnTo>
                    <a:lnTo>
                      <a:pt x="491" y="764"/>
                    </a:lnTo>
                    <a:lnTo>
                      <a:pt x="491" y="763"/>
                    </a:lnTo>
                    <a:lnTo>
                      <a:pt x="489" y="763"/>
                    </a:lnTo>
                    <a:lnTo>
                      <a:pt x="489" y="761"/>
                    </a:lnTo>
                    <a:lnTo>
                      <a:pt x="487" y="761"/>
                    </a:lnTo>
                    <a:lnTo>
                      <a:pt x="487" y="759"/>
                    </a:lnTo>
                    <a:lnTo>
                      <a:pt x="487" y="758"/>
                    </a:lnTo>
                    <a:lnTo>
                      <a:pt x="486" y="758"/>
                    </a:lnTo>
                    <a:lnTo>
                      <a:pt x="486" y="756"/>
                    </a:lnTo>
                    <a:lnTo>
                      <a:pt x="486" y="755"/>
                    </a:lnTo>
                    <a:lnTo>
                      <a:pt x="486" y="753"/>
                    </a:lnTo>
                    <a:lnTo>
                      <a:pt x="484" y="753"/>
                    </a:lnTo>
                    <a:lnTo>
                      <a:pt x="484" y="751"/>
                    </a:lnTo>
                    <a:lnTo>
                      <a:pt x="483" y="751"/>
                    </a:lnTo>
                    <a:lnTo>
                      <a:pt x="481" y="751"/>
                    </a:lnTo>
                    <a:lnTo>
                      <a:pt x="481" y="750"/>
                    </a:lnTo>
                    <a:lnTo>
                      <a:pt x="481" y="748"/>
                    </a:lnTo>
                    <a:lnTo>
                      <a:pt x="480" y="748"/>
                    </a:lnTo>
                    <a:lnTo>
                      <a:pt x="478" y="748"/>
                    </a:lnTo>
                    <a:lnTo>
                      <a:pt x="478" y="750"/>
                    </a:lnTo>
                    <a:lnTo>
                      <a:pt x="476" y="750"/>
                    </a:lnTo>
                    <a:lnTo>
                      <a:pt x="476" y="748"/>
                    </a:lnTo>
                    <a:lnTo>
                      <a:pt x="475" y="748"/>
                    </a:lnTo>
                    <a:lnTo>
                      <a:pt x="473" y="748"/>
                    </a:lnTo>
                    <a:lnTo>
                      <a:pt x="473" y="750"/>
                    </a:lnTo>
                    <a:lnTo>
                      <a:pt x="472" y="750"/>
                    </a:lnTo>
                    <a:lnTo>
                      <a:pt x="470" y="750"/>
                    </a:lnTo>
                    <a:lnTo>
                      <a:pt x="470" y="748"/>
                    </a:lnTo>
                    <a:lnTo>
                      <a:pt x="468" y="748"/>
                    </a:lnTo>
                    <a:lnTo>
                      <a:pt x="467" y="747"/>
                    </a:lnTo>
                    <a:lnTo>
                      <a:pt x="467" y="745"/>
                    </a:lnTo>
                    <a:lnTo>
                      <a:pt x="465" y="745"/>
                    </a:lnTo>
                    <a:lnTo>
                      <a:pt x="465" y="744"/>
                    </a:lnTo>
                    <a:lnTo>
                      <a:pt x="464" y="744"/>
                    </a:lnTo>
                    <a:lnTo>
                      <a:pt x="462" y="742"/>
                    </a:lnTo>
                    <a:lnTo>
                      <a:pt x="462" y="740"/>
                    </a:lnTo>
                    <a:lnTo>
                      <a:pt x="461" y="740"/>
                    </a:lnTo>
                    <a:lnTo>
                      <a:pt x="461" y="739"/>
                    </a:lnTo>
                    <a:lnTo>
                      <a:pt x="459" y="739"/>
                    </a:lnTo>
                    <a:lnTo>
                      <a:pt x="457" y="739"/>
                    </a:lnTo>
                    <a:lnTo>
                      <a:pt x="456" y="739"/>
                    </a:lnTo>
                    <a:lnTo>
                      <a:pt x="454" y="737"/>
                    </a:lnTo>
                    <a:lnTo>
                      <a:pt x="454" y="736"/>
                    </a:lnTo>
                    <a:lnTo>
                      <a:pt x="454" y="734"/>
                    </a:lnTo>
                    <a:lnTo>
                      <a:pt x="454" y="732"/>
                    </a:lnTo>
                    <a:lnTo>
                      <a:pt x="454" y="731"/>
                    </a:lnTo>
                    <a:lnTo>
                      <a:pt x="454" y="729"/>
                    </a:lnTo>
                    <a:lnTo>
                      <a:pt x="454" y="728"/>
                    </a:lnTo>
                    <a:lnTo>
                      <a:pt x="454" y="726"/>
                    </a:lnTo>
                    <a:lnTo>
                      <a:pt x="454" y="725"/>
                    </a:lnTo>
                    <a:lnTo>
                      <a:pt x="454" y="723"/>
                    </a:lnTo>
                    <a:lnTo>
                      <a:pt x="454" y="721"/>
                    </a:lnTo>
                    <a:lnTo>
                      <a:pt x="454" y="720"/>
                    </a:lnTo>
                    <a:lnTo>
                      <a:pt x="453" y="720"/>
                    </a:lnTo>
                    <a:lnTo>
                      <a:pt x="453" y="718"/>
                    </a:lnTo>
                    <a:lnTo>
                      <a:pt x="451" y="718"/>
                    </a:lnTo>
                    <a:lnTo>
                      <a:pt x="451" y="717"/>
                    </a:lnTo>
                    <a:lnTo>
                      <a:pt x="451" y="715"/>
                    </a:lnTo>
                    <a:lnTo>
                      <a:pt x="451" y="713"/>
                    </a:lnTo>
                    <a:lnTo>
                      <a:pt x="451" y="712"/>
                    </a:lnTo>
                    <a:lnTo>
                      <a:pt x="449" y="712"/>
                    </a:lnTo>
                    <a:lnTo>
                      <a:pt x="449" y="710"/>
                    </a:lnTo>
                    <a:lnTo>
                      <a:pt x="449" y="709"/>
                    </a:lnTo>
                    <a:lnTo>
                      <a:pt x="451" y="709"/>
                    </a:lnTo>
                    <a:lnTo>
                      <a:pt x="451" y="707"/>
                    </a:lnTo>
                    <a:lnTo>
                      <a:pt x="451" y="706"/>
                    </a:lnTo>
                    <a:lnTo>
                      <a:pt x="451" y="704"/>
                    </a:lnTo>
                    <a:lnTo>
                      <a:pt x="449" y="704"/>
                    </a:lnTo>
                    <a:lnTo>
                      <a:pt x="449" y="702"/>
                    </a:lnTo>
                    <a:lnTo>
                      <a:pt x="449" y="701"/>
                    </a:lnTo>
                    <a:lnTo>
                      <a:pt x="448" y="701"/>
                    </a:lnTo>
                    <a:lnTo>
                      <a:pt x="446" y="701"/>
                    </a:lnTo>
                    <a:lnTo>
                      <a:pt x="445" y="701"/>
                    </a:lnTo>
                    <a:lnTo>
                      <a:pt x="443" y="701"/>
                    </a:lnTo>
                    <a:lnTo>
                      <a:pt x="442" y="702"/>
                    </a:lnTo>
                    <a:lnTo>
                      <a:pt x="442" y="704"/>
                    </a:lnTo>
                    <a:lnTo>
                      <a:pt x="440" y="704"/>
                    </a:lnTo>
                    <a:lnTo>
                      <a:pt x="438" y="704"/>
                    </a:lnTo>
                    <a:lnTo>
                      <a:pt x="437" y="704"/>
                    </a:lnTo>
                    <a:lnTo>
                      <a:pt x="435" y="704"/>
                    </a:lnTo>
                    <a:lnTo>
                      <a:pt x="434" y="704"/>
                    </a:lnTo>
                    <a:lnTo>
                      <a:pt x="434" y="702"/>
                    </a:lnTo>
                    <a:lnTo>
                      <a:pt x="435" y="701"/>
                    </a:lnTo>
                    <a:lnTo>
                      <a:pt x="434" y="701"/>
                    </a:lnTo>
                    <a:lnTo>
                      <a:pt x="434" y="699"/>
                    </a:lnTo>
                    <a:lnTo>
                      <a:pt x="432" y="699"/>
                    </a:lnTo>
                    <a:lnTo>
                      <a:pt x="430" y="699"/>
                    </a:lnTo>
                    <a:lnTo>
                      <a:pt x="430" y="698"/>
                    </a:lnTo>
                    <a:lnTo>
                      <a:pt x="429" y="698"/>
                    </a:lnTo>
                    <a:lnTo>
                      <a:pt x="427" y="698"/>
                    </a:lnTo>
                    <a:lnTo>
                      <a:pt x="427" y="696"/>
                    </a:lnTo>
                    <a:lnTo>
                      <a:pt x="427" y="694"/>
                    </a:lnTo>
                    <a:lnTo>
                      <a:pt x="427" y="693"/>
                    </a:lnTo>
                    <a:lnTo>
                      <a:pt x="426" y="693"/>
                    </a:lnTo>
                    <a:lnTo>
                      <a:pt x="424" y="693"/>
                    </a:lnTo>
                    <a:lnTo>
                      <a:pt x="424" y="691"/>
                    </a:lnTo>
                    <a:lnTo>
                      <a:pt x="426" y="691"/>
                    </a:lnTo>
                    <a:lnTo>
                      <a:pt x="426" y="690"/>
                    </a:lnTo>
                    <a:lnTo>
                      <a:pt x="424" y="690"/>
                    </a:lnTo>
                    <a:lnTo>
                      <a:pt x="423" y="688"/>
                    </a:lnTo>
                    <a:lnTo>
                      <a:pt x="421" y="688"/>
                    </a:lnTo>
                    <a:lnTo>
                      <a:pt x="419" y="688"/>
                    </a:lnTo>
                    <a:lnTo>
                      <a:pt x="418" y="688"/>
                    </a:lnTo>
                    <a:lnTo>
                      <a:pt x="416" y="688"/>
                    </a:lnTo>
                    <a:lnTo>
                      <a:pt x="416" y="690"/>
                    </a:lnTo>
                    <a:lnTo>
                      <a:pt x="416" y="691"/>
                    </a:lnTo>
                    <a:lnTo>
                      <a:pt x="415" y="691"/>
                    </a:lnTo>
                    <a:lnTo>
                      <a:pt x="415" y="693"/>
                    </a:lnTo>
                    <a:lnTo>
                      <a:pt x="413" y="693"/>
                    </a:lnTo>
                    <a:lnTo>
                      <a:pt x="411" y="693"/>
                    </a:lnTo>
                    <a:lnTo>
                      <a:pt x="410" y="691"/>
                    </a:lnTo>
                    <a:lnTo>
                      <a:pt x="408" y="691"/>
                    </a:lnTo>
                    <a:lnTo>
                      <a:pt x="408" y="690"/>
                    </a:lnTo>
                    <a:lnTo>
                      <a:pt x="407" y="690"/>
                    </a:lnTo>
                    <a:lnTo>
                      <a:pt x="405" y="690"/>
                    </a:lnTo>
                    <a:lnTo>
                      <a:pt x="405" y="688"/>
                    </a:lnTo>
                    <a:lnTo>
                      <a:pt x="404" y="688"/>
                    </a:lnTo>
                    <a:lnTo>
                      <a:pt x="404" y="690"/>
                    </a:lnTo>
                    <a:lnTo>
                      <a:pt x="404" y="691"/>
                    </a:lnTo>
                    <a:lnTo>
                      <a:pt x="402" y="691"/>
                    </a:lnTo>
                    <a:lnTo>
                      <a:pt x="400" y="690"/>
                    </a:lnTo>
                    <a:lnTo>
                      <a:pt x="399" y="690"/>
                    </a:lnTo>
                    <a:lnTo>
                      <a:pt x="399" y="688"/>
                    </a:lnTo>
                    <a:lnTo>
                      <a:pt x="397" y="688"/>
                    </a:lnTo>
                    <a:lnTo>
                      <a:pt x="396" y="688"/>
                    </a:lnTo>
                    <a:lnTo>
                      <a:pt x="394" y="686"/>
                    </a:lnTo>
                    <a:lnTo>
                      <a:pt x="394" y="685"/>
                    </a:lnTo>
                    <a:lnTo>
                      <a:pt x="394" y="683"/>
                    </a:lnTo>
                    <a:lnTo>
                      <a:pt x="392" y="683"/>
                    </a:lnTo>
                    <a:lnTo>
                      <a:pt x="391" y="683"/>
                    </a:lnTo>
                    <a:lnTo>
                      <a:pt x="391" y="682"/>
                    </a:lnTo>
                    <a:lnTo>
                      <a:pt x="389" y="682"/>
                    </a:lnTo>
                    <a:lnTo>
                      <a:pt x="389" y="683"/>
                    </a:lnTo>
                    <a:lnTo>
                      <a:pt x="388" y="683"/>
                    </a:lnTo>
                    <a:lnTo>
                      <a:pt x="386" y="682"/>
                    </a:lnTo>
                    <a:lnTo>
                      <a:pt x="385" y="683"/>
                    </a:lnTo>
                    <a:lnTo>
                      <a:pt x="383" y="683"/>
                    </a:lnTo>
                    <a:lnTo>
                      <a:pt x="381" y="683"/>
                    </a:lnTo>
                    <a:lnTo>
                      <a:pt x="380" y="683"/>
                    </a:lnTo>
                    <a:lnTo>
                      <a:pt x="378" y="683"/>
                    </a:lnTo>
                    <a:lnTo>
                      <a:pt x="378" y="682"/>
                    </a:lnTo>
                    <a:lnTo>
                      <a:pt x="377" y="682"/>
                    </a:lnTo>
                    <a:lnTo>
                      <a:pt x="375" y="682"/>
                    </a:lnTo>
                    <a:lnTo>
                      <a:pt x="373" y="682"/>
                    </a:lnTo>
                    <a:lnTo>
                      <a:pt x="372" y="682"/>
                    </a:lnTo>
                    <a:lnTo>
                      <a:pt x="370" y="682"/>
                    </a:lnTo>
                    <a:lnTo>
                      <a:pt x="369" y="682"/>
                    </a:lnTo>
                    <a:lnTo>
                      <a:pt x="369" y="680"/>
                    </a:lnTo>
                    <a:lnTo>
                      <a:pt x="367" y="680"/>
                    </a:lnTo>
                    <a:lnTo>
                      <a:pt x="367" y="679"/>
                    </a:lnTo>
                    <a:lnTo>
                      <a:pt x="366" y="679"/>
                    </a:lnTo>
                    <a:lnTo>
                      <a:pt x="367" y="679"/>
                    </a:lnTo>
                    <a:lnTo>
                      <a:pt x="369" y="677"/>
                    </a:lnTo>
                    <a:lnTo>
                      <a:pt x="370" y="677"/>
                    </a:lnTo>
                    <a:lnTo>
                      <a:pt x="372" y="677"/>
                    </a:lnTo>
                    <a:lnTo>
                      <a:pt x="373" y="675"/>
                    </a:lnTo>
                    <a:lnTo>
                      <a:pt x="373" y="674"/>
                    </a:lnTo>
                    <a:lnTo>
                      <a:pt x="373" y="672"/>
                    </a:lnTo>
                    <a:lnTo>
                      <a:pt x="373" y="671"/>
                    </a:lnTo>
                    <a:lnTo>
                      <a:pt x="372" y="671"/>
                    </a:lnTo>
                    <a:lnTo>
                      <a:pt x="372" y="669"/>
                    </a:lnTo>
                    <a:lnTo>
                      <a:pt x="372" y="667"/>
                    </a:lnTo>
                    <a:lnTo>
                      <a:pt x="370" y="667"/>
                    </a:lnTo>
                    <a:lnTo>
                      <a:pt x="370" y="666"/>
                    </a:lnTo>
                    <a:lnTo>
                      <a:pt x="369" y="666"/>
                    </a:lnTo>
                    <a:lnTo>
                      <a:pt x="369" y="664"/>
                    </a:lnTo>
                    <a:lnTo>
                      <a:pt x="367" y="664"/>
                    </a:lnTo>
                    <a:lnTo>
                      <a:pt x="369" y="664"/>
                    </a:lnTo>
                    <a:lnTo>
                      <a:pt x="370" y="663"/>
                    </a:lnTo>
                    <a:lnTo>
                      <a:pt x="372" y="663"/>
                    </a:lnTo>
                    <a:lnTo>
                      <a:pt x="370" y="663"/>
                    </a:lnTo>
                    <a:lnTo>
                      <a:pt x="370" y="661"/>
                    </a:lnTo>
                    <a:lnTo>
                      <a:pt x="369" y="661"/>
                    </a:lnTo>
                    <a:lnTo>
                      <a:pt x="369" y="660"/>
                    </a:lnTo>
                    <a:lnTo>
                      <a:pt x="369" y="658"/>
                    </a:lnTo>
                    <a:lnTo>
                      <a:pt x="369" y="656"/>
                    </a:lnTo>
                    <a:lnTo>
                      <a:pt x="367" y="656"/>
                    </a:lnTo>
                    <a:lnTo>
                      <a:pt x="366" y="655"/>
                    </a:lnTo>
                    <a:lnTo>
                      <a:pt x="364" y="655"/>
                    </a:lnTo>
                    <a:lnTo>
                      <a:pt x="364" y="653"/>
                    </a:lnTo>
                    <a:lnTo>
                      <a:pt x="364" y="652"/>
                    </a:lnTo>
                    <a:lnTo>
                      <a:pt x="362" y="650"/>
                    </a:lnTo>
                    <a:lnTo>
                      <a:pt x="362" y="648"/>
                    </a:lnTo>
                    <a:lnTo>
                      <a:pt x="362" y="647"/>
                    </a:lnTo>
                    <a:lnTo>
                      <a:pt x="361" y="647"/>
                    </a:lnTo>
                    <a:lnTo>
                      <a:pt x="362" y="647"/>
                    </a:lnTo>
                    <a:lnTo>
                      <a:pt x="364" y="647"/>
                    </a:lnTo>
                    <a:lnTo>
                      <a:pt x="366" y="647"/>
                    </a:lnTo>
                    <a:lnTo>
                      <a:pt x="367" y="647"/>
                    </a:lnTo>
                    <a:lnTo>
                      <a:pt x="367" y="648"/>
                    </a:lnTo>
                    <a:lnTo>
                      <a:pt x="369" y="648"/>
                    </a:lnTo>
                    <a:lnTo>
                      <a:pt x="370" y="648"/>
                    </a:lnTo>
                    <a:lnTo>
                      <a:pt x="372" y="648"/>
                    </a:lnTo>
                    <a:lnTo>
                      <a:pt x="373" y="648"/>
                    </a:lnTo>
                    <a:lnTo>
                      <a:pt x="373" y="647"/>
                    </a:lnTo>
                    <a:lnTo>
                      <a:pt x="375" y="647"/>
                    </a:lnTo>
                    <a:lnTo>
                      <a:pt x="375" y="645"/>
                    </a:lnTo>
                    <a:lnTo>
                      <a:pt x="375" y="644"/>
                    </a:lnTo>
                    <a:lnTo>
                      <a:pt x="375" y="642"/>
                    </a:lnTo>
                    <a:lnTo>
                      <a:pt x="377" y="642"/>
                    </a:lnTo>
                    <a:lnTo>
                      <a:pt x="377" y="641"/>
                    </a:lnTo>
                    <a:lnTo>
                      <a:pt x="377" y="639"/>
                    </a:lnTo>
                    <a:lnTo>
                      <a:pt x="377" y="641"/>
                    </a:lnTo>
                    <a:lnTo>
                      <a:pt x="375" y="641"/>
                    </a:lnTo>
                    <a:lnTo>
                      <a:pt x="375" y="639"/>
                    </a:lnTo>
                    <a:lnTo>
                      <a:pt x="373" y="639"/>
                    </a:lnTo>
                    <a:lnTo>
                      <a:pt x="373" y="637"/>
                    </a:lnTo>
                    <a:lnTo>
                      <a:pt x="372" y="637"/>
                    </a:lnTo>
                    <a:lnTo>
                      <a:pt x="370" y="637"/>
                    </a:lnTo>
                    <a:lnTo>
                      <a:pt x="369" y="637"/>
                    </a:lnTo>
                    <a:lnTo>
                      <a:pt x="369" y="639"/>
                    </a:lnTo>
                    <a:lnTo>
                      <a:pt x="367" y="639"/>
                    </a:lnTo>
                    <a:lnTo>
                      <a:pt x="367" y="641"/>
                    </a:lnTo>
                    <a:lnTo>
                      <a:pt x="366" y="641"/>
                    </a:lnTo>
                    <a:lnTo>
                      <a:pt x="364" y="641"/>
                    </a:lnTo>
                    <a:lnTo>
                      <a:pt x="364" y="642"/>
                    </a:lnTo>
                    <a:lnTo>
                      <a:pt x="362" y="642"/>
                    </a:lnTo>
                    <a:lnTo>
                      <a:pt x="361" y="642"/>
                    </a:lnTo>
                    <a:lnTo>
                      <a:pt x="361" y="641"/>
                    </a:lnTo>
                    <a:lnTo>
                      <a:pt x="359" y="641"/>
                    </a:lnTo>
                    <a:lnTo>
                      <a:pt x="359" y="639"/>
                    </a:lnTo>
                    <a:lnTo>
                      <a:pt x="358" y="639"/>
                    </a:lnTo>
                    <a:lnTo>
                      <a:pt x="358" y="637"/>
                    </a:lnTo>
                    <a:lnTo>
                      <a:pt x="356" y="637"/>
                    </a:lnTo>
                    <a:lnTo>
                      <a:pt x="356" y="636"/>
                    </a:lnTo>
                    <a:lnTo>
                      <a:pt x="354" y="636"/>
                    </a:lnTo>
                    <a:lnTo>
                      <a:pt x="354" y="634"/>
                    </a:lnTo>
                    <a:lnTo>
                      <a:pt x="353" y="634"/>
                    </a:lnTo>
                    <a:lnTo>
                      <a:pt x="353" y="633"/>
                    </a:lnTo>
                    <a:lnTo>
                      <a:pt x="351" y="633"/>
                    </a:lnTo>
                    <a:lnTo>
                      <a:pt x="351" y="631"/>
                    </a:lnTo>
                    <a:lnTo>
                      <a:pt x="353" y="631"/>
                    </a:lnTo>
                    <a:lnTo>
                      <a:pt x="351" y="631"/>
                    </a:lnTo>
                    <a:lnTo>
                      <a:pt x="351" y="629"/>
                    </a:lnTo>
                    <a:lnTo>
                      <a:pt x="351" y="628"/>
                    </a:lnTo>
                    <a:lnTo>
                      <a:pt x="350" y="628"/>
                    </a:lnTo>
                    <a:lnTo>
                      <a:pt x="348" y="628"/>
                    </a:lnTo>
                    <a:lnTo>
                      <a:pt x="346" y="628"/>
                    </a:lnTo>
                    <a:lnTo>
                      <a:pt x="346" y="626"/>
                    </a:lnTo>
                    <a:lnTo>
                      <a:pt x="345" y="628"/>
                    </a:lnTo>
                    <a:lnTo>
                      <a:pt x="345" y="626"/>
                    </a:lnTo>
                    <a:lnTo>
                      <a:pt x="343" y="626"/>
                    </a:lnTo>
                    <a:lnTo>
                      <a:pt x="343" y="625"/>
                    </a:lnTo>
                    <a:lnTo>
                      <a:pt x="342" y="625"/>
                    </a:lnTo>
                    <a:lnTo>
                      <a:pt x="342" y="623"/>
                    </a:lnTo>
                    <a:lnTo>
                      <a:pt x="340" y="623"/>
                    </a:lnTo>
                    <a:lnTo>
                      <a:pt x="340" y="622"/>
                    </a:lnTo>
                    <a:lnTo>
                      <a:pt x="339" y="622"/>
                    </a:lnTo>
                    <a:lnTo>
                      <a:pt x="339" y="620"/>
                    </a:lnTo>
                    <a:lnTo>
                      <a:pt x="337" y="620"/>
                    </a:lnTo>
                    <a:lnTo>
                      <a:pt x="335" y="620"/>
                    </a:lnTo>
                    <a:lnTo>
                      <a:pt x="335" y="618"/>
                    </a:lnTo>
                    <a:lnTo>
                      <a:pt x="334" y="618"/>
                    </a:lnTo>
                    <a:lnTo>
                      <a:pt x="332" y="618"/>
                    </a:lnTo>
                    <a:lnTo>
                      <a:pt x="332" y="617"/>
                    </a:lnTo>
                    <a:lnTo>
                      <a:pt x="331" y="617"/>
                    </a:lnTo>
                    <a:lnTo>
                      <a:pt x="331" y="618"/>
                    </a:lnTo>
                    <a:lnTo>
                      <a:pt x="329" y="618"/>
                    </a:lnTo>
                    <a:lnTo>
                      <a:pt x="329" y="620"/>
                    </a:lnTo>
                    <a:lnTo>
                      <a:pt x="327" y="620"/>
                    </a:lnTo>
                    <a:lnTo>
                      <a:pt x="326" y="620"/>
                    </a:lnTo>
                    <a:lnTo>
                      <a:pt x="326" y="622"/>
                    </a:lnTo>
                    <a:lnTo>
                      <a:pt x="324" y="623"/>
                    </a:lnTo>
                    <a:lnTo>
                      <a:pt x="324" y="622"/>
                    </a:lnTo>
                    <a:lnTo>
                      <a:pt x="323" y="622"/>
                    </a:lnTo>
                    <a:lnTo>
                      <a:pt x="321" y="622"/>
                    </a:lnTo>
                    <a:lnTo>
                      <a:pt x="320" y="622"/>
                    </a:lnTo>
                    <a:lnTo>
                      <a:pt x="318" y="622"/>
                    </a:lnTo>
                    <a:lnTo>
                      <a:pt x="316" y="622"/>
                    </a:lnTo>
                    <a:lnTo>
                      <a:pt x="315" y="622"/>
                    </a:lnTo>
                    <a:lnTo>
                      <a:pt x="315" y="620"/>
                    </a:lnTo>
                    <a:lnTo>
                      <a:pt x="313" y="620"/>
                    </a:lnTo>
                    <a:lnTo>
                      <a:pt x="313" y="618"/>
                    </a:lnTo>
                    <a:lnTo>
                      <a:pt x="312" y="618"/>
                    </a:lnTo>
                    <a:lnTo>
                      <a:pt x="312" y="617"/>
                    </a:lnTo>
                    <a:lnTo>
                      <a:pt x="310" y="617"/>
                    </a:lnTo>
                    <a:lnTo>
                      <a:pt x="310" y="615"/>
                    </a:lnTo>
                    <a:lnTo>
                      <a:pt x="310" y="614"/>
                    </a:lnTo>
                    <a:lnTo>
                      <a:pt x="308" y="614"/>
                    </a:lnTo>
                    <a:lnTo>
                      <a:pt x="308" y="612"/>
                    </a:lnTo>
                    <a:lnTo>
                      <a:pt x="308" y="610"/>
                    </a:lnTo>
                    <a:lnTo>
                      <a:pt x="296" y="609"/>
                    </a:lnTo>
                    <a:lnTo>
                      <a:pt x="296" y="610"/>
                    </a:lnTo>
                    <a:lnTo>
                      <a:pt x="294" y="610"/>
                    </a:lnTo>
                    <a:lnTo>
                      <a:pt x="293" y="610"/>
                    </a:lnTo>
                    <a:lnTo>
                      <a:pt x="293" y="612"/>
                    </a:lnTo>
                    <a:lnTo>
                      <a:pt x="291" y="612"/>
                    </a:lnTo>
                    <a:lnTo>
                      <a:pt x="289" y="612"/>
                    </a:lnTo>
                    <a:lnTo>
                      <a:pt x="288" y="612"/>
                    </a:lnTo>
                    <a:lnTo>
                      <a:pt x="286" y="612"/>
                    </a:lnTo>
                    <a:lnTo>
                      <a:pt x="286" y="614"/>
                    </a:lnTo>
                    <a:lnTo>
                      <a:pt x="285" y="617"/>
                    </a:lnTo>
                    <a:lnTo>
                      <a:pt x="285" y="618"/>
                    </a:lnTo>
                    <a:lnTo>
                      <a:pt x="283" y="618"/>
                    </a:lnTo>
                    <a:lnTo>
                      <a:pt x="283" y="620"/>
                    </a:lnTo>
                    <a:lnTo>
                      <a:pt x="282" y="620"/>
                    </a:lnTo>
                    <a:lnTo>
                      <a:pt x="282" y="622"/>
                    </a:lnTo>
                    <a:lnTo>
                      <a:pt x="280" y="622"/>
                    </a:lnTo>
                    <a:lnTo>
                      <a:pt x="278" y="622"/>
                    </a:lnTo>
                    <a:lnTo>
                      <a:pt x="278" y="620"/>
                    </a:lnTo>
                    <a:lnTo>
                      <a:pt x="277" y="620"/>
                    </a:lnTo>
                    <a:lnTo>
                      <a:pt x="275" y="620"/>
                    </a:lnTo>
                    <a:lnTo>
                      <a:pt x="274" y="620"/>
                    </a:lnTo>
                    <a:lnTo>
                      <a:pt x="272" y="620"/>
                    </a:lnTo>
                    <a:lnTo>
                      <a:pt x="270" y="620"/>
                    </a:lnTo>
                    <a:lnTo>
                      <a:pt x="270" y="618"/>
                    </a:lnTo>
                    <a:lnTo>
                      <a:pt x="269" y="618"/>
                    </a:lnTo>
                    <a:lnTo>
                      <a:pt x="269" y="617"/>
                    </a:lnTo>
                    <a:lnTo>
                      <a:pt x="267" y="617"/>
                    </a:lnTo>
                    <a:lnTo>
                      <a:pt x="266" y="617"/>
                    </a:lnTo>
                    <a:lnTo>
                      <a:pt x="267" y="617"/>
                    </a:lnTo>
                    <a:lnTo>
                      <a:pt x="266" y="615"/>
                    </a:lnTo>
                    <a:lnTo>
                      <a:pt x="266" y="614"/>
                    </a:lnTo>
                    <a:lnTo>
                      <a:pt x="266" y="612"/>
                    </a:lnTo>
                    <a:lnTo>
                      <a:pt x="266" y="610"/>
                    </a:lnTo>
                    <a:lnTo>
                      <a:pt x="266" y="609"/>
                    </a:lnTo>
                    <a:lnTo>
                      <a:pt x="267" y="609"/>
                    </a:lnTo>
                    <a:lnTo>
                      <a:pt x="267" y="607"/>
                    </a:lnTo>
                    <a:lnTo>
                      <a:pt x="267" y="606"/>
                    </a:lnTo>
                    <a:lnTo>
                      <a:pt x="269" y="606"/>
                    </a:lnTo>
                    <a:lnTo>
                      <a:pt x="267" y="604"/>
                    </a:lnTo>
                    <a:lnTo>
                      <a:pt x="267" y="603"/>
                    </a:lnTo>
                    <a:lnTo>
                      <a:pt x="267" y="601"/>
                    </a:lnTo>
                    <a:lnTo>
                      <a:pt x="267" y="599"/>
                    </a:lnTo>
                    <a:lnTo>
                      <a:pt x="267" y="598"/>
                    </a:lnTo>
                    <a:lnTo>
                      <a:pt x="267" y="596"/>
                    </a:lnTo>
                    <a:lnTo>
                      <a:pt x="267" y="595"/>
                    </a:lnTo>
                    <a:lnTo>
                      <a:pt x="269" y="595"/>
                    </a:lnTo>
                    <a:lnTo>
                      <a:pt x="269" y="593"/>
                    </a:lnTo>
                    <a:lnTo>
                      <a:pt x="267" y="593"/>
                    </a:lnTo>
                    <a:lnTo>
                      <a:pt x="269" y="593"/>
                    </a:lnTo>
                    <a:lnTo>
                      <a:pt x="269" y="591"/>
                    </a:lnTo>
                    <a:lnTo>
                      <a:pt x="267" y="591"/>
                    </a:lnTo>
                    <a:lnTo>
                      <a:pt x="267" y="590"/>
                    </a:lnTo>
                    <a:lnTo>
                      <a:pt x="266" y="590"/>
                    </a:lnTo>
                    <a:lnTo>
                      <a:pt x="264" y="590"/>
                    </a:lnTo>
                    <a:lnTo>
                      <a:pt x="263" y="590"/>
                    </a:lnTo>
                    <a:lnTo>
                      <a:pt x="261" y="590"/>
                    </a:lnTo>
                    <a:lnTo>
                      <a:pt x="259" y="590"/>
                    </a:lnTo>
                    <a:lnTo>
                      <a:pt x="258" y="590"/>
                    </a:lnTo>
                    <a:lnTo>
                      <a:pt x="256" y="590"/>
                    </a:lnTo>
                    <a:lnTo>
                      <a:pt x="256" y="588"/>
                    </a:lnTo>
                    <a:lnTo>
                      <a:pt x="255" y="588"/>
                    </a:lnTo>
                    <a:lnTo>
                      <a:pt x="253" y="588"/>
                    </a:lnTo>
                    <a:lnTo>
                      <a:pt x="253" y="587"/>
                    </a:lnTo>
                    <a:lnTo>
                      <a:pt x="251" y="587"/>
                    </a:lnTo>
                    <a:lnTo>
                      <a:pt x="251" y="588"/>
                    </a:lnTo>
                    <a:lnTo>
                      <a:pt x="250" y="588"/>
                    </a:lnTo>
                    <a:lnTo>
                      <a:pt x="250" y="590"/>
                    </a:lnTo>
                    <a:lnTo>
                      <a:pt x="250" y="591"/>
                    </a:lnTo>
                    <a:lnTo>
                      <a:pt x="250" y="593"/>
                    </a:lnTo>
                    <a:lnTo>
                      <a:pt x="250" y="595"/>
                    </a:lnTo>
                    <a:lnTo>
                      <a:pt x="248" y="595"/>
                    </a:lnTo>
                    <a:lnTo>
                      <a:pt x="248" y="596"/>
                    </a:lnTo>
                    <a:lnTo>
                      <a:pt x="248" y="598"/>
                    </a:lnTo>
                    <a:lnTo>
                      <a:pt x="247" y="598"/>
                    </a:lnTo>
                    <a:lnTo>
                      <a:pt x="245" y="598"/>
                    </a:lnTo>
                    <a:lnTo>
                      <a:pt x="244" y="598"/>
                    </a:lnTo>
                    <a:lnTo>
                      <a:pt x="242" y="598"/>
                    </a:lnTo>
                    <a:lnTo>
                      <a:pt x="240" y="598"/>
                    </a:lnTo>
                    <a:lnTo>
                      <a:pt x="240" y="596"/>
                    </a:lnTo>
                    <a:lnTo>
                      <a:pt x="239" y="596"/>
                    </a:lnTo>
                    <a:lnTo>
                      <a:pt x="237" y="595"/>
                    </a:lnTo>
                    <a:lnTo>
                      <a:pt x="236" y="595"/>
                    </a:lnTo>
                    <a:lnTo>
                      <a:pt x="236" y="593"/>
                    </a:lnTo>
                    <a:lnTo>
                      <a:pt x="234" y="593"/>
                    </a:lnTo>
                    <a:lnTo>
                      <a:pt x="232" y="591"/>
                    </a:lnTo>
                    <a:lnTo>
                      <a:pt x="232" y="590"/>
                    </a:lnTo>
                    <a:lnTo>
                      <a:pt x="231" y="590"/>
                    </a:lnTo>
                    <a:lnTo>
                      <a:pt x="229" y="590"/>
                    </a:lnTo>
                    <a:lnTo>
                      <a:pt x="229" y="588"/>
                    </a:lnTo>
                    <a:lnTo>
                      <a:pt x="228" y="588"/>
                    </a:lnTo>
                    <a:lnTo>
                      <a:pt x="226" y="588"/>
                    </a:lnTo>
                    <a:lnTo>
                      <a:pt x="225" y="590"/>
                    </a:lnTo>
                    <a:lnTo>
                      <a:pt x="225" y="591"/>
                    </a:lnTo>
                    <a:lnTo>
                      <a:pt x="226" y="591"/>
                    </a:lnTo>
                    <a:lnTo>
                      <a:pt x="226" y="593"/>
                    </a:lnTo>
                    <a:lnTo>
                      <a:pt x="226" y="595"/>
                    </a:lnTo>
                    <a:lnTo>
                      <a:pt x="225" y="595"/>
                    </a:lnTo>
                    <a:lnTo>
                      <a:pt x="225" y="596"/>
                    </a:lnTo>
                    <a:lnTo>
                      <a:pt x="223" y="596"/>
                    </a:lnTo>
                    <a:lnTo>
                      <a:pt x="223" y="595"/>
                    </a:lnTo>
                    <a:lnTo>
                      <a:pt x="221" y="596"/>
                    </a:lnTo>
                    <a:lnTo>
                      <a:pt x="221" y="598"/>
                    </a:lnTo>
                    <a:lnTo>
                      <a:pt x="223" y="598"/>
                    </a:lnTo>
                    <a:lnTo>
                      <a:pt x="223" y="599"/>
                    </a:lnTo>
                    <a:lnTo>
                      <a:pt x="225" y="599"/>
                    </a:lnTo>
                    <a:lnTo>
                      <a:pt x="225" y="601"/>
                    </a:lnTo>
                    <a:lnTo>
                      <a:pt x="223" y="601"/>
                    </a:lnTo>
                    <a:lnTo>
                      <a:pt x="225" y="603"/>
                    </a:lnTo>
                    <a:lnTo>
                      <a:pt x="225" y="604"/>
                    </a:lnTo>
                    <a:lnTo>
                      <a:pt x="226" y="604"/>
                    </a:lnTo>
                    <a:lnTo>
                      <a:pt x="226" y="606"/>
                    </a:lnTo>
                    <a:lnTo>
                      <a:pt x="228" y="606"/>
                    </a:lnTo>
                    <a:lnTo>
                      <a:pt x="229" y="606"/>
                    </a:lnTo>
                    <a:lnTo>
                      <a:pt x="229" y="607"/>
                    </a:lnTo>
                    <a:lnTo>
                      <a:pt x="231" y="607"/>
                    </a:lnTo>
                    <a:lnTo>
                      <a:pt x="231" y="609"/>
                    </a:lnTo>
                    <a:lnTo>
                      <a:pt x="232" y="609"/>
                    </a:lnTo>
                    <a:lnTo>
                      <a:pt x="232" y="610"/>
                    </a:lnTo>
                    <a:lnTo>
                      <a:pt x="234" y="610"/>
                    </a:lnTo>
                    <a:lnTo>
                      <a:pt x="234" y="612"/>
                    </a:lnTo>
                    <a:lnTo>
                      <a:pt x="232" y="614"/>
                    </a:lnTo>
                    <a:lnTo>
                      <a:pt x="232" y="615"/>
                    </a:lnTo>
                    <a:lnTo>
                      <a:pt x="231" y="615"/>
                    </a:lnTo>
                    <a:lnTo>
                      <a:pt x="231" y="617"/>
                    </a:lnTo>
                    <a:lnTo>
                      <a:pt x="229" y="618"/>
                    </a:lnTo>
                    <a:lnTo>
                      <a:pt x="229" y="620"/>
                    </a:lnTo>
                    <a:lnTo>
                      <a:pt x="228" y="622"/>
                    </a:lnTo>
                    <a:lnTo>
                      <a:pt x="228" y="623"/>
                    </a:lnTo>
                    <a:lnTo>
                      <a:pt x="228" y="625"/>
                    </a:lnTo>
                    <a:lnTo>
                      <a:pt x="226" y="625"/>
                    </a:lnTo>
                    <a:lnTo>
                      <a:pt x="226" y="626"/>
                    </a:lnTo>
                    <a:lnTo>
                      <a:pt x="225" y="626"/>
                    </a:lnTo>
                    <a:lnTo>
                      <a:pt x="223" y="626"/>
                    </a:lnTo>
                    <a:lnTo>
                      <a:pt x="223" y="628"/>
                    </a:lnTo>
                    <a:lnTo>
                      <a:pt x="223" y="629"/>
                    </a:lnTo>
                    <a:lnTo>
                      <a:pt x="223" y="631"/>
                    </a:lnTo>
                    <a:lnTo>
                      <a:pt x="225" y="631"/>
                    </a:lnTo>
                    <a:lnTo>
                      <a:pt x="225" y="633"/>
                    </a:lnTo>
                    <a:lnTo>
                      <a:pt x="226" y="633"/>
                    </a:lnTo>
                    <a:lnTo>
                      <a:pt x="228" y="633"/>
                    </a:lnTo>
                    <a:lnTo>
                      <a:pt x="229" y="633"/>
                    </a:lnTo>
                    <a:lnTo>
                      <a:pt x="229" y="634"/>
                    </a:lnTo>
                    <a:lnTo>
                      <a:pt x="229" y="636"/>
                    </a:lnTo>
                    <a:lnTo>
                      <a:pt x="229" y="637"/>
                    </a:lnTo>
                    <a:lnTo>
                      <a:pt x="231" y="637"/>
                    </a:lnTo>
                    <a:lnTo>
                      <a:pt x="229" y="639"/>
                    </a:lnTo>
                    <a:lnTo>
                      <a:pt x="229" y="641"/>
                    </a:lnTo>
                    <a:lnTo>
                      <a:pt x="228" y="641"/>
                    </a:lnTo>
                    <a:lnTo>
                      <a:pt x="228" y="642"/>
                    </a:lnTo>
                    <a:lnTo>
                      <a:pt x="228" y="644"/>
                    </a:lnTo>
                    <a:lnTo>
                      <a:pt x="226" y="644"/>
                    </a:lnTo>
                    <a:lnTo>
                      <a:pt x="225" y="644"/>
                    </a:lnTo>
                    <a:lnTo>
                      <a:pt x="223" y="644"/>
                    </a:lnTo>
                    <a:lnTo>
                      <a:pt x="223" y="645"/>
                    </a:lnTo>
                    <a:lnTo>
                      <a:pt x="225" y="645"/>
                    </a:lnTo>
                    <a:lnTo>
                      <a:pt x="225" y="647"/>
                    </a:lnTo>
                    <a:lnTo>
                      <a:pt x="225" y="648"/>
                    </a:lnTo>
                    <a:lnTo>
                      <a:pt x="223" y="648"/>
                    </a:lnTo>
                    <a:lnTo>
                      <a:pt x="223" y="650"/>
                    </a:lnTo>
                    <a:lnTo>
                      <a:pt x="221" y="650"/>
                    </a:lnTo>
                    <a:lnTo>
                      <a:pt x="221" y="652"/>
                    </a:lnTo>
                    <a:lnTo>
                      <a:pt x="221" y="653"/>
                    </a:lnTo>
                    <a:lnTo>
                      <a:pt x="220" y="653"/>
                    </a:lnTo>
                    <a:lnTo>
                      <a:pt x="218" y="653"/>
                    </a:lnTo>
                    <a:lnTo>
                      <a:pt x="217" y="653"/>
                    </a:lnTo>
                    <a:lnTo>
                      <a:pt x="215" y="653"/>
                    </a:lnTo>
                    <a:lnTo>
                      <a:pt x="213" y="653"/>
                    </a:lnTo>
                    <a:lnTo>
                      <a:pt x="213" y="655"/>
                    </a:lnTo>
                    <a:lnTo>
                      <a:pt x="212" y="655"/>
                    </a:lnTo>
                    <a:lnTo>
                      <a:pt x="212" y="656"/>
                    </a:lnTo>
                    <a:lnTo>
                      <a:pt x="210" y="656"/>
                    </a:lnTo>
                    <a:lnTo>
                      <a:pt x="210" y="658"/>
                    </a:lnTo>
                    <a:lnTo>
                      <a:pt x="209" y="658"/>
                    </a:lnTo>
                    <a:lnTo>
                      <a:pt x="209" y="660"/>
                    </a:lnTo>
                    <a:lnTo>
                      <a:pt x="209" y="661"/>
                    </a:lnTo>
                    <a:lnTo>
                      <a:pt x="207" y="661"/>
                    </a:lnTo>
                    <a:lnTo>
                      <a:pt x="207" y="663"/>
                    </a:lnTo>
                    <a:lnTo>
                      <a:pt x="206" y="663"/>
                    </a:lnTo>
                    <a:lnTo>
                      <a:pt x="204" y="663"/>
                    </a:lnTo>
                    <a:lnTo>
                      <a:pt x="202" y="664"/>
                    </a:lnTo>
                    <a:lnTo>
                      <a:pt x="201" y="664"/>
                    </a:lnTo>
                    <a:lnTo>
                      <a:pt x="201" y="666"/>
                    </a:lnTo>
                    <a:lnTo>
                      <a:pt x="201" y="667"/>
                    </a:lnTo>
                    <a:lnTo>
                      <a:pt x="202" y="667"/>
                    </a:lnTo>
                    <a:lnTo>
                      <a:pt x="204" y="667"/>
                    </a:lnTo>
                    <a:lnTo>
                      <a:pt x="204" y="669"/>
                    </a:lnTo>
                    <a:lnTo>
                      <a:pt x="204" y="671"/>
                    </a:lnTo>
                    <a:lnTo>
                      <a:pt x="204" y="672"/>
                    </a:lnTo>
                    <a:lnTo>
                      <a:pt x="206" y="672"/>
                    </a:lnTo>
                    <a:lnTo>
                      <a:pt x="206" y="674"/>
                    </a:lnTo>
                    <a:lnTo>
                      <a:pt x="204" y="674"/>
                    </a:lnTo>
                    <a:lnTo>
                      <a:pt x="204" y="675"/>
                    </a:lnTo>
                    <a:lnTo>
                      <a:pt x="202" y="675"/>
                    </a:lnTo>
                    <a:lnTo>
                      <a:pt x="201" y="675"/>
                    </a:lnTo>
                    <a:lnTo>
                      <a:pt x="199" y="675"/>
                    </a:lnTo>
                    <a:lnTo>
                      <a:pt x="199" y="677"/>
                    </a:lnTo>
                    <a:lnTo>
                      <a:pt x="201" y="677"/>
                    </a:lnTo>
                    <a:lnTo>
                      <a:pt x="201" y="679"/>
                    </a:lnTo>
                    <a:lnTo>
                      <a:pt x="202" y="679"/>
                    </a:lnTo>
                    <a:lnTo>
                      <a:pt x="202" y="680"/>
                    </a:lnTo>
                    <a:lnTo>
                      <a:pt x="204" y="680"/>
                    </a:lnTo>
                    <a:lnTo>
                      <a:pt x="204" y="682"/>
                    </a:lnTo>
                    <a:lnTo>
                      <a:pt x="204" y="683"/>
                    </a:lnTo>
                    <a:lnTo>
                      <a:pt x="204" y="685"/>
                    </a:lnTo>
                    <a:lnTo>
                      <a:pt x="204" y="686"/>
                    </a:lnTo>
                    <a:lnTo>
                      <a:pt x="202" y="688"/>
                    </a:lnTo>
                    <a:lnTo>
                      <a:pt x="202" y="690"/>
                    </a:lnTo>
                    <a:lnTo>
                      <a:pt x="202" y="691"/>
                    </a:lnTo>
                    <a:lnTo>
                      <a:pt x="202" y="693"/>
                    </a:lnTo>
                    <a:lnTo>
                      <a:pt x="202" y="694"/>
                    </a:lnTo>
                    <a:lnTo>
                      <a:pt x="202" y="696"/>
                    </a:lnTo>
                    <a:lnTo>
                      <a:pt x="204" y="696"/>
                    </a:lnTo>
                    <a:lnTo>
                      <a:pt x="204" y="698"/>
                    </a:lnTo>
                    <a:lnTo>
                      <a:pt x="204" y="699"/>
                    </a:lnTo>
                    <a:lnTo>
                      <a:pt x="204" y="701"/>
                    </a:lnTo>
                    <a:lnTo>
                      <a:pt x="204" y="702"/>
                    </a:lnTo>
                    <a:lnTo>
                      <a:pt x="202" y="702"/>
                    </a:lnTo>
                    <a:lnTo>
                      <a:pt x="202" y="704"/>
                    </a:lnTo>
                    <a:lnTo>
                      <a:pt x="204" y="704"/>
                    </a:lnTo>
                    <a:lnTo>
                      <a:pt x="204" y="706"/>
                    </a:lnTo>
                    <a:lnTo>
                      <a:pt x="206" y="706"/>
                    </a:lnTo>
                    <a:lnTo>
                      <a:pt x="206" y="707"/>
                    </a:lnTo>
                    <a:lnTo>
                      <a:pt x="206" y="709"/>
                    </a:lnTo>
                    <a:lnTo>
                      <a:pt x="204" y="709"/>
                    </a:lnTo>
                    <a:lnTo>
                      <a:pt x="204" y="710"/>
                    </a:lnTo>
                    <a:lnTo>
                      <a:pt x="202" y="710"/>
                    </a:lnTo>
                    <a:lnTo>
                      <a:pt x="202" y="712"/>
                    </a:lnTo>
                    <a:lnTo>
                      <a:pt x="201" y="712"/>
                    </a:lnTo>
                    <a:lnTo>
                      <a:pt x="199" y="713"/>
                    </a:lnTo>
                    <a:lnTo>
                      <a:pt x="199" y="715"/>
                    </a:lnTo>
                    <a:lnTo>
                      <a:pt x="199" y="717"/>
                    </a:lnTo>
                    <a:lnTo>
                      <a:pt x="201" y="717"/>
                    </a:lnTo>
                    <a:lnTo>
                      <a:pt x="202" y="717"/>
                    </a:lnTo>
                    <a:lnTo>
                      <a:pt x="202" y="718"/>
                    </a:lnTo>
                    <a:lnTo>
                      <a:pt x="202" y="720"/>
                    </a:lnTo>
                    <a:lnTo>
                      <a:pt x="202" y="721"/>
                    </a:lnTo>
                    <a:lnTo>
                      <a:pt x="202" y="723"/>
                    </a:lnTo>
                    <a:lnTo>
                      <a:pt x="201" y="723"/>
                    </a:lnTo>
                    <a:lnTo>
                      <a:pt x="201" y="725"/>
                    </a:lnTo>
                    <a:lnTo>
                      <a:pt x="199" y="725"/>
                    </a:lnTo>
                    <a:lnTo>
                      <a:pt x="198" y="726"/>
                    </a:lnTo>
                    <a:lnTo>
                      <a:pt x="196" y="726"/>
                    </a:lnTo>
                    <a:lnTo>
                      <a:pt x="196" y="728"/>
                    </a:lnTo>
                    <a:lnTo>
                      <a:pt x="194" y="728"/>
                    </a:lnTo>
                    <a:lnTo>
                      <a:pt x="193" y="729"/>
                    </a:lnTo>
                    <a:lnTo>
                      <a:pt x="191" y="729"/>
                    </a:lnTo>
                    <a:lnTo>
                      <a:pt x="190" y="729"/>
                    </a:lnTo>
                    <a:lnTo>
                      <a:pt x="190" y="731"/>
                    </a:lnTo>
                    <a:lnTo>
                      <a:pt x="188" y="731"/>
                    </a:lnTo>
                    <a:lnTo>
                      <a:pt x="187" y="731"/>
                    </a:lnTo>
                    <a:lnTo>
                      <a:pt x="185" y="731"/>
                    </a:lnTo>
                    <a:lnTo>
                      <a:pt x="185" y="729"/>
                    </a:lnTo>
                    <a:lnTo>
                      <a:pt x="183" y="729"/>
                    </a:lnTo>
                    <a:lnTo>
                      <a:pt x="182" y="729"/>
                    </a:lnTo>
                    <a:lnTo>
                      <a:pt x="182" y="728"/>
                    </a:lnTo>
                    <a:lnTo>
                      <a:pt x="180" y="728"/>
                    </a:lnTo>
                    <a:lnTo>
                      <a:pt x="180" y="726"/>
                    </a:lnTo>
                    <a:lnTo>
                      <a:pt x="180" y="725"/>
                    </a:lnTo>
                    <a:lnTo>
                      <a:pt x="179" y="725"/>
                    </a:lnTo>
                    <a:lnTo>
                      <a:pt x="179" y="723"/>
                    </a:lnTo>
                    <a:lnTo>
                      <a:pt x="177" y="723"/>
                    </a:lnTo>
                    <a:lnTo>
                      <a:pt x="175" y="723"/>
                    </a:lnTo>
                    <a:lnTo>
                      <a:pt x="174" y="723"/>
                    </a:lnTo>
                    <a:lnTo>
                      <a:pt x="172" y="723"/>
                    </a:lnTo>
                    <a:lnTo>
                      <a:pt x="171" y="723"/>
                    </a:lnTo>
                    <a:lnTo>
                      <a:pt x="171" y="721"/>
                    </a:lnTo>
                    <a:lnTo>
                      <a:pt x="169" y="721"/>
                    </a:lnTo>
                    <a:lnTo>
                      <a:pt x="167" y="721"/>
                    </a:lnTo>
                    <a:lnTo>
                      <a:pt x="166" y="721"/>
                    </a:lnTo>
                    <a:lnTo>
                      <a:pt x="164" y="721"/>
                    </a:lnTo>
                    <a:lnTo>
                      <a:pt x="163" y="721"/>
                    </a:lnTo>
                    <a:lnTo>
                      <a:pt x="161" y="721"/>
                    </a:lnTo>
                    <a:lnTo>
                      <a:pt x="160" y="720"/>
                    </a:lnTo>
                    <a:lnTo>
                      <a:pt x="160" y="718"/>
                    </a:lnTo>
                    <a:lnTo>
                      <a:pt x="158" y="718"/>
                    </a:lnTo>
                    <a:lnTo>
                      <a:pt x="156" y="718"/>
                    </a:lnTo>
                    <a:lnTo>
                      <a:pt x="156" y="717"/>
                    </a:lnTo>
                    <a:lnTo>
                      <a:pt x="155" y="717"/>
                    </a:lnTo>
                    <a:lnTo>
                      <a:pt x="153" y="717"/>
                    </a:lnTo>
                    <a:lnTo>
                      <a:pt x="152" y="715"/>
                    </a:lnTo>
                    <a:lnTo>
                      <a:pt x="150" y="715"/>
                    </a:lnTo>
                    <a:lnTo>
                      <a:pt x="148" y="713"/>
                    </a:lnTo>
                    <a:lnTo>
                      <a:pt x="148" y="712"/>
                    </a:lnTo>
                    <a:lnTo>
                      <a:pt x="147" y="712"/>
                    </a:lnTo>
                    <a:lnTo>
                      <a:pt x="145" y="712"/>
                    </a:lnTo>
                    <a:lnTo>
                      <a:pt x="145" y="710"/>
                    </a:lnTo>
                    <a:lnTo>
                      <a:pt x="144" y="710"/>
                    </a:lnTo>
                    <a:lnTo>
                      <a:pt x="144" y="709"/>
                    </a:lnTo>
                    <a:lnTo>
                      <a:pt x="142" y="709"/>
                    </a:lnTo>
                    <a:lnTo>
                      <a:pt x="141" y="707"/>
                    </a:lnTo>
                    <a:lnTo>
                      <a:pt x="139" y="707"/>
                    </a:lnTo>
                    <a:lnTo>
                      <a:pt x="139" y="706"/>
                    </a:lnTo>
                    <a:lnTo>
                      <a:pt x="137" y="706"/>
                    </a:lnTo>
                    <a:lnTo>
                      <a:pt x="136" y="704"/>
                    </a:lnTo>
                    <a:lnTo>
                      <a:pt x="134" y="702"/>
                    </a:lnTo>
                    <a:lnTo>
                      <a:pt x="134" y="701"/>
                    </a:lnTo>
                    <a:lnTo>
                      <a:pt x="133" y="701"/>
                    </a:lnTo>
                    <a:lnTo>
                      <a:pt x="133" y="699"/>
                    </a:lnTo>
                    <a:lnTo>
                      <a:pt x="131" y="699"/>
                    </a:lnTo>
                    <a:lnTo>
                      <a:pt x="131" y="698"/>
                    </a:lnTo>
                    <a:lnTo>
                      <a:pt x="129" y="698"/>
                    </a:lnTo>
                    <a:lnTo>
                      <a:pt x="129" y="699"/>
                    </a:lnTo>
                    <a:lnTo>
                      <a:pt x="129" y="698"/>
                    </a:lnTo>
                    <a:lnTo>
                      <a:pt x="128" y="699"/>
                    </a:lnTo>
                    <a:lnTo>
                      <a:pt x="126" y="699"/>
                    </a:lnTo>
                    <a:lnTo>
                      <a:pt x="126" y="701"/>
                    </a:lnTo>
                    <a:lnTo>
                      <a:pt x="125" y="701"/>
                    </a:lnTo>
                    <a:lnTo>
                      <a:pt x="125" y="699"/>
                    </a:lnTo>
                    <a:lnTo>
                      <a:pt x="123" y="699"/>
                    </a:lnTo>
                    <a:lnTo>
                      <a:pt x="123" y="701"/>
                    </a:lnTo>
                    <a:lnTo>
                      <a:pt x="122" y="701"/>
                    </a:lnTo>
                    <a:lnTo>
                      <a:pt x="122" y="699"/>
                    </a:lnTo>
                    <a:lnTo>
                      <a:pt x="122" y="701"/>
                    </a:lnTo>
                    <a:lnTo>
                      <a:pt x="120" y="701"/>
                    </a:lnTo>
                    <a:lnTo>
                      <a:pt x="118" y="702"/>
                    </a:lnTo>
                    <a:lnTo>
                      <a:pt x="118" y="701"/>
                    </a:lnTo>
                    <a:lnTo>
                      <a:pt x="117" y="701"/>
                    </a:lnTo>
                    <a:lnTo>
                      <a:pt x="117" y="702"/>
                    </a:lnTo>
                    <a:lnTo>
                      <a:pt x="115" y="702"/>
                    </a:lnTo>
                    <a:lnTo>
                      <a:pt x="114" y="701"/>
                    </a:lnTo>
                    <a:lnTo>
                      <a:pt x="112" y="701"/>
                    </a:lnTo>
                    <a:lnTo>
                      <a:pt x="110" y="701"/>
                    </a:lnTo>
                    <a:lnTo>
                      <a:pt x="109" y="701"/>
                    </a:lnTo>
                    <a:lnTo>
                      <a:pt x="109" y="702"/>
                    </a:lnTo>
                    <a:lnTo>
                      <a:pt x="107" y="702"/>
                    </a:lnTo>
                    <a:lnTo>
                      <a:pt x="107" y="701"/>
                    </a:lnTo>
                    <a:lnTo>
                      <a:pt x="106" y="701"/>
                    </a:lnTo>
                    <a:lnTo>
                      <a:pt x="106" y="699"/>
                    </a:lnTo>
                    <a:lnTo>
                      <a:pt x="104" y="699"/>
                    </a:lnTo>
                    <a:lnTo>
                      <a:pt x="103" y="699"/>
                    </a:lnTo>
                    <a:lnTo>
                      <a:pt x="101" y="699"/>
                    </a:lnTo>
                    <a:lnTo>
                      <a:pt x="99" y="699"/>
                    </a:lnTo>
                    <a:lnTo>
                      <a:pt x="99" y="698"/>
                    </a:lnTo>
                    <a:lnTo>
                      <a:pt x="98" y="698"/>
                    </a:lnTo>
                    <a:lnTo>
                      <a:pt x="96" y="698"/>
                    </a:lnTo>
                    <a:lnTo>
                      <a:pt x="96" y="696"/>
                    </a:lnTo>
                    <a:lnTo>
                      <a:pt x="95" y="694"/>
                    </a:lnTo>
                    <a:lnTo>
                      <a:pt x="93" y="694"/>
                    </a:lnTo>
                    <a:lnTo>
                      <a:pt x="91" y="694"/>
                    </a:lnTo>
                    <a:lnTo>
                      <a:pt x="90" y="694"/>
                    </a:lnTo>
                    <a:lnTo>
                      <a:pt x="90" y="696"/>
                    </a:lnTo>
                    <a:lnTo>
                      <a:pt x="88" y="696"/>
                    </a:lnTo>
                    <a:lnTo>
                      <a:pt x="88" y="698"/>
                    </a:lnTo>
                    <a:lnTo>
                      <a:pt x="90" y="698"/>
                    </a:lnTo>
                    <a:lnTo>
                      <a:pt x="90" y="699"/>
                    </a:lnTo>
                    <a:lnTo>
                      <a:pt x="91" y="699"/>
                    </a:lnTo>
                    <a:lnTo>
                      <a:pt x="91" y="701"/>
                    </a:lnTo>
                    <a:lnTo>
                      <a:pt x="91" y="702"/>
                    </a:lnTo>
                    <a:lnTo>
                      <a:pt x="91" y="704"/>
                    </a:lnTo>
                    <a:lnTo>
                      <a:pt x="93" y="704"/>
                    </a:lnTo>
                    <a:lnTo>
                      <a:pt x="93" y="706"/>
                    </a:lnTo>
                    <a:lnTo>
                      <a:pt x="93" y="707"/>
                    </a:lnTo>
                    <a:lnTo>
                      <a:pt x="93" y="709"/>
                    </a:lnTo>
                    <a:lnTo>
                      <a:pt x="95" y="709"/>
                    </a:lnTo>
                    <a:lnTo>
                      <a:pt x="95" y="710"/>
                    </a:lnTo>
                    <a:lnTo>
                      <a:pt x="96" y="710"/>
                    </a:lnTo>
                    <a:lnTo>
                      <a:pt x="98" y="710"/>
                    </a:lnTo>
                    <a:lnTo>
                      <a:pt x="99" y="710"/>
                    </a:lnTo>
                    <a:lnTo>
                      <a:pt x="99" y="712"/>
                    </a:lnTo>
                    <a:lnTo>
                      <a:pt x="99" y="713"/>
                    </a:lnTo>
                    <a:lnTo>
                      <a:pt x="99" y="715"/>
                    </a:lnTo>
                    <a:lnTo>
                      <a:pt x="99" y="717"/>
                    </a:lnTo>
                    <a:lnTo>
                      <a:pt x="99" y="718"/>
                    </a:lnTo>
                    <a:lnTo>
                      <a:pt x="99" y="720"/>
                    </a:lnTo>
                    <a:lnTo>
                      <a:pt x="101" y="720"/>
                    </a:lnTo>
                    <a:lnTo>
                      <a:pt x="101" y="721"/>
                    </a:lnTo>
                    <a:lnTo>
                      <a:pt x="103" y="721"/>
                    </a:lnTo>
                    <a:lnTo>
                      <a:pt x="104" y="721"/>
                    </a:lnTo>
                    <a:lnTo>
                      <a:pt x="106" y="721"/>
                    </a:lnTo>
                    <a:lnTo>
                      <a:pt x="106" y="723"/>
                    </a:lnTo>
                    <a:lnTo>
                      <a:pt x="109" y="723"/>
                    </a:lnTo>
                    <a:lnTo>
                      <a:pt x="109" y="725"/>
                    </a:lnTo>
                    <a:lnTo>
                      <a:pt x="110" y="725"/>
                    </a:lnTo>
                    <a:lnTo>
                      <a:pt x="112" y="725"/>
                    </a:lnTo>
                    <a:lnTo>
                      <a:pt x="112" y="726"/>
                    </a:lnTo>
                    <a:lnTo>
                      <a:pt x="114" y="726"/>
                    </a:lnTo>
                    <a:lnTo>
                      <a:pt x="114" y="728"/>
                    </a:lnTo>
                    <a:lnTo>
                      <a:pt x="114" y="729"/>
                    </a:lnTo>
                    <a:lnTo>
                      <a:pt x="115" y="729"/>
                    </a:lnTo>
                    <a:lnTo>
                      <a:pt x="117" y="731"/>
                    </a:lnTo>
                    <a:lnTo>
                      <a:pt x="117" y="732"/>
                    </a:lnTo>
                    <a:lnTo>
                      <a:pt x="117" y="734"/>
                    </a:lnTo>
                    <a:lnTo>
                      <a:pt x="117" y="736"/>
                    </a:lnTo>
                    <a:lnTo>
                      <a:pt x="117" y="737"/>
                    </a:lnTo>
                    <a:lnTo>
                      <a:pt x="117" y="739"/>
                    </a:lnTo>
                    <a:lnTo>
                      <a:pt x="117" y="740"/>
                    </a:lnTo>
                    <a:lnTo>
                      <a:pt x="117" y="742"/>
                    </a:lnTo>
                    <a:lnTo>
                      <a:pt x="115" y="742"/>
                    </a:lnTo>
                    <a:lnTo>
                      <a:pt x="115" y="744"/>
                    </a:lnTo>
                    <a:lnTo>
                      <a:pt x="114" y="744"/>
                    </a:lnTo>
                    <a:lnTo>
                      <a:pt x="112" y="744"/>
                    </a:lnTo>
                    <a:lnTo>
                      <a:pt x="112" y="745"/>
                    </a:lnTo>
                    <a:lnTo>
                      <a:pt x="114" y="747"/>
                    </a:lnTo>
                    <a:lnTo>
                      <a:pt x="114" y="748"/>
                    </a:lnTo>
                    <a:lnTo>
                      <a:pt x="114" y="750"/>
                    </a:lnTo>
                    <a:lnTo>
                      <a:pt x="112" y="750"/>
                    </a:lnTo>
                    <a:lnTo>
                      <a:pt x="110" y="750"/>
                    </a:lnTo>
                    <a:lnTo>
                      <a:pt x="109" y="750"/>
                    </a:lnTo>
                    <a:lnTo>
                      <a:pt x="107" y="750"/>
                    </a:lnTo>
                    <a:lnTo>
                      <a:pt x="106" y="750"/>
                    </a:lnTo>
                    <a:lnTo>
                      <a:pt x="106" y="748"/>
                    </a:lnTo>
                    <a:lnTo>
                      <a:pt x="104" y="747"/>
                    </a:lnTo>
                    <a:lnTo>
                      <a:pt x="103" y="747"/>
                    </a:lnTo>
                    <a:lnTo>
                      <a:pt x="101" y="747"/>
                    </a:lnTo>
                    <a:lnTo>
                      <a:pt x="99" y="747"/>
                    </a:lnTo>
                    <a:lnTo>
                      <a:pt x="99" y="748"/>
                    </a:lnTo>
                    <a:lnTo>
                      <a:pt x="98" y="748"/>
                    </a:lnTo>
                    <a:lnTo>
                      <a:pt x="98" y="747"/>
                    </a:lnTo>
                    <a:lnTo>
                      <a:pt x="96" y="748"/>
                    </a:lnTo>
                    <a:lnTo>
                      <a:pt x="98" y="748"/>
                    </a:lnTo>
                    <a:lnTo>
                      <a:pt x="98" y="750"/>
                    </a:lnTo>
                    <a:lnTo>
                      <a:pt x="96" y="750"/>
                    </a:lnTo>
                    <a:lnTo>
                      <a:pt x="96" y="751"/>
                    </a:lnTo>
                    <a:lnTo>
                      <a:pt x="96" y="753"/>
                    </a:lnTo>
                    <a:lnTo>
                      <a:pt x="96" y="755"/>
                    </a:lnTo>
                    <a:lnTo>
                      <a:pt x="98" y="755"/>
                    </a:lnTo>
                    <a:lnTo>
                      <a:pt x="98" y="756"/>
                    </a:lnTo>
                    <a:lnTo>
                      <a:pt x="98" y="758"/>
                    </a:lnTo>
                    <a:lnTo>
                      <a:pt x="98" y="759"/>
                    </a:lnTo>
                    <a:lnTo>
                      <a:pt x="98" y="761"/>
                    </a:lnTo>
                    <a:lnTo>
                      <a:pt x="98" y="759"/>
                    </a:lnTo>
                    <a:lnTo>
                      <a:pt x="96" y="759"/>
                    </a:lnTo>
                    <a:lnTo>
                      <a:pt x="96" y="758"/>
                    </a:lnTo>
                    <a:lnTo>
                      <a:pt x="95" y="758"/>
                    </a:lnTo>
                    <a:lnTo>
                      <a:pt x="93" y="756"/>
                    </a:lnTo>
                    <a:lnTo>
                      <a:pt x="91" y="756"/>
                    </a:lnTo>
                    <a:lnTo>
                      <a:pt x="90" y="756"/>
                    </a:lnTo>
                    <a:lnTo>
                      <a:pt x="88" y="755"/>
                    </a:lnTo>
                    <a:lnTo>
                      <a:pt x="87" y="755"/>
                    </a:lnTo>
                    <a:lnTo>
                      <a:pt x="85" y="755"/>
                    </a:lnTo>
                    <a:lnTo>
                      <a:pt x="84" y="755"/>
                    </a:lnTo>
                    <a:lnTo>
                      <a:pt x="82" y="755"/>
                    </a:lnTo>
                    <a:lnTo>
                      <a:pt x="82" y="753"/>
                    </a:lnTo>
                    <a:lnTo>
                      <a:pt x="82" y="755"/>
                    </a:lnTo>
                    <a:lnTo>
                      <a:pt x="80" y="755"/>
                    </a:lnTo>
                    <a:lnTo>
                      <a:pt x="80" y="756"/>
                    </a:lnTo>
                    <a:lnTo>
                      <a:pt x="80" y="758"/>
                    </a:lnTo>
                    <a:lnTo>
                      <a:pt x="80" y="759"/>
                    </a:lnTo>
                    <a:lnTo>
                      <a:pt x="80" y="761"/>
                    </a:lnTo>
                    <a:lnTo>
                      <a:pt x="79" y="761"/>
                    </a:lnTo>
                    <a:lnTo>
                      <a:pt x="79" y="763"/>
                    </a:lnTo>
                    <a:lnTo>
                      <a:pt x="80" y="763"/>
                    </a:lnTo>
                    <a:lnTo>
                      <a:pt x="80" y="764"/>
                    </a:lnTo>
                    <a:lnTo>
                      <a:pt x="79" y="764"/>
                    </a:lnTo>
                    <a:lnTo>
                      <a:pt x="80" y="764"/>
                    </a:lnTo>
                    <a:lnTo>
                      <a:pt x="80" y="766"/>
                    </a:lnTo>
                    <a:lnTo>
                      <a:pt x="80" y="764"/>
                    </a:lnTo>
                    <a:lnTo>
                      <a:pt x="82" y="764"/>
                    </a:lnTo>
                    <a:lnTo>
                      <a:pt x="84" y="764"/>
                    </a:lnTo>
                    <a:lnTo>
                      <a:pt x="85" y="764"/>
                    </a:lnTo>
                    <a:lnTo>
                      <a:pt x="87" y="764"/>
                    </a:lnTo>
                    <a:lnTo>
                      <a:pt x="88" y="766"/>
                    </a:lnTo>
                    <a:lnTo>
                      <a:pt x="90" y="766"/>
                    </a:lnTo>
                    <a:lnTo>
                      <a:pt x="91" y="766"/>
                    </a:lnTo>
                    <a:lnTo>
                      <a:pt x="91" y="767"/>
                    </a:lnTo>
                    <a:lnTo>
                      <a:pt x="93" y="767"/>
                    </a:lnTo>
                    <a:lnTo>
                      <a:pt x="91" y="769"/>
                    </a:lnTo>
                    <a:lnTo>
                      <a:pt x="91" y="770"/>
                    </a:lnTo>
                    <a:lnTo>
                      <a:pt x="90" y="770"/>
                    </a:lnTo>
                    <a:lnTo>
                      <a:pt x="90" y="772"/>
                    </a:lnTo>
                    <a:lnTo>
                      <a:pt x="90" y="774"/>
                    </a:lnTo>
                    <a:lnTo>
                      <a:pt x="88" y="774"/>
                    </a:lnTo>
                    <a:lnTo>
                      <a:pt x="90" y="774"/>
                    </a:lnTo>
                    <a:lnTo>
                      <a:pt x="91" y="774"/>
                    </a:lnTo>
                    <a:lnTo>
                      <a:pt x="93" y="774"/>
                    </a:lnTo>
                    <a:lnTo>
                      <a:pt x="93" y="775"/>
                    </a:lnTo>
                    <a:lnTo>
                      <a:pt x="95" y="775"/>
                    </a:lnTo>
                    <a:lnTo>
                      <a:pt x="96" y="775"/>
                    </a:lnTo>
                    <a:lnTo>
                      <a:pt x="98" y="775"/>
                    </a:lnTo>
                    <a:lnTo>
                      <a:pt x="99" y="775"/>
                    </a:lnTo>
                    <a:lnTo>
                      <a:pt x="101" y="775"/>
                    </a:lnTo>
                    <a:lnTo>
                      <a:pt x="103" y="774"/>
                    </a:lnTo>
                    <a:lnTo>
                      <a:pt x="103" y="772"/>
                    </a:lnTo>
                    <a:lnTo>
                      <a:pt x="104" y="770"/>
                    </a:lnTo>
                    <a:lnTo>
                      <a:pt x="104" y="772"/>
                    </a:lnTo>
                    <a:lnTo>
                      <a:pt x="106" y="772"/>
                    </a:lnTo>
                    <a:lnTo>
                      <a:pt x="106" y="774"/>
                    </a:lnTo>
                    <a:lnTo>
                      <a:pt x="107" y="774"/>
                    </a:lnTo>
                    <a:lnTo>
                      <a:pt x="107" y="775"/>
                    </a:lnTo>
                    <a:lnTo>
                      <a:pt x="107" y="777"/>
                    </a:lnTo>
                    <a:lnTo>
                      <a:pt x="109" y="777"/>
                    </a:lnTo>
                    <a:lnTo>
                      <a:pt x="109" y="778"/>
                    </a:lnTo>
                    <a:lnTo>
                      <a:pt x="107" y="780"/>
                    </a:lnTo>
                    <a:lnTo>
                      <a:pt x="106" y="780"/>
                    </a:lnTo>
                    <a:lnTo>
                      <a:pt x="104" y="780"/>
                    </a:lnTo>
                    <a:lnTo>
                      <a:pt x="103" y="780"/>
                    </a:lnTo>
                    <a:lnTo>
                      <a:pt x="101" y="782"/>
                    </a:lnTo>
                    <a:lnTo>
                      <a:pt x="101" y="783"/>
                    </a:lnTo>
                    <a:lnTo>
                      <a:pt x="99" y="783"/>
                    </a:lnTo>
                    <a:lnTo>
                      <a:pt x="99" y="785"/>
                    </a:lnTo>
                    <a:lnTo>
                      <a:pt x="99" y="786"/>
                    </a:lnTo>
                    <a:lnTo>
                      <a:pt x="98" y="786"/>
                    </a:lnTo>
                    <a:lnTo>
                      <a:pt x="98" y="788"/>
                    </a:lnTo>
                    <a:lnTo>
                      <a:pt x="96" y="788"/>
                    </a:lnTo>
                    <a:lnTo>
                      <a:pt x="95" y="786"/>
                    </a:lnTo>
                    <a:lnTo>
                      <a:pt x="93" y="786"/>
                    </a:lnTo>
                    <a:lnTo>
                      <a:pt x="91" y="785"/>
                    </a:lnTo>
                    <a:lnTo>
                      <a:pt x="90" y="785"/>
                    </a:lnTo>
                    <a:lnTo>
                      <a:pt x="90" y="783"/>
                    </a:lnTo>
                    <a:lnTo>
                      <a:pt x="88" y="783"/>
                    </a:lnTo>
                    <a:lnTo>
                      <a:pt x="88" y="785"/>
                    </a:lnTo>
                    <a:lnTo>
                      <a:pt x="88" y="786"/>
                    </a:lnTo>
                    <a:lnTo>
                      <a:pt x="88" y="788"/>
                    </a:lnTo>
                    <a:lnTo>
                      <a:pt x="88" y="789"/>
                    </a:lnTo>
                    <a:lnTo>
                      <a:pt x="90" y="791"/>
                    </a:lnTo>
                    <a:lnTo>
                      <a:pt x="90" y="793"/>
                    </a:lnTo>
                    <a:lnTo>
                      <a:pt x="88" y="794"/>
                    </a:lnTo>
                    <a:lnTo>
                      <a:pt x="90" y="796"/>
                    </a:lnTo>
                    <a:lnTo>
                      <a:pt x="90" y="797"/>
                    </a:lnTo>
                    <a:lnTo>
                      <a:pt x="90" y="799"/>
                    </a:lnTo>
                    <a:lnTo>
                      <a:pt x="88" y="801"/>
                    </a:lnTo>
                    <a:lnTo>
                      <a:pt x="90" y="802"/>
                    </a:lnTo>
                    <a:lnTo>
                      <a:pt x="90" y="804"/>
                    </a:lnTo>
                    <a:lnTo>
                      <a:pt x="90" y="805"/>
                    </a:lnTo>
                    <a:lnTo>
                      <a:pt x="88" y="805"/>
                    </a:lnTo>
                    <a:lnTo>
                      <a:pt x="88" y="807"/>
                    </a:lnTo>
                    <a:lnTo>
                      <a:pt x="87" y="807"/>
                    </a:lnTo>
                    <a:lnTo>
                      <a:pt x="87" y="809"/>
                    </a:lnTo>
                    <a:lnTo>
                      <a:pt x="87" y="810"/>
                    </a:lnTo>
                    <a:lnTo>
                      <a:pt x="87" y="812"/>
                    </a:lnTo>
                    <a:lnTo>
                      <a:pt x="87" y="813"/>
                    </a:lnTo>
                    <a:lnTo>
                      <a:pt x="85" y="815"/>
                    </a:lnTo>
                    <a:lnTo>
                      <a:pt x="85" y="816"/>
                    </a:lnTo>
                    <a:lnTo>
                      <a:pt x="85" y="818"/>
                    </a:lnTo>
                    <a:lnTo>
                      <a:pt x="84" y="820"/>
                    </a:lnTo>
                    <a:lnTo>
                      <a:pt x="84" y="821"/>
                    </a:lnTo>
                    <a:lnTo>
                      <a:pt x="82" y="821"/>
                    </a:lnTo>
                    <a:lnTo>
                      <a:pt x="82" y="823"/>
                    </a:lnTo>
                    <a:lnTo>
                      <a:pt x="82" y="824"/>
                    </a:lnTo>
                    <a:lnTo>
                      <a:pt x="82" y="826"/>
                    </a:lnTo>
                    <a:lnTo>
                      <a:pt x="80" y="826"/>
                    </a:lnTo>
                    <a:lnTo>
                      <a:pt x="80" y="828"/>
                    </a:lnTo>
                    <a:lnTo>
                      <a:pt x="79" y="828"/>
                    </a:lnTo>
                    <a:lnTo>
                      <a:pt x="79" y="829"/>
                    </a:lnTo>
                    <a:lnTo>
                      <a:pt x="79" y="831"/>
                    </a:lnTo>
                    <a:lnTo>
                      <a:pt x="77" y="831"/>
                    </a:lnTo>
                    <a:lnTo>
                      <a:pt x="76" y="832"/>
                    </a:lnTo>
                    <a:lnTo>
                      <a:pt x="74" y="832"/>
                    </a:lnTo>
                    <a:lnTo>
                      <a:pt x="74" y="834"/>
                    </a:lnTo>
                    <a:lnTo>
                      <a:pt x="74" y="835"/>
                    </a:lnTo>
                    <a:lnTo>
                      <a:pt x="74" y="837"/>
                    </a:lnTo>
                    <a:lnTo>
                      <a:pt x="72" y="839"/>
                    </a:lnTo>
                    <a:lnTo>
                      <a:pt x="71" y="839"/>
                    </a:lnTo>
                    <a:lnTo>
                      <a:pt x="71" y="840"/>
                    </a:lnTo>
                    <a:lnTo>
                      <a:pt x="69" y="840"/>
                    </a:lnTo>
                    <a:lnTo>
                      <a:pt x="68" y="840"/>
                    </a:lnTo>
                    <a:lnTo>
                      <a:pt x="66" y="840"/>
                    </a:lnTo>
                    <a:lnTo>
                      <a:pt x="65" y="840"/>
                    </a:lnTo>
                    <a:lnTo>
                      <a:pt x="65" y="842"/>
                    </a:lnTo>
                    <a:lnTo>
                      <a:pt x="63" y="842"/>
                    </a:lnTo>
                    <a:lnTo>
                      <a:pt x="61" y="842"/>
                    </a:lnTo>
                    <a:lnTo>
                      <a:pt x="60" y="840"/>
                    </a:lnTo>
                    <a:lnTo>
                      <a:pt x="58" y="840"/>
                    </a:lnTo>
                    <a:lnTo>
                      <a:pt x="57" y="840"/>
                    </a:lnTo>
                    <a:lnTo>
                      <a:pt x="55" y="840"/>
                    </a:lnTo>
                    <a:lnTo>
                      <a:pt x="53" y="840"/>
                    </a:lnTo>
                    <a:lnTo>
                      <a:pt x="52" y="840"/>
                    </a:lnTo>
                    <a:lnTo>
                      <a:pt x="50" y="839"/>
                    </a:lnTo>
                    <a:lnTo>
                      <a:pt x="49" y="839"/>
                    </a:lnTo>
                    <a:lnTo>
                      <a:pt x="47" y="839"/>
                    </a:lnTo>
                    <a:lnTo>
                      <a:pt x="46" y="839"/>
                    </a:lnTo>
                    <a:lnTo>
                      <a:pt x="44" y="839"/>
                    </a:lnTo>
                    <a:lnTo>
                      <a:pt x="44" y="840"/>
                    </a:lnTo>
                    <a:lnTo>
                      <a:pt x="42" y="840"/>
                    </a:lnTo>
                    <a:lnTo>
                      <a:pt x="41" y="840"/>
                    </a:lnTo>
                    <a:lnTo>
                      <a:pt x="39" y="839"/>
                    </a:lnTo>
                    <a:lnTo>
                      <a:pt x="39" y="837"/>
                    </a:lnTo>
                    <a:lnTo>
                      <a:pt x="38" y="837"/>
                    </a:lnTo>
                    <a:lnTo>
                      <a:pt x="36" y="837"/>
                    </a:lnTo>
                    <a:lnTo>
                      <a:pt x="34" y="837"/>
                    </a:lnTo>
                    <a:lnTo>
                      <a:pt x="33" y="837"/>
                    </a:lnTo>
                    <a:lnTo>
                      <a:pt x="33" y="835"/>
                    </a:lnTo>
                    <a:lnTo>
                      <a:pt x="31" y="835"/>
                    </a:lnTo>
                    <a:lnTo>
                      <a:pt x="31" y="837"/>
                    </a:lnTo>
                    <a:lnTo>
                      <a:pt x="30" y="837"/>
                    </a:lnTo>
                    <a:lnTo>
                      <a:pt x="28" y="837"/>
                    </a:lnTo>
                    <a:lnTo>
                      <a:pt x="27" y="837"/>
                    </a:lnTo>
                    <a:lnTo>
                      <a:pt x="25" y="837"/>
                    </a:lnTo>
                    <a:lnTo>
                      <a:pt x="23" y="837"/>
                    </a:lnTo>
                    <a:lnTo>
                      <a:pt x="22" y="837"/>
                    </a:lnTo>
                    <a:lnTo>
                      <a:pt x="20" y="837"/>
                    </a:lnTo>
                    <a:lnTo>
                      <a:pt x="19" y="837"/>
                    </a:lnTo>
                    <a:lnTo>
                      <a:pt x="19" y="835"/>
                    </a:lnTo>
                    <a:lnTo>
                      <a:pt x="17" y="835"/>
                    </a:lnTo>
                    <a:lnTo>
                      <a:pt x="15" y="835"/>
                    </a:lnTo>
                    <a:lnTo>
                      <a:pt x="14" y="835"/>
                    </a:lnTo>
                    <a:lnTo>
                      <a:pt x="12" y="835"/>
                    </a:lnTo>
                    <a:lnTo>
                      <a:pt x="11" y="835"/>
                    </a:lnTo>
                    <a:lnTo>
                      <a:pt x="9" y="835"/>
                    </a:lnTo>
                    <a:lnTo>
                      <a:pt x="9" y="834"/>
                    </a:lnTo>
                    <a:lnTo>
                      <a:pt x="8" y="834"/>
                    </a:lnTo>
                    <a:lnTo>
                      <a:pt x="8" y="832"/>
                    </a:lnTo>
                    <a:lnTo>
                      <a:pt x="6" y="832"/>
                    </a:lnTo>
                    <a:lnTo>
                      <a:pt x="6" y="823"/>
                    </a:lnTo>
                    <a:lnTo>
                      <a:pt x="6" y="821"/>
                    </a:lnTo>
                    <a:lnTo>
                      <a:pt x="6" y="818"/>
                    </a:lnTo>
                    <a:lnTo>
                      <a:pt x="4" y="799"/>
                    </a:lnTo>
                    <a:lnTo>
                      <a:pt x="3" y="763"/>
                    </a:lnTo>
                    <a:lnTo>
                      <a:pt x="1" y="751"/>
                    </a:lnTo>
                    <a:lnTo>
                      <a:pt x="1" y="750"/>
                    </a:lnTo>
                    <a:lnTo>
                      <a:pt x="1" y="747"/>
                    </a:lnTo>
                    <a:lnTo>
                      <a:pt x="1" y="745"/>
                    </a:lnTo>
                    <a:lnTo>
                      <a:pt x="0" y="729"/>
                    </a:lnTo>
                    <a:lnTo>
                      <a:pt x="0" y="728"/>
                    </a:lnTo>
                    <a:lnTo>
                      <a:pt x="0" y="725"/>
                    </a:lnTo>
                    <a:lnTo>
                      <a:pt x="1" y="720"/>
                    </a:lnTo>
                    <a:lnTo>
                      <a:pt x="1" y="718"/>
                    </a:lnTo>
                    <a:lnTo>
                      <a:pt x="4" y="710"/>
                    </a:lnTo>
                    <a:lnTo>
                      <a:pt x="8" y="704"/>
                    </a:lnTo>
                    <a:lnTo>
                      <a:pt x="9" y="699"/>
                    </a:lnTo>
                    <a:lnTo>
                      <a:pt x="11" y="693"/>
                    </a:lnTo>
                    <a:lnTo>
                      <a:pt x="11" y="690"/>
                    </a:lnTo>
                    <a:lnTo>
                      <a:pt x="12" y="685"/>
                    </a:lnTo>
                    <a:lnTo>
                      <a:pt x="14" y="685"/>
                    </a:lnTo>
                    <a:lnTo>
                      <a:pt x="15" y="682"/>
                    </a:lnTo>
                    <a:lnTo>
                      <a:pt x="17" y="674"/>
                    </a:lnTo>
                    <a:lnTo>
                      <a:pt x="19" y="671"/>
                    </a:lnTo>
                    <a:lnTo>
                      <a:pt x="19" y="669"/>
                    </a:lnTo>
                    <a:lnTo>
                      <a:pt x="23" y="655"/>
                    </a:lnTo>
                    <a:lnTo>
                      <a:pt x="25" y="652"/>
                    </a:lnTo>
                    <a:lnTo>
                      <a:pt x="27" y="647"/>
                    </a:lnTo>
                    <a:lnTo>
                      <a:pt x="28" y="642"/>
                    </a:lnTo>
                    <a:lnTo>
                      <a:pt x="30" y="639"/>
                    </a:lnTo>
                    <a:lnTo>
                      <a:pt x="33" y="631"/>
                    </a:lnTo>
                    <a:lnTo>
                      <a:pt x="33" y="628"/>
                    </a:lnTo>
                    <a:lnTo>
                      <a:pt x="34" y="626"/>
                    </a:lnTo>
                    <a:lnTo>
                      <a:pt x="33" y="622"/>
                    </a:lnTo>
                    <a:lnTo>
                      <a:pt x="33" y="620"/>
                    </a:lnTo>
                    <a:lnTo>
                      <a:pt x="34" y="610"/>
                    </a:lnTo>
                    <a:lnTo>
                      <a:pt x="33" y="606"/>
                    </a:lnTo>
                    <a:lnTo>
                      <a:pt x="33" y="601"/>
                    </a:lnTo>
                    <a:lnTo>
                      <a:pt x="34" y="601"/>
                    </a:lnTo>
                    <a:lnTo>
                      <a:pt x="36" y="590"/>
                    </a:lnTo>
                    <a:lnTo>
                      <a:pt x="38" y="587"/>
                    </a:lnTo>
                    <a:lnTo>
                      <a:pt x="38" y="585"/>
                    </a:lnTo>
                    <a:lnTo>
                      <a:pt x="39" y="585"/>
                    </a:lnTo>
                    <a:lnTo>
                      <a:pt x="39" y="584"/>
                    </a:lnTo>
                    <a:lnTo>
                      <a:pt x="41" y="582"/>
                    </a:lnTo>
                    <a:lnTo>
                      <a:pt x="58" y="571"/>
                    </a:lnTo>
                    <a:lnTo>
                      <a:pt x="63" y="566"/>
                    </a:lnTo>
                    <a:lnTo>
                      <a:pt x="65" y="564"/>
                    </a:lnTo>
                    <a:lnTo>
                      <a:pt x="65" y="561"/>
                    </a:lnTo>
                    <a:lnTo>
                      <a:pt x="66" y="560"/>
                    </a:lnTo>
                    <a:lnTo>
                      <a:pt x="66" y="558"/>
                    </a:lnTo>
                    <a:lnTo>
                      <a:pt x="69" y="553"/>
                    </a:lnTo>
                    <a:lnTo>
                      <a:pt x="69" y="550"/>
                    </a:lnTo>
                    <a:lnTo>
                      <a:pt x="69" y="547"/>
                    </a:lnTo>
                    <a:lnTo>
                      <a:pt x="71" y="539"/>
                    </a:lnTo>
                    <a:lnTo>
                      <a:pt x="69" y="538"/>
                    </a:lnTo>
                    <a:lnTo>
                      <a:pt x="68" y="530"/>
                    </a:lnTo>
                    <a:lnTo>
                      <a:pt x="68" y="528"/>
                    </a:lnTo>
                    <a:lnTo>
                      <a:pt x="66" y="525"/>
                    </a:lnTo>
                    <a:lnTo>
                      <a:pt x="61" y="506"/>
                    </a:lnTo>
                    <a:lnTo>
                      <a:pt x="60" y="501"/>
                    </a:lnTo>
                    <a:lnTo>
                      <a:pt x="57" y="493"/>
                    </a:lnTo>
                    <a:lnTo>
                      <a:pt x="57" y="490"/>
                    </a:lnTo>
                    <a:lnTo>
                      <a:pt x="55" y="485"/>
                    </a:lnTo>
                    <a:lnTo>
                      <a:pt x="55" y="484"/>
                    </a:lnTo>
                    <a:lnTo>
                      <a:pt x="55" y="481"/>
                    </a:lnTo>
                    <a:lnTo>
                      <a:pt x="57" y="476"/>
                    </a:lnTo>
                    <a:lnTo>
                      <a:pt x="60" y="468"/>
                    </a:lnTo>
                    <a:lnTo>
                      <a:pt x="63" y="465"/>
                    </a:lnTo>
                    <a:lnTo>
                      <a:pt x="63" y="461"/>
                    </a:lnTo>
                    <a:lnTo>
                      <a:pt x="61" y="458"/>
                    </a:lnTo>
                    <a:lnTo>
                      <a:pt x="60" y="457"/>
                    </a:lnTo>
                    <a:lnTo>
                      <a:pt x="60" y="455"/>
                    </a:lnTo>
                    <a:lnTo>
                      <a:pt x="58" y="452"/>
                    </a:lnTo>
                    <a:lnTo>
                      <a:pt x="57" y="452"/>
                    </a:lnTo>
                    <a:lnTo>
                      <a:pt x="53" y="452"/>
                    </a:lnTo>
                    <a:lnTo>
                      <a:pt x="52" y="452"/>
                    </a:lnTo>
                    <a:lnTo>
                      <a:pt x="52" y="450"/>
                    </a:lnTo>
                    <a:lnTo>
                      <a:pt x="50" y="449"/>
                    </a:lnTo>
                    <a:lnTo>
                      <a:pt x="50" y="447"/>
                    </a:lnTo>
                    <a:lnTo>
                      <a:pt x="50" y="446"/>
                    </a:lnTo>
                    <a:lnTo>
                      <a:pt x="52" y="446"/>
                    </a:lnTo>
                    <a:lnTo>
                      <a:pt x="53" y="441"/>
                    </a:lnTo>
                    <a:lnTo>
                      <a:pt x="55" y="436"/>
                    </a:lnTo>
                    <a:lnTo>
                      <a:pt x="55" y="433"/>
                    </a:lnTo>
                    <a:lnTo>
                      <a:pt x="55" y="428"/>
                    </a:lnTo>
                    <a:lnTo>
                      <a:pt x="57" y="428"/>
                    </a:lnTo>
                    <a:lnTo>
                      <a:pt x="57" y="427"/>
                    </a:lnTo>
                    <a:lnTo>
                      <a:pt x="58" y="425"/>
                    </a:lnTo>
                    <a:lnTo>
                      <a:pt x="61" y="422"/>
                    </a:lnTo>
                    <a:lnTo>
                      <a:pt x="65" y="419"/>
                    </a:lnTo>
                    <a:lnTo>
                      <a:pt x="76" y="409"/>
                    </a:lnTo>
                    <a:lnTo>
                      <a:pt x="76" y="408"/>
                    </a:lnTo>
                    <a:lnTo>
                      <a:pt x="77" y="408"/>
                    </a:lnTo>
                    <a:lnTo>
                      <a:pt x="77" y="406"/>
                    </a:lnTo>
                    <a:lnTo>
                      <a:pt x="80" y="404"/>
                    </a:lnTo>
                    <a:lnTo>
                      <a:pt x="80" y="403"/>
                    </a:lnTo>
                    <a:lnTo>
                      <a:pt x="82" y="403"/>
                    </a:lnTo>
                    <a:lnTo>
                      <a:pt x="82" y="401"/>
                    </a:lnTo>
                    <a:lnTo>
                      <a:pt x="82" y="400"/>
                    </a:lnTo>
                    <a:lnTo>
                      <a:pt x="88" y="389"/>
                    </a:lnTo>
                    <a:lnTo>
                      <a:pt x="90" y="387"/>
                    </a:lnTo>
                    <a:lnTo>
                      <a:pt x="96" y="378"/>
                    </a:lnTo>
                    <a:lnTo>
                      <a:pt x="99" y="371"/>
                    </a:lnTo>
                    <a:lnTo>
                      <a:pt x="101" y="368"/>
                    </a:lnTo>
                    <a:lnTo>
                      <a:pt x="106" y="362"/>
                    </a:lnTo>
                    <a:lnTo>
                      <a:pt x="109" y="360"/>
                    </a:lnTo>
                    <a:lnTo>
                      <a:pt x="112" y="359"/>
                    </a:lnTo>
                    <a:lnTo>
                      <a:pt x="117" y="355"/>
                    </a:lnTo>
                    <a:lnTo>
                      <a:pt x="120" y="354"/>
                    </a:lnTo>
                    <a:lnTo>
                      <a:pt x="126" y="351"/>
                    </a:lnTo>
                    <a:lnTo>
                      <a:pt x="128" y="347"/>
                    </a:lnTo>
                    <a:lnTo>
                      <a:pt x="131" y="346"/>
                    </a:lnTo>
                    <a:lnTo>
                      <a:pt x="136" y="343"/>
                    </a:lnTo>
                    <a:lnTo>
                      <a:pt x="144" y="336"/>
                    </a:lnTo>
                    <a:lnTo>
                      <a:pt x="145" y="338"/>
                    </a:lnTo>
                    <a:lnTo>
                      <a:pt x="153" y="344"/>
                    </a:lnTo>
                    <a:lnTo>
                      <a:pt x="155" y="346"/>
                    </a:lnTo>
                    <a:lnTo>
                      <a:pt x="160" y="349"/>
                    </a:lnTo>
                    <a:lnTo>
                      <a:pt x="161" y="351"/>
                    </a:lnTo>
                    <a:lnTo>
                      <a:pt x="163" y="352"/>
                    </a:lnTo>
                    <a:lnTo>
                      <a:pt x="164" y="354"/>
                    </a:lnTo>
                    <a:lnTo>
                      <a:pt x="166" y="354"/>
                    </a:lnTo>
                    <a:lnTo>
                      <a:pt x="167" y="355"/>
                    </a:lnTo>
                    <a:lnTo>
                      <a:pt x="172" y="359"/>
                    </a:lnTo>
                    <a:lnTo>
                      <a:pt x="180" y="366"/>
                    </a:lnTo>
                    <a:lnTo>
                      <a:pt x="187" y="374"/>
                    </a:lnTo>
                    <a:lnTo>
                      <a:pt x="190" y="378"/>
                    </a:lnTo>
                    <a:lnTo>
                      <a:pt x="191" y="379"/>
                    </a:lnTo>
                    <a:lnTo>
                      <a:pt x="194" y="379"/>
                    </a:lnTo>
                    <a:lnTo>
                      <a:pt x="194" y="381"/>
                    </a:lnTo>
                    <a:lnTo>
                      <a:pt x="196" y="381"/>
                    </a:lnTo>
                    <a:lnTo>
                      <a:pt x="196" y="384"/>
                    </a:lnTo>
                    <a:lnTo>
                      <a:pt x="194" y="389"/>
                    </a:lnTo>
                    <a:lnTo>
                      <a:pt x="194" y="390"/>
                    </a:lnTo>
                    <a:lnTo>
                      <a:pt x="194" y="392"/>
                    </a:lnTo>
                    <a:lnTo>
                      <a:pt x="196" y="393"/>
                    </a:lnTo>
                    <a:lnTo>
                      <a:pt x="198" y="393"/>
                    </a:lnTo>
                    <a:lnTo>
                      <a:pt x="204" y="387"/>
                    </a:lnTo>
                    <a:lnTo>
                      <a:pt x="207" y="384"/>
                    </a:lnTo>
                    <a:lnTo>
                      <a:pt x="209" y="384"/>
                    </a:lnTo>
                    <a:lnTo>
                      <a:pt x="212" y="384"/>
                    </a:lnTo>
                    <a:lnTo>
                      <a:pt x="213" y="384"/>
                    </a:lnTo>
                    <a:lnTo>
                      <a:pt x="215" y="384"/>
                    </a:lnTo>
                    <a:lnTo>
                      <a:pt x="217" y="384"/>
                    </a:lnTo>
                    <a:lnTo>
                      <a:pt x="218" y="382"/>
                    </a:lnTo>
                    <a:lnTo>
                      <a:pt x="218" y="381"/>
                    </a:lnTo>
                    <a:lnTo>
                      <a:pt x="220" y="378"/>
                    </a:lnTo>
                    <a:lnTo>
                      <a:pt x="220" y="376"/>
                    </a:lnTo>
                    <a:lnTo>
                      <a:pt x="223" y="374"/>
                    </a:lnTo>
                    <a:lnTo>
                      <a:pt x="225" y="373"/>
                    </a:lnTo>
                    <a:lnTo>
                      <a:pt x="228" y="370"/>
                    </a:lnTo>
                    <a:lnTo>
                      <a:pt x="231" y="366"/>
                    </a:lnTo>
                    <a:lnTo>
                      <a:pt x="231" y="365"/>
                    </a:lnTo>
                    <a:lnTo>
                      <a:pt x="232" y="365"/>
                    </a:lnTo>
                    <a:lnTo>
                      <a:pt x="234" y="359"/>
                    </a:lnTo>
                    <a:lnTo>
                      <a:pt x="240" y="351"/>
                    </a:lnTo>
                    <a:lnTo>
                      <a:pt x="244" y="346"/>
                    </a:lnTo>
                    <a:lnTo>
                      <a:pt x="245" y="344"/>
                    </a:lnTo>
                    <a:lnTo>
                      <a:pt x="247" y="344"/>
                    </a:lnTo>
                    <a:lnTo>
                      <a:pt x="251" y="338"/>
                    </a:lnTo>
                    <a:lnTo>
                      <a:pt x="253" y="336"/>
                    </a:lnTo>
                    <a:lnTo>
                      <a:pt x="253" y="335"/>
                    </a:lnTo>
                    <a:lnTo>
                      <a:pt x="253" y="333"/>
                    </a:lnTo>
                    <a:lnTo>
                      <a:pt x="251" y="333"/>
                    </a:lnTo>
                    <a:lnTo>
                      <a:pt x="251" y="332"/>
                    </a:lnTo>
                    <a:lnTo>
                      <a:pt x="248" y="328"/>
                    </a:lnTo>
                    <a:lnTo>
                      <a:pt x="248" y="327"/>
                    </a:lnTo>
                    <a:lnTo>
                      <a:pt x="248" y="324"/>
                    </a:lnTo>
                    <a:lnTo>
                      <a:pt x="247" y="322"/>
                    </a:lnTo>
                    <a:lnTo>
                      <a:pt x="245" y="322"/>
                    </a:lnTo>
                    <a:lnTo>
                      <a:pt x="245" y="320"/>
                    </a:lnTo>
                    <a:lnTo>
                      <a:pt x="247" y="317"/>
                    </a:lnTo>
                    <a:lnTo>
                      <a:pt x="247" y="316"/>
                    </a:lnTo>
                    <a:lnTo>
                      <a:pt x="248" y="314"/>
                    </a:lnTo>
                    <a:lnTo>
                      <a:pt x="251" y="303"/>
                    </a:lnTo>
                    <a:lnTo>
                      <a:pt x="251" y="300"/>
                    </a:lnTo>
                    <a:lnTo>
                      <a:pt x="253" y="295"/>
                    </a:lnTo>
                    <a:lnTo>
                      <a:pt x="255" y="292"/>
                    </a:lnTo>
                    <a:lnTo>
                      <a:pt x="259" y="271"/>
                    </a:lnTo>
                    <a:lnTo>
                      <a:pt x="259" y="270"/>
                    </a:lnTo>
                    <a:lnTo>
                      <a:pt x="261" y="268"/>
                    </a:lnTo>
                    <a:lnTo>
                      <a:pt x="261" y="267"/>
                    </a:lnTo>
                    <a:lnTo>
                      <a:pt x="261" y="265"/>
                    </a:lnTo>
                    <a:lnTo>
                      <a:pt x="261" y="263"/>
                    </a:lnTo>
                    <a:lnTo>
                      <a:pt x="263" y="262"/>
                    </a:lnTo>
                    <a:lnTo>
                      <a:pt x="259" y="256"/>
                    </a:lnTo>
                    <a:lnTo>
                      <a:pt x="258" y="251"/>
                    </a:lnTo>
                    <a:lnTo>
                      <a:pt x="256" y="249"/>
                    </a:lnTo>
                    <a:lnTo>
                      <a:pt x="255" y="248"/>
                    </a:lnTo>
                    <a:lnTo>
                      <a:pt x="248" y="241"/>
                    </a:lnTo>
                    <a:lnTo>
                      <a:pt x="248" y="240"/>
                    </a:lnTo>
                    <a:lnTo>
                      <a:pt x="247" y="237"/>
                    </a:lnTo>
                    <a:lnTo>
                      <a:pt x="247" y="235"/>
                    </a:lnTo>
                    <a:lnTo>
                      <a:pt x="253" y="222"/>
                    </a:lnTo>
                    <a:lnTo>
                      <a:pt x="258" y="214"/>
                    </a:lnTo>
                    <a:lnTo>
                      <a:pt x="259" y="210"/>
                    </a:lnTo>
                    <a:lnTo>
                      <a:pt x="259" y="208"/>
                    </a:lnTo>
                    <a:lnTo>
                      <a:pt x="259" y="206"/>
                    </a:lnTo>
                    <a:lnTo>
                      <a:pt x="270" y="194"/>
                    </a:lnTo>
                    <a:lnTo>
                      <a:pt x="277" y="181"/>
                    </a:lnTo>
                    <a:lnTo>
                      <a:pt x="277" y="178"/>
                    </a:lnTo>
                    <a:lnTo>
                      <a:pt x="277" y="175"/>
                    </a:lnTo>
                    <a:lnTo>
                      <a:pt x="278" y="170"/>
                    </a:lnTo>
                    <a:lnTo>
                      <a:pt x="285" y="157"/>
                    </a:lnTo>
                    <a:lnTo>
                      <a:pt x="286" y="149"/>
                    </a:lnTo>
                    <a:lnTo>
                      <a:pt x="286" y="145"/>
                    </a:lnTo>
                    <a:lnTo>
                      <a:pt x="286" y="140"/>
                    </a:lnTo>
                    <a:lnTo>
                      <a:pt x="286" y="138"/>
                    </a:lnTo>
                    <a:lnTo>
                      <a:pt x="286" y="135"/>
                    </a:lnTo>
                    <a:lnTo>
                      <a:pt x="286" y="132"/>
                    </a:lnTo>
                    <a:lnTo>
                      <a:pt x="286" y="127"/>
                    </a:lnTo>
                    <a:lnTo>
                      <a:pt x="286" y="124"/>
                    </a:lnTo>
                    <a:lnTo>
                      <a:pt x="286" y="122"/>
                    </a:lnTo>
                    <a:lnTo>
                      <a:pt x="285" y="119"/>
                    </a:lnTo>
                    <a:lnTo>
                      <a:pt x="283" y="116"/>
                    </a:lnTo>
                    <a:lnTo>
                      <a:pt x="282" y="116"/>
                    </a:lnTo>
                    <a:lnTo>
                      <a:pt x="280" y="113"/>
                    </a:lnTo>
                    <a:lnTo>
                      <a:pt x="280" y="111"/>
                    </a:lnTo>
                    <a:lnTo>
                      <a:pt x="278" y="105"/>
                    </a:lnTo>
                    <a:lnTo>
                      <a:pt x="277" y="103"/>
                    </a:lnTo>
                    <a:lnTo>
                      <a:pt x="277" y="100"/>
                    </a:lnTo>
                    <a:lnTo>
                      <a:pt x="277" y="99"/>
                    </a:lnTo>
                    <a:lnTo>
                      <a:pt x="275" y="94"/>
                    </a:lnTo>
                    <a:lnTo>
                      <a:pt x="278" y="89"/>
                    </a:lnTo>
                    <a:lnTo>
                      <a:pt x="282" y="84"/>
                    </a:lnTo>
                    <a:lnTo>
                      <a:pt x="283" y="80"/>
                    </a:lnTo>
                    <a:lnTo>
                      <a:pt x="289" y="73"/>
                    </a:lnTo>
                    <a:lnTo>
                      <a:pt x="293" y="70"/>
                    </a:lnTo>
                    <a:lnTo>
                      <a:pt x="297" y="67"/>
                    </a:lnTo>
                    <a:lnTo>
                      <a:pt x="299" y="64"/>
                    </a:lnTo>
                    <a:lnTo>
                      <a:pt x="305" y="61"/>
                    </a:lnTo>
                    <a:lnTo>
                      <a:pt x="308" y="59"/>
                    </a:lnTo>
                    <a:lnTo>
                      <a:pt x="310" y="59"/>
                    </a:lnTo>
                    <a:lnTo>
                      <a:pt x="313" y="56"/>
                    </a:lnTo>
                    <a:lnTo>
                      <a:pt x="316" y="54"/>
                    </a:lnTo>
                    <a:lnTo>
                      <a:pt x="318" y="53"/>
                    </a:lnTo>
                    <a:lnTo>
                      <a:pt x="320" y="51"/>
                    </a:lnTo>
                    <a:lnTo>
                      <a:pt x="323" y="50"/>
                    </a:lnTo>
                    <a:lnTo>
                      <a:pt x="324" y="48"/>
                    </a:lnTo>
                    <a:lnTo>
                      <a:pt x="326" y="46"/>
                    </a:lnTo>
                    <a:lnTo>
                      <a:pt x="332" y="42"/>
                    </a:lnTo>
                    <a:lnTo>
                      <a:pt x="334" y="42"/>
                    </a:lnTo>
                    <a:lnTo>
                      <a:pt x="335" y="40"/>
                    </a:lnTo>
                    <a:lnTo>
                      <a:pt x="339" y="37"/>
                    </a:lnTo>
                    <a:lnTo>
                      <a:pt x="340" y="35"/>
                    </a:lnTo>
                    <a:lnTo>
                      <a:pt x="342" y="35"/>
                    </a:lnTo>
                    <a:lnTo>
                      <a:pt x="343" y="35"/>
                    </a:lnTo>
                    <a:lnTo>
                      <a:pt x="343" y="37"/>
                    </a:lnTo>
                    <a:lnTo>
                      <a:pt x="343" y="38"/>
                    </a:lnTo>
                    <a:lnTo>
                      <a:pt x="342" y="40"/>
                    </a:lnTo>
                    <a:lnTo>
                      <a:pt x="342" y="42"/>
                    </a:lnTo>
                    <a:lnTo>
                      <a:pt x="343" y="43"/>
                    </a:lnTo>
                    <a:lnTo>
                      <a:pt x="345" y="43"/>
                    </a:lnTo>
                    <a:lnTo>
                      <a:pt x="345" y="45"/>
                    </a:lnTo>
                    <a:lnTo>
                      <a:pt x="348" y="46"/>
                    </a:lnTo>
                    <a:lnTo>
                      <a:pt x="348" y="48"/>
                    </a:lnTo>
                    <a:lnTo>
                      <a:pt x="346" y="50"/>
                    </a:lnTo>
                    <a:lnTo>
                      <a:pt x="345" y="50"/>
                    </a:lnTo>
                    <a:lnTo>
                      <a:pt x="345" y="51"/>
                    </a:lnTo>
                    <a:lnTo>
                      <a:pt x="343" y="53"/>
                    </a:lnTo>
                    <a:lnTo>
                      <a:pt x="343" y="54"/>
                    </a:lnTo>
                    <a:lnTo>
                      <a:pt x="342" y="54"/>
                    </a:lnTo>
                    <a:lnTo>
                      <a:pt x="342" y="56"/>
                    </a:lnTo>
                    <a:lnTo>
                      <a:pt x="342" y="57"/>
                    </a:lnTo>
                    <a:lnTo>
                      <a:pt x="343" y="57"/>
                    </a:lnTo>
                    <a:lnTo>
                      <a:pt x="343" y="59"/>
                    </a:lnTo>
                    <a:lnTo>
                      <a:pt x="343" y="61"/>
                    </a:lnTo>
                    <a:lnTo>
                      <a:pt x="343" y="62"/>
                    </a:lnTo>
                    <a:lnTo>
                      <a:pt x="345" y="62"/>
                    </a:lnTo>
                    <a:lnTo>
                      <a:pt x="345" y="64"/>
                    </a:lnTo>
                    <a:lnTo>
                      <a:pt x="346" y="64"/>
                    </a:lnTo>
                    <a:lnTo>
                      <a:pt x="346" y="65"/>
                    </a:lnTo>
                    <a:lnTo>
                      <a:pt x="346" y="67"/>
                    </a:lnTo>
                    <a:lnTo>
                      <a:pt x="346" y="65"/>
                    </a:lnTo>
                    <a:lnTo>
                      <a:pt x="348" y="65"/>
                    </a:lnTo>
                    <a:lnTo>
                      <a:pt x="350" y="64"/>
                    </a:lnTo>
                    <a:lnTo>
                      <a:pt x="350" y="65"/>
                    </a:lnTo>
                    <a:lnTo>
                      <a:pt x="350" y="67"/>
                    </a:lnTo>
                    <a:lnTo>
                      <a:pt x="350" y="69"/>
                    </a:lnTo>
                    <a:lnTo>
                      <a:pt x="348" y="69"/>
                    </a:lnTo>
                    <a:lnTo>
                      <a:pt x="348" y="70"/>
                    </a:lnTo>
                    <a:lnTo>
                      <a:pt x="346" y="70"/>
                    </a:lnTo>
                    <a:lnTo>
                      <a:pt x="346" y="72"/>
                    </a:lnTo>
                    <a:lnTo>
                      <a:pt x="346" y="73"/>
                    </a:lnTo>
                    <a:lnTo>
                      <a:pt x="346" y="75"/>
                    </a:lnTo>
                    <a:lnTo>
                      <a:pt x="348" y="75"/>
                    </a:lnTo>
                    <a:lnTo>
                      <a:pt x="348" y="73"/>
                    </a:lnTo>
                    <a:lnTo>
                      <a:pt x="350" y="73"/>
                    </a:lnTo>
                    <a:lnTo>
                      <a:pt x="350" y="75"/>
                    </a:lnTo>
                    <a:lnTo>
                      <a:pt x="351" y="75"/>
                    </a:lnTo>
                    <a:lnTo>
                      <a:pt x="351" y="76"/>
                    </a:lnTo>
                    <a:lnTo>
                      <a:pt x="353" y="76"/>
                    </a:lnTo>
                    <a:lnTo>
                      <a:pt x="354" y="76"/>
                    </a:lnTo>
                    <a:lnTo>
                      <a:pt x="354" y="78"/>
                    </a:lnTo>
                    <a:lnTo>
                      <a:pt x="356" y="78"/>
                    </a:lnTo>
                    <a:lnTo>
                      <a:pt x="356" y="80"/>
                    </a:lnTo>
                    <a:lnTo>
                      <a:pt x="358" y="80"/>
                    </a:lnTo>
                    <a:lnTo>
                      <a:pt x="358" y="78"/>
                    </a:lnTo>
                    <a:lnTo>
                      <a:pt x="358" y="76"/>
                    </a:lnTo>
                    <a:lnTo>
                      <a:pt x="359" y="76"/>
                    </a:lnTo>
                    <a:lnTo>
                      <a:pt x="361" y="76"/>
                    </a:lnTo>
                    <a:lnTo>
                      <a:pt x="362" y="76"/>
                    </a:lnTo>
                    <a:lnTo>
                      <a:pt x="362" y="78"/>
                    </a:lnTo>
                    <a:lnTo>
                      <a:pt x="361" y="78"/>
                    </a:lnTo>
                    <a:lnTo>
                      <a:pt x="362" y="78"/>
                    </a:lnTo>
                    <a:lnTo>
                      <a:pt x="364" y="78"/>
                    </a:lnTo>
                    <a:lnTo>
                      <a:pt x="364" y="76"/>
                    </a:lnTo>
                    <a:lnTo>
                      <a:pt x="366" y="76"/>
                    </a:lnTo>
                    <a:lnTo>
                      <a:pt x="366" y="75"/>
                    </a:lnTo>
                    <a:lnTo>
                      <a:pt x="367" y="75"/>
                    </a:lnTo>
                    <a:lnTo>
                      <a:pt x="369" y="75"/>
                    </a:lnTo>
                    <a:lnTo>
                      <a:pt x="369" y="76"/>
                    </a:lnTo>
                    <a:lnTo>
                      <a:pt x="369" y="78"/>
                    </a:lnTo>
                    <a:lnTo>
                      <a:pt x="370" y="80"/>
                    </a:lnTo>
                    <a:lnTo>
                      <a:pt x="372" y="80"/>
                    </a:lnTo>
                    <a:lnTo>
                      <a:pt x="373" y="80"/>
                    </a:lnTo>
                    <a:lnTo>
                      <a:pt x="375" y="80"/>
                    </a:lnTo>
                    <a:lnTo>
                      <a:pt x="375" y="78"/>
                    </a:lnTo>
                    <a:lnTo>
                      <a:pt x="377" y="78"/>
                    </a:lnTo>
                    <a:lnTo>
                      <a:pt x="377" y="76"/>
                    </a:lnTo>
                    <a:lnTo>
                      <a:pt x="378" y="76"/>
                    </a:lnTo>
                    <a:lnTo>
                      <a:pt x="378" y="78"/>
                    </a:lnTo>
                    <a:lnTo>
                      <a:pt x="380" y="76"/>
                    </a:lnTo>
                    <a:lnTo>
                      <a:pt x="380" y="78"/>
                    </a:lnTo>
                    <a:lnTo>
                      <a:pt x="380" y="80"/>
                    </a:lnTo>
                    <a:lnTo>
                      <a:pt x="381" y="80"/>
                    </a:lnTo>
                    <a:lnTo>
                      <a:pt x="383" y="80"/>
                    </a:lnTo>
                    <a:lnTo>
                      <a:pt x="383" y="78"/>
                    </a:lnTo>
                    <a:lnTo>
                      <a:pt x="385" y="78"/>
                    </a:lnTo>
                    <a:lnTo>
                      <a:pt x="385" y="76"/>
                    </a:lnTo>
                    <a:lnTo>
                      <a:pt x="386" y="76"/>
                    </a:lnTo>
                    <a:lnTo>
                      <a:pt x="388" y="76"/>
                    </a:lnTo>
                    <a:lnTo>
                      <a:pt x="389" y="76"/>
                    </a:lnTo>
                    <a:lnTo>
                      <a:pt x="391" y="76"/>
                    </a:lnTo>
                    <a:lnTo>
                      <a:pt x="392" y="76"/>
                    </a:lnTo>
                    <a:lnTo>
                      <a:pt x="392" y="75"/>
                    </a:lnTo>
                    <a:lnTo>
                      <a:pt x="392" y="76"/>
                    </a:lnTo>
                    <a:lnTo>
                      <a:pt x="394" y="76"/>
                    </a:lnTo>
                    <a:lnTo>
                      <a:pt x="394" y="78"/>
                    </a:lnTo>
                    <a:lnTo>
                      <a:pt x="394" y="76"/>
                    </a:lnTo>
                    <a:lnTo>
                      <a:pt x="396" y="76"/>
                    </a:lnTo>
                    <a:lnTo>
                      <a:pt x="396" y="75"/>
                    </a:lnTo>
                    <a:lnTo>
                      <a:pt x="397" y="75"/>
                    </a:lnTo>
                    <a:lnTo>
                      <a:pt x="397" y="73"/>
                    </a:lnTo>
                    <a:lnTo>
                      <a:pt x="399" y="75"/>
                    </a:lnTo>
                    <a:lnTo>
                      <a:pt x="400" y="76"/>
                    </a:lnTo>
                    <a:lnTo>
                      <a:pt x="400" y="75"/>
                    </a:lnTo>
                    <a:lnTo>
                      <a:pt x="402" y="75"/>
                    </a:lnTo>
                    <a:lnTo>
                      <a:pt x="404" y="73"/>
                    </a:lnTo>
                    <a:lnTo>
                      <a:pt x="404" y="75"/>
                    </a:lnTo>
                    <a:lnTo>
                      <a:pt x="405" y="75"/>
                    </a:lnTo>
                    <a:lnTo>
                      <a:pt x="407" y="75"/>
                    </a:lnTo>
                    <a:lnTo>
                      <a:pt x="408" y="73"/>
                    </a:lnTo>
                    <a:lnTo>
                      <a:pt x="410" y="73"/>
                    </a:lnTo>
                    <a:lnTo>
                      <a:pt x="411" y="73"/>
                    </a:lnTo>
                    <a:lnTo>
                      <a:pt x="413" y="73"/>
                    </a:lnTo>
                    <a:lnTo>
                      <a:pt x="413" y="75"/>
                    </a:lnTo>
                    <a:lnTo>
                      <a:pt x="413" y="76"/>
                    </a:lnTo>
                    <a:lnTo>
                      <a:pt x="413" y="78"/>
                    </a:lnTo>
                    <a:lnTo>
                      <a:pt x="415" y="78"/>
                    </a:lnTo>
                    <a:lnTo>
                      <a:pt x="416" y="78"/>
                    </a:lnTo>
                    <a:lnTo>
                      <a:pt x="418" y="76"/>
                    </a:lnTo>
                    <a:lnTo>
                      <a:pt x="418" y="78"/>
                    </a:lnTo>
                    <a:lnTo>
                      <a:pt x="419" y="78"/>
                    </a:lnTo>
                    <a:lnTo>
                      <a:pt x="421" y="78"/>
                    </a:lnTo>
                    <a:lnTo>
                      <a:pt x="421" y="76"/>
                    </a:lnTo>
                    <a:lnTo>
                      <a:pt x="421" y="75"/>
                    </a:lnTo>
                    <a:lnTo>
                      <a:pt x="419" y="75"/>
                    </a:lnTo>
                    <a:lnTo>
                      <a:pt x="419" y="73"/>
                    </a:lnTo>
                    <a:lnTo>
                      <a:pt x="421" y="73"/>
                    </a:lnTo>
                    <a:lnTo>
                      <a:pt x="423" y="73"/>
                    </a:lnTo>
                    <a:lnTo>
                      <a:pt x="423" y="72"/>
                    </a:lnTo>
                    <a:lnTo>
                      <a:pt x="424" y="72"/>
                    </a:lnTo>
                    <a:lnTo>
                      <a:pt x="426" y="72"/>
                    </a:lnTo>
                    <a:lnTo>
                      <a:pt x="426" y="70"/>
                    </a:lnTo>
                    <a:lnTo>
                      <a:pt x="426" y="69"/>
                    </a:lnTo>
                    <a:lnTo>
                      <a:pt x="427" y="67"/>
                    </a:lnTo>
                    <a:lnTo>
                      <a:pt x="429" y="67"/>
                    </a:lnTo>
                    <a:lnTo>
                      <a:pt x="429" y="65"/>
                    </a:lnTo>
                    <a:lnTo>
                      <a:pt x="427" y="65"/>
                    </a:lnTo>
                    <a:lnTo>
                      <a:pt x="429" y="64"/>
                    </a:lnTo>
                    <a:lnTo>
                      <a:pt x="427" y="62"/>
                    </a:lnTo>
                    <a:lnTo>
                      <a:pt x="427" y="61"/>
                    </a:lnTo>
                    <a:lnTo>
                      <a:pt x="427" y="59"/>
                    </a:lnTo>
                    <a:lnTo>
                      <a:pt x="429" y="59"/>
                    </a:lnTo>
                    <a:lnTo>
                      <a:pt x="430" y="59"/>
                    </a:lnTo>
                    <a:lnTo>
                      <a:pt x="430" y="57"/>
                    </a:lnTo>
                    <a:lnTo>
                      <a:pt x="432" y="59"/>
                    </a:lnTo>
                    <a:lnTo>
                      <a:pt x="432" y="57"/>
                    </a:lnTo>
                    <a:lnTo>
                      <a:pt x="434" y="57"/>
                    </a:lnTo>
                    <a:lnTo>
                      <a:pt x="434" y="56"/>
                    </a:lnTo>
                    <a:lnTo>
                      <a:pt x="434" y="54"/>
                    </a:lnTo>
                    <a:lnTo>
                      <a:pt x="435" y="54"/>
                    </a:lnTo>
                    <a:lnTo>
                      <a:pt x="435" y="56"/>
                    </a:lnTo>
                    <a:lnTo>
                      <a:pt x="437" y="56"/>
                    </a:lnTo>
                    <a:lnTo>
                      <a:pt x="438" y="56"/>
                    </a:lnTo>
                    <a:lnTo>
                      <a:pt x="438" y="54"/>
                    </a:lnTo>
                    <a:lnTo>
                      <a:pt x="438" y="53"/>
                    </a:lnTo>
                    <a:lnTo>
                      <a:pt x="440" y="53"/>
                    </a:lnTo>
                    <a:lnTo>
                      <a:pt x="442" y="53"/>
                    </a:lnTo>
                    <a:lnTo>
                      <a:pt x="442" y="54"/>
                    </a:lnTo>
                    <a:lnTo>
                      <a:pt x="442" y="53"/>
                    </a:lnTo>
                    <a:lnTo>
                      <a:pt x="443" y="53"/>
                    </a:lnTo>
                    <a:lnTo>
                      <a:pt x="443" y="51"/>
                    </a:lnTo>
                    <a:lnTo>
                      <a:pt x="443" y="50"/>
                    </a:lnTo>
                    <a:lnTo>
                      <a:pt x="443" y="51"/>
                    </a:lnTo>
                    <a:lnTo>
                      <a:pt x="445" y="50"/>
                    </a:lnTo>
                    <a:lnTo>
                      <a:pt x="445" y="48"/>
                    </a:lnTo>
                    <a:lnTo>
                      <a:pt x="446" y="48"/>
                    </a:lnTo>
                    <a:lnTo>
                      <a:pt x="448" y="48"/>
                    </a:lnTo>
                    <a:lnTo>
                      <a:pt x="449" y="48"/>
                    </a:lnTo>
                    <a:lnTo>
                      <a:pt x="449" y="46"/>
                    </a:lnTo>
                    <a:lnTo>
                      <a:pt x="449" y="45"/>
                    </a:lnTo>
                    <a:lnTo>
                      <a:pt x="451" y="43"/>
                    </a:lnTo>
                    <a:lnTo>
                      <a:pt x="451" y="42"/>
                    </a:lnTo>
                    <a:lnTo>
                      <a:pt x="451" y="40"/>
                    </a:lnTo>
                    <a:lnTo>
                      <a:pt x="453" y="40"/>
                    </a:lnTo>
                    <a:lnTo>
                      <a:pt x="453" y="38"/>
                    </a:lnTo>
                    <a:lnTo>
                      <a:pt x="453" y="37"/>
                    </a:lnTo>
                    <a:lnTo>
                      <a:pt x="453" y="35"/>
                    </a:lnTo>
                    <a:lnTo>
                      <a:pt x="453" y="34"/>
                    </a:lnTo>
                    <a:lnTo>
                      <a:pt x="454" y="34"/>
                    </a:lnTo>
                    <a:lnTo>
                      <a:pt x="456" y="34"/>
                    </a:lnTo>
                    <a:lnTo>
                      <a:pt x="456" y="35"/>
                    </a:lnTo>
                    <a:lnTo>
                      <a:pt x="457" y="35"/>
                    </a:lnTo>
                    <a:lnTo>
                      <a:pt x="459" y="35"/>
                    </a:lnTo>
                    <a:lnTo>
                      <a:pt x="461" y="34"/>
                    </a:lnTo>
                    <a:lnTo>
                      <a:pt x="462" y="34"/>
                    </a:lnTo>
                    <a:lnTo>
                      <a:pt x="464" y="34"/>
                    </a:lnTo>
                    <a:lnTo>
                      <a:pt x="464" y="32"/>
                    </a:lnTo>
                    <a:lnTo>
                      <a:pt x="464" y="34"/>
                    </a:lnTo>
                    <a:lnTo>
                      <a:pt x="465" y="34"/>
                    </a:lnTo>
                    <a:lnTo>
                      <a:pt x="467" y="34"/>
                    </a:lnTo>
                    <a:lnTo>
                      <a:pt x="468" y="34"/>
                    </a:lnTo>
                    <a:lnTo>
                      <a:pt x="470" y="34"/>
                    </a:lnTo>
                    <a:lnTo>
                      <a:pt x="472" y="32"/>
                    </a:lnTo>
                    <a:lnTo>
                      <a:pt x="472" y="31"/>
                    </a:lnTo>
                    <a:lnTo>
                      <a:pt x="473" y="31"/>
                    </a:lnTo>
                    <a:lnTo>
                      <a:pt x="473" y="29"/>
                    </a:lnTo>
                    <a:lnTo>
                      <a:pt x="473" y="27"/>
                    </a:lnTo>
                    <a:lnTo>
                      <a:pt x="473" y="26"/>
                    </a:lnTo>
                    <a:lnTo>
                      <a:pt x="475" y="24"/>
                    </a:lnTo>
                    <a:lnTo>
                      <a:pt x="475" y="23"/>
                    </a:lnTo>
                    <a:lnTo>
                      <a:pt x="476" y="23"/>
                    </a:lnTo>
                    <a:lnTo>
                      <a:pt x="476" y="21"/>
                    </a:lnTo>
                    <a:lnTo>
                      <a:pt x="476" y="19"/>
                    </a:lnTo>
                    <a:lnTo>
                      <a:pt x="476" y="18"/>
                    </a:lnTo>
                    <a:lnTo>
                      <a:pt x="478" y="16"/>
                    </a:lnTo>
                    <a:lnTo>
                      <a:pt x="478" y="15"/>
                    </a:lnTo>
                    <a:lnTo>
                      <a:pt x="478" y="13"/>
                    </a:lnTo>
                    <a:lnTo>
                      <a:pt x="480" y="13"/>
                    </a:lnTo>
                    <a:lnTo>
                      <a:pt x="480" y="12"/>
                    </a:lnTo>
                    <a:lnTo>
                      <a:pt x="481" y="12"/>
                    </a:lnTo>
                    <a:lnTo>
                      <a:pt x="481" y="10"/>
                    </a:lnTo>
                    <a:lnTo>
                      <a:pt x="481" y="8"/>
                    </a:lnTo>
                    <a:lnTo>
                      <a:pt x="481" y="7"/>
                    </a:lnTo>
                    <a:lnTo>
                      <a:pt x="483" y="7"/>
                    </a:lnTo>
                    <a:lnTo>
                      <a:pt x="483" y="8"/>
                    </a:lnTo>
                    <a:lnTo>
                      <a:pt x="483" y="10"/>
                    </a:lnTo>
                    <a:lnTo>
                      <a:pt x="484" y="10"/>
                    </a:lnTo>
                    <a:lnTo>
                      <a:pt x="486" y="10"/>
                    </a:lnTo>
                    <a:lnTo>
                      <a:pt x="484" y="8"/>
                    </a:lnTo>
                    <a:lnTo>
                      <a:pt x="484" y="7"/>
                    </a:lnTo>
                    <a:lnTo>
                      <a:pt x="484" y="5"/>
                    </a:lnTo>
                    <a:lnTo>
                      <a:pt x="486" y="5"/>
                    </a:lnTo>
                    <a:lnTo>
                      <a:pt x="486" y="4"/>
                    </a:lnTo>
                    <a:lnTo>
                      <a:pt x="487" y="4"/>
                    </a:lnTo>
                    <a:lnTo>
                      <a:pt x="489" y="4"/>
                    </a:lnTo>
                    <a:lnTo>
                      <a:pt x="491" y="2"/>
                    </a:lnTo>
                    <a:lnTo>
                      <a:pt x="491" y="0"/>
                    </a:lnTo>
                    <a:lnTo>
                      <a:pt x="492" y="0"/>
                    </a:lnTo>
                    <a:lnTo>
                      <a:pt x="492" y="2"/>
                    </a:lnTo>
                    <a:lnTo>
                      <a:pt x="492" y="4"/>
                    </a:lnTo>
                    <a:lnTo>
                      <a:pt x="494" y="4"/>
                    </a:lnTo>
                    <a:lnTo>
                      <a:pt x="495" y="4"/>
                    </a:lnTo>
                    <a:close/>
                  </a:path>
                </a:pathLst>
              </a:custGeom>
              <a:solidFill>
                <a:srgbClr val="E1E1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138"/>
              </a:p>
            </p:txBody>
          </p:sp>
          <p:sp>
            <p:nvSpPr>
              <p:cNvPr id="18" name="Freeform 16"/>
              <p:cNvSpPr>
                <a:spLocks/>
              </p:cNvSpPr>
              <p:nvPr/>
            </p:nvSpPr>
            <p:spPr bwMode="auto">
              <a:xfrm>
                <a:off x="2384" y="2368"/>
                <a:ext cx="28" cy="21"/>
              </a:xfrm>
              <a:custGeom>
                <a:avLst/>
                <a:gdLst>
                  <a:gd name="T0" fmla="*/ 17 w 28"/>
                  <a:gd name="T1" fmla="*/ 2 h 21"/>
                  <a:gd name="T2" fmla="*/ 19 w 28"/>
                  <a:gd name="T3" fmla="*/ 2 h 21"/>
                  <a:gd name="T4" fmla="*/ 19 w 28"/>
                  <a:gd name="T5" fmla="*/ 4 h 21"/>
                  <a:gd name="T6" fmla="*/ 20 w 28"/>
                  <a:gd name="T7" fmla="*/ 4 h 21"/>
                  <a:gd name="T8" fmla="*/ 20 w 28"/>
                  <a:gd name="T9" fmla="*/ 5 h 21"/>
                  <a:gd name="T10" fmla="*/ 20 w 28"/>
                  <a:gd name="T11" fmla="*/ 7 h 21"/>
                  <a:gd name="T12" fmla="*/ 20 w 28"/>
                  <a:gd name="T13" fmla="*/ 8 h 21"/>
                  <a:gd name="T14" fmla="*/ 22 w 28"/>
                  <a:gd name="T15" fmla="*/ 8 h 21"/>
                  <a:gd name="T16" fmla="*/ 23 w 28"/>
                  <a:gd name="T17" fmla="*/ 8 h 21"/>
                  <a:gd name="T18" fmla="*/ 23 w 28"/>
                  <a:gd name="T19" fmla="*/ 10 h 21"/>
                  <a:gd name="T20" fmla="*/ 25 w 28"/>
                  <a:gd name="T21" fmla="*/ 10 h 21"/>
                  <a:gd name="T22" fmla="*/ 25 w 28"/>
                  <a:gd name="T23" fmla="*/ 12 h 21"/>
                  <a:gd name="T24" fmla="*/ 26 w 28"/>
                  <a:gd name="T25" fmla="*/ 12 h 21"/>
                  <a:gd name="T26" fmla="*/ 28 w 28"/>
                  <a:gd name="T27" fmla="*/ 12 h 21"/>
                  <a:gd name="T28" fmla="*/ 28 w 28"/>
                  <a:gd name="T29" fmla="*/ 13 h 21"/>
                  <a:gd name="T30" fmla="*/ 28 w 28"/>
                  <a:gd name="T31" fmla="*/ 15 h 21"/>
                  <a:gd name="T32" fmla="*/ 26 w 28"/>
                  <a:gd name="T33" fmla="*/ 15 h 21"/>
                  <a:gd name="T34" fmla="*/ 26 w 28"/>
                  <a:gd name="T35" fmla="*/ 16 h 21"/>
                  <a:gd name="T36" fmla="*/ 25 w 28"/>
                  <a:gd name="T37" fmla="*/ 16 h 21"/>
                  <a:gd name="T38" fmla="*/ 23 w 28"/>
                  <a:gd name="T39" fmla="*/ 16 h 21"/>
                  <a:gd name="T40" fmla="*/ 22 w 28"/>
                  <a:gd name="T41" fmla="*/ 16 h 21"/>
                  <a:gd name="T42" fmla="*/ 22 w 28"/>
                  <a:gd name="T43" fmla="*/ 18 h 21"/>
                  <a:gd name="T44" fmla="*/ 20 w 28"/>
                  <a:gd name="T45" fmla="*/ 18 h 21"/>
                  <a:gd name="T46" fmla="*/ 19 w 28"/>
                  <a:gd name="T47" fmla="*/ 18 h 21"/>
                  <a:gd name="T48" fmla="*/ 19 w 28"/>
                  <a:gd name="T49" fmla="*/ 19 h 21"/>
                  <a:gd name="T50" fmla="*/ 17 w 28"/>
                  <a:gd name="T51" fmla="*/ 19 h 21"/>
                  <a:gd name="T52" fmla="*/ 15 w 28"/>
                  <a:gd name="T53" fmla="*/ 19 h 21"/>
                  <a:gd name="T54" fmla="*/ 14 w 28"/>
                  <a:gd name="T55" fmla="*/ 19 h 21"/>
                  <a:gd name="T56" fmla="*/ 14 w 28"/>
                  <a:gd name="T57" fmla="*/ 21 h 21"/>
                  <a:gd name="T58" fmla="*/ 12 w 28"/>
                  <a:gd name="T59" fmla="*/ 21 h 21"/>
                  <a:gd name="T60" fmla="*/ 11 w 28"/>
                  <a:gd name="T61" fmla="*/ 21 h 21"/>
                  <a:gd name="T62" fmla="*/ 9 w 28"/>
                  <a:gd name="T63" fmla="*/ 21 h 21"/>
                  <a:gd name="T64" fmla="*/ 9 w 28"/>
                  <a:gd name="T65" fmla="*/ 19 h 21"/>
                  <a:gd name="T66" fmla="*/ 7 w 28"/>
                  <a:gd name="T67" fmla="*/ 19 h 21"/>
                  <a:gd name="T68" fmla="*/ 7 w 28"/>
                  <a:gd name="T69" fmla="*/ 18 h 21"/>
                  <a:gd name="T70" fmla="*/ 6 w 28"/>
                  <a:gd name="T71" fmla="*/ 18 h 21"/>
                  <a:gd name="T72" fmla="*/ 6 w 28"/>
                  <a:gd name="T73" fmla="*/ 16 h 21"/>
                  <a:gd name="T74" fmla="*/ 6 w 28"/>
                  <a:gd name="T75" fmla="*/ 15 h 21"/>
                  <a:gd name="T76" fmla="*/ 4 w 28"/>
                  <a:gd name="T77" fmla="*/ 15 h 21"/>
                  <a:gd name="T78" fmla="*/ 3 w 28"/>
                  <a:gd name="T79" fmla="*/ 15 h 21"/>
                  <a:gd name="T80" fmla="*/ 1 w 28"/>
                  <a:gd name="T81" fmla="*/ 13 h 21"/>
                  <a:gd name="T82" fmla="*/ 0 w 28"/>
                  <a:gd name="T83" fmla="*/ 13 h 21"/>
                  <a:gd name="T84" fmla="*/ 0 w 28"/>
                  <a:gd name="T85" fmla="*/ 12 h 21"/>
                  <a:gd name="T86" fmla="*/ 1 w 28"/>
                  <a:gd name="T87" fmla="*/ 12 h 21"/>
                  <a:gd name="T88" fmla="*/ 1 w 28"/>
                  <a:gd name="T89" fmla="*/ 10 h 21"/>
                  <a:gd name="T90" fmla="*/ 3 w 28"/>
                  <a:gd name="T91" fmla="*/ 8 h 21"/>
                  <a:gd name="T92" fmla="*/ 4 w 28"/>
                  <a:gd name="T93" fmla="*/ 8 h 21"/>
                  <a:gd name="T94" fmla="*/ 6 w 28"/>
                  <a:gd name="T95" fmla="*/ 8 h 21"/>
                  <a:gd name="T96" fmla="*/ 6 w 28"/>
                  <a:gd name="T97" fmla="*/ 7 h 21"/>
                  <a:gd name="T98" fmla="*/ 7 w 28"/>
                  <a:gd name="T99" fmla="*/ 7 h 21"/>
                  <a:gd name="T100" fmla="*/ 7 w 28"/>
                  <a:gd name="T101" fmla="*/ 5 h 21"/>
                  <a:gd name="T102" fmla="*/ 9 w 28"/>
                  <a:gd name="T103" fmla="*/ 5 h 21"/>
                  <a:gd name="T104" fmla="*/ 11 w 28"/>
                  <a:gd name="T105" fmla="*/ 5 h 21"/>
                  <a:gd name="T106" fmla="*/ 12 w 28"/>
                  <a:gd name="T107" fmla="*/ 5 h 21"/>
                  <a:gd name="T108" fmla="*/ 12 w 28"/>
                  <a:gd name="T109" fmla="*/ 4 h 21"/>
                  <a:gd name="T110" fmla="*/ 12 w 28"/>
                  <a:gd name="T111" fmla="*/ 2 h 21"/>
                  <a:gd name="T112" fmla="*/ 14 w 28"/>
                  <a:gd name="T113" fmla="*/ 2 h 21"/>
                  <a:gd name="T114" fmla="*/ 15 w 28"/>
                  <a:gd name="T115" fmla="*/ 2 h 21"/>
                  <a:gd name="T116" fmla="*/ 15 w 28"/>
                  <a:gd name="T117" fmla="*/ 0 h 21"/>
                  <a:gd name="T118" fmla="*/ 17 w 28"/>
                  <a:gd name="T119"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 h="21">
                    <a:moveTo>
                      <a:pt x="17" y="2"/>
                    </a:moveTo>
                    <a:lnTo>
                      <a:pt x="19" y="2"/>
                    </a:lnTo>
                    <a:lnTo>
                      <a:pt x="19" y="4"/>
                    </a:lnTo>
                    <a:lnTo>
                      <a:pt x="20" y="4"/>
                    </a:lnTo>
                    <a:lnTo>
                      <a:pt x="20" y="5"/>
                    </a:lnTo>
                    <a:lnTo>
                      <a:pt x="20" y="7"/>
                    </a:lnTo>
                    <a:lnTo>
                      <a:pt x="20" y="8"/>
                    </a:lnTo>
                    <a:lnTo>
                      <a:pt x="22" y="8"/>
                    </a:lnTo>
                    <a:lnTo>
                      <a:pt x="23" y="8"/>
                    </a:lnTo>
                    <a:lnTo>
                      <a:pt x="23" y="10"/>
                    </a:lnTo>
                    <a:lnTo>
                      <a:pt x="25" y="10"/>
                    </a:lnTo>
                    <a:lnTo>
                      <a:pt x="25" y="12"/>
                    </a:lnTo>
                    <a:lnTo>
                      <a:pt x="26" y="12"/>
                    </a:lnTo>
                    <a:lnTo>
                      <a:pt x="28" y="12"/>
                    </a:lnTo>
                    <a:lnTo>
                      <a:pt x="28" y="13"/>
                    </a:lnTo>
                    <a:lnTo>
                      <a:pt x="28" y="15"/>
                    </a:lnTo>
                    <a:lnTo>
                      <a:pt x="26" y="15"/>
                    </a:lnTo>
                    <a:lnTo>
                      <a:pt x="26" y="16"/>
                    </a:lnTo>
                    <a:lnTo>
                      <a:pt x="25" y="16"/>
                    </a:lnTo>
                    <a:lnTo>
                      <a:pt x="23" y="16"/>
                    </a:lnTo>
                    <a:lnTo>
                      <a:pt x="22" y="16"/>
                    </a:lnTo>
                    <a:lnTo>
                      <a:pt x="22" y="18"/>
                    </a:lnTo>
                    <a:lnTo>
                      <a:pt x="20" y="18"/>
                    </a:lnTo>
                    <a:lnTo>
                      <a:pt x="19" y="18"/>
                    </a:lnTo>
                    <a:lnTo>
                      <a:pt x="19" y="19"/>
                    </a:lnTo>
                    <a:lnTo>
                      <a:pt x="17" y="19"/>
                    </a:lnTo>
                    <a:lnTo>
                      <a:pt x="15" y="19"/>
                    </a:lnTo>
                    <a:lnTo>
                      <a:pt x="14" y="19"/>
                    </a:lnTo>
                    <a:lnTo>
                      <a:pt x="14" y="21"/>
                    </a:lnTo>
                    <a:lnTo>
                      <a:pt x="12" y="21"/>
                    </a:lnTo>
                    <a:lnTo>
                      <a:pt x="11" y="21"/>
                    </a:lnTo>
                    <a:lnTo>
                      <a:pt x="9" y="21"/>
                    </a:lnTo>
                    <a:lnTo>
                      <a:pt x="9" y="19"/>
                    </a:lnTo>
                    <a:lnTo>
                      <a:pt x="7" y="19"/>
                    </a:lnTo>
                    <a:lnTo>
                      <a:pt x="7" y="18"/>
                    </a:lnTo>
                    <a:lnTo>
                      <a:pt x="6" y="18"/>
                    </a:lnTo>
                    <a:lnTo>
                      <a:pt x="6" y="16"/>
                    </a:lnTo>
                    <a:lnTo>
                      <a:pt x="6" y="15"/>
                    </a:lnTo>
                    <a:lnTo>
                      <a:pt x="4" y="15"/>
                    </a:lnTo>
                    <a:lnTo>
                      <a:pt x="3" y="15"/>
                    </a:lnTo>
                    <a:lnTo>
                      <a:pt x="1" y="13"/>
                    </a:lnTo>
                    <a:lnTo>
                      <a:pt x="0" y="13"/>
                    </a:lnTo>
                    <a:lnTo>
                      <a:pt x="0" y="12"/>
                    </a:lnTo>
                    <a:lnTo>
                      <a:pt x="1" y="12"/>
                    </a:lnTo>
                    <a:lnTo>
                      <a:pt x="1" y="10"/>
                    </a:lnTo>
                    <a:lnTo>
                      <a:pt x="3" y="8"/>
                    </a:lnTo>
                    <a:lnTo>
                      <a:pt x="4" y="8"/>
                    </a:lnTo>
                    <a:lnTo>
                      <a:pt x="6" y="8"/>
                    </a:lnTo>
                    <a:lnTo>
                      <a:pt x="6" y="7"/>
                    </a:lnTo>
                    <a:lnTo>
                      <a:pt x="7" y="7"/>
                    </a:lnTo>
                    <a:lnTo>
                      <a:pt x="7" y="5"/>
                    </a:lnTo>
                    <a:lnTo>
                      <a:pt x="9" y="5"/>
                    </a:lnTo>
                    <a:lnTo>
                      <a:pt x="11" y="5"/>
                    </a:lnTo>
                    <a:lnTo>
                      <a:pt x="12" y="5"/>
                    </a:lnTo>
                    <a:lnTo>
                      <a:pt x="12" y="4"/>
                    </a:lnTo>
                    <a:lnTo>
                      <a:pt x="12" y="2"/>
                    </a:lnTo>
                    <a:lnTo>
                      <a:pt x="14" y="2"/>
                    </a:lnTo>
                    <a:lnTo>
                      <a:pt x="15" y="2"/>
                    </a:lnTo>
                    <a:lnTo>
                      <a:pt x="15" y="0"/>
                    </a:lnTo>
                    <a:lnTo>
                      <a:pt x="17" y="2"/>
                    </a:lnTo>
                  </a:path>
                </a:pathLst>
              </a:custGeom>
              <a:noFill/>
              <a:ln w="476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19" name="Freeform 17"/>
              <p:cNvSpPr>
                <a:spLocks/>
              </p:cNvSpPr>
              <p:nvPr/>
            </p:nvSpPr>
            <p:spPr bwMode="auto">
              <a:xfrm>
                <a:off x="2317" y="2357"/>
                <a:ext cx="70" cy="73"/>
              </a:xfrm>
              <a:custGeom>
                <a:avLst/>
                <a:gdLst>
                  <a:gd name="T0" fmla="*/ 24 w 70"/>
                  <a:gd name="T1" fmla="*/ 4 h 73"/>
                  <a:gd name="T2" fmla="*/ 29 w 70"/>
                  <a:gd name="T3" fmla="*/ 5 h 73"/>
                  <a:gd name="T4" fmla="*/ 33 w 70"/>
                  <a:gd name="T5" fmla="*/ 5 h 73"/>
                  <a:gd name="T6" fmla="*/ 36 w 70"/>
                  <a:gd name="T7" fmla="*/ 5 h 73"/>
                  <a:gd name="T8" fmla="*/ 43 w 70"/>
                  <a:gd name="T9" fmla="*/ 4 h 73"/>
                  <a:gd name="T10" fmla="*/ 44 w 70"/>
                  <a:gd name="T11" fmla="*/ 5 h 73"/>
                  <a:gd name="T12" fmla="*/ 49 w 70"/>
                  <a:gd name="T13" fmla="*/ 7 h 73"/>
                  <a:gd name="T14" fmla="*/ 52 w 70"/>
                  <a:gd name="T15" fmla="*/ 10 h 73"/>
                  <a:gd name="T16" fmla="*/ 48 w 70"/>
                  <a:gd name="T17" fmla="*/ 11 h 73"/>
                  <a:gd name="T18" fmla="*/ 46 w 70"/>
                  <a:gd name="T19" fmla="*/ 13 h 73"/>
                  <a:gd name="T20" fmla="*/ 51 w 70"/>
                  <a:gd name="T21" fmla="*/ 18 h 73"/>
                  <a:gd name="T22" fmla="*/ 55 w 70"/>
                  <a:gd name="T23" fmla="*/ 19 h 73"/>
                  <a:gd name="T24" fmla="*/ 59 w 70"/>
                  <a:gd name="T25" fmla="*/ 23 h 73"/>
                  <a:gd name="T26" fmla="*/ 62 w 70"/>
                  <a:gd name="T27" fmla="*/ 23 h 73"/>
                  <a:gd name="T28" fmla="*/ 63 w 70"/>
                  <a:gd name="T29" fmla="*/ 21 h 73"/>
                  <a:gd name="T30" fmla="*/ 63 w 70"/>
                  <a:gd name="T31" fmla="*/ 27 h 73"/>
                  <a:gd name="T32" fmla="*/ 62 w 70"/>
                  <a:gd name="T33" fmla="*/ 32 h 73"/>
                  <a:gd name="T34" fmla="*/ 62 w 70"/>
                  <a:gd name="T35" fmla="*/ 38 h 73"/>
                  <a:gd name="T36" fmla="*/ 60 w 70"/>
                  <a:gd name="T37" fmla="*/ 43 h 73"/>
                  <a:gd name="T38" fmla="*/ 60 w 70"/>
                  <a:gd name="T39" fmla="*/ 50 h 73"/>
                  <a:gd name="T40" fmla="*/ 63 w 70"/>
                  <a:gd name="T41" fmla="*/ 50 h 73"/>
                  <a:gd name="T42" fmla="*/ 67 w 70"/>
                  <a:gd name="T43" fmla="*/ 53 h 73"/>
                  <a:gd name="T44" fmla="*/ 68 w 70"/>
                  <a:gd name="T45" fmla="*/ 57 h 73"/>
                  <a:gd name="T46" fmla="*/ 67 w 70"/>
                  <a:gd name="T47" fmla="*/ 61 h 73"/>
                  <a:gd name="T48" fmla="*/ 63 w 70"/>
                  <a:gd name="T49" fmla="*/ 64 h 73"/>
                  <a:gd name="T50" fmla="*/ 67 w 70"/>
                  <a:gd name="T51" fmla="*/ 67 h 73"/>
                  <a:gd name="T52" fmla="*/ 70 w 70"/>
                  <a:gd name="T53" fmla="*/ 70 h 73"/>
                  <a:gd name="T54" fmla="*/ 70 w 70"/>
                  <a:gd name="T55" fmla="*/ 73 h 73"/>
                  <a:gd name="T56" fmla="*/ 65 w 70"/>
                  <a:gd name="T57" fmla="*/ 72 h 73"/>
                  <a:gd name="T58" fmla="*/ 60 w 70"/>
                  <a:gd name="T59" fmla="*/ 70 h 73"/>
                  <a:gd name="T60" fmla="*/ 57 w 70"/>
                  <a:gd name="T61" fmla="*/ 67 h 73"/>
                  <a:gd name="T62" fmla="*/ 57 w 70"/>
                  <a:gd name="T63" fmla="*/ 61 h 73"/>
                  <a:gd name="T64" fmla="*/ 54 w 70"/>
                  <a:gd name="T65" fmla="*/ 56 h 73"/>
                  <a:gd name="T66" fmla="*/ 49 w 70"/>
                  <a:gd name="T67" fmla="*/ 53 h 73"/>
                  <a:gd name="T68" fmla="*/ 46 w 70"/>
                  <a:gd name="T69" fmla="*/ 50 h 73"/>
                  <a:gd name="T70" fmla="*/ 44 w 70"/>
                  <a:gd name="T71" fmla="*/ 46 h 73"/>
                  <a:gd name="T72" fmla="*/ 41 w 70"/>
                  <a:gd name="T73" fmla="*/ 50 h 73"/>
                  <a:gd name="T74" fmla="*/ 38 w 70"/>
                  <a:gd name="T75" fmla="*/ 53 h 73"/>
                  <a:gd name="T76" fmla="*/ 36 w 70"/>
                  <a:gd name="T77" fmla="*/ 57 h 73"/>
                  <a:gd name="T78" fmla="*/ 30 w 70"/>
                  <a:gd name="T79" fmla="*/ 57 h 73"/>
                  <a:gd name="T80" fmla="*/ 25 w 70"/>
                  <a:gd name="T81" fmla="*/ 56 h 73"/>
                  <a:gd name="T82" fmla="*/ 22 w 70"/>
                  <a:gd name="T83" fmla="*/ 53 h 73"/>
                  <a:gd name="T84" fmla="*/ 17 w 70"/>
                  <a:gd name="T85" fmla="*/ 54 h 73"/>
                  <a:gd name="T86" fmla="*/ 11 w 70"/>
                  <a:gd name="T87" fmla="*/ 54 h 73"/>
                  <a:gd name="T88" fmla="*/ 10 w 70"/>
                  <a:gd name="T89" fmla="*/ 56 h 73"/>
                  <a:gd name="T90" fmla="*/ 5 w 70"/>
                  <a:gd name="T91" fmla="*/ 54 h 73"/>
                  <a:gd name="T92" fmla="*/ 2 w 70"/>
                  <a:gd name="T93" fmla="*/ 51 h 73"/>
                  <a:gd name="T94" fmla="*/ 2 w 70"/>
                  <a:gd name="T95" fmla="*/ 46 h 73"/>
                  <a:gd name="T96" fmla="*/ 0 w 70"/>
                  <a:gd name="T97" fmla="*/ 40 h 73"/>
                  <a:gd name="T98" fmla="*/ 2 w 70"/>
                  <a:gd name="T99" fmla="*/ 38 h 73"/>
                  <a:gd name="T100" fmla="*/ 2 w 70"/>
                  <a:gd name="T101" fmla="*/ 35 h 73"/>
                  <a:gd name="T102" fmla="*/ 2 w 70"/>
                  <a:gd name="T103" fmla="*/ 32 h 73"/>
                  <a:gd name="T104" fmla="*/ 2 w 70"/>
                  <a:gd name="T105" fmla="*/ 29 h 73"/>
                  <a:gd name="T106" fmla="*/ 3 w 70"/>
                  <a:gd name="T107" fmla="*/ 24 h 73"/>
                  <a:gd name="T108" fmla="*/ 6 w 70"/>
                  <a:gd name="T109" fmla="*/ 23 h 73"/>
                  <a:gd name="T110" fmla="*/ 8 w 70"/>
                  <a:gd name="T111" fmla="*/ 21 h 73"/>
                  <a:gd name="T112" fmla="*/ 10 w 70"/>
                  <a:gd name="T113" fmla="*/ 16 h 73"/>
                  <a:gd name="T114" fmla="*/ 10 w 70"/>
                  <a:gd name="T115" fmla="*/ 13 h 73"/>
                  <a:gd name="T116" fmla="*/ 11 w 70"/>
                  <a:gd name="T117" fmla="*/ 8 h 73"/>
                  <a:gd name="T118" fmla="*/ 11 w 70"/>
                  <a:gd name="T119" fmla="*/ 2 h 73"/>
                  <a:gd name="T120" fmla="*/ 16 w 70"/>
                  <a:gd name="T121" fmla="*/ 2 h 73"/>
                  <a:gd name="T122" fmla="*/ 19 w 70"/>
                  <a:gd name="T123" fmla="*/ 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 h="73">
                    <a:moveTo>
                      <a:pt x="21" y="2"/>
                    </a:moveTo>
                    <a:lnTo>
                      <a:pt x="21" y="4"/>
                    </a:lnTo>
                    <a:lnTo>
                      <a:pt x="22" y="4"/>
                    </a:lnTo>
                    <a:lnTo>
                      <a:pt x="24" y="4"/>
                    </a:lnTo>
                    <a:lnTo>
                      <a:pt x="25" y="4"/>
                    </a:lnTo>
                    <a:lnTo>
                      <a:pt x="27" y="4"/>
                    </a:lnTo>
                    <a:lnTo>
                      <a:pt x="29" y="4"/>
                    </a:lnTo>
                    <a:lnTo>
                      <a:pt x="29" y="5"/>
                    </a:lnTo>
                    <a:lnTo>
                      <a:pt x="30" y="5"/>
                    </a:lnTo>
                    <a:lnTo>
                      <a:pt x="32" y="5"/>
                    </a:lnTo>
                    <a:lnTo>
                      <a:pt x="33" y="4"/>
                    </a:lnTo>
                    <a:lnTo>
                      <a:pt x="33" y="5"/>
                    </a:lnTo>
                    <a:lnTo>
                      <a:pt x="33" y="4"/>
                    </a:lnTo>
                    <a:lnTo>
                      <a:pt x="35" y="4"/>
                    </a:lnTo>
                    <a:lnTo>
                      <a:pt x="36" y="4"/>
                    </a:lnTo>
                    <a:lnTo>
                      <a:pt x="36" y="5"/>
                    </a:lnTo>
                    <a:lnTo>
                      <a:pt x="38" y="4"/>
                    </a:lnTo>
                    <a:lnTo>
                      <a:pt x="40" y="4"/>
                    </a:lnTo>
                    <a:lnTo>
                      <a:pt x="41" y="4"/>
                    </a:lnTo>
                    <a:lnTo>
                      <a:pt x="43" y="4"/>
                    </a:lnTo>
                    <a:lnTo>
                      <a:pt x="43" y="5"/>
                    </a:lnTo>
                    <a:lnTo>
                      <a:pt x="44" y="5"/>
                    </a:lnTo>
                    <a:lnTo>
                      <a:pt x="44" y="4"/>
                    </a:lnTo>
                    <a:lnTo>
                      <a:pt x="44" y="5"/>
                    </a:lnTo>
                    <a:lnTo>
                      <a:pt x="46" y="5"/>
                    </a:lnTo>
                    <a:lnTo>
                      <a:pt x="46" y="7"/>
                    </a:lnTo>
                    <a:lnTo>
                      <a:pt x="48" y="7"/>
                    </a:lnTo>
                    <a:lnTo>
                      <a:pt x="49" y="7"/>
                    </a:lnTo>
                    <a:lnTo>
                      <a:pt x="51" y="7"/>
                    </a:lnTo>
                    <a:lnTo>
                      <a:pt x="51" y="8"/>
                    </a:lnTo>
                    <a:lnTo>
                      <a:pt x="52" y="8"/>
                    </a:lnTo>
                    <a:lnTo>
                      <a:pt x="52" y="10"/>
                    </a:lnTo>
                    <a:lnTo>
                      <a:pt x="51" y="10"/>
                    </a:lnTo>
                    <a:lnTo>
                      <a:pt x="51" y="11"/>
                    </a:lnTo>
                    <a:lnTo>
                      <a:pt x="49" y="11"/>
                    </a:lnTo>
                    <a:lnTo>
                      <a:pt x="48" y="11"/>
                    </a:lnTo>
                    <a:lnTo>
                      <a:pt x="48" y="13"/>
                    </a:lnTo>
                    <a:lnTo>
                      <a:pt x="48" y="11"/>
                    </a:lnTo>
                    <a:lnTo>
                      <a:pt x="48" y="13"/>
                    </a:lnTo>
                    <a:lnTo>
                      <a:pt x="46" y="13"/>
                    </a:lnTo>
                    <a:lnTo>
                      <a:pt x="48" y="15"/>
                    </a:lnTo>
                    <a:lnTo>
                      <a:pt x="49" y="16"/>
                    </a:lnTo>
                    <a:lnTo>
                      <a:pt x="49" y="18"/>
                    </a:lnTo>
                    <a:lnTo>
                      <a:pt x="51" y="18"/>
                    </a:lnTo>
                    <a:lnTo>
                      <a:pt x="52" y="18"/>
                    </a:lnTo>
                    <a:lnTo>
                      <a:pt x="52" y="19"/>
                    </a:lnTo>
                    <a:lnTo>
                      <a:pt x="54" y="19"/>
                    </a:lnTo>
                    <a:lnTo>
                      <a:pt x="55" y="19"/>
                    </a:lnTo>
                    <a:lnTo>
                      <a:pt x="55" y="21"/>
                    </a:lnTo>
                    <a:lnTo>
                      <a:pt x="57" y="21"/>
                    </a:lnTo>
                    <a:lnTo>
                      <a:pt x="57" y="23"/>
                    </a:lnTo>
                    <a:lnTo>
                      <a:pt x="59" y="23"/>
                    </a:lnTo>
                    <a:lnTo>
                      <a:pt x="59" y="24"/>
                    </a:lnTo>
                    <a:lnTo>
                      <a:pt x="60" y="24"/>
                    </a:lnTo>
                    <a:lnTo>
                      <a:pt x="60" y="23"/>
                    </a:lnTo>
                    <a:lnTo>
                      <a:pt x="62" y="23"/>
                    </a:lnTo>
                    <a:lnTo>
                      <a:pt x="62" y="21"/>
                    </a:lnTo>
                    <a:lnTo>
                      <a:pt x="63" y="21"/>
                    </a:lnTo>
                    <a:lnTo>
                      <a:pt x="65" y="21"/>
                    </a:lnTo>
                    <a:lnTo>
                      <a:pt x="63" y="21"/>
                    </a:lnTo>
                    <a:lnTo>
                      <a:pt x="63" y="23"/>
                    </a:lnTo>
                    <a:lnTo>
                      <a:pt x="63" y="24"/>
                    </a:lnTo>
                    <a:lnTo>
                      <a:pt x="63" y="26"/>
                    </a:lnTo>
                    <a:lnTo>
                      <a:pt x="63" y="27"/>
                    </a:lnTo>
                    <a:lnTo>
                      <a:pt x="63" y="29"/>
                    </a:lnTo>
                    <a:lnTo>
                      <a:pt x="63" y="30"/>
                    </a:lnTo>
                    <a:lnTo>
                      <a:pt x="63" y="32"/>
                    </a:lnTo>
                    <a:lnTo>
                      <a:pt x="62" y="32"/>
                    </a:lnTo>
                    <a:lnTo>
                      <a:pt x="62" y="34"/>
                    </a:lnTo>
                    <a:lnTo>
                      <a:pt x="62" y="35"/>
                    </a:lnTo>
                    <a:lnTo>
                      <a:pt x="62" y="37"/>
                    </a:lnTo>
                    <a:lnTo>
                      <a:pt x="62" y="38"/>
                    </a:lnTo>
                    <a:lnTo>
                      <a:pt x="62" y="40"/>
                    </a:lnTo>
                    <a:lnTo>
                      <a:pt x="62" y="42"/>
                    </a:lnTo>
                    <a:lnTo>
                      <a:pt x="62" y="43"/>
                    </a:lnTo>
                    <a:lnTo>
                      <a:pt x="60" y="43"/>
                    </a:lnTo>
                    <a:lnTo>
                      <a:pt x="60" y="45"/>
                    </a:lnTo>
                    <a:lnTo>
                      <a:pt x="60" y="46"/>
                    </a:lnTo>
                    <a:lnTo>
                      <a:pt x="60" y="48"/>
                    </a:lnTo>
                    <a:lnTo>
                      <a:pt x="60" y="50"/>
                    </a:lnTo>
                    <a:lnTo>
                      <a:pt x="62" y="50"/>
                    </a:lnTo>
                    <a:lnTo>
                      <a:pt x="62" y="51"/>
                    </a:lnTo>
                    <a:lnTo>
                      <a:pt x="62" y="50"/>
                    </a:lnTo>
                    <a:lnTo>
                      <a:pt x="63" y="50"/>
                    </a:lnTo>
                    <a:lnTo>
                      <a:pt x="65" y="50"/>
                    </a:lnTo>
                    <a:lnTo>
                      <a:pt x="65" y="51"/>
                    </a:lnTo>
                    <a:lnTo>
                      <a:pt x="65" y="53"/>
                    </a:lnTo>
                    <a:lnTo>
                      <a:pt x="67" y="53"/>
                    </a:lnTo>
                    <a:lnTo>
                      <a:pt x="67" y="54"/>
                    </a:lnTo>
                    <a:lnTo>
                      <a:pt x="68" y="54"/>
                    </a:lnTo>
                    <a:lnTo>
                      <a:pt x="68" y="56"/>
                    </a:lnTo>
                    <a:lnTo>
                      <a:pt x="68" y="57"/>
                    </a:lnTo>
                    <a:lnTo>
                      <a:pt x="70" y="57"/>
                    </a:lnTo>
                    <a:lnTo>
                      <a:pt x="70" y="59"/>
                    </a:lnTo>
                    <a:lnTo>
                      <a:pt x="68" y="61"/>
                    </a:lnTo>
                    <a:lnTo>
                      <a:pt x="67" y="61"/>
                    </a:lnTo>
                    <a:lnTo>
                      <a:pt x="67" y="62"/>
                    </a:lnTo>
                    <a:lnTo>
                      <a:pt x="65" y="62"/>
                    </a:lnTo>
                    <a:lnTo>
                      <a:pt x="63" y="62"/>
                    </a:lnTo>
                    <a:lnTo>
                      <a:pt x="63" y="64"/>
                    </a:lnTo>
                    <a:lnTo>
                      <a:pt x="65" y="64"/>
                    </a:lnTo>
                    <a:lnTo>
                      <a:pt x="65" y="65"/>
                    </a:lnTo>
                    <a:lnTo>
                      <a:pt x="67" y="65"/>
                    </a:lnTo>
                    <a:lnTo>
                      <a:pt x="67" y="67"/>
                    </a:lnTo>
                    <a:lnTo>
                      <a:pt x="68" y="67"/>
                    </a:lnTo>
                    <a:lnTo>
                      <a:pt x="68" y="69"/>
                    </a:lnTo>
                    <a:lnTo>
                      <a:pt x="70" y="69"/>
                    </a:lnTo>
                    <a:lnTo>
                      <a:pt x="70" y="70"/>
                    </a:lnTo>
                    <a:lnTo>
                      <a:pt x="68" y="70"/>
                    </a:lnTo>
                    <a:lnTo>
                      <a:pt x="68" y="72"/>
                    </a:lnTo>
                    <a:lnTo>
                      <a:pt x="70" y="72"/>
                    </a:lnTo>
                    <a:lnTo>
                      <a:pt x="70" y="73"/>
                    </a:lnTo>
                    <a:lnTo>
                      <a:pt x="68" y="73"/>
                    </a:lnTo>
                    <a:lnTo>
                      <a:pt x="67" y="73"/>
                    </a:lnTo>
                    <a:lnTo>
                      <a:pt x="65" y="73"/>
                    </a:lnTo>
                    <a:lnTo>
                      <a:pt x="65" y="72"/>
                    </a:lnTo>
                    <a:lnTo>
                      <a:pt x="63" y="72"/>
                    </a:lnTo>
                    <a:lnTo>
                      <a:pt x="62" y="72"/>
                    </a:lnTo>
                    <a:lnTo>
                      <a:pt x="60" y="72"/>
                    </a:lnTo>
                    <a:lnTo>
                      <a:pt x="60" y="70"/>
                    </a:lnTo>
                    <a:lnTo>
                      <a:pt x="59" y="70"/>
                    </a:lnTo>
                    <a:lnTo>
                      <a:pt x="59" y="69"/>
                    </a:lnTo>
                    <a:lnTo>
                      <a:pt x="57" y="69"/>
                    </a:lnTo>
                    <a:lnTo>
                      <a:pt x="57" y="67"/>
                    </a:lnTo>
                    <a:lnTo>
                      <a:pt x="57" y="65"/>
                    </a:lnTo>
                    <a:lnTo>
                      <a:pt x="57" y="64"/>
                    </a:lnTo>
                    <a:lnTo>
                      <a:pt x="57" y="62"/>
                    </a:lnTo>
                    <a:lnTo>
                      <a:pt x="57" y="61"/>
                    </a:lnTo>
                    <a:lnTo>
                      <a:pt x="57" y="59"/>
                    </a:lnTo>
                    <a:lnTo>
                      <a:pt x="57" y="57"/>
                    </a:lnTo>
                    <a:lnTo>
                      <a:pt x="55" y="56"/>
                    </a:lnTo>
                    <a:lnTo>
                      <a:pt x="54" y="56"/>
                    </a:lnTo>
                    <a:lnTo>
                      <a:pt x="52" y="56"/>
                    </a:lnTo>
                    <a:lnTo>
                      <a:pt x="51" y="54"/>
                    </a:lnTo>
                    <a:lnTo>
                      <a:pt x="49" y="54"/>
                    </a:lnTo>
                    <a:lnTo>
                      <a:pt x="49" y="53"/>
                    </a:lnTo>
                    <a:lnTo>
                      <a:pt x="48" y="53"/>
                    </a:lnTo>
                    <a:lnTo>
                      <a:pt x="48" y="51"/>
                    </a:lnTo>
                    <a:lnTo>
                      <a:pt x="46" y="51"/>
                    </a:lnTo>
                    <a:lnTo>
                      <a:pt x="46" y="50"/>
                    </a:lnTo>
                    <a:lnTo>
                      <a:pt x="48" y="50"/>
                    </a:lnTo>
                    <a:lnTo>
                      <a:pt x="48" y="48"/>
                    </a:lnTo>
                    <a:lnTo>
                      <a:pt x="46" y="48"/>
                    </a:lnTo>
                    <a:lnTo>
                      <a:pt x="44" y="46"/>
                    </a:lnTo>
                    <a:lnTo>
                      <a:pt x="44" y="48"/>
                    </a:lnTo>
                    <a:lnTo>
                      <a:pt x="44" y="50"/>
                    </a:lnTo>
                    <a:lnTo>
                      <a:pt x="43" y="50"/>
                    </a:lnTo>
                    <a:lnTo>
                      <a:pt x="41" y="50"/>
                    </a:lnTo>
                    <a:lnTo>
                      <a:pt x="40" y="50"/>
                    </a:lnTo>
                    <a:lnTo>
                      <a:pt x="40" y="51"/>
                    </a:lnTo>
                    <a:lnTo>
                      <a:pt x="40" y="53"/>
                    </a:lnTo>
                    <a:lnTo>
                      <a:pt x="38" y="53"/>
                    </a:lnTo>
                    <a:lnTo>
                      <a:pt x="38" y="54"/>
                    </a:lnTo>
                    <a:lnTo>
                      <a:pt x="38" y="56"/>
                    </a:lnTo>
                    <a:lnTo>
                      <a:pt x="38" y="57"/>
                    </a:lnTo>
                    <a:lnTo>
                      <a:pt x="36" y="57"/>
                    </a:lnTo>
                    <a:lnTo>
                      <a:pt x="35" y="57"/>
                    </a:lnTo>
                    <a:lnTo>
                      <a:pt x="33" y="57"/>
                    </a:lnTo>
                    <a:lnTo>
                      <a:pt x="32" y="57"/>
                    </a:lnTo>
                    <a:lnTo>
                      <a:pt x="30" y="57"/>
                    </a:lnTo>
                    <a:lnTo>
                      <a:pt x="29" y="57"/>
                    </a:lnTo>
                    <a:lnTo>
                      <a:pt x="27" y="57"/>
                    </a:lnTo>
                    <a:lnTo>
                      <a:pt x="27" y="56"/>
                    </a:lnTo>
                    <a:lnTo>
                      <a:pt x="25" y="56"/>
                    </a:lnTo>
                    <a:lnTo>
                      <a:pt x="25" y="54"/>
                    </a:lnTo>
                    <a:lnTo>
                      <a:pt x="25" y="53"/>
                    </a:lnTo>
                    <a:lnTo>
                      <a:pt x="24" y="53"/>
                    </a:lnTo>
                    <a:lnTo>
                      <a:pt x="22" y="53"/>
                    </a:lnTo>
                    <a:lnTo>
                      <a:pt x="22" y="54"/>
                    </a:lnTo>
                    <a:lnTo>
                      <a:pt x="21" y="54"/>
                    </a:lnTo>
                    <a:lnTo>
                      <a:pt x="19" y="53"/>
                    </a:lnTo>
                    <a:lnTo>
                      <a:pt x="17" y="54"/>
                    </a:lnTo>
                    <a:lnTo>
                      <a:pt x="16" y="54"/>
                    </a:lnTo>
                    <a:lnTo>
                      <a:pt x="14" y="54"/>
                    </a:lnTo>
                    <a:lnTo>
                      <a:pt x="13" y="54"/>
                    </a:lnTo>
                    <a:lnTo>
                      <a:pt x="11" y="54"/>
                    </a:lnTo>
                    <a:lnTo>
                      <a:pt x="10" y="54"/>
                    </a:lnTo>
                    <a:lnTo>
                      <a:pt x="8" y="54"/>
                    </a:lnTo>
                    <a:lnTo>
                      <a:pt x="10" y="54"/>
                    </a:lnTo>
                    <a:lnTo>
                      <a:pt x="10" y="56"/>
                    </a:lnTo>
                    <a:lnTo>
                      <a:pt x="8" y="56"/>
                    </a:lnTo>
                    <a:lnTo>
                      <a:pt x="6" y="56"/>
                    </a:lnTo>
                    <a:lnTo>
                      <a:pt x="6" y="54"/>
                    </a:lnTo>
                    <a:lnTo>
                      <a:pt x="5" y="54"/>
                    </a:lnTo>
                    <a:lnTo>
                      <a:pt x="3" y="54"/>
                    </a:lnTo>
                    <a:lnTo>
                      <a:pt x="3" y="53"/>
                    </a:lnTo>
                    <a:lnTo>
                      <a:pt x="2" y="53"/>
                    </a:lnTo>
                    <a:lnTo>
                      <a:pt x="2" y="51"/>
                    </a:lnTo>
                    <a:lnTo>
                      <a:pt x="2" y="50"/>
                    </a:lnTo>
                    <a:lnTo>
                      <a:pt x="0" y="48"/>
                    </a:lnTo>
                    <a:lnTo>
                      <a:pt x="0" y="46"/>
                    </a:lnTo>
                    <a:lnTo>
                      <a:pt x="2" y="46"/>
                    </a:lnTo>
                    <a:lnTo>
                      <a:pt x="2" y="45"/>
                    </a:lnTo>
                    <a:lnTo>
                      <a:pt x="2" y="43"/>
                    </a:lnTo>
                    <a:lnTo>
                      <a:pt x="2" y="42"/>
                    </a:lnTo>
                    <a:lnTo>
                      <a:pt x="0" y="40"/>
                    </a:lnTo>
                    <a:lnTo>
                      <a:pt x="2" y="40"/>
                    </a:lnTo>
                    <a:lnTo>
                      <a:pt x="0" y="40"/>
                    </a:lnTo>
                    <a:lnTo>
                      <a:pt x="0" y="38"/>
                    </a:lnTo>
                    <a:lnTo>
                      <a:pt x="2" y="38"/>
                    </a:lnTo>
                    <a:lnTo>
                      <a:pt x="2" y="37"/>
                    </a:lnTo>
                    <a:lnTo>
                      <a:pt x="0" y="37"/>
                    </a:lnTo>
                    <a:lnTo>
                      <a:pt x="2" y="37"/>
                    </a:lnTo>
                    <a:lnTo>
                      <a:pt x="2" y="35"/>
                    </a:lnTo>
                    <a:lnTo>
                      <a:pt x="0" y="35"/>
                    </a:lnTo>
                    <a:lnTo>
                      <a:pt x="0" y="34"/>
                    </a:lnTo>
                    <a:lnTo>
                      <a:pt x="2" y="34"/>
                    </a:lnTo>
                    <a:lnTo>
                      <a:pt x="2" y="32"/>
                    </a:lnTo>
                    <a:lnTo>
                      <a:pt x="0" y="32"/>
                    </a:lnTo>
                    <a:lnTo>
                      <a:pt x="0" y="30"/>
                    </a:lnTo>
                    <a:lnTo>
                      <a:pt x="2" y="30"/>
                    </a:lnTo>
                    <a:lnTo>
                      <a:pt x="2" y="29"/>
                    </a:lnTo>
                    <a:lnTo>
                      <a:pt x="3" y="29"/>
                    </a:lnTo>
                    <a:lnTo>
                      <a:pt x="3" y="27"/>
                    </a:lnTo>
                    <a:lnTo>
                      <a:pt x="3" y="26"/>
                    </a:lnTo>
                    <a:lnTo>
                      <a:pt x="3" y="24"/>
                    </a:lnTo>
                    <a:lnTo>
                      <a:pt x="5" y="26"/>
                    </a:lnTo>
                    <a:lnTo>
                      <a:pt x="5" y="24"/>
                    </a:lnTo>
                    <a:lnTo>
                      <a:pt x="5" y="23"/>
                    </a:lnTo>
                    <a:lnTo>
                      <a:pt x="6" y="23"/>
                    </a:lnTo>
                    <a:lnTo>
                      <a:pt x="6" y="21"/>
                    </a:lnTo>
                    <a:lnTo>
                      <a:pt x="6" y="19"/>
                    </a:lnTo>
                    <a:lnTo>
                      <a:pt x="8" y="19"/>
                    </a:lnTo>
                    <a:lnTo>
                      <a:pt x="8" y="21"/>
                    </a:lnTo>
                    <a:lnTo>
                      <a:pt x="8" y="19"/>
                    </a:lnTo>
                    <a:lnTo>
                      <a:pt x="10" y="19"/>
                    </a:lnTo>
                    <a:lnTo>
                      <a:pt x="10" y="18"/>
                    </a:lnTo>
                    <a:lnTo>
                      <a:pt x="10" y="16"/>
                    </a:lnTo>
                    <a:lnTo>
                      <a:pt x="8" y="16"/>
                    </a:lnTo>
                    <a:lnTo>
                      <a:pt x="10" y="16"/>
                    </a:lnTo>
                    <a:lnTo>
                      <a:pt x="10" y="15"/>
                    </a:lnTo>
                    <a:lnTo>
                      <a:pt x="10" y="13"/>
                    </a:lnTo>
                    <a:lnTo>
                      <a:pt x="8" y="11"/>
                    </a:lnTo>
                    <a:lnTo>
                      <a:pt x="10" y="10"/>
                    </a:lnTo>
                    <a:lnTo>
                      <a:pt x="10" y="8"/>
                    </a:lnTo>
                    <a:lnTo>
                      <a:pt x="11" y="8"/>
                    </a:lnTo>
                    <a:lnTo>
                      <a:pt x="11" y="7"/>
                    </a:lnTo>
                    <a:lnTo>
                      <a:pt x="11" y="5"/>
                    </a:lnTo>
                    <a:lnTo>
                      <a:pt x="11" y="4"/>
                    </a:lnTo>
                    <a:lnTo>
                      <a:pt x="11" y="2"/>
                    </a:lnTo>
                    <a:lnTo>
                      <a:pt x="11" y="0"/>
                    </a:lnTo>
                    <a:lnTo>
                      <a:pt x="13" y="2"/>
                    </a:lnTo>
                    <a:lnTo>
                      <a:pt x="14" y="2"/>
                    </a:lnTo>
                    <a:lnTo>
                      <a:pt x="16" y="2"/>
                    </a:lnTo>
                    <a:lnTo>
                      <a:pt x="17" y="2"/>
                    </a:lnTo>
                    <a:lnTo>
                      <a:pt x="17" y="0"/>
                    </a:lnTo>
                    <a:lnTo>
                      <a:pt x="19" y="0"/>
                    </a:lnTo>
                    <a:lnTo>
                      <a:pt x="19" y="2"/>
                    </a:lnTo>
                    <a:lnTo>
                      <a:pt x="21" y="2"/>
                    </a:lnTo>
                  </a:path>
                </a:pathLst>
              </a:custGeom>
              <a:noFill/>
              <a:ln w="476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20" name="Freeform 18"/>
              <p:cNvSpPr>
                <a:spLocks/>
              </p:cNvSpPr>
              <p:nvPr/>
            </p:nvSpPr>
            <p:spPr bwMode="auto">
              <a:xfrm>
                <a:off x="2425" y="2215"/>
                <a:ext cx="35" cy="54"/>
              </a:xfrm>
              <a:custGeom>
                <a:avLst/>
                <a:gdLst>
                  <a:gd name="T0" fmla="*/ 23 w 35"/>
                  <a:gd name="T1" fmla="*/ 1 h 54"/>
                  <a:gd name="T2" fmla="*/ 27 w 35"/>
                  <a:gd name="T3" fmla="*/ 3 h 54"/>
                  <a:gd name="T4" fmla="*/ 28 w 35"/>
                  <a:gd name="T5" fmla="*/ 6 h 54"/>
                  <a:gd name="T6" fmla="*/ 30 w 35"/>
                  <a:gd name="T7" fmla="*/ 8 h 54"/>
                  <a:gd name="T8" fmla="*/ 33 w 35"/>
                  <a:gd name="T9" fmla="*/ 8 h 54"/>
                  <a:gd name="T10" fmla="*/ 35 w 35"/>
                  <a:gd name="T11" fmla="*/ 9 h 54"/>
                  <a:gd name="T12" fmla="*/ 35 w 35"/>
                  <a:gd name="T13" fmla="*/ 12 h 54"/>
                  <a:gd name="T14" fmla="*/ 35 w 35"/>
                  <a:gd name="T15" fmla="*/ 16 h 54"/>
                  <a:gd name="T16" fmla="*/ 31 w 35"/>
                  <a:gd name="T17" fmla="*/ 16 h 54"/>
                  <a:gd name="T18" fmla="*/ 30 w 35"/>
                  <a:gd name="T19" fmla="*/ 17 h 54"/>
                  <a:gd name="T20" fmla="*/ 28 w 35"/>
                  <a:gd name="T21" fmla="*/ 20 h 54"/>
                  <a:gd name="T22" fmla="*/ 27 w 35"/>
                  <a:gd name="T23" fmla="*/ 22 h 54"/>
                  <a:gd name="T24" fmla="*/ 23 w 35"/>
                  <a:gd name="T25" fmla="*/ 22 h 54"/>
                  <a:gd name="T26" fmla="*/ 20 w 35"/>
                  <a:gd name="T27" fmla="*/ 22 h 54"/>
                  <a:gd name="T28" fmla="*/ 17 w 35"/>
                  <a:gd name="T29" fmla="*/ 25 h 54"/>
                  <a:gd name="T30" fmla="*/ 16 w 35"/>
                  <a:gd name="T31" fmla="*/ 27 h 54"/>
                  <a:gd name="T32" fmla="*/ 17 w 35"/>
                  <a:gd name="T33" fmla="*/ 30 h 54"/>
                  <a:gd name="T34" fmla="*/ 19 w 35"/>
                  <a:gd name="T35" fmla="*/ 31 h 54"/>
                  <a:gd name="T36" fmla="*/ 20 w 35"/>
                  <a:gd name="T37" fmla="*/ 33 h 54"/>
                  <a:gd name="T38" fmla="*/ 20 w 35"/>
                  <a:gd name="T39" fmla="*/ 36 h 54"/>
                  <a:gd name="T40" fmla="*/ 22 w 35"/>
                  <a:gd name="T41" fmla="*/ 38 h 54"/>
                  <a:gd name="T42" fmla="*/ 20 w 35"/>
                  <a:gd name="T43" fmla="*/ 41 h 54"/>
                  <a:gd name="T44" fmla="*/ 22 w 35"/>
                  <a:gd name="T45" fmla="*/ 43 h 54"/>
                  <a:gd name="T46" fmla="*/ 23 w 35"/>
                  <a:gd name="T47" fmla="*/ 44 h 54"/>
                  <a:gd name="T48" fmla="*/ 25 w 35"/>
                  <a:gd name="T49" fmla="*/ 46 h 54"/>
                  <a:gd name="T50" fmla="*/ 23 w 35"/>
                  <a:gd name="T51" fmla="*/ 47 h 54"/>
                  <a:gd name="T52" fmla="*/ 20 w 35"/>
                  <a:gd name="T53" fmla="*/ 47 h 54"/>
                  <a:gd name="T54" fmla="*/ 19 w 35"/>
                  <a:gd name="T55" fmla="*/ 46 h 54"/>
                  <a:gd name="T56" fmla="*/ 17 w 35"/>
                  <a:gd name="T57" fmla="*/ 44 h 54"/>
                  <a:gd name="T58" fmla="*/ 16 w 35"/>
                  <a:gd name="T59" fmla="*/ 46 h 54"/>
                  <a:gd name="T60" fmla="*/ 14 w 35"/>
                  <a:gd name="T61" fmla="*/ 47 h 54"/>
                  <a:gd name="T62" fmla="*/ 12 w 35"/>
                  <a:gd name="T63" fmla="*/ 49 h 54"/>
                  <a:gd name="T64" fmla="*/ 11 w 35"/>
                  <a:gd name="T65" fmla="*/ 52 h 54"/>
                  <a:gd name="T66" fmla="*/ 9 w 35"/>
                  <a:gd name="T67" fmla="*/ 54 h 54"/>
                  <a:gd name="T68" fmla="*/ 8 w 35"/>
                  <a:gd name="T69" fmla="*/ 52 h 54"/>
                  <a:gd name="T70" fmla="*/ 6 w 35"/>
                  <a:gd name="T71" fmla="*/ 50 h 54"/>
                  <a:gd name="T72" fmla="*/ 6 w 35"/>
                  <a:gd name="T73" fmla="*/ 47 h 54"/>
                  <a:gd name="T74" fmla="*/ 4 w 35"/>
                  <a:gd name="T75" fmla="*/ 46 h 54"/>
                  <a:gd name="T76" fmla="*/ 4 w 35"/>
                  <a:gd name="T77" fmla="*/ 43 h 54"/>
                  <a:gd name="T78" fmla="*/ 3 w 35"/>
                  <a:gd name="T79" fmla="*/ 41 h 54"/>
                  <a:gd name="T80" fmla="*/ 3 w 35"/>
                  <a:gd name="T81" fmla="*/ 38 h 54"/>
                  <a:gd name="T82" fmla="*/ 1 w 35"/>
                  <a:gd name="T83" fmla="*/ 36 h 54"/>
                  <a:gd name="T84" fmla="*/ 1 w 35"/>
                  <a:gd name="T85" fmla="*/ 33 h 54"/>
                  <a:gd name="T86" fmla="*/ 1 w 35"/>
                  <a:gd name="T87" fmla="*/ 30 h 54"/>
                  <a:gd name="T88" fmla="*/ 0 w 35"/>
                  <a:gd name="T89" fmla="*/ 27 h 54"/>
                  <a:gd name="T90" fmla="*/ 0 w 35"/>
                  <a:gd name="T91" fmla="*/ 24 h 54"/>
                  <a:gd name="T92" fmla="*/ 1 w 35"/>
                  <a:gd name="T93" fmla="*/ 22 h 54"/>
                  <a:gd name="T94" fmla="*/ 0 w 35"/>
                  <a:gd name="T95" fmla="*/ 20 h 54"/>
                  <a:gd name="T96" fmla="*/ 1 w 35"/>
                  <a:gd name="T97" fmla="*/ 19 h 54"/>
                  <a:gd name="T98" fmla="*/ 1 w 35"/>
                  <a:gd name="T99" fmla="*/ 16 h 54"/>
                  <a:gd name="T100" fmla="*/ 3 w 35"/>
                  <a:gd name="T101" fmla="*/ 14 h 54"/>
                  <a:gd name="T102" fmla="*/ 1 w 35"/>
                  <a:gd name="T103" fmla="*/ 12 h 54"/>
                  <a:gd name="T104" fmla="*/ 3 w 35"/>
                  <a:gd name="T105" fmla="*/ 11 h 54"/>
                  <a:gd name="T106" fmla="*/ 4 w 35"/>
                  <a:gd name="T107" fmla="*/ 9 h 54"/>
                  <a:gd name="T108" fmla="*/ 4 w 35"/>
                  <a:gd name="T109" fmla="*/ 6 h 54"/>
                  <a:gd name="T110" fmla="*/ 8 w 35"/>
                  <a:gd name="T111" fmla="*/ 6 h 54"/>
                  <a:gd name="T112" fmla="*/ 11 w 35"/>
                  <a:gd name="T113" fmla="*/ 5 h 54"/>
                  <a:gd name="T114" fmla="*/ 12 w 35"/>
                  <a:gd name="T115" fmla="*/ 3 h 54"/>
                  <a:gd name="T116" fmla="*/ 14 w 35"/>
                  <a:gd name="T117" fmla="*/ 1 h 54"/>
                  <a:gd name="T118" fmla="*/ 17 w 35"/>
                  <a:gd name="T119" fmla="*/ 0 h 54"/>
                  <a:gd name="T120" fmla="*/ 20 w 35"/>
                  <a:gd name="T121" fmla="*/ 0 h 54"/>
                  <a:gd name="T122" fmla="*/ 23 w 35"/>
                  <a:gd name="T12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5" h="54">
                    <a:moveTo>
                      <a:pt x="23" y="0"/>
                    </a:moveTo>
                    <a:lnTo>
                      <a:pt x="23" y="1"/>
                    </a:lnTo>
                    <a:lnTo>
                      <a:pt x="25" y="1"/>
                    </a:lnTo>
                    <a:lnTo>
                      <a:pt x="27" y="3"/>
                    </a:lnTo>
                    <a:lnTo>
                      <a:pt x="28" y="5"/>
                    </a:lnTo>
                    <a:lnTo>
                      <a:pt x="28" y="6"/>
                    </a:lnTo>
                    <a:lnTo>
                      <a:pt x="30" y="6"/>
                    </a:lnTo>
                    <a:lnTo>
                      <a:pt x="30" y="8"/>
                    </a:lnTo>
                    <a:lnTo>
                      <a:pt x="31" y="8"/>
                    </a:lnTo>
                    <a:lnTo>
                      <a:pt x="33" y="8"/>
                    </a:lnTo>
                    <a:lnTo>
                      <a:pt x="35" y="8"/>
                    </a:lnTo>
                    <a:lnTo>
                      <a:pt x="35" y="9"/>
                    </a:lnTo>
                    <a:lnTo>
                      <a:pt x="35" y="11"/>
                    </a:lnTo>
                    <a:lnTo>
                      <a:pt x="35" y="12"/>
                    </a:lnTo>
                    <a:lnTo>
                      <a:pt x="35" y="14"/>
                    </a:lnTo>
                    <a:lnTo>
                      <a:pt x="35" y="16"/>
                    </a:lnTo>
                    <a:lnTo>
                      <a:pt x="33" y="16"/>
                    </a:lnTo>
                    <a:lnTo>
                      <a:pt x="31" y="16"/>
                    </a:lnTo>
                    <a:lnTo>
                      <a:pt x="30" y="16"/>
                    </a:lnTo>
                    <a:lnTo>
                      <a:pt x="30" y="17"/>
                    </a:lnTo>
                    <a:lnTo>
                      <a:pt x="30" y="19"/>
                    </a:lnTo>
                    <a:lnTo>
                      <a:pt x="28" y="20"/>
                    </a:lnTo>
                    <a:lnTo>
                      <a:pt x="27" y="20"/>
                    </a:lnTo>
                    <a:lnTo>
                      <a:pt x="27" y="22"/>
                    </a:lnTo>
                    <a:lnTo>
                      <a:pt x="25" y="22"/>
                    </a:lnTo>
                    <a:lnTo>
                      <a:pt x="23" y="22"/>
                    </a:lnTo>
                    <a:lnTo>
                      <a:pt x="22" y="22"/>
                    </a:lnTo>
                    <a:lnTo>
                      <a:pt x="20" y="22"/>
                    </a:lnTo>
                    <a:lnTo>
                      <a:pt x="19" y="24"/>
                    </a:lnTo>
                    <a:lnTo>
                      <a:pt x="17" y="25"/>
                    </a:lnTo>
                    <a:lnTo>
                      <a:pt x="17" y="27"/>
                    </a:lnTo>
                    <a:lnTo>
                      <a:pt x="16" y="27"/>
                    </a:lnTo>
                    <a:lnTo>
                      <a:pt x="16" y="28"/>
                    </a:lnTo>
                    <a:lnTo>
                      <a:pt x="17" y="30"/>
                    </a:lnTo>
                    <a:lnTo>
                      <a:pt x="17" y="31"/>
                    </a:lnTo>
                    <a:lnTo>
                      <a:pt x="19" y="31"/>
                    </a:lnTo>
                    <a:lnTo>
                      <a:pt x="20" y="31"/>
                    </a:lnTo>
                    <a:lnTo>
                      <a:pt x="20" y="33"/>
                    </a:lnTo>
                    <a:lnTo>
                      <a:pt x="20" y="35"/>
                    </a:lnTo>
                    <a:lnTo>
                      <a:pt x="20" y="36"/>
                    </a:lnTo>
                    <a:lnTo>
                      <a:pt x="22" y="36"/>
                    </a:lnTo>
                    <a:lnTo>
                      <a:pt x="22" y="38"/>
                    </a:lnTo>
                    <a:lnTo>
                      <a:pt x="22" y="39"/>
                    </a:lnTo>
                    <a:lnTo>
                      <a:pt x="20" y="41"/>
                    </a:lnTo>
                    <a:lnTo>
                      <a:pt x="22" y="41"/>
                    </a:lnTo>
                    <a:lnTo>
                      <a:pt x="22" y="43"/>
                    </a:lnTo>
                    <a:lnTo>
                      <a:pt x="22" y="44"/>
                    </a:lnTo>
                    <a:lnTo>
                      <a:pt x="23" y="44"/>
                    </a:lnTo>
                    <a:lnTo>
                      <a:pt x="25" y="44"/>
                    </a:lnTo>
                    <a:lnTo>
                      <a:pt x="25" y="46"/>
                    </a:lnTo>
                    <a:lnTo>
                      <a:pt x="25" y="47"/>
                    </a:lnTo>
                    <a:lnTo>
                      <a:pt x="23" y="47"/>
                    </a:lnTo>
                    <a:lnTo>
                      <a:pt x="22" y="47"/>
                    </a:lnTo>
                    <a:lnTo>
                      <a:pt x="20" y="47"/>
                    </a:lnTo>
                    <a:lnTo>
                      <a:pt x="19" y="47"/>
                    </a:lnTo>
                    <a:lnTo>
                      <a:pt x="19" y="46"/>
                    </a:lnTo>
                    <a:lnTo>
                      <a:pt x="19" y="44"/>
                    </a:lnTo>
                    <a:lnTo>
                      <a:pt x="17" y="44"/>
                    </a:lnTo>
                    <a:lnTo>
                      <a:pt x="17" y="46"/>
                    </a:lnTo>
                    <a:lnTo>
                      <a:pt x="16" y="46"/>
                    </a:lnTo>
                    <a:lnTo>
                      <a:pt x="14" y="46"/>
                    </a:lnTo>
                    <a:lnTo>
                      <a:pt x="14" y="47"/>
                    </a:lnTo>
                    <a:lnTo>
                      <a:pt x="12" y="47"/>
                    </a:lnTo>
                    <a:lnTo>
                      <a:pt x="12" y="49"/>
                    </a:lnTo>
                    <a:lnTo>
                      <a:pt x="11" y="50"/>
                    </a:lnTo>
                    <a:lnTo>
                      <a:pt x="11" y="52"/>
                    </a:lnTo>
                    <a:lnTo>
                      <a:pt x="11" y="54"/>
                    </a:lnTo>
                    <a:lnTo>
                      <a:pt x="9" y="54"/>
                    </a:lnTo>
                    <a:lnTo>
                      <a:pt x="9" y="52"/>
                    </a:lnTo>
                    <a:lnTo>
                      <a:pt x="8" y="52"/>
                    </a:lnTo>
                    <a:lnTo>
                      <a:pt x="8" y="50"/>
                    </a:lnTo>
                    <a:lnTo>
                      <a:pt x="6" y="50"/>
                    </a:lnTo>
                    <a:lnTo>
                      <a:pt x="6" y="49"/>
                    </a:lnTo>
                    <a:lnTo>
                      <a:pt x="6" y="47"/>
                    </a:lnTo>
                    <a:lnTo>
                      <a:pt x="4" y="47"/>
                    </a:lnTo>
                    <a:lnTo>
                      <a:pt x="4" y="46"/>
                    </a:lnTo>
                    <a:lnTo>
                      <a:pt x="4" y="44"/>
                    </a:lnTo>
                    <a:lnTo>
                      <a:pt x="4" y="43"/>
                    </a:lnTo>
                    <a:lnTo>
                      <a:pt x="3" y="43"/>
                    </a:lnTo>
                    <a:lnTo>
                      <a:pt x="3" y="41"/>
                    </a:lnTo>
                    <a:lnTo>
                      <a:pt x="3" y="39"/>
                    </a:lnTo>
                    <a:lnTo>
                      <a:pt x="3" y="38"/>
                    </a:lnTo>
                    <a:lnTo>
                      <a:pt x="1" y="38"/>
                    </a:lnTo>
                    <a:lnTo>
                      <a:pt x="1" y="36"/>
                    </a:lnTo>
                    <a:lnTo>
                      <a:pt x="1" y="35"/>
                    </a:lnTo>
                    <a:lnTo>
                      <a:pt x="1" y="33"/>
                    </a:lnTo>
                    <a:lnTo>
                      <a:pt x="1" y="31"/>
                    </a:lnTo>
                    <a:lnTo>
                      <a:pt x="1" y="30"/>
                    </a:lnTo>
                    <a:lnTo>
                      <a:pt x="0" y="28"/>
                    </a:lnTo>
                    <a:lnTo>
                      <a:pt x="0" y="27"/>
                    </a:lnTo>
                    <a:lnTo>
                      <a:pt x="0" y="25"/>
                    </a:lnTo>
                    <a:lnTo>
                      <a:pt x="0" y="24"/>
                    </a:lnTo>
                    <a:lnTo>
                      <a:pt x="1" y="24"/>
                    </a:lnTo>
                    <a:lnTo>
                      <a:pt x="1" y="22"/>
                    </a:lnTo>
                    <a:lnTo>
                      <a:pt x="0" y="22"/>
                    </a:lnTo>
                    <a:lnTo>
                      <a:pt x="0" y="20"/>
                    </a:lnTo>
                    <a:lnTo>
                      <a:pt x="1" y="20"/>
                    </a:lnTo>
                    <a:lnTo>
                      <a:pt x="1" y="19"/>
                    </a:lnTo>
                    <a:lnTo>
                      <a:pt x="1" y="17"/>
                    </a:lnTo>
                    <a:lnTo>
                      <a:pt x="1" y="16"/>
                    </a:lnTo>
                    <a:lnTo>
                      <a:pt x="1" y="14"/>
                    </a:lnTo>
                    <a:lnTo>
                      <a:pt x="3" y="14"/>
                    </a:lnTo>
                    <a:lnTo>
                      <a:pt x="1" y="14"/>
                    </a:lnTo>
                    <a:lnTo>
                      <a:pt x="1" y="12"/>
                    </a:lnTo>
                    <a:lnTo>
                      <a:pt x="3" y="12"/>
                    </a:lnTo>
                    <a:lnTo>
                      <a:pt x="3" y="11"/>
                    </a:lnTo>
                    <a:lnTo>
                      <a:pt x="3" y="9"/>
                    </a:lnTo>
                    <a:lnTo>
                      <a:pt x="4" y="9"/>
                    </a:lnTo>
                    <a:lnTo>
                      <a:pt x="4" y="8"/>
                    </a:lnTo>
                    <a:lnTo>
                      <a:pt x="4" y="6"/>
                    </a:lnTo>
                    <a:lnTo>
                      <a:pt x="6" y="6"/>
                    </a:lnTo>
                    <a:lnTo>
                      <a:pt x="8" y="6"/>
                    </a:lnTo>
                    <a:lnTo>
                      <a:pt x="9" y="5"/>
                    </a:lnTo>
                    <a:lnTo>
                      <a:pt x="11" y="5"/>
                    </a:lnTo>
                    <a:lnTo>
                      <a:pt x="12" y="5"/>
                    </a:lnTo>
                    <a:lnTo>
                      <a:pt x="12" y="3"/>
                    </a:lnTo>
                    <a:lnTo>
                      <a:pt x="14" y="3"/>
                    </a:lnTo>
                    <a:lnTo>
                      <a:pt x="14" y="1"/>
                    </a:lnTo>
                    <a:lnTo>
                      <a:pt x="16" y="1"/>
                    </a:lnTo>
                    <a:lnTo>
                      <a:pt x="17" y="0"/>
                    </a:lnTo>
                    <a:lnTo>
                      <a:pt x="19" y="0"/>
                    </a:lnTo>
                    <a:lnTo>
                      <a:pt x="20" y="0"/>
                    </a:lnTo>
                    <a:lnTo>
                      <a:pt x="22" y="0"/>
                    </a:lnTo>
                    <a:lnTo>
                      <a:pt x="23" y="0"/>
                    </a:lnTo>
                  </a:path>
                </a:pathLst>
              </a:custGeom>
              <a:noFill/>
              <a:ln w="476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21" name="Freeform 19"/>
              <p:cNvSpPr>
                <a:spLocks/>
              </p:cNvSpPr>
              <p:nvPr/>
            </p:nvSpPr>
            <p:spPr bwMode="auto">
              <a:xfrm>
                <a:off x="2258" y="1480"/>
                <a:ext cx="360" cy="540"/>
              </a:xfrm>
              <a:custGeom>
                <a:avLst/>
                <a:gdLst>
                  <a:gd name="T0" fmla="*/ 16 w 360"/>
                  <a:gd name="T1" fmla="*/ 9 h 540"/>
                  <a:gd name="T2" fmla="*/ 34 w 360"/>
                  <a:gd name="T3" fmla="*/ 9 h 540"/>
                  <a:gd name="T4" fmla="*/ 45 w 360"/>
                  <a:gd name="T5" fmla="*/ 14 h 540"/>
                  <a:gd name="T6" fmla="*/ 54 w 360"/>
                  <a:gd name="T7" fmla="*/ 31 h 540"/>
                  <a:gd name="T8" fmla="*/ 69 w 360"/>
                  <a:gd name="T9" fmla="*/ 46 h 540"/>
                  <a:gd name="T10" fmla="*/ 80 w 360"/>
                  <a:gd name="T11" fmla="*/ 61 h 540"/>
                  <a:gd name="T12" fmla="*/ 91 w 360"/>
                  <a:gd name="T13" fmla="*/ 79 h 540"/>
                  <a:gd name="T14" fmla="*/ 92 w 360"/>
                  <a:gd name="T15" fmla="*/ 96 h 540"/>
                  <a:gd name="T16" fmla="*/ 110 w 360"/>
                  <a:gd name="T17" fmla="*/ 104 h 540"/>
                  <a:gd name="T18" fmla="*/ 130 w 360"/>
                  <a:gd name="T19" fmla="*/ 87 h 540"/>
                  <a:gd name="T20" fmla="*/ 151 w 360"/>
                  <a:gd name="T21" fmla="*/ 66 h 540"/>
                  <a:gd name="T22" fmla="*/ 157 w 360"/>
                  <a:gd name="T23" fmla="*/ 79 h 540"/>
                  <a:gd name="T24" fmla="*/ 154 w 360"/>
                  <a:gd name="T25" fmla="*/ 96 h 540"/>
                  <a:gd name="T26" fmla="*/ 156 w 360"/>
                  <a:gd name="T27" fmla="*/ 118 h 540"/>
                  <a:gd name="T28" fmla="*/ 170 w 360"/>
                  <a:gd name="T29" fmla="*/ 133 h 540"/>
                  <a:gd name="T30" fmla="*/ 183 w 360"/>
                  <a:gd name="T31" fmla="*/ 153 h 540"/>
                  <a:gd name="T32" fmla="*/ 178 w 360"/>
                  <a:gd name="T33" fmla="*/ 171 h 540"/>
                  <a:gd name="T34" fmla="*/ 194 w 360"/>
                  <a:gd name="T35" fmla="*/ 179 h 540"/>
                  <a:gd name="T36" fmla="*/ 209 w 360"/>
                  <a:gd name="T37" fmla="*/ 174 h 540"/>
                  <a:gd name="T38" fmla="*/ 219 w 360"/>
                  <a:gd name="T39" fmla="*/ 191 h 540"/>
                  <a:gd name="T40" fmla="*/ 214 w 360"/>
                  <a:gd name="T41" fmla="*/ 206 h 540"/>
                  <a:gd name="T42" fmla="*/ 213 w 360"/>
                  <a:gd name="T43" fmla="*/ 213 h 540"/>
                  <a:gd name="T44" fmla="*/ 200 w 360"/>
                  <a:gd name="T45" fmla="*/ 223 h 540"/>
                  <a:gd name="T46" fmla="*/ 192 w 360"/>
                  <a:gd name="T47" fmla="*/ 237 h 540"/>
                  <a:gd name="T48" fmla="*/ 192 w 360"/>
                  <a:gd name="T49" fmla="*/ 261 h 540"/>
                  <a:gd name="T50" fmla="*/ 209 w 360"/>
                  <a:gd name="T51" fmla="*/ 263 h 540"/>
                  <a:gd name="T52" fmla="*/ 225 w 360"/>
                  <a:gd name="T53" fmla="*/ 272 h 540"/>
                  <a:gd name="T54" fmla="*/ 211 w 360"/>
                  <a:gd name="T55" fmla="*/ 271 h 540"/>
                  <a:gd name="T56" fmla="*/ 198 w 360"/>
                  <a:gd name="T57" fmla="*/ 285 h 540"/>
                  <a:gd name="T58" fmla="*/ 181 w 360"/>
                  <a:gd name="T59" fmla="*/ 299 h 540"/>
                  <a:gd name="T60" fmla="*/ 168 w 360"/>
                  <a:gd name="T61" fmla="*/ 315 h 540"/>
                  <a:gd name="T62" fmla="*/ 157 w 360"/>
                  <a:gd name="T63" fmla="*/ 332 h 540"/>
                  <a:gd name="T64" fmla="*/ 148 w 360"/>
                  <a:gd name="T65" fmla="*/ 350 h 540"/>
                  <a:gd name="T66" fmla="*/ 141 w 360"/>
                  <a:gd name="T67" fmla="*/ 367 h 540"/>
                  <a:gd name="T68" fmla="*/ 148 w 360"/>
                  <a:gd name="T69" fmla="*/ 377 h 540"/>
                  <a:gd name="T70" fmla="*/ 165 w 360"/>
                  <a:gd name="T71" fmla="*/ 366 h 540"/>
                  <a:gd name="T72" fmla="*/ 160 w 360"/>
                  <a:gd name="T73" fmla="*/ 381 h 540"/>
                  <a:gd name="T74" fmla="*/ 149 w 360"/>
                  <a:gd name="T75" fmla="*/ 397 h 540"/>
                  <a:gd name="T76" fmla="*/ 148 w 360"/>
                  <a:gd name="T77" fmla="*/ 415 h 540"/>
                  <a:gd name="T78" fmla="*/ 146 w 360"/>
                  <a:gd name="T79" fmla="*/ 429 h 540"/>
                  <a:gd name="T80" fmla="*/ 152 w 360"/>
                  <a:gd name="T81" fmla="*/ 443 h 540"/>
                  <a:gd name="T82" fmla="*/ 168 w 360"/>
                  <a:gd name="T83" fmla="*/ 453 h 540"/>
                  <a:gd name="T84" fmla="*/ 183 w 360"/>
                  <a:gd name="T85" fmla="*/ 464 h 540"/>
                  <a:gd name="T86" fmla="*/ 200 w 360"/>
                  <a:gd name="T87" fmla="*/ 454 h 540"/>
                  <a:gd name="T88" fmla="*/ 217 w 360"/>
                  <a:gd name="T89" fmla="*/ 462 h 540"/>
                  <a:gd name="T90" fmla="*/ 211 w 360"/>
                  <a:gd name="T91" fmla="*/ 483 h 540"/>
                  <a:gd name="T92" fmla="*/ 227 w 360"/>
                  <a:gd name="T93" fmla="*/ 488 h 540"/>
                  <a:gd name="T94" fmla="*/ 246 w 360"/>
                  <a:gd name="T95" fmla="*/ 499 h 540"/>
                  <a:gd name="T96" fmla="*/ 257 w 360"/>
                  <a:gd name="T97" fmla="*/ 497 h 540"/>
                  <a:gd name="T98" fmla="*/ 276 w 360"/>
                  <a:gd name="T99" fmla="*/ 489 h 540"/>
                  <a:gd name="T100" fmla="*/ 293 w 360"/>
                  <a:gd name="T101" fmla="*/ 497 h 540"/>
                  <a:gd name="T102" fmla="*/ 314 w 360"/>
                  <a:gd name="T103" fmla="*/ 499 h 540"/>
                  <a:gd name="T104" fmla="*/ 331 w 360"/>
                  <a:gd name="T105" fmla="*/ 505 h 540"/>
                  <a:gd name="T106" fmla="*/ 350 w 360"/>
                  <a:gd name="T107" fmla="*/ 511 h 540"/>
                  <a:gd name="T108" fmla="*/ 354 w 360"/>
                  <a:gd name="T109" fmla="*/ 524 h 540"/>
                  <a:gd name="T110" fmla="*/ 347 w 360"/>
                  <a:gd name="T111" fmla="*/ 538 h 540"/>
                  <a:gd name="T112" fmla="*/ 341 w 360"/>
                  <a:gd name="T113" fmla="*/ 527 h 540"/>
                  <a:gd name="T114" fmla="*/ 327 w 360"/>
                  <a:gd name="T115" fmla="*/ 532 h 540"/>
                  <a:gd name="T116" fmla="*/ 311 w 360"/>
                  <a:gd name="T117" fmla="*/ 535 h 540"/>
                  <a:gd name="T118" fmla="*/ 300 w 360"/>
                  <a:gd name="T119" fmla="*/ 519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60" h="540">
                    <a:moveTo>
                      <a:pt x="0" y="0"/>
                    </a:moveTo>
                    <a:lnTo>
                      <a:pt x="0" y="1"/>
                    </a:lnTo>
                    <a:lnTo>
                      <a:pt x="0" y="3"/>
                    </a:lnTo>
                    <a:lnTo>
                      <a:pt x="2" y="3"/>
                    </a:lnTo>
                    <a:lnTo>
                      <a:pt x="4" y="3"/>
                    </a:lnTo>
                    <a:lnTo>
                      <a:pt x="5" y="1"/>
                    </a:lnTo>
                    <a:lnTo>
                      <a:pt x="5" y="3"/>
                    </a:lnTo>
                    <a:lnTo>
                      <a:pt x="7" y="3"/>
                    </a:lnTo>
                    <a:lnTo>
                      <a:pt x="8" y="3"/>
                    </a:lnTo>
                    <a:lnTo>
                      <a:pt x="8" y="4"/>
                    </a:lnTo>
                    <a:lnTo>
                      <a:pt x="10" y="4"/>
                    </a:lnTo>
                    <a:lnTo>
                      <a:pt x="11" y="4"/>
                    </a:lnTo>
                    <a:lnTo>
                      <a:pt x="13" y="4"/>
                    </a:lnTo>
                    <a:lnTo>
                      <a:pt x="13" y="6"/>
                    </a:lnTo>
                    <a:lnTo>
                      <a:pt x="13" y="8"/>
                    </a:lnTo>
                    <a:lnTo>
                      <a:pt x="15" y="8"/>
                    </a:lnTo>
                    <a:lnTo>
                      <a:pt x="16" y="9"/>
                    </a:lnTo>
                    <a:lnTo>
                      <a:pt x="16" y="8"/>
                    </a:lnTo>
                    <a:lnTo>
                      <a:pt x="18" y="8"/>
                    </a:lnTo>
                    <a:lnTo>
                      <a:pt x="19" y="8"/>
                    </a:lnTo>
                    <a:lnTo>
                      <a:pt x="19" y="9"/>
                    </a:lnTo>
                    <a:lnTo>
                      <a:pt x="21" y="9"/>
                    </a:lnTo>
                    <a:lnTo>
                      <a:pt x="23" y="9"/>
                    </a:lnTo>
                    <a:lnTo>
                      <a:pt x="24" y="9"/>
                    </a:lnTo>
                    <a:lnTo>
                      <a:pt x="26" y="11"/>
                    </a:lnTo>
                    <a:lnTo>
                      <a:pt x="26" y="12"/>
                    </a:lnTo>
                    <a:lnTo>
                      <a:pt x="27" y="12"/>
                    </a:lnTo>
                    <a:lnTo>
                      <a:pt x="27" y="11"/>
                    </a:lnTo>
                    <a:lnTo>
                      <a:pt x="29" y="11"/>
                    </a:lnTo>
                    <a:lnTo>
                      <a:pt x="30" y="11"/>
                    </a:lnTo>
                    <a:lnTo>
                      <a:pt x="30" y="9"/>
                    </a:lnTo>
                    <a:lnTo>
                      <a:pt x="32" y="8"/>
                    </a:lnTo>
                    <a:lnTo>
                      <a:pt x="34" y="8"/>
                    </a:lnTo>
                    <a:lnTo>
                      <a:pt x="34" y="9"/>
                    </a:lnTo>
                    <a:lnTo>
                      <a:pt x="35" y="9"/>
                    </a:lnTo>
                    <a:lnTo>
                      <a:pt x="35" y="11"/>
                    </a:lnTo>
                    <a:lnTo>
                      <a:pt x="37" y="11"/>
                    </a:lnTo>
                    <a:lnTo>
                      <a:pt x="37" y="9"/>
                    </a:lnTo>
                    <a:lnTo>
                      <a:pt x="38" y="9"/>
                    </a:lnTo>
                    <a:lnTo>
                      <a:pt x="40" y="9"/>
                    </a:lnTo>
                    <a:lnTo>
                      <a:pt x="40" y="11"/>
                    </a:lnTo>
                    <a:lnTo>
                      <a:pt x="42" y="11"/>
                    </a:lnTo>
                    <a:lnTo>
                      <a:pt x="42" y="9"/>
                    </a:lnTo>
                    <a:lnTo>
                      <a:pt x="43" y="9"/>
                    </a:lnTo>
                    <a:lnTo>
                      <a:pt x="45" y="9"/>
                    </a:lnTo>
                    <a:lnTo>
                      <a:pt x="46" y="9"/>
                    </a:lnTo>
                    <a:lnTo>
                      <a:pt x="46" y="11"/>
                    </a:lnTo>
                    <a:lnTo>
                      <a:pt x="48" y="11"/>
                    </a:lnTo>
                    <a:lnTo>
                      <a:pt x="46" y="11"/>
                    </a:lnTo>
                    <a:lnTo>
                      <a:pt x="45" y="12"/>
                    </a:lnTo>
                    <a:lnTo>
                      <a:pt x="45" y="14"/>
                    </a:lnTo>
                    <a:lnTo>
                      <a:pt x="46" y="14"/>
                    </a:lnTo>
                    <a:lnTo>
                      <a:pt x="46" y="15"/>
                    </a:lnTo>
                    <a:lnTo>
                      <a:pt x="46" y="17"/>
                    </a:lnTo>
                    <a:lnTo>
                      <a:pt x="48" y="17"/>
                    </a:lnTo>
                    <a:lnTo>
                      <a:pt x="48" y="19"/>
                    </a:lnTo>
                    <a:lnTo>
                      <a:pt x="48" y="20"/>
                    </a:lnTo>
                    <a:lnTo>
                      <a:pt x="48" y="22"/>
                    </a:lnTo>
                    <a:lnTo>
                      <a:pt x="48" y="23"/>
                    </a:lnTo>
                    <a:lnTo>
                      <a:pt x="48" y="25"/>
                    </a:lnTo>
                    <a:lnTo>
                      <a:pt x="49" y="25"/>
                    </a:lnTo>
                    <a:lnTo>
                      <a:pt x="51" y="25"/>
                    </a:lnTo>
                    <a:lnTo>
                      <a:pt x="51" y="27"/>
                    </a:lnTo>
                    <a:lnTo>
                      <a:pt x="51" y="28"/>
                    </a:lnTo>
                    <a:lnTo>
                      <a:pt x="51" y="30"/>
                    </a:lnTo>
                    <a:lnTo>
                      <a:pt x="53" y="30"/>
                    </a:lnTo>
                    <a:lnTo>
                      <a:pt x="53" y="31"/>
                    </a:lnTo>
                    <a:lnTo>
                      <a:pt x="54" y="31"/>
                    </a:lnTo>
                    <a:lnTo>
                      <a:pt x="54" y="33"/>
                    </a:lnTo>
                    <a:lnTo>
                      <a:pt x="56" y="33"/>
                    </a:lnTo>
                    <a:lnTo>
                      <a:pt x="57" y="33"/>
                    </a:lnTo>
                    <a:lnTo>
                      <a:pt x="59" y="33"/>
                    </a:lnTo>
                    <a:lnTo>
                      <a:pt x="59" y="34"/>
                    </a:lnTo>
                    <a:lnTo>
                      <a:pt x="59" y="36"/>
                    </a:lnTo>
                    <a:lnTo>
                      <a:pt x="61" y="36"/>
                    </a:lnTo>
                    <a:lnTo>
                      <a:pt x="61" y="38"/>
                    </a:lnTo>
                    <a:lnTo>
                      <a:pt x="62" y="39"/>
                    </a:lnTo>
                    <a:lnTo>
                      <a:pt x="64" y="39"/>
                    </a:lnTo>
                    <a:lnTo>
                      <a:pt x="65" y="39"/>
                    </a:lnTo>
                    <a:lnTo>
                      <a:pt x="65" y="41"/>
                    </a:lnTo>
                    <a:lnTo>
                      <a:pt x="67" y="41"/>
                    </a:lnTo>
                    <a:lnTo>
                      <a:pt x="67" y="42"/>
                    </a:lnTo>
                    <a:lnTo>
                      <a:pt x="67" y="44"/>
                    </a:lnTo>
                    <a:lnTo>
                      <a:pt x="69" y="44"/>
                    </a:lnTo>
                    <a:lnTo>
                      <a:pt x="69" y="46"/>
                    </a:lnTo>
                    <a:lnTo>
                      <a:pt x="69" y="47"/>
                    </a:lnTo>
                    <a:lnTo>
                      <a:pt x="70" y="47"/>
                    </a:lnTo>
                    <a:lnTo>
                      <a:pt x="70" y="49"/>
                    </a:lnTo>
                    <a:lnTo>
                      <a:pt x="72" y="49"/>
                    </a:lnTo>
                    <a:lnTo>
                      <a:pt x="72" y="50"/>
                    </a:lnTo>
                    <a:lnTo>
                      <a:pt x="72" y="52"/>
                    </a:lnTo>
                    <a:lnTo>
                      <a:pt x="72" y="53"/>
                    </a:lnTo>
                    <a:lnTo>
                      <a:pt x="72" y="55"/>
                    </a:lnTo>
                    <a:lnTo>
                      <a:pt x="72" y="57"/>
                    </a:lnTo>
                    <a:lnTo>
                      <a:pt x="73" y="57"/>
                    </a:lnTo>
                    <a:lnTo>
                      <a:pt x="75" y="55"/>
                    </a:lnTo>
                    <a:lnTo>
                      <a:pt x="75" y="57"/>
                    </a:lnTo>
                    <a:lnTo>
                      <a:pt x="76" y="57"/>
                    </a:lnTo>
                    <a:lnTo>
                      <a:pt x="76" y="58"/>
                    </a:lnTo>
                    <a:lnTo>
                      <a:pt x="78" y="60"/>
                    </a:lnTo>
                    <a:lnTo>
                      <a:pt x="80" y="60"/>
                    </a:lnTo>
                    <a:lnTo>
                      <a:pt x="80" y="61"/>
                    </a:lnTo>
                    <a:lnTo>
                      <a:pt x="81" y="61"/>
                    </a:lnTo>
                    <a:lnTo>
                      <a:pt x="81" y="63"/>
                    </a:lnTo>
                    <a:lnTo>
                      <a:pt x="81" y="65"/>
                    </a:lnTo>
                    <a:lnTo>
                      <a:pt x="83" y="65"/>
                    </a:lnTo>
                    <a:lnTo>
                      <a:pt x="83" y="66"/>
                    </a:lnTo>
                    <a:lnTo>
                      <a:pt x="84" y="66"/>
                    </a:lnTo>
                    <a:lnTo>
                      <a:pt x="86" y="68"/>
                    </a:lnTo>
                    <a:lnTo>
                      <a:pt x="88" y="68"/>
                    </a:lnTo>
                    <a:lnTo>
                      <a:pt x="88" y="69"/>
                    </a:lnTo>
                    <a:lnTo>
                      <a:pt x="88" y="71"/>
                    </a:lnTo>
                    <a:lnTo>
                      <a:pt x="89" y="71"/>
                    </a:lnTo>
                    <a:lnTo>
                      <a:pt x="89" y="72"/>
                    </a:lnTo>
                    <a:lnTo>
                      <a:pt x="89" y="74"/>
                    </a:lnTo>
                    <a:lnTo>
                      <a:pt x="89" y="76"/>
                    </a:lnTo>
                    <a:lnTo>
                      <a:pt x="89" y="77"/>
                    </a:lnTo>
                    <a:lnTo>
                      <a:pt x="89" y="79"/>
                    </a:lnTo>
                    <a:lnTo>
                      <a:pt x="91" y="79"/>
                    </a:lnTo>
                    <a:lnTo>
                      <a:pt x="91" y="80"/>
                    </a:lnTo>
                    <a:lnTo>
                      <a:pt x="91" y="82"/>
                    </a:lnTo>
                    <a:lnTo>
                      <a:pt x="91" y="84"/>
                    </a:lnTo>
                    <a:lnTo>
                      <a:pt x="91" y="85"/>
                    </a:lnTo>
                    <a:lnTo>
                      <a:pt x="92" y="85"/>
                    </a:lnTo>
                    <a:lnTo>
                      <a:pt x="92" y="87"/>
                    </a:lnTo>
                    <a:lnTo>
                      <a:pt x="92" y="88"/>
                    </a:lnTo>
                    <a:lnTo>
                      <a:pt x="91" y="88"/>
                    </a:lnTo>
                    <a:lnTo>
                      <a:pt x="91" y="90"/>
                    </a:lnTo>
                    <a:lnTo>
                      <a:pt x="92" y="90"/>
                    </a:lnTo>
                    <a:lnTo>
                      <a:pt x="92" y="91"/>
                    </a:lnTo>
                    <a:lnTo>
                      <a:pt x="91" y="91"/>
                    </a:lnTo>
                    <a:lnTo>
                      <a:pt x="91" y="93"/>
                    </a:lnTo>
                    <a:lnTo>
                      <a:pt x="92" y="93"/>
                    </a:lnTo>
                    <a:lnTo>
                      <a:pt x="94" y="95"/>
                    </a:lnTo>
                    <a:lnTo>
                      <a:pt x="92" y="95"/>
                    </a:lnTo>
                    <a:lnTo>
                      <a:pt x="92" y="96"/>
                    </a:lnTo>
                    <a:lnTo>
                      <a:pt x="92" y="98"/>
                    </a:lnTo>
                    <a:lnTo>
                      <a:pt x="92" y="99"/>
                    </a:lnTo>
                    <a:lnTo>
                      <a:pt x="94" y="99"/>
                    </a:lnTo>
                    <a:lnTo>
                      <a:pt x="95" y="101"/>
                    </a:lnTo>
                    <a:lnTo>
                      <a:pt x="95" y="103"/>
                    </a:lnTo>
                    <a:lnTo>
                      <a:pt x="97" y="103"/>
                    </a:lnTo>
                    <a:lnTo>
                      <a:pt x="97" y="104"/>
                    </a:lnTo>
                    <a:lnTo>
                      <a:pt x="99" y="104"/>
                    </a:lnTo>
                    <a:lnTo>
                      <a:pt x="100" y="104"/>
                    </a:lnTo>
                    <a:lnTo>
                      <a:pt x="102" y="104"/>
                    </a:lnTo>
                    <a:lnTo>
                      <a:pt x="103" y="104"/>
                    </a:lnTo>
                    <a:lnTo>
                      <a:pt x="105" y="104"/>
                    </a:lnTo>
                    <a:lnTo>
                      <a:pt x="105" y="106"/>
                    </a:lnTo>
                    <a:lnTo>
                      <a:pt x="107" y="106"/>
                    </a:lnTo>
                    <a:lnTo>
                      <a:pt x="108" y="106"/>
                    </a:lnTo>
                    <a:lnTo>
                      <a:pt x="108" y="104"/>
                    </a:lnTo>
                    <a:lnTo>
                      <a:pt x="110" y="104"/>
                    </a:lnTo>
                    <a:lnTo>
                      <a:pt x="110" y="103"/>
                    </a:lnTo>
                    <a:lnTo>
                      <a:pt x="111" y="103"/>
                    </a:lnTo>
                    <a:lnTo>
                      <a:pt x="113" y="101"/>
                    </a:lnTo>
                    <a:lnTo>
                      <a:pt x="114" y="99"/>
                    </a:lnTo>
                    <a:lnTo>
                      <a:pt x="116" y="98"/>
                    </a:lnTo>
                    <a:lnTo>
                      <a:pt x="118" y="96"/>
                    </a:lnTo>
                    <a:lnTo>
                      <a:pt x="119" y="95"/>
                    </a:lnTo>
                    <a:lnTo>
                      <a:pt x="119" y="93"/>
                    </a:lnTo>
                    <a:lnTo>
                      <a:pt x="121" y="93"/>
                    </a:lnTo>
                    <a:lnTo>
                      <a:pt x="121" y="91"/>
                    </a:lnTo>
                    <a:lnTo>
                      <a:pt x="122" y="91"/>
                    </a:lnTo>
                    <a:lnTo>
                      <a:pt x="124" y="90"/>
                    </a:lnTo>
                    <a:lnTo>
                      <a:pt x="126" y="90"/>
                    </a:lnTo>
                    <a:lnTo>
                      <a:pt x="126" y="88"/>
                    </a:lnTo>
                    <a:lnTo>
                      <a:pt x="127" y="88"/>
                    </a:lnTo>
                    <a:lnTo>
                      <a:pt x="129" y="87"/>
                    </a:lnTo>
                    <a:lnTo>
                      <a:pt x="130" y="87"/>
                    </a:lnTo>
                    <a:lnTo>
                      <a:pt x="130" y="85"/>
                    </a:lnTo>
                    <a:lnTo>
                      <a:pt x="132" y="85"/>
                    </a:lnTo>
                    <a:lnTo>
                      <a:pt x="133" y="85"/>
                    </a:lnTo>
                    <a:lnTo>
                      <a:pt x="133" y="84"/>
                    </a:lnTo>
                    <a:lnTo>
                      <a:pt x="137" y="80"/>
                    </a:lnTo>
                    <a:lnTo>
                      <a:pt x="138" y="80"/>
                    </a:lnTo>
                    <a:lnTo>
                      <a:pt x="140" y="79"/>
                    </a:lnTo>
                    <a:lnTo>
                      <a:pt x="141" y="77"/>
                    </a:lnTo>
                    <a:lnTo>
                      <a:pt x="141" y="76"/>
                    </a:lnTo>
                    <a:lnTo>
                      <a:pt x="143" y="76"/>
                    </a:lnTo>
                    <a:lnTo>
                      <a:pt x="143" y="74"/>
                    </a:lnTo>
                    <a:lnTo>
                      <a:pt x="145" y="74"/>
                    </a:lnTo>
                    <a:lnTo>
                      <a:pt x="145" y="72"/>
                    </a:lnTo>
                    <a:lnTo>
                      <a:pt x="146" y="71"/>
                    </a:lnTo>
                    <a:lnTo>
                      <a:pt x="148" y="69"/>
                    </a:lnTo>
                    <a:lnTo>
                      <a:pt x="149" y="68"/>
                    </a:lnTo>
                    <a:lnTo>
                      <a:pt x="151" y="66"/>
                    </a:lnTo>
                    <a:lnTo>
                      <a:pt x="151" y="68"/>
                    </a:lnTo>
                    <a:lnTo>
                      <a:pt x="152" y="68"/>
                    </a:lnTo>
                    <a:lnTo>
                      <a:pt x="154" y="69"/>
                    </a:lnTo>
                    <a:lnTo>
                      <a:pt x="154" y="68"/>
                    </a:lnTo>
                    <a:lnTo>
                      <a:pt x="154" y="69"/>
                    </a:lnTo>
                    <a:lnTo>
                      <a:pt x="152" y="69"/>
                    </a:lnTo>
                    <a:lnTo>
                      <a:pt x="152" y="71"/>
                    </a:lnTo>
                    <a:lnTo>
                      <a:pt x="154" y="71"/>
                    </a:lnTo>
                    <a:lnTo>
                      <a:pt x="154" y="72"/>
                    </a:lnTo>
                    <a:lnTo>
                      <a:pt x="154" y="74"/>
                    </a:lnTo>
                    <a:lnTo>
                      <a:pt x="156" y="74"/>
                    </a:lnTo>
                    <a:lnTo>
                      <a:pt x="156" y="76"/>
                    </a:lnTo>
                    <a:lnTo>
                      <a:pt x="157" y="76"/>
                    </a:lnTo>
                    <a:lnTo>
                      <a:pt x="157" y="77"/>
                    </a:lnTo>
                    <a:lnTo>
                      <a:pt x="156" y="77"/>
                    </a:lnTo>
                    <a:lnTo>
                      <a:pt x="156" y="79"/>
                    </a:lnTo>
                    <a:lnTo>
                      <a:pt x="157" y="79"/>
                    </a:lnTo>
                    <a:lnTo>
                      <a:pt x="157" y="80"/>
                    </a:lnTo>
                    <a:lnTo>
                      <a:pt x="157" y="82"/>
                    </a:lnTo>
                    <a:lnTo>
                      <a:pt x="156" y="82"/>
                    </a:lnTo>
                    <a:lnTo>
                      <a:pt x="156" y="84"/>
                    </a:lnTo>
                    <a:lnTo>
                      <a:pt x="157" y="84"/>
                    </a:lnTo>
                    <a:lnTo>
                      <a:pt x="157" y="85"/>
                    </a:lnTo>
                    <a:lnTo>
                      <a:pt x="156" y="87"/>
                    </a:lnTo>
                    <a:lnTo>
                      <a:pt x="156" y="88"/>
                    </a:lnTo>
                    <a:lnTo>
                      <a:pt x="157" y="88"/>
                    </a:lnTo>
                    <a:lnTo>
                      <a:pt x="156" y="88"/>
                    </a:lnTo>
                    <a:lnTo>
                      <a:pt x="156" y="90"/>
                    </a:lnTo>
                    <a:lnTo>
                      <a:pt x="156" y="91"/>
                    </a:lnTo>
                    <a:lnTo>
                      <a:pt x="154" y="93"/>
                    </a:lnTo>
                    <a:lnTo>
                      <a:pt x="156" y="93"/>
                    </a:lnTo>
                    <a:lnTo>
                      <a:pt x="156" y="95"/>
                    </a:lnTo>
                    <a:lnTo>
                      <a:pt x="154" y="95"/>
                    </a:lnTo>
                    <a:lnTo>
                      <a:pt x="154" y="96"/>
                    </a:lnTo>
                    <a:lnTo>
                      <a:pt x="154" y="98"/>
                    </a:lnTo>
                    <a:lnTo>
                      <a:pt x="154" y="99"/>
                    </a:lnTo>
                    <a:lnTo>
                      <a:pt x="156" y="99"/>
                    </a:lnTo>
                    <a:lnTo>
                      <a:pt x="156" y="101"/>
                    </a:lnTo>
                    <a:lnTo>
                      <a:pt x="156" y="103"/>
                    </a:lnTo>
                    <a:lnTo>
                      <a:pt x="156" y="104"/>
                    </a:lnTo>
                    <a:lnTo>
                      <a:pt x="156" y="106"/>
                    </a:lnTo>
                    <a:lnTo>
                      <a:pt x="154" y="106"/>
                    </a:lnTo>
                    <a:lnTo>
                      <a:pt x="154" y="107"/>
                    </a:lnTo>
                    <a:lnTo>
                      <a:pt x="154" y="109"/>
                    </a:lnTo>
                    <a:lnTo>
                      <a:pt x="156" y="109"/>
                    </a:lnTo>
                    <a:lnTo>
                      <a:pt x="156" y="110"/>
                    </a:lnTo>
                    <a:lnTo>
                      <a:pt x="156" y="112"/>
                    </a:lnTo>
                    <a:lnTo>
                      <a:pt x="156" y="114"/>
                    </a:lnTo>
                    <a:lnTo>
                      <a:pt x="156" y="115"/>
                    </a:lnTo>
                    <a:lnTo>
                      <a:pt x="156" y="117"/>
                    </a:lnTo>
                    <a:lnTo>
                      <a:pt x="156" y="118"/>
                    </a:lnTo>
                    <a:lnTo>
                      <a:pt x="157" y="118"/>
                    </a:lnTo>
                    <a:lnTo>
                      <a:pt x="157" y="120"/>
                    </a:lnTo>
                    <a:lnTo>
                      <a:pt x="159" y="122"/>
                    </a:lnTo>
                    <a:lnTo>
                      <a:pt x="160" y="122"/>
                    </a:lnTo>
                    <a:lnTo>
                      <a:pt x="160" y="123"/>
                    </a:lnTo>
                    <a:lnTo>
                      <a:pt x="160" y="125"/>
                    </a:lnTo>
                    <a:lnTo>
                      <a:pt x="160" y="126"/>
                    </a:lnTo>
                    <a:lnTo>
                      <a:pt x="162" y="126"/>
                    </a:lnTo>
                    <a:lnTo>
                      <a:pt x="164" y="126"/>
                    </a:lnTo>
                    <a:lnTo>
                      <a:pt x="165" y="126"/>
                    </a:lnTo>
                    <a:lnTo>
                      <a:pt x="167" y="126"/>
                    </a:lnTo>
                    <a:lnTo>
                      <a:pt x="167" y="128"/>
                    </a:lnTo>
                    <a:lnTo>
                      <a:pt x="168" y="128"/>
                    </a:lnTo>
                    <a:lnTo>
                      <a:pt x="168" y="130"/>
                    </a:lnTo>
                    <a:lnTo>
                      <a:pt x="170" y="130"/>
                    </a:lnTo>
                    <a:lnTo>
                      <a:pt x="170" y="131"/>
                    </a:lnTo>
                    <a:lnTo>
                      <a:pt x="170" y="133"/>
                    </a:lnTo>
                    <a:lnTo>
                      <a:pt x="171" y="134"/>
                    </a:lnTo>
                    <a:lnTo>
                      <a:pt x="170" y="134"/>
                    </a:lnTo>
                    <a:lnTo>
                      <a:pt x="170" y="136"/>
                    </a:lnTo>
                    <a:lnTo>
                      <a:pt x="171" y="137"/>
                    </a:lnTo>
                    <a:lnTo>
                      <a:pt x="171" y="139"/>
                    </a:lnTo>
                    <a:lnTo>
                      <a:pt x="173" y="139"/>
                    </a:lnTo>
                    <a:lnTo>
                      <a:pt x="173" y="141"/>
                    </a:lnTo>
                    <a:lnTo>
                      <a:pt x="173" y="142"/>
                    </a:lnTo>
                    <a:lnTo>
                      <a:pt x="175" y="142"/>
                    </a:lnTo>
                    <a:lnTo>
                      <a:pt x="175" y="144"/>
                    </a:lnTo>
                    <a:lnTo>
                      <a:pt x="176" y="145"/>
                    </a:lnTo>
                    <a:lnTo>
                      <a:pt x="178" y="145"/>
                    </a:lnTo>
                    <a:lnTo>
                      <a:pt x="178" y="147"/>
                    </a:lnTo>
                    <a:lnTo>
                      <a:pt x="179" y="149"/>
                    </a:lnTo>
                    <a:lnTo>
                      <a:pt x="179" y="150"/>
                    </a:lnTo>
                    <a:lnTo>
                      <a:pt x="181" y="152"/>
                    </a:lnTo>
                    <a:lnTo>
                      <a:pt x="183" y="153"/>
                    </a:lnTo>
                    <a:lnTo>
                      <a:pt x="184" y="155"/>
                    </a:lnTo>
                    <a:lnTo>
                      <a:pt x="184" y="156"/>
                    </a:lnTo>
                    <a:lnTo>
                      <a:pt x="186" y="156"/>
                    </a:lnTo>
                    <a:lnTo>
                      <a:pt x="186" y="158"/>
                    </a:lnTo>
                    <a:lnTo>
                      <a:pt x="187" y="158"/>
                    </a:lnTo>
                    <a:lnTo>
                      <a:pt x="187" y="160"/>
                    </a:lnTo>
                    <a:lnTo>
                      <a:pt x="186" y="161"/>
                    </a:lnTo>
                    <a:lnTo>
                      <a:pt x="186" y="160"/>
                    </a:lnTo>
                    <a:lnTo>
                      <a:pt x="184" y="161"/>
                    </a:lnTo>
                    <a:lnTo>
                      <a:pt x="184" y="163"/>
                    </a:lnTo>
                    <a:lnTo>
                      <a:pt x="183" y="163"/>
                    </a:lnTo>
                    <a:lnTo>
                      <a:pt x="183" y="164"/>
                    </a:lnTo>
                    <a:lnTo>
                      <a:pt x="181" y="164"/>
                    </a:lnTo>
                    <a:lnTo>
                      <a:pt x="181" y="166"/>
                    </a:lnTo>
                    <a:lnTo>
                      <a:pt x="179" y="168"/>
                    </a:lnTo>
                    <a:lnTo>
                      <a:pt x="179" y="169"/>
                    </a:lnTo>
                    <a:lnTo>
                      <a:pt x="178" y="171"/>
                    </a:lnTo>
                    <a:lnTo>
                      <a:pt x="176" y="172"/>
                    </a:lnTo>
                    <a:lnTo>
                      <a:pt x="176" y="174"/>
                    </a:lnTo>
                    <a:lnTo>
                      <a:pt x="175" y="174"/>
                    </a:lnTo>
                    <a:lnTo>
                      <a:pt x="176" y="175"/>
                    </a:lnTo>
                    <a:lnTo>
                      <a:pt x="176" y="177"/>
                    </a:lnTo>
                    <a:lnTo>
                      <a:pt x="179" y="180"/>
                    </a:lnTo>
                    <a:lnTo>
                      <a:pt x="181" y="182"/>
                    </a:lnTo>
                    <a:lnTo>
                      <a:pt x="184" y="183"/>
                    </a:lnTo>
                    <a:lnTo>
                      <a:pt x="184" y="182"/>
                    </a:lnTo>
                    <a:lnTo>
                      <a:pt x="186" y="182"/>
                    </a:lnTo>
                    <a:lnTo>
                      <a:pt x="186" y="180"/>
                    </a:lnTo>
                    <a:lnTo>
                      <a:pt x="187" y="180"/>
                    </a:lnTo>
                    <a:lnTo>
                      <a:pt x="189" y="180"/>
                    </a:lnTo>
                    <a:lnTo>
                      <a:pt x="190" y="180"/>
                    </a:lnTo>
                    <a:lnTo>
                      <a:pt x="190" y="179"/>
                    </a:lnTo>
                    <a:lnTo>
                      <a:pt x="192" y="179"/>
                    </a:lnTo>
                    <a:lnTo>
                      <a:pt x="194" y="179"/>
                    </a:lnTo>
                    <a:lnTo>
                      <a:pt x="194" y="177"/>
                    </a:lnTo>
                    <a:lnTo>
                      <a:pt x="195" y="177"/>
                    </a:lnTo>
                    <a:lnTo>
                      <a:pt x="197" y="177"/>
                    </a:lnTo>
                    <a:lnTo>
                      <a:pt x="198" y="177"/>
                    </a:lnTo>
                    <a:lnTo>
                      <a:pt x="200" y="175"/>
                    </a:lnTo>
                    <a:lnTo>
                      <a:pt x="202" y="175"/>
                    </a:lnTo>
                    <a:lnTo>
                      <a:pt x="203" y="175"/>
                    </a:lnTo>
                    <a:lnTo>
                      <a:pt x="203" y="174"/>
                    </a:lnTo>
                    <a:lnTo>
                      <a:pt x="203" y="172"/>
                    </a:lnTo>
                    <a:lnTo>
                      <a:pt x="203" y="171"/>
                    </a:lnTo>
                    <a:lnTo>
                      <a:pt x="203" y="169"/>
                    </a:lnTo>
                    <a:lnTo>
                      <a:pt x="205" y="171"/>
                    </a:lnTo>
                    <a:lnTo>
                      <a:pt x="206" y="171"/>
                    </a:lnTo>
                    <a:lnTo>
                      <a:pt x="208" y="171"/>
                    </a:lnTo>
                    <a:lnTo>
                      <a:pt x="208" y="172"/>
                    </a:lnTo>
                    <a:lnTo>
                      <a:pt x="209" y="172"/>
                    </a:lnTo>
                    <a:lnTo>
                      <a:pt x="209" y="174"/>
                    </a:lnTo>
                    <a:lnTo>
                      <a:pt x="209" y="175"/>
                    </a:lnTo>
                    <a:lnTo>
                      <a:pt x="211" y="175"/>
                    </a:lnTo>
                    <a:lnTo>
                      <a:pt x="211" y="177"/>
                    </a:lnTo>
                    <a:lnTo>
                      <a:pt x="213" y="177"/>
                    </a:lnTo>
                    <a:lnTo>
                      <a:pt x="213" y="179"/>
                    </a:lnTo>
                    <a:lnTo>
                      <a:pt x="213" y="180"/>
                    </a:lnTo>
                    <a:lnTo>
                      <a:pt x="213" y="182"/>
                    </a:lnTo>
                    <a:lnTo>
                      <a:pt x="213" y="183"/>
                    </a:lnTo>
                    <a:lnTo>
                      <a:pt x="213" y="185"/>
                    </a:lnTo>
                    <a:lnTo>
                      <a:pt x="213" y="187"/>
                    </a:lnTo>
                    <a:lnTo>
                      <a:pt x="213" y="188"/>
                    </a:lnTo>
                    <a:lnTo>
                      <a:pt x="213" y="190"/>
                    </a:lnTo>
                    <a:lnTo>
                      <a:pt x="214" y="190"/>
                    </a:lnTo>
                    <a:lnTo>
                      <a:pt x="216" y="190"/>
                    </a:lnTo>
                    <a:lnTo>
                      <a:pt x="217" y="190"/>
                    </a:lnTo>
                    <a:lnTo>
                      <a:pt x="217" y="191"/>
                    </a:lnTo>
                    <a:lnTo>
                      <a:pt x="219" y="191"/>
                    </a:lnTo>
                    <a:lnTo>
                      <a:pt x="219" y="193"/>
                    </a:lnTo>
                    <a:lnTo>
                      <a:pt x="221" y="193"/>
                    </a:lnTo>
                    <a:lnTo>
                      <a:pt x="221" y="194"/>
                    </a:lnTo>
                    <a:lnTo>
                      <a:pt x="222" y="194"/>
                    </a:lnTo>
                    <a:lnTo>
                      <a:pt x="222" y="196"/>
                    </a:lnTo>
                    <a:lnTo>
                      <a:pt x="222" y="198"/>
                    </a:lnTo>
                    <a:lnTo>
                      <a:pt x="222" y="199"/>
                    </a:lnTo>
                    <a:lnTo>
                      <a:pt x="222" y="201"/>
                    </a:lnTo>
                    <a:lnTo>
                      <a:pt x="221" y="201"/>
                    </a:lnTo>
                    <a:lnTo>
                      <a:pt x="219" y="201"/>
                    </a:lnTo>
                    <a:lnTo>
                      <a:pt x="217" y="201"/>
                    </a:lnTo>
                    <a:lnTo>
                      <a:pt x="216" y="201"/>
                    </a:lnTo>
                    <a:lnTo>
                      <a:pt x="214" y="202"/>
                    </a:lnTo>
                    <a:lnTo>
                      <a:pt x="214" y="204"/>
                    </a:lnTo>
                    <a:lnTo>
                      <a:pt x="214" y="206"/>
                    </a:lnTo>
                    <a:lnTo>
                      <a:pt x="213" y="206"/>
                    </a:lnTo>
                    <a:lnTo>
                      <a:pt x="214" y="206"/>
                    </a:lnTo>
                    <a:lnTo>
                      <a:pt x="216" y="207"/>
                    </a:lnTo>
                    <a:lnTo>
                      <a:pt x="217" y="207"/>
                    </a:lnTo>
                    <a:lnTo>
                      <a:pt x="219" y="207"/>
                    </a:lnTo>
                    <a:lnTo>
                      <a:pt x="221" y="209"/>
                    </a:lnTo>
                    <a:lnTo>
                      <a:pt x="221" y="210"/>
                    </a:lnTo>
                    <a:lnTo>
                      <a:pt x="222" y="210"/>
                    </a:lnTo>
                    <a:lnTo>
                      <a:pt x="222" y="212"/>
                    </a:lnTo>
                    <a:lnTo>
                      <a:pt x="221" y="213"/>
                    </a:lnTo>
                    <a:lnTo>
                      <a:pt x="221" y="215"/>
                    </a:lnTo>
                    <a:lnTo>
                      <a:pt x="221" y="217"/>
                    </a:lnTo>
                    <a:lnTo>
                      <a:pt x="221" y="215"/>
                    </a:lnTo>
                    <a:lnTo>
                      <a:pt x="219" y="215"/>
                    </a:lnTo>
                    <a:lnTo>
                      <a:pt x="217" y="215"/>
                    </a:lnTo>
                    <a:lnTo>
                      <a:pt x="216" y="215"/>
                    </a:lnTo>
                    <a:lnTo>
                      <a:pt x="214" y="215"/>
                    </a:lnTo>
                    <a:lnTo>
                      <a:pt x="213" y="215"/>
                    </a:lnTo>
                    <a:lnTo>
                      <a:pt x="213" y="213"/>
                    </a:lnTo>
                    <a:lnTo>
                      <a:pt x="213" y="215"/>
                    </a:lnTo>
                    <a:lnTo>
                      <a:pt x="211" y="217"/>
                    </a:lnTo>
                    <a:lnTo>
                      <a:pt x="209" y="217"/>
                    </a:lnTo>
                    <a:lnTo>
                      <a:pt x="209" y="218"/>
                    </a:lnTo>
                    <a:lnTo>
                      <a:pt x="208" y="218"/>
                    </a:lnTo>
                    <a:lnTo>
                      <a:pt x="208" y="220"/>
                    </a:lnTo>
                    <a:lnTo>
                      <a:pt x="206" y="220"/>
                    </a:lnTo>
                    <a:lnTo>
                      <a:pt x="205" y="220"/>
                    </a:lnTo>
                    <a:lnTo>
                      <a:pt x="205" y="221"/>
                    </a:lnTo>
                    <a:lnTo>
                      <a:pt x="203" y="221"/>
                    </a:lnTo>
                    <a:lnTo>
                      <a:pt x="203" y="220"/>
                    </a:lnTo>
                    <a:lnTo>
                      <a:pt x="202" y="220"/>
                    </a:lnTo>
                    <a:lnTo>
                      <a:pt x="202" y="218"/>
                    </a:lnTo>
                    <a:lnTo>
                      <a:pt x="200" y="218"/>
                    </a:lnTo>
                    <a:lnTo>
                      <a:pt x="200" y="220"/>
                    </a:lnTo>
                    <a:lnTo>
                      <a:pt x="200" y="221"/>
                    </a:lnTo>
                    <a:lnTo>
                      <a:pt x="200" y="223"/>
                    </a:lnTo>
                    <a:lnTo>
                      <a:pt x="200" y="225"/>
                    </a:lnTo>
                    <a:lnTo>
                      <a:pt x="198" y="225"/>
                    </a:lnTo>
                    <a:lnTo>
                      <a:pt x="197" y="225"/>
                    </a:lnTo>
                    <a:lnTo>
                      <a:pt x="197" y="226"/>
                    </a:lnTo>
                    <a:lnTo>
                      <a:pt x="195" y="226"/>
                    </a:lnTo>
                    <a:lnTo>
                      <a:pt x="194" y="226"/>
                    </a:lnTo>
                    <a:lnTo>
                      <a:pt x="194" y="228"/>
                    </a:lnTo>
                    <a:lnTo>
                      <a:pt x="195" y="228"/>
                    </a:lnTo>
                    <a:lnTo>
                      <a:pt x="195" y="229"/>
                    </a:lnTo>
                    <a:lnTo>
                      <a:pt x="195" y="231"/>
                    </a:lnTo>
                    <a:lnTo>
                      <a:pt x="197" y="233"/>
                    </a:lnTo>
                    <a:lnTo>
                      <a:pt x="197" y="234"/>
                    </a:lnTo>
                    <a:lnTo>
                      <a:pt x="195" y="234"/>
                    </a:lnTo>
                    <a:lnTo>
                      <a:pt x="195" y="236"/>
                    </a:lnTo>
                    <a:lnTo>
                      <a:pt x="194" y="236"/>
                    </a:lnTo>
                    <a:lnTo>
                      <a:pt x="194" y="237"/>
                    </a:lnTo>
                    <a:lnTo>
                      <a:pt x="192" y="237"/>
                    </a:lnTo>
                    <a:lnTo>
                      <a:pt x="192" y="239"/>
                    </a:lnTo>
                    <a:lnTo>
                      <a:pt x="192" y="240"/>
                    </a:lnTo>
                    <a:lnTo>
                      <a:pt x="194" y="240"/>
                    </a:lnTo>
                    <a:lnTo>
                      <a:pt x="194" y="242"/>
                    </a:lnTo>
                    <a:lnTo>
                      <a:pt x="194" y="244"/>
                    </a:lnTo>
                    <a:lnTo>
                      <a:pt x="194" y="245"/>
                    </a:lnTo>
                    <a:lnTo>
                      <a:pt x="194" y="247"/>
                    </a:lnTo>
                    <a:lnTo>
                      <a:pt x="194" y="248"/>
                    </a:lnTo>
                    <a:lnTo>
                      <a:pt x="194" y="250"/>
                    </a:lnTo>
                    <a:lnTo>
                      <a:pt x="194" y="252"/>
                    </a:lnTo>
                    <a:lnTo>
                      <a:pt x="194" y="253"/>
                    </a:lnTo>
                    <a:lnTo>
                      <a:pt x="194" y="255"/>
                    </a:lnTo>
                    <a:lnTo>
                      <a:pt x="194" y="256"/>
                    </a:lnTo>
                    <a:lnTo>
                      <a:pt x="194" y="258"/>
                    </a:lnTo>
                    <a:lnTo>
                      <a:pt x="194" y="259"/>
                    </a:lnTo>
                    <a:lnTo>
                      <a:pt x="192" y="259"/>
                    </a:lnTo>
                    <a:lnTo>
                      <a:pt x="192" y="261"/>
                    </a:lnTo>
                    <a:lnTo>
                      <a:pt x="194" y="259"/>
                    </a:lnTo>
                    <a:lnTo>
                      <a:pt x="195" y="259"/>
                    </a:lnTo>
                    <a:lnTo>
                      <a:pt x="195" y="258"/>
                    </a:lnTo>
                    <a:lnTo>
                      <a:pt x="197" y="258"/>
                    </a:lnTo>
                    <a:lnTo>
                      <a:pt x="198" y="258"/>
                    </a:lnTo>
                    <a:lnTo>
                      <a:pt x="198" y="259"/>
                    </a:lnTo>
                    <a:lnTo>
                      <a:pt x="198" y="261"/>
                    </a:lnTo>
                    <a:lnTo>
                      <a:pt x="200" y="261"/>
                    </a:lnTo>
                    <a:lnTo>
                      <a:pt x="202" y="261"/>
                    </a:lnTo>
                    <a:lnTo>
                      <a:pt x="202" y="263"/>
                    </a:lnTo>
                    <a:lnTo>
                      <a:pt x="203" y="263"/>
                    </a:lnTo>
                    <a:lnTo>
                      <a:pt x="203" y="264"/>
                    </a:lnTo>
                    <a:lnTo>
                      <a:pt x="205" y="264"/>
                    </a:lnTo>
                    <a:lnTo>
                      <a:pt x="206" y="264"/>
                    </a:lnTo>
                    <a:lnTo>
                      <a:pt x="208" y="264"/>
                    </a:lnTo>
                    <a:lnTo>
                      <a:pt x="209" y="264"/>
                    </a:lnTo>
                    <a:lnTo>
                      <a:pt x="209" y="263"/>
                    </a:lnTo>
                    <a:lnTo>
                      <a:pt x="211" y="263"/>
                    </a:lnTo>
                    <a:lnTo>
                      <a:pt x="213" y="263"/>
                    </a:lnTo>
                    <a:lnTo>
                      <a:pt x="214" y="263"/>
                    </a:lnTo>
                    <a:lnTo>
                      <a:pt x="216" y="263"/>
                    </a:lnTo>
                    <a:lnTo>
                      <a:pt x="216" y="264"/>
                    </a:lnTo>
                    <a:lnTo>
                      <a:pt x="216" y="263"/>
                    </a:lnTo>
                    <a:lnTo>
                      <a:pt x="217" y="263"/>
                    </a:lnTo>
                    <a:lnTo>
                      <a:pt x="217" y="264"/>
                    </a:lnTo>
                    <a:lnTo>
                      <a:pt x="219" y="264"/>
                    </a:lnTo>
                    <a:lnTo>
                      <a:pt x="219" y="266"/>
                    </a:lnTo>
                    <a:lnTo>
                      <a:pt x="219" y="267"/>
                    </a:lnTo>
                    <a:lnTo>
                      <a:pt x="219" y="269"/>
                    </a:lnTo>
                    <a:lnTo>
                      <a:pt x="221" y="271"/>
                    </a:lnTo>
                    <a:lnTo>
                      <a:pt x="222" y="272"/>
                    </a:lnTo>
                    <a:lnTo>
                      <a:pt x="224" y="272"/>
                    </a:lnTo>
                    <a:lnTo>
                      <a:pt x="224" y="271"/>
                    </a:lnTo>
                    <a:lnTo>
                      <a:pt x="225" y="272"/>
                    </a:lnTo>
                    <a:lnTo>
                      <a:pt x="225" y="274"/>
                    </a:lnTo>
                    <a:lnTo>
                      <a:pt x="225" y="275"/>
                    </a:lnTo>
                    <a:lnTo>
                      <a:pt x="224" y="274"/>
                    </a:lnTo>
                    <a:lnTo>
                      <a:pt x="222" y="274"/>
                    </a:lnTo>
                    <a:lnTo>
                      <a:pt x="221" y="274"/>
                    </a:lnTo>
                    <a:lnTo>
                      <a:pt x="221" y="275"/>
                    </a:lnTo>
                    <a:lnTo>
                      <a:pt x="221" y="277"/>
                    </a:lnTo>
                    <a:lnTo>
                      <a:pt x="219" y="277"/>
                    </a:lnTo>
                    <a:lnTo>
                      <a:pt x="217" y="277"/>
                    </a:lnTo>
                    <a:lnTo>
                      <a:pt x="216" y="277"/>
                    </a:lnTo>
                    <a:lnTo>
                      <a:pt x="216" y="275"/>
                    </a:lnTo>
                    <a:lnTo>
                      <a:pt x="214" y="275"/>
                    </a:lnTo>
                    <a:lnTo>
                      <a:pt x="213" y="275"/>
                    </a:lnTo>
                    <a:lnTo>
                      <a:pt x="213" y="274"/>
                    </a:lnTo>
                    <a:lnTo>
                      <a:pt x="213" y="272"/>
                    </a:lnTo>
                    <a:lnTo>
                      <a:pt x="213" y="271"/>
                    </a:lnTo>
                    <a:lnTo>
                      <a:pt x="211" y="271"/>
                    </a:lnTo>
                    <a:lnTo>
                      <a:pt x="209" y="271"/>
                    </a:lnTo>
                    <a:lnTo>
                      <a:pt x="209" y="272"/>
                    </a:lnTo>
                    <a:lnTo>
                      <a:pt x="208" y="272"/>
                    </a:lnTo>
                    <a:lnTo>
                      <a:pt x="208" y="274"/>
                    </a:lnTo>
                    <a:lnTo>
                      <a:pt x="206" y="274"/>
                    </a:lnTo>
                    <a:lnTo>
                      <a:pt x="206" y="275"/>
                    </a:lnTo>
                    <a:lnTo>
                      <a:pt x="206" y="277"/>
                    </a:lnTo>
                    <a:lnTo>
                      <a:pt x="205" y="277"/>
                    </a:lnTo>
                    <a:lnTo>
                      <a:pt x="205" y="278"/>
                    </a:lnTo>
                    <a:lnTo>
                      <a:pt x="203" y="278"/>
                    </a:lnTo>
                    <a:lnTo>
                      <a:pt x="203" y="280"/>
                    </a:lnTo>
                    <a:lnTo>
                      <a:pt x="202" y="280"/>
                    </a:lnTo>
                    <a:lnTo>
                      <a:pt x="202" y="282"/>
                    </a:lnTo>
                    <a:lnTo>
                      <a:pt x="200" y="282"/>
                    </a:lnTo>
                    <a:lnTo>
                      <a:pt x="200" y="283"/>
                    </a:lnTo>
                    <a:lnTo>
                      <a:pt x="200" y="285"/>
                    </a:lnTo>
                    <a:lnTo>
                      <a:pt x="198" y="285"/>
                    </a:lnTo>
                    <a:lnTo>
                      <a:pt x="197" y="285"/>
                    </a:lnTo>
                    <a:lnTo>
                      <a:pt x="195" y="286"/>
                    </a:lnTo>
                    <a:lnTo>
                      <a:pt x="194" y="288"/>
                    </a:lnTo>
                    <a:lnTo>
                      <a:pt x="192" y="288"/>
                    </a:lnTo>
                    <a:lnTo>
                      <a:pt x="190" y="288"/>
                    </a:lnTo>
                    <a:lnTo>
                      <a:pt x="189" y="288"/>
                    </a:lnTo>
                    <a:lnTo>
                      <a:pt x="187" y="288"/>
                    </a:lnTo>
                    <a:lnTo>
                      <a:pt x="187" y="290"/>
                    </a:lnTo>
                    <a:lnTo>
                      <a:pt x="186" y="290"/>
                    </a:lnTo>
                    <a:lnTo>
                      <a:pt x="186" y="291"/>
                    </a:lnTo>
                    <a:lnTo>
                      <a:pt x="184" y="293"/>
                    </a:lnTo>
                    <a:lnTo>
                      <a:pt x="184" y="294"/>
                    </a:lnTo>
                    <a:lnTo>
                      <a:pt x="183" y="294"/>
                    </a:lnTo>
                    <a:lnTo>
                      <a:pt x="183" y="296"/>
                    </a:lnTo>
                    <a:lnTo>
                      <a:pt x="183" y="297"/>
                    </a:lnTo>
                    <a:lnTo>
                      <a:pt x="181" y="297"/>
                    </a:lnTo>
                    <a:lnTo>
                      <a:pt x="181" y="299"/>
                    </a:lnTo>
                    <a:lnTo>
                      <a:pt x="181" y="301"/>
                    </a:lnTo>
                    <a:lnTo>
                      <a:pt x="179" y="301"/>
                    </a:lnTo>
                    <a:lnTo>
                      <a:pt x="179" y="302"/>
                    </a:lnTo>
                    <a:lnTo>
                      <a:pt x="179" y="304"/>
                    </a:lnTo>
                    <a:lnTo>
                      <a:pt x="179" y="305"/>
                    </a:lnTo>
                    <a:lnTo>
                      <a:pt x="178" y="305"/>
                    </a:lnTo>
                    <a:lnTo>
                      <a:pt x="178" y="307"/>
                    </a:lnTo>
                    <a:lnTo>
                      <a:pt x="176" y="307"/>
                    </a:lnTo>
                    <a:lnTo>
                      <a:pt x="176" y="309"/>
                    </a:lnTo>
                    <a:lnTo>
                      <a:pt x="176" y="310"/>
                    </a:lnTo>
                    <a:lnTo>
                      <a:pt x="175" y="310"/>
                    </a:lnTo>
                    <a:lnTo>
                      <a:pt x="175" y="312"/>
                    </a:lnTo>
                    <a:lnTo>
                      <a:pt x="173" y="312"/>
                    </a:lnTo>
                    <a:lnTo>
                      <a:pt x="171" y="313"/>
                    </a:lnTo>
                    <a:lnTo>
                      <a:pt x="170" y="313"/>
                    </a:lnTo>
                    <a:lnTo>
                      <a:pt x="170" y="315"/>
                    </a:lnTo>
                    <a:lnTo>
                      <a:pt x="168" y="315"/>
                    </a:lnTo>
                    <a:lnTo>
                      <a:pt x="168" y="316"/>
                    </a:lnTo>
                    <a:lnTo>
                      <a:pt x="167" y="318"/>
                    </a:lnTo>
                    <a:lnTo>
                      <a:pt x="165" y="318"/>
                    </a:lnTo>
                    <a:lnTo>
                      <a:pt x="165" y="320"/>
                    </a:lnTo>
                    <a:lnTo>
                      <a:pt x="164" y="320"/>
                    </a:lnTo>
                    <a:lnTo>
                      <a:pt x="162" y="321"/>
                    </a:lnTo>
                    <a:lnTo>
                      <a:pt x="160" y="323"/>
                    </a:lnTo>
                    <a:lnTo>
                      <a:pt x="159" y="323"/>
                    </a:lnTo>
                    <a:lnTo>
                      <a:pt x="159" y="324"/>
                    </a:lnTo>
                    <a:lnTo>
                      <a:pt x="160" y="324"/>
                    </a:lnTo>
                    <a:lnTo>
                      <a:pt x="160" y="326"/>
                    </a:lnTo>
                    <a:lnTo>
                      <a:pt x="160" y="328"/>
                    </a:lnTo>
                    <a:lnTo>
                      <a:pt x="159" y="328"/>
                    </a:lnTo>
                    <a:lnTo>
                      <a:pt x="159" y="329"/>
                    </a:lnTo>
                    <a:lnTo>
                      <a:pt x="159" y="331"/>
                    </a:lnTo>
                    <a:lnTo>
                      <a:pt x="157" y="331"/>
                    </a:lnTo>
                    <a:lnTo>
                      <a:pt x="157" y="332"/>
                    </a:lnTo>
                    <a:lnTo>
                      <a:pt x="156" y="332"/>
                    </a:lnTo>
                    <a:lnTo>
                      <a:pt x="154" y="334"/>
                    </a:lnTo>
                    <a:lnTo>
                      <a:pt x="154" y="335"/>
                    </a:lnTo>
                    <a:lnTo>
                      <a:pt x="156" y="335"/>
                    </a:lnTo>
                    <a:lnTo>
                      <a:pt x="154" y="337"/>
                    </a:lnTo>
                    <a:lnTo>
                      <a:pt x="152" y="337"/>
                    </a:lnTo>
                    <a:lnTo>
                      <a:pt x="152" y="339"/>
                    </a:lnTo>
                    <a:lnTo>
                      <a:pt x="151" y="339"/>
                    </a:lnTo>
                    <a:lnTo>
                      <a:pt x="151" y="340"/>
                    </a:lnTo>
                    <a:lnTo>
                      <a:pt x="149" y="342"/>
                    </a:lnTo>
                    <a:lnTo>
                      <a:pt x="149" y="343"/>
                    </a:lnTo>
                    <a:lnTo>
                      <a:pt x="148" y="343"/>
                    </a:lnTo>
                    <a:lnTo>
                      <a:pt x="148" y="345"/>
                    </a:lnTo>
                    <a:lnTo>
                      <a:pt x="148" y="347"/>
                    </a:lnTo>
                    <a:lnTo>
                      <a:pt x="149" y="348"/>
                    </a:lnTo>
                    <a:lnTo>
                      <a:pt x="149" y="350"/>
                    </a:lnTo>
                    <a:lnTo>
                      <a:pt x="148" y="350"/>
                    </a:lnTo>
                    <a:lnTo>
                      <a:pt x="148" y="351"/>
                    </a:lnTo>
                    <a:lnTo>
                      <a:pt x="148" y="353"/>
                    </a:lnTo>
                    <a:lnTo>
                      <a:pt x="148" y="355"/>
                    </a:lnTo>
                    <a:lnTo>
                      <a:pt x="148" y="356"/>
                    </a:lnTo>
                    <a:lnTo>
                      <a:pt x="146" y="356"/>
                    </a:lnTo>
                    <a:lnTo>
                      <a:pt x="145" y="356"/>
                    </a:lnTo>
                    <a:lnTo>
                      <a:pt x="145" y="358"/>
                    </a:lnTo>
                    <a:lnTo>
                      <a:pt x="145" y="359"/>
                    </a:lnTo>
                    <a:lnTo>
                      <a:pt x="145" y="361"/>
                    </a:lnTo>
                    <a:lnTo>
                      <a:pt x="143" y="361"/>
                    </a:lnTo>
                    <a:lnTo>
                      <a:pt x="141" y="361"/>
                    </a:lnTo>
                    <a:lnTo>
                      <a:pt x="140" y="361"/>
                    </a:lnTo>
                    <a:lnTo>
                      <a:pt x="140" y="362"/>
                    </a:lnTo>
                    <a:lnTo>
                      <a:pt x="140" y="364"/>
                    </a:lnTo>
                    <a:lnTo>
                      <a:pt x="140" y="366"/>
                    </a:lnTo>
                    <a:lnTo>
                      <a:pt x="141" y="366"/>
                    </a:lnTo>
                    <a:lnTo>
                      <a:pt x="141" y="367"/>
                    </a:lnTo>
                    <a:lnTo>
                      <a:pt x="141" y="369"/>
                    </a:lnTo>
                    <a:lnTo>
                      <a:pt x="141" y="370"/>
                    </a:lnTo>
                    <a:lnTo>
                      <a:pt x="141" y="372"/>
                    </a:lnTo>
                    <a:lnTo>
                      <a:pt x="141" y="374"/>
                    </a:lnTo>
                    <a:lnTo>
                      <a:pt x="141" y="375"/>
                    </a:lnTo>
                    <a:lnTo>
                      <a:pt x="141" y="377"/>
                    </a:lnTo>
                    <a:lnTo>
                      <a:pt x="140" y="377"/>
                    </a:lnTo>
                    <a:lnTo>
                      <a:pt x="140" y="378"/>
                    </a:lnTo>
                    <a:lnTo>
                      <a:pt x="141" y="378"/>
                    </a:lnTo>
                    <a:lnTo>
                      <a:pt x="141" y="380"/>
                    </a:lnTo>
                    <a:lnTo>
                      <a:pt x="143" y="378"/>
                    </a:lnTo>
                    <a:lnTo>
                      <a:pt x="145" y="378"/>
                    </a:lnTo>
                    <a:lnTo>
                      <a:pt x="146" y="378"/>
                    </a:lnTo>
                    <a:lnTo>
                      <a:pt x="148" y="378"/>
                    </a:lnTo>
                    <a:lnTo>
                      <a:pt x="149" y="378"/>
                    </a:lnTo>
                    <a:lnTo>
                      <a:pt x="148" y="378"/>
                    </a:lnTo>
                    <a:lnTo>
                      <a:pt x="148" y="377"/>
                    </a:lnTo>
                    <a:lnTo>
                      <a:pt x="149" y="377"/>
                    </a:lnTo>
                    <a:lnTo>
                      <a:pt x="149" y="375"/>
                    </a:lnTo>
                    <a:lnTo>
                      <a:pt x="151" y="375"/>
                    </a:lnTo>
                    <a:lnTo>
                      <a:pt x="151" y="374"/>
                    </a:lnTo>
                    <a:lnTo>
                      <a:pt x="152" y="374"/>
                    </a:lnTo>
                    <a:lnTo>
                      <a:pt x="152" y="372"/>
                    </a:lnTo>
                    <a:lnTo>
                      <a:pt x="154" y="372"/>
                    </a:lnTo>
                    <a:lnTo>
                      <a:pt x="154" y="370"/>
                    </a:lnTo>
                    <a:lnTo>
                      <a:pt x="156" y="369"/>
                    </a:lnTo>
                    <a:lnTo>
                      <a:pt x="156" y="367"/>
                    </a:lnTo>
                    <a:lnTo>
                      <a:pt x="157" y="367"/>
                    </a:lnTo>
                    <a:lnTo>
                      <a:pt x="157" y="366"/>
                    </a:lnTo>
                    <a:lnTo>
                      <a:pt x="159" y="366"/>
                    </a:lnTo>
                    <a:lnTo>
                      <a:pt x="160" y="366"/>
                    </a:lnTo>
                    <a:lnTo>
                      <a:pt x="162" y="366"/>
                    </a:lnTo>
                    <a:lnTo>
                      <a:pt x="164" y="366"/>
                    </a:lnTo>
                    <a:lnTo>
                      <a:pt x="165" y="366"/>
                    </a:lnTo>
                    <a:lnTo>
                      <a:pt x="167" y="366"/>
                    </a:lnTo>
                    <a:lnTo>
                      <a:pt x="168" y="366"/>
                    </a:lnTo>
                    <a:lnTo>
                      <a:pt x="168" y="367"/>
                    </a:lnTo>
                    <a:lnTo>
                      <a:pt x="167" y="367"/>
                    </a:lnTo>
                    <a:lnTo>
                      <a:pt x="167" y="369"/>
                    </a:lnTo>
                    <a:lnTo>
                      <a:pt x="167" y="370"/>
                    </a:lnTo>
                    <a:lnTo>
                      <a:pt x="167" y="372"/>
                    </a:lnTo>
                    <a:lnTo>
                      <a:pt x="167" y="374"/>
                    </a:lnTo>
                    <a:lnTo>
                      <a:pt x="165" y="374"/>
                    </a:lnTo>
                    <a:lnTo>
                      <a:pt x="165" y="375"/>
                    </a:lnTo>
                    <a:lnTo>
                      <a:pt x="165" y="377"/>
                    </a:lnTo>
                    <a:lnTo>
                      <a:pt x="164" y="377"/>
                    </a:lnTo>
                    <a:lnTo>
                      <a:pt x="164" y="378"/>
                    </a:lnTo>
                    <a:lnTo>
                      <a:pt x="162" y="378"/>
                    </a:lnTo>
                    <a:lnTo>
                      <a:pt x="162" y="380"/>
                    </a:lnTo>
                    <a:lnTo>
                      <a:pt x="160" y="380"/>
                    </a:lnTo>
                    <a:lnTo>
                      <a:pt x="160" y="381"/>
                    </a:lnTo>
                    <a:lnTo>
                      <a:pt x="159" y="381"/>
                    </a:lnTo>
                    <a:lnTo>
                      <a:pt x="157" y="381"/>
                    </a:lnTo>
                    <a:lnTo>
                      <a:pt x="156" y="381"/>
                    </a:lnTo>
                    <a:lnTo>
                      <a:pt x="156" y="383"/>
                    </a:lnTo>
                    <a:lnTo>
                      <a:pt x="154" y="383"/>
                    </a:lnTo>
                    <a:lnTo>
                      <a:pt x="154" y="385"/>
                    </a:lnTo>
                    <a:lnTo>
                      <a:pt x="154" y="386"/>
                    </a:lnTo>
                    <a:lnTo>
                      <a:pt x="152" y="386"/>
                    </a:lnTo>
                    <a:lnTo>
                      <a:pt x="152" y="388"/>
                    </a:lnTo>
                    <a:lnTo>
                      <a:pt x="151" y="389"/>
                    </a:lnTo>
                    <a:lnTo>
                      <a:pt x="149" y="391"/>
                    </a:lnTo>
                    <a:lnTo>
                      <a:pt x="149" y="393"/>
                    </a:lnTo>
                    <a:lnTo>
                      <a:pt x="149" y="394"/>
                    </a:lnTo>
                    <a:lnTo>
                      <a:pt x="151" y="394"/>
                    </a:lnTo>
                    <a:lnTo>
                      <a:pt x="151" y="396"/>
                    </a:lnTo>
                    <a:lnTo>
                      <a:pt x="151" y="397"/>
                    </a:lnTo>
                    <a:lnTo>
                      <a:pt x="149" y="397"/>
                    </a:lnTo>
                    <a:lnTo>
                      <a:pt x="148" y="397"/>
                    </a:lnTo>
                    <a:lnTo>
                      <a:pt x="148" y="399"/>
                    </a:lnTo>
                    <a:lnTo>
                      <a:pt x="149" y="399"/>
                    </a:lnTo>
                    <a:lnTo>
                      <a:pt x="149" y="400"/>
                    </a:lnTo>
                    <a:lnTo>
                      <a:pt x="151" y="400"/>
                    </a:lnTo>
                    <a:lnTo>
                      <a:pt x="151" y="402"/>
                    </a:lnTo>
                    <a:lnTo>
                      <a:pt x="152" y="402"/>
                    </a:lnTo>
                    <a:lnTo>
                      <a:pt x="152" y="404"/>
                    </a:lnTo>
                    <a:lnTo>
                      <a:pt x="151" y="405"/>
                    </a:lnTo>
                    <a:lnTo>
                      <a:pt x="149" y="407"/>
                    </a:lnTo>
                    <a:lnTo>
                      <a:pt x="148" y="407"/>
                    </a:lnTo>
                    <a:lnTo>
                      <a:pt x="146" y="408"/>
                    </a:lnTo>
                    <a:lnTo>
                      <a:pt x="146" y="410"/>
                    </a:lnTo>
                    <a:lnTo>
                      <a:pt x="146" y="412"/>
                    </a:lnTo>
                    <a:lnTo>
                      <a:pt x="146" y="413"/>
                    </a:lnTo>
                    <a:lnTo>
                      <a:pt x="148" y="413"/>
                    </a:lnTo>
                    <a:lnTo>
                      <a:pt x="148" y="415"/>
                    </a:lnTo>
                    <a:lnTo>
                      <a:pt x="146" y="415"/>
                    </a:lnTo>
                    <a:lnTo>
                      <a:pt x="145" y="415"/>
                    </a:lnTo>
                    <a:lnTo>
                      <a:pt x="143" y="415"/>
                    </a:lnTo>
                    <a:lnTo>
                      <a:pt x="141" y="415"/>
                    </a:lnTo>
                    <a:lnTo>
                      <a:pt x="141" y="416"/>
                    </a:lnTo>
                    <a:lnTo>
                      <a:pt x="140" y="416"/>
                    </a:lnTo>
                    <a:lnTo>
                      <a:pt x="140" y="418"/>
                    </a:lnTo>
                    <a:lnTo>
                      <a:pt x="140" y="419"/>
                    </a:lnTo>
                    <a:lnTo>
                      <a:pt x="140" y="421"/>
                    </a:lnTo>
                    <a:lnTo>
                      <a:pt x="141" y="421"/>
                    </a:lnTo>
                    <a:lnTo>
                      <a:pt x="143" y="421"/>
                    </a:lnTo>
                    <a:lnTo>
                      <a:pt x="143" y="423"/>
                    </a:lnTo>
                    <a:lnTo>
                      <a:pt x="145" y="424"/>
                    </a:lnTo>
                    <a:lnTo>
                      <a:pt x="145" y="426"/>
                    </a:lnTo>
                    <a:lnTo>
                      <a:pt x="146" y="426"/>
                    </a:lnTo>
                    <a:lnTo>
                      <a:pt x="146" y="427"/>
                    </a:lnTo>
                    <a:lnTo>
                      <a:pt x="146" y="429"/>
                    </a:lnTo>
                    <a:lnTo>
                      <a:pt x="146" y="431"/>
                    </a:lnTo>
                    <a:lnTo>
                      <a:pt x="146" y="432"/>
                    </a:lnTo>
                    <a:lnTo>
                      <a:pt x="145" y="432"/>
                    </a:lnTo>
                    <a:lnTo>
                      <a:pt x="145" y="434"/>
                    </a:lnTo>
                    <a:lnTo>
                      <a:pt x="145" y="435"/>
                    </a:lnTo>
                    <a:lnTo>
                      <a:pt x="146" y="435"/>
                    </a:lnTo>
                    <a:lnTo>
                      <a:pt x="146" y="434"/>
                    </a:lnTo>
                    <a:lnTo>
                      <a:pt x="148" y="434"/>
                    </a:lnTo>
                    <a:lnTo>
                      <a:pt x="148" y="435"/>
                    </a:lnTo>
                    <a:lnTo>
                      <a:pt x="148" y="437"/>
                    </a:lnTo>
                    <a:lnTo>
                      <a:pt x="148" y="438"/>
                    </a:lnTo>
                    <a:lnTo>
                      <a:pt x="149" y="438"/>
                    </a:lnTo>
                    <a:lnTo>
                      <a:pt x="149" y="440"/>
                    </a:lnTo>
                    <a:lnTo>
                      <a:pt x="149" y="442"/>
                    </a:lnTo>
                    <a:lnTo>
                      <a:pt x="151" y="442"/>
                    </a:lnTo>
                    <a:lnTo>
                      <a:pt x="151" y="443"/>
                    </a:lnTo>
                    <a:lnTo>
                      <a:pt x="152" y="443"/>
                    </a:lnTo>
                    <a:lnTo>
                      <a:pt x="154" y="443"/>
                    </a:lnTo>
                    <a:lnTo>
                      <a:pt x="156" y="443"/>
                    </a:lnTo>
                    <a:lnTo>
                      <a:pt x="157" y="443"/>
                    </a:lnTo>
                    <a:lnTo>
                      <a:pt x="159" y="443"/>
                    </a:lnTo>
                    <a:lnTo>
                      <a:pt x="160" y="442"/>
                    </a:lnTo>
                    <a:lnTo>
                      <a:pt x="162" y="442"/>
                    </a:lnTo>
                    <a:lnTo>
                      <a:pt x="164" y="442"/>
                    </a:lnTo>
                    <a:lnTo>
                      <a:pt x="162" y="443"/>
                    </a:lnTo>
                    <a:lnTo>
                      <a:pt x="164" y="443"/>
                    </a:lnTo>
                    <a:lnTo>
                      <a:pt x="164" y="445"/>
                    </a:lnTo>
                    <a:lnTo>
                      <a:pt x="164" y="446"/>
                    </a:lnTo>
                    <a:lnTo>
                      <a:pt x="164" y="448"/>
                    </a:lnTo>
                    <a:lnTo>
                      <a:pt x="165" y="448"/>
                    </a:lnTo>
                    <a:lnTo>
                      <a:pt x="165" y="450"/>
                    </a:lnTo>
                    <a:lnTo>
                      <a:pt x="167" y="450"/>
                    </a:lnTo>
                    <a:lnTo>
                      <a:pt x="168" y="451"/>
                    </a:lnTo>
                    <a:lnTo>
                      <a:pt x="168" y="453"/>
                    </a:lnTo>
                    <a:lnTo>
                      <a:pt x="168" y="454"/>
                    </a:lnTo>
                    <a:lnTo>
                      <a:pt x="170" y="454"/>
                    </a:lnTo>
                    <a:lnTo>
                      <a:pt x="170" y="456"/>
                    </a:lnTo>
                    <a:lnTo>
                      <a:pt x="170" y="457"/>
                    </a:lnTo>
                    <a:lnTo>
                      <a:pt x="171" y="457"/>
                    </a:lnTo>
                    <a:lnTo>
                      <a:pt x="171" y="459"/>
                    </a:lnTo>
                    <a:lnTo>
                      <a:pt x="173" y="459"/>
                    </a:lnTo>
                    <a:lnTo>
                      <a:pt x="173" y="461"/>
                    </a:lnTo>
                    <a:lnTo>
                      <a:pt x="175" y="461"/>
                    </a:lnTo>
                    <a:lnTo>
                      <a:pt x="175" y="462"/>
                    </a:lnTo>
                    <a:lnTo>
                      <a:pt x="176" y="462"/>
                    </a:lnTo>
                    <a:lnTo>
                      <a:pt x="176" y="464"/>
                    </a:lnTo>
                    <a:lnTo>
                      <a:pt x="178" y="464"/>
                    </a:lnTo>
                    <a:lnTo>
                      <a:pt x="179" y="464"/>
                    </a:lnTo>
                    <a:lnTo>
                      <a:pt x="181" y="464"/>
                    </a:lnTo>
                    <a:lnTo>
                      <a:pt x="183" y="462"/>
                    </a:lnTo>
                    <a:lnTo>
                      <a:pt x="183" y="464"/>
                    </a:lnTo>
                    <a:lnTo>
                      <a:pt x="184" y="464"/>
                    </a:lnTo>
                    <a:lnTo>
                      <a:pt x="186" y="464"/>
                    </a:lnTo>
                    <a:lnTo>
                      <a:pt x="187" y="464"/>
                    </a:lnTo>
                    <a:lnTo>
                      <a:pt x="187" y="462"/>
                    </a:lnTo>
                    <a:lnTo>
                      <a:pt x="189" y="462"/>
                    </a:lnTo>
                    <a:lnTo>
                      <a:pt x="189" y="461"/>
                    </a:lnTo>
                    <a:lnTo>
                      <a:pt x="189" y="459"/>
                    </a:lnTo>
                    <a:lnTo>
                      <a:pt x="190" y="459"/>
                    </a:lnTo>
                    <a:lnTo>
                      <a:pt x="190" y="457"/>
                    </a:lnTo>
                    <a:lnTo>
                      <a:pt x="190" y="456"/>
                    </a:lnTo>
                    <a:lnTo>
                      <a:pt x="192" y="456"/>
                    </a:lnTo>
                    <a:lnTo>
                      <a:pt x="194" y="456"/>
                    </a:lnTo>
                    <a:lnTo>
                      <a:pt x="195" y="456"/>
                    </a:lnTo>
                    <a:lnTo>
                      <a:pt x="197" y="456"/>
                    </a:lnTo>
                    <a:lnTo>
                      <a:pt x="197" y="454"/>
                    </a:lnTo>
                    <a:lnTo>
                      <a:pt x="198" y="454"/>
                    </a:lnTo>
                    <a:lnTo>
                      <a:pt x="200" y="454"/>
                    </a:lnTo>
                    <a:lnTo>
                      <a:pt x="200" y="456"/>
                    </a:lnTo>
                    <a:lnTo>
                      <a:pt x="202" y="456"/>
                    </a:lnTo>
                    <a:lnTo>
                      <a:pt x="203" y="456"/>
                    </a:lnTo>
                    <a:lnTo>
                      <a:pt x="205" y="456"/>
                    </a:lnTo>
                    <a:lnTo>
                      <a:pt x="206" y="456"/>
                    </a:lnTo>
                    <a:lnTo>
                      <a:pt x="208" y="456"/>
                    </a:lnTo>
                    <a:lnTo>
                      <a:pt x="209" y="456"/>
                    </a:lnTo>
                    <a:lnTo>
                      <a:pt x="211" y="454"/>
                    </a:lnTo>
                    <a:lnTo>
                      <a:pt x="213" y="454"/>
                    </a:lnTo>
                    <a:lnTo>
                      <a:pt x="213" y="456"/>
                    </a:lnTo>
                    <a:lnTo>
                      <a:pt x="213" y="457"/>
                    </a:lnTo>
                    <a:lnTo>
                      <a:pt x="214" y="457"/>
                    </a:lnTo>
                    <a:lnTo>
                      <a:pt x="214" y="459"/>
                    </a:lnTo>
                    <a:lnTo>
                      <a:pt x="216" y="459"/>
                    </a:lnTo>
                    <a:lnTo>
                      <a:pt x="216" y="461"/>
                    </a:lnTo>
                    <a:lnTo>
                      <a:pt x="216" y="462"/>
                    </a:lnTo>
                    <a:lnTo>
                      <a:pt x="217" y="462"/>
                    </a:lnTo>
                    <a:lnTo>
                      <a:pt x="217" y="464"/>
                    </a:lnTo>
                    <a:lnTo>
                      <a:pt x="216" y="464"/>
                    </a:lnTo>
                    <a:lnTo>
                      <a:pt x="216" y="465"/>
                    </a:lnTo>
                    <a:lnTo>
                      <a:pt x="214" y="467"/>
                    </a:lnTo>
                    <a:lnTo>
                      <a:pt x="214" y="469"/>
                    </a:lnTo>
                    <a:lnTo>
                      <a:pt x="213" y="469"/>
                    </a:lnTo>
                    <a:lnTo>
                      <a:pt x="213" y="470"/>
                    </a:lnTo>
                    <a:lnTo>
                      <a:pt x="213" y="472"/>
                    </a:lnTo>
                    <a:lnTo>
                      <a:pt x="211" y="472"/>
                    </a:lnTo>
                    <a:lnTo>
                      <a:pt x="211" y="473"/>
                    </a:lnTo>
                    <a:lnTo>
                      <a:pt x="211" y="475"/>
                    </a:lnTo>
                    <a:lnTo>
                      <a:pt x="209" y="477"/>
                    </a:lnTo>
                    <a:lnTo>
                      <a:pt x="209" y="478"/>
                    </a:lnTo>
                    <a:lnTo>
                      <a:pt x="209" y="480"/>
                    </a:lnTo>
                    <a:lnTo>
                      <a:pt x="209" y="481"/>
                    </a:lnTo>
                    <a:lnTo>
                      <a:pt x="211" y="481"/>
                    </a:lnTo>
                    <a:lnTo>
                      <a:pt x="211" y="483"/>
                    </a:lnTo>
                    <a:lnTo>
                      <a:pt x="213" y="483"/>
                    </a:lnTo>
                    <a:lnTo>
                      <a:pt x="213" y="484"/>
                    </a:lnTo>
                    <a:lnTo>
                      <a:pt x="213" y="486"/>
                    </a:lnTo>
                    <a:lnTo>
                      <a:pt x="213" y="488"/>
                    </a:lnTo>
                    <a:lnTo>
                      <a:pt x="214" y="488"/>
                    </a:lnTo>
                    <a:lnTo>
                      <a:pt x="214" y="489"/>
                    </a:lnTo>
                    <a:lnTo>
                      <a:pt x="216" y="489"/>
                    </a:lnTo>
                    <a:lnTo>
                      <a:pt x="216" y="491"/>
                    </a:lnTo>
                    <a:lnTo>
                      <a:pt x="217" y="491"/>
                    </a:lnTo>
                    <a:lnTo>
                      <a:pt x="219" y="491"/>
                    </a:lnTo>
                    <a:lnTo>
                      <a:pt x="221" y="491"/>
                    </a:lnTo>
                    <a:lnTo>
                      <a:pt x="222" y="491"/>
                    </a:lnTo>
                    <a:lnTo>
                      <a:pt x="224" y="491"/>
                    </a:lnTo>
                    <a:lnTo>
                      <a:pt x="224" y="489"/>
                    </a:lnTo>
                    <a:lnTo>
                      <a:pt x="225" y="489"/>
                    </a:lnTo>
                    <a:lnTo>
                      <a:pt x="227" y="489"/>
                    </a:lnTo>
                    <a:lnTo>
                      <a:pt x="227" y="488"/>
                    </a:lnTo>
                    <a:lnTo>
                      <a:pt x="228" y="488"/>
                    </a:lnTo>
                    <a:lnTo>
                      <a:pt x="230" y="488"/>
                    </a:lnTo>
                    <a:lnTo>
                      <a:pt x="230" y="489"/>
                    </a:lnTo>
                    <a:lnTo>
                      <a:pt x="232" y="489"/>
                    </a:lnTo>
                    <a:lnTo>
                      <a:pt x="233" y="489"/>
                    </a:lnTo>
                    <a:lnTo>
                      <a:pt x="235" y="489"/>
                    </a:lnTo>
                    <a:lnTo>
                      <a:pt x="235" y="491"/>
                    </a:lnTo>
                    <a:lnTo>
                      <a:pt x="236" y="491"/>
                    </a:lnTo>
                    <a:lnTo>
                      <a:pt x="236" y="492"/>
                    </a:lnTo>
                    <a:lnTo>
                      <a:pt x="238" y="492"/>
                    </a:lnTo>
                    <a:lnTo>
                      <a:pt x="240" y="494"/>
                    </a:lnTo>
                    <a:lnTo>
                      <a:pt x="241" y="494"/>
                    </a:lnTo>
                    <a:lnTo>
                      <a:pt x="243" y="494"/>
                    </a:lnTo>
                    <a:lnTo>
                      <a:pt x="243" y="496"/>
                    </a:lnTo>
                    <a:lnTo>
                      <a:pt x="244" y="496"/>
                    </a:lnTo>
                    <a:lnTo>
                      <a:pt x="244" y="497"/>
                    </a:lnTo>
                    <a:lnTo>
                      <a:pt x="246" y="499"/>
                    </a:lnTo>
                    <a:lnTo>
                      <a:pt x="248" y="499"/>
                    </a:lnTo>
                    <a:lnTo>
                      <a:pt x="248" y="500"/>
                    </a:lnTo>
                    <a:lnTo>
                      <a:pt x="248" y="502"/>
                    </a:lnTo>
                    <a:lnTo>
                      <a:pt x="249" y="502"/>
                    </a:lnTo>
                    <a:lnTo>
                      <a:pt x="249" y="503"/>
                    </a:lnTo>
                    <a:lnTo>
                      <a:pt x="251" y="503"/>
                    </a:lnTo>
                    <a:lnTo>
                      <a:pt x="251" y="505"/>
                    </a:lnTo>
                    <a:lnTo>
                      <a:pt x="252" y="505"/>
                    </a:lnTo>
                    <a:lnTo>
                      <a:pt x="254" y="503"/>
                    </a:lnTo>
                    <a:lnTo>
                      <a:pt x="255" y="503"/>
                    </a:lnTo>
                    <a:lnTo>
                      <a:pt x="257" y="503"/>
                    </a:lnTo>
                    <a:lnTo>
                      <a:pt x="257" y="502"/>
                    </a:lnTo>
                    <a:lnTo>
                      <a:pt x="257" y="500"/>
                    </a:lnTo>
                    <a:lnTo>
                      <a:pt x="257" y="499"/>
                    </a:lnTo>
                    <a:lnTo>
                      <a:pt x="255" y="499"/>
                    </a:lnTo>
                    <a:lnTo>
                      <a:pt x="255" y="497"/>
                    </a:lnTo>
                    <a:lnTo>
                      <a:pt x="257" y="497"/>
                    </a:lnTo>
                    <a:lnTo>
                      <a:pt x="257" y="496"/>
                    </a:lnTo>
                    <a:lnTo>
                      <a:pt x="259" y="496"/>
                    </a:lnTo>
                    <a:lnTo>
                      <a:pt x="259" y="494"/>
                    </a:lnTo>
                    <a:lnTo>
                      <a:pt x="259" y="492"/>
                    </a:lnTo>
                    <a:lnTo>
                      <a:pt x="259" y="491"/>
                    </a:lnTo>
                    <a:lnTo>
                      <a:pt x="260" y="491"/>
                    </a:lnTo>
                    <a:lnTo>
                      <a:pt x="262" y="491"/>
                    </a:lnTo>
                    <a:lnTo>
                      <a:pt x="263" y="491"/>
                    </a:lnTo>
                    <a:lnTo>
                      <a:pt x="265" y="491"/>
                    </a:lnTo>
                    <a:lnTo>
                      <a:pt x="267" y="491"/>
                    </a:lnTo>
                    <a:lnTo>
                      <a:pt x="268" y="491"/>
                    </a:lnTo>
                    <a:lnTo>
                      <a:pt x="270" y="491"/>
                    </a:lnTo>
                    <a:lnTo>
                      <a:pt x="271" y="491"/>
                    </a:lnTo>
                    <a:lnTo>
                      <a:pt x="273" y="491"/>
                    </a:lnTo>
                    <a:lnTo>
                      <a:pt x="274" y="491"/>
                    </a:lnTo>
                    <a:lnTo>
                      <a:pt x="276" y="491"/>
                    </a:lnTo>
                    <a:lnTo>
                      <a:pt x="276" y="489"/>
                    </a:lnTo>
                    <a:lnTo>
                      <a:pt x="278" y="489"/>
                    </a:lnTo>
                    <a:lnTo>
                      <a:pt x="279" y="489"/>
                    </a:lnTo>
                    <a:lnTo>
                      <a:pt x="281" y="489"/>
                    </a:lnTo>
                    <a:lnTo>
                      <a:pt x="281" y="491"/>
                    </a:lnTo>
                    <a:lnTo>
                      <a:pt x="282" y="491"/>
                    </a:lnTo>
                    <a:lnTo>
                      <a:pt x="282" y="492"/>
                    </a:lnTo>
                    <a:lnTo>
                      <a:pt x="282" y="494"/>
                    </a:lnTo>
                    <a:lnTo>
                      <a:pt x="284" y="494"/>
                    </a:lnTo>
                    <a:lnTo>
                      <a:pt x="284" y="496"/>
                    </a:lnTo>
                    <a:lnTo>
                      <a:pt x="286" y="496"/>
                    </a:lnTo>
                    <a:lnTo>
                      <a:pt x="287" y="496"/>
                    </a:lnTo>
                    <a:lnTo>
                      <a:pt x="289" y="496"/>
                    </a:lnTo>
                    <a:lnTo>
                      <a:pt x="290" y="497"/>
                    </a:lnTo>
                    <a:lnTo>
                      <a:pt x="292" y="497"/>
                    </a:lnTo>
                    <a:lnTo>
                      <a:pt x="292" y="499"/>
                    </a:lnTo>
                    <a:lnTo>
                      <a:pt x="293" y="499"/>
                    </a:lnTo>
                    <a:lnTo>
                      <a:pt x="293" y="497"/>
                    </a:lnTo>
                    <a:lnTo>
                      <a:pt x="295" y="497"/>
                    </a:lnTo>
                    <a:lnTo>
                      <a:pt x="295" y="496"/>
                    </a:lnTo>
                    <a:lnTo>
                      <a:pt x="297" y="496"/>
                    </a:lnTo>
                    <a:lnTo>
                      <a:pt x="298" y="496"/>
                    </a:lnTo>
                    <a:lnTo>
                      <a:pt x="300" y="496"/>
                    </a:lnTo>
                    <a:lnTo>
                      <a:pt x="301" y="496"/>
                    </a:lnTo>
                    <a:lnTo>
                      <a:pt x="301" y="497"/>
                    </a:lnTo>
                    <a:lnTo>
                      <a:pt x="303" y="497"/>
                    </a:lnTo>
                    <a:lnTo>
                      <a:pt x="305" y="497"/>
                    </a:lnTo>
                    <a:lnTo>
                      <a:pt x="306" y="497"/>
                    </a:lnTo>
                    <a:lnTo>
                      <a:pt x="306" y="496"/>
                    </a:lnTo>
                    <a:lnTo>
                      <a:pt x="308" y="497"/>
                    </a:lnTo>
                    <a:lnTo>
                      <a:pt x="309" y="497"/>
                    </a:lnTo>
                    <a:lnTo>
                      <a:pt x="311" y="497"/>
                    </a:lnTo>
                    <a:lnTo>
                      <a:pt x="312" y="497"/>
                    </a:lnTo>
                    <a:lnTo>
                      <a:pt x="312" y="499"/>
                    </a:lnTo>
                    <a:lnTo>
                      <a:pt x="314" y="499"/>
                    </a:lnTo>
                    <a:lnTo>
                      <a:pt x="314" y="500"/>
                    </a:lnTo>
                    <a:lnTo>
                      <a:pt x="314" y="502"/>
                    </a:lnTo>
                    <a:lnTo>
                      <a:pt x="316" y="502"/>
                    </a:lnTo>
                    <a:lnTo>
                      <a:pt x="316" y="503"/>
                    </a:lnTo>
                    <a:lnTo>
                      <a:pt x="317" y="503"/>
                    </a:lnTo>
                    <a:lnTo>
                      <a:pt x="317" y="505"/>
                    </a:lnTo>
                    <a:lnTo>
                      <a:pt x="319" y="505"/>
                    </a:lnTo>
                    <a:lnTo>
                      <a:pt x="320" y="505"/>
                    </a:lnTo>
                    <a:lnTo>
                      <a:pt x="322" y="505"/>
                    </a:lnTo>
                    <a:lnTo>
                      <a:pt x="324" y="505"/>
                    </a:lnTo>
                    <a:lnTo>
                      <a:pt x="325" y="505"/>
                    </a:lnTo>
                    <a:lnTo>
                      <a:pt x="325" y="503"/>
                    </a:lnTo>
                    <a:lnTo>
                      <a:pt x="327" y="503"/>
                    </a:lnTo>
                    <a:lnTo>
                      <a:pt x="327" y="505"/>
                    </a:lnTo>
                    <a:lnTo>
                      <a:pt x="328" y="505"/>
                    </a:lnTo>
                    <a:lnTo>
                      <a:pt x="330" y="505"/>
                    </a:lnTo>
                    <a:lnTo>
                      <a:pt x="331" y="505"/>
                    </a:lnTo>
                    <a:lnTo>
                      <a:pt x="333" y="505"/>
                    </a:lnTo>
                    <a:lnTo>
                      <a:pt x="335" y="505"/>
                    </a:lnTo>
                    <a:lnTo>
                      <a:pt x="336" y="505"/>
                    </a:lnTo>
                    <a:lnTo>
                      <a:pt x="338" y="505"/>
                    </a:lnTo>
                    <a:lnTo>
                      <a:pt x="339" y="505"/>
                    </a:lnTo>
                    <a:lnTo>
                      <a:pt x="341" y="505"/>
                    </a:lnTo>
                    <a:lnTo>
                      <a:pt x="341" y="503"/>
                    </a:lnTo>
                    <a:lnTo>
                      <a:pt x="343" y="503"/>
                    </a:lnTo>
                    <a:lnTo>
                      <a:pt x="344" y="505"/>
                    </a:lnTo>
                    <a:lnTo>
                      <a:pt x="346" y="505"/>
                    </a:lnTo>
                    <a:lnTo>
                      <a:pt x="346" y="507"/>
                    </a:lnTo>
                    <a:lnTo>
                      <a:pt x="347" y="507"/>
                    </a:lnTo>
                    <a:lnTo>
                      <a:pt x="349" y="507"/>
                    </a:lnTo>
                    <a:lnTo>
                      <a:pt x="349" y="508"/>
                    </a:lnTo>
                    <a:lnTo>
                      <a:pt x="349" y="510"/>
                    </a:lnTo>
                    <a:lnTo>
                      <a:pt x="350" y="510"/>
                    </a:lnTo>
                    <a:lnTo>
                      <a:pt x="350" y="511"/>
                    </a:lnTo>
                    <a:lnTo>
                      <a:pt x="352" y="511"/>
                    </a:lnTo>
                    <a:lnTo>
                      <a:pt x="352" y="513"/>
                    </a:lnTo>
                    <a:lnTo>
                      <a:pt x="354" y="513"/>
                    </a:lnTo>
                    <a:lnTo>
                      <a:pt x="355" y="513"/>
                    </a:lnTo>
                    <a:lnTo>
                      <a:pt x="357" y="513"/>
                    </a:lnTo>
                    <a:lnTo>
                      <a:pt x="358" y="513"/>
                    </a:lnTo>
                    <a:lnTo>
                      <a:pt x="358" y="515"/>
                    </a:lnTo>
                    <a:lnTo>
                      <a:pt x="360" y="515"/>
                    </a:lnTo>
                    <a:lnTo>
                      <a:pt x="358" y="515"/>
                    </a:lnTo>
                    <a:lnTo>
                      <a:pt x="358" y="516"/>
                    </a:lnTo>
                    <a:lnTo>
                      <a:pt x="358" y="518"/>
                    </a:lnTo>
                    <a:lnTo>
                      <a:pt x="358" y="519"/>
                    </a:lnTo>
                    <a:lnTo>
                      <a:pt x="357" y="521"/>
                    </a:lnTo>
                    <a:lnTo>
                      <a:pt x="355" y="521"/>
                    </a:lnTo>
                    <a:lnTo>
                      <a:pt x="355" y="522"/>
                    </a:lnTo>
                    <a:lnTo>
                      <a:pt x="354" y="522"/>
                    </a:lnTo>
                    <a:lnTo>
                      <a:pt x="354" y="524"/>
                    </a:lnTo>
                    <a:lnTo>
                      <a:pt x="355" y="524"/>
                    </a:lnTo>
                    <a:lnTo>
                      <a:pt x="355" y="526"/>
                    </a:lnTo>
                    <a:lnTo>
                      <a:pt x="355" y="527"/>
                    </a:lnTo>
                    <a:lnTo>
                      <a:pt x="355" y="526"/>
                    </a:lnTo>
                    <a:lnTo>
                      <a:pt x="354" y="526"/>
                    </a:lnTo>
                    <a:lnTo>
                      <a:pt x="354" y="527"/>
                    </a:lnTo>
                    <a:lnTo>
                      <a:pt x="354" y="529"/>
                    </a:lnTo>
                    <a:lnTo>
                      <a:pt x="354" y="530"/>
                    </a:lnTo>
                    <a:lnTo>
                      <a:pt x="352" y="530"/>
                    </a:lnTo>
                    <a:lnTo>
                      <a:pt x="352" y="532"/>
                    </a:lnTo>
                    <a:lnTo>
                      <a:pt x="352" y="534"/>
                    </a:lnTo>
                    <a:lnTo>
                      <a:pt x="350" y="534"/>
                    </a:lnTo>
                    <a:lnTo>
                      <a:pt x="349" y="534"/>
                    </a:lnTo>
                    <a:lnTo>
                      <a:pt x="349" y="535"/>
                    </a:lnTo>
                    <a:lnTo>
                      <a:pt x="347" y="535"/>
                    </a:lnTo>
                    <a:lnTo>
                      <a:pt x="347" y="537"/>
                    </a:lnTo>
                    <a:lnTo>
                      <a:pt x="347" y="538"/>
                    </a:lnTo>
                    <a:lnTo>
                      <a:pt x="346" y="538"/>
                    </a:lnTo>
                    <a:lnTo>
                      <a:pt x="346" y="537"/>
                    </a:lnTo>
                    <a:lnTo>
                      <a:pt x="346" y="538"/>
                    </a:lnTo>
                    <a:lnTo>
                      <a:pt x="344" y="538"/>
                    </a:lnTo>
                    <a:lnTo>
                      <a:pt x="344" y="540"/>
                    </a:lnTo>
                    <a:lnTo>
                      <a:pt x="343" y="540"/>
                    </a:lnTo>
                    <a:lnTo>
                      <a:pt x="343" y="538"/>
                    </a:lnTo>
                    <a:lnTo>
                      <a:pt x="343" y="537"/>
                    </a:lnTo>
                    <a:lnTo>
                      <a:pt x="343" y="535"/>
                    </a:lnTo>
                    <a:lnTo>
                      <a:pt x="343" y="534"/>
                    </a:lnTo>
                    <a:lnTo>
                      <a:pt x="341" y="534"/>
                    </a:lnTo>
                    <a:lnTo>
                      <a:pt x="341" y="532"/>
                    </a:lnTo>
                    <a:lnTo>
                      <a:pt x="341" y="530"/>
                    </a:lnTo>
                    <a:lnTo>
                      <a:pt x="341" y="529"/>
                    </a:lnTo>
                    <a:lnTo>
                      <a:pt x="339" y="529"/>
                    </a:lnTo>
                    <a:lnTo>
                      <a:pt x="341" y="529"/>
                    </a:lnTo>
                    <a:lnTo>
                      <a:pt x="341" y="527"/>
                    </a:lnTo>
                    <a:lnTo>
                      <a:pt x="339" y="527"/>
                    </a:lnTo>
                    <a:lnTo>
                      <a:pt x="338" y="527"/>
                    </a:lnTo>
                    <a:lnTo>
                      <a:pt x="336" y="527"/>
                    </a:lnTo>
                    <a:lnTo>
                      <a:pt x="335" y="527"/>
                    </a:lnTo>
                    <a:lnTo>
                      <a:pt x="335" y="529"/>
                    </a:lnTo>
                    <a:lnTo>
                      <a:pt x="333" y="529"/>
                    </a:lnTo>
                    <a:lnTo>
                      <a:pt x="331" y="529"/>
                    </a:lnTo>
                    <a:lnTo>
                      <a:pt x="331" y="530"/>
                    </a:lnTo>
                    <a:lnTo>
                      <a:pt x="330" y="530"/>
                    </a:lnTo>
                    <a:lnTo>
                      <a:pt x="330" y="532"/>
                    </a:lnTo>
                    <a:lnTo>
                      <a:pt x="330" y="534"/>
                    </a:lnTo>
                    <a:lnTo>
                      <a:pt x="328" y="534"/>
                    </a:lnTo>
                    <a:lnTo>
                      <a:pt x="328" y="535"/>
                    </a:lnTo>
                    <a:lnTo>
                      <a:pt x="327" y="535"/>
                    </a:lnTo>
                    <a:lnTo>
                      <a:pt x="328" y="535"/>
                    </a:lnTo>
                    <a:lnTo>
                      <a:pt x="327" y="534"/>
                    </a:lnTo>
                    <a:lnTo>
                      <a:pt x="327" y="532"/>
                    </a:lnTo>
                    <a:lnTo>
                      <a:pt x="327" y="530"/>
                    </a:lnTo>
                    <a:lnTo>
                      <a:pt x="325" y="530"/>
                    </a:lnTo>
                    <a:lnTo>
                      <a:pt x="325" y="532"/>
                    </a:lnTo>
                    <a:lnTo>
                      <a:pt x="324" y="532"/>
                    </a:lnTo>
                    <a:lnTo>
                      <a:pt x="324" y="534"/>
                    </a:lnTo>
                    <a:lnTo>
                      <a:pt x="322" y="534"/>
                    </a:lnTo>
                    <a:lnTo>
                      <a:pt x="322" y="535"/>
                    </a:lnTo>
                    <a:lnTo>
                      <a:pt x="320" y="535"/>
                    </a:lnTo>
                    <a:lnTo>
                      <a:pt x="319" y="535"/>
                    </a:lnTo>
                    <a:lnTo>
                      <a:pt x="317" y="535"/>
                    </a:lnTo>
                    <a:lnTo>
                      <a:pt x="316" y="537"/>
                    </a:lnTo>
                    <a:lnTo>
                      <a:pt x="316" y="535"/>
                    </a:lnTo>
                    <a:lnTo>
                      <a:pt x="314" y="535"/>
                    </a:lnTo>
                    <a:lnTo>
                      <a:pt x="314" y="537"/>
                    </a:lnTo>
                    <a:lnTo>
                      <a:pt x="312" y="537"/>
                    </a:lnTo>
                    <a:lnTo>
                      <a:pt x="311" y="537"/>
                    </a:lnTo>
                    <a:lnTo>
                      <a:pt x="311" y="535"/>
                    </a:lnTo>
                    <a:lnTo>
                      <a:pt x="309" y="535"/>
                    </a:lnTo>
                    <a:lnTo>
                      <a:pt x="308" y="535"/>
                    </a:lnTo>
                    <a:lnTo>
                      <a:pt x="308" y="534"/>
                    </a:lnTo>
                    <a:lnTo>
                      <a:pt x="308" y="532"/>
                    </a:lnTo>
                    <a:lnTo>
                      <a:pt x="308" y="530"/>
                    </a:lnTo>
                    <a:lnTo>
                      <a:pt x="309" y="530"/>
                    </a:lnTo>
                    <a:lnTo>
                      <a:pt x="309" y="529"/>
                    </a:lnTo>
                    <a:lnTo>
                      <a:pt x="309" y="527"/>
                    </a:lnTo>
                    <a:lnTo>
                      <a:pt x="309" y="526"/>
                    </a:lnTo>
                    <a:lnTo>
                      <a:pt x="309" y="524"/>
                    </a:lnTo>
                    <a:lnTo>
                      <a:pt x="308" y="522"/>
                    </a:lnTo>
                    <a:lnTo>
                      <a:pt x="306" y="522"/>
                    </a:lnTo>
                    <a:lnTo>
                      <a:pt x="305" y="522"/>
                    </a:lnTo>
                    <a:lnTo>
                      <a:pt x="303" y="521"/>
                    </a:lnTo>
                    <a:lnTo>
                      <a:pt x="301" y="521"/>
                    </a:lnTo>
                    <a:lnTo>
                      <a:pt x="301" y="519"/>
                    </a:lnTo>
                    <a:lnTo>
                      <a:pt x="300" y="519"/>
                    </a:lnTo>
                    <a:lnTo>
                      <a:pt x="298" y="519"/>
                    </a:lnTo>
                    <a:lnTo>
                      <a:pt x="298" y="518"/>
                    </a:lnTo>
                    <a:lnTo>
                      <a:pt x="297" y="518"/>
                    </a:lnTo>
                    <a:lnTo>
                      <a:pt x="295" y="518"/>
                    </a:lnTo>
                  </a:path>
                </a:pathLst>
              </a:custGeom>
              <a:noFill/>
              <a:ln w="476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22" name="Freeform 20"/>
              <p:cNvSpPr>
                <a:spLocks/>
              </p:cNvSpPr>
              <p:nvPr/>
            </p:nvSpPr>
            <p:spPr bwMode="auto">
              <a:xfrm>
                <a:off x="2105" y="1977"/>
                <a:ext cx="448" cy="358"/>
              </a:xfrm>
              <a:custGeom>
                <a:avLst/>
                <a:gdLst>
                  <a:gd name="T0" fmla="*/ 431 w 448"/>
                  <a:gd name="T1" fmla="*/ 10 h 358"/>
                  <a:gd name="T2" fmla="*/ 415 w 448"/>
                  <a:gd name="T3" fmla="*/ 16 h 358"/>
                  <a:gd name="T4" fmla="*/ 396 w 448"/>
                  <a:gd name="T5" fmla="*/ 24 h 358"/>
                  <a:gd name="T6" fmla="*/ 383 w 448"/>
                  <a:gd name="T7" fmla="*/ 40 h 358"/>
                  <a:gd name="T8" fmla="*/ 369 w 448"/>
                  <a:gd name="T9" fmla="*/ 32 h 358"/>
                  <a:gd name="T10" fmla="*/ 372 w 448"/>
                  <a:gd name="T11" fmla="*/ 14 h 358"/>
                  <a:gd name="T12" fmla="*/ 374 w 448"/>
                  <a:gd name="T13" fmla="*/ 0 h 358"/>
                  <a:gd name="T14" fmla="*/ 351 w 448"/>
                  <a:gd name="T15" fmla="*/ 3 h 358"/>
                  <a:gd name="T16" fmla="*/ 337 w 448"/>
                  <a:gd name="T17" fmla="*/ 16 h 358"/>
                  <a:gd name="T18" fmla="*/ 326 w 448"/>
                  <a:gd name="T19" fmla="*/ 32 h 358"/>
                  <a:gd name="T20" fmla="*/ 313 w 448"/>
                  <a:gd name="T21" fmla="*/ 46 h 358"/>
                  <a:gd name="T22" fmla="*/ 307 w 448"/>
                  <a:gd name="T23" fmla="*/ 60 h 358"/>
                  <a:gd name="T24" fmla="*/ 301 w 448"/>
                  <a:gd name="T25" fmla="*/ 76 h 358"/>
                  <a:gd name="T26" fmla="*/ 283 w 448"/>
                  <a:gd name="T27" fmla="*/ 79 h 358"/>
                  <a:gd name="T28" fmla="*/ 266 w 448"/>
                  <a:gd name="T29" fmla="*/ 87 h 358"/>
                  <a:gd name="T30" fmla="*/ 245 w 448"/>
                  <a:gd name="T31" fmla="*/ 106 h 358"/>
                  <a:gd name="T32" fmla="*/ 247 w 448"/>
                  <a:gd name="T33" fmla="*/ 130 h 358"/>
                  <a:gd name="T34" fmla="*/ 245 w 448"/>
                  <a:gd name="T35" fmla="*/ 144 h 358"/>
                  <a:gd name="T36" fmla="*/ 258 w 448"/>
                  <a:gd name="T37" fmla="*/ 159 h 358"/>
                  <a:gd name="T38" fmla="*/ 248 w 448"/>
                  <a:gd name="T39" fmla="*/ 166 h 358"/>
                  <a:gd name="T40" fmla="*/ 250 w 448"/>
                  <a:gd name="T41" fmla="*/ 189 h 358"/>
                  <a:gd name="T42" fmla="*/ 252 w 448"/>
                  <a:gd name="T43" fmla="*/ 200 h 358"/>
                  <a:gd name="T44" fmla="*/ 266 w 448"/>
                  <a:gd name="T45" fmla="*/ 214 h 358"/>
                  <a:gd name="T46" fmla="*/ 279 w 448"/>
                  <a:gd name="T47" fmla="*/ 227 h 358"/>
                  <a:gd name="T48" fmla="*/ 294 w 448"/>
                  <a:gd name="T49" fmla="*/ 228 h 358"/>
                  <a:gd name="T50" fmla="*/ 304 w 448"/>
                  <a:gd name="T51" fmla="*/ 244 h 358"/>
                  <a:gd name="T52" fmla="*/ 302 w 448"/>
                  <a:gd name="T53" fmla="*/ 262 h 358"/>
                  <a:gd name="T54" fmla="*/ 307 w 448"/>
                  <a:gd name="T55" fmla="*/ 279 h 358"/>
                  <a:gd name="T56" fmla="*/ 301 w 448"/>
                  <a:gd name="T57" fmla="*/ 287 h 358"/>
                  <a:gd name="T58" fmla="*/ 293 w 448"/>
                  <a:gd name="T59" fmla="*/ 292 h 358"/>
                  <a:gd name="T60" fmla="*/ 271 w 448"/>
                  <a:gd name="T61" fmla="*/ 285 h 358"/>
                  <a:gd name="T62" fmla="*/ 256 w 448"/>
                  <a:gd name="T63" fmla="*/ 300 h 358"/>
                  <a:gd name="T64" fmla="*/ 267 w 448"/>
                  <a:gd name="T65" fmla="*/ 311 h 358"/>
                  <a:gd name="T66" fmla="*/ 277 w 448"/>
                  <a:gd name="T67" fmla="*/ 315 h 358"/>
                  <a:gd name="T68" fmla="*/ 269 w 448"/>
                  <a:gd name="T69" fmla="*/ 331 h 358"/>
                  <a:gd name="T70" fmla="*/ 261 w 448"/>
                  <a:gd name="T71" fmla="*/ 346 h 358"/>
                  <a:gd name="T72" fmla="*/ 245 w 448"/>
                  <a:gd name="T73" fmla="*/ 357 h 358"/>
                  <a:gd name="T74" fmla="*/ 228 w 448"/>
                  <a:gd name="T75" fmla="*/ 347 h 358"/>
                  <a:gd name="T76" fmla="*/ 222 w 448"/>
                  <a:gd name="T77" fmla="*/ 325 h 358"/>
                  <a:gd name="T78" fmla="*/ 206 w 448"/>
                  <a:gd name="T79" fmla="*/ 320 h 358"/>
                  <a:gd name="T80" fmla="*/ 195 w 448"/>
                  <a:gd name="T81" fmla="*/ 304 h 358"/>
                  <a:gd name="T82" fmla="*/ 180 w 448"/>
                  <a:gd name="T83" fmla="*/ 293 h 358"/>
                  <a:gd name="T84" fmla="*/ 160 w 448"/>
                  <a:gd name="T85" fmla="*/ 295 h 358"/>
                  <a:gd name="T86" fmla="*/ 139 w 448"/>
                  <a:gd name="T87" fmla="*/ 293 h 358"/>
                  <a:gd name="T88" fmla="*/ 139 w 448"/>
                  <a:gd name="T89" fmla="*/ 273 h 358"/>
                  <a:gd name="T90" fmla="*/ 149 w 448"/>
                  <a:gd name="T91" fmla="*/ 262 h 358"/>
                  <a:gd name="T92" fmla="*/ 136 w 448"/>
                  <a:gd name="T93" fmla="*/ 247 h 358"/>
                  <a:gd name="T94" fmla="*/ 120 w 448"/>
                  <a:gd name="T95" fmla="*/ 239 h 358"/>
                  <a:gd name="T96" fmla="*/ 112 w 448"/>
                  <a:gd name="T97" fmla="*/ 219 h 358"/>
                  <a:gd name="T98" fmla="*/ 107 w 448"/>
                  <a:gd name="T99" fmla="*/ 200 h 358"/>
                  <a:gd name="T100" fmla="*/ 88 w 448"/>
                  <a:gd name="T101" fmla="*/ 198 h 358"/>
                  <a:gd name="T102" fmla="*/ 74 w 448"/>
                  <a:gd name="T103" fmla="*/ 187 h 358"/>
                  <a:gd name="T104" fmla="*/ 58 w 448"/>
                  <a:gd name="T105" fmla="*/ 189 h 358"/>
                  <a:gd name="T106" fmla="*/ 39 w 448"/>
                  <a:gd name="T107" fmla="*/ 182 h 358"/>
                  <a:gd name="T108" fmla="*/ 30 w 448"/>
                  <a:gd name="T109" fmla="*/ 176 h 358"/>
                  <a:gd name="T110" fmla="*/ 28 w 448"/>
                  <a:gd name="T111" fmla="*/ 160 h 358"/>
                  <a:gd name="T112" fmla="*/ 25 w 448"/>
                  <a:gd name="T113" fmla="*/ 146 h 358"/>
                  <a:gd name="T114" fmla="*/ 31 w 448"/>
                  <a:gd name="T115" fmla="*/ 138 h 358"/>
                  <a:gd name="T116" fmla="*/ 16 w 448"/>
                  <a:gd name="T117" fmla="*/ 136 h 358"/>
                  <a:gd name="T118" fmla="*/ 3 w 448"/>
                  <a:gd name="T119" fmla="*/ 127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8" h="358">
                    <a:moveTo>
                      <a:pt x="448" y="21"/>
                    </a:moveTo>
                    <a:lnTo>
                      <a:pt x="448" y="19"/>
                    </a:lnTo>
                    <a:lnTo>
                      <a:pt x="446" y="19"/>
                    </a:lnTo>
                    <a:lnTo>
                      <a:pt x="445" y="19"/>
                    </a:lnTo>
                    <a:lnTo>
                      <a:pt x="445" y="18"/>
                    </a:lnTo>
                    <a:lnTo>
                      <a:pt x="443" y="18"/>
                    </a:lnTo>
                    <a:lnTo>
                      <a:pt x="442" y="18"/>
                    </a:lnTo>
                    <a:lnTo>
                      <a:pt x="440" y="16"/>
                    </a:lnTo>
                    <a:lnTo>
                      <a:pt x="439" y="16"/>
                    </a:lnTo>
                    <a:lnTo>
                      <a:pt x="439" y="14"/>
                    </a:lnTo>
                    <a:lnTo>
                      <a:pt x="437" y="14"/>
                    </a:lnTo>
                    <a:lnTo>
                      <a:pt x="435" y="13"/>
                    </a:lnTo>
                    <a:lnTo>
                      <a:pt x="434" y="13"/>
                    </a:lnTo>
                    <a:lnTo>
                      <a:pt x="434" y="11"/>
                    </a:lnTo>
                    <a:lnTo>
                      <a:pt x="432" y="11"/>
                    </a:lnTo>
                    <a:lnTo>
                      <a:pt x="432" y="10"/>
                    </a:lnTo>
                    <a:lnTo>
                      <a:pt x="431" y="10"/>
                    </a:lnTo>
                    <a:lnTo>
                      <a:pt x="431" y="8"/>
                    </a:lnTo>
                    <a:lnTo>
                      <a:pt x="429" y="8"/>
                    </a:lnTo>
                    <a:lnTo>
                      <a:pt x="427" y="8"/>
                    </a:lnTo>
                    <a:lnTo>
                      <a:pt x="426" y="8"/>
                    </a:lnTo>
                    <a:lnTo>
                      <a:pt x="424" y="8"/>
                    </a:lnTo>
                    <a:lnTo>
                      <a:pt x="423" y="8"/>
                    </a:lnTo>
                    <a:lnTo>
                      <a:pt x="421" y="8"/>
                    </a:lnTo>
                    <a:lnTo>
                      <a:pt x="421" y="10"/>
                    </a:lnTo>
                    <a:lnTo>
                      <a:pt x="420" y="10"/>
                    </a:lnTo>
                    <a:lnTo>
                      <a:pt x="418" y="10"/>
                    </a:lnTo>
                    <a:lnTo>
                      <a:pt x="418" y="11"/>
                    </a:lnTo>
                    <a:lnTo>
                      <a:pt x="416" y="11"/>
                    </a:lnTo>
                    <a:lnTo>
                      <a:pt x="416" y="13"/>
                    </a:lnTo>
                    <a:lnTo>
                      <a:pt x="418" y="14"/>
                    </a:lnTo>
                    <a:lnTo>
                      <a:pt x="416" y="14"/>
                    </a:lnTo>
                    <a:lnTo>
                      <a:pt x="415" y="14"/>
                    </a:lnTo>
                    <a:lnTo>
                      <a:pt x="415" y="16"/>
                    </a:lnTo>
                    <a:lnTo>
                      <a:pt x="413" y="16"/>
                    </a:lnTo>
                    <a:lnTo>
                      <a:pt x="412" y="16"/>
                    </a:lnTo>
                    <a:lnTo>
                      <a:pt x="412" y="18"/>
                    </a:lnTo>
                    <a:lnTo>
                      <a:pt x="410" y="18"/>
                    </a:lnTo>
                    <a:lnTo>
                      <a:pt x="408" y="18"/>
                    </a:lnTo>
                    <a:lnTo>
                      <a:pt x="408" y="19"/>
                    </a:lnTo>
                    <a:lnTo>
                      <a:pt x="407" y="19"/>
                    </a:lnTo>
                    <a:lnTo>
                      <a:pt x="405" y="19"/>
                    </a:lnTo>
                    <a:lnTo>
                      <a:pt x="405" y="21"/>
                    </a:lnTo>
                    <a:lnTo>
                      <a:pt x="404" y="21"/>
                    </a:lnTo>
                    <a:lnTo>
                      <a:pt x="402" y="21"/>
                    </a:lnTo>
                    <a:lnTo>
                      <a:pt x="402" y="22"/>
                    </a:lnTo>
                    <a:lnTo>
                      <a:pt x="401" y="22"/>
                    </a:lnTo>
                    <a:lnTo>
                      <a:pt x="401" y="24"/>
                    </a:lnTo>
                    <a:lnTo>
                      <a:pt x="399" y="24"/>
                    </a:lnTo>
                    <a:lnTo>
                      <a:pt x="397" y="24"/>
                    </a:lnTo>
                    <a:lnTo>
                      <a:pt x="396" y="24"/>
                    </a:lnTo>
                    <a:lnTo>
                      <a:pt x="396" y="25"/>
                    </a:lnTo>
                    <a:lnTo>
                      <a:pt x="394" y="25"/>
                    </a:lnTo>
                    <a:lnTo>
                      <a:pt x="394" y="27"/>
                    </a:lnTo>
                    <a:lnTo>
                      <a:pt x="394" y="29"/>
                    </a:lnTo>
                    <a:lnTo>
                      <a:pt x="394" y="30"/>
                    </a:lnTo>
                    <a:lnTo>
                      <a:pt x="394" y="32"/>
                    </a:lnTo>
                    <a:lnTo>
                      <a:pt x="394" y="33"/>
                    </a:lnTo>
                    <a:lnTo>
                      <a:pt x="394" y="35"/>
                    </a:lnTo>
                    <a:lnTo>
                      <a:pt x="394" y="37"/>
                    </a:lnTo>
                    <a:lnTo>
                      <a:pt x="393" y="37"/>
                    </a:lnTo>
                    <a:lnTo>
                      <a:pt x="393" y="38"/>
                    </a:lnTo>
                    <a:lnTo>
                      <a:pt x="391" y="38"/>
                    </a:lnTo>
                    <a:lnTo>
                      <a:pt x="389" y="38"/>
                    </a:lnTo>
                    <a:lnTo>
                      <a:pt x="388" y="38"/>
                    </a:lnTo>
                    <a:lnTo>
                      <a:pt x="386" y="38"/>
                    </a:lnTo>
                    <a:lnTo>
                      <a:pt x="385" y="38"/>
                    </a:lnTo>
                    <a:lnTo>
                      <a:pt x="383" y="40"/>
                    </a:lnTo>
                    <a:lnTo>
                      <a:pt x="381" y="40"/>
                    </a:lnTo>
                    <a:lnTo>
                      <a:pt x="380" y="40"/>
                    </a:lnTo>
                    <a:lnTo>
                      <a:pt x="378" y="40"/>
                    </a:lnTo>
                    <a:lnTo>
                      <a:pt x="377" y="38"/>
                    </a:lnTo>
                    <a:lnTo>
                      <a:pt x="375" y="38"/>
                    </a:lnTo>
                    <a:lnTo>
                      <a:pt x="374" y="38"/>
                    </a:lnTo>
                    <a:lnTo>
                      <a:pt x="374" y="37"/>
                    </a:lnTo>
                    <a:lnTo>
                      <a:pt x="372" y="37"/>
                    </a:lnTo>
                    <a:lnTo>
                      <a:pt x="372" y="35"/>
                    </a:lnTo>
                    <a:lnTo>
                      <a:pt x="370" y="35"/>
                    </a:lnTo>
                    <a:lnTo>
                      <a:pt x="369" y="35"/>
                    </a:lnTo>
                    <a:lnTo>
                      <a:pt x="367" y="35"/>
                    </a:lnTo>
                    <a:lnTo>
                      <a:pt x="367" y="33"/>
                    </a:lnTo>
                    <a:lnTo>
                      <a:pt x="367" y="35"/>
                    </a:lnTo>
                    <a:lnTo>
                      <a:pt x="367" y="33"/>
                    </a:lnTo>
                    <a:lnTo>
                      <a:pt x="367" y="32"/>
                    </a:lnTo>
                    <a:lnTo>
                      <a:pt x="369" y="32"/>
                    </a:lnTo>
                    <a:lnTo>
                      <a:pt x="369" y="30"/>
                    </a:lnTo>
                    <a:lnTo>
                      <a:pt x="369" y="29"/>
                    </a:lnTo>
                    <a:lnTo>
                      <a:pt x="369" y="27"/>
                    </a:lnTo>
                    <a:lnTo>
                      <a:pt x="367" y="25"/>
                    </a:lnTo>
                    <a:lnTo>
                      <a:pt x="367" y="24"/>
                    </a:lnTo>
                    <a:lnTo>
                      <a:pt x="367" y="22"/>
                    </a:lnTo>
                    <a:lnTo>
                      <a:pt x="369" y="22"/>
                    </a:lnTo>
                    <a:lnTo>
                      <a:pt x="369" y="21"/>
                    </a:lnTo>
                    <a:lnTo>
                      <a:pt x="370" y="19"/>
                    </a:lnTo>
                    <a:lnTo>
                      <a:pt x="369" y="19"/>
                    </a:lnTo>
                    <a:lnTo>
                      <a:pt x="370" y="19"/>
                    </a:lnTo>
                    <a:lnTo>
                      <a:pt x="370" y="18"/>
                    </a:lnTo>
                    <a:lnTo>
                      <a:pt x="372" y="18"/>
                    </a:lnTo>
                    <a:lnTo>
                      <a:pt x="372" y="16"/>
                    </a:lnTo>
                    <a:lnTo>
                      <a:pt x="372" y="14"/>
                    </a:lnTo>
                    <a:lnTo>
                      <a:pt x="370" y="14"/>
                    </a:lnTo>
                    <a:lnTo>
                      <a:pt x="372" y="14"/>
                    </a:lnTo>
                    <a:lnTo>
                      <a:pt x="372" y="13"/>
                    </a:lnTo>
                    <a:lnTo>
                      <a:pt x="374" y="13"/>
                    </a:lnTo>
                    <a:lnTo>
                      <a:pt x="374" y="11"/>
                    </a:lnTo>
                    <a:lnTo>
                      <a:pt x="375" y="13"/>
                    </a:lnTo>
                    <a:lnTo>
                      <a:pt x="375" y="11"/>
                    </a:lnTo>
                    <a:lnTo>
                      <a:pt x="375" y="10"/>
                    </a:lnTo>
                    <a:lnTo>
                      <a:pt x="374" y="8"/>
                    </a:lnTo>
                    <a:lnTo>
                      <a:pt x="375" y="8"/>
                    </a:lnTo>
                    <a:lnTo>
                      <a:pt x="374" y="8"/>
                    </a:lnTo>
                    <a:lnTo>
                      <a:pt x="374" y="6"/>
                    </a:lnTo>
                    <a:lnTo>
                      <a:pt x="375" y="5"/>
                    </a:lnTo>
                    <a:lnTo>
                      <a:pt x="375" y="3"/>
                    </a:lnTo>
                    <a:lnTo>
                      <a:pt x="375" y="2"/>
                    </a:lnTo>
                    <a:lnTo>
                      <a:pt x="374" y="2"/>
                    </a:lnTo>
                    <a:lnTo>
                      <a:pt x="374" y="0"/>
                    </a:lnTo>
                    <a:lnTo>
                      <a:pt x="375" y="0"/>
                    </a:lnTo>
                    <a:lnTo>
                      <a:pt x="374" y="0"/>
                    </a:lnTo>
                    <a:lnTo>
                      <a:pt x="372" y="0"/>
                    </a:lnTo>
                    <a:lnTo>
                      <a:pt x="370" y="0"/>
                    </a:lnTo>
                    <a:lnTo>
                      <a:pt x="369" y="0"/>
                    </a:lnTo>
                    <a:lnTo>
                      <a:pt x="369" y="2"/>
                    </a:lnTo>
                    <a:lnTo>
                      <a:pt x="367" y="2"/>
                    </a:lnTo>
                    <a:lnTo>
                      <a:pt x="366" y="2"/>
                    </a:lnTo>
                    <a:lnTo>
                      <a:pt x="364" y="2"/>
                    </a:lnTo>
                    <a:lnTo>
                      <a:pt x="362" y="2"/>
                    </a:lnTo>
                    <a:lnTo>
                      <a:pt x="361" y="2"/>
                    </a:lnTo>
                    <a:lnTo>
                      <a:pt x="361" y="0"/>
                    </a:lnTo>
                    <a:lnTo>
                      <a:pt x="359" y="0"/>
                    </a:lnTo>
                    <a:lnTo>
                      <a:pt x="358" y="0"/>
                    </a:lnTo>
                    <a:lnTo>
                      <a:pt x="356" y="0"/>
                    </a:lnTo>
                    <a:lnTo>
                      <a:pt x="355" y="0"/>
                    </a:lnTo>
                    <a:lnTo>
                      <a:pt x="355" y="2"/>
                    </a:lnTo>
                    <a:lnTo>
                      <a:pt x="353" y="2"/>
                    </a:lnTo>
                    <a:lnTo>
                      <a:pt x="351" y="3"/>
                    </a:lnTo>
                    <a:lnTo>
                      <a:pt x="350" y="3"/>
                    </a:lnTo>
                    <a:lnTo>
                      <a:pt x="350" y="5"/>
                    </a:lnTo>
                    <a:lnTo>
                      <a:pt x="348" y="5"/>
                    </a:lnTo>
                    <a:lnTo>
                      <a:pt x="348" y="6"/>
                    </a:lnTo>
                    <a:lnTo>
                      <a:pt x="347" y="6"/>
                    </a:lnTo>
                    <a:lnTo>
                      <a:pt x="347" y="8"/>
                    </a:lnTo>
                    <a:lnTo>
                      <a:pt x="345" y="8"/>
                    </a:lnTo>
                    <a:lnTo>
                      <a:pt x="345" y="10"/>
                    </a:lnTo>
                    <a:lnTo>
                      <a:pt x="343" y="10"/>
                    </a:lnTo>
                    <a:lnTo>
                      <a:pt x="343" y="11"/>
                    </a:lnTo>
                    <a:lnTo>
                      <a:pt x="342" y="11"/>
                    </a:lnTo>
                    <a:lnTo>
                      <a:pt x="342" y="13"/>
                    </a:lnTo>
                    <a:lnTo>
                      <a:pt x="340" y="13"/>
                    </a:lnTo>
                    <a:lnTo>
                      <a:pt x="340" y="14"/>
                    </a:lnTo>
                    <a:lnTo>
                      <a:pt x="339" y="14"/>
                    </a:lnTo>
                    <a:lnTo>
                      <a:pt x="339" y="16"/>
                    </a:lnTo>
                    <a:lnTo>
                      <a:pt x="337" y="16"/>
                    </a:lnTo>
                    <a:lnTo>
                      <a:pt x="337" y="18"/>
                    </a:lnTo>
                    <a:lnTo>
                      <a:pt x="337" y="19"/>
                    </a:lnTo>
                    <a:lnTo>
                      <a:pt x="336" y="19"/>
                    </a:lnTo>
                    <a:lnTo>
                      <a:pt x="336" y="21"/>
                    </a:lnTo>
                    <a:lnTo>
                      <a:pt x="334" y="21"/>
                    </a:lnTo>
                    <a:lnTo>
                      <a:pt x="334" y="22"/>
                    </a:lnTo>
                    <a:lnTo>
                      <a:pt x="332" y="22"/>
                    </a:lnTo>
                    <a:lnTo>
                      <a:pt x="332" y="24"/>
                    </a:lnTo>
                    <a:lnTo>
                      <a:pt x="331" y="24"/>
                    </a:lnTo>
                    <a:lnTo>
                      <a:pt x="331" y="25"/>
                    </a:lnTo>
                    <a:lnTo>
                      <a:pt x="329" y="25"/>
                    </a:lnTo>
                    <a:lnTo>
                      <a:pt x="328" y="25"/>
                    </a:lnTo>
                    <a:lnTo>
                      <a:pt x="328" y="27"/>
                    </a:lnTo>
                    <a:lnTo>
                      <a:pt x="326" y="27"/>
                    </a:lnTo>
                    <a:lnTo>
                      <a:pt x="326" y="29"/>
                    </a:lnTo>
                    <a:lnTo>
                      <a:pt x="326" y="30"/>
                    </a:lnTo>
                    <a:lnTo>
                      <a:pt x="326" y="32"/>
                    </a:lnTo>
                    <a:lnTo>
                      <a:pt x="326" y="33"/>
                    </a:lnTo>
                    <a:lnTo>
                      <a:pt x="324" y="33"/>
                    </a:lnTo>
                    <a:lnTo>
                      <a:pt x="324" y="35"/>
                    </a:lnTo>
                    <a:lnTo>
                      <a:pt x="324" y="37"/>
                    </a:lnTo>
                    <a:lnTo>
                      <a:pt x="323" y="37"/>
                    </a:lnTo>
                    <a:lnTo>
                      <a:pt x="321" y="37"/>
                    </a:lnTo>
                    <a:lnTo>
                      <a:pt x="320" y="37"/>
                    </a:lnTo>
                    <a:lnTo>
                      <a:pt x="318" y="37"/>
                    </a:lnTo>
                    <a:lnTo>
                      <a:pt x="318" y="38"/>
                    </a:lnTo>
                    <a:lnTo>
                      <a:pt x="318" y="40"/>
                    </a:lnTo>
                    <a:lnTo>
                      <a:pt x="318" y="41"/>
                    </a:lnTo>
                    <a:lnTo>
                      <a:pt x="318" y="43"/>
                    </a:lnTo>
                    <a:lnTo>
                      <a:pt x="318" y="44"/>
                    </a:lnTo>
                    <a:lnTo>
                      <a:pt x="317" y="44"/>
                    </a:lnTo>
                    <a:lnTo>
                      <a:pt x="315" y="44"/>
                    </a:lnTo>
                    <a:lnTo>
                      <a:pt x="315" y="46"/>
                    </a:lnTo>
                    <a:lnTo>
                      <a:pt x="313" y="46"/>
                    </a:lnTo>
                    <a:lnTo>
                      <a:pt x="313" y="48"/>
                    </a:lnTo>
                    <a:lnTo>
                      <a:pt x="312" y="48"/>
                    </a:lnTo>
                    <a:lnTo>
                      <a:pt x="310" y="48"/>
                    </a:lnTo>
                    <a:lnTo>
                      <a:pt x="310" y="49"/>
                    </a:lnTo>
                    <a:lnTo>
                      <a:pt x="310" y="51"/>
                    </a:lnTo>
                    <a:lnTo>
                      <a:pt x="312" y="51"/>
                    </a:lnTo>
                    <a:lnTo>
                      <a:pt x="312" y="52"/>
                    </a:lnTo>
                    <a:lnTo>
                      <a:pt x="312" y="54"/>
                    </a:lnTo>
                    <a:lnTo>
                      <a:pt x="312" y="56"/>
                    </a:lnTo>
                    <a:lnTo>
                      <a:pt x="313" y="56"/>
                    </a:lnTo>
                    <a:lnTo>
                      <a:pt x="313" y="57"/>
                    </a:lnTo>
                    <a:lnTo>
                      <a:pt x="313" y="59"/>
                    </a:lnTo>
                    <a:lnTo>
                      <a:pt x="313" y="60"/>
                    </a:lnTo>
                    <a:lnTo>
                      <a:pt x="312" y="60"/>
                    </a:lnTo>
                    <a:lnTo>
                      <a:pt x="310" y="60"/>
                    </a:lnTo>
                    <a:lnTo>
                      <a:pt x="309" y="60"/>
                    </a:lnTo>
                    <a:lnTo>
                      <a:pt x="307" y="60"/>
                    </a:lnTo>
                    <a:lnTo>
                      <a:pt x="307" y="62"/>
                    </a:lnTo>
                    <a:lnTo>
                      <a:pt x="307" y="63"/>
                    </a:lnTo>
                    <a:lnTo>
                      <a:pt x="307" y="65"/>
                    </a:lnTo>
                    <a:lnTo>
                      <a:pt x="307" y="67"/>
                    </a:lnTo>
                    <a:lnTo>
                      <a:pt x="305" y="67"/>
                    </a:lnTo>
                    <a:lnTo>
                      <a:pt x="305" y="65"/>
                    </a:lnTo>
                    <a:lnTo>
                      <a:pt x="305" y="67"/>
                    </a:lnTo>
                    <a:lnTo>
                      <a:pt x="305" y="68"/>
                    </a:lnTo>
                    <a:lnTo>
                      <a:pt x="307" y="68"/>
                    </a:lnTo>
                    <a:lnTo>
                      <a:pt x="305" y="70"/>
                    </a:lnTo>
                    <a:lnTo>
                      <a:pt x="305" y="71"/>
                    </a:lnTo>
                    <a:lnTo>
                      <a:pt x="304" y="71"/>
                    </a:lnTo>
                    <a:lnTo>
                      <a:pt x="304" y="73"/>
                    </a:lnTo>
                    <a:lnTo>
                      <a:pt x="302" y="73"/>
                    </a:lnTo>
                    <a:lnTo>
                      <a:pt x="302" y="75"/>
                    </a:lnTo>
                    <a:lnTo>
                      <a:pt x="302" y="76"/>
                    </a:lnTo>
                    <a:lnTo>
                      <a:pt x="301" y="76"/>
                    </a:lnTo>
                    <a:lnTo>
                      <a:pt x="299" y="78"/>
                    </a:lnTo>
                    <a:lnTo>
                      <a:pt x="298" y="78"/>
                    </a:lnTo>
                    <a:lnTo>
                      <a:pt x="298" y="76"/>
                    </a:lnTo>
                    <a:lnTo>
                      <a:pt x="296" y="76"/>
                    </a:lnTo>
                    <a:lnTo>
                      <a:pt x="294" y="76"/>
                    </a:lnTo>
                    <a:lnTo>
                      <a:pt x="293" y="76"/>
                    </a:lnTo>
                    <a:lnTo>
                      <a:pt x="291" y="76"/>
                    </a:lnTo>
                    <a:lnTo>
                      <a:pt x="290" y="76"/>
                    </a:lnTo>
                    <a:lnTo>
                      <a:pt x="288" y="76"/>
                    </a:lnTo>
                    <a:lnTo>
                      <a:pt x="288" y="78"/>
                    </a:lnTo>
                    <a:lnTo>
                      <a:pt x="288" y="79"/>
                    </a:lnTo>
                    <a:lnTo>
                      <a:pt x="286" y="81"/>
                    </a:lnTo>
                    <a:lnTo>
                      <a:pt x="286" y="79"/>
                    </a:lnTo>
                    <a:lnTo>
                      <a:pt x="285" y="79"/>
                    </a:lnTo>
                    <a:lnTo>
                      <a:pt x="283" y="79"/>
                    </a:lnTo>
                    <a:lnTo>
                      <a:pt x="283" y="78"/>
                    </a:lnTo>
                    <a:lnTo>
                      <a:pt x="283" y="79"/>
                    </a:lnTo>
                    <a:lnTo>
                      <a:pt x="282" y="79"/>
                    </a:lnTo>
                    <a:lnTo>
                      <a:pt x="280" y="79"/>
                    </a:lnTo>
                    <a:lnTo>
                      <a:pt x="279" y="79"/>
                    </a:lnTo>
                    <a:lnTo>
                      <a:pt x="279" y="81"/>
                    </a:lnTo>
                    <a:lnTo>
                      <a:pt x="277" y="81"/>
                    </a:lnTo>
                    <a:lnTo>
                      <a:pt x="275" y="81"/>
                    </a:lnTo>
                    <a:lnTo>
                      <a:pt x="275" y="83"/>
                    </a:lnTo>
                    <a:lnTo>
                      <a:pt x="275" y="81"/>
                    </a:lnTo>
                    <a:lnTo>
                      <a:pt x="274" y="81"/>
                    </a:lnTo>
                    <a:lnTo>
                      <a:pt x="274" y="83"/>
                    </a:lnTo>
                    <a:lnTo>
                      <a:pt x="272" y="83"/>
                    </a:lnTo>
                    <a:lnTo>
                      <a:pt x="271" y="83"/>
                    </a:lnTo>
                    <a:lnTo>
                      <a:pt x="271" y="84"/>
                    </a:lnTo>
                    <a:lnTo>
                      <a:pt x="271" y="86"/>
                    </a:lnTo>
                    <a:lnTo>
                      <a:pt x="269" y="86"/>
                    </a:lnTo>
                    <a:lnTo>
                      <a:pt x="269" y="87"/>
                    </a:lnTo>
                    <a:lnTo>
                      <a:pt x="266" y="87"/>
                    </a:lnTo>
                    <a:lnTo>
                      <a:pt x="260" y="87"/>
                    </a:lnTo>
                    <a:lnTo>
                      <a:pt x="256" y="89"/>
                    </a:lnTo>
                    <a:lnTo>
                      <a:pt x="256" y="87"/>
                    </a:lnTo>
                    <a:lnTo>
                      <a:pt x="255" y="87"/>
                    </a:lnTo>
                    <a:lnTo>
                      <a:pt x="253" y="87"/>
                    </a:lnTo>
                    <a:lnTo>
                      <a:pt x="253" y="86"/>
                    </a:lnTo>
                    <a:lnTo>
                      <a:pt x="252" y="86"/>
                    </a:lnTo>
                    <a:lnTo>
                      <a:pt x="252" y="84"/>
                    </a:lnTo>
                    <a:lnTo>
                      <a:pt x="250" y="84"/>
                    </a:lnTo>
                    <a:lnTo>
                      <a:pt x="250" y="86"/>
                    </a:lnTo>
                    <a:lnTo>
                      <a:pt x="250" y="89"/>
                    </a:lnTo>
                    <a:lnTo>
                      <a:pt x="250" y="90"/>
                    </a:lnTo>
                    <a:lnTo>
                      <a:pt x="250" y="92"/>
                    </a:lnTo>
                    <a:lnTo>
                      <a:pt x="245" y="94"/>
                    </a:lnTo>
                    <a:lnTo>
                      <a:pt x="245" y="98"/>
                    </a:lnTo>
                    <a:lnTo>
                      <a:pt x="247" y="103"/>
                    </a:lnTo>
                    <a:lnTo>
                      <a:pt x="245" y="106"/>
                    </a:lnTo>
                    <a:lnTo>
                      <a:pt x="247" y="109"/>
                    </a:lnTo>
                    <a:lnTo>
                      <a:pt x="245" y="109"/>
                    </a:lnTo>
                    <a:lnTo>
                      <a:pt x="245" y="111"/>
                    </a:lnTo>
                    <a:lnTo>
                      <a:pt x="247" y="111"/>
                    </a:lnTo>
                    <a:lnTo>
                      <a:pt x="247" y="113"/>
                    </a:lnTo>
                    <a:lnTo>
                      <a:pt x="247" y="114"/>
                    </a:lnTo>
                    <a:lnTo>
                      <a:pt x="245" y="116"/>
                    </a:lnTo>
                    <a:lnTo>
                      <a:pt x="245" y="122"/>
                    </a:lnTo>
                    <a:lnTo>
                      <a:pt x="245" y="124"/>
                    </a:lnTo>
                    <a:lnTo>
                      <a:pt x="247" y="125"/>
                    </a:lnTo>
                    <a:lnTo>
                      <a:pt x="245" y="125"/>
                    </a:lnTo>
                    <a:lnTo>
                      <a:pt x="245" y="127"/>
                    </a:lnTo>
                    <a:lnTo>
                      <a:pt x="247" y="127"/>
                    </a:lnTo>
                    <a:lnTo>
                      <a:pt x="245" y="127"/>
                    </a:lnTo>
                    <a:lnTo>
                      <a:pt x="247" y="127"/>
                    </a:lnTo>
                    <a:lnTo>
                      <a:pt x="247" y="128"/>
                    </a:lnTo>
                    <a:lnTo>
                      <a:pt x="247" y="130"/>
                    </a:lnTo>
                    <a:lnTo>
                      <a:pt x="247" y="132"/>
                    </a:lnTo>
                    <a:lnTo>
                      <a:pt x="247" y="133"/>
                    </a:lnTo>
                    <a:lnTo>
                      <a:pt x="247" y="135"/>
                    </a:lnTo>
                    <a:lnTo>
                      <a:pt x="248" y="135"/>
                    </a:lnTo>
                    <a:lnTo>
                      <a:pt x="248" y="136"/>
                    </a:lnTo>
                    <a:lnTo>
                      <a:pt x="250" y="138"/>
                    </a:lnTo>
                    <a:lnTo>
                      <a:pt x="250" y="140"/>
                    </a:lnTo>
                    <a:lnTo>
                      <a:pt x="252" y="140"/>
                    </a:lnTo>
                    <a:lnTo>
                      <a:pt x="252" y="141"/>
                    </a:lnTo>
                    <a:lnTo>
                      <a:pt x="252" y="143"/>
                    </a:lnTo>
                    <a:lnTo>
                      <a:pt x="250" y="143"/>
                    </a:lnTo>
                    <a:lnTo>
                      <a:pt x="250" y="141"/>
                    </a:lnTo>
                    <a:lnTo>
                      <a:pt x="248" y="141"/>
                    </a:lnTo>
                    <a:lnTo>
                      <a:pt x="247" y="141"/>
                    </a:lnTo>
                    <a:lnTo>
                      <a:pt x="245" y="141"/>
                    </a:lnTo>
                    <a:lnTo>
                      <a:pt x="245" y="143"/>
                    </a:lnTo>
                    <a:lnTo>
                      <a:pt x="245" y="144"/>
                    </a:lnTo>
                    <a:lnTo>
                      <a:pt x="247" y="144"/>
                    </a:lnTo>
                    <a:lnTo>
                      <a:pt x="247" y="146"/>
                    </a:lnTo>
                    <a:lnTo>
                      <a:pt x="247" y="147"/>
                    </a:lnTo>
                    <a:lnTo>
                      <a:pt x="247" y="149"/>
                    </a:lnTo>
                    <a:lnTo>
                      <a:pt x="245" y="149"/>
                    </a:lnTo>
                    <a:lnTo>
                      <a:pt x="245" y="151"/>
                    </a:lnTo>
                    <a:lnTo>
                      <a:pt x="245" y="152"/>
                    </a:lnTo>
                    <a:lnTo>
                      <a:pt x="245" y="154"/>
                    </a:lnTo>
                    <a:lnTo>
                      <a:pt x="247" y="155"/>
                    </a:lnTo>
                    <a:lnTo>
                      <a:pt x="248" y="155"/>
                    </a:lnTo>
                    <a:lnTo>
                      <a:pt x="250" y="155"/>
                    </a:lnTo>
                    <a:lnTo>
                      <a:pt x="252" y="155"/>
                    </a:lnTo>
                    <a:lnTo>
                      <a:pt x="253" y="155"/>
                    </a:lnTo>
                    <a:lnTo>
                      <a:pt x="255" y="155"/>
                    </a:lnTo>
                    <a:lnTo>
                      <a:pt x="256" y="157"/>
                    </a:lnTo>
                    <a:lnTo>
                      <a:pt x="256" y="159"/>
                    </a:lnTo>
                    <a:lnTo>
                      <a:pt x="258" y="159"/>
                    </a:lnTo>
                    <a:lnTo>
                      <a:pt x="260" y="160"/>
                    </a:lnTo>
                    <a:lnTo>
                      <a:pt x="260" y="162"/>
                    </a:lnTo>
                    <a:lnTo>
                      <a:pt x="261" y="163"/>
                    </a:lnTo>
                    <a:lnTo>
                      <a:pt x="260" y="165"/>
                    </a:lnTo>
                    <a:lnTo>
                      <a:pt x="260" y="166"/>
                    </a:lnTo>
                    <a:lnTo>
                      <a:pt x="258" y="166"/>
                    </a:lnTo>
                    <a:lnTo>
                      <a:pt x="256" y="166"/>
                    </a:lnTo>
                    <a:lnTo>
                      <a:pt x="256" y="165"/>
                    </a:lnTo>
                    <a:lnTo>
                      <a:pt x="255" y="165"/>
                    </a:lnTo>
                    <a:lnTo>
                      <a:pt x="253" y="165"/>
                    </a:lnTo>
                    <a:lnTo>
                      <a:pt x="252" y="163"/>
                    </a:lnTo>
                    <a:lnTo>
                      <a:pt x="250" y="163"/>
                    </a:lnTo>
                    <a:lnTo>
                      <a:pt x="250" y="165"/>
                    </a:lnTo>
                    <a:lnTo>
                      <a:pt x="248" y="165"/>
                    </a:lnTo>
                    <a:lnTo>
                      <a:pt x="248" y="163"/>
                    </a:lnTo>
                    <a:lnTo>
                      <a:pt x="248" y="165"/>
                    </a:lnTo>
                    <a:lnTo>
                      <a:pt x="248" y="166"/>
                    </a:lnTo>
                    <a:lnTo>
                      <a:pt x="248" y="168"/>
                    </a:lnTo>
                    <a:lnTo>
                      <a:pt x="250" y="170"/>
                    </a:lnTo>
                    <a:lnTo>
                      <a:pt x="250" y="171"/>
                    </a:lnTo>
                    <a:lnTo>
                      <a:pt x="252" y="171"/>
                    </a:lnTo>
                    <a:lnTo>
                      <a:pt x="252" y="173"/>
                    </a:lnTo>
                    <a:lnTo>
                      <a:pt x="252" y="174"/>
                    </a:lnTo>
                    <a:lnTo>
                      <a:pt x="253" y="176"/>
                    </a:lnTo>
                    <a:lnTo>
                      <a:pt x="253" y="178"/>
                    </a:lnTo>
                    <a:lnTo>
                      <a:pt x="253" y="179"/>
                    </a:lnTo>
                    <a:lnTo>
                      <a:pt x="255" y="181"/>
                    </a:lnTo>
                    <a:lnTo>
                      <a:pt x="255" y="182"/>
                    </a:lnTo>
                    <a:lnTo>
                      <a:pt x="253" y="182"/>
                    </a:lnTo>
                    <a:lnTo>
                      <a:pt x="253" y="184"/>
                    </a:lnTo>
                    <a:lnTo>
                      <a:pt x="253" y="185"/>
                    </a:lnTo>
                    <a:lnTo>
                      <a:pt x="252" y="185"/>
                    </a:lnTo>
                    <a:lnTo>
                      <a:pt x="250" y="187"/>
                    </a:lnTo>
                    <a:lnTo>
                      <a:pt x="250" y="189"/>
                    </a:lnTo>
                    <a:lnTo>
                      <a:pt x="248" y="189"/>
                    </a:lnTo>
                    <a:lnTo>
                      <a:pt x="248" y="190"/>
                    </a:lnTo>
                    <a:lnTo>
                      <a:pt x="247" y="190"/>
                    </a:lnTo>
                    <a:lnTo>
                      <a:pt x="245" y="190"/>
                    </a:lnTo>
                    <a:lnTo>
                      <a:pt x="245" y="192"/>
                    </a:lnTo>
                    <a:lnTo>
                      <a:pt x="245" y="190"/>
                    </a:lnTo>
                    <a:lnTo>
                      <a:pt x="247" y="190"/>
                    </a:lnTo>
                    <a:lnTo>
                      <a:pt x="248" y="190"/>
                    </a:lnTo>
                    <a:lnTo>
                      <a:pt x="248" y="192"/>
                    </a:lnTo>
                    <a:lnTo>
                      <a:pt x="250" y="192"/>
                    </a:lnTo>
                    <a:lnTo>
                      <a:pt x="252" y="193"/>
                    </a:lnTo>
                    <a:lnTo>
                      <a:pt x="252" y="195"/>
                    </a:lnTo>
                    <a:lnTo>
                      <a:pt x="253" y="195"/>
                    </a:lnTo>
                    <a:lnTo>
                      <a:pt x="253" y="197"/>
                    </a:lnTo>
                    <a:lnTo>
                      <a:pt x="253" y="198"/>
                    </a:lnTo>
                    <a:lnTo>
                      <a:pt x="253" y="200"/>
                    </a:lnTo>
                    <a:lnTo>
                      <a:pt x="252" y="200"/>
                    </a:lnTo>
                    <a:lnTo>
                      <a:pt x="252" y="201"/>
                    </a:lnTo>
                    <a:lnTo>
                      <a:pt x="252" y="203"/>
                    </a:lnTo>
                    <a:lnTo>
                      <a:pt x="253" y="203"/>
                    </a:lnTo>
                    <a:lnTo>
                      <a:pt x="255" y="205"/>
                    </a:lnTo>
                    <a:lnTo>
                      <a:pt x="256" y="205"/>
                    </a:lnTo>
                    <a:lnTo>
                      <a:pt x="258" y="205"/>
                    </a:lnTo>
                    <a:lnTo>
                      <a:pt x="258" y="206"/>
                    </a:lnTo>
                    <a:lnTo>
                      <a:pt x="260" y="206"/>
                    </a:lnTo>
                    <a:lnTo>
                      <a:pt x="260" y="208"/>
                    </a:lnTo>
                    <a:lnTo>
                      <a:pt x="261" y="208"/>
                    </a:lnTo>
                    <a:lnTo>
                      <a:pt x="261" y="209"/>
                    </a:lnTo>
                    <a:lnTo>
                      <a:pt x="263" y="209"/>
                    </a:lnTo>
                    <a:lnTo>
                      <a:pt x="264" y="209"/>
                    </a:lnTo>
                    <a:lnTo>
                      <a:pt x="264" y="211"/>
                    </a:lnTo>
                    <a:lnTo>
                      <a:pt x="266" y="211"/>
                    </a:lnTo>
                    <a:lnTo>
                      <a:pt x="266" y="212"/>
                    </a:lnTo>
                    <a:lnTo>
                      <a:pt x="266" y="214"/>
                    </a:lnTo>
                    <a:lnTo>
                      <a:pt x="267" y="214"/>
                    </a:lnTo>
                    <a:lnTo>
                      <a:pt x="266" y="216"/>
                    </a:lnTo>
                    <a:lnTo>
                      <a:pt x="267" y="216"/>
                    </a:lnTo>
                    <a:lnTo>
                      <a:pt x="267" y="217"/>
                    </a:lnTo>
                    <a:lnTo>
                      <a:pt x="269" y="217"/>
                    </a:lnTo>
                    <a:lnTo>
                      <a:pt x="269" y="219"/>
                    </a:lnTo>
                    <a:lnTo>
                      <a:pt x="269" y="220"/>
                    </a:lnTo>
                    <a:lnTo>
                      <a:pt x="271" y="220"/>
                    </a:lnTo>
                    <a:lnTo>
                      <a:pt x="271" y="222"/>
                    </a:lnTo>
                    <a:lnTo>
                      <a:pt x="272" y="222"/>
                    </a:lnTo>
                    <a:lnTo>
                      <a:pt x="274" y="222"/>
                    </a:lnTo>
                    <a:lnTo>
                      <a:pt x="274" y="224"/>
                    </a:lnTo>
                    <a:lnTo>
                      <a:pt x="275" y="224"/>
                    </a:lnTo>
                    <a:lnTo>
                      <a:pt x="275" y="225"/>
                    </a:lnTo>
                    <a:lnTo>
                      <a:pt x="277" y="225"/>
                    </a:lnTo>
                    <a:lnTo>
                      <a:pt x="277" y="227"/>
                    </a:lnTo>
                    <a:lnTo>
                      <a:pt x="279" y="227"/>
                    </a:lnTo>
                    <a:lnTo>
                      <a:pt x="280" y="227"/>
                    </a:lnTo>
                    <a:lnTo>
                      <a:pt x="282" y="227"/>
                    </a:lnTo>
                    <a:lnTo>
                      <a:pt x="282" y="225"/>
                    </a:lnTo>
                    <a:lnTo>
                      <a:pt x="283" y="225"/>
                    </a:lnTo>
                    <a:lnTo>
                      <a:pt x="283" y="224"/>
                    </a:lnTo>
                    <a:lnTo>
                      <a:pt x="283" y="225"/>
                    </a:lnTo>
                    <a:lnTo>
                      <a:pt x="285" y="225"/>
                    </a:lnTo>
                    <a:lnTo>
                      <a:pt x="286" y="225"/>
                    </a:lnTo>
                    <a:lnTo>
                      <a:pt x="286" y="227"/>
                    </a:lnTo>
                    <a:lnTo>
                      <a:pt x="288" y="227"/>
                    </a:lnTo>
                    <a:lnTo>
                      <a:pt x="290" y="227"/>
                    </a:lnTo>
                    <a:lnTo>
                      <a:pt x="290" y="225"/>
                    </a:lnTo>
                    <a:lnTo>
                      <a:pt x="291" y="225"/>
                    </a:lnTo>
                    <a:lnTo>
                      <a:pt x="291" y="227"/>
                    </a:lnTo>
                    <a:lnTo>
                      <a:pt x="293" y="227"/>
                    </a:lnTo>
                    <a:lnTo>
                      <a:pt x="293" y="228"/>
                    </a:lnTo>
                    <a:lnTo>
                      <a:pt x="294" y="228"/>
                    </a:lnTo>
                    <a:lnTo>
                      <a:pt x="294" y="230"/>
                    </a:lnTo>
                    <a:lnTo>
                      <a:pt x="296" y="230"/>
                    </a:lnTo>
                    <a:lnTo>
                      <a:pt x="296" y="231"/>
                    </a:lnTo>
                    <a:lnTo>
                      <a:pt x="298" y="231"/>
                    </a:lnTo>
                    <a:lnTo>
                      <a:pt x="298" y="233"/>
                    </a:lnTo>
                    <a:lnTo>
                      <a:pt x="299" y="233"/>
                    </a:lnTo>
                    <a:lnTo>
                      <a:pt x="301" y="233"/>
                    </a:lnTo>
                    <a:lnTo>
                      <a:pt x="301" y="235"/>
                    </a:lnTo>
                    <a:lnTo>
                      <a:pt x="302" y="235"/>
                    </a:lnTo>
                    <a:lnTo>
                      <a:pt x="302" y="236"/>
                    </a:lnTo>
                    <a:lnTo>
                      <a:pt x="304" y="238"/>
                    </a:lnTo>
                    <a:lnTo>
                      <a:pt x="304" y="239"/>
                    </a:lnTo>
                    <a:lnTo>
                      <a:pt x="305" y="239"/>
                    </a:lnTo>
                    <a:lnTo>
                      <a:pt x="305" y="241"/>
                    </a:lnTo>
                    <a:lnTo>
                      <a:pt x="305" y="243"/>
                    </a:lnTo>
                    <a:lnTo>
                      <a:pt x="305" y="244"/>
                    </a:lnTo>
                    <a:lnTo>
                      <a:pt x="304" y="244"/>
                    </a:lnTo>
                    <a:lnTo>
                      <a:pt x="304" y="246"/>
                    </a:lnTo>
                    <a:lnTo>
                      <a:pt x="302" y="246"/>
                    </a:lnTo>
                    <a:lnTo>
                      <a:pt x="302" y="247"/>
                    </a:lnTo>
                    <a:lnTo>
                      <a:pt x="302" y="249"/>
                    </a:lnTo>
                    <a:lnTo>
                      <a:pt x="302" y="250"/>
                    </a:lnTo>
                    <a:lnTo>
                      <a:pt x="302" y="252"/>
                    </a:lnTo>
                    <a:lnTo>
                      <a:pt x="301" y="252"/>
                    </a:lnTo>
                    <a:lnTo>
                      <a:pt x="301" y="254"/>
                    </a:lnTo>
                    <a:lnTo>
                      <a:pt x="299" y="255"/>
                    </a:lnTo>
                    <a:lnTo>
                      <a:pt x="299" y="257"/>
                    </a:lnTo>
                    <a:lnTo>
                      <a:pt x="299" y="258"/>
                    </a:lnTo>
                    <a:lnTo>
                      <a:pt x="301" y="258"/>
                    </a:lnTo>
                    <a:lnTo>
                      <a:pt x="301" y="260"/>
                    </a:lnTo>
                    <a:lnTo>
                      <a:pt x="302" y="260"/>
                    </a:lnTo>
                    <a:lnTo>
                      <a:pt x="301" y="260"/>
                    </a:lnTo>
                    <a:lnTo>
                      <a:pt x="301" y="262"/>
                    </a:lnTo>
                    <a:lnTo>
                      <a:pt x="302" y="262"/>
                    </a:lnTo>
                    <a:lnTo>
                      <a:pt x="302" y="263"/>
                    </a:lnTo>
                    <a:lnTo>
                      <a:pt x="302" y="265"/>
                    </a:lnTo>
                    <a:lnTo>
                      <a:pt x="304" y="265"/>
                    </a:lnTo>
                    <a:lnTo>
                      <a:pt x="302" y="266"/>
                    </a:lnTo>
                    <a:lnTo>
                      <a:pt x="304" y="266"/>
                    </a:lnTo>
                    <a:lnTo>
                      <a:pt x="304" y="268"/>
                    </a:lnTo>
                    <a:lnTo>
                      <a:pt x="302" y="268"/>
                    </a:lnTo>
                    <a:lnTo>
                      <a:pt x="302" y="269"/>
                    </a:lnTo>
                    <a:lnTo>
                      <a:pt x="304" y="269"/>
                    </a:lnTo>
                    <a:lnTo>
                      <a:pt x="304" y="271"/>
                    </a:lnTo>
                    <a:lnTo>
                      <a:pt x="304" y="273"/>
                    </a:lnTo>
                    <a:lnTo>
                      <a:pt x="304" y="274"/>
                    </a:lnTo>
                    <a:lnTo>
                      <a:pt x="304" y="276"/>
                    </a:lnTo>
                    <a:lnTo>
                      <a:pt x="304" y="277"/>
                    </a:lnTo>
                    <a:lnTo>
                      <a:pt x="305" y="277"/>
                    </a:lnTo>
                    <a:lnTo>
                      <a:pt x="305" y="279"/>
                    </a:lnTo>
                    <a:lnTo>
                      <a:pt x="307" y="279"/>
                    </a:lnTo>
                    <a:lnTo>
                      <a:pt x="307" y="281"/>
                    </a:lnTo>
                    <a:lnTo>
                      <a:pt x="307" y="282"/>
                    </a:lnTo>
                    <a:lnTo>
                      <a:pt x="309" y="282"/>
                    </a:lnTo>
                    <a:lnTo>
                      <a:pt x="309" y="284"/>
                    </a:lnTo>
                    <a:lnTo>
                      <a:pt x="307" y="284"/>
                    </a:lnTo>
                    <a:lnTo>
                      <a:pt x="305" y="284"/>
                    </a:lnTo>
                    <a:lnTo>
                      <a:pt x="305" y="285"/>
                    </a:lnTo>
                    <a:lnTo>
                      <a:pt x="304" y="285"/>
                    </a:lnTo>
                    <a:lnTo>
                      <a:pt x="304" y="287"/>
                    </a:lnTo>
                    <a:lnTo>
                      <a:pt x="305" y="287"/>
                    </a:lnTo>
                    <a:lnTo>
                      <a:pt x="304" y="287"/>
                    </a:lnTo>
                    <a:lnTo>
                      <a:pt x="304" y="288"/>
                    </a:lnTo>
                    <a:lnTo>
                      <a:pt x="304" y="287"/>
                    </a:lnTo>
                    <a:lnTo>
                      <a:pt x="302" y="287"/>
                    </a:lnTo>
                    <a:lnTo>
                      <a:pt x="302" y="288"/>
                    </a:lnTo>
                    <a:lnTo>
                      <a:pt x="302" y="287"/>
                    </a:lnTo>
                    <a:lnTo>
                      <a:pt x="301" y="287"/>
                    </a:lnTo>
                    <a:lnTo>
                      <a:pt x="301" y="288"/>
                    </a:lnTo>
                    <a:lnTo>
                      <a:pt x="302" y="288"/>
                    </a:lnTo>
                    <a:lnTo>
                      <a:pt x="302" y="290"/>
                    </a:lnTo>
                    <a:lnTo>
                      <a:pt x="304" y="290"/>
                    </a:lnTo>
                    <a:lnTo>
                      <a:pt x="304" y="292"/>
                    </a:lnTo>
                    <a:lnTo>
                      <a:pt x="302" y="292"/>
                    </a:lnTo>
                    <a:lnTo>
                      <a:pt x="304" y="292"/>
                    </a:lnTo>
                    <a:lnTo>
                      <a:pt x="302" y="293"/>
                    </a:lnTo>
                    <a:lnTo>
                      <a:pt x="301" y="293"/>
                    </a:lnTo>
                    <a:lnTo>
                      <a:pt x="299" y="293"/>
                    </a:lnTo>
                    <a:lnTo>
                      <a:pt x="299" y="295"/>
                    </a:lnTo>
                    <a:lnTo>
                      <a:pt x="298" y="295"/>
                    </a:lnTo>
                    <a:lnTo>
                      <a:pt x="298" y="293"/>
                    </a:lnTo>
                    <a:lnTo>
                      <a:pt x="298" y="292"/>
                    </a:lnTo>
                    <a:lnTo>
                      <a:pt x="296" y="292"/>
                    </a:lnTo>
                    <a:lnTo>
                      <a:pt x="294" y="292"/>
                    </a:lnTo>
                    <a:lnTo>
                      <a:pt x="293" y="292"/>
                    </a:lnTo>
                    <a:lnTo>
                      <a:pt x="291" y="292"/>
                    </a:lnTo>
                    <a:lnTo>
                      <a:pt x="291" y="290"/>
                    </a:lnTo>
                    <a:lnTo>
                      <a:pt x="290" y="290"/>
                    </a:lnTo>
                    <a:lnTo>
                      <a:pt x="288" y="290"/>
                    </a:lnTo>
                    <a:lnTo>
                      <a:pt x="286" y="290"/>
                    </a:lnTo>
                    <a:lnTo>
                      <a:pt x="285" y="290"/>
                    </a:lnTo>
                    <a:lnTo>
                      <a:pt x="283" y="290"/>
                    </a:lnTo>
                    <a:lnTo>
                      <a:pt x="282" y="290"/>
                    </a:lnTo>
                    <a:lnTo>
                      <a:pt x="280" y="290"/>
                    </a:lnTo>
                    <a:lnTo>
                      <a:pt x="280" y="288"/>
                    </a:lnTo>
                    <a:lnTo>
                      <a:pt x="279" y="288"/>
                    </a:lnTo>
                    <a:lnTo>
                      <a:pt x="277" y="287"/>
                    </a:lnTo>
                    <a:lnTo>
                      <a:pt x="275" y="284"/>
                    </a:lnTo>
                    <a:lnTo>
                      <a:pt x="274" y="284"/>
                    </a:lnTo>
                    <a:lnTo>
                      <a:pt x="272" y="284"/>
                    </a:lnTo>
                    <a:lnTo>
                      <a:pt x="272" y="285"/>
                    </a:lnTo>
                    <a:lnTo>
                      <a:pt x="271" y="285"/>
                    </a:lnTo>
                    <a:lnTo>
                      <a:pt x="269" y="285"/>
                    </a:lnTo>
                    <a:lnTo>
                      <a:pt x="267" y="287"/>
                    </a:lnTo>
                    <a:lnTo>
                      <a:pt x="267" y="288"/>
                    </a:lnTo>
                    <a:lnTo>
                      <a:pt x="266" y="288"/>
                    </a:lnTo>
                    <a:lnTo>
                      <a:pt x="266" y="290"/>
                    </a:lnTo>
                    <a:lnTo>
                      <a:pt x="266" y="292"/>
                    </a:lnTo>
                    <a:lnTo>
                      <a:pt x="266" y="293"/>
                    </a:lnTo>
                    <a:lnTo>
                      <a:pt x="266" y="295"/>
                    </a:lnTo>
                    <a:lnTo>
                      <a:pt x="264" y="295"/>
                    </a:lnTo>
                    <a:lnTo>
                      <a:pt x="264" y="296"/>
                    </a:lnTo>
                    <a:lnTo>
                      <a:pt x="263" y="296"/>
                    </a:lnTo>
                    <a:lnTo>
                      <a:pt x="261" y="296"/>
                    </a:lnTo>
                    <a:lnTo>
                      <a:pt x="260" y="296"/>
                    </a:lnTo>
                    <a:lnTo>
                      <a:pt x="258" y="296"/>
                    </a:lnTo>
                    <a:lnTo>
                      <a:pt x="256" y="296"/>
                    </a:lnTo>
                    <a:lnTo>
                      <a:pt x="256" y="298"/>
                    </a:lnTo>
                    <a:lnTo>
                      <a:pt x="256" y="300"/>
                    </a:lnTo>
                    <a:lnTo>
                      <a:pt x="255" y="301"/>
                    </a:lnTo>
                    <a:lnTo>
                      <a:pt x="255" y="303"/>
                    </a:lnTo>
                    <a:lnTo>
                      <a:pt x="256" y="303"/>
                    </a:lnTo>
                    <a:lnTo>
                      <a:pt x="256" y="304"/>
                    </a:lnTo>
                    <a:lnTo>
                      <a:pt x="258" y="304"/>
                    </a:lnTo>
                    <a:lnTo>
                      <a:pt x="258" y="306"/>
                    </a:lnTo>
                    <a:lnTo>
                      <a:pt x="260" y="306"/>
                    </a:lnTo>
                    <a:lnTo>
                      <a:pt x="260" y="308"/>
                    </a:lnTo>
                    <a:lnTo>
                      <a:pt x="261" y="308"/>
                    </a:lnTo>
                    <a:lnTo>
                      <a:pt x="261" y="309"/>
                    </a:lnTo>
                    <a:lnTo>
                      <a:pt x="263" y="309"/>
                    </a:lnTo>
                    <a:lnTo>
                      <a:pt x="263" y="311"/>
                    </a:lnTo>
                    <a:lnTo>
                      <a:pt x="264" y="311"/>
                    </a:lnTo>
                    <a:lnTo>
                      <a:pt x="264" y="312"/>
                    </a:lnTo>
                    <a:lnTo>
                      <a:pt x="264" y="311"/>
                    </a:lnTo>
                    <a:lnTo>
                      <a:pt x="266" y="311"/>
                    </a:lnTo>
                    <a:lnTo>
                      <a:pt x="267" y="311"/>
                    </a:lnTo>
                    <a:lnTo>
                      <a:pt x="267" y="309"/>
                    </a:lnTo>
                    <a:lnTo>
                      <a:pt x="269" y="309"/>
                    </a:lnTo>
                    <a:lnTo>
                      <a:pt x="269" y="308"/>
                    </a:lnTo>
                    <a:lnTo>
                      <a:pt x="271" y="308"/>
                    </a:lnTo>
                    <a:lnTo>
                      <a:pt x="272" y="308"/>
                    </a:lnTo>
                    <a:lnTo>
                      <a:pt x="272" y="309"/>
                    </a:lnTo>
                    <a:lnTo>
                      <a:pt x="274" y="309"/>
                    </a:lnTo>
                    <a:lnTo>
                      <a:pt x="272" y="309"/>
                    </a:lnTo>
                    <a:lnTo>
                      <a:pt x="272" y="311"/>
                    </a:lnTo>
                    <a:lnTo>
                      <a:pt x="272" y="312"/>
                    </a:lnTo>
                    <a:lnTo>
                      <a:pt x="272" y="314"/>
                    </a:lnTo>
                    <a:lnTo>
                      <a:pt x="272" y="315"/>
                    </a:lnTo>
                    <a:lnTo>
                      <a:pt x="274" y="315"/>
                    </a:lnTo>
                    <a:lnTo>
                      <a:pt x="274" y="317"/>
                    </a:lnTo>
                    <a:lnTo>
                      <a:pt x="275" y="317"/>
                    </a:lnTo>
                    <a:lnTo>
                      <a:pt x="275" y="315"/>
                    </a:lnTo>
                    <a:lnTo>
                      <a:pt x="277" y="315"/>
                    </a:lnTo>
                    <a:lnTo>
                      <a:pt x="277" y="317"/>
                    </a:lnTo>
                    <a:lnTo>
                      <a:pt x="277" y="319"/>
                    </a:lnTo>
                    <a:lnTo>
                      <a:pt x="275" y="319"/>
                    </a:lnTo>
                    <a:lnTo>
                      <a:pt x="275" y="320"/>
                    </a:lnTo>
                    <a:lnTo>
                      <a:pt x="275" y="322"/>
                    </a:lnTo>
                    <a:lnTo>
                      <a:pt x="275" y="323"/>
                    </a:lnTo>
                    <a:lnTo>
                      <a:pt x="275" y="325"/>
                    </a:lnTo>
                    <a:lnTo>
                      <a:pt x="274" y="327"/>
                    </a:lnTo>
                    <a:lnTo>
                      <a:pt x="274" y="328"/>
                    </a:lnTo>
                    <a:lnTo>
                      <a:pt x="272" y="328"/>
                    </a:lnTo>
                    <a:lnTo>
                      <a:pt x="271" y="328"/>
                    </a:lnTo>
                    <a:lnTo>
                      <a:pt x="271" y="327"/>
                    </a:lnTo>
                    <a:lnTo>
                      <a:pt x="269" y="327"/>
                    </a:lnTo>
                    <a:lnTo>
                      <a:pt x="269" y="328"/>
                    </a:lnTo>
                    <a:lnTo>
                      <a:pt x="271" y="328"/>
                    </a:lnTo>
                    <a:lnTo>
                      <a:pt x="269" y="330"/>
                    </a:lnTo>
                    <a:lnTo>
                      <a:pt x="269" y="331"/>
                    </a:lnTo>
                    <a:lnTo>
                      <a:pt x="267" y="333"/>
                    </a:lnTo>
                    <a:lnTo>
                      <a:pt x="266" y="333"/>
                    </a:lnTo>
                    <a:lnTo>
                      <a:pt x="266" y="334"/>
                    </a:lnTo>
                    <a:lnTo>
                      <a:pt x="264" y="336"/>
                    </a:lnTo>
                    <a:lnTo>
                      <a:pt x="266" y="336"/>
                    </a:lnTo>
                    <a:lnTo>
                      <a:pt x="267" y="338"/>
                    </a:lnTo>
                    <a:lnTo>
                      <a:pt x="267" y="339"/>
                    </a:lnTo>
                    <a:lnTo>
                      <a:pt x="267" y="341"/>
                    </a:lnTo>
                    <a:lnTo>
                      <a:pt x="267" y="342"/>
                    </a:lnTo>
                    <a:lnTo>
                      <a:pt x="269" y="342"/>
                    </a:lnTo>
                    <a:lnTo>
                      <a:pt x="269" y="344"/>
                    </a:lnTo>
                    <a:lnTo>
                      <a:pt x="267" y="344"/>
                    </a:lnTo>
                    <a:lnTo>
                      <a:pt x="266" y="344"/>
                    </a:lnTo>
                    <a:lnTo>
                      <a:pt x="266" y="346"/>
                    </a:lnTo>
                    <a:lnTo>
                      <a:pt x="264" y="346"/>
                    </a:lnTo>
                    <a:lnTo>
                      <a:pt x="263" y="346"/>
                    </a:lnTo>
                    <a:lnTo>
                      <a:pt x="261" y="346"/>
                    </a:lnTo>
                    <a:lnTo>
                      <a:pt x="260" y="346"/>
                    </a:lnTo>
                    <a:lnTo>
                      <a:pt x="258" y="347"/>
                    </a:lnTo>
                    <a:lnTo>
                      <a:pt x="256" y="347"/>
                    </a:lnTo>
                    <a:lnTo>
                      <a:pt x="255" y="347"/>
                    </a:lnTo>
                    <a:lnTo>
                      <a:pt x="253" y="347"/>
                    </a:lnTo>
                    <a:lnTo>
                      <a:pt x="252" y="347"/>
                    </a:lnTo>
                    <a:lnTo>
                      <a:pt x="250" y="347"/>
                    </a:lnTo>
                    <a:lnTo>
                      <a:pt x="248" y="347"/>
                    </a:lnTo>
                    <a:lnTo>
                      <a:pt x="250" y="347"/>
                    </a:lnTo>
                    <a:lnTo>
                      <a:pt x="250" y="349"/>
                    </a:lnTo>
                    <a:lnTo>
                      <a:pt x="250" y="350"/>
                    </a:lnTo>
                    <a:lnTo>
                      <a:pt x="248" y="352"/>
                    </a:lnTo>
                    <a:lnTo>
                      <a:pt x="248" y="353"/>
                    </a:lnTo>
                    <a:lnTo>
                      <a:pt x="248" y="355"/>
                    </a:lnTo>
                    <a:lnTo>
                      <a:pt x="247" y="355"/>
                    </a:lnTo>
                    <a:lnTo>
                      <a:pt x="245" y="355"/>
                    </a:lnTo>
                    <a:lnTo>
                      <a:pt x="245" y="357"/>
                    </a:lnTo>
                    <a:lnTo>
                      <a:pt x="244" y="357"/>
                    </a:lnTo>
                    <a:lnTo>
                      <a:pt x="242" y="357"/>
                    </a:lnTo>
                    <a:lnTo>
                      <a:pt x="241" y="357"/>
                    </a:lnTo>
                    <a:lnTo>
                      <a:pt x="239" y="357"/>
                    </a:lnTo>
                    <a:lnTo>
                      <a:pt x="237" y="357"/>
                    </a:lnTo>
                    <a:lnTo>
                      <a:pt x="236" y="357"/>
                    </a:lnTo>
                    <a:lnTo>
                      <a:pt x="234" y="358"/>
                    </a:lnTo>
                    <a:lnTo>
                      <a:pt x="233" y="358"/>
                    </a:lnTo>
                    <a:lnTo>
                      <a:pt x="231" y="358"/>
                    </a:lnTo>
                    <a:lnTo>
                      <a:pt x="231" y="357"/>
                    </a:lnTo>
                    <a:lnTo>
                      <a:pt x="231" y="355"/>
                    </a:lnTo>
                    <a:lnTo>
                      <a:pt x="231" y="353"/>
                    </a:lnTo>
                    <a:lnTo>
                      <a:pt x="229" y="353"/>
                    </a:lnTo>
                    <a:lnTo>
                      <a:pt x="229" y="352"/>
                    </a:lnTo>
                    <a:lnTo>
                      <a:pt x="229" y="350"/>
                    </a:lnTo>
                    <a:lnTo>
                      <a:pt x="228" y="349"/>
                    </a:lnTo>
                    <a:lnTo>
                      <a:pt x="228" y="347"/>
                    </a:lnTo>
                    <a:lnTo>
                      <a:pt x="226" y="346"/>
                    </a:lnTo>
                    <a:lnTo>
                      <a:pt x="226" y="344"/>
                    </a:lnTo>
                    <a:lnTo>
                      <a:pt x="226" y="342"/>
                    </a:lnTo>
                    <a:lnTo>
                      <a:pt x="226" y="341"/>
                    </a:lnTo>
                    <a:lnTo>
                      <a:pt x="226" y="339"/>
                    </a:lnTo>
                    <a:lnTo>
                      <a:pt x="225" y="339"/>
                    </a:lnTo>
                    <a:lnTo>
                      <a:pt x="225" y="338"/>
                    </a:lnTo>
                    <a:lnTo>
                      <a:pt x="225" y="336"/>
                    </a:lnTo>
                    <a:lnTo>
                      <a:pt x="225" y="334"/>
                    </a:lnTo>
                    <a:lnTo>
                      <a:pt x="225" y="333"/>
                    </a:lnTo>
                    <a:lnTo>
                      <a:pt x="225" y="331"/>
                    </a:lnTo>
                    <a:lnTo>
                      <a:pt x="225" y="330"/>
                    </a:lnTo>
                    <a:lnTo>
                      <a:pt x="223" y="330"/>
                    </a:lnTo>
                    <a:lnTo>
                      <a:pt x="223" y="328"/>
                    </a:lnTo>
                    <a:lnTo>
                      <a:pt x="223" y="327"/>
                    </a:lnTo>
                    <a:lnTo>
                      <a:pt x="222" y="327"/>
                    </a:lnTo>
                    <a:lnTo>
                      <a:pt x="222" y="325"/>
                    </a:lnTo>
                    <a:lnTo>
                      <a:pt x="220" y="325"/>
                    </a:lnTo>
                    <a:lnTo>
                      <a:pt x="220" y="323"/>
                    </a:lnTo>
                    <a:lnTo>
                      <a:pt x="218" y="323"/>
                    </a:lnTo>
                    <a:lnTo>
                      <a:pt x="217" y="323"/>
                    </a:lnTo>
                    <a:lnTo>
                      <a:pt x="215" y="323"/>
                    </a:lnTo>
                    <a:lnTo>
                      <a:pt x="215" y="325"/>
                    </a:lnTo>
                    <a:lnTo>
                      <a:pt x="214" y="325"/>
                    </a:lnTo>
                    <a:lnTo>
                      <a:pt x="214" y="323"/>
                    </a:lnTo>
                    <a:lnTo>
                      <a:pt x="212" y="323"/>
                    </a:lnTo>
                    <a:lnTo>
                      <a:pt x="212" y="325"/>
                    </a:lnTo>
                    <a:lnTo>
                      <a:pt x="210" y="325"/>
                    </a:lnTo>
                    <a:lnTo>
                      <a:pt x="210" y="323"/>
                    </a:lnTo>
                    <a:lnTo>
                      <a:pt x="209" y="323"/>
                    </a:lnTo>
                    <a:lnTo>
                      <a:pt x="209" y="322"/>
                    </a:lnTo>
                    <a:lnTo>
                      <a:pt x="207" y="322"/>
                    </a:lnTo>
                    <a:lnTo>
                      <a:pt x="207" y="320"/>
                    </a:lnTo>
                    <a:lnTo>
                      <a:pt x="206" y="320"/>
                    </a:lnTo>
                    <a:lnTo>
                      <a:pt x="206" y="319"/>
                    </a:lnTo>
                    <a:lnTo>
                      <a:pt x="204" y="319"/>
                    </a:lnTo>
                    <a:lnTo>
                      <a:pt x="202" y="319"/>
                    </a:lnTo>
                    <a:lnTo>
                      <a:pt x="202" y="317"/>
                    </a:lnTo>
                    <a:lnTo>
                      <a:pt x="201" y="317"/>
                    </a:lnTo>
                    <a:lnTo>
                      <a:pt x="199" y="317"/>
                    </a:lnTo>
                    <a:lnTo>
                      <a:pt x="199" y="315"/>
                    </a:lnTo>
                    <a:lnTo>
                      <a:pt x="199" y="314"/>
                    </a:lnTo>
                    <a:lnTo>
                      <a:pt x="199" y="312"/>
                    </a:lnTo>
                    <a:lnTo>
                      <a:pt x="199" y="311"/>
                    </a:lnTo>
                    <a:lnTo>
                      <a:pt x="198" y="311"/>
                    </a:lnTo>
                    <a:lnTo>
                      <a:pt x="198" y="309"/>
                    </a:lnTo>
                    <a:lnTo>
                      <a:pt x="198" y="308"/>
                    </a:lnTo>
                    <a:lnTo>
                      <a:pt x="198" y="306"/>
                    </a:lnTo>
                    <a:lnTo>
                      <a:pt x="198" y="304"/>
                    </a:lnTo>
                    <a:lnTo>
                      <a:pt x="196" y="304"/>
                    </a:lnTo>
                    <a:lnTo>
                      <a:pt x="195" y="304"/>
                    </a:lnTo>
                    <a:lnTo>
                      <a:pt x="191" y="304"/>
                    </a:lnTo>
                    <a:lnTo>
                      <a:pt x="190" y="304"/>
                    </a:lnTo>
                    <a:lnTo>
                      <a:pt x="188" y="304"/>
                    </a:lnTo>
                    <a:lnTo>
                      <a:pt x="187" y="304"/>
                    </a:lnTo>
                    <a:lnTo>
                      <a:pt x="187" y="303"/>
                    </a:lnTo>
                    <a:lnTo>
                      <a:pt x="185" y="303"/>
                    </a:lnTo>
                    <a:lnTo>
                      <a:pt x="185" y="301"/>
                    </a:lnTo>
                    <a:lnTo>
                      <a:pt x="185" y="300"/>
                    </a:lnTo>
                    <a:lnTo>
                      <a:pt x="187" y="298"/>
                    </a:lnTo>
                    <a:lnTo>
                      <a:pt x="187" y="296"/>
                    </a:lnTo>
                    <a:lnTo>
                      <a:pt x="187" y="295"/>
                    </a:lnTo>
                    <a:lnTo>
                      <a:pt x="185" y="295"/>
                    </a:lnTo>
                    <a:lnTo>
                      <a:pt x="185" y="293"/>
                    </a:lnTo>
                    <a:lnTo>
                      <a:pt x="185" y="292"/>
                    </a:lnTo>
                    <a:lnTo>
                      <a:pt x="183" y="293"/>
                    </a:lnTo>
                    <a:lnTo>
                      <a:pt x="182" y="293"/>
                    </a:lnTo>
                    <a:lnTo>
                      <a:pt x="180" y="293"/>
                    </a:lnTo>
                    <a:lnTo>
                      <a:pt x="179" y="293"/>
                    </a:lnTo>
                    <a:lnTo>
                      <a:pt x="177" y="293"/>
                    </a:lnTo>
                    <a:lnTo>
                      <a:pt x="176" y="293"/>
                    </a:lnTo>
                    <a:lnTo>
                      <a:pt x="174" y="293"/>
                    </a:lnTo>
                    <a:lnTo>
                      <a:pt x="172" y="293"/>
                    </a:lnTo>
                    <a:lnTo>
                      <a:pt x="171" y="293"/>
                    </a:lnTo>
                    <a:lnTo>
                      <a:pt x="169" y="293"/>
                    </a:lnTo>
                    <a:lnTo>
                      <a:pt x="168" y="293"/>
                    </a:lnTo>
                    <a:lnTo>
                      <a:pt x="166" y="293"/>
                    </a:lnTo>
                    <a:lnTo>
                      <a:pt x="164" y="293"/>
                    </a:lnTo>
                    <a:lnTo>
                      <a:pt x="163" y="292"/>
                    </a:lnTo>
                    <a:lnTo>
                      <a:pt x="163" y="293"/>
                    </a:lnTo>
                    <a:lnTo>
                      <a:pt x="163" y="295"/>
                    </a:lnTo>
                    <a:lnTo>
                      <a:pt x="161" y="295"/>
                    </a:lnTo>
                    <a:lnTo>
                      <a:pt x="161" y="296"/>
                    </a:lnTo>
                    <a:lnTo>
                      <a:pt x="161" y="295"/>
                    </a:lnTo>
                    <a:lnTo>
                      <a:pt x="160" y="295"/>
                    </a:lnTo>
                    <a:lnTo>
                      <a:pt x="160" y="296"/>
                    </a:lnTo>
                    <a:lnTo>
                      <a:pt x="158" y="296"/>
                    </a:lnTo>
                    <a:lnTo>
                      <a:pt x="157" y="296"/>
                    </a:lnTo>
                    <a:lnTo>
                      <a:pt x="155" y="295"/>
                    </a:lnTo>
                    <a:lnTo>
                      <a:pt x="153" y="295"/>
                    </a:lnTo>
                    <a:lnTo>
                      <a:pt x="153" y="296"/>
                    </a:lnTo>
                    <a:lnTo>
                      <a:pt x="153" y="298"/>
                    </a:lnTo>
                    <a:lnTo>
                      <a:pt x="152" y="298"/>
                    </a:lnTo>
                    <a:lnTo>
                      <a:pt x="150" y="298"/>
                    </a:lnTo>
                    <a:lnTo>
                      <a:pt x="149" y="298"/>
                    </a:lnTo>
                    <a:lnTo>
                      <a:pt x="147" y="296"/>
                    </a:lnTo>
                    <a:lnTo>
                      <a:pt x="145" y="296"/>
                    </a:lnTo>
                    <a:lnTo>
                      <a:pt x="144" y="296"/>
                    </a:lnTo>
                    <a:lnTo>
                      <a:pt x="142" y="296"/>
                    </a:lnTo>
                    <a:lnTo>
                      <a:pt x="142" y="295"/>
                    </a:lnTo>
                    <a:lnTo>
                      <a:pt x="141" y="295"/>
                    </a:lnTo>
                    <a:lnTo>
                      <a:pt x="139" y="293"/>
                    </a:lnTo>
                    <a:lnTo>
                      <a:pt x="139" y="295"/>
                    </a:lnTo>
                    <a:lnTo>
                      <a:pt x="138" y="293"/>
                    </a:lnTo>
                    <a:lnTo>
                      <a:pt x="138" y="292"/>
                    </a:lnTo>
                    <a:lnTo>
                      <a:pt x="138" y="290"/>
                    </a:lnTo>
                    <a:lnTo>
                      <a:pt x="138" y="288"/>
                    </a:lnTo>
                    <a:lnTo>
                      <a:pt x="138" y="287"/>
                    </a:lnTo>
                    <a:lnTo>
                      <a:pt x="138" y="285"/>
                    </a:lnTo>
                    <a:lnTo>
                      <a:pt x="139" y="285"/>
                    </a:lnTo>
                    <a:lnTo>
                      <a:pt x="139" y="284"/>
                    </a:lnTo>
                    <a:lnTo>
                      <a:pt x="139" y="282"/>
                    </a:lnTo>
                    <a:lnTo>
                      <a:pt x="139" y="281"/>
                    </a:lnTo>
                    <a:lnTo>
                      <a:pt x="141" y="281"/>
                    </a:lnTo>
                    <a:lnTo>
                      <a:pt x="141" y="279"/>
                    </a:lnTo>
                    <a:lnTo>
                      <a:pt x="141" y="277"/>
                    </a:lnTo>
                    <a:lnTo>
                      <a:pt x="141" y="276"/>
                    </a:lnTo>
                    <a:lnTo>
                      <a:pt x="139" y="274"/>
                    </a:lnTo>
                    <a:lnTo>
                      <a:pt x="139" y="273"/>
                    </a:lnTo>
                    <a:lnTo>
                      <a:pt x="139" y="271"/>
                    </a:lnTo>
                    <a:lnTo>
                      <a:pt x="139" y="269"/>
                    </a:lnTo>
                    <a:lnTo>
                      <a:pt x="141" y="269"/>
                    </a:lnTo>
                    <a:lnTo>
                      <a:pt x="141" y="268"/>
                    </a:lnTo>
                    <a:lnTo>
                      <a:pt x="142" y="268"/>
                    </a:lnTo>
                    <a:lnTo>
                      <a:pt x="142" y="266"/>
                    </a:lnTo>
                    <a:lnTo>
                      <a:pt x="144" y="266"/>
                    </a:lnTo>
                    <a:lnTo>
                      <a:pt x="145" y="266"/>
                    </a:lnTo>
                    <a:lnTo>
                      <a:pt x="145" y="268"/>
                    </a:lnTo>
                    <a:lnTo>
                      <a:pt x="145" y="266"/>
                    </a:lnTo>
                    <a:lnTo>
                      <a:pt x="147" y="266"/>
                    </a:lnTo>
                    <a:lnTo>
                      <a:pt x="149" y="266"/>
                    </a:lnTo>
                    <a:lnTo>
                      <a:pt x="149" y="265"/>
                    </a:lnTo>
                    <a:lnTo>
                      <a:pt x="147" y="265"/>
                    </a:lnTo>
                    <a:lnTo>
                      <a:pt x="147" y="263"/>
                    </a:lnTo>
                    <a:lnTo>
                      <a:pt x="149" y="263"/>
                    </a:lnTo>
                    <a:lnTo>
                      <a:pt x="149" y="262"/>
                    </a:lnTo>
                    <a:lnTo>
                      <a:pt x="147" y="262"/>
                    </a:lnTo>
                    <a:lnTo>
                      <a:pt x="147" y="260"/>
                    </a:lnTo>
                    <a:lnTo>
                      <a:pt x="145" y="260"/>
                    </a:lnTo>
                    <a:lnTo>
                      <a:pt x="145" y="258"/>
                    </a:lnTo>
                    <a:lnTo>
                      <a:pt x="145" y="257"/>
                    </a:lnTo>
                    <a:lnTo>
                      <a:pt x="144" y="257"/>
                    </a:lnTo>
                    <a:lnTo>
                      <a:pt x="144" y="255"/>
                    </a:lnTo>
                    <a:lnTo>
                      <a:pt x="144" y="254"/>
                    </a:lnTo>
                    <a:lnTo>
                      <a:pt x="144" y="252"/>
                    </a:lnTo>
                    <a:lnTo>
                      <a:pt x="142" y="252"/>
                    </a:lnTo>
                    <a:lnTo>
                      <a:pt x="142" y="250"/>
                    </a:lnTo>
                    <a:lnTo>
                      <a:pt x="141" y="250"/>
                    </a:lnTo>
                    <a:lnTo>
                      <a:pt x="139" y="250"/>
                    </a:lnTo>
                    <a:lnTo>
                      <a:pt x="139" y="249"/>
                    </a:lnTo>
                    <a:lnTo>
                      <a:pt x="139" y="247"/>
                    </a:lnTo>
                    <a:lnTo>
                      <a:pt x="138" y="247"/>
                    </a:lnTo>
                    <a:lnTo>
                      <a:pt x="136" y="247"/>
                    </a:lnTo>
                    <a:lnTo>
                      <a:pt x="136" y="249"/>
                    </a:lnTo>
                    <a:lnTo>
                      <a:pt x="134" y="249"/>
                    </a:lnTo>
                    <a:lnTo>
                      <a:pt x="134" y="247"/>
                    </a:lnTo>
                    <a:lnTo>
                      <a:pt x="133" y="247"/>
                    </a:lnTo>
                    <a:lnTo>
                      <a:pt x="131" y="247"/>
                    </a:lnTo>
                    <a:lnTo>
                      <a:pt x="131" y="249"/>
                    </a:lnTo>
                    <a:lnTo>
                      <a:pt x="130" y="249"/>
                    </a:lnTo>
                    <a:lnTo>
                      <a:pt x="128" y="249"/>
                    </a:lnTo>
                    <a:lnTo>
                      <a:pt x="128" y="247"/>
                    </a:lnTo>
                    <a:lnTo>
                      <a:pt x="126" y="247"/>
                    </a:lnTo>
                    <a:lnTo>
                      <a:pt x="125" y="246"/>
                    </a:lnTo>
                    <a:lnTo>
                      <a:pt x="125" y="244"/>
                    </a:lnTo>
                    <a:lnTo>
                      <a:pt x="123" y="244"/>
                    </a:lnTo>
                    <a:lnTo>
                      <a:pt x="123" y="243"/>
                    </a:lnTo>
                    <a:lnTo>
                      <a:pt x="122" y="243"/>
                    </a:lnTo>
                    <a:lnTo>
                      <a:pt x="120" y="241"/>
                    </a:lnTo>
                    <a:lnTo>
                      <a:pt x="120" y="239"/>
                    </a:lnTo>
                    <a:lnTo>
                      <a:pt x="119" y="239"/>
                    </a:lnTo>
                    <a:lnTo>
                      <a:pt x="119" y="238"/>
                    </a:lnTo>
                    <a:lnTo>
                      <a:pt x="117" y="238"/>
                    </a:lnTo>
                    <a:lnTo>
                      <a:pt x="115" y="238"/>
                    </a:lnTo>
                    <a:lnTo>
                      <a:pt x="114" y="238"/>
                    </a:lnTo>
                    <a:lnTo>
                      <a:pt x="112" y="236"/>
                    </a:lnTo>
                    <a:lnTo>
                      <a:pt x="112" y="235"/>
                    </a:lnTo>
                    <a:lnTo>
                      <a:pt x="112" y="233"/>
                    </a:lnTo>
                    <a:lnTo>
                      <a:pt x="112" y="231"/>
                    </a:lnTo>
                    <a:lnTo>
                      <a:pt x="112" y="230"/>
                    </a:lnTo>
                    <a:lnTo>
                      <a:pt x="112" y="228"/>
                    </a:lnTo>
                    <a:lnTo>
                      <a:pt x="112" y="227"/>
                    </a:lnTo>
                    <a:lnTo>
                      <a:pt x="112" y="225"/>
                    </a:lnTo>
                    <a:lnTo>
                      <a:pt x="112" y="224"/>
                    </a:lnTo>
                    <a:lnTo>
                      <a:pt x="112" y="222"/>
                    </a:lnTo>
                    <a:lnTo>
                      <a:pt x="112" y="220"/>
                    </a:lnTo>
                    <a:lnTo>
                      <a:pt x="112" y="219"/>
                    </a:lnTo>
                    <a:lnTo>
                      <a:pt x="111" y="219"/>
                    </a:lnTo>
                    <a:lnTo>
                      <a:pt x="111" y="217"/>
                    </a:lnTo>
                    <a:lnTo>
                      <a:pt x="109" y="217"/>
                    </a:lnTo>
                    <a:lnTo>
                      <a:pt x="109" y="216"/>
                    </a:lnTo>
                    <a:lnTo>
                      <a:pt x="109" y="214"/>
                    </a:lnTo>
                    <a:lnTo>
                      <a:pt x="109" y="212"/>
                    </a:lnTo>
                    <a:lnTo>
                      <a:pt x="109" y="211"/>
                    </a:lnTo>
                    <a:lnTo>
                      <a:pt x="107" y="211"/>
                    </a:lnTo>
                    <a:lnTo>
                      <a:pt x="107" y="209"/>
                    </a:lnTo>
                    <a:lnTo>
                      <a:pt x="107" y="208"/>
                    </a:lnTo>
                    <a:lnTo>
                      <a:pt x="109" y="208"/>
                    </a:lnTo>
                    <a:lnTo>
                      <a:pt x="109" y="206"/>
                    </a:lnTo>
                    <a:lnTo>
                      <a:pt x="109" y="205"/>
                    </a:lnTo>
                    <a:lnTo>
                      <a:pt x="109" y="203"/>
                    </a:lnTo>
                    <a:lnTo>
                      <a:pt x="107" y="203"/>
                    </a:lnTo>
                    <a:lnTo>
                      <a:pt x="107" y="201"/>
                    </a:lnTo>
                    <a:lnTo>
                      <a:pt x="107" y="200"/>
                    </a:lnTo>
                    <a:lnTo>
                      <a:pt x="106" y="200"/>
                    </a:lnTo>
                    <a:lnTo>
                      <a:pt x="104" y="200"/>
                    </a:lnTo>
                    <a:lnTo>
                      <a:pt x="103" y="200"/>
                    </a:lnTo>
                    <a:lnTo>
                      <a:pt x="101" y="200"/>
                    </a:lnTo>
                    <a:lnTo>
                      <a:pt x="100" y="201"/>
                    </a:lnTo>
                    <a:lnTo>
                      <a:pt x="100" y="203"/>
                    </a:lnTo>
                    <a:lnTo>
                      <a:pt x="98" y="203"/>
                    </a:lnTo>
                    <a:lnTo>
                      <a:pt x="96" y="203"/>
                    </a:lnTo>
                    <a:lnTo>
                      <a:pt x="95" y="203"/>
                    </a:lnTo>
                    <a:lnTo>
                      <a:pt x="93" y="203"/>
                    </a:lnTo>
                    <a:lnTo>
                      <a:pt x="92" y="203"/>
                    </a:lnTo>
                    <a:lnTo>
                      <a:pt x="92" y="201"/>
                    </a:lnTo>
                    <a:lnTo>
                      <a:pt x="93" y="200"/>
                    </a:lnTo>
                    <a:lnTo>
                      <a:pt x="92" y="200"/>
                    </a:lnTo>
                    <a:lnTo>
                      <a:pt x="92" y="198"/>
                    </a:lnTo>
                    <a:lnTo>
                      <a:pt x="90" y="198"/>
                    </a:lnTo>
                    <a:lnTo>
                      <a:pt x="88" y="198"/>
                    </a:lnTo>
                    <a:lnTo>
                      <a:pt x="88" y="197"/>
                    </a:lnTo>
                    <a:lnTo>
                      <a:pt x="87" y="197"/>
                    </a:lnTo>
                    <a:lnTo>
                      <a:pt x="85" y="197"/>
                    </a:lnTo>
                    <a:lnTo>
                      <a:pt x="85" y="195"/>
                    </a:lnTo>
                    <a:lnTo>
                      <a:pt x="85" y="193"/>
                    </a:lnTo>
                    <a:lnTo>
                      <a:pt x="85" y="192"/>
                    </a:lnTo>
                    <a:lnTo>
                      <a:pt x="84" y="192"/>
                    </a:lnTo>
                    <a:lnTo>
                      <a:pt x="82" y="192"/>
                    </a:lnTo>
                    <a:lnTo>
                      <a:pt x="82" y="190"/>
                    </a:lnTo>
                    <a:lnTo>
                      <a:pt x="84" y="190"/>
                    </a:lnTo>
                    <a:lnTo>
                      <a:pt x="84" y="189"/>
                    </a:lnTo>
                    <a:lnTo>
                      <a:pt x="82" y="189"/>
                    </a:lnTo>
                    <a:lnTo>
                      <a:pt x="81" y="187"/>
                    </a:lnTo>
                    <a:lnTo>
                      <a:pt x="79" y="187"/>
                    </a:lnTo>
                    <a:lnTo>
                      <a:pt x="77" y="187"/>
                    </a:lnTo>
                    <a:lnTo>
                      <a:pt x="76" y="187"/>
                    </a:lnTo>
                    <a:lnTo>
                      <a:pt x="74" y="187"/>
                    </a:lnTo>
                    <a:lnTo>
                      <a:pt x="74" y="189"/>
                    </a:lnTo>
                    <a:lnTo>
                      <a:pt x="74" y="190"/>
                    </a:lnTo>
                    <a:lnTo>
                      <a:pt x="73" y="190"/>
                    </a:lnTo>
                    <a:lnTo>
                      <a:pt x="73" y="192"/>
                    </a:lnTo>
                    <a:lnTo>
                      <a:pt x="71" y="192"/>
                    </a:lnTo>
                    <a:lnTo>
                      <a:pt x="69" y="192"/>
                    </a:lnTo>
                    <a:lnTo>
                      <a:pt x="68" y="190"/>
                    </a:lnTo>
                    <a:lnTo>
                      <a:pt x="66" y="190"/>
                    </a:lnTo>
                    <a:lnTo>
                      <a:pt x="66" y="189"/>
                    </a:lnTo>
                    <a:lnTo>
                      <a:pt x="65" y="189"/>
                    </a:lnTo>
                    <a:lnTo>
                      <a:pt x="63" y="189"/>
                    </a:lnTo>
                    <a:lnTo>
                      <a:pt x="63" y="187"/>
                    </a:lnTo>
                    <a:lnTo>
                      <a:pt x="62" y="187"/>
                    </a:lnTo>
                    <a:lnTo>
                      <a:pt x="62" y="189"/>
                    </a:lnTo>
                    <a:lnTo>
                      <a:pt x="62" y="190"/>
                    </a:lnTo>
                    <a:lnTo>
                      <a:pt x="60" y="190"/>
                    </a:lnTo>
                    <a:lnTo>
                      <a:pt x="58" y="189"/>
                    </a:lnTo>
                    <a:lnTo>
                      <a:pt x="57" y="189"/>
                    </a:lnTo>
                    <a:lnTo>
                      <a:pt x="57" y="187"/>
                    </a:lnTo>
                    <a:lnTo>
                      <a:pt x="55" y="187"/>
                    </a:lnTo>
                    <a:lnTo>
                      <a:pt x="54" y="187"/>
                    </a:lnTo>
                    <a:lnTo>
                      <a:pt x="52" y="185"/>
                    </a:lnTo>
                    <a:lnTo>
                      <a:pt x="52" y="184"/>
                    </a:lnTo>
                    <a:lnTo>
                      <a:pt x="52" y="182"/>
                    </a:lnTo>
                    <a:lnTo>
                      <a:pt x="50" y="182"/>
                    </a:lnTo>
                    <a:lnTo>
                      <a:pt x="49" y="182"/>
                    </a:lnTo>
                    <a:lnTo>
                      <a:pt x="49" y="181"/>
                    </a:lnTo>
                    <a:lnTo>
                      <a:pt x="47" y="181"/>
                    </a:lnTo>
                    <a:lnTo>
                      <a:pt x="47" y="182"/>
                    </a:lnTo>
                    <a:lnTo>
                      <a:pt x="46" y="182"/>
                    </a:lnTo>
                    <a:lnTo>
                      <a:pt x="44" y="181"/>
                    </a:lnTo>
                    <a:lnTo>
                      <a:pt x="43" y="182"/>
                    </a:lnTo>
                    <a:lnTo>
                      <a:pt x="41" y="182"/>
                    </a:lnTo>
                    <a:lnTo>
                      <a:pt x="39" y="182"/>
                    </a:lnTo>
                    <a:lnTo>
                      <a:pt x="38" y="182"/>
                    </a:lnTo>
                    <a:lnTo>
                      <a:pt x="36" y="182"/>
                    </a:lnTo>
                    <a:lnTo>
                      <a:pt x="36" y="181"/>
                    </a:lnTo>
                    <a:lnTo>
                      <a:pt x="35" y="181"/>
                    </a:lnTo>
                    <a:lnTo>
                      <a:pt x="33" y="181"/>
                    </a:lnTo>
                    <a:lnTo>
                      <a:pt x="31" y="181"/>
                    </a:lnTo>
                    <a:lnTo>
                      <a:pt x="30" y="181"/>
                    </a:lnTo>
                    <a:lnTo>
                      <a:pt x="28" y="181"/>
                    </a:lnTo>
                    <a:lnTo>
                      <a:pt x="27" y="181"/>
                    </a:lnTo>
                    <a:lnTo>
                      <a:pt x="27" y="179"/>
                    </a:lnTo>
                    <a:lnTo>
                      <a:pt x="25" y="179"/>
                    </a:lnTo>
                    <a:lnTo>
                      <a:pt x="25" y="178"/>
                    </a:lnTo>
                    <a:lnTo>
                      <a:pt x="24" y="178"/>
                    </a:lnTo>
                    <a:lnTo>
                      <a:pt x="25" y="178"/>
                    </a:lnTo>
                    <a:lnTo>
                      <a:pt x="27" y="176"/>
                    </a:lnTo>
                    <a:lnTo>
                      <a:pt x="28" y="176"/>
                    </a:lnTo>
                    <a:lnTo>
                      <a:pt x="30" y="176"/>
                    </a:lnTo>
                    <a:lnTo>
                      <a:pt x="31" y="174"/>
                    </a:lnTo>
                    <a:lnTo>
                      <a:pt x="31" y="173"/>
                    </a:lnTo>
                    <a:lnTo>
                      <a:pt x="31" y="171"/>
                    </a:lnTo>
                    <a:lnTo>
                      <a:pt x="31" y="170"/>
                    </a:lnTo>
                    <a:lnTo>
                      <a:pt x="30" y="170"/>
                    </a:lnTo>
                    <a:lnTo>
                      <a:pt x="30" y="168"/>
                    </a:lnTo>
                    <a:lnTo>
                      <a:pt x="30" y="166"/>
                    </a:lnTo>
                    <a:lnTo>
                      <a:pt x="28" y="166"/>
                    </a:lnTo>
                    <a:lnTo>
                      <a:pt x="28" y="165"/>
                    </a:lnTo>
                    <a:lnTo>
                      <a:pt x="27" y="165"/>
                    </a:lnTo>
                    <a:lnTo>
                      <a:pt x="27" y="163"/>
                    </a:lnTo>
                    <a:lnTo>
                      <a:pt x="25" y="163"/>
                    </a:lnTo>
                    <a:lnTo>
                      <a:pt x="27" y="163"/>
                    </a:lnTo>
                    <a:lnTo>
                      <a:pt x="28" y="162"/>
                    </a:lnTo>
                    <a:lnTo>
                      <a:pt x="30" y="162"/>
                    </a:lnTo>
                    <a:lnTo>
                      <a:pt x="28" y="162"/>
                    </a:lnTo>
                    <a:lnTo>
                      <a:pt x="28" y="160"/>
                    </a:lnTo>
                    <a:lnTo>
                      <a:pt x="27" y="160"/>
                    </a:lnTo>
                    <a:lnTo>
                      <a:pt x="27" y="159"/>
                    </a:lnTo>
                    <a:lnTo>
                      <a:pt x="27" y="157"/>
                    </a:lnTo>
                    <a:lnTo>
                      <a:pt x="27" y="155"/>
                    </a:lnTo>
                    <a:lnTo>
                      <a:pt x="25" y="155"/>
                    </a:lnTo>
                    <a:lnTo>
                      <a:pt x="24" y="154"/>
                    </a:lnTo>
                    <a:lnTo>
                      <a:pt x="22" y="154"/>
                    </a:lnTo>
                    <a:lnTo>
                      <a:pt x="22" y="152"/>
                    </a:lnTo>
                    <a:lnTo>
                      <a:pt x="22" y="151"/>
                    </a:lnTo>
                    <a:lnTo>
                      <a:pt x="20" y="149"/>
                    </a:lnTo>
                    <a:lnTo>
                      <a:pt x="20" y="147"/>
                    </a:lnTo>
                    <a:lnTo>
                      <a:pt x="20" y="146"/>
                    </a:lnTo>
                    <a:lnTo>
                      <a:pt x="19" y="146"/>
                    </a:lnTo>
                    <a:lnTo>
                      <a:pt x="20" y="146"/>
                    </a:lnTo>
                    <a:lnTo>
                      <a:pt x="22" y="146"/>
                    </a:lnTo>
                    <a:lnTo>
                      <a:pt x="24" y="146"/>
                    </a:lnTo>
                    <a:lnTo>
                      <a:pt x="25" y="146"/>
                    </a:lnTo>
                    <a:lnTo>
                      <a:pt x="25" y="147"/>
                    </a:lnTo>
                    <a:lnTo>
                      <a:pt x="27" y="147"/>
                    </a:lnTo>
                    <a:lnTo>
                      <a:pt x="28" y="147"/>
                    </a:lnTo>
                    <a:lnTo>
                      <a:pt x="30" y="147"/>
                    </a:lnTo>
                    <a:lnTo>
                      <a:pt x="31" y="147"/>
                    </a:lnTo>
                    <a:lnTo>
                      <a:pt x="31" y="146"/>
                    </a:lnTo>
                    <a:lnTo>
                      <a:pt x="33" y="146"/>
                    </a:lnTo>
                    <a:lnTo>
                      <a:pt x="33" y="144"/>
                    </a:lnTo>
                    <a:lnTo>
                      <a:pt x="33" y="143"/>
                    </a:lnTo>
                    <a:lnTo>
                      <a:pt x="33" y="141"/>
                    </a:lnTo>
                    <a:lnTo>
                      <a:pt x="35" y="141"/>
                    </a:lnTo>
                    <a:lnTo>
                      <a:pt x="35" y="140"/>
                    </a:lnTo>
                    <a:lnTo>
                      <a:pt x="35" y="138"/>
                    </a:lnTo>
                    <a:lnTo>
                      <a:pt x="35" y="140"/>
                    </a:lnTo>
                    <a:lnTo>
                      <a:pt x="33" y="140"/>
                    </a:lnTo>
                    <a:lnTo>
                      <a:pt x="33" y="138"/>
                    </a:lnTo>
                    <a:lnTo>
                      <a:pt x="31" y="138"/>
                    </a:lnTo>
                    <a:lnTo>
                      <a:pt x="31" y="136"/>
                    </a:lnTo>
                    <a:lnTo>
                      <a:pt x="30" y="136"/>
                    </a:lnTo>
                    <a:lnTo>
                      <a:pt x="28" y="136"/>
                    </a:lnTo>
                    <a:lnTo>
                      <a:pt x="27" y="136"/>
                    </a:lnTo>
                    <a:lnTo>
                      <a:pt x="27" y="138"/>
                    </a:lnTo>
                    <a:lnTo>
                      <a:pt x="25" y="138"/>
                    </a:lnTo>
                    <a:lnTo>
                      <a:pt x="25" y="140"/>
                    </a:lnTo>
                    <a:lnTo>
                      <a:pt x="24" y="140"/>
                    </a:lnTo>
                    <a:lnTo>
                      <a:pt x="22" y="140"/>
                    </a:lnTo>
                    <a:lnTo>
                      <a:pt x="22" y="141"/>
                    </a:lnTo>
                    <a:lnTo>
                      <a:pt x="20" y="141"/>
                    </a:lnTo>
                    <a:lnTo>
                      <a:pt x="19" y="141"/>
                    </a:lnTo>
                    <a:lnTo>
                      <a:pt x="19" y="140"/>
                    </a:lnTo>
                    <a:lnTo>
                      <a:pt x="17" y="140"/>
                    </a:lnTo>
                    <a:lnTo>
                      <a:pt x="17" y="138"/>
                    </a:lnTo>
                    <a:lnTo>
                      <a:pt x="16" y="138"/>
                    </a:lnTo>
                    <a:lnTo>
                      <a:pt x="16" y="136"/>
                    </a:lnTo>
                    <a:lnTo>
                      <a:pt x="14" y="136"/>
                    </a:lnTo>
                    <a:lnTo>
                      <a:pt x="14" y="135"/>
                    </a:lnTo>
                    <a:lnTo>
                      <a:pt x="12" y="135"/>
                    </a:lnTo>
                    <a:lnTo>
                      <a:pt x="12" y="133"/>
                    </a:lnTo>
                    <a:lnTo>
                      <a:pt x="11" y="133"/>
                    </a:lnTo>
                    <a:lnTo>
                      <a:pt x="11" y="132"/>
                    </a:lnTo>
                    <a:lnTo>
                      <a:pt x="9" y="132"/>
                    </a:lnTo>
                    <a:lnTo>
                      <a:pt x="9" y="130"/>
                    </a:lnTo>
                    <a:lnTo>
                      <a:pt x="11" y="130"/>
                    </a:lnTo>
                    <a:lnTo>
                      <a:pt x="9" y="130"/>
                    </a:lnTo>
                    <a:lnTo>
                      <a:pt x="9" y="128"/>
                    </a:lnTo>
                    <a:lnTo>
                      <a:pt x="9" y="127"/>
                    </a:lnTo>
                    <a:lnTo>
                      <a:pt x="8" y="127"/>
                    </a:lnTo>
                    <a:lnTo>
                      <a:pt x="6" y="127"/>
                    </a:lnTo>
                    <a:lnTo>
                      <a:pt x="4" y="127"/>
                    </a:lnTo>
                    <a:lnTo>
                      <a:pt x="4" y="125"/>
                    </a:lnTo>
                    <a:lnTo>
                      <a:pt x="3" y="127"/>
                    </a:lnTo>
                    <a:lnTo>
                      <a:pt x="3" y="125"/>
                    </a:lnTo>
                    <a:lnTo>
                      <a:pt x="1" y="125"/>
                    </a:lnTo>
                    <a:lnTo>
                      <a:pt x="1" y="124"/>
                    </a:lnTo>
                    <a:lnTo>
                      <a:pt x="0" y="124"/>
                    </a:lnTo>
                  </a:path>
                </a:pathLst>
              </a:custGeom>
              <a:noFill/>
              <a:ln w="476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23" name="Freeform 21"/>
              <p:cNvSpPr>
                <a:spLocks/>
              </p:cNvSpPr>
              <p:nvPr/>
            </p:nvSpPr>
            <p:spPr bwMode="auto">
              <a:xfrm>
                <a:off x="1763" y="1511"/>
                <a:ext cx="434" cy="807"/>
              </a:xfrm>
              <a:custGeom>
                <a:avLst/>
                <a:gdLst>
                  <a:gd name="T0" fmla="*/ 327 w 434"/>
                  <a:gd name="T1" fmla="*/ 585 h 807"/>
                  <a:gd name="T2" fmla="*/ 310 w 434"/>
                  <a:gd name="T3" fmla="*/ 580 h 807"/>
                  <a:gd name="T4" fmla="*/ 283 w 434"/>
                  <a:gd name="T5" fmla="*/ 583 h 807"/>
                  <a:gd name="T6" fmla="*/ 267 w 434"/>
                  <a:gd name="T7" fmla="*/ 582 h 807"/>
                  <a:gd name="T8" fmla="*/ 269 w 434"/>
                  <a:gd name="T9" fmla="*/ 560 h 807"/>
                  <a:gd name="T10" fmla="*/ 253 w 434"/>
                  <a:gd name="T11" fmla="*/ 552 h 807"/>
                  <a:gd name="T12" fmla="*/ 239 w 434"/>
                  <a:gd name="T13" fmla="*/ 561 h 807"/>
                  <a:gd name="T14" fmla="*/ 225 w 434"/>
                  <a:gd name="T15" fmla="*/ 560 h 807"/>
                  <a:gd name="T16" fmla="*/ 229 w 434"/>
                  <a:gd name="T17" fmla="*/ 572 h 807"/>
                  <a:gd name="T18" fmla="*/ 226 w 434"/>
                  <a:gd name="T19" fmla="*/ 591 h 807"/>
                  <a:gd name="T20" fmla="*/ 228 w 434"/>
                  <a:gd name="T21" fmla="*/ 606 h 807"/>
                  <a:gd name="T22" fmla="*/ 217 w 434"/>
                  <a:gd name="T23" fmla="*/ 618 h 807"/>
                  <a:gd name="T24" fmla="*/ 201 w 434"/>
                  <a:gd name="T25" fmla="*/ 631 h 807"/>
                  <a:gd name="T26" fmla="*/ 202 w 434"/>
                  <a:gd name="T27" fmla="*/ 644 h 807"/>
                  <a:gd name="T28" fmla="*/ 204 w 434"/>
                  <a:gd name="T29" fmla="*/ 667 h 807"/>
                  <a:gd name="T30" fmla="*/ 202 w 434"/>
                  <a:gd name="T31" fmla="*/ 682 h 807"/>
                  <a:gd name="T32" fmla="*/ 187 w 434"/>
                  <a:gd name="T33" fmla="*/ 696 h 807"/>
                  <a:gd name="T34" fmla="*/ 169 w 434"/>
                  <a:gd name="T35" fmla="*/ 686 h 807"/>
                  <a:gd name="T36" fmla="*/ 147 w 434"/>
                  <a:gd name="T37" fmla="*/ 677 h 807"/>
                  <a:gd name="T38" fmla="*/ 129 w 434"/>
                  <a:gd name="T39" fmla="*/ 663 h 807"/>
                  <a:gd name="T40" fmla="*/ 117 w 434"/>
                  <a:gd name="T41" fmla="*/ 667 h 807"/>
                  <a:gd name="T42" fmla="*/ 96 w 434"/>
                  <a:gd name="T43" fmla="*/ 663 h 807"/>
                  <a:gd name="T44" fmla="*/ 93 w 434"/>
                  <a:gd name="T45" fmla="*/ 672 h 807"/>
                  <a:gd name="T46" fmla="*/ 106 w 434"/>
                  <a:gd name="T47" fmla="*/ 686 h 807"/>
                  <a:gd name="T48" fmla="*/ 117 w 434"/>
                  <a:gd name="T49" fmla="*/ 705 h 807"/>
                  <a:gd name="T50" fmla="*/ 103 w 434"/>
                  <a:gd name="T51" fmla="*/ 712 h 807"/>
                  <a:gd name="T52" fmla="*/ 98 w 434"/>
                  <a:gd name="T53" fmla="*/ 726 h 807"/>
                  <a:gd name="T54" fmla="*/ 80 w 434"/>
                  <a:gd name="T55" fmla="*/ 723 h 807"/>
                  <a:gd name="T56" fmla="*/ 91 w 434"/>
                  <a:gd name="T57" fmla="*/ 731 h 807"/>
                  <a:gd name="T58" fmla="*/ 101 w 434"/>
                  <a:gd name="T59" fmla="*/ 740 h 807"/>
                  <a:gd name="T60" fmla="*/ 101 w 434"/>
                  <a:gd name="T61" fmla="*/ 748 h 807"/>
                  <a:gd name="T62" fmla="*/ 90 w 434"/>
                  <a:gd name="T63" fmla="*/ 756 h 807"/>
                  <a:gd name="T64" fmla="*/ 85 w 434"/>
                  <a:gd name="T65" fmla="*/ 780 h 807"/>
                  <a:gd name="T66" fmla="*/ 74 w 434"/>
                  <a:gd name="T67" fmla="*/ 799 h 807"/>
                  <a:gd name="T68" fmla="*/ 53 w 434"/>
                  <a:gd name="T69" fmla="*/ 805 h 807"/>
                  <a:gd name="T70" fmla="*/ 31 w 434"/>
                  <a:gd name="T71" fmla="*/ 800 h 807"/>
                  <a:gd name="T72" fmla="*/ 9 w 434"/>
                  <a:gd name="T73" fmla="*/ 799 h 807"/>
                  <a:gd name="T74" fmla="*/ 1 w 434"/>
                  <a:gd name="T75" fmla="*/ 683 h 807"/>
                  <a:gd name="T76" fmla="*/ 33 w 434"/>
                  <a:gd name="T77" fmla="*/ 596 h 807"/>
                  <a:gd name="T78" fmla="*/ 65 w 434"/>
                  <a:gd name="T79" fmla="*/ 529 h 807"/>
                  <a:gd name="T80" fmla="*/ 55 w 434"/>
                  <a:gd name="T81" fmla="*/ 449 h 807"/>
                  <a:gd name="T82" fmla="*/ 52 w 434"/>
                  <a:gd name="T83" fmla="*/ 411 h 807"/>
                  <a:gd name="T84" fmla="*/ 82 w 434"/>
                  <a:gd name="T85" fmla="*/ 366 h 807"/>
                  <a:gd name="T86" fmla="*/ 145 w 434"/>
                  <a:gd name="T87" fmla="*/ 303 h 807"/>
                  <a:gd name="T88" fmla="*/ 196 w 434"/>
                  <a:gd name="T89" fmla="*/ 349 h 807"/>
                  <a:gd name="T90" fmla="*/ 223 w 434"/>
                  <a:gd name="T91" fmla="*/ 339 h 807"/>
                  <a:gd name="T92" fmla="*/ 248 w 434"/>
                  <a:gd name="T93" fmla="*/ 293 h 807"/>
                  <a:gd name="T94" fmla="*/ 261 w 434"/>
                  <a:gd name="T95" fmla="*/ 230 h 807"/>
                  <a:gd name="T96" fmla="*/ 277 w 434"/>
                  <a:gd name="T97" fmla="*/ 146 h 807"/>
                  <a:gd name="T98" fmla="*/ 280 w 434"/>
                  <a:gd name="T99" fmla="*/ 78 h 807"/>
                  <a:gd name="T100" fmla="*/ 313 w 434"/>
                  <a:gd name="T101" fmla="*/ 21 h 807"/>
                  <a:gd name="T102" fmla="*/ 342 w 434"/>
                  <a:gd name="T103" fmla="*/ 7 h 807"/>
                  <a:gd name="T104" fmla="*/ 343 w 434"/>
                  <a:gd name="T105" fmla="*/ 27 h 807"/>
                  <a:gd name="T106" fmla="*/ 346 w 434"/>
                  <a:gd name="T107" fmla="*/ 40 h 807"/>
                  <a:gd name="T108" fmla="*/ 362 w 434"/>
                  <a:gd name="T109" fmla="*/ 41 h 807"/>
                  <a:gd name="T110" fmla="*/ 377 w 434"/>
                  <a:gd name="T111" fmla="*/ 43 h 807"/>
                  <a:gd name="T112" fmla="*/ 392 w 434"/>
                  <a:gd name="T113" fmla="*/ 40 h 807"/>
                  <a:gd name="T114" fmla="*/ 408 w 434"/>
                  <a:gd name="T115" fmla="*/ 38 h 807"/>
                  <a:gd name="T116" fmla="*/ 421 w 434"/>
                  <a:gd name="T117" fmla="*/ 38 h 807"/>
                  <a:gd name="T118" fmla="*/ 430 w 434"/>
                  <a:gd name="T119" fmla="*/ 22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34" h="807">
                    <a:moveTo>
                      <a:pt x="342" y="590"/>
                    </a:moveTo>
                    <a:lnTo>
                      <a:pt x="342" y="588"/>
                    </a:lnTo>
                    <a:lnTo>
                      <a:pt x="340" y="588"/>
                    </a:lnTo>
                    <a:lnTo>
                      <a:pt x="340" y="587"/>
                    </a:lnTo>
                    <a:lnTo>
                      <a:pt x="339" y="587"/>
                    </a:lnTo>
                    <a:lnTo>
                      <a:pt x="339" y="585"/>
                    </a:lnTo>
                    <a:lnTo>
                      <a:pt x="337" y="585"/>
                    </a:lnTo>
                    <a:lnTo>
                      <a:pt x="335" y="585"/>
                    </a:lnTo>
                    <a:lnTo>
                      <a:pt x="335" y="583"/>
                    </a:lnTo>
                    <a:lnTo>
                      <a:pt x="334" y="583"/>
                    </a:lnTo>
                    <a:lnTo>
                      <a:pt x="332" y="583"/>
                    </a:lnTo>
                    <a:lnTo>
                      <a:pt x="332" y="582"/>
                    </a:lnTo>
                    <a:lnTo>
                      <a:pt x="331" y="582"/>
                    </a:lnTo>
                    <a:lnTo>
                      <a:pt x="331" y="583"/>
                    </a:lnTo>
                    <a:lnTo>
                      <a:pt x="329" y="583"/>
                    </a:lnTo>
                    <a:lnTo>
                      <a:pt x="329" y="585"/>
                    </a:lnTo>
                    <a:lnTo>
                      <a:pt x="327" y="585"/>
                    </a:lnTo>
                    <a:lnTo>
                      <a:pt x="326" y="585"/>
                    </a:lnTo>
                    <a:lnTo>
                      <a:pt x="326" y="587"/>
                    </a:lnTo>
                    <a:lnTo>
                      <a:pt x="324" y="588"/>
                    </a:lnTo>
                    <a:lnTo>
                      <a:pt x="324" y="587"/>
                    </a:lnTo>
                    <a:lnTo>
                      <a:pt x="323" y="587"/>
                    </a:lnTo>
                    <a:lnTo>
                      <a:pt x="321" y="587"/>
                    </a:lnTo>
                    <a:lnTo>
                      <a:pt x="320" y="587"/>
                    </a:lnTo>
                    <a:lnTo>
                      <a:pt x="318" y="587"/>
                    </a:lnTo>
                    <a:lnTo>
                      <a:pt x="316" y="587"/>
                    </a:lnTo>
                    <a:lnTo>
                      <a:pt x="315" y="587"/>
                    </a:lnTo>
                    <a:lnTo>
                      <a:pt x="315" y="585"/>
                    </a:lnTo>
                    <a:lnTo>
                      <a:pt x="313" y="585"/>
                    </a:lnTo>
                    <a:lnTo>
                      <a:pt x="313" y="583"/>
                    </a:lnTo>
                    <a:lnTo>
                      <a:pt x="312" y="583"/>
                    </a:lnTo>
                    <a:lnTo>
                      <a:pt x="312" y="582"/>
                    </a:lnTo>
                    <a:lnTo>
                      <a:pt x="310" y="582"/>
                    </a:lnTo>
                    <a:lnTo>
                      <a:pt x="310" y="580"/>
                    </a:lnTo>
                    <a:lnTo>
                      <a:pt x="310" y="579"/>
                    </a:lnTo>
                    <a:lnTo>
                      <a:pt x="308" y="579"/>
                    </a:lnTo>
                    <a:lnTo>
                      <a:pt x="308" y="577"/>
                    </a:lnTo>
                    <a:lnTo>
                      <a:pt x="308" y="575"/>
                    </a:lnTo>
                    <a:lnTo>
                      <a:pt x="296" y="574"/>
                    </a:lnTo>
                    <a:lnTo>
                      <a:pt x="296" y="575"/>
                    </a:lnTo>
                    <a:lnTo>
                      <a:pt x="294" y="575"/>
                    </a:lnTo>
                    <a:lnTo>
                      <a:pt x="293" y="575"/>
                    </a:lnTo>
                    <a:lnTo>
                      <a:pt x="293" y="577"/>
                    </a:lnTo>
                    <a:lnTo>
                      <a:pt x="291" y="577"/>
                    </a:lnTo>
                    <a:lnTo>
                      <a:pt x="289" y="577"/>
                    </a:lnTo>
                    <a:lnTo>
                      <a:pt x="288" y="577"/>
                    </a:lnTo>
                    <a:lnTo>
                      <a:pt x="286" y="577"/>
                    </a:lnTo>
                    <a:lnTo>
                      <a:pt x="286" y="579"/>
                    </a:lnTo>
                    <a:lnTo>
                      <a:pt x="285" y="582"/>
                    </a:lnTo>
                    <a:lnTo>
                      <a:pt x="285" y="583"/>
                    </a:lnTo>
                    <a:lnTo>
                      <a:pt x="283" y="583"/>
                    </a:lnTo>
                    <a:lnTo>
                      <a:pt x="283" y="585"/>
                    </a:lnTo>
                    <a:lnTo>
                      <a:pt x="282" y="585"/>
                    </a:lnTo>
                    <a:lnTo>
                      <a:pt x="282" y="587"/>
                    </a:lnTo>
                    <a:lnTo>
                      <a:pt x="280" y="587"/>
                    </a:lnTo>
                    <a:lnTo>
                      <a:pt x="278" y="587"/>
                    </a:lnTo>
                    <a:lnTo>
                      <a:pt x="278" y="585"/>
                    </a:lnTo>
                    <a:lnTo>
                      <a:pt x="277" y="585"/>
                    </a:lnTo>
                    <a:lnTo>
                      <a:pt x="275" y="585"/>
                    </a:lnTo>
                    <a:lnTo>
                      <a:pt x="274" y="585"/>
                    </a:lnTo>
                    <a:lnTo>
                      <a:pt x="272" y="585"/>
                    </a:lnTo>
                    <a:lnTo>
                      <a:pt x="270" y="585"/>
                    </a:lnTo>
                    <a:lnTo>
                      <a:pt x="270" y="583"/>
                    </a:lnTo>
                    <a:lnTo>
                      <a:pt x="269" y="583"/>
                    </a:lnTo>
                    <a:lnTo>
                      <a:pt x="269" y="582"/>
                    </a:lnTo>
                    <a:lnTo>
                      <a:pt x="267" y="582"/>
                    </a:lnTo>
                    <a:lnTo>
                      <a:pt x="266" y="582"/>
                    </a:lnTo>
                    <a:lnTo>
                      <a:pt x="267" y="582"/>
                    </a:lnTo>
                    <a:lnTo>
                      <a:pt x="266" y="580"/>
                    </a:lnTo>
                    <a:lnTo>
                      <a:pt x="266" y="579"/>
                    </a:lnTo>
                    <a:lnTo>
                      <a:pt x="266" y="577"/>
                    </a:lnTo>
                    <a:lnTo>
                      <a:pt x="266" y="575"/>
                    </a:lnTo>
                    <a:lnTo>
                      <a:pt x="266" y="574"/>
                    </a:lnTo>
                    <a:lnTo>
                      <a:pt x="267" y="574"/>
                    </a:lnTo>
                    <a:lnTo>
                      <a:pt x="267" y="572"/>
                    </a:lnTo>
                    <a:lnTo>
                      <a:pt x="267" y="571"/>
                    </a:lnTo>
                    <a:lnTo>
                      <a:pt x="269" y="571"/>
                    </a:lnTo>
                    <a:lnTo>
                      <a:pt x="267" y="569"/>
                    </a:lnTo>
                    <a:lnTo>
                      <a:pt x="267" y="568"/>
                    </a:lnTo>
                    <a:lnTo>
                      <a:pt x="267" y="566"/>
                    </a:lnTo>
                    <a:lnTo>
                      <a:pt x="267" y="564"/>
                    </a:lnTo>
                    <a:lnTo>
                      <a:pt x="267" y="563"/>
                    </a:lnTo>
                    <a:lnTo>
                      <a:pt x="267" y="561"/>
                    </a:lnTo>
                    <a:lnTo>
                      <a:pt x="267" y="560"/>
                    </a:lnTo>
                    <a:lnTo>
                      <a:pt x="269" y="560"/>
                    </a:lnTo>
                    <a:lnTo>
                      <a:pt x="269" y="558"/>
                    </a:lnTo>
                    <a:lnTo>
                      <a:pt x="267" y="558"/>
                    </a:lnTo>
                    <a:lnTo>
                      <a:pt x="269" y="558"/>
                    </a:lnTo>
                    <a:lnTo>
                      <a:pt x="269" y="556"/>
                    </a:lnTo>
                    <a:lnTo>
                      <a:pt x="267" y="556"/>
                    </a:lnTo>
                    <a:lnTo>
                      <a:pt x="267" y="555"/>
                    </a:lnTo>
                    <a:lnTo>
                      <a:pt x="266" y="555"/>
                    </a:lnTo>
                    <a:lnTo>
                      <a:pt x="264" y="555"/>
                    </a:lnTo>
                    <a:lnTo>
                      <a:pt x="263" y="555"/>
                    </a:lnTo>
                    <a:lnTo>
                      <a:pt x="261" y="555"/>
                    </a:lnTo>
                    <a:lnTo>
                      <a:pt x="259" y="555"/>
                    </a:lnTo>
                    <a:lnTo>
                      <a:pt x="258" y="555"/>
                    </a:lnTo>
                    <a:lnTo>
                      <a:pt x="256" y="555"/>
                    </a:lnTo>
                    <a:lnTo>
                      <a:pt x="256" y="553"/>
                    </a:lnTo>
                    <a:lnTo>
                      <a:pt x="255" y="553"/>
                    </a:lnTo>
                    <a:lnTo>
                      <a:pt x="253" y="553"/>
                    </a:lnTo>
                    <a:lnTo>
                      <a:pt x="253" y="552"/>
                    </a:lnTo>
                    <a:lnTo>
                      <a:pt x="251" y="552"/>
                    </a:lnTo>
                    <a:lnTo>
                      <a:pt x="251" y="553"/>
                    </a:lnTo>
                    <a:lnTo>
                      <a:pt x="250" y="553"/>
                    </a:lnTo>
                    <a:lnTo>
                      <a:pt x="250" y="555"/>
                    </a:lnTo>
                    <a:lnTo>
                      <a:pt x="250" y="556"/>
                    </a:lnTo>
                    <a:lnTo>
                      <a:pt x="250" y="558"/>
                    </a:lnTo>
                    <a:lnTo>
                      <a:pt x="250" y="560"/>
                    </a:lnTo>
                    <a:lnTo>
                      <a:pt x="248" y="560"/>
                    </a:lnTo>
                    <a:lnTo>
                      <a:pt x="248" y="561"/>
                    </a:lnTo>
                    <a:lnTo>
                      <a:pt x="248" y="563"/>
                    </a:lnTo>
                    <a:lnTo>
                      <a:pt x="247" y="563"/>
                    </a:lnTo>
                    <a:lnTo>
                      <a:pt x="245" y="563"/>
                    </a:lnTo>
                    <a:lnTo>
                      <a:pt x="244" y="563"/>
                    </a:lnTo>
                    <a:lnTo>
                      <a:pt x="242" y="563"/>
                    </a:lnTo>
                    <a:lnTo>
                      <a:pt x="240" y="563"/>
                    </a:lnTo>
                    <a:lnTo>
                      <a:pt x="240" y="561"/>
                    </a:lnTo>
                    <a:lnTo>
                      <a:pt x="239" y="561"/>
                    </a:lnTo>
                    <a:lnTo>
                      <a:pt x="237" y="560"/>
                    </a:lnTo>
                    <a:lnTo>
                      <a:pt x="236" y="560"/>
                    </a:lnTo>
                    <a:lnTo>
                      <a:pt x="236" y="558"/>
                    </a:lnTo>
                    <a:lnTo>
                      <a:pt x="234" y="558"/>
                    </a:lnTo>
                    <a:lnTo>
                      <a:pt x="232" y="556"/>
                    </a:lnTo>
                    <a:lnTo>
                      <a:pt x="232" y="555"/>
                    </a:lnTo>
                    <a:lnTo>
                      <a:pt x="231" y="555"/>
                    </a:lnTo>
                    <a:lnTo>
                      <a:pt x="229" y="555"/>
                    </a:lnTo>
                    <a:lnTo>
                      <a:pt x="229" y="553"/>
                    </a:lnTo>
                    <a:lnTo>
                      <a:pt x="228" y="553"/>
                    </a:lnTo>
                    <a:lnTo>
                      <a:pt x="226" y="553"/>
                    </a:lnTo>
                    <a:lnTo>
                      <a:pt x="225" y="555"/>
                    </a:lnTo>
                    <a:lnTo>
                      <a:pt x="225" y="556"/>
                    </a:lnTo>
                    <a:lnTo>
                      <a:pt x="226" y="556"/>
                    </a:lnTo>
                    <a:lnTo>
                      <a:pt x="226" y="558"/>
                    </a:lnTo>
                    <a:lnTo>
                      <a:pt x="226" y="560"/>
                    </a:lnTo>
                    <a:lnTo>
                      <a:pt x="225" y="560"/>
                    </a:lnTo>
                    <a:lnTo>
                      <a:pt x="225" y="561"/>
                    </a:lnTo>
                    <a:lnTo>
                      <a:pt x="223" y="561"/>
                    </a:lnTo>
                    <a:lnTo>
                      <a:pt x="223" y="560"/>
                    </a:lnTo>
                    <a:lnTo>
                      <a:pt x="221" y="561"/>
                    </a:lnTo>
                    <a:lnTo>
                      <a:pt x="221" y="563"/>
                    </a:lnTo>
                    <a:lnTo>
                      <a:pt x="223" y="563"/>
                    </a:lnTo>
                    <a:lnTo>
                      <a:pt x="223" y="564"/>
                    </a:lnTo>
                    <a:lnTo>
                      <a:pt x="225" y="564"/>
                    </a:lnTo>
                    <a:lnTo>
                      <a:pt x="225" y="566"/>
                    </a:lnTo>
                    <a:lnTo>
                      <a:pt x="223" y="566"/>
                    </a:lnTo>
                    <a:lnTo>
                      <a:pt x="225" y="568"/>
                    </a:lnTo>
                    <a:lnTo>
                      <a:pt x="225" y="569"/>
                    </a:lnTo>
                    <a:lnTo>
                      <a:pt x="226" y="569"/>
                    </a:lnTo>
                    <a:lnTo>
                      <a:pt x="226" y="571"/>
                    </a:lnTo>
                    <a:lnTo>
                      <a:pt x="228" y="571"/>
                    </a:lnTo>
                    <a:lnTo>
                      <a:pt x="229" y="571"/>
                    </a:lnTo>
                    <a:lnTo>
                      <a:pt x="229" y="572"/>
                    </a:lnTo>
                    <a:lnTo>
                      <a:pt x="231" y="572"/>
                    </a:lnTo>
                    <a:lnTo>
                      <a:pt x="231" y="574"/>
                    </a:lnTo>
                    <a:lnTo>
                      <a:pt x="232" y="574"/>
                    </a:lnTo>
                    <a:lnTo>
                      <a:pt x="232" y="575"/>
                    </a:lnTo>
                    <a:lnTo>
                      <a:pt x="234" y="575"/>
                    </a:lnTo>
                    <a:lnTo>
                      <a:pt x="234" y="577"/>
                    </a:lnTo>
                    <a:lnTo>
                      <a:pt x="232" y="579"/>
                    </a:lnTo>
                    <a:lnTo>
                      <a:pt x="232" y="580"/>
                    </a:lnTo>
                    <a:lnTo>
                      <a:pt x="231" y="580"/>
                    </a:lnTo>
                    <a:lnTo>
                      <a:pt x="231" y="582"/>
                    </a:lnTo>
                    <a:lnTo>
                      <a:pt x="229" y="583"/>
                    </a:lnTo>
                    <a:lnTo>
                      <a:pt x="229" y="585"/>
                    </a:lnTo>
                    <a:lnTo>
                      <a:pt x="228" y="587"/>
                    </a:lnTo>
                    <a:lnTo>
                      <a:pt x="228" y="588"/>
                    </a:lnTo>
                    <a:lnTo>
                      <a:pt x="228" y="590"/>
                    </a:lnTo>
                    <a:lnTo>
                      <a:pt x="226" y="590"/>
                    </a:lnTo>
                    <a:lnTo>
                      <a:pt x="226" y="591"/>
                    </a:lnTo>
                    <a:lnTo>
                      <a:pt x="225" y="591"/>
                    </a:lnTo>
                    <a:lnTo>
                      <a:pt x="223" y="591"/>
                    </a:lnTo>
                    <a:lnTo>
                      <a:pt x="223" y="593"/>
                    </a:lnTo>
                    <a:lnTo>
                      <a:pt x="223" y="594"/>
                    </a:lnTo>
                    <a:lnTo>
                      <a:pt x="223" y="596"/>
                    </a:lnTo>
                    <a:lnTo>
                      <a:pt x="225" y="596"/>
                    </a:lnTo>
                    <a:lnTo>
                      <a:pt x="225" y="598"/>
                    </a:lnTo>
                    <a:lnTo>
                      <a:pt x="226" y="598"/>
                    </a:lnTo>
                    <a:lnTo>
                      <a:pt x="228" y="598"/>
                    </a:lnTo>
                    <a:lnTo>
                      <a:pt x="229" y="598"/>
                    </a:lnTo>
                    <a:lnTo>
                      <a:pt x="229" y="599"/>
                    </a:lnTo>
                    <a:lnTo>
                      <a:pt x="229" y="601"/>
                    </a:lnTo>
                    <a:lnTo>
                      <a:pt x="229" y="602"/>
                    </a:lnTo>
                    <a:lnTo>
                      <a:pt x="231" y="602"/>
                    </a:lnTo>
                    <a:lnTo>
                      <a:pt x="229" y="604"/>
                    </a:lnTo>
                    <a:lnTo>
                      <a:pt x="229" y="606"/>
                    </a:lnTo>
                    <a:lnTo>
                      <a:pt x="228" y="606"/>
                    </a:lnTo>
                    <a:lnTo>
                      <a:pt x="228" y="607"/>
                    </a:lnTo>
                    <a:lnTo>
                      <a:pt x="228" y="609"/>
                    </a:lnTo>
                    <a:lnTo>
                      <a:pt x="226" y="609"/>
                    </a:lnTo>
                    <a:lnTo>
                      <a:pt x="225" y="609"/>
                    </a:lnTo>
                    <a:lnTo>
                      <a:pt x="223" y="609"/>
                    </a:lnTo>
                    <a:lnTo>
                      <a:pt x="223" y="610"/>
                    </a:lnTo>
                    <a:lnTo>
                      <a:pt x="225" y="610"/>
                    </a:lnTo>
                    <a:lnTo>
                      <a:pt x="225" y="612"/>
                    </a:lnTo>
                    <a:lnTo>
                      <a:pt x="225" y="613"/>
                    </a:lnTo>
                    <a:lnTo>
                      <a:pt x="223" y="613"/>
                    </a:lnTo>
                    <a:lnTo>
                      <a:pt x="223" y="615"/>
                    </a:lnTo>
                    <a:lnTo>
                      <a:pt x="221" y="615"/>
                    </a:lnTo>
                    <a:lnTo>
                      <a:pt x="221" y="617"/>
                    </a:lnTo>
                    <a:lnTo>
                      <a:pt x="221" y="618"/>
                    </a:lnTo>
                    <a:lnTo>
                      <a:pt x="220" y="618"/>
                    </a:lnTo>
                    <a:lnTo>
                      <a:pt x="218" y="618"/>
                    </a:lnTo>
                    <a:lnTo>
                      <a:pt x="217" y="618"/>
                    </a:lnTo>
                    <a:lnTo>
                      <a:pt x="215" y="618"/>
                    </a:lnTo>
                    <a:lnTo>
                      <a:pt x="213" y="618"/>
                    </a:lnTo>
                    <a:lnTo>
                      <a:pt x="213" y="620"/>
                    </a:lnTo>
                    <a:lnTo>
                      <a:pt x="212" y="620"/>
                    </a:lnTo>
                    <a:lnTo>
                      <a:pt x="212" y="621"/>
                    </a:lnTo>
                    <a:lnTo>
                      <a:pt x="210" y="621"/>
                    </a:lnTo>
                    <a:lnTo>
                      <a:pt x="210" y="623"/>
                    </a:lnTo>
                    <a:lnTo>
                      <a:pt x="209" y="623"/>
                    </a:lnTo>
                    <a:lnTo>
                      <a:pt x="209" y="625"/>
                    </a:lnTo>
                    <a:lnTo>
                      <a:pt x="209" y="626"/>
                    </a:lnTo>
                    <a:lnTo>
                      <a:pt x="207" y="626"/>
                    </a:lnTo>
                    <a:lnTo>
                      <a:pt x="207" y="628"/>
                    </a:lnTo>
                    <a:lnTo>
                      <a:pt x="206" y="628"/>
                    </a:lnTo>
                    <a:lnTo>
                      <a:pt x="204" y="628"/>
                    </a:lnTo>
                    <a:lnTo>
                      <a:pt x="202" y="629"/>
                    </a:lnTo>
                    <a:lnTo>
                      <a:pt x="201" y="629"/>
                    </a:lnTo>
                    <a:lnTo>
                      <a:pt x="201" y="631"/>
                    </a:lnTo>
                    <a:lnTo>
                      <a:pt x="201" y="632"/>
                    </a:lnTo>
                    <a:lnTo>
                      <a:pt x="202" y="632"/>
                    </a:lnTo>
                    <a:lnTo>
                      <a:pt x="204" y="632"/>
                    </a:lnTo>
                    <a:lnTo>
                      <a:pt x="204" y="634"/>
                    </a:lnTo>
                    <a:lnTo>
                      <a:pt x="204" y="636"/>
                    </a:lnTo>
                    <a:lnTo>
                      <a:pt x="204" y="637"/>
                    </a:lnTo>
                    <a:lnTo>
                      <a:pt x="206" y="637"/>
                    </a:lnTo>
                    <a:lnTo>
                      <a:pt x="206" y="639"/>
                    </a:lnTo>
                    <a:lnTo>
                      <a:pt x="204" y="639"/>
                    </a:lnTo>
                    <a:lnTo>
                      <a:pt x="204" y="640"/>
                    </a:lnTo>
                    <a:lnTo>
                      <a:pt x="202" y="640"/>
                    </a:lnTo>
                    <a:lnTo>
                      <a:pt x="201" y="640"/>
                    </a:lnTo>
                    <a:lnTo>
                      <a:pt x="199" y="640"/>
                    </a:lnTo>
                    <a:lnTo>
                      <a:pt x="199" y="642"/>
                    </a:lnTo>
                    <a:lnTo>
                      <a:pt x="201" y="642"/>
                    </a:lnTo>
                    <a:lnTo>
                      <a:pt x="201" y="644"/>
                    </a:lnTo>
                    <a:lnTo>
                      <a:pt x="202" y="644"/>
                    </a:lnTo>
                    <a:lnTo>
                      <a:pt x="202" y="645"/>
                    </a:lnTo>
                    <a:lnTo>
                      <a:pt x="204" y="645"/>
                    </a:lnTo>
                    <a:lnTo>
                      <a:pt x="204" y="647"/>
                    </a:lnTo>
                    <a:lnTo>
                      <a:pt x="204" y="648"/>
                    </a:lnTo>
                    <a:lnTo>
                      <a:pt x="204" y="650"/>
                    </a:lnTo>
                    <a:lnTo>
                      <a:pt x="204" y="651"/>
                    </a:lnTo>
                    <a:lnTo>
                      <a:pt x="202" y="653"/>
                    </a:lnTo>
                    <a:lnTo>
                      <a:pt x="202" y="655"/>
                    </a:lnTo>
                    <a:lnTo>
                      <a:pt x="202" y="656"/>
                    </a:lnTo>
                    <a:lnTo>
                      <a:pt x="202" y="658"/>
                    </a:lnTo>
                    <a:lnTo>
                      <a:pt x="202" y="659"/>
                    </a:lnTo>
                    <a:lnTo>
                      <a:pt x="202" y="661"/>
                    </a:lnTo>
                    <a:lnTo>
                      <a:pt x="204" y="661"/>
                    </a:lnTo>
                    <a:lnTo>
                      <a:pt x="204" y="663"/>
                    </a:lnTo>
                    <a:lnTo>
                      <a:pt x="204" y="664"/>
                    </a:lnTo>
                    <a:lnTo>
                      <a:pt x="204" y="666"/>
                    </a:lnTo>
                    <a:lnTo>
                      <a:pt x="204" y="667"/>
                    </a:lnTo>
                    <a:lnTo>
                      <a:pt x="202" y="667"/>
                    </a:lnTo>
                    <a:lnTo>
                      <a:pt x="202" y="669"/>
                    </a:lnTo>
                    <a:lnTo>
                      <a:pt x="204" y="669"/>
                    </a:lnTo>
                    <a:lnTo>
                      <a:pt x="204" y="671"/>
                    </a:lnTo>
                    <a:lnTo>
                      <a:pt x="206" y="671"/>
                    </a:lnTo>
                    <a:lnTo>
                      <a:pt x="206" y="672"/>
                    </a:lnTo>
                    <a:lnTo>
                      <a:pt x="206" y="674"/>
                    </a:lnTo>
                    <a:lnTo>
                      <a:pt x="204" y="674"/>
                    </a:lnTo>
                    <a:lnTo>
                      <a:pt x="204" y="675"/>
                    </a:lnTo>
                    <a:lnTo>
                      <a:pt x="202" y="675"/>
                    </a:lnTo>
                    <a:lnTo>
                      <a:pt x="202" y="677"/>
                    </a:lnTo>
                    <a:lnTo>
                      <a:pt x="201" y="677"/>
                    </a:lnTo>
                    <a:lnTo>
                      <a:pt x="199" y="678"/>
                    </a:lnTo>
                    <a:lnTo>
                      <a:pt x="199" y="680"/>
                    </a:lnTo>
                    <a:lnTo>
                      <a:pt x="199" y="682"/>
                    </a:lnTo>
                    <a:lnTo>
                      <a:pt x="201" y="682"/>
                    </a:lnTo>
                    <a:lnTo>
                      <a:pt x="202" y="682"/>
                    </a:lnTo>
                    <a:lnTo>
                      <a:pt x="202" y="683"/>
                    </a:lnTo>
                    <a:lnTo>
                      <a:pt x="202" y="685"/>
                    </a:lnTo>
                    <a:lnTo>
                      <a:pt x="202" y="686"/>
                    </a:lnTo>
                    <a:lnTo>
                      <a:pt x="202" y="688"/>
                    </a:lnTo>
                    <a:lnTo>
                      <a:pt x="201" y="688"/>
                    </a:lnTo>
                    <a:lnTo>
                      <a:pt x="201" y="690"/>
                    </a:lnTo>
                    <a:lnTo>
                      <a:pt x="199" y="690"/>
                    </a:lnTo>
                    <a:lnTo>
                      <a:pt x="198" y="691"/>
                    </a:lnTo>
                    <a:lnTo>
                      <a:pt x="196" y="691"/>
                    </a:lnTo>
                    <a:lnTo>
                      <a:pt x="196" y="693"/>
                    </a:lnTo>
                    <a:lnTo>
                      <a:pt x="194" y="693"/>
                    </a:lnTo>
                    <a:lnTo>
                      <a:pt x="193" y="694"/>
                    </a:lnTo>
                    <a:lnTo>
                      <a:pt x="191" y="694"/>
                    </a:lnTo>
                    <a:lnTo>
                      <a:pt x="190" y="694"/>
                    </a:lnTo>
                    <a:lnTo>
                      <a:pt x="190" y="696"/>
                    </a:lnTo>
                    <a:lnTo>
                      <a:pt x="188" y="696"/>
                    </a:lnTo>
                    <a:lnTo>
                      <a:pt x="187" y="696"/>
                    </a:lnTo>
                    <a:lnTo>
                      <a:pt x="185" y="696"/>
                    </a:lnTo>
                    <a:lnTo>
                      <a:pt x="185" y="694"/>
                    </a:lnTo>
                    <a:lnTo>
                      <a:pt x="183" y="694"/>
                    </a:lnTo>
                    <a:lnTo>
                      <a:pt x="182" y="694"/>
                    </a:lnTo>
                    <a:lnTo>
                      <a:pt x="182" y="693"/>
                    </a:lnTo>
                    <a:lnTo>
                      <a:pt x="180" y="693"/>
                    </a:lnTo>
                    <a:lnTo>
                      <a:pt x="180" y="691"/>
                    </a:lnTo>
                    <a:lnTo>
                      <a:pt x="180" y="690"/>
                    </a:lnTo>
                    <a:lnTo>
                      <a:pt x="179" y="690"/>
                    </a:lnTo>
                    <a:lnTo>
                      <a:pt x="179" y="688"/>
                    </a:lnTo>
                    <a:lnTo>
                      <a:pt x="177" y="688"/>
                    </a:lnTo>
                    <a:lnTo>
                      <a:pt x="175" y="688"/>
                    </a:lnTo>
                    <a:lnTo>
                      <a:pt x="174" y="688"/>
                    </a:lnTo>
                    <a:lnTo>
                      <a:pt x="172" y="688"/>
                    </a:lnTo>
                    <a:lnTo>
                      <a:pt x="171" y="688"/>
                    </a:lnTo>
                    <a:lnTo>
                      <a:pt x="171" y="686"/>
                    </a:lnTo>
                    <a:lnTo>
                      <a:pt x="169" y="686"/>
                    </a:lnTo>
                    <a:lnTo>
                      <a:pt x="167" y="686"/>
                    </a:lnTo>
                    <a:lnTo>
                      <a:pt x="166" y="686"/>
                    </a:lnTo>
                    <a:lnTo>
                      <a:pt x="164" y="686"/>
                    </a:lnTo>
                    <a:lnTo>
                      <a:pt x="163" y="686"/>
                    </a:lnTo>
                    <a:lnTo>
                      <a:pt x="161" y="686"/>
                    </a:lnTo>
                    <a:lnTo>
                      <a:pt x="160" y="685"/>
                    </a:lnTo>
                    <a:lnTo>
                      <a:pt x="160" y="683"/>
                    </a:lnTo>
                    <a:lnTo>
                      <a:pt x="158" y="683"/>
                    </a:lnTo>
                    <a:lnTo>
                      <a:pt x="156" y="683"/>
                    </a:lnTo>
                    <a:lnTo>
                      <a:pt x="156" y="682"/>
                    </a:lnTo>
                    <a:lnTo>
                      <a:pt x="155" y="682"/>
                    </a:lnTo>
                    <a:lnTo>
                      <a:pt x="153" y="682"/>
                    </a:lnTo>
                    <a:lnTo>
                      <a:pt x="152" y="680"/>
                    </a:lnTo>
                    <a:lnTo>
                      <a:pt x="150" y="680"/>
                    </a:lnTo>
                    <a:lnTo>
                      <a:pt x="148" y="678"/>
                    </a:lnTo>
                    <a:lnTo>
                      <a:pt x="148" y="677"/>
                    </a:lnTo>
                    <a:lnTo>
                      <a:pt x="147" y="677"/>
                    </a:lnTo>
                    <a:lnTo>
                      <a:pt x="145" y="677"/>
                    </a:lnTo>
                    <a:lnTo>
                      <a:pt x="145" y="675"/>
                    </a:lnTo>
                    <a:lnTo>
                      <a:pt x="144" y="675"/>
                    </a:lnTo>
                    <a:lnTo>
                      <a:pt x="144" y="674"/>
                    </a:lnTo>
                    <a:lnTo>
                      <a:pt x="142" y="674"/>
                    </a:lnTo>
                    <a:lnTo>
                      <a:pt x="141" y="672"/>
                    </a:lnTo>
                    <a:lnTo>
                      <a:pt x="139" y="672"/>
                    </a:lnTo>
                    <a:lnTo>
                      <a:pt x="139" y="671"/>
                    </a:lnTo>
                    <a:lnTo>
                      <a:pt x="137" y="671"/>
                    </a:lnTo>
                    <a:lnTo>
                      <a:pt x="136" y="669"/>
                    </a:lnTo>
                    <a:lnTo>
                      <a:pt x="134" y="667"/>
                    </a:lnTo>
                    <a:lnTo>
                      <a:pt x="134" y="666"/>
                    </a:lnTo>
                    <a:lnTo>
                      <a:pt x="133" y="666"/>
                    </a:lnTo>
                    <a:lnTo>
                      <a:pt x="133" y="664"/>
                    </a:lnTo>
                    <a:lnTo>
                      <a:pt x="131" y="664"/>
                    </a:lnTo>
                    <a:lnTo>
                      <a:pt x="131" y="663"/>
                    </a:lnTo>
                    <a:lnTo>
                      <a:pt x="129" y="663"/>
                    </a:lnTo>
                    <a:lnTo>
                      <a:pt x="129" y="664"/>
                    </a:lnTo>
                    <a:lnTo>
                      <a:pt x="129" y="663"/>
                    </a:lnTo>
                    <a:lnTo>
                      <a:pt x="128" y="664"/>
                    </a:lnTo>
                    <a:lnTo>
                      <a:pt x="126" y="664"/>
                    </a:lnTo>
                    <a:lnTo>
                      <a:pt x="126" y="666"/>
                    </a:lnTo>
                    <a:lnTo>
                      <a:pt x="125" y="666"/>
                    </a:lnTo>
                    <a:lnTo>
                      <a:pt x="125" y="664"/>
                    </a:lnTo>
                    <a:lnTo>
                      <a:pt x="123" y="664"/>
                    </a:lnTo>
                    <a:lnTo>
                      <a:pt x="123" y="666"/>
                    </a:lnTo>
                    <a:lnTo>
                      <a:pt x="122" y="666"/>
                    </a:lnTo>
                    <a:lnTo>
                      <a:pt x="122" y="664"/>
                    </a:lnTo>
                    <a:lnTo>
                      <a:pt x="122" y="666"/>
                    </a:lnTo>
                    <a:lnTo>
                      <a:pt x="120" y="666"/>
                    </a:lnTo>
                    <a:lnTo>
                      <a:pt x="118" y="667"/>
                    </a:lnTo>
                    <a:lnTo>
                      <a:pt x="118" y="666"/>
                    </a:lnTo>
                    <a:lnTo>
                      <a:pt x="117" y="666"/>
                    </a:lnTo>
                    <a:lnTo>
                      <a:pt x="117" y="667"/>
                    </a:lnTo>
                    <a:lnTo>
                      <a:pt x="115" y="667"/>
                    </a:lnTo>
                    <a:lnTo>
                      <a:pt x="114" y="666"/>
                    </a:lnTo>
                    <a:lnTo>
                      <a:pt x="112" y="666"/>
                    </a:lnTo>
                    <a:lnTo>
                      <a:pt x="110" y="666"/>
                    </a:lnTo>
                    <a:lnTo>
                      <a:pt x="109" y="666"/>
                    </a:lnTo>
                    <a:lnTo>
                      <a:pt x="109" y="667"/>
                    </a:lnTo>
                    <a:lnTo>
                      <a:pt x="107" y="667"/>
                    </a:lnTo>
                    <a:lnTo>
                      <a:pt x="107" y="666"/>
                    </a:lnTo>
                    <a:lnTo>
                      <a:pt x="106" y="666"/>
                    </a:lnTo>
                    <a:lnTo>
                      <a:pt x="106" y="664"/>
                    </a:lnTo>
                    <a:lnTo>
                      <a:pt x="104" y="664"/>
                    </a:lnTo>
                    <a:lnTo>
                      <a:pt x="103" y="664"/>
                    </a:lnTo>
                    <a:lnTo>
                      <a:pt x="101" y="664"/>
                    </a:lnTo>
                    <a:lnTo>
                      <a:pt x="99" y="664"/>
                    </a:lnTo>
                    <a:lnTo>
                      <a:pt x="99" y="663"/>
                    </a:lnTo>
                    <a:lnTo>
                      <a:pt x="98" y="663"/>
                    </a:lnTo>
                    <a:lnTo>
                      <a:pt x="96" y="663"/>
                    </a:lnTo>
                    <a:lnTo>
                      <a:pt x="96" y="661"/>
                    </a:lnTo>
                    <a:lnTo>
                      <a:pt x="95" y="659"/>
                    </a:lnTo>
                    <a:lnTo>
                      <a:pt x="93" y="659"/>
                    </a:lnTo>
                    <a:lnTo>
                      <a:pt x="91" y="659"/>
                    </a:lnTo>
                    <a:lnTo>
                      <a:pt x="90" y="659"/>
                    </a:lnTo>
                    <a:lnTo>
                      <a:pt x="90" y="661"/>
                    </a:lnTo>
                    <a:lnTo>
                      <a:pt x="88" y="661"/>
                    </a:lnTo>
                    <a:lnTo>
                      <a:pt x="88" y="663"/>
                    </a:lnTo>
                    <a:lnTo>
                      <a:pt x="90" y="663"/>
                    </a:lnTo>
                    <a:lnTo>
                      <a:pt x="90" y="664"/>
                    </a:lnTo>
                    <a:lnTo>
                      <a:pt x="91" y="664"/>
                    </a:lnTo>
                    <a:lnTo>
                      <a:pt x="91" y="666"/>
                    </a:lnTo>
                    <a:lnTo>
                      <a:pt x="91" y="667"/>
                    </a:lnTo>
                    <a:lnTo>
                      <a:pt x="91" y="669"/>
                    </a:lnTo>
                    <a:lnTo>
                      <a:pt x="93" y="669"/>
                    </a:lnTo>
                    <a:lnTo>
                      <a:pt x="93" y="671"/>
                    </a:lnTo>
                    <a:lnTo>
                      <a:pt x="93" y="672"/>
                    </a:lnTo>
                    <a:lnTo>
                      <a:pt x="93" y="674"/>
                    </a:lnTo>
                    <a:lnTo>
                      <a:pt x="95" y="674"/>
                    </a:lnTo>
                    <a:lnTo>
                      <a:pt x="95" y="675"/>
                    </a:lnTo>
                    <a:lnTo>
                      <a:pt x="96" y="675"/>
                    </a:lnTo>
                    <a:lnTo>
                      <a:pt x="98" y="675"/>
                    </a:lnTo>
                    <a:lnTo>
                      <a:pt x="99" y="675"/>
                    </a:lnTo>
                    <a:lnTo>
                      <a:pt x="99" y="677"/>
                    </a:lnTo>
                    <a:lnTo>
                      <a:pt x="99" y="678"/>
                    </a:lnTo>
                    <a:lnTo>
                      <a:pt x="99" y="680"/>
                    </a:lnTo>
                    <a:lnTo>
                      <a:pt x="99" y="682"/>
                    </a:lnTo>
                    <a:lnTo>
                      <a:pt x="99" y="683"/>
                    </a:lnTo>
                    <a:lnTo>
                      <a:pt x="99" y="685"/>
                    </a:lnTo>
                    <a:lnTo>
                      <a:pt x="101" y="685"/>
                    </a:lnTo>
                    <a:lnTo>
                      <a:pt x="101" y="686"/>
                    </a:lnTo>
                    <a:lnTo>
                      <a:pt x="103" y="686"/>
                    </a:lnTo>
                    <a:lnTo>
                      <a:pt x="104" y="686"/>
                    </a:lnTo>
                    <a:lnTo>
                      <a:pt x="106" y="686"/>
                    </a:lnTo>
                    <a:lnTo>
                      <a:pt x="106" y="688"/>
                    </a:lnTo>
                    <a:lnTo>
                      <a:pt x="109" y="688"/>
                    </a:lnTo>
                    <a:lnTo>
                      <a:pt x="109" y="690"/>
                    </a:lnTo>
                    <a:lnTo>
                      <a:pt x="110" y="690"/>
                    </a:lnTo>
                    <a:lnTo>
                      <a:pt x="112" y="690"/>
                    </a:lnTo>
                    <a:lnTo>
                      <a:pt x="112" y="691"/>
                    </a:lnTo>
                    <a:lnTo>
                      <a:pt x="114" y="691"/>
                    </a:lnTo>
                    <a:lnTo>
                      <a:pt x="114" y="693"/>
                    </a:lnTo>
                    <a:lnTo>
                      <a:pt x="114" y="694"/>
                    </a:lnTo>
                    <a:lnTo>
                      <a:pt x="115" y="694"/>
                    </a:lnTo>
                    <a:lnTo>
                      <a:pt x="117" y="696"/>
                    </a:lnTo>
                    <a:lnTo>
                      <a:pt x="117" y="697"/>
                    </a:lnTo>
                    <a:lnTo>
                      <a:pt x="117" y="699"/>
                    </a:lnTo>
                    <a:lnTo>
                      <a:pt x="117" y="701"/>
                    </a:lnTo>
                    <a:lnTo>
                      <a:pt x="117" y="702"/>
                    </a:lnTo>
                    <a:lnTo>
                      <a:pt x="117" y="704"/>
                    </a:lnTo>
                    <a:lnTo>
                      <a:pt x="117" y="705"/>
                    </a:lnTo>
                    <a:lnTo>
                      <a:pt x="117" y="707"/>
                    </a:lnTo>
                    <a:lnTo>
                      <a:pt x="115" y="707"/>
                    </a:lnTo>
                    <a:lnTo>
                      <a:pt x="115" y="709"/>
                    </a:lnTo>
                    <a:lnTo>
                      <a:pt x="114" y="709"/>
                    </a:lnTo>
                    <a:lnTo>
                      <a:pt x="112" y="709"/>
                    </a:lnTo>
                    <a:lnTo>
                      <a:pt x="112" y="710"/>
                    </a:lnTo>
                    <a:lnTo>
                      <a:pt x="114" y="712"/>
                    </a:lnTo>
                    <a:lnTo>
                      <a:pt x="114" y="713"/>
                    </a:lnTo>
                    <a:lnTo>
                      <a:pt x="114" y="715"/>
                    </a:lnTo>
                    <a:lnTo>
                      <a:pt x="112" y="715"/>
                    </a:lnTo>
                    <a:lnTo>
                      <a:pt x="110" y="715"/>
                    </a:lnTo>
                    <a:lnTo>
                      <a:pt x="109" y="715"/>
                    </a:lnTo>
                    <a:lnTo>
                      <a:pt x="107" y="715"/>
                    </a:lnTo>
                    <a:lnTo>
                      <a:pt x="106" y="715"/>
                    </a:lnTo>
                    <a:lnTo>
                      <a:pt x="106" y="713"/>
                    </a:lnTo>
                    <a:lnTo>
                      <a:pt x="104" y="712"/>
                    </a:lnTo>
                    <a:lnTo>
                      <a:pt x="103" y="712"/>
                    </a:lnTo>
                    <a:lnTo>
                      <a:pt x="101" y="712"/>
                    </a:lnTo>
                    <a:lnTo>
                      <a:pt x="99" y="712"/>
                    </a:lnTo>
                    <a:lnTo>
                      <a:pt x="99" y="713"/>
                    </a:lnTo>
                    <a:lnTo>
                      <a:pt x="98" y="713"/>
                    </a:lnTo>
                    <a:lnTo>
                      <a:pt x="98" y="712"/>
                    </a:lnTo>
                    <a:lnTo>
                      <a:pt x="96" y="713"/>
                    </a:lnTo>
                    <a:lnTo>
                      <a:pt x="98" y="713"/>
                    </a:lnTo>
                    <a:lnTo>
                      <a:pt x="98" y="715"/>
                    </a:lnTo>
                    <a:lnTo>
                      <a:pt x="96" y="715"/>
                    </a:lnTo>
                    <a:lnTo>
                      <a:pt x="96" y="716"/>
                    </a:lnTo>
                    <a:lnTo>
                      <a:pt x="96" y="718"/>
                    </a:lnTo>
                    <a:lnTo>
                      <a:pt x="96" y="720"/>
                    </a:lnTo>
                    <a:lnTo>
                      <a:pt x="98" y="720"/>
                    </a:lnTo>
                    <a:lnTo>
                      <a:pt x="98" y="721"/>
                    </a:lnTo>
                    <a:lnTo>
                      <a:pt x="98" y="723"/>
                    </a:lnTo>
                    <a:lnTo>
                      <a:pt x="98" y="724"/>
                    </a:lnTo>
                    <a:lnTo>
                      <a:pt x="98" y="726"/>
                    </a:lnTo>
                    <a:lnTo>
                      <a:pt x="98" y="724"/>
                    </a:lnTo>
                    <a:lnTo>
                      <a:pt x="96" y="724"/>
                    </a:lnTo>
                    <a:lnTo>
                      <a:pt x="96" y="723"/>
                    </a:lnTo>
                    <a:lnTo>
                      <a:pt x="95" y="723"/>
                    </a:lnTo>
                    <a:lnTo>
                      <a:pt x="93" y="721"/>
                    </a:lnTo>
                    <a:lnTo>
                      <a:pt x="91" y="721"/>
                    </a:lnTo>
                    <a:lnTo>
                      <a:pt x="90" y="721"/>
                    </a:lnTo>
                    <a:lnTo>
                      <a:pt x="88" y="720"/>
                    </a:lnTo>
                    <a:lnTo>
                      <a:pt x="87" y="720"/>
                    </a:lnTo>
                    <a:lnTo>
                      <a:pt x="85" y="720"/>
                    </a:lnTo>
                    <a:lnTo>
                      <a:pt x="84" y="720"/>
                    </a:lnTo>
                    <a:lnTo>
                      <a:pt x="82" y="720"/>
                    </a:lnTo>
                    <a:lnTo>
                      <a:pt x="82" y="718"/>
                    </a:lnTo>
                    <a:lnTo>
                      <a:pt x="82" y="720"/>
                    </a:lnTo>
                    <a:lnTo>
                      <a:pt x="80" y="720"/>
                    </a:lnTo>
                    <a:lnTo>
                      <a:pt x="80" y="721"/>
                    </a:lnTo>
                    <a:lnTo>
                      <a:pt x="80" y="723"/>
                    </a:lnTo>
                    <a:lnTo>
                      <a:pt x="80" y="724"/>
                    </a:lnTo>
                    <a:lnTo>
                      <a:pt x="80" y="726"/>
                    </a:lnTo>
                    <a:lnTo>
                      <a:pt x="79" y="726"/>
                    </a:lnTo>
                    <a:lnTo>
                      <a:pt x="79" y="728"/>
                    </a:lnTo>
                    <a:lnTo>
                      <a:pt x="80" y="728"/>
                    </a:lnTo>
                    <a:lnTo>
                      <a:pt x="80" y="729"/>
                    </a:lnTo>
                    <a:lnTo>
                      <a:pt x="79" y="729"/>
                    </a:lnTo>
                    <a:lnTo>
                      <a:pt x="80" y="729"/>
                    </a:lnTo>
                    <a:lnTo>
                      <a:pt x="80" y="731"/>
                    </a:lnTo>
                    <a:lnTo>
                      <a:pt x="80" y="729"/>
                    </a:lnTo>
                    <a:lnTo>
                      <a:pt x="82" y="729"/>
                    </a:lnTo>
                    <a:lnTo>
                      <a:pt x="84" y="729"/>
                    </a:lnTo>
                    <a:lnTo>
                      <a:pt x="85" y="729"/>
                    </a:lnTo>
                    <a:lnTo>
                      <a:pt x="87" y="729"/>
                    </a:lnTo>
                    <a:lnTo>
                      <a:pt x="88" y="731"/>
                    </a:lnTo>
                    <a:lnTo>
                      <a:pt x="90" y="731"/>
                    </a:lnTo>
                    <a:lnTo>
                      <a:pt x="91" y="731"/>
                    </a:lnTo>
                    <a:lnTo>
                      <a:pt x="91" y="732"/>
                    </a:lnTo>
                    <a:lnTo>
                      <a:pt x="93" y="732"/>
                    </a:lnTo>
                    <a:lnTo>
                      <a:pt x="91" y="734"/>
                    </a:lnTo>
                    <a:lnTo>
                      <a:pt x="91" y="735"/>
                    </a:lnTo>
                    <a:lnTo>
                      <a:pt x="90" y="735"/>
                    </a:lnTo>
                    <a:lnTo>
                      <a:pt x="90" y="737"/>
                    </a:lnTo>
                    <a:lnTo>
                      <a:pt x="90" y="739"/>
                    </a:lnTo>
                    <a:lnTo>
                      <a:pt x="88" y="739"/>
                    </a:lnTo>
                    <a:lnTo>
                      <a:pt x="90" y="739"/>
                    </a:lnTo>
                    <a:lnTo>
                      <a:pt x="91" y="739"/>
                    </a:lnTo>
                    <a:lnTo>
                      <a:pt x="93" y="739"/>
                    </a:lnTo>
                    <a:lnTo>
                      <a:pt x="93" y="740"/>
                    </a:lnTo>
                    <a:lnTo>
                      <a:pt x="95" y="740"/>
                    </a:lnTo>
                    <a:lnTo>
                      <a:pt x="96" y="740"/>
                    </a:lnTo>
                    <a:lnTo>
                      <a:pt x="98" y="740"/>
                    </a:lnTo>
                    <a:lnTo>
                      <a:pt x="99" y="740"/>
                    </a:lnTo>
                    <a:lnTo>
                      <a:pt x="101" y="740"/>
                    </a:lnTo>
                    <a:lnTo>
                      <a:pt x="103" y="739"/>
                    </a:lnTo>
                    <a:lnTo>
                      <a:pt x="103" y="737"/>
                    </a:lnTo>
                    <a:lnTo>
                      <a:pt x="104" y="735"/>
                    </a:lnTo>
                    <a:lnTo>
                      <a:pt x="104" y="737"/>
                    </a:lnTo>
                    <a:lnTo>
                      <a:pt x="106" y="737"/>
                    </a:lnTo>
                    <a:lnTo>
                      <a:pt x="106" y="739"/>
                    </a:lnTo>
                    <a:lnTo>
                      <a:pt x="107" y="739"/>
                    </a:lnTo>
                    <a:lnTo>
                      <a:pt x="107" y="740"/>
                    </a:lnTo>
                    <a:lnTo>
                      <a:pt x="107" y="742"/>
                    </a:lnTo>
                    <a:lnTo>
                      <a:pt x="109" y="742"/>
                    </a:lnTo>
                    <a:lnTo>
                      <a:pt x="109" y="743"/>
                    </a:lnTo>
                    <a:lnTo>
                      <a:pt x="107" y="745"/>
                    </a:lnTo>
                    <a:lnTo>
                      <a:pt x="106" y="745"/>
                    </a:lnTo>
                    <a:lnTo>
                      <a:pt x="104" y="745"/>
                    </a:lnTo>
                    <a:lnTo>
                      <a:pt x="103" y="745"/>
                    </a:lnTo>
                    <a:lnTo>
                      <a:pt x="101" y="747"/>
                    </a:lnTo>
                    <a:lnTo>
                      <a:pt x="101" y="748"/>
                    </a:lnTo>
                    <a:lnTo>
                      <a:pt x="99" y="748"/>
                    </a:lnTo>
                    <a:lnTo>
                      <a:pt x="99" y="750"/>
                    </a:lnTo>
                    <a:lnTo>
                      <a:pt x="99" y="751"/>
                    </a:lnTo>
                    <a:lnTo>
                      <a:pt x="98" y="751"/>
                    </a:lnTo>
                    <a:lnTo>
                      <a:pt x="98" y="753"/>
                    </a:lnTo>
                    <a:lnTo>
                      <a:pt x="96" y="753"/>
                    </a:lnTo>
                    <a:lnTo>
                      <a:pt x="95" y="751"/>
                    </a:lnTo>
                    <a:lnTo>
                      <a:pt x="93" y="751"/>
                    </a:lnTo>
                    <a:lnTo>
                      <a:pt x="91" y="750"/>
                    </a:lnTo>
                    <a:lnTo>
                      <a:pt x="90" y="750"/>
                    </a:lnTo>
                    <a:lnTo>
                      <a:pt x="90" y="748"/>
                    </a:lnTo>
                    <a:lnTo>
                      <a:pt x="88" y="748"/>
                    </a:lnTo>
                    <a:lnTo>
                      <a:pt x="88" y="750"/>
                    </a:lnTo>
                    <a:lnTo>
                      <a:pt x="88" y="751"/>
                    </a:lnTo>
                    <a:lnTo>
                      <a:pt x="88" y="753"/>
                    </a:lnTo>
                    <a:lnTo>
                      <a:pt x="88" y="754"/>
                    </a:lnTo>
                    <a:lnTo>
                      <a:pt x="90" y="756"/>
                    </a:lnTo>
                    <a:lnTo>
                      <a:pt x="90" y="758"/>
                    </a:lnTo>
                    <a:lnTo>
                      <a:pt x="88" y="759"/>
                    </a:lnTo>
                    <a:lnTo>
                      <a:pt x="90" y="761"/>
                    </a:lnTo>
                    <a:lnTo>
                      <a:pt x="90" y="762"/>
                    </a:lnTo>
                    <a:lnTo>
                      <a:pt x="90" y="764"/>
                    </a:lnTo>
                    <a:lnTo>
                      <a:pt x="88" y="766"/>
                    </a:lnTo>
                    <a:lnTo>
                      <a:pt x="90" y="767"/>
                    </a:lnTo>
                    <a:lnTo>
                      <a:pt x="90" y="769"/>
                    </a:lnTo>
                    <a:lnTo>
                      <a:pt x="90" y="770"/>
                    </a:lnTo>
                    <a:lnTo>
                      <a:pt x="88" y="770"/>
                    </a:lnTo>
                    <a:lnTo>
                      <a:pt x="88" y="772"/>
                    </a:lnTo>
                    <a:lnTo>
                      <a:pt x="87" y="772"/>
                    </a:lnTo>
                    <a:lnTo>
                      <a:pt x="87" y="774"/>
                    </a:lnTo>
                    <a:lnTo>
                      <a:pt x="87" y="775"/>
                    </a:lnTo>
                    <a:lnTo>
                      <a:pt x="87" y="777"/>
                    </a:lnTo>
                    <a:lnTo>
                      <a:pt x="87" y="778"/>
                    </a:lnTo>
                    <a:lnTo>
                      <a:pt x="85" y="780"/>
                    </a:lnTo>
                    <a:lnTo>
                      <a:pt x="85" y="781"/>
                    </a:lnTo>
                    <a:lnTo>
                      <a:pt x="85" y="783"/>
                    </a:lnTo>
                    <a:lnTo>
                      <a:pt x="84" y="785"/>
                    </a:lnTo>
                    <a:lnTo>
                      <a:pt x="84" y="786"/>
                    </a:lnTo>
                    <a:lnTo>
                      <a:pt x="82" y="786"/>
                    </a:lnTo>
                    <a:lnTo>
                      <a:pt x="82" y="788"/>
                    </a:lnTo>
                    <a:lnTo>
                      <a:pt x="82" y="789"/>
                    </a:lnTo>
                    <a:lnTo>
                      <a:pt x="82" y="791"/>
                    </a:lnTo>
                    <a:lnTo>
                      <a:pt x="80" y="791"/>
                    </a:lnTo>
                    <a:lnTo>
                      <a:pt x="80" y="793"/>
                    </a:lnTo>
                    <a:lnTo>
                      <a:pt x="79" y="793"/>
                    </a:lnTo>
                    <a:lnTo>
                      <a:pt x="79" y="794"/>
                    </a:lnTo>
                    <a:lnTo>
                      <a:pt x="79" y="796"/>
                    </a:lnTo>
                    <a:lnTo>
                      <a:pt x="77" y="796"/>
                    </a:lnTo>
                    <a:lnTo>
                      <a:pt x="76" y="797"/>
                    </a:lnTo>
                    <a:lnTo>
                      <a:pt x="74" y="797"/>
                    </a:lnTo>
                    <a:lnTo>
                      <a:pt x="74" y="799"/>
                    </a:lnTo>
                    <a:lnTo>
                      <a:pt x="74" y="800"/>
                    </a:lnTo>
                    <a:lnTo>
                      <a:pt x="74" y="802"/>
                    </a:lnTo>
                    <a:lnTo>
                      <a:pt x="72" y="804"/>
                    </a:lnTo>
                    <a:lnTo>
                      <a:pt x="71" y="804"/>
                    </a:lnTo>
                    <a:lnTo>
                      <a:pt x="71" y="805"/>
                    </a:lnTo>
                    <a:lnTo>
                      <a:pt x="69" y="805"/>
                    </a:lnTo>
                    <a:lnTo>
                      <a:pt x="68" y="805"/>
                    </a:lnTo>
                    <a:lnTo>
                      <a:pt x="66" y="805"/>
                    </a:lnTo>
                    <a:lnTo>
                      <a:pt x="65" y="805"/>
                    </a:lnTo>
                    <a:lnTo>
                      <a:pt x="65" y="807"/>
                    </a:lnTo>
                    <a:lnTo>
                      <a:pt x="63" y="807"/>
                    </a:lnTo>
                    <a:lnTo>
                      <a:pt x="61" y="807"/>
                    </a:lnTo>
                    <a:lnTo>
                      <a:pt x="60" y="805"/>
                    </a:lnTo>
                    <a:lnTo>
                      <a:pt x="58" y="805"/>
                    </a:lnTo>
                    <a:lnTo>
                      <a:pt x="57" y="805"/>
                    </a:lnTo>
                    <a:lnTo>
                      <a:pt x="55" y="805"/>
                    </a:lnTo>
                    <a:lnTo>
                      <a:pt x="53" y="805"/>
                    </a:lnTo>
                    <a:lnTo>
                      <a:pt x="52" y="805"/>
                    </a:lnTo>
                    <a:lnTo>
                      <a:pt x="50" y="804"/>
                    </a:lnTo>
                    <a:lnTo>
                      <a:pt x="49" y="804"/>
                    </a:lnTo>
                    <a:lnTo>
                      <a:pt x="47" y="804"/>
                    </a:lnTo>
                    <a:lnTo>
                      <a:pt x="46" y="804"/>
                    </a:lnTo>
                    <a:lnTo>
                      <a:pt x="44" y="804"/>
                    </a:lnTo>
                    <a:lnTo>
                      <a:pt x="44" y="805"/>
                    </a:lnTo>
                    <a:lnTo>
                      <a:pt x="42" y="805"/>
                    </a:lnTo>
                    <a:lnTo>
                      <a:pt x="41" y="805"/>
                    </a:lnTo>
                    <a:lnTo>
                      <a:pt x="39" y="804"/>
                    </a:lnTo>
                    <a:lnTo>
                      <a:pt x="39" y="802"/>
                    </a:lnTo>
                    <a:lnTo>
                      <a:pt x="38" y="802"/>
                    </a:lnTo>
                    <a:lnTo>
                      <a:pt x="36" y="802"/>
                    </a:lnTo>
                    <a:lnTo>
                      <a:pt x="34" y="802"/>
                    </a:lnTo>
                    <a:lnTo>
                      <a:pt x="33" y="802"/>
                    </a:lnTo>
                    <a:lnTo>
                      <a:pt x="33" y="800"/>
                    </a:lnTo>
                    <a:lnTo>
                      <a:pt x="31" y="800"/>
                    </a:lnTo>
                    <a:lnTo>
                      <a:pt x="31" y="802"/>
                    </a:lnTo>
                    <a:lnTo>
                      <a:pt x="30" y="802"/>
                    </a:lnTo>
                    <a:lnTo>
                      <a:pt x="28" y="802"/>
                    </a:lnTo>
                    <a:lnTo>
                      <a:pt x="27" y="802"/>
                    </a:lnTo>
                    <a:lnTo>
                      <a:pt x="25" y="802"/>
                    </a:lnTo>
                    <a:lnTo>
                      <a:pt x="23" y="802"/>
                    </a:lnTo>
                    <a:lnTo>
                      <a:pt x="22" y="802"/>
                    </a:lnTo>
                    <a:lnTo>
                      <a:pt x="20" y="802"/>
                    </a:lnTo>
                    <a:lnTo>
                      <a:pt x="19" y="802"/>
                    </a:lnTo>
                    <a:lnTo>
                      <a:pt x="19" y="800"/>
                    </a:lnTo>
                    <a:lnTo>
                      <a:pt x="17" y="800"/>
                    </a:lnTo>
                    <a:lnTo>
                      <a:pt x="15" y="800"/>
                    </a:lnTo>
                    <a:lnTo>
                      <a:pt x="14" y="800"/>
                    </a:lnTo>
                    <a:lnTo>
                      <a:pt x="12" y="800"/>
                    </a:lnTo>
                    <a:lnTo>
                      <a:pt x="11" y="800"/>
                    </a:lnTo>
                    <a:lnTo>
                      <a:pt x="9" y="800"/>
                    </a:lnTo>
                    <a:lnTo>
                      <a:pt x="9" y="799"/>
                    </a:lnTo>
                    <a:lnTo>
                      <a:pt x="8" y="799"/>
                    </a:lnTo>
                    <a:lnTo>
                      <a:pt x="8" y="797"/>
                    </a:lnTo>
                    <a:lnTo>
                      <a:pt x="6" y="797"/>
                    </a:lnTo>
                    <a:lnTo>
                      <a:pt x="6" y="788"/>
                    </a:lnTo>
                    <a:lnTo>
                      <a:pt x="6" y="786"/>
                    </a:lnTo>
                    <a:lnTo>
                      <a:pt x="6" y="783"/>
                    </a:lnTo>
                    <a:lnTo>
                      <a:pt x="4" y="764"/>
                    </a:lnTo>
                    <a:lnTo>
                      <a:pt x="3" y="728"/>
                    </a:lnTo>
                    <a:lnTo>
                      <a:pt x="1" y="716"/>
                    </a:lnTo>
                    <a:lnTo>
                      <a:pt x="1" y="715"/>
                    </a:lnTo>
                    <a:lnTo>
                      <a:pt x="1" y="712"/>
                    </a:lnTo>
                    <a:lnTo>
                      <a:pt x="1" y="710"/>
                    </a:lnTo>
                    <a:lnTo>
                      <a:pt x="0" y="694"/>
                    </a:lnTo>
                    <a:lnTo>
                      <a:pt x="0" y="693"/>
                    </a:lnTo>
                    <a:lnTo>
                      <a:pt x="0" y="690"/>
                    </a:lnTo>
                    <a:lnTo>
                      <a:pt x="1" y="685"/>
                    </a:lnTo>
                    <a:lnTo>
                      <a:pt x="1" y="683"/>
                    </a:lnTo>
                    <a:lnTo>
                      <a:pt x="4" y="675"/>
                    </a:lnTo>
                    <a:lnTo>
                      <a:pt x="8" y="669"/>
                    </a:lnTo>
                    <a:lnTo>
                      <a:pt x="9" y="664"/>
                    </a:lnTo>
                    <a:lnTo>
                      <a:pt x="11" y="658"/>
                    </a:lnTo>
                    <a:lnTo>
                      <a:pt x="11" y="655"/>
                    </a:lnTo>
                    <a:lnTo>
                      <a:pt x="12" y="650"/>
                    </a:lnTo>
                    <a:lnTo>
                      <a:pt x="14" y="650"/>
                    </a:lnTo>
                    <a:lnTo>
                      <a:pt x="15" y="647"/>
                    </a:lnTo>
                    <a:lnTo>
                      <a:pt x="17" y="639"/>
                    </a:lnTo>
                    <a:lnTo>
                      <a:pt x="19" y="636"/>
                    </a:lnTo>
                    <a:lnTo>
                      <a:pt x="19" y="634"/>
                    </a:lnTo>
                    <a:lnTo>
                      <a:pt x="23" y="620"/>
                    </a:lnTo>
                    <a:lnTo>
                      <a:pt x="25" y="617"/>
                    </a:lnTo>
                    <a:lnTo>
                      <a:pt x="27" y="612"/>
                    </a:lnTo>
                    <a:lnTo>
                      <a:pt x="28" y="607"/>
                    </a:lnTo>
                    <a:lnTo>
                      <a:pt x="30" y="604"/>
                    </a:lnTo>
                    <a:lnTo>
                      <a:pt x="33" y="596"/>
                    </a:lnTo>
                    <a:lnTo>
                      <a:pt x="33" y="593"/>
                    </a:lnTo>
                    <a:lnTo>
                      <a:pt x="34" y="591"/>
                    </a:lnTo>
                    <a:lnTo>
                      <a:pt x="33" y="587"/>
                    </a:lnTo>
                    <a:lnTo>
                      <a:pt x="33" y="585"/>
                    </a:lnTo>
                    <a:lnTo>
                      <a:pt x="34" y="575"/>
                    </a:lnTo>
                    <a:lnTo>
                      <a:pt x="33" y="571"/>
                    </a:lnTo>
                    <a:lnTo>
                      <a:pt x="33" y="566"/>
                    </a:lnTo>
                    <a:lnTo>
                      <a:pt x="34" y="566"/>
                    </a:lnTo>
                    <a:lnTo>
                      <a:pt x="36" y="555"/>
                    </a:lnTo>
                    <a:lnTo>
                      <a:pt x="38" y="552"/>
                    </a:lnTo>
                    <a:lnTo>
                      <a:pt x="38" y="550"/>
                    </a:lnTo>
                    <a:lnTo>
                      <a:pt x="39" y="550"/>
                    </a:lnTo>
                    <a:lnTo>
                      <a:pt x="39" y="549"/>
                    </a:lnTo>
                    <a:lnTo>
                      <a:pt x="41" y="547"/>
                    </a:lnTo>
                    <a:lnTo>
                      <a:pt x="58" y="536"/>
                    </a:lnTo>
                    <a:lnTo>
                      <a:pt x="63" y="531"/>
                    </a:lnTo>
                    <a:lnTo>
                      <a:pt x="65" y="529"/>
                    </a:lnTo>
                    <a:lnTo>
                      <a:pt x="65" y="526"/>
                    </a:lnTo>
                    <a:lnTo>
                      <a:pt x="66" y="525"/>
                    </a:lnTo>
                    <a:lnTo>
                      <a:pt x="66" y="523"/>
                    </a:lnTo>
                    <a:lnTo>
                      <a:pt x="69" y="518"/>
                    </a:lnTo>
                    <a:lnTo>
                      <a:pt x="69" y="515"/>
                    </a:lnTo>
                    <a:lnTo>
                      <a:pt x="69" y="512"/>
                    </a:lnTo>
                    <a:lnTo>
                      <a:pt x="71" y="504"/>
                    </a:lnTo>
                    <a:lnTo>
                      <a:pt x="69" y="503"/>
                    </a:lnTo>
                    <a:lnTo>
                      <a:pt x="68" y="495"/>
                    </a:lnTo>
                    <a:lnTo>
                      <a:pt x="68" y="493"/>
                    </a:lnTo>
                    <a:lnTo>
                      <a:pt x="66" y="490"/>
                    </a:lnTo>
                    <a:lnTo>
                      <a:pt x="61" y="471"/>
                    </a:lnTo>
                    <a:lnTo>
                      <a:pt x="60" y="466"/>
                    </a:lnTo>
                    <a:lnTo>
                      <a:pt x="57" y="458"/>
                    </a:lnTo>
                    <a:lnTo>
                      <a:pt x="57" y="455"/>
                    </a:lnTo>
                    <a:lnTo>
                      <a:pt x="55" y="450"/>
                    </a:lnTo>
                    <a:lnTo>
                      <a:pt x="55" y="449"/>
                    </a:lnTo>
                    <a:lnTo>
                      <a:pt x="55" y="446"/>
                    </a:lnTo>
                    <a:lnTo>
                      <a:pt x="57" y="441"/>
                    </a:lnTo>
                    <a:lnTo>
                      <a:pt x="60" y="433"/>
                    </a:lnTo>
                    <a:lnTo>
                      <a:pt x="63" y="430"/>
                    </a:lnTo>
                    <a:lnTo>
                      <a:pt x="63" y="426"/>
                    </a:lnTo>
                    <a:lnTo>
                      <a:pt x="61" y="423"/>
                    </a:lnTo>
                    <a:lnTo>
                      <a:pt x="60" y="422"/>
                    </a:lnTo>
                    <a:lnTo>
                      <a:pt x="60" y="420"/>
                    </a:lnTo>
                    <a:lnTo>
                      <a:pt x="58" y="417"/>
                    </a:lnTo>
                    <a:lnTo>
                      <a:pt x="57" y="417"/>
                    </a:lnTo>
                    <a:lnTo>
                      <a:pt x="53" y="417"/>
                    </a:lnTo>
                    <a:lnTo>
                      <a:pt x="52" y="417"/>
                    </a:lnTo>
                    <a:lnTo>
                      <a:pt x="52" y="415"/>
                    </a:lnTo>
                    <a:lnTo>
                      <a:pt x="50" y="414"/>
                    </a:lnTo>
                    <a:lnTo>
                      <a:pt x="50" y="412"/>
                    </a:lnTo>
                    <a:lnTo>
                      <a:pt x="50" y="411"/>
                    </a:lnTo>
                    <a:lnTo>
                      <a:pt x="52" y="411"/>
                    </a:lnTo>
                    <a:lnTo>
                      <a:pt x="53" y="406"/>
                    </a:lnTo>
                    <a:lnTo>
                      <a:pt x="55" y="401"/>
                    </a:lnTo>
                    <a:lnTo>
                      <a:pt x="55" y="398"/>
                    </a:lnTo>
                    <a:lnTo>
                      <a:pt x="55" y="393"/>
                    </a:lnTo>
                    <a:lnTo>
                      <a:pt x="57" y="393"/>
                    </a:lnTo>
                    <a:lnTo>
                      <a:pt x="57" y="392"/>
                    </a:lnTo>
                    <a:lnTo>
                      <a:pt x="58" y="390"/>
                    </a:lnTo>
                    <a:lnTo>
                      <a:pt x="61" y="387"/>
                    </a:lnTo>
                    <a:lnTo>
                      <a:pt x="65" y="384"/>
                    </a:lnTo>
                    <a:lnTo>
                      <a:pt x="76" y="374"/>
                    </a:lnTo>
                    <a:lnTo>
                      <a:pt x="76" y="373"/>
                    </a:lnTo>
                    <a:lnTo>
                      <a:pt x="77" y="373"/>
                    </a:lnTo>
                    <a:lnTo>
                      <a:pt x="77" y="371"/>
                    </a:lnTo>
                    <a:lnTo>
                      <a:pt x="80" y="369"/>
                    </a:lnTo>
                    <a:lnTo>
                      <a:pt x="80" y="368"/>
                    </a:lnTo>
                    <a:lnTo>
                      <a:pt x="82" y="368"/>
                    </a:lnTo>
                    <a:lnTo>
                      <a:pt x="82" y="366"/>
                    </a:lnTo>
                    <a:lnTo>
                      <a:pt x="82" y="365"/>
                    </a:lnTo>
                    <a:lnTo>
                      <a:pt x="88" y="354"/>
                    </a:lnTo>
                    <a:lnTo>
                      <a:pt x="90" y="352"/>
                    </a:lnTo>
                    <a:lnTo>
                      <a:pt x="96" y="343"/>
                    </a:lnTo>
                    <a:lnTo>
                      <a:pt x="99" y="336"/>
                    </a:lnTo>
                    <a:lnTo>
                      <a:pt x="101" y="333"/>
                    </a:lnTo>
                    <a:lnTo>
                      <a:pt x="106" y="327"/>
                    </a:lnTo>
                    <a:lnTo>
                      <a:pt x="109" y="325"/>
                    </a:lnTo>
                    <a:lnTo>
                      <a:pt x="112" y="324"/>
                    </a:lnTo>
                    <a:lnTo>
                      <a:pt x="117" y="320"/>
                    </a:lnTo>
                    <a:lnTo>
                      <a:pt x="120" y="319"/>
                    </a:lnTo>
                    <a:lnTo>
                      <a:pt x="126" y="316"/>
                    </a:lnTo>
                    <a:lnTo>
                      <a:pt x="128" y="312"/>
                    </a:lnTo>
                    <a:lnTo>
                      <a:pt x="131" y="311"/>
                    </a:lnTo>
                    <a:lnTo>
                      <a:pt x="136" y="308"/>
                    </a:lnTo>
                    <a:lnTo>
                      <a:pt x="144" y="301"/>
                    </a:lnTo>
                    <a:lnTo>
                      <a:pt x="145" y="303"/>
                    </a:lnTo>
                    <a:lnTo>
                      <a:pt x="153" y="309"/>
                    </a:lnTo>
                    <a:lnTo>
                      <a:pt x="155" y="311"/>
                    </a:lnTo>
                    <a:lnTo>
                      <a:pt x="160" y="314"/>
                    </a:lnTo>
                    <a:lnTo>
                      <a:pt x="161" y="316"/>
                    </a:lnTo>
                    <a:lnTo>
                      <a:pt x="163" y="317"/>
                    </a:lnTo>
                    <a:lnTo>
                      <a:pt x="164" y="319"/>
                    </a:lnTo>
                    <a:lnTo>
                      <a:pt x="166" y="319"/>
                    </a:lnTo>
                    <a:lnTo>
                      <a:pt x="167" y="320"/>
                    </a:lnTo>
                    <a:lnTo>
                      <a:pt x="172" y="324"/>
                    </a:lnTo>
                    <a:lnTo>
                      <a:pt x="180" y="331"/>
                    </a:lnTo>
                    <a:lnTo>
                      <a:pt x="187" y="339"/>
                    </a:lnTo>
                    <a:lnTo>
                      <a:pt x="190" y="343"/>
                    </a:lnTo>
                    <a:lnTo>
                      <a:pt x="191" y="344"/>
                    </a:lnTo>
                    <a:lnTo>
                      <a:pt x="194" y="344"/>
                    </a:lnTo>
                    <a:lnTo>
                      <a:pt x="194" y="346"/>
                    </a:lnTo>
                    <a:lnTo>
                      <a:pt x="196" y="346"/>
                    </a:lnTo>
                    <a:lnTo>
                      <a:pt x="196" y="349"/>
                    </a:lnTo>
                    <a:lnTo>
                      <a:pt x="194" y="354"/>
                    </a:lnTo>
                    <a:lnTo>
                      <a:pt x="194" y="355"/>
                    </a:lnTo>
                    <a:lnTo>
                      <a:pt x="194" y="357"/>
                    </a:lnTo>
                    <a:lnTo>
                      <a:pt x="196" y="358"/>
                    </a:lnTo>
                    <a:lnTo>
                      <a:pt x="198" y="358"/>
                    </a:lnTo>
                    <a:lnTo>
                      <a:pt x="204" y="352"/>
                    </a:lnTo>
                    <a:lnTo>
                      <a:pt x="207" y="349"/>
                    </a:lnTo>
                    <a:lnTo>
                      <a:pt x="209" y="349"/>
                    </a:lnTo>
                    <a:lnTo>
                      <a:pt x="212" y="349"/>
                    </a:lnTo>
                    <a:lnTo>
                      <a:pt x="213" y="349"/>
                    </a:lnTo>
                    <a:lnTo>
                      <a:pt x="215" y="349"/>
                    </a:lnTo>
                    <a:lnTo>
                      <a:pt x="217" y="349"/>
                    </a:lnTo>
                    <a:lnTo>
                      <a:pt x="218" y="347"/>
                    </a:lnTo>
                    <a:lnTo>
                      <a:pt x="218" y="346"/>
                    </a:lnTo>
                    <a:lnTo>
                      <a:pt x="220" y="343"/>
                    </a:lnTo>
                    <a:lnTo>
                      <a:pt x="220" y="341"/>
                    </a:lnTo>
                    <a:lnTo>
                      <a:pt x="223" y="339"/>
                    </a:lnTo>
                    <a:lnTo>
                      <a:pt x="225" y="338"/>
                    </a:lnTo>
                    <a:lnTo>
                      <a:pt x="228" y="335"/>
                    </a:lnTo>
                    <a:lnTo>
                      <a:pt x="231" y="331"/>
                    </a:lnTo>
                    <a:lnTo>
                      <a:pt x="231" y="330"/>
                    </a:lnTo>
                    <a:lnTo>
                      <a:pt x="232" y="330"/>
                    </a:lnTo>
                    <a:lnTo>
                      <a:pt x="234" y="324"/>
                    </a:lnTo>
                    <a:lnTo>
                      <a:pt x="240" y="316"/>
                    </a:lnTo>
                    <a:lnTo>
                      <a:pt x="244" y="311"/>
                    </a:lnTo>
                    <a:lnTo>
                      <a:pt x="245" y="309"/>
                    </a:lnTo>
                    <a:lnTo>
                      <a:pt x="247" y="309"/>
                    </a:lnTo>
                    <a:lnTo>
                      <a:pt x="251" y="303"/>
                    </a:lnTo>
                    <a:lnTo>
                      <a:pt x="253" y="301"/>
                    </a:lnTo>
                    <a:lnTo>
                      <a:pt x="253" y="300"/>
                    </a:lnTo>
                    <a:lnTo>
                      <a:pt x="253" y="298"/>
                    </a:lnTo>
                    <a:lnTo>
                      <a:pt x="251" y="298"/>
                    </a:lnTo>
                    <a:lnTo>
                      <a:pt x="251" y="297"/>
                    </a:lnTo>
                    <a:lnTo>
                      <a:pt x="248" y="293"/>
                    </a:lnTo>
                    <a:lnTo>
                      <a:pt x="248" y="292"/>
                    </a:lnTo>
                    <a:lnTo>
                      <a:pt x="248" y="289"/>
                    </a:lnTo>
                    <a:lnTo>
                      <a:pt x="247" y="287"/>
                    </a:lnTo>
                    <a:lnTo>
                      <a:pt x="245" y="287"/>
                    </a:lnTo>
                    <a:lnTo>
                      <a:pt x="245" y="285"/>
                    </a:lnTo>
                    <a:lnTo>
                      <a:pt x="247" y="282"/>
                    </a:lnTo>
                    <a:lnTo>
                      <a:pt x="247" y="281"/>
                    </a:lnTo>
                    <a:lnTo>
                      <a:pt x="248" y="279"/>
                    </a:lnTo>
                    <a:lnTo>
                      <a:pt x="251" y="268"/>
                    </a:lnTo>
                    <a:lnTo>
                      <a:pt x="251" y="265"/>
                    </a:lnTo>
                    <a:lnTo>
                      <a:pt x="253" y="260"/>
                    </a:lnTo>
                    <a:lnTo>
                      <a:pt x="255" y="257"/>
                    </a:lnTo>
                    <a:lnTo>
                      <a:pt x="259" y="236"/>
                    </a:lnTo>
                    <a:lnTo>
                      <a:pt x="259" y="235"/>
                    </a:lnTo>
                    <a:lnTo>
                      <a:pt x="261" y="233"/>
                    </a:lnTo>
                    <a:lnTo>
                      <a:pt x="261" y="232"/>
                    </a:lnTo>
                    <a:lnTo>
                      <a:pt x="261" y="230"/>
                    </a:lnTo>
                    <a:lnTo>
                      <a:pt x="261" y="228"/>
                    </a:lnTo>
                    <a:lnTo>
                      <a:pt x="263" y="227"/>
                    </a:lnTo>
                    <a:lnTo>
                      <a:pt x="259" y="221"/>
                    </a:lnTo>
                    <a:lnTo>
                      <a:pt x="258" y="216"/>
                    </a:lnTo>
                    <a:lnTo>
                      <a:pt x="256" y="214"/>
                    </a:lnTo>
                    <a:lnTo>
                      <a:pt x="255" y="213"/>
                    </a:lnTo>
                    <a:lnTo>
                      <a:pt x="248" y="206"/>
                    </a:lnTo>
                    <a:lnTo>
                      <a:pt x="248" y="205"/>
                    </a:lnTo>
                    <a:lnTo>
                      <a:pt x="247" y="202"/>
                    </a:lnTo>
                    <a:lnTo>
                      <a:pt x="247" y="200"/>
                    </a:lnTo>
                    <a:lnTo>
                      <a:pt x="253" y="187"/>
                    </a:lnTo>
                    <a:lnTo>
                      <a:pt x="258" y="179"/>
                    </a:lnTo>
                    <a:lnTo>
                      <a:pt x="259" y="175"/>
                    </a:lnTo>
                    <a:lnTo>
                      <a:pt x="259" y="173"/>
                    </a:lnTo>
                    <a:lnTo>
                      <a:pt x="259" y="171"/>
                    </a:lnTo>
                    <a:lnTo>
                      <a:pt x="270" y="159"/>
                    </a:lnTo>
                    <a:lnTo>
                      <a:pt x="277" y="146"/>
                    </a:lnTo>
                    <a:lnTo>
                      <a:pt x="277" y="143"/>
                    </a:lnTo>
                    <a:lnTo>
                      <a:pt x="277" y="140"/>
                    </a:lnTo>
                    <a:lnTo>
                      <a:pt x="278" y="135"/>
                    </a:lnTo>
                    <a:lnTo>
                      <a:pt x="285" y="122"/>
                    </a:lnTo>
                    <a:lnTo>
                      <a:pt x="286" y="114"/>
                    </a:lnTo>
                    <a:lnTo>
                      <a:pt x="286" y="110"/>
                    </a:lnTo>
                    <a:lnTo>
                      <a:pt x="286" y="105"/>
                    </a:lnTo>
                    <a:lnTo>
                      <a:pt x="286" y="103"/>
                    </a:lnTo>
                    <a:lnTo>
                      <a:pt x="286" y="100"/>
                    </a:lnTo>
                    <a:lnTo>
                      <a:pt x="286" y="97"/>
                    </a:lnTo>
                    <a:lnTo>
                      <a:pt x="286" y="92"/>
                    </a:lnTo>
                    <a:lnTo>
                      <a:pt x="286" y="89"/>
                    </a:lnTo>
                    <a:lnTo>
                      <a:pt x="286" y="87"/>
                    </a:lnTo>
                    <a:lnTo>
                      <a:pt x="285" y="84"/>
                    </a:lnTo>
                    <a:lnTo>
                      <a:pt x="283" y="81"/>
                    </a:lnTo>
                    <a:lnTo>
                      <a:pt x="282" y="81"/>
                    </a:lnTo>
                    <a:lnTo>
                      <a:pt x="280" y="78"/>
                    </a:lnTo>
                    <a:lnTo>
                      <a:pt x="280" y="76"/>
                    </a:lnTo>
                    <a:lnTo>
                      <a:pt x="278" y="70"/>
                    </a:lnTo>
                    <a:lnTo>
                      <a:pt x="277" y="68"/>
                    </a:lnTo>
                    <a:lnTo>
                      <a:pt x="277" y="65"/>
                    </a:lnTo>
                    <a:lnTo>
                      <a:pt x="277" y="64"/>
                    </a:lnTo>
                    <a:lnTo>
                      <a:pt x="275" y="59"/>
                    </a:lnTo>
                    <a:lnTo>
                      <a:pt x="278" y="54"/>
                    </a:lnTo>
                    <a:lnTo>
                      <a:pt x="282" y="49"/>
                    </a:lnTo>
                    <a:lnTo>
                      <a:pt x="283" y="45"/>
                    </a:lnTo>
                    <a:lnTo>
                      <a:pt x="289" y="38"/>
                    </a:lnTo>
                    <a:lnTo>
                      <a:pt x="293" y="35"/>
                    </a:lnTo>
                    <a:lnTo>
                      <a:pt x="297" y="32"/>
                    </a:lnTo>
                    <a:lnTo>
                      <a:pt x="299" y="29"/>
                    </a:lnTo>
                    <a:lnTo>
                      <a:pt x="305" y="26"/>
                    </a:lnTo>
                    <a:lnTo>
                      <a:pt x="308" y="24"/>
                    </a:lnTo>
                    <a:lnTo>
                      <a:pt x="310" y="24"/>
                    </a:lnTo>
                    <a:lnTo>
                      <a:pt x="313" y="21"/>
                    </a:lnTo>
                    <a:lnTo>
                      <a:pt x="316" y="19"/>
                    </a:lnTo>
                    <a:lnTo>
                      <a:pt x="318" y="18"/>
                    </a:lnTo>
                    <a:lnTo>
                      <a:pt x="320" y="16"/>
                    </a:lnTo>
                    <a:lnTo>
                      <a:pt x="323" y="15"/>
                    </a:lnTo>
                    <a:lnTo>
                      <a:pt x="324" y="13"/>
                    </a:lnTo>
                    <a:lnTo>
                      <a:pt x="326" y="11"/>
                    </a:lnTo>
                    <a:lnTo>
                      <a:pt x="332" y="7"/>
                    </a:lnTo>
                    <a:lnTo>
                      <a:pt x="334" y="7"/>
                    </a:lnTo>
                    <a:lnTo>
                      <a:pt x="335" y="5"/>
                    </a:lnTo>
                    <a:lnTo>
                      <a:pt x="339" y="2"/>
                    </a:lnTo>
                    <a:lnTo>
                      <a:pt x="340" y="0"/>
                    </a:lnTo>
                    <a:lnTo>
                      <a:pt x="342" y="0"/>
                    </a:lnTo>
                    <a:lnTo>
                      <a:pt x="343" y="0"/>
                    </a:lnTo>
                    <a:lnTo>
                      <a:pt x="343" y="2"/>
                    </a:lnTo>
                    <a:lnTo>
                      <a:pt x="343" y="3"/>
                    </a:lnTo>
                    <a:lnTo>
                      <a:pt x="342" y="5"/>
                    </a:lnTo>
                    <a:lnTo>
                      <a:pt x="342" y="7"/>
                    </a:lnTo>
                    <a:lnTo>
                      <a:pt x="343" y="8"/>
                    </a:lnTo>
                    <a:lnTo>
                      <a:pt x="345" y="8"/>
                    </a:lnTo>
                    <a:lnTo>
                      <a:pt x="345" y="10"/>
                    </a:lnTo>
                    <a:lnTo>
                      <a:pt x="348" y="11"/>
                    </a:lnTo>
                    <a:lnTo>
                      <a:pt x="348" y="13"/>
                    </a:lnTo>
                    <a:lnTo>
                      <a:pt x="346" y="15"/>
                    </a:lnTo>
                    <a:lnTo>
                      <a:pt x="345" y="15"/>
                    </a:lnTo>
                    <a:lnTo>
                      <a:pt x="345" y="16"/>
                    </a:lnTo>
                    <a:lnTo>
                      <a:pt x="343" y="18"/>
                    </a:lnTo>
                    <a:lnTo>
                      <a:pt x="343" y="19"/>
                    </a:lnTo>
                    <a:lnTo>
                      <a:pt x="342" y="19"/>
                    </a:lnTo>
                    <a:lnTo>
                      <a:pt x="342" y="21"/>
                    </a:lnTo>
                    <a:lnTo>
                      <a:pt x="342" y="22"/>
                    </a:lnTo>
                    <a:lnTo>
                      <a:pt x="343" y="22"/>
                    </a:lnTo>
                    <a:lnTo>
                      <a:pt x="343" y="24"/>
                    </a:lnTo>
                    <a:lnTo>
                      <a:pt x="343" y="26"/>
                    </a:lnTo>
                    <a:lnTo>
                      <a:pt x="343" y="27"/>
                    </a:lnTo>
                    <a:lnTo>
                      <a:pt x="345" y="27"/>
                    </a:lnTo>
                    <a:lnTo>
                      <a:pt x="345" y="29"/>
                    </a:lnTo>
                    <a:lnTo>
                      <a:pt x="346" y="29"/>
                    </a:lnTo>
                    <a:lnTo>
                      <a:pt x="346" y="30"/>
                    </a:lnTo>
                    <a:lnTo>
                      <a:pt x="346" y="32"/>
                    </a:lnTo>
                    <a:lnTo>
                      <a:pt x="346" y="30"/>
                    </a:lnTo>
                    <a:lnTo>
                      <a:pt x="348" y="30"/>
                    </a:lnTo>
                    <a:lnTo>
                      <a:pt x="350" y="29"/>
                    </a:lnTo>
                    <a:lnTo>
                      <a:pt x="350" y="30"/>
                    </a:lnTo>
                    <a:lnTo>
                      <a:pt x="350" y="32"/>
                    </a:lnTo>
                    <a:lnTo>
                      <a:pt x="350" y="34"/>
                    </a:lnTo>
                    <a:lnTo>
                      <a:pt x="348" y="34"/>
                    </a:lnTo>
                    <a:lnTo>
                      <a:pt x="348" y="35"/>
                    </a:lnTo>
                    <a:lnTo>
                      <a:pt x="346" y="35"/>
                    </a:lnTo>
                    <a:lnTo>
                      <a:pt x="346" y="37"/>
                    </a:lnTo>
                    <a:lnTo>
                      <a:pt x="346" y="38"/>
                    </a:lnTo>
                    <a:lnTo>
                      <a:pt x="346" y="40"/>
                    </a:lnTo>
                    <a:lnTo>
                      <a:pt x="348" y="40"/>
                    </a:lnTo>
                    <a:lnTo>
                      <a:pt x="348" y="38"/>
                    </a:lnTo>
                    <a:lnTo>
                      <a:pt x="350" y="38"/>
                    </a:lnTo>
                    <a:lnTo>
                      <a:pt x="350" y="40"/>
                    </a:lnTo>
                    <a:lnTo>
                      <a:pt x="351" y="40"/>
                    </a:lnTo>
                    <a:lnTo>
                      <a:pt x="351" y="41"/>
                    </a:lnTo>
                    <a:lnTo>
                      <a:pt x="353" y="41"/>
                    </a:lnTo>
                    <a:lnTo>
                      <a:pt x="354" y="41"/>
                    </a:lnTo>
                    <a:lnTo>
                      <a:pt x="354" y="43"/>
                    </a:lnTo>
                    <a:lnTo>
                      <a:pt x="356" y="43"/>
                    </a:lnTo>
                    <a:lnTo>
                      <a:pt x="356" y="45"/>
                    </a:lnTo>
                    <a:lnTo>
                      <a:pt x="358" y="45"/>
                    </a:lnTo>
                    <a:lnTo>
                      <a:pt x="358" y="43"/>
                    </a:lnTo>
                    <a:lnTo>
                      <a:pt x="358" y="41"/>
                    </a:lnTo>
                    <a:lnTo>
                      <a:pt x="359" y="41"/>
                    </a:lnTo>
                    <a:lnTo>
                      <a:pt x="361" y="41"/>
                    </a:lnTo>
                    <a:lnTo>
                      <a:pt x="362" y="41"/>
                    </a:lnTo>
                    <a:lnTo>
                      <a:pt x="362" y="43"/>
                    </a:lnTo>
                    <a:lnTo>
                      <a:pt x="361" y="43"/>
                    </a:lnTo>
                    <a:lnTo>
                      <a:pt x="362" y="43"/>
                    </a:lnTo>
                    <a:lnTo>
                      <a:pt x="364" y="43"/>
                    </a:lnTo>
                    <a:lnTo>
                      <a:pt x="364" y="41"/>
                    </a:lnTo>
                    <a:lnTo>
                      <a:pt x="366" y="41"/>
                    </a:lnTo>
                    <a:lnTo>
                      <a:pt x="366" y="40"/>
                    </a:lnTo>
                    <a:lnTo>
                      <a:pt x="367" y="40"/>
                    </a:lnTo>
                    <a:lnTo>
                      <a:pt x="369" y="40"/>
                    </a:lnTo>
                    <a:lnTo>
                      <a:pt x="369" y="41"/>
                    </a:lnTo>
                    <a:lnTo>
                      <a:pt x="369" y="43"/>
                    </a:lnTo>
                    <a:lnTo>
                      <a:pt x="370" y="45"/>
                    </a:lnTo>
                    <a:lnTo>
                      <a:pt x="372" y="45"/>
                    </a:lnTo>
                    <a:lnTo>
                      <a:pt x="373" y="45"/>
                    </a:lnTo>
                    <a:lnTo>
                      <a:pt x="375" y="45"/>
                    </a:lnTo>
                    <a:lnTo>
                      <a:pt x="375" y="43"/>
                    </a:lnTo>
                    <a:lnTo>
                      <a:pt x="377" y="43"/>
                    </a:lnTo>
                    <a:lnTo>
                      <a:pt x="377" y="41"/>
                    </a:lnTo>
                    <a:lnTo>
                      <a:pt x="378" y="41"/>
                    </a:lnTo>
                    <a:lnTo>
                      <a:pt x="378" y="43"/>
                    </a:lnTo>
                    <a:lnTo>
                      <a:pt x="380" y="41"/>
                    </a:lnTo>
                    <a:lnTo>
                      <a:pt x="380" y="43"/>
                    </a:lnTo>
                    <a:lnTo>
                      <a:pt x="380" y="45"/>
                    </a:lnTo>
                    <a:lnTo>
                      <a:pt x="381" y="45"/>
                    </a:lnTo>
                    <a:lnTo>
                      <a:pt x="383" y="45"/>
                    </a:lnTo>
                    <a:lnTo>
                      <a:pt x="383" y="43"/>
                    </a:lnTo>
                    <a:lnTo>
                      <a:pt x="385" y="43"/>
                    </a:lnTo>
                    <a:lnTo>
                      <a:pt x="385" y="41"/>
                    </a:lnTo>
                    <a:lnTo>
                      <a:pt x="386" y="41"/>
                    </a:lnTo>
                    <a:lnTo>
                      <a:pt x="388" y="41"/>
                    </a:lnTo>
                    <a:lnTo>
                      <a:pt x="389" y="41"/>
                    </a:lnTo>
                    <a:lnTo>
                      <a:pt x="391" y="41"/>
                    </a:lnTo>
                    <a:lnTo>
                      <a:pt x="392" y="41"/>
                    </a:lnTo>
                    <a:lnTo>
                      <a:pt x="392" y="40"/>
                    </a:lnTo>
                    <a:lnTo>
                      <a:pt x="392" y="41"/>
                    </a:lnTo>
                    <a:lnTo>
                      <a:pt x="394" y="41"/>
                    </a:lnTo>
                    <a:lnTo>
                      <a:pt x="394" y="43"/>
                    </a:lnTo>
                    <a:lnTo>
                      <a:pt x="394" y="41"/>
                    </a:lnTo>
                    <a:lnTo>
                      <a:pt x="396" y="41"/>
                    </a:lnTo>
                    <a:lnTo>
                      <a:pt x="396" y="40"/>
                    </a:lnTo>
                    <a:lnTo>
                      <a:pt x="397" y="40"/>
                    </a:lnTo>
                    <a:lnTo>
                      <a:pt x="397" y="38"/>
                    </a:lnTo>
                    <a:lnTo>
                      <a:pt x="399" y="40"/>
                    </a:lnTo>
                    <a:lnTo>
                      <a:pt x="400" y="41"/>
                    </a:lnTo>
                    <a:lnTo>
                      <a:pt x="400" y="40"/>
                    </a:lnTo>
                    <a:lnTo>
                      <a:pt x="402" y="40"/>
                    </a:lnTo>
                    <a:lnTo>
                      <a:pt x="404" y="38"/>
                    </a:lnTo>
                    <a:lnTo>
                      <a:pt x="404" y="40"/>
                    </a:lnTo>
                    <a:lnTo>
                      <a:pt x="405" y="40"/>
                    </a:lnTo>
                    <a:lnTo>
                      <a:pt x="407" y="40"/>
                    </a:lnTo>
                    <a:lnTo>
                      <a:pt x="408" y="38"/>
                    </a:lnTo>
                    <a:lnTo>
                      <a:pt x="410" y="38"/>
                    </a:lnTo>
                    <a:lnTo>
                      <a:pt x="411" y="38"/>
                    </a:lnTo>
                    <a:lnTo>
                      <a:pt x="413" y="38"/>
                    </a:lnTo>
                    <a:lnTo>
                      <a:pt x="413" y="40"/>
                    </a:lnTo>
                    <a:lnTo>
                      <a:pt x="413" y="41"/>
                    </a:lnTo>
                    <a:lnTo>
                      <a:pt x="413" y="43"/>
                    </a:lnTo>
                    <a:lnTo>
                      <a:pt x="415" y="43"/>
                    </a:lnTo>
                    <a:lnTo>
                      <a:pt x="416" y="43"/>
                    </a:lnTo>
                    <a:lnTo>
                      <a:pt x="418" y="41"/>
                    </a:lnTo>
                    <a:lnTo>
                      <a:pt x="418" y="43"/>
                    </a:lnTo>
                    <a:lnTo>
                      <a:pt x="419" y="43"/>
                    </a:lnTo>
                    <a:lnTo>
                      <a:pt x="421" y="43"/>
                    </a:lnTo>
                    <a:lnTo>
                      <a:pt x="421" y="41"/>
                    </a:lnTo>
                    <a:lnTo>
                      <a:pt x="421" y="40"/>
                    </a:lnTo>
                    <a:lnTo>
                      <a:pt x="419" y="40"/>
                    </a:lnTo>
                    <a:lnTo>
                      <a:pt x="419" y="38"/>
                    </a:lnTo>
                    <a:lnTo>
                      <a:pt x="421" y="38"/>
                    </a:lnTo>
                    <a:lnTo>
                      <a:pt x="423" y="38"/>
                    </a:lnTo>
                    <a:lnTo>
                      <a:pt x="423" y="37"/>
                    </a:lnTo>
                    <a:lnTo>
                      <a:pt x="424" y="37"/>
                    </a:lnTo>
                    <a:lnTo>
                      <a:pt x="426" y="37"/>
                    </a:lnTo>
                    <a:lnTo>
                      <a:pt x="426" y="35"/>
                    </a:lnTo>
                    <a:lnTo>
                      <a:pt x="426" y="34"/>
                    </a:lnTo>
                    <a:lnTo>
                      <a:pt x="427" y="32"/>
                    </a:lnTo>
                    <a:lnTo>
                      <a:pt x="429" y="32"/>
                    </a:lnTo>
                    <a:lnTo>
                      <a:pt x="429" y="30"/>
                    </a:lnTo>
                    <a:lnTo>
                      <a:pt x="427" y="30"/>
                    </a:lnTo>
                    <a:lnTo>
                      <a:pt x="429" y="29"/>
                    </a:lnTo>
                    <a:lnTo>
                      <a:pt x="427" y="27"/>
                    </a:lnTo>
                    <a:lnTo>
                      <a:pt x="427" y="26"/>
                    </a:lnTo>
                    <a:lnTo>
                      <a:pt x="427" y="24"/>
                    </a:lnTo>
                    <a:lnTo>
                      <a:pt x="429" y="24"/>
                    </a:lnTo>
                    <a:lnTo>
                      <a:pt x="430" y="24"/>
                    </a:lnTo>
                    <a:lnTo>
                      <a:pt x="430" y="22"/>
                    </a:lnTo>
                    <a:lnTo>
                      <a:pt x="432" y="24"/>
                    </a:lnTo>
                    <a:lnTo>
                      <a:pt x="432" y="22"/>
                    </a:lnTo>
                    <a:lnTo>
                      <a:pt x="434" y="22"/>
                    </a:lnTo>
                    <a:lnTo>
                      <a:pt x="434" y="21"/>
                    </a:lnTo>
                  </a:path>
                </a:pathLst>
              </a:custGeom>
              <a:noFill/>
              <a:ln w="476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24" name="Freeform 22"/>
              <p:cNvSpPr>
                <a:spLocks/>
              </p:cNvSpPr>
              <p:nvPr/>
            </p:nvSpPr>
            <p:spPr bwMode="auto">
              <a:xfrm>
                <a:off x="2197" y="1476"/>
                <a:ext cx="61" cy="56"/>
              </a:xfrm>
              <a:custGeom>
                <a:avLst/>
                <a:gdLst>
                  <a:gd name="T0" fmla="*/ 0 w 61"/>
                  <a:gd name="T1" fmla="*/ 54 h 56"/>
                  <a:gd name="T2" fmla="*/ 1 w 61"/>
                  <a:gd name="T3" fmla="*/ 56 h 56"/>
                  <a:gd name="T4" fmla="*/ 4 w 61"/>
                  <a:gd name="T5" fmla="*/ 56 h 56"/>
                  <a:gd name="T6" fmla="*/ 4 w 61"/>
                  <a:gd name="T7" fmla="*/ 53 h 56"/>
                  <a:gd name="T8" fmla="*/ 8 w 61"/>
                  <a:gd name="T9" fmla="*/ 53 h 56"/>
                  <a:gd name="T10" fmla="*/ 8 w 61"/>
                  <a:gd name="T11" fmla="*/ 53 h 56"/>
                  <a:gd name="T12" fmla="*/ 9 w 61"/>
                  <a:gd name="T13" fmla="*/ 51 h 56"/>
                  <a:gd name="T14" fmla="*/ 9 w 61"/>
                  <a:gd name="T15" fmla="*/ 51 h 56"/>
                  <a:gd name="T16" fmla="*/ 11 w 61"/>
                  <a:gd name="T17" fmla="*/ 48 h 56"/>
                  <a:gd name="T18" fmla="*/ 14 w 61"/>
                  <a:gd name="T19" fmla="*/ 48 h 56"/>
                  <a:gd name="T20" fmla="*/ 15 w 61"/>
                  <a:gd name="T21" fmla="*/ 46 h 56"/>
                  <a:gd name="T22" fmla="*/ 17 w 61"/>
                  <a:gd name="T23" fmla="*/ 43 h 56"/>
                  <a:gd name="T24" fmla="*/ 17 w 61"/>
                  <a:gd name="T25" fmla="*/ 40 h 56"/>
                  <a:gd name="T26" fmla="*/ 19 w 61"/>
                  <a:gd name="T27" fmla="*/ 38 h 56"/>
                  <a:gd name="T28" fmla="*/ 19 w 61"/>
                  <a:gd name="T29" fmla="*/ 35 h 56"/>
                  <a:gd name="T30" fmla="*/ 20 w 61"/>
                  <a:gd name="T31" fmla="*/ 34 h 56"/>
                  <a:gd name="T32" fmla="*/ 22 w 61"/>
                  <a:gd name="T33" fmla="*/ 35 h 56"/>
                  <a:gd name="T34" fmla="*/ 25 w 61"/>
                  <a:gd name="T35" fmla="*/ 35 h 56"/>
                  <a:gd name="T36" fmla="*/ 28 w 61"/>
                  <a:gd name="T37" fmla="*/ 34 h 56"/>
                  <a:gd name="T38" fmla="*/ 30 w 61"/>
                  <a:gd name="T39" fmla="*/ 32 h 56"/>
                  <a:gd name="T40" fmla="*/ 31 w 61"/>
                  <a:gd name="T41" fmla="*/ 34 h 56"/>
                  <a:gd name="T42" fmla="*/ 34 w 61"/>
                  <a:gd name="T43" fmla="*/ 34 h 56"/>
                  <a:gd name="T44" fmla="*/ 38 w 61"/>
                  <a:gd name="T45" fmla="*/ 32 h 56"/>
                  <a:gd name="T46" fmla="*/ 39 w 61"/>
                  <a:gd name="T47" fmla="*/ 31 h 56"/>
                  <a:gd name="T48" fmla="*/ 39 w 61"/>
                  <a:gd name="T49" fmla="*/ 27 h 56"/>
                  <a:gd name="T50" fmla="*/ 41 w 61"/>
                  <a:gd name="T51" fmla="*/ 24 h 56"/>
                  <a:gd name="T52" fmla="*/ 42 w 61"/>
                  <a:gd name="T53" fmla="*/ 23 h 56"/>
                  <a:gd name="T54" fmla="*/ 42 w 61"/>
                  <a:gd name="T55" fmla="*/ 19 h 56"/>
                  <a:gd name="T56" fmla="*/ 44 w 61"/>
                  <a:gd name="T57" fmla="*/ 16 h 56"/>
                  <a:gd name="T58" fmla="*/ 44 w 61"/>
                  <a:gd name="T59" fmla="*/ 13 h 56"/>
                  <a:gd name="T60" fmla="*/ 46 w 61"/>
                  <a:gd name="T61" fmla="*/ 12 h 56"/>
                  <a:gd name="T62" fmla="*/ 47 w 61"/>
                  <a:gd name="T63" fmla="*/ 10 h 56"/>
                  <a:gd name="T64" fmla="*/ 47 w 61"/>
                  <a:gd name="T65" fmla="*/ 7 h 56"/>
                  <a:gd name="T66" fmla="*/ 49 w 61"/>
                  <a:gd name="T67" fmla="*/ 8 h 56"/>
                  <a:gd name="T68" fmla="*/ 50 w 61"/>
                  <a:gd name="T69" fmla="*/ 10 h 56"/>
                  <a:gd name="T70" fmla="*/ 50 w 61"/>
                  <a:gd name="T71" fmla="*/ 8 h 56"/>
                  <a:gd name="T72" fmla="*/ 50 w 61"/>
                  <a:gd name="T73" fmla="*/ 5 h 56"/>
                  <a:gd name="T74" fmla="*/ 52 w 61"/>
                  <a:gd name="T75" fmla="*/ 4 h 56"/>
                  <a:gd name="T76" fmla="*/ 55 w 61"/>
                  <a:gd name="T77" fmla="*/ 4 h 56"/>
                  <a:gd name="T78" fmla="*/ 57 w 61"/>
                  <a:gd name="T79" fmla="*/ 0 h 56"/>
                  <a:gd name="T80" fmla="*/ 58 w 61"/>
                  <a:gd name="T81" fmla="*/ 2 h 56"/>
                  <a:gd name="T82" fmla="*/ 60 w 61"/>
                  <a:gd name="T83" fmla="*/ 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1" h="56">
                    <a:moveTo>
                      <a:pt x="0" y="56"/>
                    </a:moveTo>
                    <a:lnTo>
                      <a:pt x="0" y="54"/>
                    </a:lnTo>
                    <a:lnTo>
                      <a:pt x="1" y="54"/>
                    </a:lnTo>
                    <a:lnTo>
                      <a:pt x="1" y="56"/>
                    </a:lnTo>
                    <a:lnTo>
                      <a:pt x="3" y="56"/>
                    </a:lnTo>
                    <a:lnTo>
                      <a:pt x="4" y="56"/>
                    </a:lnTo>
                    <a:lnTo>
                      <a:pt x="4" y="54"/>
                    </a:lnTo>
                    <a:lnTo>
                      <a:pt x="4" y="53"/>
                    </a:lnTo>
                    <a:lnTo>
                      <a:pt x="6" y="53"/>
                    </a:lnTo>
                    <a:lnTo>
                      <a:pt x="8" y="53"/>
                    </a:lnTo>
                    <a:lnTo>
                      <a:pt x="8" y="54"/>
                    </a:lnTo>
                    <a:lnTo>
                      <a:pt x="8" y="53"/>
                    </a:lnTo>
                    <a:lnTo>
                      <a:pt x="9" y="53"/>
                    </a:lnTo>
                    <a:lnTo>
                      <a:pt x="9" y="51"/>
                    </a:lnTo>
                    <a:lnTo>
                      <a:pt x="9" y="50"/>
                    </a:lnTo>
                    <a:lnTo>
                      <a:pt x="9" y="51"/>
                    </a:lnTo>
                    <a:lnTo>
                      <a:pt x="11" y="50"/>
                    </a:lnTo>
                    <a:lnTo>
                      <a:pt x="11" y="48"/>
                    </a:lnTo>
                    <a:lnTo>
                      <a:pt x="12" y="48"/>
                    </a:lnTo>
                    <a:lnTo>
                      <a:pt x="14" y="48"/>
                    </a:lnTo>
                    <a:lnTo>
                      <a:pt x="15" y="48"/>
                    </a:lnTo>
                    <a:lnTo>
                      <a:pt x="15" y="46"/>
                    </a:lnTo>
                    <a:lnTo>
                      <a:pt x="15" y="45"/>
                    </a:lnTo>
                    <a:lnTo>
                      <a:pt x="17" y="43"/>
                    </a:lnTo>
                    <a:lnTo>
                      <a:pt x="17" y="42"/>
                    </a:lnTo>
                    <a:lnTo>
                      <a:pt x="17" y="40"/>
                    </a:lnTo>
                    <a:lnTo>
                      <a:pt x="19" y="40"/>
                    </a:lnTo>
                    <a:lnTo>
                      <a:pt x="19" y="38"/>
                    </a:lnTo>
                    <a:lnTo>
                      <a:pt x="19" y="37"/>
                    </a:lnTo>
                    <a:lnTo>
                      <a:pt x="19" y="35"/>
                    </a:lnTo>
                    <a:lnTo>
                      <a:pt x="19" y="34"/>
                    </a:lnTo>
                    <a:lnTo>
                      <a:pt x="20" y="34"/>
                    </a:lnTo>
                    <a:lnTo>
                      <a:pt x="22" y="34"/>
                    </a:lnTo>
                    <a:lnTo>
                      <a:pt x="22" y="35"/>
                    </a:lnTo>
                    <a:lnTo>
                      <a:pt x="23" y="35"/>
                    </a:lnTo>
                    <a:lnTo>
                      <a:pt x="25" y="35"/>
                    </a:lnTo>
                    <a:lnTo>
                      <a:pt x="27" y="34"/>
                    </a:lnTo>
                    <a:lnTo>
                      <a:pt x="28" y="34"/>
                    </a:lnTo>
                    <a:lnTo>
                      <a:pt x="30" y="34"/>
                    </a:lnTo>
                    <a:lnTo>
                      <a:pt x="30" y="32"/>
                    </a:lnTo>
                    <a:lnTo>
                      <a:pt x="30" y="34"/>
                    </a:lnTo>
                    <a:lnTo>
                      <a:pt x="31" y="34"/>
                    </a:lnTo>
                    <a:lnTo>
                      <a:pt x="33" y="34"/>
                    </a:lnTo>
                    <a:lnTo>
                      <a:pt x="34" y="34"/>
                    </a:lnTo>
                    <a:lnTo>
                      <a:pt x="36" y="34"/>
                    </a:lnTo>
                    <a:lnTo>
                      <a:pt x="38" y="32"/>
                    </a:lnTo>
                    <a:lnTo>
                      <a:pt x="38" y="31"/>
                    </a:lnTo>
                    <a:lnTo>
                      <a:pt x="39" y="31"/>
                    </a:lnTo>
                    <a:lnTo>
                      <a:pt x="39" y="29"/>
                    </a:lnTo>
                    <a:lnTo>
                      <a:pt x="39" y="27"/>
                    </a:lnTo>
                    <a:lnTo>
                      <a:pt x="39" y="26"/>
                    </a:lnTo>
                    <a:lnTo>
                      <a:pt x="41" y="24"/>
                    </a:lnTo>
                    <a:lnTo>
                      <a:pt x="41" y="23"/>
                    </a:lnTo>
                    <a:lnTo>
                      <a:pt x="42" y="23"/>
                    </a:lnTo>
                    <a:lnTo>
                      <a:pt x="42" y="21"/>
                    </a:lnTo>
                    <a:lnTo>
                      <a:pt x="42" y="19"/>
                    </a:lnTo>
                    <a:lnTo>
                      <a:pt x="42" y="18"/>
                    </a:lnTo>
                    <a:lnTo>
                      <a:pt x="44" y="16"/>
                    </a:lnTo>
                    <a:lnTo>
                      <a:pt x="44" y="15"/>
                    </a:lnTo>
                    <a:lnTo>
                      <a:pt x="44" y="13"/>
                    </a:lnTo>
                    <a:lnTo>
                      <a:pt x="46" y="13"/>
                    </a:lnTo>
                    <a:lnTo>
                      <a:pt x="46" y="12"/>
                    </a:lnTo>
                    <a:lnTo>
                      <a:pt x="47" y="12"/>
                    </a:lnTo>
                    <a:lnTo>
                      <a:pt x="47" y="10"/>
                    </a:lnTo>
                    <a:lnTo>
                      <a:pt x="47" y="8"/>
                    </a:lnTo>
                    <a:lnTo>
                      <a:pt x="47" y="7"/>
                    </a:lnTo>
                    <a:lnTo>
                      <a:pt x="49" y="7"/>
                    </a:lnTo>
                    <a:lnTo>
                      <a:pt x="49" y="8"/>
                    </a:lnTo>
                    <a:lnTo>
                      <a:pt x="49" y="10"/>
                    </a:lnTo>
                    <a:lnTo>
                      <a:pt x="50" y="10"/>
                    </a:lnTo>
                    <a:lnTo>
                      <a:pt x="52" y="10"/>
                    </a:lnTo>
                    <a:lnTo>
                      <a:pt x="50" y="8"/>
                    </a:lnTo>
                    <a:lnTo>
                      <a:pt x="50" y="7"/>
                    </a:lnTo>
                    <a:lnTo>
                      <a:pt x="50" y="5"/>
                    </a:lnTo>
                    <a:lnTo>
                      <a:pt x="52" y="5"/>
                    </a:lnTo>
                    <a:lnTo>
                      <a:pt x="52" y="4"/>
                    </a:lnTo>
                    <a:lnTo>
                      <a:pt x="53" y="4"/>
                    </a:lnTo>
                    <a:lnTo>
                      <a:pt x="55" y="4"/>
                    </a:lnTo>
                    <a:lnTo>
                      <a:pt x="57" y="2"/>
                    </a:lnTo>
                    <a:lnTo>
                      <a:pt x="57" y="0"/>
                    </a:lnTo>
                    <a:lnTo>
                      <a:pt x="58" y="0"/>
                    </a:lnTo>
                    <a:lnTo>
                      <a:pt x="58" y="2"/>
                    </a:lnTo>
                    <a:lnTo>
                      <a:pt x="58" y="4"/>
                    </a:lnTo>
                    <a:lnTo>
                      <a:pt x="60" y="4"/>
                    </a:lnTo>
                    <a:lnTo>
                      <a:pt x="61" y="4"/>
                    </a:lnTo>
                  </a:path>
                </a:pathLst>
              </a:custGeom>
              <a:noFill/>
              <a:ln w="476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25" name="Freeform 23"/>
              <p:cNvSpPr>
                <a:spLocks/>
              </p:cNvSpPr>
              <p:nvPr/>
            </p:nvSpPr>
            <p:spPr bwMode="auto">
              <a:xfrm>
                <a:off x="3987" y="2139"/>
                <a:ext cx="179" cy="92"/>
              </a:xfrm>
              <a:custGeom>
                <a:avLst/>
                <a:gdLst>
                  <a:gd name="T0" fmla="*/ 155 w 179"/>
                  <a:gd name="T1" fmla="*/ 39 h 92"/>
                  <a:gd name="T2" fmla="*/ 150 w 179"/>
                  <a:gd name="T3" fmla="*/ 36 h 92"/>
                  <a:gd name="T4" fmla="*/ 137 w 179"/>
                  <a:gd name="T5" fmla="*/ 38 h 92"/>
                  <a:gd name="T6" fmla="*/ 126 w 179"/>
                  <a:gd name="T7" fmla="*/ 44 h 92"/>
                  <a:gd name="T8" fmla="*/ 115 w 179"/>
                  <a:gd name="T9" fmla="*/ 49 h 92"/>
                  <a:gd name="T10" fmla="*/ 117 w 179"/>
                  <a:gd name="T11" fmla="*/ 55 h 92"/>
                  <a:gd name="T12" fmla="*/ 122 w 179"/>
                  <a:gd name="T13" fmla="*/ 62 h 92"/>
                  <a:gd name="T14" fmla="*/ 120 w 179"/>
                  <a:gd name="T15" fmla="*/ 73 h 92"/>
                  <a:gd name="T16" fmla="*/ 112 w 179"/>
                  <a:gd name="T17" fmla="*/ 81 h 92"/>
                  <a:gd name="T18" fmla="*/ 103 w 179"/>
                  <a:gd name="T19" fmla="*/ 85 h 92"/>
                  <a:gd name="T20" fmla="*/ 101 w 179"/>
                  <a:gd name="T21" fmla="*/ 90 h 92"/>
                  <a:gd name="T22" fmla="*/ 99 w 179"/>
                  <a:gd name="T23" fmla="*/ 90 h 92"/>
                  <a:gd name="T24" fmla="*/ 95 w 179"/>
                  <a:gd name="T25" fmla="*/ 85 h 92"/>
                  <a:gd name="T26" fmla="*/ 88 w 179"/>
                  <a:gd name="T27" fmla="*/ 81 h 92"/>
                  <a:gd name="T28" fmla="*/ 80 w 179"/>
                  <a:gd name="T29" fmla="*/ 81 h 92"/>
                  <a:gd name="T30" fmla="*/ 77 w 179"/>
                  <a:gd name="T31" fmla="*/ 81 h 92"/>
                  <a:gd name="T32" fmla="*/ 74 w 179"/>
                  <a:gd name="T33" fmla="*/ 81 h 92"/>
                  <a:gd name="T34" fmla="*/ 66 w 179"/>
                  <a:gd name="T35" fmla="*/ 85 h 92"/>
                  <a:gd name="T36" fmla="*/ 53 w 179"/>
                  <a:gd name="T37" fmla="*/ 90 h 92"/>
                  <a:gd name="T38" fmla="*/ 46 w 179"/>
                  <a:gd name="T39" fmla="*/ 88 h 92"/>
                  <a:gd name="T40" fmla="*/ 33 w 179"/>
                  <a:gd name="T41" fmla="*/ 88 h 92"/>
                  <a:gd name="T42" fmla="*/ 19 w 179"/>
                  <a:gd name="T43" fmla="*/ 85 h 92"/>
                  <a:gd name="T44" fmla="*/ 7 w 179"/>
                  <a:gd name="T45" fmla="*/ 87 h 92"/>
                  <a:gd name="T46" fmla="*/ 0 w 179"/>
                  <a:gd name="T47" fmla="*/ 85 h 92"/>
                  <a:gd name="T48" fmla="*/ 6 w 179"/>
                  <a:gd name="T49" fmla="*/ 44 h 92"/>
                  <a:gd name="T50" fmla="*/ 7 w 179"/>
                  <a:gd name="T51" fmla="*/ 41 h 92"/>
                  <a:gd name="T52" fmla="*/ 19 w 179"/>
                  <a:gd name="T53" fmla="*/ 39 h 92"/>
                  <a:gd name="T54" fmla="*/ 23 w 179"/>
                  <a:gd name="T55" fmla="*/ 41 h 92"/>
                  <a:gd name="T56" fmla="*/ 42 w 179"/>
                  <a:gd name="T57" fmla="*/ 28 h 92"/>
                  <a:gd name="T58" fmla="*/ 66 w 179"/>
                  <a:gd name="T59" fmla="*/ 38 h 92"/>
                  <a:gd name="T60" fmla="*/ 82 w 179"/>
                  <a:gd name="T61" fmla="*/ 47 h 92"/>
                  <a:gd name="T62" fmla="*/ 88 w 179"/>
                  <a:gd name="T63" fmla="*/ 47 h 92"/>
                  <a:gd name="T64" fmla="*/ 115 w 179"/>
                  <a:gd name="T65" fmla="*/ 22 h 92"/>
                  <a:gd name="T66" fmla="*/ 142 w 179"/>
                  <a:gd name="T67" fmla="*/ 0 h 92"/>
                  <a:gd name="T68" fmla="*/ 166 w 179"/>
                  <a:gd name="T69" fmla="*/ 8 h 92"/>
                  <a:gd name="T70" fmla="*/ 179 w 179"/>
                  <a:gd name="T71" fmla="*/ 19 h 92"/>
                  <a:gd name="T72" fmla="*/ 179 w 179"/>
                  <a:gd name="T73" fmla="*/ 19 h 92"/>
                  <a:gd name="T74" fmla="*/ 175 w 179"/>
                  <a:gd name="T75" fmla="*/ 20 h 92"/>
                  <a:gd name="T76" fmla="*/ 171 w 179"/>
                  <a:gd name="T77" fmla="*/ 25 h 92"/>
                  <a:gd name="T78" fmla="*/ 163 w 179"/>
                  <a:gd name="T79" fmla="*/ 31 h 92"/>
                  <a:gd name="T80" fmla="*/ 156 w 179"/>
                  <a:gd name="T81" fmla="*/ 3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9" h="92">
                    <a:moveTo>
                      <a:pt x="156" y="36"/>
                    </a:moveTo>
                    <a:lnTo>
                      <a:pt x="155" y="39"/>
                    </a:lnTo>
                    <a:lnTo>
                      <a:pt x="155" y="38"/>
                    </a:lnTo>
                    <a:lnTo>
                      <a:pt x="150" y="36"/>
                    </a:lnTo>
                    <a:lnTo>
                      <a:pt x="144" y="38"/>
                    </a:lnTo>
                    <a:lnTo>
                      <a:pt x="137" y="38"/>
                    </a:lnTo>
                    <a:lnTo>
                      <a:pt x="133" y="41"/>
                    </a:lnTo>
                    <a:lnTo>
                      <a:pt x="126" y="44"/>
                    </a:lnTo>
                    <a:lnTo>
                      <a:pt x="122" y="47"/>
                    </a:lnTo>
                    <a:lnTo>
                      <a:pt x="115" y="49"/>
                    </a:lnTo>
                    <a:lnTo>
                      <a:pt x="117" y="54"/>
                    </a:lnTo>
                    <a:lnTo>
                      <a:pt x="117" y="55"/>
                    </a:lnTo>
                    <a:lnTo>
                      <a:pt x="118" y="58"/>
                    </a:lnTo>
                    <a:lnTo>
                      <a:pt x="122" y="62"/>
                    </a:lnTo>
                    <a:lnTo>
                      <a:pt x="125" y="66"/>
                    </a:lnTo>
                    <a:lnTo>
                      <a:pt x="120" y="73"/>
                    </a:lnTo>
                    <a:lnTo>
                      <a:pt x="115" y="77"/>
                    </a:lnTo>
                    <a:lnTo>
                      <a:pt x="112" y="81"/>
                    </a:lnTo>
                    <a:lnTo>
                      <a:pt x="107" y="82"/>
                    </a:lnTo>
                    <a:lnTo>
                      <a:pt x="103" y="85"/>
                    </a:lnTo>
                    <a:lnTo>
                      <a:pt x="101" y="90"/>
                    </a:lnTo>
                    <a:lnTo>
                      <a:pt x="101" y="90"/>
                    </a:lnTo>
                    <a:lnTo>
                      <a:pt x="99" y="90"/>
                    </a:lnTo>
                    <a:lnTo>
                      <a:pt x="99" y="90"/>
                    </a:lnTo>
                    <a:lnTo>
                      <a:pt x="96" y="87"/>
                    </a:lnTo>
                    <a:lnTo>
                      <a:pt x="95" y="85"/>
                    </a:lnTo>
                    <a:lnTo>
                      <a:pt x="93" y="84"/>
                    </a:lnTo>
                    <a:lnTo>
                      <a:pt x="88" y="81"/>
                    </a:lnTo>
                    <a:lnTo>
                      <a:pt x="85" y="81"/>
                    </a:lnTo>
                    <a:lnTo>
                      <a:pt x="80" y="81"/>
                    </a:lnTo>
                    <a:lnTo>
                      <a:pt x="79" y="81"/>
                    </a:lnTo>
                    <a:lnTo>
                      <a:pt x="77" y="81"/>
                    </a:lnTo>
                    <a:lnTo>
                      <a:pt x="74" y="81"/>
                    </a:lnTo>
                    <a:lnTo>
                      <a:pt x="74" y="81"/>
                    </a:lnTo>
                    <a:lnTo>
                      <a:pt x="66" y="85"/>
                    </a:lnTo>
                    <a:lnTo>
                      <a:pt x="66" y="85"/>
                    </a:lnTo>
                    <a:lnTo>
                      <a:pt x="61" y="88"/>
                    </a:lnTo>
                    <a:lnTo>
                      <a:pt x="53" y="90"/>
                    </a:lnTo>
                    <a:lnTo>
                      <a:pt x="53" y="90"/>
                    </a:lnTo>
                    <a:lnTo>
                      <a:pt x="46" y="88"/>
                    </a:lnTo>
                    <a:lnTo>
                      <a:pt x="39" y="87"/>
                    </a:lnTo>
                    <a:lnTo>
                      <a:pt x="33" y="88"/>
                    </a:lnTo>
                    <a:lnTo>
                      <a:pt x="25" y="90"/>
                    </a:lnTo>
                    <a:lnTo>
                      <a:pt x="19" y="85"/>
                    </a:lnTo>
                    <a:lnTo>
                      <a:pt x="14" y="85"/>
                    </a:lnTo>
                    <a:lnTo>
                      <a:pt x="7" y="87"/>
                    </a:lnTo>
                    <a:lnTo>
                      <a:pt x="3" y="92"/>
                    </a:lnTo>
                    <a:lnTo>
                      <a:pt x="0" y="85"/>
                    </a:lnTo>
                    <a:lnTo>
                      <a:pt x="6" y="54"/>
                    </a:lnTo>
                    <a:lnTo>
                      <a:pt x="6" y="44"/>
                    </a:lnTo>
                    <a:lnTo>
                      <a:pt x="6" y="44"/>
                    </a:lnTo>
                    <a:lnTo>
                      <a:pt x="7" y="41"/>
                    </a:lnTo>
                    <a:lnTo>
                      <a:pt x="14" y="38"/>
                    </a:lnTo>
                    <a:lnTo>
                      <a:pt x="19" y="39"/>
                    </a:lnTo>
                    <a:lnTo>
                      <a:pt x="22" y="41"/>
                    </a:lnTo>
                    <a:lnTo>
                      <a:pt x="23" y="41"/>
                    </a:lnTo>
                    <a:lnTo>
                      <a:pt x="36" y="31"/>
                    </a:lnTo>
                    <a:lnTo>
                      <a:pt x="42" y="28"/>
                    </a:lnTo>
                    <a:lnTo>
                      <a:pt x="52" y="30"/>
                    </a:lnTo>
                    <a:lnTo>
                      <a:pt x="66" y="38"/>
                    </a:lnTo>
                    <a:lnTo>
                      <a:pt x="79" y="44"/>
                    </a:lnTo>
                    <a:lnTo>
                      <a:pt x="82" y="47"/>
                    </a:lnTo>
                    <a:lnTo>
                      <a:pt x="85" y="49"/>
                    </a:lnTo>
                    <a:lnTo>
                      <a:pt x="88" y="47"/>
                    </a:lnTo>
                    <a:lnTo>
                      <a:pt x="115" y="22"/>
                    </a:lnTo>
                    <a:lnTo>
                      <a:pt x="115" y="22"/>
                    </a:lnTo>
                    <a:lnTo>
                      <a:pt x="134" y="3"/>
                    </a:lnTo>
                    <a:lnTo>
                      <a:pt x="142" y="0"/>
                    </a:lnTo>
                    <a:lnTo>
                      <a:pt x="153" y="0"/>
                    </a:lnTo>
                    <a:lnTo>
                      <a:pt x="166" y="8"/>
                    </a:lnTo>
                    <a:lnTo>
                      <a:pt x="179" y="17"/>
                    </a:lnTo>
                    <a:lnTo>
                      <a:pt x="179" y="19"/>
                    </a:lnTo>
                    <a:lnTo>
                      <a:pt x="179" y="19"/>
                    </a:lnTo>
                    <a:lnTo>
                      <a:pt x="179" y="19"/>
                    </a:lnTo>
                    <a:lnTo>
                      <a:pt x="177" y="20"/>
                    </a:lnTo>
                    <a:lnTo>
                      <a:pt x="175" y="20"/>
                    </a:lnTo>
                    <a:lnTo>
                      <a:pt x="172" y="22"/>
                    </a:lnTo>
                    <a:lnTo>
                      <a:pt x="171" y="25"/>
                    </a:lnTo>
                    <a:lnTo>
                      <a:pt x="167" y="27"/>
                    </a:lnTo>
                    <a:lnTo>
                      <a:pt x="163" y="31"/>
                    </a:lnTo>
                    <a:lnTo>
                      <a:pt x="160" y="35"/>
                    </a:lnTo>
                    <a:lnTo>
                      <a:pt x="156" y="36"/>
                    </a:lnTo>
                    <a:close/>
                  </a:path>
                </a:pathLst>
              </a:custGeom>
              <a:solidFill>
                <a:srgbClr val="E1E1E1"/>
              </a:solidFill>
              <a:ln w="4763">
                <a:solidFill>
                  <a:srgbClr val="FFFFFF"/>
                </a:solidFill>
                <a:prstDash val="solid"/>
                <a:round/>
                <a:headEnd/>
                <a:tailEnd/>
              </a:ln>
            </p:spPr>
            <p:txBody>
              <a:bodyPr vert="horz" wrap="square" lIns="74295" tIns="37148" rIns="74295" bIns="37148" numCol="1" anchor="t" anchorCtr="0" compatLnSpc="1">
                <a:prstTxWarp prst="textNoShape">
                  <a:avLst/>
                </a:prstTxWarp>
              </a:bodyPr>
              <a:lstStyle/>
              <a:p>
                <a:endParaRPr lang="en-GB" sz="1138"/>
              </a:p>
            </p:txBody>
          </p:sp>
          <p:sp>
            <p:nvSpPr>
              <p:cNvPr id="26" name="Freeform 24"/>
              <p:cNvSpPr>
                <a:spLocks/>
              </p:cNvSpPr>
              <p:nvPr/>
            </p:nvSpPr>
            <p:spPr bwMode="auto">
              <a:xfrm>
                <a:off x="1439" y="2481"/>
                <a:ext cx="691" cy="469"/>
              </a:xfrm>
              <a:custGeom>
                <a:avLst/>
                <a:gdLst>
                  <a:gd name="T0" fmla="*/ 452 w 691"/>
                  <a:gd name="T1" fmla="*/ 60 h 469"/>
                  <a:gd name="T2" fmla="*/ 512 w 691"/>
                  <a:gd name="T3" fmla="*/ 100 h 469"/>
                  <a:gd name="T4" fmla="*/ 572 w 691"/>
                  <a:gd name="T5" fmla="*/ 122 h 469"/>
                  <a:gd name="T6" fmla="*/ 580 w 691"/>
                  <a:gd name="T7" fmla="*/ 146 h 469"/>
                  <a:gd name="T8" fmla="*/ 571 w 691"/>
                  <a:gd name="T9" fmla="*/ 177 h 469"/>
                  <a:gd name="T10" fmla="*/ 545 w 691"/>
                  <a:gd name="T11" fmla="*/ 227 h 469"/>
                  <a:gd name="T12" fmla="*/ 587 w 691"/>
                  <a:gd name="T13" fmla="*/ 280 h 469"/>
                  <a:gd name="T14" fmla="*/ 623 w 691"/>
                  <a:gd name="T15" fmla="*/ 318 h 469"/>
                  <a:gd name="T16" fmla="*/ 661 w 691"/>
                  <a:gd name="T17" fmla="*/ 322 h 469"/>
                  <a:gd name="T18" fmla="*/ 663 w 691"/>
                  <a:gd name="T19" fmla="*/ 331 h 469"/>
                  <a:gd name="T20" fmla="*/ 691 w 691"/>
                  <a:gd name="T21" fmla="*/ 352 h 469"/>
                  <a:gd name="T22" fmla="*/ 683 w 691"/>
                  <a:gd name="T23" fmla="*/ 383 h 469"/>
                  <a:gd name="T24" fmla="*/ 680 w 691"/>
                  <a:gd name="T25" fmla="*/ 420 h 469"/>
                  <a:gd name="T26" fmla="*/ 655 w 691"/>
                  <a:gd name="T27" fmla="*/ 429 h 469"/>
                  <a:gd name="T28" fmla="*/ 620 w 691"/>
                  <a:gd name="T29" fmla="*/ 433 h 469"/>
                  <a:gd name="T30" fmla="*/ 580 w 691"/>
                  <a:gd name="T31" fmla="*/ 431 h 469"/>
                  <a:gd name="T32" fmla="*/ 531 w 691"/>
                  <a:gd name="T33" fmla="*/ 442 h 469"/>
                  <a:gd name="T34" fmla="*/ 487 w 691"/>
                  <a:gd name="T35" fmla="*/ 467 h 469"/>
                  <a:gd name="T36" fmla="*/ 444 w 691"/>
                  <a:gd name="T37" fmla="*/ 450 h 469"/>
                  <a:gd name="T38" fmla="*/ 420 w 691"/>
                  <a:gd name="T39" fmla="*/ 448 h 469"/>
                  <a:gd name="T40" fmla="*/ 379 w 691"/>
                  <a:gd name="T41" fmla="*/ 456 h 469"/>
                  <a:gd name="T42" fmla="*/ 341 w 691"/>
                  <a:gd name="T43" fmla="*/ 429 h 469"/>
                  <a:gd name="T44" fmla="*/ 311 w 691"/>
                  <a:gd name="T45" fmla="*/ 409 h 469"/>
                  <a:gd name="T46" fmla="*/ 297 w 691"/>
                  <a:gd name="T47" fmla="*/ 393 h 469"/>
                  <a:gd name="T48" fmla="*/ 297 w 691"/>
                  <a:gd name="T49" fmla="*/ 358 h 469"/>
                  <a:gd name="T50" fmla="*/ 273 w 691"/>
                  <a:gd name="T51" fmla="*/ 322 h 469"/>
                  <a:gd name="T52" fmla="*/ 248 w 691"/>
                  <a:gd name="T53" fmla="*/ 311 h 469"/>
                  <a:gd name="T54" fmla="*/ 225 w 691"/>
                  <a:gd name="T55" fmla="*/ 293 h 469"/>
                  <a:gd name="T56" fmla="*/ 203 w 691"/>
                  <a:gd name="T57" fmla="*/ 279 h 469"/>
                  <a:gd name="T58" fmla="*/ 189 w 691"/>
                  <a:gd name="T59" fmla="*/ 269 h 469"/>
                  <a:gd name="T60" fmla="*/ 167 w 691"/>
                  <a:gd name="T61" fmla="*/ 271 h 469"/>
                  <a:gd name="T62" fmla="*/ 146 w 691"/>
                  <a:gd name="T63" fmla="*/ 258 h 469"/>
                  <a:gd name="T64" fmla="*/ 126 w 691"/>
                  <a:gd name="T65" fmla="*/ 252 h 469"/>
                  <a:gd name="T66" fmla="*/ 108 w 691"/>
                  <a:gd name="T67" fmla="*/ 260 h 469"/>
                  <a:gd name="T68" fmla="*/ 94 w 691"/>
                  <a:gd name="T69" fmla="*/ 265 h 469"/>
                  <a:gd name="T70" fmla="*/ 72 w 691"/>
                  <a:gd name="T71" fmla="*/ 246 h 469"/>
                  <a:gd name="T72" fmla="*/ 46 w 691"/>
                  <a:gd name="T73" fmla="*/ 241 h 469"/>
                  <a:gd name="T74" fmla="*/ 29 w 691"/>
                  <a:gd name="T75" fmla="*/ 241 h 469"/>
                  <a:gd name="T76" fmla="*/ 13 w 691"/>
                  <a:gd name="T77" fmla="*/ 236 h 469"/>
                  <a:gd name="T78" fmla="*/ 0 w 691"/>
                  <a:gd name="T79" fmla="*/ 196 h 469"/>
                  <a:gd name="T80" fmla="*/ 15 w 691"/>
                  <a:gd name="T81" fmla="*/ 176 h 469"/>
                  <a:gd name="T82" fmla="*/ 31 w 691"/>
                  <a:gd name="T83" fmla="*/ 158 h 469"/>
                  <a:gd name="T84" fmla="*/ 45 w 691"/>
                  <a:gd name="T85" fmla="*/ 147 h 469"/>
                  <a:gd name="T86" fmla="*/ 51 w 691"/>
                  <a:gd name="T87" fmla="*/ 131 h 469"/>
                  <a:gd name="T88" fmla="*/ 51 w 691"/>
                  <a:gd name="T89" fmla="*/ 103 h 469"/>
                  <a:gd name="T90" fmla="*/ 59 w 691"/>
                  <a:gd name="T91" fmla="*/ 87 h 469"/>
                  <a:gd name="T92" fmla="*/ 54 w 691"/>
                  <a:gd name="T93" fmla="*/ 68 h 469"/>
                  <a:gd name="T94" fmla="*/ 69 w 691"/>
                  <a:gd name="T95" fmla="*/ 55 h 469"/>
                  <a:gd name="T96" fmla="*/ 89 w 691"/>
                  <a:gd name="T97" fmla="*/ 48 h 469"/>
                  <a:gd name="T98" fmla="*/ 113 w 691"/>
                  <a:gd name="T99" fmla="*/ 55 h 469"/>
                  <a:gd name="T100" fmla="*/ 141 w 691"/>
                  <a:gd name="T101" fmla="*/ 46 h 469"/>
                  <a:gd name="T102" fmla="*/ 162 w 691"/>
                  <a:gd name="T103" fmla="*/ 43 h 469"/>
                  <a:gd name="T104" fmla="*/ 192 w 691"/>
                  <a:gd name="T105" fmla="*/ 48 h 469"/>
                  <a:gd name="T106" fmla="*/ 203 w 691"/>
                  <a:gd name="T107" fmla="*/ 70 h 469"/>
                  <a:gd name="T108" fmla="*/ 224 w 691"/>
                  <a:gd name="T109" fmla="*/ 73 h 469"/>
                  <a:gd name="T110" fmla="*/ 246 w 691"/>
                  <a:gd name="T111" fmla="*/ 54 h 469"/>
                  <a:gd name="T112" fmla="*/ 262 w 691"/>
                  <a:gd name="T113" fmla="*/ 40 h 469"/>
                  <a:gd name="T114" fmla="*/ 286 w 691"/>
                  <a:gd name="T115" fmla="*/ 36 h 469"/>
                  <a:gd name="T116" fmla="*/ 309 w 691"/>
                  <a:gd name="T117" fmla="*/ 25 h 469"/>
                  <a:gd name="T118" fmla="*/ 339 w 691"/>
                  <a:gd name="T119" fmla="*/ 16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1" h="469">
                    <a:moveTo>
                      <a:pt x="396" y="16"/>
                    </a:moveTo>
                    <a:lnTo>
                      <a:pt x="401" y="21"/>
                    </a:lnTo>
                    <a:lnTo>
                      <a:pt x="404" y="25"/>
                    </a:lnTo>
                    <a:lnTo>
                      <a:pt x="408" y="30"/>
                    </a:lnTo>
                    <a:lnTo>
                      <a:pt x="411" y="33"/>
                    </a:lnTo>
                    <a:lnTo>
                      <a:pt x="417" y="38"/>
                    </a:lnTo>
                    <a:lnTo>
                      <a:pt x="420" y="41"/>
                    </a:lnTo>
                    <a:lnTo>
                      <a:pt x="425" y="44"/>
                    </a:lnTo>
                    <a:lnTo>
                      <a:pt x="430" y="48"/>
                    </a:lnTo>
                    <a:lnTo>
                      <a:pt x="434" y="52"/>
                    </a:lnTo>
                    <a:lnTo>
                      <a:pt x="441" y="55"/>
                    </a:lnTo>
                    <a:lnTo>
                      <a:pt x="447" y="59"/>
                    </a:lnTo>
                    <a:lnTo>
                      <a:pt x="452" y="60"/>
                    </a:lnTo>
                    <a:lnTo>
                      <a:pt x="458" y="62"/>
                    </a:lnTo>
                    <a:lnTo>
                      <a:pt x="463" y="65"/>
                    </a:lnTo>
                    <a:lnTo>
                      <a:pt x="469" y="70"/>
                    </a:lnTo>
                    <a:lnTo>
                      <a:pt x="472" y="73"/>
                    </a:lnTo>
                    <a:lnTo>
                      <a:pt x="476" y="78"/>
                    </a:lnTo>
                    <a:lnTo>
                      <a:pt x="479" y="81"/>
                    </a:lnTo>
                    <a:lnTo>
                      <a:pt x="482" y="87"/>
                    </a:lnTo>
                    <a:lnTo>
                      <a:pt x="485" y="92"/>
                    </a:lnTo>
                    <a:lnTo>
                      <a:pt x="488" y="95"/>
                    </a:lnTo>
                    <a:lnTo>
                      <a:pt x="491" y="97"/>
                    </a:lnTo>
                    <a:lnTo>
                      <a:pt x="498" y="98"/>
                    </a:lnTo>
                    <a:lnTo>
                      <a:pt x="506" y="100"/>
                    </a:lnTo>
                    <a:lnTo>
                      <a:pt x="512" y="100"/>
                    </a:lnTo>
                    <a:lnTo>
                      <a:pt x="518" y="101"/>
                    </a:lnTo>
                    <a:lnTo>
                      <a:pt x="523" y="108"/>
                    </a:lnTo>
                    <a:lnTo>
                      <a:pt x="525" y="114"/>
                    </a:lnTo>
                    <a:lnTo>
                      <a:pt x="528" y="120"/>
                    </a:lnTo>
                    <a:lnTo>
                      <a:pt x="533" y="127"/>
                    </a:lnTo>
                    <a:lnTo>
                      <a:pt x="544" y="127"/>
                    </a:lnTo>
                    <a:lnTo>
                      <a:pt x="550" y="127"/>
                    </a:lnTo>
                    <a:lnTo>
                      <a:pt x="555" y="125"/>
                    </a:lnTo>
                    <a:lnTo>
                      <a:pt x="556" y="125"/>
                    </a:lnTo>
                    <a:lnTo>
                      <a:pt x="558" y="125"/>
                    </a:lnTo>
                    <a:lnTo>
                      <a:pt x="564" y="122"/>
                    </a:lnTo>
                    <a:lnTo>
                      <a:pt x="571" y="122"/>
                    </a:lnTo>
                    <a:lnTo>
                      <a:pt x="572" y="122"/>
                    </a:lnTo>
                    <a:lnTo>
                      <a:pt x="577" y="122"/>
                    </a:lnTo>
                    <a:lnTo>
                      <a:pt x="583" y="124"/>
                    </a:lnTo>
                    <a:lnTo>
                      <a:pt x="590" y="125"/>
                    </a:lnTo>
                    <a:lnTo>
                      <a:pt x="598" y="125"/>
                    </a:lnTo>
                    <a:lnTo>
                      <a:pt x="604" y="127"/>
                    </a:lnTo>
                    <a:lnTo>
                      <a:pt x="610" y="128"/>
                    </a:lnTo>
                    <a:lnTo>
                      <a:pt x="610" y="133"/>
                    </a:lnTo>
                    <a:lnTo>
                      <a:pt x="607" y="136"/>
                    </a:lnTo>
                    <a:lnTo>
                      <a:pt x="599" y="138"/>
                    </a:lnTo>
                    <a:lnTo>
                      <a:pt x="594" y="139"/>
                    </a:lnTo>
                    <a:lnTo>
                      <a:pt x="588" y="143"/>
                    </a:lnTo>
                    <a:lnTo>
                      <a:pt x="583" y="144"/>
                    </a:lnTo>
                    <a:lnTo>
                      <a:pt x="580" y="146"/>
                    </a:lnTo>
                    <a:lnTo>
                      <a:pt x="575" y="147"/>
                    </a:lnTo>
                    <a:lnTo>
                      <a:pt x="571" y="149"/>
                    </a:lnTo>
                    <a:lnTo>
                      <a:pt x="569" y="152"/>
                    </a:lnTo>
                    <a:lnTo>
                      <a:pt x="564" y="155"/>
                    </a:lnTo>
                    <a:lnTo>
                      <a:pt x="558" y="157"/>
                    </a:lnTo>
                    <a:lnTo>
                      <a:pt x="553" y="158"/>
                    </a:lnTo>
                    <a:lnTo>
                      <a:pt x="552" y="163"/>
                    </a:lnTo>
                    <a:lnTo>
                      <a:pt x="553" y="166"/>
                    </a:lnTo>
                    <a:lnTo>
                      <a:pt x="558" y="168"/>
                    </a:lnTo>
                    <a:lnTo>
                      <a:pt x="564" y="168"/>
                    </a:lnTo>
                    <a:lnTo>
                      <a:pt x="569" y="171"/>
                    </a:lnTo>
                    <a:lnTo>
                      <a:pt x="572" y="174"/>
                    </a:lnTo>
                    <a:lnTo>
                      <a:pt x="571" y="177"/>
                    </a:lnTo>
                    <a:lnTo>
                      <a:pt x="569" y="179"/>
                    </a:lnTo>
                    <a:lnTo>
                      <a:pt x="568" y="181"/>
                    </a:lnTo>
                    <a:lnTo>
                      <a:pt x="566" y="181"/>
                    </a:lnTo>
                    <a:lnTo>
                      <a:pt x="563" y="184"/>
                    </a:lnTo>
                    <a:lnTo>
                      <a:pt x="560" y="190"/>
                    </a:lnTo>
                    <a:lnTo>
                      <a:pt x="558" y="192"/>
                    </a:lnTo>
                    <a:lnTo>
                      <a:pt x="555" y="195"/>
                    </a:lnTo>
                    <a:lnTo>
                      <a:pt x="552" y="201"/>
                    </a:lnTo>
                    <a:lnTo>
                      <a:pt x="549" y="206"/>
                    </a:lnTo>
                    <a:lnTo>
                      <a:pt x="547" y="212"/>
                    </a:lnTo>
                    <a:lnTo>
                      <a:pt x="545" y="220"/>
                    </a:lnTo>
                    <a:lnTo>
                      <a:pt x="545" y="225"/>
                    </a:lnTo>
                    <a:lnTo>
                      <a:pt x="545" y="227"/>
                    </a:lnTo>
                    <a:lnTo>
                      <a:pt x="547" y="231"/>
                    </a:lnTo>
                    <a:lnTo>
                      <a:pt x="549" y="233"/>
                    </a:lnTo>
                    <a:lnTo>
                      <a:pt x="550" y="236"/>
                    </a:lnTo>
                    <a:lnTo>
                      <a:pt x="553" y="242"/>
                    </a:lnTo>
                    <a:lnTo>
                      <a:pt x="556" y="249"/>
                    </a:lnTo>
                    <a:lnTo>
                      <a:pt x="561" y="252"/>
                    </a:lnTo>
                    <a:lnTo>
                      <a:pt x="568" y="253"/>
                    </a:lnTo>
                    <a:lnTo>
                      <a:pt x="571" y="257"/>
                    </a:lnTo>
                    <a:lnTo>
                      <a:pt x="575" y="261"/>
                    </a:lnTo>
                    <a:lnTo>
                      <a:pt x="580" y="266"/>
                    </a:lnTo>
                    <a:lnTo>
                      <a:pt x="583" y="269"/>
                    </a:lnTo>
                    <a:lnTo>
                      <a:pt x="585" y="274"/>
                    </a:lnTo>
                    <a:lnTo>
                      <a:pt x="587" y="280"/>
                    </a:lnTo>
                    <a:lnTo>
                      <a:pt x="588" y="285"/>
                    </a:lnTo>
                    <a:lnTo>
                      <a:pt x="588" y="290"/>
                    </a:lnTo>
                    <a:lnTo>
                      <a:pt x="590" y="293"/>
                    </a:lnTo>
                    <a:lnTo>
                      <a:pt x="594" y="296"/>
                    </a:lnTo>
                    <a:lnTo>
                      <a:pt x="601" y="299"/>
                    </a:lnTo>
                    <a:lnTo>
                      <a:pt x="607" y="303"/>
                    </a:lnTo>
                    <a:lnTo>
                      <a:pt x="613" y="304"/>
                    </a:lnTo>
                    <a:lnTo>
                      <a:pt x="620" y="306"/>
                    </a:lnTo>
                    <a:lnTo>
                      <a:pt x="623" y="307"/>
                    </a:lnTo>
                    <a:lnTo>
                      <a:pt x="626" y="309"/>
                    </a:lnTo>
                    <a:lnTo>
                      <a:pt x="626" y="311"/>
                    </a:lnTo>
                    <a:lnTo>
                      <a:pt x="626" y="314"/>
                    </a:lnTo>
                    <a:lnTo>
                      <a:pt x="623" y="318"/>
                    </a:lnTo>
                    <a:lnTo>
                      <a:pt x="618" y="320"/>
                    </a:lnTo>
                    <a:lnTo>
                      <a:pt x="617" y="323"/>
                    </a:lnTo>
                    <a:lnTo>
                      <a:pt x="613" y="326"/>
                    </a:lnTo>
                    <a:lnTo>
                      <a:pt x="615" y="330"/>
                    </a:lnTo>
                    <a:lnTo>
                      <a:pt x="618" y="333"/>
                    </a:lnTo>
                    <a:lnTo>
                      <a:pt x="625" y="333"/>
                    </a:lnTo>
                    <a:lnTo>
                      <a:pt x="632" y="333"/>
                    </a:lnTo>
                    <a:lnTo>
                      <a:pt x="639" y="336"/>
                    </a:lnTo>
                    <a:lnTo>
                      <a:pt x="640" y="337"/>
                    </a:lnTo>
                    <a:lnTo>
                      <a:pt x="647" y="333"/>
                    </a:lnTo>
                    <a:lnTo>
                      <a:pt x="651" y="328"/>
                    </a:lnTo>
                    <a:lnTo>
                      <a:pt x="656" y="326"/>
                    </a:lnTo>
                    <a:lnTo>
                      <a:pt x="661" y="322"/>
                    </a:lnTo>
                    <a:lnTo>
                      <a:pt x="663" y="318"/>
                    </a:lnTo>
                    <a:lnTo>
                      <a:pt x="661" y="314"/>
                    </a:lnTo>
                    <a:lnTo>
                      <a:pt x="663" y="315"/>
                    </a:lnTo>
                    <a:lnTo>
                      <a:pt x="663" y="317"/>
                    </a:lnTo>
                    <a:lnTo>
                      <a:pt x="664" y="318"/>
                    </a:lnTo>
                    <a:lnTo>
                      <a:pt x="664" y="320"/>
                    </a:lnTo>
                    <a:lnTo>
                      <a:pt x="664" y="323"/>
                    </a:lnTo>
                    <a:lnTo>
                      <a:pt x="663" y="323"/>
                    </a:lnTo>
                    <a:lnTo>
                      <a:pt x="661" y="325"/>
                    </a:lnTo>
                    <a:lnTo>
                      <a:pt x="661" y="326"/>
                    </a:lnTo>
                    <a:lnTo>
                      <a:pt x="659" y="328"/>
                    </a:lnTo>
                    <a:lnTo>
                      <a:pt x="661" y="330"/>
                    </a:lnTo>
                    <a:lnTo>
                      <a:pt x="663" y="331"/>
                    </a:lnTo>
                    <a:lnTo>
                      <a:pt x="664" y="333"/>
                    </a:lnTo>
                    <a:lnTo>
                      <a:pt x="667" y="334"/>
                    </a:lnTo>
                    <a:lnTo>
                      <a:pt x="672" y="336"/>
                    </a:lnTo>
                    <a:lnTo>
                      <a:pt x="675" y="337"/>
                    </a:lnTo>
                    <a:lnTo>
                      <a:pt x="677" y="339"/>
                    </a:lnTo>
                    <a:lnTo>
                      <a:pt x="678" y="339"/>
                    </a:lnTo>
                    <a:lnTo>
                      <a:pt x="680" y="341"/>
                    </a:lnTo>
                    <a:lnTo>
                      <a:pt x="683" y="344"/>
                    </a:lnTo>
                    <a:lnTo>
                      <a:pt x="686" y="345"/>
                    </a:lnTo>
                    <a:lnTo>
                      <a:pt x="688" y="347"/>
                    </a:lnTo>
                    <a:lnTo>
                      <a:pt x="691" y="349"/>
                    </a:lnTo>
                    <a:lnTo>
                      <a:pt x="691" y="350"/>
                    </a:lnTo>
                    <a:lnTo>
                      <a:pt x="691" y="352"/>
                    </a:lnTo>
                    <a:lnTo>
                      <a:pt x="691" y="353"/>
                    </a:lnTo>
                    <a:lnTo>
                      <a:pt x="691" y="355"/>
                    </a:lnTo>
                    <a:lnTo>
                      <a:pt x="691" y="356"/>
                    </a:lnTo>
                    <a:lnTo>
                      <a:pt x="690" y="360"/>
                    </a:lnTo>
                    <a:lnTo>
                      <a:pt x="690" y="361"/>
                    </a:lnTo>
                    <a:lnTo>
                      <a:pt x="688" y="361"/>
                    </a:lnTo>
                    <a:lnTo>
                      <a:pt x="688" y="366"/>
                    </a:lnTo>
                    <a:lnTo>
                      <a:pt x="686" y="371"/>
                    </a:lnTo>
                    <a:lnTo>
                      <a:pt x="686" y="372"/>
                    </a:lnTo>
                    <a:lnTo>
                      <a:pt x="685" y="374"/>
                    </a:lnTo>
                    <a:lnTo>
                      <a:pt x="685" y="377"/>
                    </a:lnTo>
                    <a:lnTo>
                      <a:pt x="683" y="380"/>
                    </a:lnTo>
                    <a:lnTo>
                      <a:pt x="683" y="383"/>
                    </a:lnTo>
                    <a:lnTo>
                      <a:pt x="683" y="385"/>
                    </a:lnTo>
                    <a:lnTo>
                      <a:pt x="685" y="390"/>
                    </a:lnTo>
                    <a:lnTo>
                      <a:pt x="683" y="391"/>
                    </a:lnTo>
                    <a:lnTo>
                      <a:pt x="682" y="395"/>
                    </a:lnTo>
                    <a:lnTo>
                      <a:pt x="680" y="398"/>
                    </a:lnTo>
                    <a:lnTo>
                      <a:pt x="680" y="401"/>
                    </a:lnTo>
                    <a:lnTo>
                      <a:pt x="680" y="404"/>
                    </a:lnTo>
                    <a:lnTo>
                      <a:pt x="678" y="409"/>
                    </a:lnTo>
                    <a:lnTo>
                      <a:pt x="678" y="410"/>
                    </a:lnTo>
                    <a:lnTo>
                      <a:pt x="678" y="414"/>
                    </a:lnTo>
                    <a:lnTo>
                      <a:pt x="678" y="417"/>
                    </a:lnTo>
                    <a:lnTo>
                      <a:pt x="678" y="418"/>
                    </a:lnTo>
                    <a:lnTo>
                      <a:pt x="680" y="420"/>
                    </a:lnTo>
                    <a:lnTo>
                      <a:pt x="680" y="421"/>
                    </a:lnTo>
                    <a:lnTo>
                      <a:pt x="682" y="425"/>
                    </a:lnTo>
                    <a:lnTo>
                      <a:pt x="683" y="426"/>
                    </a:lnTo>
                    <a:lnTo>
                      <a:pt x="683" y="428"/>
                    </a:lnTo>
                    <a:lnTo>
                      <a:pt x="685" y="429"/>
                    </a:lnTo>
                    <a:lnTo>
                      <a:pt x="682" y="433"/>
                    </a:lnTo>
                    <a:lnTo>
                      <a:pt x="675" y="433"/>
                    </a:lnTo>
                    <a:lnTo>
                      <a:pt x="670" y="433"/>
                    </a:lnTo>
                    <a:lnTo>
                      <a:pt x="666" y="433"/>
                    </a:lnTo>
                    <a:lnTo>
                      <a:pt x="663" y="433"/>
                    </a:lnTo>
                    <a:lnTo>
                      <a:pt x="663" y="431"/>
                    </a:lnTo>
                    <a:lnTo>
                      <a:pt x="658" y="429"/>
                    </a:lnTo>
                    <a:lnTo>
                      <a:pt x="655" y="429"/>
                    </a:lnTo>
                    <a:lnTo>
                      <a:pt x="653" y="429"/>
                    </a:lnTo>
                    <a:lnTo>
                      <a:pt x="650" y="431"/>
                    </a:lnTo>
                    <a:lnTo>
                      <a:pt x="647" y="433"/>
                    </a:lnTo>
                    <a:lnTo>
                      <a:pt x="644" y="436"/>
                    </a:lnTo>
                    <a:lnTo>
                      <a:pt x="640" y="437"/>
                    </a:lnTo>
                    <a:lnTo>
                      <a:pt x="637" y="437"/>
                    </a:lnTo>
                    <a:lnTo>
                      <a:pt x="636" y="437"/>
                    </a:lnTo>
                    <a:lnTo>
                      <a:pt x="634" y="439"/>
                    </a:lnTo>
                    <a:lnTo>
                      <a:pt x="629" y="437"/>
                    </a:lnTo>
                    <a:lnTo>
                      <a:pt x="628" y="437"/>
                    </a:lnTo>
                    <a:lnTo>
                      <a:pt x="626" y="436"/>
                    </a:lnTo>
                    <a:lnTo>
                      <a:pt x="623" y="434"/>
                    </a:lnTo>
                    <a:lnTo>
                      <a:pt x="620" y="433"/>
                    </a:lnTo>
                    <a:lnTo>
                      <a:pt x="615" y="431"/>
                    </a:lnTo>
                    <a:lnTo>
                      <a:pt x="609" y="428"/>
                    </a:lnTo>
                    <a:lnTo>
                      <a:pt x="607" y="428"/>
                    </a:lnTo>
                    <a:lnTo>
                      <a:pt x="604" y="425"/>
                    </a:lnTo>
                    <a:lnTo>
                      <a:pt x="602" y="423"/>
                    </a:lnTo>
                    <a:lnTo>
                      <a:pt x="602" y="425"/>
                    </a:lnTo>
                    <a:lnTo>
                      <a:pt x="601" y="426"/>
                    </a:lnTo>
                    <a:lnTo>
                      <a:pt x="599" y="428"/>
                    </a:lnTo>
                    <a:lnTo>
                      <a:pt x="596" y="429"/>
                    </a:lnTo>
                    <a:lnTo>
                      <a:pt x="591" y="433"/>
                    </a:lnTo>
                    <a:lnTo>
                      <a:pt x="585" y="433"/>
                    </a:lnTo>
                    <a:lnTo>
                      <a:pt x="582" y="433"/>
                    </a:lnTo>
                    <a:lnTo>
                      <a:pt x="580" y="431"/>
                    </a:lnTo>
                    <a:lnTo>
                      <a:pt x="579" y="436"/>
                    </a:lnTo>
                    <a:lnTo>
                      <a:pt x="577" y="439"/>
                    </a:lnTo>
                    <a:lnTo>
                      <a:pt x="574" y="440"/>
                    </a:lnTo>
                    <a:lnTo>
                      <a:pt x="572" y="440"/>
                    </a:lnTo>
                    <a:lnTo>
                      <a:pt x="571" y="439"/>
                    </a:lnTo>
                    <a:lnTo>
                      <a:pt x="564" y="439"/>
                    </a:lnTo>
                    <a:lnTo>
                      <a:pt x="561" y="440"/>
                    </a:lnTo>
                    <a:lnTo>
                      <a:pt x="556" y="440"/>
                    </a:lnTo>
                    <a:lnTo>
                      <a:pt x="552" y="440"/>
                    </a:lnTo>
                    <a:lnTo>
                      <a:pt x="547" y="439"/>
                    </a:lnTo>
                    <a:lnTo>
                      <a:pt x="542" y="439"/>
                    </a:lnTo>
                    <a:lnTo>
                      <a:pt x="537" y="440"/>
                    </a:lnTo>
                    <a:lnTo>
                      <a:pt x="531" y="442"/>
                    </a:lnTo>
                    <a:lnTo>
                      <a:pt x="526" y="442"/>
                    </a:lnTo>
                    <a:lnTo>
                      <a:pt x="523" y="444"/>
                    </a:lnTo>
                    <a:lnTo>
                      <a:pt x="522" y="447"/>
                    </a:lnTo>
                    <a:lnTo>
                      <a:pt x="517" y="450"/>
                    </a:lnTo>
                    <a:lnTo>
                      <a:pt x="515" y="452"/>
                    </a:lnTo>
                    <a:lnTo>
                      <a:pt x="512" y="455"/>
                    </a:lnTo>
                    <a:lnTo>
                      <a:pt x="507" y="459"/>
                    </a:lnTo>
                    <a:lnTo>
                      <a:pt x="506" y="461"/>
                    </a:lnTo>
                    <a:lnTo>
                      <a:pt x="501" y="464"/>
                    </a:lnTo>
                    <a:lnTo>
                      <a:pt x="499" y="466"/>
                    </a:lnTo>
                    <a:lnTo>
                      <a:pt x="496" y="467"/>
                    </a:lnTo>
                    <a:lnTo>
                      <a:pt x="495" y="467"/>
                    </a:lnTo>
                    <a:lnTo>
                      <a:pt x="487" y="467"/>
                    </a:lnTo>
                    <a:lnTo>
                      <a:pt x="484" y="467"/>
                    </a:lnTo>
                    <a:lnTo>
                      <a:pt x="479" y="469"/>
                    </a:lnTo>
                    <a:lnTo>
                      <a:pt x="476" y="469"/>
                    </a:lnTo>
                    <a:lnTo>
                      <a:pt x="471" y="467"/>
                    </a:lnTo>
                    <a:lnTo>
                      <a:pt x="465" y="466"/>
                    </a:lnTo>
                    <a:lnTo>
                      <a:pt x="463" y="464"/>
                    </a:lnTo>
                    <a:lnTo>
                      <a:pt x="458" y="461"/>
                    </a:lnTo>
                    <a:lnTo>
                      <a:pt x="455" y="459"/>
                    </a:lnTo>
                    <a:lnTo>
                      <a:pt x="452" y="458"/>
                    </a:lnTo>
                    <a:lnTo>
                      <a:pt x="449" y="455"/>
                    </a:lnTo>
                    <a:lnTo>
                      <a:pt x="449" y="453"/>
                    </a:lnTo>
                    <a:lnTo>
                      <a:pt x="446" y="452"/>
                    </a:lnTo>
                    <a:lnTo>
                      <a:pt x="444" y="450"/>
                    </a:lnTo>
                    <a:lnTo>
                      <a:pt x="442" y="450"/>
                    </a:lnTo>
                    <a:lnTo>
                      <a:pt x="441" y="450"/>
                    </a:lnTo>
                    <a:lnTo>
                      <a:pt x="439" y="450"/>
                    </a:lnTo>
                    <a:lnTo>
                      <a:pt x="438" y="448"/>
                    </a:lnTo>
                    <a:lnTo>
                      <a:pt x="436" y="448"/>
                    </a:lnTo>
                    <a:lnTo>
                      <a:pt x="433" y="448"/>
                    </a:lnTo>
                    <a:lnTo>
                      <a:pt x="431" y="448"/>
                    </a:lnTo>
                    <a:lnTo>
                      <a:pt x="430" y="448"/>
                    </a:lnTo>
                    <a:lnTo>
                      <a:pt x="428" y="448"/>
                    </a:lnTo>
                    <a:lnTo>
                      <a:pt x="427" y="448"/>
                    </a:lnTo>
                    <a:lnTo>
                      <a:pt x="425" y="448"/>
                    </a:lnTo>
                    <a:lnTo>
                      <a:pt x="423" y="448"/>
                    </a:lnTo>
                    <a:lnTo>
                      <a:pt x="420" y="448"/>
                    </a:lnTo>
                    <a:lnTo>
                      <a:pt x="419" y="448"/>
                    </a:lnTo>
                    <a:lnTo>
                      <a:pt x="414" y="448"/>
                    </a:lnTo>
                    <a:lnTo>
                      <a:pt x="414" y="450"/>
                    </a:lnTo>
                    <a:lnTo>
                      <a:pt x="409" y="450"/>
                    </a:lnTo>
                    <a:lnTo>
                      <a:pt x="406" y="452"/>
                    </a:lnTo>
                    <a:lnTo>
                      <a:pt x="403" y="452"/>
                    </a:lnTo>
                    <a:lnTo>
                      <a:pt x="401" y="453"/>
                    </a:lnTo>
                    <a:lnTo>
                      <a:pt x="395" y="456"/>
                    </a:lnTo>
                    <a:lnTo>
                      <a:pt x="393" y="456"/>
                    </a:lnTo>
                    <a:lnTo>
                      <a:pt x="392" y="456"/>
                    </a:lnTo>
                    <a:lnTo>
                      <a:pt x="389" y="456"/>
                    </a:lnTo>
                    <a:lnTo>
                      <a:pt x="382" y="456"/>
                    </a:lnTo>
                    <a:lnTo>
                      <a:pt x="379" y="456"/>
                    </a:lnTo>
                    <a:lnTo>
                      <a:pt x="376" y="455"/>
                    </a:lnTo>
                    <a:lnTo>
                      <a:pt x="374" y="453"/>
                    </a:lnTo>
                    <a:lnTo>
                      <a:pt x="365" y="445"/>
                    </a:lnTo>
                    <a:lnTo>
                      <a:pt x="363" y="444"/>
                    </a:lnTo>
                    <a:lnTo>
                      <a:pt x="355" y="440"/>
                    </a:lnTo>
                    <a:lnTo>
                      <a:pt x="351" y="440"/>
                    </a:lnTo>
                    <a:lnTo>
                      <a:pt x="349" y="442"/>
                    </a:lnTo>
                    <a:lnTo>
                      <a:pt x="347" y="440"/>
                    </a:lnTo>
                    <a:lnTo>
                      <a:pt x="347" y="437"/>
                    </a:lnTo>
                    <a:lnTo>
                      <a:pt x="349" y="436"/>
                    </a:lnTo>
                    <a:lnTo>
                      <a:pt x="346" y="433"/>
                    </a:lnTo>
                    <a:lnTo>
                      <a:pt x="343" y="431"/>
                    </a:lnTo>
                    <a:lnTo>
                      <a:pt x="341" y="429"/>
                    </a:lnTo>
                    <a:lnTo>
                      <a:pt x="339" y="429"/>
                    </a:lnTo>
                    <a:lnTo>
                      <a:pt x="336" y="428"/>
                    </a:lnTo>
                    <a:lnTo>
                      <a:pt x="333" y="428"/>
                    </a:lnTo>
                    <a:lnTo>
                      <a:pt x="332" y="426"/>
                    </a:lnTo>
                    <a:lnTo>
                      <a:pt x="330" y="423"/>
                    </a:lnTo>
                    <a:lnTo>
                      <a:pt x="327" y="423"/>
                    </a:lnTo>
                    <a:lnTo>
                      <a:pt x="325" y="423"/>
                    </a:lnTo>
                    <a:lnTo>
                      <a:pt x="322" y="421"/>
                    </a:lnTo>
                    <a:lnTo>
                      <a:pt x="322" y="420"/>
                    </a:lnTo>
                    <a:lnTo>
                      <a:pt x="320" y="417"/>
                    </a:lnTo>
                    <a:lnTo>
                      <a:pt x="319" y="414"/>
                    </a:lnTo>
                    <a:lnTo>
                      <a:pt x="313" y="410"/>
                    </a:lnTo>
                    <a:lnTo>
                      <a:pt x="311" y="409"/>
                    </a:lnTo>
                    <a:lnTo>
                      <a:pt x="309" y="407"/>
                    </a:lnTo>
                    <a:lnTo>
                      <a:pt x="306" y="407"/>
                    </a:lnTo>
                    <a:lnTo>
                      <a:pt x="305" y="407"/>
                    </a:lnTo>
                    <a:lnTo>
                      <a:pt x="303" y="406"/>
                    </a:lnTo>
                    <a:lnTo>
                      <a:pt x="303" y="404"/>
                    </a:lnTo>
                    <a:lnTo>
                      <a:pt x="301" y="402"/>
                    </a:lnTo>
                    <a:lnTo>
                      <a:pt x="300" y="401"/>
                    </a:lnTo>
                    <a:lnTo>
                      <a:pt x="297" y="398"/>
                    </a:lnTo>
                    <a:lnTo>
                      <a:pt x="297" y="396"/>
                    </a:lnTo>
                    <a:lnTo>
                      <a:pt x="295" y="396"/>
                    </a:lnTo>
                    <a:lnTo>
                      <a:pt x="295" y="395"/>
                    </a:lnTo>
                    <a:lnTo>
                      <a:pt x="295" y="393"/>
                    </a:lnTo>
                    <a:lnTo>
                      <a:pt x="297" y="393"/>
                    </a:lnTo>
                    <a:lnTo>
                      <a:pt x="300" y="395"/>
                    </a:lnTo>
                    <a:lnTo>
                      <a:pt x="300" y="393"/>
                    </a:lnTo>
                    <a:lnTo>
                      <a:pt x="301" y="393"/>
                    </a:lnTo>
                    <a:lnTo>
                      <a:pt x="301" y="391"/>
                    </a:lnTo>
                    <a:lnTo>
                      <a:pt x="301" y="390"/>
                    </a:lnTo>
                    <a:lnTo>
                      <a:pt x="301" y="387"/>
                    </a:lnTo>
                    <a:lnTo>
                      <a:pt x="301" y="379"/>
                    </a:lnTo>
                    <a:lnTo>
                      <a:pt x="301" y="377"/>
                    </a:lnTo>
                    <a:lnTo>
                      <a:pt x="301" y="368"/>
                    </a:lnTo>
                    <a:lnTo>
                      <a:pt x="301" y="366"/>
                    </a:lnTo>
                    <a:lnTo>
                      <a:pt x="300" y="363"/>
                    </a:lnTo>
                    <a:lnTo>
                      <a:pt x="298" y="361"/>
                    </a:lnTo>
                    <a:lnTo>
                      <a:pt x="297" y="358"/>
                    </a:lnTo>
                    <a:lnTo>
                      <a:pt x="292" y="350"/>
                    </a:lnTo>
                    <a:lnTo>
                      <a:pt x="290" y="349"/>
                    </a:lnTo>
                    <a:lnTo>
                      <a:pt x="287" y="344"/>
                    </a:lnTo>
                    <a:lnTo>
                      <a:pt x="279" y="341"/>
                    </a:lnTo>
                    <a:lnTo>
                      <a:pt x="279" y="337"/>
                    </a:lnTo>
                    <a:lnTo>
                      <a:pt x="279" y="336"/>
                    </a:lnTo>
                    <a:lnTo>
                      <a:pt x="276" y="334"/>
                    </a:lnTo>
                    <a:lnTo>
                      <a:pt x="274" y="333"/>
                    </a:lnTo>
                    <a:lnTo>
                      <a:pt x="276" y="328"/>
                    </a:lnTo>
                    <a:lnTo>
                      <a:pt x="276" y="326"/>
                    </a:lnTo>
                    <a:lnTo>
                      <a:pt x="276" y="325"/>
                    </a:lnTo>
                    <a:lnTo>
                      <a:pt x="274" y="323"/>
                    </a:lnTo>
                    <a:lnTo>
                      <a:pt x="273" y="322"/>
                    </a:lnTo>
                    <a:lnTo>
                      <a:pt x="271" y="322"/>
                    </a:lnTo>
                    <a:lnTo>
                      <a:pt x="268" y="322"/>
                    </a:lnTo>
                    <a:lnTo>
                      <a:pt x="267" y="322"/>
                    </a:lnTo>
                    <a:lnTo>
                      <a:pt x="265" y="322"/>
                    </a:lnTo>
                    <a:lnTo>
                      <a:pt x="263" y="320"/>
                    </a:lnTo>
                    <a:lnTo>
                      <a:pt x="262" y="320"/>
                    </a:lnTo>
                    <a:lnTo>
                      <a:pt x="260" y="322"/>
                    </a:lnTo>
                    <a:lnTo>
                      <a:pt x="259" y="322"/>
                    </a:lnTo>
                    <a:lnTo>
                      <a:pt x="257" y="322"/>
                    </a:lnTo>
                    <a:lnTo>
                      <a:pt x="255" y="320"/>
                    </a:lnTo>
                    <a:lnTo>
                      <a:pt x="252" y="318"/>
                    </a:lnTo>
                    <a:lnTo>
                      <a:pt x="251" y="317"/>
                    </a:lnTo>
                    <a:lnTo>
                      <a:pt x="248" y="311"/>
                    </a:lnTo>
                    <a:lnTo>
                      <a:pt x="246" y="309"/>
                    </a:lnTo>
                    <a:lnTo>
                      <a:pt x="246" y="307"/>
                    </a:lnTo>
                    <a:lnTo>
                      <a:pt x="244" y="307"/>
                    </a:lnTo>
                    <a:lnTo>
                      <a:pt x="243" y="306"/>
                    </a:lnTo>
                    <a:lnTo>
                      <a:pt x="241" y="304"/>
                    </a:lnTo>
                    <a:lnTo>
                      <a:pt x="241" y="303"/>
                    </a:lnTo>
                    <a:lnTo>
                      <a:pt x="240" y="301"/>
                    </a:lnTo>
                    <a:lnTo>
                      <a:pt x="235" y="298"/>
                    </a:lnTo>
                    <a:lnTo>
                      <a:pt x="233" y="295"/>
                    </a:lnTo>
                    <a:lnTo>
                      <a:pt x="230" y="295"/>
                    </a:lnTo>
                    <a:lnTo>
                      <a:pt x="229" y="295"/>
                    </a:lnTo>
                    <a:lnTo>
                      <a:pt x="227" y="295"/>
                    </a:lnTo>
                    <a:lnTo>
                      <a:pt x="225" y="293"/>
                    </a:lnTo>
                    <a:lnTo>
                      <a:pt x="224" y="293"/>
                    </a:lnTo>
                    <a:lnTo>
                      <a:pt x="222" y="292"/>
                    </a:lnTo>
                    <a:lnTo>
                      <a:pt x="221" y="290"/>
                    </a:lnTo>
                    <a:lnTo>
                      <a:pt x="217" y="290"/>
                    </a:lnTo>
                    <a:lnTo>
                      <a:pt x="214" y="287"/>
                    </a:lnTo>
                    <a:lnTo>
                      <a:pt x="214" y="285"/>
                    </a:lnTo>
                    <a:lnTo>
                      <a:pt x="213" y="284"/>
                    </a:lnTo>
                    <a:lnTo>
                      <a:pt x="211" y="284"/>
                    </a:lnTo>
                    <a:lnTo>
                      <a:pt x="211" y="280"/>
                    </a:lnTo>
                    <a:lnTo>
                      <a:pt x="210" y="280"/>
                    </a:lnTo>
                    <a:lnTo>
                      <a:pt x="206" y="279"/>
                    </a:lnTo>
                    <a:lnTo>
                      <a:pt x="205" y="279"/>
                    </a:lnTo>
                    <a:lnTo>
                      <a:pt x="203" y="279"/>
                    </a:lnTo>
                    <a:lnTo>
                      <a:pt x="202" y="277"/>
                    </a:lnTo>
                    <a:lnTo>
                      <a:pt x="202" y="276"/>
                    </a:lnTo>
                    <a:lnTo>
                      <a:pt x="200" y="276"/>
                    </a:lnTo>
                    <a:lnTo>
                      <a:pt x="198" y="274"/>
                    </a:lnTo>
                    <a:lnTo>
                      <a:pt x="200" y="274"/>
                    </a:lnTo>
                    <a:lnTo>
                      <a:pt x="202" y="274"/>
                    </a:lnTo>
                    <a:lnTo>
                      <a:pt x="202" y="273"/>
                    </a:lnTo>
                    <a:lnTo>
                      <a:pt x="198" y="273"/>
                    </a:lnTo>
                    <a:lnTo>
                      <a:pt x="197" y="269"/>
                    </a:lnTo>
                    <a:lnTo>
                      <a:pt x="195" y="269"/>
                    </a:lnTo>
                    <a:lnTo>
                      <a:pt x="194" y="269"/>
                    </a:lnTo>
                    <a:lnTo>
                      <a:pt x="192" y="269"/>
                    </a:lnTo>
                    <a:lnTo>
                      <a:pt x="189" y="269"/>
                    </a:lnTo>
                    <a:lnTo>
                      <a:pt x="187" y="269"/>
                    </a:lnTo>
                    <a:lnTo>
                      <a:pt x="186" y="268"/>
                    </a:lnTo>
                    <a:lnTo>
                      <a:pt x="184" y="266"/>
                    </a:lnTo>
                    <a:lnTo>
                      <a:pt x="183" y="266"/>
                    </a:lnTo>
                    <a:lnTo>
                      <a:pt x="181" y="266"/>
                    </a:lnTo>
                    <a:lnTo>
                      <a:pt x="178" y="268"/>
                    </a:lnTo>
                    <a:lnTo>
                      <a:pt x="176" y="266"/>
                    </a:lnTo>
                    <a:lnTo>
                      <a:pt x="176" y="265"/>
                    </a:lnTo>
                    <a:lnTo>
                      <a:pt x="175" y="265"/>
                    </a:lnTo>
                    <a:lnTo>
                      <a:pt x="172" y="268"/>
                    </a:lnTo>
                    <a:lnTo>
                      <a:pt x="170" y="268"/>
                    </a:lnTo>
                    <a:lnTo>
                      <a:pt x="170" y="271"/>
                    </a:lnTo>
                    <a:lnTo>
                      <a:pt x="167" y="271"/>
                    </a:lnTo>
                    <a:lnTo>
                      <a:pt x="165" y="269"/>
                    </a:lnTo>
                    <a:lnTo>
                      <a:pt x="164" y="269"/>
                    </a:lnTo>
                    <a:lnTo>
                      <a:pt x="162" y="268"/>
                    </a:lnTo>
                    <a:lnTo>
                      <a:pt x="160" y="266"/>
                    </a:lnTo>
                    <a:lnTo>
                      <a:pt x="157" y="266"/>
                    </a:lnTo>
                    <a:lnTo>
                      <a:pt x="154" y="261"/>
                    </a:lnTo>
                    <a:lnTo>
                      <a:pt x="153" y="261"/>
                    </a:lnTo>
                    <a:lnTo>
                      <a:pt x="153" y="260"/>
                    </a:lnTo>
                    <a:lnTo>
                      <a:pt x="151" y="260"/>
                    </a:lnTo>
                    <a:lnTo>
                      <a:pt x="151" y="258"/>
                    </a:lnTo>
                    <a:lnTo>
                      <a:pt x="149" y="258"/>
                    </a:lnTo>
                    <a:lnTo>
                      <a:pt x="148" y="258"/>
                    </a:lnTo>
                    <a:lnTo>
                      <a:pt x="146" y="258"/>
                    </a:lnTo>
                    <a:lnTo>
                      <a:pt x="146" y="257"/>
                    </a:lnTo>
                    <a:lnTo>
                      <a:pt x="145" y="258"/>
                    </a:lnTo>
                    <a:lnTo>
                      <a:pt x="143" y="258"/>
                    </a:lnTo>
                    <a:lnTo>
                      <a:pt x="140" y="255"/>
                    </a:lnTo>
                    <a:lnTo>
                      <a:pt x="138" y="253"/>
                    </a:lnTo>
                    <a:lnTo>
                      <a:pt x="135" y="253"/>
                    </a:lnTo>
                    <a:lnTo>
                      <a:pt x="135" y="255"/>
                    </a:lnTo>
                    <a:lnTo>
                      <a:pt x="134" y="255"/>
                    </a:lnTo>
                    <a:lnTo>
                      <a:pt x="134" y="257"/>
                    </a:lnTo>
                    <a:lnTo>
                      <a:pt x="132" y="257"/>
                    </a:lnTo>
                    <a:lnTo>
                      <a:pt x="129" y="253"/>
                    </a:lnTo>
                    <a:lnTo>
                      <a:pt x="127" y="252"/>
                    </a:lnTo>
                    <a:lnTo>
                      <a:pt x="126" y="252"/>
                    </a:lnTo>
                    <a:lnTo>
                      <a:pt x="124" y="252"/>
                    </a:lnTo>
                    <a:lnTo>
                      <a:pt x="124" y="253"/>
                    </a:lnTo>
                    <a:lnTo>
                      <a:pt x="124" y="255"/>
                    </a:lnTo>
                    <a:lnTo>
                      <a:pt x="122" y="255"/>
                    </a:lnTo>
                    <a:lnTo>
                      <a:pt x="121" y="257"/>
                    </a:lnTo>
                    <a:lnTo>
                      <a:pt x="119" y="257"/>
                    </a:lnTo>
                    <a:lnTo>
                      <a:pt x="118" y="257"/>
                    </a:lnTo>
                    <a:lnTo>
                      <a:pt x="118" y="258"/>
                    </a:lnTo>
                    <a:lnTo>
                      <a:pt x="114" y="260"/>
                    </a:lnTo>
                    <a:lnTo>
                      <a:pt x="113" y="258"/>
                    </a:lnTo>
                    <a:lnTo>
                      <a:pt x="111" y="258"/>
                    </a:lnTo>
                    <a:lnTo>
                      <a:pt x="110" y="258"/>
                    </a:lnTo>
                    <a:lnTo>
                      <a:pt x="108" y="260"/>
                    </a:lnTo>
                    <a:lnTo>
                      <a:pt x="107" y="260"/>
                    </a:lnTo>
                    <a:lnTo>
                      <a:pt x="107" y="261"/>
                    </a:lnTo>
                    <a:lnTo>
                      <a:pt x="105" y="261"/>
                    </a:lnTo>
                    <a:lnTo>
                      <a:pt x="103" y="261"/>
                    </a:lnTo>
                    <a:lnTo>
                      <a:pt x="103" y="260"/>
                    </a:lnTo>
                    <a:lnTo>
                      <a:pt x="102" y="261"/>
                    </a:lnTo>
                    <a:lnTo>
                      <a:pt x="102" y="263"/>
                    </a:lnTo>
                    <a:lnTo>
                      <a:pt x="100" y="263"/>
                    </a:lnTo>
                    <a:lnTo>
                      <a:pt x="100" y="265"/>
                    </a:lnTo>
                    <a:lnTo>
                      <a:pt x="99" y="265"/>
                    </a:lnTo>
                    <a:lnTo>
                      <a:pt x="95" y="265"/>
                    </a:lnTo>
                    <a:lnTo>
                      <a:pt x="94" y="266"/>
                    </a:lnTo>
                    <a:lnTo>
                      <a:pt x="94" y="265"/>
                    </a:lnTo>
                    <a:lnTo>
                      <a:pt x="92" y="261"/>
                    </a:lnTo>
                    <a:lnTo>
                      <a:pt x="91" y="260"/>
                    </a:lnTo>
                    <a:lnTo>
                      <a:pt x="89" y="260"/>
                    </a:lnTo>
                    <a:lnTo>
                      <a:pt x="88" y="258"/>
                    </a:lnTo>
                    <a:lnTo>
                      <a:pt x="88" y="257"/>
                    </a:lnTo>
                    <a:lnTo>
                      <a:pt x="86" y="257"/>
                    </a:lnTo>
                    <a:lnTo>
                      <a:pt x="86" y="255"/>
                    </a:lnTo>
                    <a:lnTo>
                      <a:pt x="84" y="253"/>
                    </a:lnTo>
                    <a:lnTo>
                      <a:pt x="83" y="255"/>
                    </a:lnTo>
                    <a:lnTo>
                      <a:pt x="81" y="253"/>
                    </a:lnTo>
                    <a:lnTo>
                      <a:pt x="80" y="252"/>
                    </a:lnTo>
                    <a:lnTo>
                      <a:pt x="75" y="250"/>
                    </a:lnTo>
                    <a:lnTo>
                      <a:pt x="72" y="246"/>
                    </a:lnTo>
                    <a:lnTo>
                      <a:pt x="70" y="246"/>
                    </a:lnTo>
                    <a:lnTo>
                      <a:pt x="69" y="246"/>
                    </a:lnTo>
                    <a:lnTo>
                      <a:pt x="67" y="246"/>
                    </a:lnTo>
                    <a:lnTo>
                      <a:pt x="65" y="247"/>
                    </a:lnTo>
                    <a:lnTo>
                      <a:pt x="64" y="247"/>
                    </a:lnTo>
                    <a:lnTo>
                      <a:pt x="57" y="244"/>
                    </a:lnTo>
                    <a:lnTo>
                      <a:pt x="54" y="244"/>
                    </a:lnTo>
                    <a:lnTo>
                      <a:pt x="51" y="241"/>
                    </a:lnTo>
                    <a:lnTo>
                      <a:pt x="50" y="241"/>
                    </a:lnTo>
                    <a:lnTo>
                      <a:pt x="50" y="239"/>
                    </a:lnTo>
                    <a:lnTo>
                      <a:pt x="48" y="239"/>
                    </a:lnTo>
                    <a:lnTo>
                      <a:pt x="46" y="239"/>
                    </a:lnTo>
                    <a:lnTo>
                      <a:pt x="46" y="241"/>
                    </a:lnTo>
                    <a:lnTo>
                      <a:pt x="45" y="241"/>
                    </a:lnTo>
                    <a:lnTo>
                      <a:pt x="42" y="242"/>
                    </a:lnTo>
                    <a:lnTo>
                      <a:pt x="40" y="242"/>
                    </a:lnTo>
                    <a:lnTo>
                      <a:pt x="38" y="242"/>
                    </a:lnTo>
                    <a:lnTo>
                      <a:pt x="37" y="242"/>
                    </a:lnTo>
                    <a:lnTo>
                      <a:pt x="35" y="242"/>
                    </a:lnTo>
                    <a:lnTo>
                      <a:pt x="34" y="242"/>
                    </a:lnTo>
                    <a:lnTo>
                      <a:pt x="34" y="244"/>
                    </a:lnTo>
                    <a:lnTo>
                      <a:pt x="32" y="244"/>
                    </a:lnTo>
                    <a:lnTo>
                      <a:pt x="29" y="244"/>
                    </a:lnTo>
                    <a:lnTo>
                      <a:pt x="31" y="242"/>
                    </a:lnTo>
                    <a:lnTo>
                      <a:pt x="31" y="241"/>
                    </a:lnTo>
                    <a:lnTo>
                      <a:pt x="29" y="241"/>
                    </a:lnTo>
                    <a:lnTo>
                      <a:pt x="27" y="239"/>
                    </a:lnTo>
                    <a:lnTo>
                      <a:pt x="26" y="239"/>
                    </a:lnTo>
                    <a:lnTo>
                      <a:pt x="24" y="239"/>
                    </a:lnTo>
                    <a:lnTo>
                      <a:pt x="23" y="239"/>
                    </a:lnTo>
                    <a:lnTo>
                      <a:pt x="21" y="241"/>
                    </a:lnTo>
                    <a:lnTo>
                      <a:pt x="19" y="242"/>
                    </a:lnTo>
                    <a:lnTo>
                      <a:pt x="19" y="241"/>
                    </a:lnTo>
                    <a:lnTo>
                      <a:pt x="18" y="241"/>
                    </a:lnTo>
                    <a:lnTo>
                      <a:pt x="15" y="241"/>
                    </a:lnTo>
                    <a:lnTo>
                      <a:pt x="13" y="241"/>
                    </a:lnTo>
                    <a:lnTo>
                      <a:pt x="15" y="238"/>
                    </a:lnTo>
                    <a:lnTo>
                      <a:pt x="15" y="236"/>
                    </a:lnTo>
                    <a:lnTo>
                      <a:pt x="13" y="236"/>
                    </a:lnTo>
                    <a:lnTo>
                      <a:pt x="8" y="228"/>
                    </a:lnTo>
                    <a:lnTo>
                      <a:pt x="5" y="225"/>
                    </a:lnTo>
                    <a:lnTo>
                      <a:pt x="2" y="220"/>
                    </a:lnTo>
                    <a:lnTo>
                      <a:pt x="2" y="219"/>
                    </a:lnTo>
                    <a:lnTo>
                      <a:pt x="0" y="215"/>
                    </a:lnTo>
                    <a:lnTo>
                      <a:pt x="0" y="214"/>
                    </a:lnTo>
                    <a:lnTo>
                      <a:pt x="2" y="212"/>
                    </a:lnTo>
                    <a:lnTo>
                      <a:pt x="4" y="212"/>
                    </a:lnTo>
                    <a:lnTo>
                      <a:pt x="4" y="209"/>
                    </a:lnTo>
                    <a:lnTo>
                      <a:pt x="2" y="206"/>
                    </a:lnTo>
                    <a:lnTo>
                      <a:pt x="2" y="200"/>
                    </a:lnTo>
                    <a:lnTo>
                      <a:pt x="0" y="198"/>
                    </a:lnTo>
                    <a:lnTo>
                      <a:pt x="0" y="196"/>
                    </a:lnTo>
                    <a:lnTo>
                      <a:pt x="2" y="193"/>
                    </a:lnTo>
                    <a:lnTo>
                      <a:pt x="5" y="193"/>
                    </a:lnTo>
                    <a:lnTo>
                      <a:pt x="7" y="192"/>
                    </a:lnTo>
                    <a:lnTo>
                      <a:pt x="8" y="190"/>
                    </a:lnTo>
                    <a:lnTo>
                      <a:pt x="10" y="189"/>
                    </a:lnTo>
                    <a:lnTo>
                      <a:pt x="12" y="187"/>
                    </a:lnTo>
                    <a:lnTo>
                      <a:pt x="10" y="185"/>
                    </a:lnTo>
                    <a:lnTo>
                      <a:pt x="10" y="184"/>
                    </a:lnTo>
                    <a:lnTo>
                      <a:pt x="10" y="182"/>
                    </a:lnTo>
                    <a:lnTo>
                      <a:pt x="10" y="181"/>
                    </a:lnTo>
                    <a:lnTo>
                      <a:pt x="12" y="179"/>
                    </a:lnTo>
                    <a:lnTo>
                      <a:pt x="12" y="177"/>
                    </a:lnTo>
                    <a:lnTo>
                      <a:pt x="15" y="176"/>
                    </a:lnTo>
                    <a:lnTo>
                      <a:pt x="16" y="176"/>
                    </a:lnTo>
                    <a:lnTo>
                      <a:pt x="19" y="174"/>
                    </a:lnTo>
                    <a:lnTo>
                      <a:pt x="23" y="174"/>
                    </a:lnTo>
                    <a:lnTo>
                      <a:pt x="23" y="173"/>
                    </a:lnTo>
                    <a:lnTo>
                      <a:pt x="24" y="168"/>
                    </a:lnTo>
                    <a:lnTo>
                      <a:pt x="24" y="166"/>
                    </a:lnTo>
                    <a:lnTo>
                      <a:pt x="23" y="163"/>
                    </a:lnTo>
                    <a:lnTo>
                      <a:pt x="26" y="162"/>
                    </a:lnTo>
                    <a:lnTo>
                      <a:pt x="24" y="158"/>
                    </a:lnTo>
                    <a:lnTo>
                      <a:pt x="26" y="158"/>
                    </a:lnTo>
                    <a:lnTo>
                      <a:pt x="26" y="157"/>
                    </a:lnTo>
                    <a:lnTo>
                      <a:pt x="31" y="157"/>
                    </a:lnTo>
                    <a:lnTo>
                      <a:pt x="31" y="158"/>
                    </a:lnTo>
                    <a:lnTo>
                      <a:pt x="32" y="158"/>
                    </a:lnTo>
                    <a:lnTo>
                      <a:pt x="34" y="162"/>
                    </a:lnTo>
                    <a:lnTo>
                      <a:pt x="35" y="162"/>
                    </a:lnTo>
                    <a:lnTo>
                      <a:pt x="35" y="160"/>
                    </a:lnTo>
                    <a:lnTo>
                      <a:pt x="34" y="158"/>
                    </a:lnTo>
                    <a:lnTo>
                      <a:pt x="34" y="154"/>
                    </a:lnTo>
                    <a:lnTo>
                      <a:pt x="34" y="151"/>
                    </a:lnTo>
                    <a:lnTo>
                      <a:pt x="35" y="149"/>
                    </a:lnTo>
                    <a:lnTo>
                      <a:pt x="35" y="147"/>
                    </a:lnTo>
                    <a:lnTo>
                      <a:pt x="40" y="147"/>
                    </a:lnTo>
                    <a:lnTo>
                      <a:pt x="42" y="147"/>
                    </a:lnTo>
                    <a:lnTo>
                      <a:pt x="43" y="147"/>
                    </a:lnTo>
                    <a:lnTo>
                      <a:pt x="45" y="147"/>
                    </a:lnTo>
                    <a:lnTo>
                      <a:pt x="46" y="147"/>
                    </a:lnTo>
                    <a:lnTo>
                      <a:pt x="48" y="147"/>
                    </a:lnTo>
                    <a:lnTo>
                      <a:pt x="48" y="146"/>
                    </a:lnTo>
                    <a:lnTo>
                      <a:pt x="48" y="144"/>
                    </a:lnTo>
                    <a:lnTo>
                      <a:pt x="50" y="143"/>
                    </a:lnTo>
                    <a:lnTo>
                      <a:pt x="51" y="143"/>
                    </a:lnTo>
                    <a:lnTo>
                      <a:pt x="54" y="144"/>
                    </a:lnTo>
                    <a:lnTo>
                      <a:pt x="54" y="143"/>
                    </a:lnTo>
                    <a:lnTo>
                      <a:pt x="56" y="141"/>
                    </a:lnTo>
                    <a:lnTo>
                      <a:pt x="54" y="136"/>
                    </a:lnTo>
                    <a:lnTo>
                      <a:pt x="54" y="135"/>
                    </a:lnTo>
                    <a:lnTo>
                      <a:pt x="54" y="131"/>
                    </a:lnTo>
                    <a:lnTo>
                      <a:pt x="51" y="131"/>
                    </a:lnTo>
                    <a:lnTo>
                      <a:pt x="51" y="125"/>
                    </a:lnTo>
                    <a:lnTo>
                      <a:pt x="50" y="125"/>
                    </a:lnTo>
                    <a:lnTo>
                      <a:pt x="48" y="125"/>
                    </a:lnTo>
                    <a:lnTo>
                      <a:pt x="48" y="124"/>
                    </a:lnTo>
                    <a:lnTo>
                      <a:pt x="48" y="122"/>
                    </a:lnTo>
                    <a:lnTo>
                      <a:pt x="50" y="120"/>
                    </a:lnTo>
                    <a:lnTo>
                      <a:pt x="54" y="119"/>
                    </a:lnTo>
                    <a:lnTo>
                      <a:pt x="57" y="116"/>
                    </a:lnTo>
                    <a:lnTo>
                      <a:pt x="57" y="114"/>
                    </a:lnTo>
                    <a:lnTo>
                      <a:pt x="59" y="111"/>
                    </a:lnTo>
                    <a:lnTo>
                      <a:pt x="57" y="108"/>
                    </a:lnTo>
                    <a:lnTo>
                      <a:pt x="53" y="108"/>
                    </a:lnTo>
                    <a:lnTo>
                      <a:pt x="51" y="103"/>
                    </a:lnTo>
                    <a:lnTo>
                      <a:pt x="51" y="101"/>
                    </a:lnTo>
                    <a:lnTo>
                      <a:pt x="51" y="97"/>
                    </a:lnTo>
                    <a:lnTo>
                      <a:pt x="51" y="95"/>
                    </a:lnTo>
                    <a:lnTo>
                      <a:pt x="50" y="93"/>
                    </a:lnTo>
                    <a:lnTo>
                      <a:pt x="50" y="92"/>
                    </a:lnTo>
                    <a:lnTo>
                      <a:pt x="51" y="93"/>
                    </a:lnTo>
                    <a:lnTo>
                      <a:pt x="53" y="93"/>
                    </a:lnTo>
                    <a:lnTo>
                      <a:pt x="56" y="93"/>
                    </a:lnTo>
                    <a:lnTo>
                      <a:pt x="57" y="92"/>
                    </a:lnTo>
                    <a:lnTo>
                      <a:pt x="59" y="92"/>
                    </a:lnTo>
                    <a:lnTo>
                      <a:pt x="59" y="90"/>
                    </a:lnTo>
                    <a:lnTo>
                      <a:pt x="59" y="89"/>
                    </a:lnTo>
                    <a:lnTo>
                      <a:pt x="59" y="87"/>
                    </a:lnTo>
                    <a:lnTo>
                      <a:pt x="56" y="84"/>
                    </a:lnTo>
                    <a:lnTo>
                      <a:pt x="56" y="82"/>
                    </a:lnTo>
                    <a:lnTo>
                      <a:pt x="57" y="82"/>
                    </a:lnTo>
                    <a:lnTo>
                      <a:pt x="59" y="82"/>
                    </a:lnTo>
                    <a:lnTo>
                      <a:pt x="61" y="82"/>
                    </a:lnTo>
                    <a:lnTo>
                      <a:pt x="62" y="82"/>
                    </a:lnTo>
                    <a:lnTo>
                      <a:pt x="64" y="79"/>
                    </a:lnTo>
                    <a:lnTo>
                      <a:pt x="64" y="76"/>
                    </a:lnTo>
                    <a:lnTo>
                      <a:pt x="61" y="76"/>
                    </a:lnTo>
                    <a:lnTo>
                      <a:pt x="59" y="78"/>
                    </a:lnTo>
                    <a:lnTo>
                      <a:pt x="57" y="78"/>
                    </a:lnTo>
                    <a:lnTo>
                      <a:pt x="56" y="73"/>
                    </a:lnTo>
                    <a:lnTo>
                      <a:pt x="54" y="68"/>
                    </a:lnTo>
                    <a:lnTo>
                      <a:pt x="56" y="67"/>
                    </a:lnTo>
                    <a:lnTo>
                      <a:pt x="57" y="65"/>
                    </a:lnTo>
                    <a:lnTo>
                      <a:pt x="56" y="62"/>
                    </a:lnTo>
                    <a:lnTo>
                      <a:pt x="56" y="60"/>
                    </a:lnTo>
                    <a:lnTo>
                      <a:pt x="57" y="60"/>
                    </a:lnTo>
                    <a:lnTo>
                      <a:pt x="62" y="62"/>
                    </a:lnTo>
                    <a:lnTo>
                      <a:pt x="64" y="60"/>
                    </a:lnTo>
                    <a:lnTo>
                      <a:pt x="64" y="59"/>
                    </a:lnTo>
                    <a:lnTo>
                      <a:pt x="62" y="55"/>
                    </a:lnTo>
                    <a:lnTo>
                      <a:pt x="64" y="54"/>
                    </a:lnTo>
                    <a:lnTo>
                      <a:pt x="65" y="54"/>
                    </a:lnTo>
                    <a:lnTo>
                      <a:pt x="67" y="55"/>
                    </a:lnTo>
                    <a:lnTo>
                      <a:pt x="69" y="55"/>
                    </a:lnTo>
                    <a:lnTo>
                      <a:pt x="70" y="55"/>
                    </a:lnTo>
                    <a:lnTo>
                      <a:pt x="72" y="52"/>
                    </a:lnTo>
                    <a:lnTo>
                      <a:pt x="73" y="51"/>
                    </a:lnTo>
                    <a:lnTo>
                      <a:pt x="73" y="49"/>
                    </a:lnTo>
                    <a:lnTo>
                      <a:pt x="75" y="49"/>
                    </a:lnTo>
                    <a:lnTo>
                      <a:pt x="76" y="49"/>
                    </a:lnTo>
                    <a:lnTo>
                      <a:pt x="78" y="48"/>
                    </a:lnTo>
                    <a:lnTo>
                      <a:pt x="80" y="48"/>
                    </a:lnTo>
                    <a:lnTo>
                      <a:pt x="81" y="48"/>
                    </a:lnTo>
                    <a:lnTo>
                      <a:pt x="84" y="52"/>
                    </a:lnTo>
                    <a:lnTo>
                      <a:pt x="86" y="52"/>
                    </a:lnTo>
                    <a:lnTo>
                      <a:pt x="88" y="51"/>
                    </a:lnTo>
                    <a:lnTo>
                      <a:pt x="89" y="48"/>
                    </a:lnTo>
                    <a:lnTo>
                      <a:pt x="91" y="46"/>
                    </a:lnTo>
                    <a:lnTo>
                      <a:pt x="92" y="46"/>
                    </a:lnTo>
                    <a:lnTo>
                      <a:pt x="92" y="48"/>
                    </a:lnTo>
                    <a:lnTo>
                      <a:pt x="94" y="49"/>
                    </a:lnTo>
                    <a:lnTo>
                      <a:pt x="95" y="49"/>
                    </a:lnTo>
                    <a:lnTo>
                      <a:pt x="99" y="51"/>
                    </a:lnTo>
                    <a:lnTo>
                      <a:pt x="103" y="49"/>
                    </a:lnTo>
                    <a:lnTo>
                      <a:pt x="105" y="51"/>
                    </a:lnTo>
                    <a:lnTo>
                      <a:pt x="107" y="51"/>
                    </a:lnTo>
                    <a:lnTo>
                      <a:pt x="108" y="52"/>
                    </a:lnTo>
                    <a:lnTo>
                      <a:pt x="110" y="54"/>
                    </a:lnTo>
                    <a:lnTo>
                      <a:pt x="111" y="54"/>
                    </a:lnTo>
                    <a:lnTo>
                      <a:pt x="113" y="55"/>
                    </a:lnTo>
                    <a:lnTo>
                      <a:pt x="116" y="55"/>
                    </a:lnTo>
                    <a:lnTo>
                      <a:pt x="119" y="52"/>
                    </a:lnTo>
                    <a:lnTo>
                      <a:pt x="122" y="49"/>
                    </a:lnTo>
                    <a:lnTo>
                      <a:pt x="124" y="49"/>
                    </a:lnTo>
                    <a:lnTo>
                      <a:pt x="127" y="51"/>
                    </a:lnTo>
                    <a:lnTo>
                      <a:pt x="129" y="51"/>
                    </a:lnTo>
                    <a:lnTo>
                      <a:pt x="130" y="52"/>
                    </a:lnTo>
                    <a:lnTo>
                      <a:pt x="132" y="51"/>
                    </a:lnTo>
                    <a:lnTo>
                      <a:pt x="134" y="49"/>
                    </a:lnTo>
                    <a:lnTo>
                      <a:pt x="137" y="48"/>
                    </a:lnTo>
                    <a:lnTo>
                      <a:pt x="138" y="48"/>
                    </a:lnTo>
                    <a:lnTo>
                      <a:pt x="140" y="48"/>
                    </a:lnTo>
                    <a:lnTo>
                      <a:pt x="141" y="46"/>
                    </a:lnTo>
                    <a:lnTo>
                      <a:pt x="141" y="44"/>
                    </a:lnTo>
                    <a:lnTo>
                      <a:pt x="143" y="43"/>
                    </a:lnTo>
                    <a:lnTo>
                      <a:pt x="145" y="43"/>
                    </a:lnTo>
                    <a:lnTo>
                      <a:pt x="148" y="41"/>
                    </a:lnTo>
                    <a:lnTo>
                      <a:pt x="149" y="41"/>
                    </a:lnTo>
                    <a:lnTo>
                      <a:pt x="151" y="43"/>
                    </a:lnTo>
                    <a:lnTo>
                      <a:pt x="153" y="43"/>
                    </a:lnTo>
                    <a:lnTo>
                      <a:pt x="154" y="43"/>
                    </a:lnTo>
                    <a:lnTo>
                      <a:pt x="156" y="43"/>
                    </a:lnTo>
                    <a:lnTo>
                      <a:pt x="157" y="43"/>
                    </a:lnTo>
                    <a:lnTo>
                      <a:pt x="157" y="44"/>
                    </a:lnTo>
                    <a:lnTo>
                      <a:pt x="160" y="44"/>
                    </a:lnTo>
                    <a:lnTo>
                      <a:pt x="162" y="43"/>
                    </a:lnTo>
                    <a:lnTo>
                      <a:pt x="165" y="43"/>
                    </a:lnTo>
                    <a:lnTo>
                      <a:pt x="167" y="48"/>
                    </a:lnTo>
                    <a:lnTo>
                      <a:pt x="168" y="49"/>
                    </a:lnTo>
                    <a:lnTo>
                      <a:pt x="175" y="49"/>
                    </a:lnTo>
                    <a:lnTo>
                      <a:pt x="178" y="46"/>
                    </a:lnTo>
                    <a:lnTo>
                      <a:pt x="179" y="44"/>
                    </a:lnTo>
                    <a:lnTo>
                      <a:pt x="181" y="43"/>
                    </a:lnTo>
                    <a:lnTo>
                      <a:pt x="184" y="43"/>
                    </a:lnTo>
                    <a:lnTo>
                      <a:pt x="184" y="44"/>
                    </a:lnTo>
                    <a:lnTo>
                      <a:pt x="187" y="44"/>
                    </a:lnTo>
                    <a:lnTo>
                      <a:pt x="189" y="46"/>
                    </a:lnTo>
                    <a:lnTo>
                      <a:pt x="191" y="46"/>
                    </a:lnTo>
                    <a:lnTo>
                      <a:pt x="192" y="48"/>
                    </a:lnTo>
                    <a:lnTo>
                      <a:pt x="194" y="49"/>
                    </a:lnTo>
                    <a:lnTo>
                      <a:pt x="195" y="49"/>
                    </a:lnTo>
                    <a:lnTo>
                      <a:pt x="198" y="51"/>
                    </a:lnTo>
                    <a:lnTo>
                      <a:pt x="198" y="52"/>
                    </a:lnTo>
                    <a:lnTo>
                      <a:pt x="198" y="54"/>
                    </a:lnTo>
                    <a:lnTo>
                      <a:pt x="197" y="55"/>
                    </a:lnTo>
                    <a:lnTo>
                      <a:pt x="198" y="57"/>
                    </a:lnTo>
                    <a:lnTo>
                      <a:pt x="198" y="59"/>
                    </a:lnTo>
                    <a:lnTo>
                      <a:pt x="200" y="62"/>
                    </a:lnTo>
                    <a:lnTo>
                      <a:pt x="202" y="63"/>
                    </a:lnTo>
                    <a:lnTo>
                      <a:pt x="202" y="65"/>
                    </a:lnTo>
                    <a:lnTo>
                      <a:pt x="202" y="67"/>
                    </a:lnTo>
                    <a:lnTo>
                      <a:pt x="203" y="70"/>
                    </a:lnTo>
                    <a:lnTo>
                      <a:pt x="205" y="70"/>
                    </a:lnTo>
                    <a:lnTo>
                      <a:pt x="206" y="71"/>
                    </a:lnTo>
                    <a:lnTo>
                      <a:pt x="208" y="71"/>
                    </a:lnTo>
                    <a:lnTo>
                      <a:pt x="210" y="73"/>
                    </a:lnTo>
                    <a:lnTo>
                      <a:pt x="211" y="73"/>
                    </a:lnTo>
                    <a:lnTo>
                      <a:pt x="213" y="73"/>
                    </a:lnTo>
                    <a:lnTo>
                      <a:pt x="214" y="73"/>
                    </a:lnTo>
                    <a:lnTo>
                      <a:pt x="216" y="73"/>
                    </a:lnTo>
                    <a:lnTo>
                      <a:pt x="216" y="71"/>
                    </a:lnTo>
                    <a:lnTo>
                      <a:pt x="217" y="71"/>
                    </a:lnTo>
                    <a:lnTo>
                      <a:pt x="219" y="70"/>
                    </a:lnTo>
                    <a:lnTo>
                      <a:pt x="221" y="71"/>
                    </a:lnTo>
                    <a:lnTo>
                      <a:pt x="224" y="73"/>
                    </a:lnTo>
                    <a:lnTo>
                      <a:pt x="225" y="73"/>
                    </a:lnTo>
                    <a:lnTo>
                      <a:pt x="227" y="70"/>
                    </a:lnTo>
                    <a:lnTo>
                      <a:pt x="229" y="70"/>
                    </a:lnTo>
                    <a:lnTo>
                      <a:pt x="230" y="68"/>
                    </a:lnTo>
                    <a:lnTo>
                      <a:pt x="232" y="67"/>
                    </a:lnTo>
                    <a:lnTo>
                      <a:pt x="233" y="65"/>
                    </a:lnTo>
                    <a:lnTo>
                      <a:pt x="235" y="65"/>
                    </a:lnTo>
                    <a:lnTo>
                      <a:pt x="236" y="63"/>
                    </a:lnTo>
                    <a:lnTo>
                      <a:pt x="238" y="63"/>
                    </a:lnTo>
                    <a:lnTo>
                      <a:pt x="240" y="62"/>
                    </a:lnTo>
                    <a:lnTo>
                      <a:pt x="241" y="57"/>
                    </a:lnTo>
                    <a:lnTo>
                      <a:pt x="244" y="55"/>
                    </a:lnTo>
                    <a:lnTo>
                      <a:pt x="246" y="54"/>
                    </a:lnTo>
                    <a:lnTo>
                      <a:pt x="248" y="54"/>
                    </a:lnTo>
                    <a:lnTo>
                      <a:pt x="249" y="54"/>
                    </a:lnTo>
                    <a:lnTo>
                      <a:pt x="252" y="52"/>
                    </a:lnTo>
                    <a:lnTo>
                      <a:pt x="255" y="52"/>
                    </a:lnTo>
                    <a:lnTo>
                      <a:pt x="257" y="52"/>
                    </a:lnTo>
                    <a:lnTo>
                      <a:pt x="255" y="51"/>
                    </a:lnTo>
                    <a:lnTo>
                      <a:pt x="255" y="49"/>
                    </a:lnTo>
                    <a:lnTo>
                      <a:pt x="257" y="48"/>
                    </a:lnTo>
                    <a:lnTo>
                      <a:pt x="257" y="46"/>
                    </a:lnTo>
                    <a:lnTo>
                      <a:pt x="259" y="44"/>
                    </a:lnTo>
                    <a:lnTo>
                      <a:pt x="260" y="44"/>
                    </a:lnTo>
                    <a:lnTo>
                      <a:pt x="260" y="41"/>
                    </a:lnTo>
                    <a:lnTo>
                      <a:pt x="262" y="40"/>
                    </a:lnTo>
                    <a:lnTo>
                      <a:pt x="263" y="40"/>
                    </a:lnTo>
                    <a:lnTo>
                      <a:pt x="263" y="38"/>
                    </a:lnTo>
                    <a:lnTo>
                      <a:pt x="270" y="38"/>
                    </a:lnTo>
                    <a:lnTo>
                      <a:pt x="273" y="36"/>
                    </a:lnTo>
                    <a:lnTo>
                      <a:pt x="273" y="35"/>
                    </a:lnTo>
                    <a:lnTo>
                      <a:pt x="274" y="35"/>
                    </a:lnTo>
                    <a:lnTo>
                      <a:pt x="276" y="35"/>
                    </a:lnTo>
                    <a:lnTo>
                      <a:pt x="278" y="35"/>
                    </a:lnTo>
                    <a:lnTo>
                      <a:pt x="279" y="36"/>
                    </a:lnTo>
                    <a:lnTo>
                      <a:pt x="281" y="35"/>
                    </a:lnTo>
                    <a:lnTo>
                      <a:pt x="284" y="33"/>
                    </a:lnTo>
                    <a:lnTo>
                      <a:pt x="284" y="35"/>
                    </a:lnTo>
                    <a:lnTo>
                      <a:pt x="286" y="36"/>
                    </a:lnTo>
                    <a:lnTo>
                      <a:pt x="289" y="36"/>
                    </a:lnTo>
                    <a:lnTo>
                      <a:pt x="290" y="36"/>
                    </a:lnTo>
                    <a:lnTo>
                      <a:pt x="292" y="35"/>
                    </a:lnTo>
                    <a:lnTo>
                      <a:pt x="293" y="36"/>
                    </a:lnTo>
                    <a:lnTo>
                      <a:pt x="297" y="38"/>
                    </a:lnTo>
                    <a:lnTo>
                      <a:pt x="298" y="36"/>
                    </a:lnTo>
                    <a:lnTo>
                      <a:pt x="300" y="36"/>
                    </a:lnTo>
                    <a:lnTo>
                      <a:pt x="300" y="35"/>
                    </a:lnTo>
                    <a:lnTo>
                      <a:pt x="300" y="33"/>
                    </a:lnTo>
                    <a:lnTo>
                      <a:pt x="301" y="32"/>
                    </a:lnTo>
                    <a:lnTo>
                      <a:pt x="301" y="30"/>
                    </a:lnTo>
                    <a:lnTo>
                      <a:pt x="308" y="25"/>
                    </a:lnTo>
                    <a:lnTo>
                      <a:pt x="309" y="25"/>
                    </a:lnTo>
                    <a:lnTo>
                      <a:pt x="313" y="22"/>
                    </a:lnTo>
                    <a:lnTo>
                      <a:pt x="314" y="21"/>
                    </a:lnTo>
                    <a:lnTo>
                      <a:pt x="316" y="19"/>
                    </a:lnTo>
                    <a:lnTo>
                      <a:pt x="320" y="19"/>
                    </a:lnTo>
                    <a:lnTo>
                      <a:pt x="322" y="19"/>
                    </a:lnTo>
                    <a:lnTo>
                      <a:pt x="322" y="17"/>
                    </a:lnTo>
                    <a:lnTo>
                      <a:pt x="327" y="13"/>
                    </a:lnTo>
                    <a:lnTo>
                      <a:pt x="330" y="9"/>
                    </a:lnTo>
                    <a:lnTo>
                      <a:pt x="330" y="8"/>
                    </a:lnTo>
                    <a:lnTo>
                      <a:pt x="332" y="8"/>
                    </a:lnTo>
                    <a:lnTo>
                      <a:pt x="333" y="11"/>
                    </a:lnTo>
                    <a:lnTo>
                      <a:pt x="336" y="16"/>
                    </a:lnTo>
                    <a:lnTo>
                      <a:pt x="339" y="16"/>
                    </a:lnTo>
                    <a:lnTo>
                      <a:pt x="343" y="16"/>
                    </a:lnTo>
                    <a:lnTo>
                      <a:pt x="347" y="13"/>
                    </a:lnTo>
                    <a:lnTo>
                      <a:pt x="349" y="9"/>
                    </a:lnTo>
                    <a:lnTo>
                      <a:pt x="351" y="6"/>
                    </a:lnTo>
                    <a:lnTo>
                      <a:pt x="357" y="3"/>
                    </a:lnTo>
                    <a:lnTo>
                      <a:pt x="363" y="0"/>
                    </a:lnTo>
                    <a:lnTo>
                      <a:pt x="370" y="2"/>
                    </a:lnTo>
                    <a:lnTo>
                      <a:pt x="376" y="5"/>
                    </a:lnTo>
                    <a:lnTo>
                      <a:pt x="382" y="6"/>
                    </a:lnTo>
                    <a:lnTo>
                      <a:pt x="390" y="11"/>
                    </a:lnTo>
                    <a:lnTo>
                      <a:pt x="396" y="16"/>
                    </a:lnTo>
                    <a:close/>
                  </a:path>
                </a:pathLst>
              </a:custGeom>
              <a:solidFill>
                <a:srgbClr val="E1E1E1"/>
              </a:solidFill>
              <a:ln w="4763">
                <a:solidFill>
                  <a:srgbClr val="FFFFFF"/>
                </a:solidFill>
                <a:prstDash val="solid"/>
                <a:round/>
                <a:headEnd/>
                <a:tailEnd/>
              </a:ln>
            </p:spPr>
            <p:txBody>
              <a:bodyPr vert="horz" wrap="square" lIns="74295" tIns="37148" rIns="74295" bIns="37148" numCol="1" anchor="t" anchorCtr="0" compatLnSpc="1">
                <a:prstTxWarp prst="textNoShape">
                  <a:avLst/>
                </a:prstTxWarp>
              </a:bodyPr>
              <a:lstStyle/>
              <a:p>
                <a:endParaRPr lang="en-GB" sz="1138"/>
              </a:p>
            </p:txBody>
          </p:sp>
          <p:sp>
            <p:nvSpPr>
              <p:cNvPr id="27" name="Freeform 25"/>
              <p:cNvSpPr>
                <a:spLocks/>
              </p:cNvSpPr>
              <p:nvPr/>
            </p:nvSpPr>
            <p:spPr bwMode="auto">
              <a:xfrm>
                <a:off x="4083" y="2254"/>
                <a:ext cx="64" cy="59"/>
              </a:xfrm>
              <a:custGeom>
                <a:avLst/>
                <a:gdLst>
                  <a:gd name="T0" fmla="*/ 32 w 64"/>
                  <a:gd name="T1" fmla="*/ 8 h 59"/>
                  <a:gd name="T2" fmla="*/ 38 w 64"/>
                  <a:gd name="T3" fmla="*/ 8 h 59"/>
                  <a:gd name="T4" fmla="*/ 43 w 64"/>
                  <a:gd name="T5" fmla="*/ 5 h 59"/>
                  <a:gd name="T6" fmla="*/ 48 w 64"/>
                  <a:gd name="T7" fmla="*/ 4 h 59"/>
                  <a:gd name="T8" fmla="*/ 52 w 64"/>
                  <a:gd name="T9" fmla="*/ 0 h 59"/>
                  <a:gd name="T10" fmla="*/ 57 w 64"/>
                  <a:gd name="T11" fmla="*/ 2 h 59"/>
                  <a:gd name="T12" fmla="*/ 60 w 64"/>
                  <a:gd name="T13" fmla="*/ 5 h 59"/>
                  <a:gd name="T14" fmla="*/ 60 w 64"/>
                  <a:gd name="T15" fmla="*/ 7 h 59"/>
                  <a:gd name="T16" fmla="*/ 62 w 64"/>
                  <a:gd name="T17" fmla="*/ 8 h 59"/>
                  <a:gd name="T18" fmla="*/ 60 w 64"/>
                  <a:gd name="T19" fmla="*/ 11 h 59"/>
                  <a:gd name="T20" fmla="*/ 59 w 64"/>
                  <a:gd name="T21" fmla="*/ 16 h 59"/>
                  <a:gd name="T22" fmla="*/ 60 w 64"/>
                  <a:gd name="T23" fmla="*/ 19 h 59"/>
                  <a:gd name="T24" fmla="*/ 60 w 64"/>
                  <a:gd name="T25" fmla="*/ 23 h 59"/>
                  <a:gd name="T26" fmla="*/ 59 w 64"/>
                  <a:gd name="T27" fmla="*/ 26 h 59"/>
                  <a:gd name="T28" fmla="*/ 57 w 64"/>
                  <a:gd name="T29" fmla="*/ 31 h 59"/>
                  <a:gd name="T30" fmla="*/ 56 w 64"/>
                  <a:gd name="T31" fmla="*/ 35 h 59"/>
                  <a:gd name="T32" fmla="*/ 57 w 64"/>
                  <a:gd name="T33" fmla="*/ 37 h 59"/>
                  <a:gd name="T34" fmla="*/ 59 w 64"/>
                  <a:gd name="T35" fmla="*/ 40 h 59"/>
                  <a:gd name="T36" fmla="*/ 60 w 64"/>
                  <a:gd name="T37" fmla="*/ 43 h 59"/>
                  <a:gd name="T38" fmla="*/ 62 w 64"/>
                  <a:gd name="T39" fmla="*/ 46 h 59"/>
                  <a:gd name="T40" fmla="*/ 64 w 64"/>
                  <a:gd name="T41" fmla="*/ 51 h 59"/>
                  <a:gd name="T42" fmla="*/ 64 w 64"/>
                  <a:gd name="T43" fmla="*/ 51 h 59"/>
                  <a:gd name="T44" fmla="*/ 60 w 64"/>
                  <a:gd name="T45" fmla="*/ 56 h 59"/>
                  <a:gd name="T46" fmla="*/ 60 w 64"/>
                  <a:gd name="T47" fmla="*/ 56 h 59"/>
                  <a:gd name="T48" fmla="*/ 59 w 64"/>
                  <a:gd name="T49" fmla="*/ 57 h 59"/>
                  <a:gd name="T50" fmla="*/ 57 w 64"/>
                  <a:gd name="T51" fmla="*/ 57 h 59"/>
                  <a:gd name="T52" fmla="*/ 56 w 64"/>
                  <a:gd name="T53" fmla="*/ 59 h 59"/>
                  <a:gd name="T54" fmla="*/ 51 w 64"/>
                  <a:gd name="T55" fmla="*/ 59 h 59"/>
                  <a:gd name="T56" fmla="*/ 48 w 64"/>
                  <a:gd name="T57" fmla="*/ 56 h 59"/>
                  <a:gd name="T58" fmla="*/ 45 w 64"/>
                  <a:gd name="T59" fmla="*/ 51 h 59"/>
                  <a:gd name="T60" fmla="*/ 41 w 64"/>
                  <a:gd name="T61" fmla="*/ 50 h 59"/>
                  <a:gd name="T62" fmla="*/ 37 w 64"/>
                  <a:gd name="T63" fmla="*/ 50 h 59"/>
                  <a:gd name="T64" fmla="*/ 32 w 64"/>
                  <a:gd name="T65" fmla="*/ 53 h 59"/>
                  <a:gd name="T66" fmla="*/ 27 w 64"/>
                  <a:gd name="T67" fmla="*/ 53 h 59"/>
                  <a:gd name="T68" fmla="*/ 24 w 64"/>
                  <a:gd name="T69" fmla="*/ 51 h 59"/>
                  <a:gd name="T70" fmla="*/ 21 w 64"/>
                  <a:gd name="T71" fmla="*/ 48 h 59"/>
                  <a:gd name="T72" fmla="*/ 19 w 64"/>
                  <a:gd name="T73" fmla="*/ 46 h 59"/>
                  <a:gd name="T74" fmla="*/ 16 w 64"/>
                  <a:gd name="T75" fmla="*/ 46 h 59"/>
                  <a:gd name="T76" fmla="*/ 10 w 64"/>
                  <a:gd name="T77" fmla="*/ 48 h 59"/>
                  <a:gd name="T78" fmla="*/ 5 w 64"/>
                  <a:gd name="T79" fmla="*/ 50 h 59"/>
                  <a:gd name="T80" fmla="*/ 2 w 64"/>
                  <a:gd name="T81" fmla="*/ 48 h 59"/>
                  <a:gd name="T82" fmla="*/ 2 w 64"/>
                  <a:gd name="T83" fmla="*/ 48 h 59"/>
                  <a:gd name="T84" fmla="*/ 0 w 64"/>
                  <a:gd name="T85" fmla="*/ 45 h 59"/>
                  <a:gd name="T86" fmla="*/ 0 w 64"/>
                  <a:gd name="T87" fmla="*/ 40 h 59"/>
                  <a:gd name="T88" fmla="*/ 2 w 64"/>
                  <a:gd name="T89" fmla="*/ 35 h 59"/>
                  <a:gd name="T90" fmla="*/ 2 w 64"/>
                  <a:gd name="T91" fmla="*/ 31 h 59"/>
                  <a:gd name="T92" fmla="*/ 3 w 64"/>
                  <a:gd name="T93" fmla="*/ 24 h 59"/>
                  <a:gd name="T94" fmla="*/ 8 w 64"/>
                  <a:gd name="T95" fmla="*/ 18 h 59"/>
                  <a:gd name="T96" fmla="*/ 13 w 64"/>
                  <a:gd name="T97" fmla="*/ 11 h 59"/>
                  <a:gd name="T98" fmla="*/ 14 w 64"/>
                  <a:gd name="T99" fmla="*/ 7 h 59"/>
                  <a:gd name="T100" fmla="*/ 16 w 64"/>
                  <a:gd name="T101" fmla="*/ 5 h 59"/>
                  <a:gd name="T102" fmla="*/ 21 w 64"/>
                  <a:gd name="T103" fmla="*/ 0 h 59"/>
                  <a:gd name="T104" fmla="*/ 26 w 64"/>
                  <a:gd name="T105" fmla="*/ 0 h 59"/>
                  <a:gd name="T106" fmla="*/ 29 w 64"/>
                  <a:gd name="T107" fmla="*/ 4 h 59"/>
                  <a:gd name="T108" fmla="*/ 32 w 64"/>
                  <a:gd name="T109" fmla="*/ 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4" h="59">
                    <a:moveTo>
                      <a:pt x="32" y="8"/>
                    </a:moveTo>
                    <a:lnTo>
                      <a:pt x="38" y="8"/>
                    </a:lnTo>
                    <a:lnTo>
                      <a:pt x="43" y="5"/>
                    </a:lnTo>
                    <a:lnTo>
                      <a:pt x="48" y="4"/>
                    </a:lnTo>
                    <a:lnTo>
                      <a:pt x="52" y="0"/>
                    </a:lnTo>
                    <a:lnTo>
                      <a:pt x="57" y="2"/>
                    </a:lnTo>
                    <a:lnTo>
                      <a:pt x="60" y="5"/>
                    </a:lnTo>
                    <a:lnTo>
                      <a:pt x="60" y="7"/>
                    </a:lnTo>
                    <a:lnTo>
                      <a:pt x="62" y="8"/>
                    </a:lnTo>
                    <a:lnTo>
                      <a:pt x="60" y="11"/>
                    </a:lnTo>
                    <a:lnTo>
                      <a:pt x="59" y="16"/>
                    </a:lnTo>
                    <a:lnTo>
                      <a:pt x="60" y="19"/>
                    </a:lnTo>
                    <a:lnTo>
                      <a:pt x="60" y="23"/>
                    </a:lnTo>
                    <a:lnTo>
                      <a:pt x="59" y="26"/>
                    </a:lnTo>
                    <a:lnTo>
                      <a:pt x="57" y="31"/>
                    </a:lnTo>
                    <a:lnTo>
                      <a:pt x="56" y="35"/>
                    </a:lnTo>
                    <a:lnTo>
                      <a:pt x="57" y="37"/>
                    </a:lnTo>
                    <a:lnTo>
                      <a:pt x="59" y="40"/>
                    </a:lnTo>
                    <a:lnTo>
                      <a:pt x="60" y="43"/>
                    </a:lnTo>
                    <a:lnTo>
                      <a:pt x="62" y="46"/>
                    </a:lnTo>
                    <a:lnTo>
                      <a:pt x="64" y="51"/>
                    </a:lnTo>
                    <a:lnTo>
                      <a:pt x="64" y="51"/>
                    </a:lnTo>
                    <a:lnTo>
                      <a:pt x="60" y="56"/>
                    </a:lnTo>
                    <a:lnTo>
                      <a:pt x="60" y="56"/>
                    </a:lnTo>
                    <a:lnTo>
                      <a:pt x="59" y="57"/>
                    </a:lnTo>
                    <a:lnTo>
                      <a:pt x="57" y="57"/>
                    </a:lnTo>
                    <a:lnTo>
                      <a:pt x="56" y="59"/>
                    </a:lnTo>
                    <a:lnTo>
                      <a:pt x="51" y="59"/>
                    </a:lnTo>
                    <a:lnTo>
                      <a:pt x="48" y="56"/>
                    </a:lnTo>
                    <a:lnTo>
                      <a:pt x="45" y="51"/>
                    </a:lnTo>
                    <a:lnTo>
                      <a:pt x="41" y="50"/>
                    </a:lnTo>
                    <a:lnTo>
                      <a:pt x="37" y="50"/>
                    </a:lnTo>
                    <a:lnTo>
                      <a:pt x="32" y="53"/>
                    </a:lnTo>
                    <a:lnTo>
                      <a:pt x="27" y="53"/>
                    </a:lnTo>
                    <a:lnTo>
                      <a:pt x="24" y="51"/>
                    </a:lnTo>
                    <a:lnTo>
                      <a:pt x="21" y="48"/>
                    </a:lnTo>
                    <a:lnTo>
                      <a:pt x="19" y="46"/>
                    </a:lnTo>
                    <a:lnTo>
                      <a:pt x="16" y="46"/>
                    </a:lnTo>
                    <a:lnTo>
                      <a:pt x="10" y="48"/>
                    </a:lnTo>
                    <a:lnTo>
                      <a:pt x="5" y="50"/>
                    </a:lnTo>
                    <a:lnTo>
                      <a:pt x="2" y="48"/>
                    </a:lnTo>
                    <a:lnTo>
                      <a:pt x="2" y="48"/>
                    </a:lnTo>
                    <a:lnTo>
                      <a:pt x="0" y="45"/>
                    </a:lnTo>
                    <a:lnTo>
                      <a:pt x="0" y="40"/>
                    </a:lnTo>
                    <a:lnTo>
                      <a:pt x="2" y="35"/>
                    </a:lnTo>
                    <a:lnTo>
                      <a:pt x="2" y="31"/>
                    </a:lnTo>
                    <a:lnTo>
                      <a:pt x="3" y="24"/>
                    </a:lnTo>
                    <a:lnTo>
                      <a:pt x="8" y="18"/>
                    </a:lnTo>
                    <a:lnTo>
                      <a:pt x="13" y="11"/>
                    </a:lnTo>
                    <a:lnTo>
                      <a:pt x="14" y="7"/>
                    </a:lnTo>
                    <a:lnTo>
                      <a:pt x="16" y="5"/>
                    </a:lnTo>
                    <a:lnTo>
                      <a:pt x="21" y="0"/>
                    </a:lnTo>
                    <a:lnTo>
                      <a:pt x="26" y="0"/>
                    </a:lnTo>
                    <a:lnTo>
                      <a:pt x="29" y="4"/>
                    </a:lnTo>
                    <a:lnTo>
                      <a:pt x="32" y="8"/>
                    </a:lnTo>
                    <a:close/>
                  </a:path>
                </a:pathLst>
              </a:custGeom>
              <a:solidFill>
                <a:srgbClr val="E1E1E1"/>
              </a:solidFill>
              <a:ln w="4763">
                <a:solidFill>
                  <a:srgbClr val="FFFFFF"/>
                </a:solidFill>
                <a:prstDash val="solid"/>
                <a:round/>
                <a:headEnd/>
                <a:tailEnd/>
              </a:ln>
            </p:spPr>
            <p:txBody>
              <a:bodyPr vert="horz" wrap="square" lIns="74295" tIns="37148" rIns="74295" bIns="37148" numCol="1" anchor="t" anchorCtr="0" compatLnSpc="1">
                <a:prstTxWarp prst="textNoShape">
                  <a:avLst/>
                </a:prstTxWarp>
              </a:bodyPr>
              <a:lstStyle/>
              <a:p>
                <a:endParaRPr lang="en-GB" sz="1138"/>
              </a:p>
            </p:txBody>
          </p:sp>
          <p:sp>
            <p:nvSpPr>
              <p:cNvPr id="28" name="Freeform 26"/>
              <p:cNvSpPr>
                <a:spLocks noEditPoints="1"/>
              </p:cNvSpPr>
              <p:nvPr/>
            </p:nvSpPr>
            <p:spPr bwMode="auto">
              <a:xfrm>
                <a:off x="1769" y="1963"/>
                <a:ext cx="2564" cy="2007"/>
              </a:xfrm>
              <a:custGeom>
                <a:avLst/>
                <a:gdLst>
                  <a:gd name="T0" fmla="*/ 1378 w 2564"/>
                  <a:gd name="T1" fmla="*/ 79 h 2007"/>
                  <a:gd name="T2" fmla="*/ 1354 w 2564"/>
                  <a:gd name="T3" fmla="*/ 119 h 2007"/>
                  <a:gd name="T4" fmla="*/ 1397 w 2564"/>
                  <a:gd name="T5" fmla="*/ 198 h 2007"/>
                  <a:gd name="T6" fmla="*/ 1437 w 2564"/>
                  <a:gd name="T7" fmla="*/ 228 h 2007"/>
                  <a:gd name="T8" fmla="*/ 1489 w 2564"/>
                  <a:gd name="T9" fmla="*/ 201 h 2007"/>
                  <a:gd name="T10" fmla="*/ 1535 w 2564"/>
                  <a:gd name="T11" fmla="*/ 219 h 2007"/>
                  <a:gd name="T12" fmla="*/ 1530 w 2564"/>
                  <a:gd name="T13" fmla="*/ 271 h 2007"/>
                  <a:gd name="T14" fmla="*/ 1506 w 2564"/>
                  <a:gd name="T15" fmla="*/ 317 h 2007"/>
                  <a:gd name="T16" fmla="*/ 1666 w 2564"/>
                  <a:gd name="T17" fmla="*/ 364 h 2007"/>
                  <a:gd name="T18" fmla="*/ 1947 w 2564"/>
                  <a:gd name="T19" fmla="*/ 290 h 2007"/>
                  <a:gd name="T20" fmla="*/ 2351 w 2564"/>
                  <a:gd name="T21" fmla="*/ 217 h 2007"/>
                  <a:gd name="T22" fmla="*/ 2555 w 2564"/>
                  <a:gd name="T23" fmla="*/ 580 h 2007"/>
                  <a:gd name="T24" fmla="*/ 2317 w 2564"/>
                  <a:gd name="T25" fmla="*/ 1035 h 2007"/>
                  <a:gd name="T26" fmla="*/ 1879 w 2564"/>
                  <a:gd name="T27" fmla="*/ 1440 h 2007"/>
                  <a:gd name="T28" fmla="*/ 1324 w 2564"/>
                  <a:gd name="T29" fmla="*/ 1980 h 2007"/>
                  <a:gd name="T30" fmla="*/ 971 w 2564"/>
                  <a:gd name="T31" fmla="*/ 1839 h 2007"/>
                  <a:gd name="T32" fmla="*/ 808 w 2564"/>
                  <a:gd name="T33" fmla="*/ 1567 h 2007"/>
                  <a:gd name="T34" fmla="*/ 1123 w 2564"/>
                  <a:gd name="T35" fmla="*/ 1301 h 2007"/>
                  <a:gd name="T36" fmla="*/ 1183 w 2564"/>
                  <a:gd name="T37" fmla="*/ 1196 h 2007"/>
                  <a:gd name="T38" fmla="*/ 1262 w 2564"/>
                  <a:gd name="T39" fmla="*/ 1158 h 2007"/>
                  <a:gd name="T40" fmla="*/ 1373 w 2564"/>
                  <a:gd name="T41" fmla="*/ 1079 h 2007"/>
                  <a:gd name="T42" fmla="*/ 1150 w 2564"/>
                  <a:gd name="T43" fmla="*/ 963 h 2007"/>
                  <a:gd name="T44" fmla="*/ 1305 w 2564"/>
                  <a:gd name="T45" fmla="*/ 623 h 2007"/>
                  <a:gd name="T46" fmla="*/ 1115 w 2564"/>
                  <a:gd name="T47" fmla="*/ 589 h 2007"/>
                  <a:gd name="T48" fmla="*/ 952 w 2564"/>
                  <a:gd name="T49" fmla="*/ 700 h 2007"/>
                  <a:gd name="T50" fmla="*/ 605 w 2564"/>
                  <a:gd name="T51" fmla="*/ 841 h 2007"/>
                  <a:gd name="T52" fmla="*/ 396 w 2564"/>
                  <a:gd name="T53" fmla="*/ 732 h 2007"/>
                  <a:gd name="T54" fmla="*/ 239 w 2564"/>
                  <a:gd name="T55" fmla="*/ 689 h 2007"/>
                  <a:gd name="T56" fmla="*/ 5 w 2564"/>
                  <a:gd name="T57" fmla="*/ 483 h 2007"/>
                  <a:gd name="T58" fmla="*/ 74 w 2564"/>
                  <a:gd name="T59" fmla="*/ 339 h 2007"/>
                  <a:gd name="T60" fmla="*/ 74 w 2564"/>
                  <a:gd name="T61" fmla="*/ 277 h 2007"/>
                  <a:gd name="T62" fmla="*/ 89 w 2564"/>
                  <a:gd name="T63" fmla="*/ 223 h 2007"/>
                  <a:gd name="T64" fmla="*/ 163 w 2564"/>
                  <a:gd name="T65" fmla="*/ 234 h 2007"/>
                  <a:gd name="T66" fmla="*/ 198 w 2564"/>
                  <a:gd name="T67" fmla="*/ 176 h 2007"/>
                  <a:gd name="T68" fmla="*/ 220 w 2564"/>
                  <a:gd name="T69" fmla="*/ 101 h 2007"/>
                  <a:gd name="T70" fmla="*/ 287 w 2564"/>
                  <a:gd name="T71" fmla="*/ 123 h 2007"/>
                  <a:gd name="T72" fmla="*/ 369 w 2564"/>
                  <a:gd name="T73" fmla="*/ 158 h 2007"/>
                  <a:gd name="T74" fmla="*/ 407 w 2564"/>
                  <a:gd name="T75" fmla="*/ 206 h 2007"/>
                  <a:gd name="T76" fmla="*/ 470 w 2564"/>
                  <a:gd name="T77" fmla="*/ 263 h 2007"/>
                  <a:gd name="T78" fmla="*/ 518 w 2564"/>
                  <a:gd name="T79" fmla="*/ 307 h 2007"/>
                  <a:gd name="T80" fmla="*/ 584 w 2564"/>
                  <a:gd name="T81" fmla="*/ 367 h 2007"/>
                  <a:gd name="T82" fmla="*/ 600 w 2564"/>
                  <a:gd name="T83" fmla="*/ 310 h 2007"/>
                  <a:gd name="T84" fmla="*/ 637 w 2564"/>
                  <a:gd name="T85" fmla="*/ 266 h 2007"/>
                  <a:gd name="T86" fmla="*/ 581 w 2564"/>
                  <a:gd name="T87" fmla="*/ 204 h 2007"/>
                  <a:gd name="T88" fmla="*/ 583 w 2564"/>
                  <a:gd name="T89" fmla="*/ 123 h 2007"/>
                  <a:gd name="T90" fmla="*/ 651 w 2564"/>
                  <a:gd name="T91" fmla="*/ 58 h 2007"/>
                  <a:gd name="T92" fmla="*/ 706 w 2564"/>
                  <a:gd name="T93" fmla="*/ 32 h 2007"/>
                  <a:gd name="T94" fmla="*/ 775 w 2564"/>
                  <a:gd name="T95" fmla="*/ 30 h 2007"/>
                  <a:gd name="T96" fmla="*/ 841 w 2564"/>
                  <a:gd name="T97" fmla="*/ 47 h 2007"/>
                  <a:gd name="T98" fmla="*/ 895 w 2564"/>
                  <a:gd name="T99" fmla="*/ 82 h 2007"/>
                  <a:gd name="T100" fmla="*/ 990 w 2564"/>
                  <a:gd name="T101" fmla="*/ 112 h 2007"/>
                  <a:gd name="T102" fmla="*/ 1071 w 2564"/>
                  <a:gd name="T103" fmla="*/ 154 h 2007"/>
                  <a:gd name="T104" fmla="*/ 1153 w 2564"/>
                  <a:gd name="T105" fmla="*/ 112 h 2007"/>
                  <a:gd name="T106" fmla="*/ 1228 w 2564"/>
                  <a:gd name="T107" fmla="*/ 70 h 2007"/>
                  <a:gd name="T108" fmla="*/ 1273 w 2564"/>
                  <a:gd name="T109" fmla="*/ 8 h 2007"/>
                  <a:gd name="T110" fmla="*/ 656 w 2564"/>
                  <a:gd name="T111" fmla="*/ 279 h 2007"/>
                  <a:gd name="T112" fmla="*/ 679 w 2564"/>
                  <a:gd name="T113" fmla="*/ 253 h 2007"/>
                  <a:gd name="T114" fmla="*/ 1357 w 2564"/>
                  <a:gd name="T115" fmla="*/ 450 h 2007"/>
                  <a:gd name="T116" fmla="*/ 1376 w 2564"/>
                  <a:gd name="T117" fmla="*/ 382 h 2007"/>
                  <a:gd name="T118" fmla="*/ 596 w 2564"/>
                  <a:gd name="T119" fmla="*/ 407 h 2007"/>
                  <a:gd name="T120" fmla="*/ 548 w 2564"/>
                  <a:gd name="T121" fmla="*/ 432 h 2007"/>
                  <a:gd name="T122" fmla="*/ 618 w 2564"/>
                  <a:gd name="T123" fmla="*/ 466 h 2007"/>
                  <a:gd name="T124" fmla="*/ 2328 w 2564"/>
                  <a:gd name="T125" fmla="*/ 298 h 20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64" h="2007">
                    <a:moveTo>
                      <a:pt x="1340" y="0"/>
                    </a:moveTo>
                    <a:lnTo>
                      <a:pt x="1342" y="0"/>
                    </a:lnTo>
                    <a:lnTo>
                      <a:pt x="1343" y="0"/>
                    </a:lnTo>
                    <a:lnTo>
                      <a:pt x="1345" y="0"/>
                    </a:lnTo>
                    <a:lnTo>
                      <a:pt x="1346" y="0"/>
                    </a:lnTo>
                    <a:lnTo>
                      <a:pt x="1346" y="1"/>
                    </a:lnTo>
                    <a:lnTo>
                      <a:pt x="1346" y="0"/>
                    </a:lnTo>
                    <a:lnTo>
                      <a:pt x="1348" y="0"/>
                    </a:lnTo>
                    <a:lnTo>
                      <a:pt x="1348" y="1"/>
                    </a:lnTo>
                    <a:lnTo>
                      <a:pt x="1350" y="1"/>
                    </a:lnTo>
                    <a:lnTo>
                      <a:pt x="1350" y="3"/>
                    </a:lnTo>
                    <a:lnTo>
                      <a:pt x="1351" y="3"/>
                    </a:lnTo>
                    <a:lnTo>
                      <a:pt x="1353" y="3"/>
                    </a:lnTo>
                    <a:lnTo>
                      <a:pt x="1353" y="5"/>
                    </a:lnTo>
                    <a:lnTo>
                      <a:pt x="1354" y="5"/>
                    </a:lnTo>
                    <a:lnTo>
                      <a:pt x="1354" y="6"/>
                    </a:lnTo>
                    <a:lnTo>
                      <a:pt x="1356" y="6"/>
                    </a:lnTo>
                    <a:lnTo>
                      <a:pt x="1357" y="6"/>
                    </a:lnTo>
                    <a:lnTo>
                      <a:pt x="1359" y="6"/>
                    </a:lnTo>
                    <a:lnTo>
                      <a:pt x="1361" y="6"/>
                    </a:lnTo>
                    <a:lnTo>
                      <a:pt x="1362" y="6"/>
                    </a:lnTo>
                    <a:lnTo>
                      <a:pt x="1364" y="6"/>
                    </a:lnTo>
                    <a:lnTo>
                      <a:pt x="1364" y="5"/>
                    </a:lnTo>
                    <a:lnTo>
                      <a:pt x="1365" y="5"/>
                    </a:lnTo>
                    <a:lnTo>
                      <a:pt x="1365" y="6"/>
                    </a:lnTo>
                    <a:lnTo>
                      <a:pt x="1367" y="6"/>
                    </a:lnTo>
                    <a:lnTo>
                      <a:pt x="1369" y="6"/>
                    </a:lnTo>
                    <a:lnTo>
                      <a:pt x="1370" y="6"/>
                    </a:lnTo>
                    <a:lnTo>
                      <a:pt x="1372" y="6"/>
                    </a:lnTo>
                    <a:lnTo>
                      <a:pt x="1373" y="8"/>
                    </a:lnTo>
                    <a:lnTo>
                      <a:pt x="1375" y="8"/>
                    </a:lnTo>
                    <a:lnTo>
                      <a:pt x="1376" y="8"/>
                    </a:lnTo>
                    <a:lnTo>
                      <a:pt x="1376" y="9"/>
                    </a:lnTo>
                    <a:lnTo>
                      <a:pt x="1378" y="13"/>
                    </a:lnTo>
                    <a:lnTo>
                      <a:pt x="1378" y="14"/>
                    </a:lnTo>
                    <a:lnTo>
                      <a:pt x="1380" y="16"/>
                    </a:lnTo>
                    <a:lnTo>
                      <a:pt x="1380" y="17"/>
                    </a:lnTo>
                    <a:lnTo>
                      <a:pt x="1380" y="20"/>
                    </a:lnTo>
                    <a:lnTo>
                      <a:pt x="1380" y="22"/>
                    </a:lnTo>
                    <a:lnTo>
                      <a:pt x="1380" y="24"/>
                    </a:lnTo>
                    <a:lnTo>
                      <a:pt x="1380" y="25"/>
                    </a:lnTo>
                    <a:lnTo>
                      <a:pt x="1380" y="27"/>
                    </a:lnTo>
                    <a:lnTo>
                      <a:pt x="1380" y="28"/>
                    </a:lnTo>
                    <a:lnTo>
                      <a:pt x="1381" y="28"/>
                    </a:lnTo>
                    <a:lnTo>
                      <a:pt x="1381" y="30"/>
                    </a:lnTo>
                    <a:lnTo>
                      <a:pt x="1381" y="32"/>
                    </a:lnTo>
                    <a:lnTo>
                      <a:pt x="1380" y="33"/>
                    </a:lnTo>
                    <a:lnTo>
                      <a:pt x="1380" y="35"/>
                    </a:lnTo>
                    <a:lnTo>
                      <a:pt x="1378" y="35"/>
                    </a:lnTo>
                    <a:lnTo>
                      <a:pt x="1378" y="36"/>
                    </a:lnTo>
                    <a:lnTo>
                      <a:pt x="1376" y="36"/>
                    </a:lnTo>
                    <a:lnTo>
                      <a:pt x="1376" y="38"/>
                    </a:lnTo>
                    <a:lnTo>
                      <a:pt x="1376" y="39"/>
                    </a:lnTo>
                    <a:lnTo>
                      <a:pt x="1376" y="41"/>
                    </a:lnTo>
                    <a:lnTo>
                      <a:pt x="1378" y="41"/>
                    </a:lnTo>
                    <a:lnTo>
                      <a:pt x="1378" y="43"/>
                    </a:lnTo>
                    <a:lnTo>
                      <a:pt x="1376" y="43"/>
                    </a:lnTo>
                    <a:lnTo>
                      <a:pt x="1376" y="44"/>
                    </a:lnTo>
                    <a:lnTo>
                      <a:pt x="1375" y="44"/>
                    </a:lnTo>
                    <a:lnTo>
                      <a:pt x="1375" y="46"/>
                    </a:lnTo>
                    <a:lnTo>
                      <a:pt x="1373" y="46"/>
                    </a:lnTo>
                    <a:lnTo>
                      <a:pt x="1373" y="47"/>
                    </a:lnTo>
                    <a:lnTo>
                      <a:pt x="1373" y="49"/>
                    </a:lnTo>
                    <a:lnTo>
                      <a:pt x="1373" y="51"/>
                    </a:lnTo>
                    <a:lnTo>
                      <a:pt x="1373" y="52"/>
                    </a:lnTo>
                    <a:lnTo>
                      <a:pt x="1373" y="54"/>
                    </a:lnTo>
                    <a:lnTo>
                      <a:pt x="1375" y="54"/>
                    </a:lnTo>
                    <a:lnTo>
                      <a:pt x="1375" y="55"/>
                    </a:lnTo>
                    <a:lnTo>
                      <a:pt x="1375" y="57"/>
                    </a:lnTo>
                    <a:lnTo>
                      <a:pt x="1373" y="57"/>
                    </a:lnTo>
                    <a:lnTo>
                      <a:pt x="1373" y="58"/>
                    </a:lnTo>
                    <a:lnTo>
                      <a:pt x="1373" y="60"/>
                    </a:lnTo>
                    <a:lnTo>
                      <a:pt x="1373" y="62"/>
                    </a:lnTo>
                    <a:lnTo>
                      <a:pt x="1373" y="63"/>
                    </a:lnTo>
                    <a:lnTo>
                      <a:pt x="1373" y="65"/>
                    </a:lnTo>
                    <a:lnTo>
                      <a:pt x="1373" y="66"/>
                    </a:lnTo>
                    <a:lnTo>
                      <a:pt x="1373" y="68"/>
                    </a:lnTo>
                    <a:lnTo>
                      <a:pt x="1375" y="68"/>
                    </a:lnTo>
                    <a:lnTo>
                      <a:pt x="1375" y="70"/>
                    </a:lnTo>
                    <a:lnTo>
                      <a:pt x="1376" y="71"/>
                    </a:lnTo>
                    <a:lnTo>
                      <a:pt x="1376" y="73"/>
                    </a:lnTo>
                    <a:lnTo>
                      <a:pt x="1378" y="73"/>
                    </a:lnTo>
                    <a:lnTo>
                      <a:pt x="1376" y="74"/>
                    </a:lnTo>
                    <a:lnTo>
                      <a:pt x="1378" y="74"/>
                    </a:lnTo>
                    <a:lnTo>
                      <a:pt x="1376" y="76"/>
                    </a:lnTo>
                    <a:lnTo>
                      <a:pt x="1378" y="76"/>
                    </a:lnTo>
                    <a:lnTo>
                      <a:pt x="1378" y="77"/>
                    </a:lnTo>
                    <a:lnTo>
                      <a:pt x="1378" y="79"/>
                    </a:lnTo>
                    <a:lnTo>
                      <a:pt x="1376" y="81"/>
                    </a:lnTo>
                    <a:lnTo>
                      <a:pt x="1375" y="81"/>
                    </a:lnTo>
                    <a:lnTo>
                      <a:pt x="1375" y="79"/>
                    </a:lnTo>
                    <a:lnTo>
                      <a:pt x="1373" y="79"/>
                    </a:lnTo>
                    <a:lnTo>
                      <a:pt x="1373" y="81"/>
                    </a:lnTo>
                    <a:lnTo>
                      <a:pt x="1372" y="81"/>
                    </a:lnTo>
                    <a:lnTo>
                      <a:pt x="1370" y="81"/>
                    </a:lnTo>
                    <a:lnTo>
                      <a:pt x="1369" y="81"/>
                    </a:lnTo>
                    <a:lnTo>
                      <a:pt x="1369" y="82"/>
                    </a:lnTo>
                    <a:lnTo>
                      <a:pt x="1369" y="84"/>
                    </a:lnTo>
                    <a:lnTo>
                      <a:pt x="1367" y="85"/>
                    </a:lnTo>
                    <a:lnTo>
                      <a:pt x="1365" y="84"/>
                    </a:lnTo>
                    <a:lnTo>
                      <a:pt x="1365" y="85"/>
                    </a:lnTo>
                    <a:lnTo>
                      <a:pt x="1364" y="87"/>
                    </a:lnTo>
                    <a:lnTo>
                      <a:pt x="1362" y="85"/>
                    </a:lnTo>
                    <a:lnTo>
                      <a:pt x="1362" y="87"/>
                    </a:lnTo>
                    <a:lnTo>
                      <a:pt x="1361" y="87"/>
                    </a:lnTo>
                    <a:lnTo>
                      <a:pt x="1361" y="85"/>
                    </a:lnTo>
                    <a:lnTo>
                      <a:pt x="1361" y="87"/>
                    </a:lnTo>
                    <a:lnTo>
                      <a:pt x="1359" y="87"/>
                    </a:lnTo>
                    <a:lnTo>
                      <a:pt x="1359" y="89"/>
                    </a:lnTo>
                    <a:lnTo>
                      <a:pt x="1357" y="89"/>
                    </a:lnTo>
                    <a:lnTo>
                      <a:pt x="1356" y="89"/>
                    </a:lnTo>
                    <a:lnTo>
                      <a:pt x="1356" y="90"/>
                    </a:lnTo>
                    <a:lnTo>
                      <a:pt x="1354" y="90"/>
                    </a:lnTo>
                    <a:lnTo>
                      <a:pt x="1354" y="92"/>
                    </a:lnTo>
                    <a:lnTo>
                      <a:pt x="1353" y="92"/>
                    </a:lnTo>
                    <a:lnTo>
                      <a:pt x="1351" y="93"/>
                    </a:lnTo>
                    <a:lnTo>
                      <a:pt x="1350" y="95"/>
                    </a:lnTo>
                    <a:lnTo>
                      <a:pt x="1348" y="95"/>
                    </a:lnTo>
                    <a:lnTo>
                      <a:pt x="1346" y="95"/>
                    </a:lnTo>
                    <a:lnTo>
                      <a:pt x="1345" y="95"/>
                    </a:lnTo>
                    <a:lnTo>
                      <a:pt x="1345" y="97"/>
                    </a:lnTo>
                    <a:lnTo>
                      <a:pt x="1343" y="97"/>
                    </a:lnTo>
                    <a:lnTo>
                      <a:pt x="1342" y="97"/>
                    </a:lnTo>
                    <a:lnTo>
                      <a:pt x="1342" y="98"/>
                    </a:lnTo>
                    <a:lnTo>
                      <a:pt x="1340" y="98"/>
                    </a:lnTo>
                    <a:lnTo>
                      <a:pt x="1338" y="97"/>
                    </a:lnTo>
                    <a:lnTo>
                      <a:pt x="1337" y="97"/>
                    </a:lnTo>
                    <a:lnTo>
                      <a:pt x="1335" y="97"/>
                    </a:lnTo>
                    <a:lnTo>
                      <a:pt x="1335" y="98"/>
                    </a:lnTo>
                    <a:lnTo>
                      <a:pt x="1334" y="98"/>
                    </a:lnTo>
                    <a:lnTo>
                      <a:pt x="1332" y="98"/>
                    </a:lnTo>
                    <a:lnTo>
                      <a:pt x="1331" y="98"/>
                    </a:lnTo>
                    <a:lnTo>
                      <a:pt x="1331" y="97"/>
                    </a:lnTo>
                    <a:lnTo>
                      <a:pt x="1329" y="97"/>
                    </a:lnTo>
                    <a:lnTo>
                      <a:pt x="1329" y="98"/>
                    </a:lnTo>
                    <a:lnTo>
                      <a:pt x="1327" y="98"/>
                    </a:lnTo>
                    <a:lnTo>
                      <a:pt x="1327" y="97"/>
                    </a:lnTo>
                    <a:lnTo>
                      <a:pt x="1326" y="97"/>
                    </a:lnTo>
                    <a:lnTo>
                      <a:pt x="1324" y="97"/>
                    </a:lnTo>
                    <a:lnTo>
                      <a:pt x="1324" y="95"/>
                    </a:lnTo>
                    <a:lnTo>
                      <a:pt x="1323" y="95"/>
                    </a:lnTo>
                    <a:lnTo>
                      <a:pt x="1323" y="97"/>
                    </a:lnTo>
                    <a:lnTo>
                      <a:pt x="1323" y="98"/>
                    </a:lnTo>
                    <a:lnTo>
                      <a:pt x="1323" y="100"/>
                    </a:lnTo>
                    <a:lnTo>
                      <a:pt x="1323" y="101"/>
                    </a:lnTo>
                    <a:lnTo>
                      <a:pt x="1323" y="103"/>
                    </a:lnTo>
                    <a:lnTo>
                      <a:pt x="1323" y="104"/>
                    </a:lnTo>
                    <a:lnTo>
                      <a:pt x="1324" y="104"/>
                    </a:lnTo>
                    <a:lnTo>
                      <a:pt x="1324" y="106"/>
                    </a:lnTo>
                    <a:lnTo>
                      <a:pt x="1326" y="106"/>
                    </a:lnTo>
                    <a:lnTo>
                      <a:pt x="1326" y="108"/>
                    </a:lnTo>
                    <a:lnTo>
                      <a:pt x="1327" y="108"/>
                    </a:lnTo>
                    <a:lnTo>
                      <a:pt x="1329" y="109"/>
                    </a:lnTo>
                    <a:lnTo>
                      <a:pt x="1331" y="109"/>
                    </a:lnTo>
                    <a:lnTo>
                      <a:pt x="1331" y="111"/>
                    </a:lnTo>
                    <a:lnTo>
                      <a:pt x="1332" y="111"/>
                    </a:lnTo>
                    <a:lnTo>
                      <a:pt x="1334" y="111"/>
                    </a:lnTo>
                    <a:lnTo>
                      <a:pt x="1335" y="112"/>
                    </a:lnTo>
                    <a:lnTo>
                      <a:pt x="1335" y="111"/>
                    </a:lnTo>
                    <a:lnTo>
                      <a:pt x="1335" y="112"/>
                    </a:lnTo>
                    <a:lnTo>
                      <a:pt x="1337" y="112"/>
                    </a:lnTo>
                    <a:lnTo>
                      <a:pt x="1337" y="114"/>
                    </a:lnTo>
                    <a:lnTo>
                      <a:pt x="1338" y="114"/>
                    </a:lnTo>
                    <a:lnTo>
                      <a:pt x="1340" y="114"/>
                    </a:lnTo>
                    <a:lnTo>
                      <a:pt x="1342" y="116"/>
                    </a:lnTo>
                    <a:lnTo>
                      <a:pt x="1343" y="116"/>
                    </a:lnTo>
                    <a:lnTo>
                      <a:pt x="1343" y="114"/>
                    </a:lnTo>
                    <a:lnTo>
                      <a:pt x="1345" y="114"/>
                    </a:lnTo>
                    <a:lnTo>
                      <a:pt x="1345" y="116"/>
                    </a:lnTo>
                    <a:lnTo>
                      <a:pt x="1346" y="116"/>
                    </a:lnTo>
                    <a:lnTo>
                      <a:pt x="1346" y="117"/>
                    </a:lnTo>
                    <a:lnTo>
                      <a:pt x="1348" y="117"/>
                    </a:lnTo>
                    <a:lnTo>
                      <a:pt x="1350" y="117"/>
                    </a:lnTo>
                    <a:lnTo>
                      <a:pt x="1351" y="119"/>
                    </a:lnTo>
                    <a:lnTo>
                      <a:pt x="1353" y="119"/>
                    </a:lnTo>
                    <a:lnTo>
                      <a:pt x="1354" y="119"/>
                    </a:lnTo>
                    <a:lnTo>
                      <a:pt x="1356" y="120"/>
                    </a:lnTo>
                    <a:lnTo>
                      <a:pt x="1356" y="119"/>
                    </a:lnTo>
                    <a:lnTo>
                      <a:pt x="1357" y="119"/>
                    </a:lnTo>
                    <a:lnTo>
                      <a:pt x="1357" y="117"/>
                    </a:lnTo>
                    <a:lnTo>
                      <a:pt x="1357" y="119"/>
                    </a:lnTo>
                    <a:lnTo>
                      <a:pt x="1359" y="119"/>
                    </a:lnTo>
                    <a:lnTo>
                      <a:pt x="1359" y="120"/>
                    </a:lnTo>
                    <a:lnTo>
                      <a:pt x="1361" y="120"/>
                    </a:lnTo>
                    <a:lnTo>
                      <a:pt x="1361" y="122"/>
                    </a:lnTo>
                    <a:lnTo>
                      <a:pt x="1362" y="122"/>
                    </a:lnTo>
                    <a:lnTo>
                      <a:pt x="1362" y="123"/>
                    </a:lnTo>
                    <a:lnTo>
                      <a:pt x="1364" y="123"/>
                    </a:lnTo>
                    <a:lnTo>
                      <a:pt x="1364" y="125"/>
                    </a:lnTo>
                    <a:lnTo>
                      <a:pt x="1364" y="127"/>
                    </a:lnTo>
                    <a:lnTo>
                      <a:pt x="1364" y="128"/>
                    </a:lnTo>
                    <a:lnTo>
                      <a:pt x="1364" y="130"/>
                    </a:lnTo>
                    <a:lnTo>
                      <a:pt x="1362" y="130"/>
                    </a:lnTo>
                    <a:lnTo>
                      <a:pt x="1362" y="131"/>
                    </a:lnTo>
                    <a:lnTo>
                      <a:pt x="1362" y="133"/>
                    </a:lnTo>
                    <a:lnTo>
                      <a:pt x="1364" y="135"/>
                    </a:lnTo>
                    <a:lnTo>
                      <a:pt x="1364" y="136"/>
                    </a:lnTo>
                    <a:lnTo>
                      <a:pt x="1364" y="138"/>
                    </a:lnTo>
                    <a:lnTo>
                      <a:pt x="1364" y="139"/>
                    </a:lnTo>
                    <a:lnTo>
                      <a:pt x="1364" y="141"/>
                    </a:lnTo>
                    <a:lnTo>
                      <a:pt x="1364" y="142"/>
                    </a:lnTo>
                    <a:lnTo>
                      <a:pt x="1364" y="144"/>
                    </a:lnTo>
                    <a:lnTo>
                      <a:pt x="1362" y="146"/>
                    </a:lnTo>
                    <a:lnTo>
                      <a:pt x="1361" y="146"/>
                    </a:lnTo>
                    <a:lnTo>
                      <a:pt x="1361" y="147"/>
                    </a:lnTo>
                    <a:lnTo>
                      <a:pt x="1361" y="149"/>
                    </a:lnTo>
                    <a:lnTo>
                      <a:pt x="1362" y="149"/>
                    </a:lnTo>
                    <a:lnTo>
                      <a:pt x="1362" y="150"/>
                    </a:lnTo>
                    <a:lnTo>
                      <a:pt x="1364" y="150"/>
                    </a:lnTo>
                    <a:lnTo>
                      <a:pt x="1364" y="152"/>
                    </a:lnTo>
                    <a:lnTo>
                      <a:pt x="1364" y="154"/>
                    </a:lnTo>
                    <a:lnTo>
                      <a:pt x="1365" y="154"/>
                    </a:lnTo>
                    <a:lnTo>
                      <a:pt x="1365" y="152"/>
                    </a:lnTo>
                    <a:lnTo>
                      <a:pt x="1365" y="155"/>
                    </a:lnTo>
                    <a:lnTo>
                      <a:pt x="1365" y="157"/>
                    </a:lnTo>
                    <a:lnTo>
                      <a:pt x="1365" y="158"/>
                    </a:lnTo>
                    <a:lnTo>
                      <a:pt x="1365" y="160"/>
                    </a:lnTo>
                    <a:lnTo>
                      <a:pt x="1365" y="161"/>
                    </a:lnTo>
                    <a:lnTo>
                      <a:pt x="1365" y="163"/>
                    </a:lnTo>
                    <a:lnTo>
                      <a:pt x="1367" y="165"/>
                    </a:lnTo>
                    <a:lnTo>
                      <a:pt x="1365" y="165"/>
                    </a:lnTo>
                    <a:lnTo>
                      <a:pt x="1365" y="166"/>
                    </a:lnTo>
                    <a:lnTo>
                      <a:pt x="1367" y="166"/>
                    </a:lnTo>
                    <a:lnTo>
                      <a:pt x="1367" y="168"/>
                    </a:lnTo>
                    <a:lnTo>
                      <a:pt x="1367" y="169"/>
                    </a:lnTo>
                    <a:lnTo>
                      <a:pt x="1369" y="169"/>
                    </a:lnTo>
                    <a:lnTo>
                      <a:pt x="1369" y="171"/>
                    </a:lnTo>
                    <a:lnTo>
                      <a:pt x="1369" y="173"/>
                    </a:lnTo>
                    <a:lnTo>
                      <a:pt x="1370" y="173"/>
                    </a:lnTo>
                    <a:lnTo>
                      <a:pt x="1370" y="174"/>
                    </a:lnTo>
                    <a:lnTo>
                      <a:pt x="1370" y="176"/>
                    </a:lnTo>
                    <a:lnTo>
                      <a:pt x="1370" y="177"/>
                    </a:lnTo>
                    <a:lnTo>
                      <a:pt x="1372" y="177"/>
                    </a:lnTo>
                    <a:lnTo>
                      <a:pt x="1372" y="179"/>
                    </a:lnTo>
                    <a:lnTo>
                      <a:pt x="1372" y="180"/>
                    </a:lnTo>
                    <a:lnTo>
                      <a:pt x="1373" y="180"/>
                    </a:lnTo>
                    <a:lnTo>
                      <a:pt x="1373" y="182"/>
                    </a:lnTo>
                    <a:lnTo>
                      <a:pt x="1373" y="180"/>
                    </a:lnTo>
                    <a:lnTo>
                      <a:pt x="1373" y="182"/>
                    </a:lnTo>
                    <a:lnTo>
                      <a:pt x="1375" y="182"/>
                    </a:lnTo>
                    <a:lnTo>
                      <a:pt x="1375" y="184"/>
                    </a:lnTo>
                    <a:lnTo>
                      <a:pt x="1376" y="184"/>
                    </a:lnTo>
                    <a:lnTo>
                      <a:pt x="1376" y="185"/>
                    </a:lnTo>
                    <a:lnTo>
                      <a:pt x="1378" y="185"/>
                    </a:lnTo>
                    <a:lnTo>
                      <a:pt x="1380" y="185"/>
                    </a:lnTo>
                    <a:lnTo>
                      <a:pt x="1380" y="187"/>
                    </a:lnTo>
                    <a:lnTo>
                      <a:pt x="1381" y="187"/>
                    </a:lnTo>
                    <a:lnTo>
                      <a:pt x="1381" y="188"/>
                    </a:lnTo>
                    <a:lnTo>
                      <a:pt x="1383" y="188"/>
                    </a:lnTo>
                    <a:lnTo>
                      <a:pt x="1383" y="190"/>
                    </a:lnTo>
                    <a:lnTo>
                      <a:pt x="1383" y="192"/>
                    </a:lnTo>
                    <a:lnTo>
                      <a:pt x="1384" y="192"/>
                    </a:lnTo>
                    <a:lnTo>
                      <a:pt x="1386" y="192"/>
                    </a:lnTo>
                    <a:lnTo>
                      <a:pt x="1386" y="193"/>
                    </a:lnTo>
                    <a:lnTo>
                      <a:pt x="1388" y="193"/>
                    </a:lnTo>
                    <a:lnTo>
                      <a:pt x="1388" y="195"/>
                    </a:lnTo>
                    <a:lnTo>
                      <a:pt x="1389" y="195"/>
                    </a:lnTo>
                    <a:lnTo>
                      <a:pt x="1391" y="195"/>
                    </a:lnTo>
                    <a:lnTo>
                      <a:pt x="1391" y="196"/>
                    </a:lnTo>
                    <a:lnTo>
                      <a:pt x="1392" y="196"/>
                    </a:lnTo>
                    <a:lnTo>
                      <a:pt x="1392" y="198"/>
                    </a:lnTo>
                    <a:lnTo>
                      <a:pt x="1394" y="198"/>
                    </a:lnTo>
                    <a:lnTo>
                      <a:pt x="1395" y="198"/>
                    </a:lnTo>
                    <a:lnTo>
                      <a:pt x="1397" y="198"/>
                    </a:lnTo>
                    <a:lnTo>
                      <a:pt x="1399" y="196"/>
                    </a:lnTo>
                    <a:lnTo>
                      <a:pt x="1399" y="195"/>
                    </a:lnTo>
                    <a:lnTo>
                      <a:pt x="1400" y="195"/>
                    </a:lnTo>
                    <a:lnTo>
                      <a:pt x="1400" y="193"/>
                    </a:lnTo>
                    <a:lnTo>
                      <a:pt x="1402" y="193"/>
                    </a:lnTo>
                    <a:lnTo>
                      <a:pt x="1402" y="192"/>
                    </a:lnTo>
                    <a:lnTo>
                      <a:pt x="1403" y="192"/>
                    </a:lnTo>
                    <a:lnTo>
                      <a:pt x="1403" y="193"/>
                    </a:lnTo>
                    <a:lnTo>
                      <a:pt x="1405" y="193"/>
                    </a:lnTo>
                    <a:lnTo>
                      <a:pt x="1405" y="195"/>
                    </a:lnTo>
                    <a:lnTo>
                      <a:pt x="1407" y="195"/>
                    </a:lnTo>
                    <a:lnTo>
                      <a:pt x="1407" y="196"/>
                    </a:lnTo>
                    <a:lnTo>
                      <a:pt x="1408" y="196"/>
                    </a:lnTo>
                    <a:lnTo>
                      <a:pt x="1410" y="198"/>
                    </a:lnTo>
                    <a:lnTo>
                      <a:pt x="1411" y="196"/>
                    </a:lnTo>
                    <a:lnTo>
                      <a:pt x="1410" y="196"/>
                    </a:lnTo>
                    <a:lnTo>
                      <a:pt x="1410" y="195"/>
                    </a:lnTo>
                    <a:lnTo>
                      <a:pt x="1410" y="193"/>
                    </a:lnTo>
                    <a:lnTo>
                      <a:pt x="1408" y="193"/>
                    </a:lnTo>
                    <a:lnTo>
                      <a:pt x="1408" y="192"/>
                    </a:lnTo>
                    <a:lnTo>
                      <a:pt x="1408" y="190"/>
                    </a:lnTo>
                    <a:lnTo>
                      <a:pt x="1408" y="188"/>
                    </a:lnTo>
                    <a:lnTo>
                      <a:pt x="1410" y="188"/>
                    </a:lnTo>
                    <a:lnTo>
                      <a:pt x="1410" y="187"/>
                    </a:lnTo>
                    <a:lnTo>
                      <a:pt x="1411" y="187"/>
                    </a:lnTo>
                    <a:lnTo>
                      <a:pt x="1411" y="185"/>
                    </a:lnTo>
                    <a:lnTo>
                      <a:pt x="1413" y="185"/>
                    </a:lnTo>
                    <a:lnTo>
                      <a:pt x="1413" y="184"/>
                    </a:lnTo>
                    <a:lnTo>
                      <a:pt x="1414" y="182"/>
                    </a:lnTo>
                    <a:lnTo>
                      <a:pt x="1416" y="184"/>
                    </a:lnTo>
                    <a:lnTo>
                      <a:pt x="1416" y="185"/>
                    </a:lnTo>
                    <a:lnTo>
                      <a:pt x="1418" y="185"/>
                    </a:lnTo>
                    <a:lnTo>
                      <a:pt x="1418" y="187"/>
                    </a:lnTo>
                    <a:lnTo>
                      <a:pt x="1419" y="187"/>
                    </a:lnTo>
                    <a:lnTo>
                      <a:pt x="1421" y="187"/>
                    </a:lnTo>
                    <a:lnTo>
                      <a:pt x="1422" y="187"/>
                    </a:lnTo>
                    <a:lnTo>
                      <a:pt x="1422" y="188"/>
                    </a:lnTo>
                    <a:lnTo>
                      <a:pt x="1424" y="188"/>
                    </a:lnTo>
                    <a:lnTo>
                      <a:pt x="1424" y="190"/>
                    </a:lnTo>
                    <a:lnTo>
                      <a:pt x="1426" y="190"/>
                    </a:lnTo>
                    <a:lnTo>
                      <a:pt x="1424" y="190"/>
                    </a:lnTo>
                    <a:lnTo>
                      <a:pt x="1424" y="192"/>
                    </a:lnTo>
                    <a:lnTo>
                      <a:pt x="1426" y="192"/>
                    </a:lnTo>
                    <a:lnTo>
                      <a:pt x="1426" y="193"/>
                    </a:lnTo>
                    <a:lnTo>
                      <a:pt x="1426" y="195"/>
                    </a:lnTo>
                    <a:lnTo>
                      <a:pt x="1426" y="196"/>
                    </a:lnTo>
                    <a:lnTo>
                      <a:pt x="1427" y="198"/>
                    </a:lnTo>
                    <a:lnTo>
                      <a:pt x="1429" y="198"/>
                    </a:lnTo>
                    <a:lnTo>
                      <a:pt x="1429" y="199"/>
                    </a:lnTo>
                    <a:lnTo>
                      <a:pt x="1430" y="199"/>
                    </a:lnTo>
                    <a:lnTo>
                      <a:pt x="1432" y="199"/>
                    </a:lnTo>
                    <a:lnTo>
                      <a:pt x="1432" y="201"/>
                    </a:lnTo>
                    <a:lnTo>
                      <a:pt x="1433" y="201"/>
                    </a:lnTo>
                    <a:lnTo>
                      <a:pt x="1435" y="201"/>
                    </a:lnTo>
                    <a:lnTo>
                      <a:pt x="1437" y="201"/>
                    </a:lnTo>
                    <a:lnTo>
                      <a:pt x="1438" y="201"/>
                    </a:lnTo>
                    <a:lnTo>
                      <a:pt x="1438" y="203"/>
                    </a:lnTo>
                    <a:lnTo>
                      <a:pt x="1440" y="203"/>
                    </a:lnTo>
                    <a:lnTo>
                      <a:pt x="1441" y="203"/>
                    </a:lnTo>
                    <a:lnTo>
                      <a:pt x="1443" y="203"/>
                    </a:lnTo>
                    <a:lnTo>
                      <a:pt x="1445" y="203"/>
                    </a:lnTo>
                    <a:lnTo>
                      <a:pt x="1445" y="204"/>
                    </a:lnTo>
                    <a:lnTo>
                      <a:pt x="1445" y="206"/>
                    </a:lnTo>
                    <a:lnTo>
                      <a:pt x="1445" y="207"/>
                    </a:lnTo>
                    <a:lnTo>
                      <a:pt x="1443" y="207"/>
                    </a:lnTo>
                    <a:lnTo>
                      <a:pt x="1443" y="209"/>
                    </a:lnTo>
                    <a:lnTo>
                      <a:pt x="1445" y="209"/>
                    </a:lnTo>
                    <a:lnTo>
                      <a:pt x="1443" y="209"/>
                    </a:lnTo>
                    <a:lnTo>
                      <a:pt x="1443" y="211"/>
                    </a:lnTo>
                    <a:lnTo>
                      <a:pt x="1443" y="212"/>
                    </a:lnTo>
                    <a:lnTo>
                      <a:pt x="1445" y="212"/>
                    </a:lnTo>
                    <a:lnTo>
                      <a:pt x="1445" y="214"/>
                    </a:lnTo>
                    <a:lnTo>
                      <a:pt x="1445" y="215"/>
                    </a:lnTo>
                    <a:lnTo>
                      <a:pt x="1443" y="215"/>
                    </a:lnTo>
                    <a:lnTo>
                      <a:pt x="1443" y="217"/>
                    </a:lnTo>
                    <a:lnTo>
                      <a:pt x="1441" y="217"/>
                    </a:lnTo>
                    <a:lnTo>
                      <a:pt x="1440" y="217"/>
                    </a:lnTo>
                    <a:lnTo>
                      <a:pt x="1440" y="219"/>
                    </a:lnTo>
                    <a:lnTo>
                      <a:pt x="1440" y="220"/>
                    </a:lnTo>
                    <a:lnTo>
                      <a:pt x="1440" y="222"/>
                    </a:lnTo>
                    <a:lnTo>
                      <a:pt x="1438" y="222"/>
                    </a:lnTo>
                    <a:lnTo>
                      <a:pt x="1438" y="223"/>
                    </a:lnTo>
                    <a:lnTo>
                      <a:pt x="1437" y="223"/>
                    </a:lnTo>
                    <a:lnTo>
                      <a:pt x="1435" y="223"/>
                    </a:lnTo>
                    <a:lnTo>
                      <a:pt x="1435" y="225"/>
                    </a:lnTo>
                    <a:lnTo>
                      <a:pt x="1435" y="226"/>
                    </a:lnTo>
                    <a:lnTo>
                      <a:pt x="1437" y="226"/>
                    </a:lnTo>
                    <a:lnTo>
                      <a:pt x="1437" y="228"/>
                    </a:lnTo>
                    <a:lnTo>
                      <a:pt x="1438" y="228"/>
                    </a:lnTo>
                    <a:lnTo>
                      <a:pt x="1440" y="228"/>
                    </a:lnTo>
                    <a:lnTo>
                      <a:pt x="1441" y="228"/>
                    </a:lnTo>
                    <a:lnTo>
                      <a:pt x="1441" y="230"/>
                    </a:lnTo>
                    <a:lnTo>
                      <a:pt x="1443" y="230"/>
                    </a:lnTo>
                    <a:lnTo>
                      <a:pt x="1443" y="231"/>
                    </a:lnTo>
                    <a:lnTo>
                      <a:pt x="1441" y="233"/>
                    </a:lnTo>
                    <a:lnTo>
                      <a:pt x="1441" y="234"/>
                    </a:lnTo>
                    <a:lnTo>
                      <a:pt x="1440" y="234"/>
                    </a:lnTo>
                    <a:lnTo>
                      <a:pt x="1440" y="236"/>
                    </a:lnTo>
                    <a:lnTo>
                      <a:pt x="1440" y="238"/>
                    </a:lnTo>
                    <a:lnTo>
                      <a:pt x="1440" y="239"/>
                    </a:lnTo>
                    <a:lnTo>
                      <a:pt x="1441" y="239"/>
                    </a:lnTo>
                    <a:lnTo>
                      <a:pt x="1443" y="239"/>
                    </a:lnTo>
                    <a:lnTo>
                      <a:pt x="1443" y="241"/>
                    </a:lnTo>
                    <a:lnTo>
                      <a:pt x="1445" y="241"/>
                    </a:lnTo>
                    <a:lnTo>
                      <a:pt x="1445" y="242"/>
                    </a:lnTo>
                    <a:lnTo>
                      <a:pt x="1446" y="242"/>
                    </a:lnTo>
                    <a:lnTo>
                      <a:pt x="1448" y="242"/>
                    </a:lnTo>
                    <a:lnTo>
                      <a:pt x="1449" y="242"/>
                    </a:lnTo>
                    <a:lnTo>
                      <a:pt x="1449" y="241"/>
                    </a:lnTo>
                    <a:lnTo>
                      <a:pt x="1449" y="239"/>
                    </a:lnTo>
                    <a:lnTo>
                      <a:pt x="1451" y="239"/>
                    </a:lnTo>
                    <a:lnTo>
                      <a:pt x="1451" y="241"/>
                    </a:lnTo>
                    <a:lnTo>
                      <a:pt x="1452" y="241"/>
                    </a:lnTo>
                    <a:lnTo>
                      <a:pt x="1452" y="239"/>
                    </a:lnTo>
                    <a:lnTo>
                      <a:pt x="1454" y="239"/>
                    </a:lnTo>
                    <a:lnTo>
                      <a:pt x="1454" y="238"/>
                    </a:lnTo>
                    <a:lnTo>
                      <a:pt x="1456" y="238"/>
                    </a:lnTo>
                    <a:lnTo>
                      <a:pt x="1456" y="239"/>
                    </a:lnTo>
                    <a:lnTo>
                      <a:pt x="1457" y="239"/>
                    </a:lnTo>
                    <a:lnTo>
                      <a:pt x="1457" y="241"/>
                    </a:lnTo>
                    <a:lnTo>
                      <a:pt x="1459" y="241"/>
                    </a:lnTo>
                    <a:lnTo>
                      <a:pt x="1459" y="242"/>
                    </a:lnTo>
                    <a:lnTo>
                      <a:pt x="1460" y="242"/>
                    </a:lnTo>
                    <a:lnTo>
                      <a:pt x="1462" y="242"/>
                    </a:lnTo>
                    <a:lnTo>
                      <a:pt x="1464" y="242"/>
                    </a:lnTo>
                    <a:lnTo>
                      <a:pt x="1464" y="241"/>
                    </a:lnTo>
                    <a:lnTo>
                      <a:pt x="1464" y="239"/>
                    </a:lnTo>
                    <a:lnTo>
                      <a:pt x="1464" y="238"/>
                    </a:lnTo>
                    <a:lnTo>
                      <a:pt x="1464" y="236"/>
                    </a:lnTo>
                    <a:lnTo>
                      <a:pt x="1464" y="234"/>
                    </a:lnTo>
                    <a:lnTo>
                      <a:pt x="1465" y="234"/>
                    </a:lnTo>
                    <a:lnTo>
                      <a:pt x="1467" y="234"/>
                    </a:lnTo>
                    <a:lnTo>
                      <a:pt x="1468" y="234"/>
                    </a:lnTo>
                    <a:lnTo>
                      <a:pt x="1470" y="234"/>
                    </a:lnTo>
                    <a:lnTo>
                      <a:pt x="1470" y="233"/>
                    </a:lnTo>
                    <a:lnTo>
                      <a:pt x="1471" y="233"/>
                    </a:lnTo>
                    <a:lnTo>
                      <a:pt x="1470" y="233"/>
                    </a:lnTo>
                    <a:lnTo>
                      <a:pt x="1470" y="231"/>
                    </a:lnTo>
                    <a:lnTo>
                      <a:pt x="1470" y="230"/>
                    </a:lnTo>
                    <a:lnTo>
                      <a:pt x="1471" y="230"/>
                    </a:lnTo>
                    <a:lnTo>
                      <a:pt x="1473" y="230"/>
                    </a:lnTo>
                    <a:lnTo>
                      <a:pt x="1473" y="228"/>
                    </a:lnTo>
                    <a:lnTo>
                      <a:pt x="1475" y="226"/>
                    </a:lnTo>
                    <a:lnTo>
                      <a:pt x="1475" y="228"/>
                    </a:lnTo>
                    <a:lnTo>
                      <a:pt x="1475" y="226"/>
                    </a:lnTo>
                    <a:lnTo>
                      <a:pt x="1476" y="226"/>
                    </a:lnTo>
                    <a:lnTo>
                      <a:pt x="1475" y="225"/>
                    </a:lnTo>
                    <a:lnTo>
                      <a:pt x="1475" y="223"/>
                    </a:lnTo>
                    <a:lnTo>
                      <a:pt x="1476" y="223"/>
                    </a:lnTo>
                    <a:lnTo>
                      <a:pt x="1476" y="222"/>
                    </a:lnTo>
                    <a:lnTo>
                      <a:pt x="1478" y="222"/>
                    </a:lnTo>
                    <a:lnTo>
                      <a:pt x="1479" y="222"/>
                    </a:lnTo>
                    <a:lnTo>
                      <a:pt x="1481" y="222"/>
                    </a:lnTo>
                    <a:lnTo>
                      <a:pt x="1481" y="220"/>
                    </a:lnTo>
                    <a:lnTo>
                      <a:pt x="1481" y="219"/>
                    </a:lnTo>
                    <a:lnTo>
                      <a:pt x="1483" y="219"/>
                    </a:lnTo>
                    <a:lnTo>
                      <a:pt x="1483" y="217"/>
                    </a:lnTo>
                    <a:lnTo>
                      <a:pt x="1483" y="215"/>
                    </a:lnTo>
                    <a:lnTo>
                      <a:pt x="1484" y="215"/>
                    </a:lnTo>
                    <a:lnTo>
                      <a:pt x="1484" y="214"/>
                    </a:lnTo>
                    <a:lnTo>
                      <a:pt x="1484" y="212"/>
                    </a:lnTo>
                    <a:lnTo>
                      <a:pt x="1486" y="212"/>
                    </a:lnTo>
                    <a:lnTo>
                      <a:pt x="1486" y="211"/>
                    </a:lnTo>
                    <a:lnTo>
                      <a:pt x="1486" y="209"/>
                    </a:lnTo>
                    <a:lnTo>
                      <a:pt x="1484" y="209"/>
                    </a:lnTo>
                    <a:lnTo>
                      <a:pt x="1484" y="207"/>
                    </a:lnTo>
                    <a:lnTo>
                      <a:pt x="1483" y="207"/>
                    </a:lnTo>
                    <a:lnTo>
                      <a:pt x="1484" y="207"/>
                    </a:lnTo>
                    <a:lnTo>
                      <a:pt x="1486" y="207"/>
                    </a:lnTo>
                    <a:lnTo>
                      <a:pt x="1486" y="206"/>
                    </a:lnTo>
                    <a:lnTo>
                      <a:pt x="1487" y="207"/>
                    </a:lnTo>
                    <a:lnTo>
                      <a:pt x="1487" y="206"/>
                    </a:lnTo>
                    <a:lnTo>
                      <a:pt x="1487" y="204"/>
                    </a:lnTo>
                    <a:lnTo>
                      <a:pt x="1487" y="203"/>
                    </a:lnTo>
                    <a:lnTo>
                      <a:pt x="1489" y="203"/>
                    </a:lnTo>
                    <a:lnTo>
                      <a:pt x="1489" y="201"/>
                    </a:lnTo>
                    <a:lnTo>
                      <a:pt x="1491" y="201"/>
                    </a:lnTo>
                    <a:lnTo>
                      <a:pt x="1491" y="199"/>
                    </a:lnTo>
                    <a:lnTo>
                      <a:pt x="1492" y="199"/>
                    </a:lnTo>
                    <a:lnTo>
                      <a:pt x="1494" y="199"/>
                    </a:lnTo>
                    <a:lnTo>
                      <a:pt x="1495" y="199"/>
                    </a:lnTo>
                    <a:lnTo>
                      <a:pt x="1495" y="198"/>
                    </a:lnTo>
                    <a:lnTo>
                      <a:pt x="1495" y="196"/>
                    </a:lnTo>
                    <a:lnTo>
                      <a:pt x="1497" y="195"/>
                    </a:lnTo>
                    <a:lnTo>
                      <a:pt x="1497" y="193"/>
                    </a:lnTo>
                    <a:lnTo>
                      <a:pt x="1497" y="192"/>
                    </a:lnTo>
                    <a:lnTo>
                      <a:pt x="1498" y="192"/>
                    </a:lnTo>
                    <a:lnTo>
                      <a:pt x="1498" y="190"/>
                    </a:lnTo>
                    <a:lnTo>
                      <a:pt x="1500" y="188"/>
                    </a:lnTo>
                    <a:lnTo>
                      <a:pt x="1502" y="190"/>
                    </a:lnTo>
                    <a:lnTo>
                      <a:pt x="1503" y="190"/>
                    </a:lnTo>
                    <a:lnTo>
                      <a:pt x="1503" y="192"/>
                    </a:lnTo>
                    <a:lnTo>
                      <a:pt x="1505" y="192"/>
                    </a:lnTo>
                    <a:lnTo>
                      <a:pt x="1506" y="190"/>
                    </a:lnTo>
                    <a:lnTo>
                      <a:pt x="1506" y="188"/>
                    </a:lnTo>
                    <a:lnTo>
                      <a:pt x="1506" y="187"/>
                    </a:lnTo>
                    <a:lnTo>
                      <a:pt x="1508" y="187"/>
                    </a:lnTo>
                    <a:lnTo>
                      <a:pt x="1508" y="185"/>
                    </a:lnTo>
                    <a:lnTo>
                      <a:pt x="1510" y="185"/>
                    </a:lnTo>
                    <a:lnTo>
                      <a:pt x="1510" y="184"/>
                    </a:lnTo>
                    <a:lnTo>
                      <a:pt x="1511" y="184"/>
                    </a:lnTo>
                    <a:lnTo>
                      <a:pt x="1513" y="184"/>
                    </a:lnTo>
                    <a:lnTo>
                      <a:pt x="1513" y="182"/>
                    </a:lnTo>
                    <a:lnTo>
                      <a:pt x="1514" y="182"/>
                    </a:lnTo>
                    <a:lnTo>
                      <a:pt x="1514" y="180"/>
                    </a:lnTo>
                    <a:lnTo>
                      <a:pt x="1516" y="180"/>
                    </a:lnTo>
                    <a:lnTo>
                      <a:pt x="1517" y="182"/>
                    </a:lnTo>
                    <a:lnTo>
                      <a:pt x="1525" y="182"/>
                    </a:lnTo>
                    <a:lnTo>
                      <a:pt x="1525" y="180"/>
                    </a:lnTo>
                    <a:lnTo>
                      <a:pt x="1525" y="179"/>
                    </a:lnTo>
                    <a:lnTo>
                      <a:pt x="1527" y="179"/>
                    </a:lnTo>
                    <a:lnTo>
                      <a:pt x="1527" y="177"/>
                    </a:lnTo>
                    <a:lnTo>
                      <a:pt x="1525" y="177"/>
                    </a:lnTo>
                    <a:lnTo>
                      <a:pt x="1524" y="177"/>
                    </a:lnTo>
                    <a:lnTo>
                      <a:pt x="1522" y="177"/>
                    </a:lnTo>
                    <a:lnTo>
                      <a:pt x="1521" y="177"/>
                    </a:lnTo>
                    <a:lnTo>
                      <a:pt x="1521" y="176"/>
                    </a:lnTo>
                    <a:lnTo>
                      <a:pt x="1522" y="174"/>
                    </a:lnTo>
                    <a:lnTo>
                      <a:pt x="1524" y="174"/>
                    </a:lnTo>
                    <a:lnTo>
                      <a:pt x="1524" y="176"/>
                    </a:lnTo>
                    <a:lnTo>
                      <a:pt x="1525" y="176"/>
                    </a:lnTo>
                    <a:lnTo>
                      <a:pt x="1525" y="174"/>
                    </a:lnTo>
                    <a:lnTo>
                      <a:pt x="1527" y="174"/>
                    </a:lnTo>
                    <a:lnTo>
                      <a:pt x="1529" y="174"/>
                    </a:lnTo>
                    <a:lnTo>
                      <a:pt x="1530" y="173"/>
                    </a:lnTo>
                    <a:lnTo>
                      <a:pt x="1532" y="173"/>
                    </a:lnTo>
                    <a:lnTo>
                      <a:pt x="1533" y="173"/>
                    </a:lnTo>
                    <a:lnTo>
                      <a:pt x="1535" y="174"/>
                    </a:lnTo>
                    <a:lnTo>
                      <a:pt x="1536" y="176"/>
                    </a:lnTo>
                    <a:lnTo>
                      <a:pt x="1536" y="177"/>
                    </a:lnTo>
                    <a:lnTo>
                      <a:pt x="1538" y="177"/>
                    </a:lnTo>
                    <a:lnTo>
                      <a:pt x="1536" y="179"/>
                    </a:lnTo>
                    <a:lnTo>
                      <a:pt x="1536" y="180"/>
                    </a:lnTo>
                    <a:lnTo>
                      <a:pt x="1538" y="180"/>
                    </a:lnTo>
                    <a:lnTo>
                      <a:pt x="1538" y="182"/>
                    </a:lnTo>
                    <a:lnTo>
                      <a:pt x="1538" y="184"/>
                    </a:lnTo>
                    <a:lnTo>
                      <a:pt x="1540" y="184"/>
                    </a:lnTo>
                    <a:lnTo>
                      <a:pt x="1540" y="185"/>
                    </a:lnTo>
                    <a:lnTo>
                      <a:pt x="1540" y="187"/>
                    </a:lnTo>
                    <a:lnTo>
                      <a:pt x="1541" y="187"/>
                    </a:lnTo>
                    <a:lnTo>
                      <a:pt x="1541" y="188"/>
                    </a:lnTo>
                    <a:lnTo>
                      <a:pt x="1541" y="190"/>
                    </a:lnTo>
                    <a:lnTo>
                      <a:pt x="1541" y="192"/>
                    </a:lnTo>
                    <a:lnTo>
                      <a:pt x="1541" y="193"/>
                    </a:lnTo>
                    <a:lnTo>
                      <a:pt x="1543" y="195"/>
                    </a:lnTo>
                    <a:lnTo>
                      <a:pt x="1541" y="195"/>
                    </a:lnTo>
                    <a:lnTo>
                      <a:pt x="1541" y="196"/>
                    </a:lnTo>
                    <a:lnTo>
                      <a:pt x="1540" y="196"/>
                    </a:lnTo>
                    <a:lnTo>
                      <a:pt x="1538" y="198"/>
                    </a:lnTo>
                    <a:lnTo>
                      <a:pt x="1538" y="199"/>
                    </a:lnTo>
                    <a:lnTo>
                      <a:pt x="1538" y="201"/>
                    </a:lnTo>
                    <a:lnTo>
                      <a:pt x="1536" y="201"/>
                    </a:lnTo>
                    <a:lnTo>
                      <a:pt x="1536" y="203"/>
                    </a:lnTo>
                    <a:lnTo>
                      <a:pt x="1536" y="204"/>
                    </a:lnTo>
                    <a:lnTo>
                      <a:pt x="1536" y="206"/>
                    </a:lnTo>
                    <a:lnTo>
                      <a:pt x="1536" y="207"/>
                    </a:lnTo>
                    <a:lnTo>
                      <a:pt x="1536" y="209"/>
                    </a:lnTo>
                    <a:lnTo>
                      <a:pt x="1536" y="211"/>
                    </a:lnTo>
                    <a:lnTo>
                      <a:pt x="1536" y="212"/>
                    </a:lnTo>
                    <a:lnTo>
                      <a:pt x="1536" y="214"/>
                    </a:lnTo>
                    <a:lnTo>
                      <a:pt x="1536" y="215"/>
                    </a:lnTo>
                    <a:lnTo>
                      <a:pt x="1536" y="217"/>
                    </a:lnTo>
                    <a:lnTo>
                      <a:pt x="1536" y="219"/>
                    </a:lnTo>
                    <a:lnTo>
                      <a:pt x="1535" y="219"/>
                    </a:lnTo>
                    <a:lnTo>
                      <a:pt x="1535" y="220"/>
                    </a:lnTo>
                    <a:lnTo>
                      <a:pt x="1535" y="222"/>
                    </a:lnTo>
                    <a:lnTo>
                      <a:pt x="1535" y="223"/>
                    </a:lnTo>
                    <a:lnTo>
                      <a:pt x="1535" y="225"/>
                    </a:lnTo>
                    <a:lnTo>
                      <a:pt x="1535" y="226"/>
                    </a:lnTo>
                    <a:lnTo>
                      <a:pt x="1533" y="226"/>
                    </a:lnTo>
                    <a:lnTo>
                      <a:pt x="1533" y="228"/>
                    </a:lnTo>
                    <a:lnTo>
                      <a:pt x="1533" y="230"/>
                    </a:lnTo>
                    <a:lnTo>
                      <a:pt x="1535" y="230"/>
                    </a:lnTo>
                    <a:lnTo>
                      <a:pt x="1533" y="230"/>
                    </a:lnTo>
                    <a:lnTo>
                      <a:pt x="1533" y="231"/>
                    </a:lnTo>
                    <a:lnTo>
                      <a:pt x="1532" y="231"/>
                    </a:lnTo>
                    <a:lnTo>
                      <a:pt x="1530" y="231"/>
                    </a:lnTo>
                    <a:lnTo>
                      <a:pt x="1530" y="233"/>
                    </a:lnTo>
                    <a:lnTo>
                      <a:pt x="1532" y="233"/>
                    </a:lnTo>
                    <a:lnTo>
                      <a:pt x="1530" y="234"/>
                    </a:lnTo>
                    <a:lnTo>
                      <a:pt x="1532" y="236"/>
                    </a:lnTo>
                    <a:lnTo>
                      <a:pt x="1533" y="236"/>
                    </a:lnTo>
                    <a:lnTo>
                      <a:pt x="1533" y="238"/>
                    </a:lnTo>
                    <a:lnTo>
                      <a:pt x="1532" y="238"/>
                    </a:lnTo>
                    <a:lnTo>
                      <a:pt x="1532" y="239"/>
                    </a:lnTo>
                    <a:lnTo>
                      <a:pt x="1530" y="241"/>
                    </a:lnTo>
                    <a:lnTo>
                      <a:pt x="1530" y="242"/>
                    </a:lnTo>
                    <a:lnTo>
                      <a:pt x="1529" y="242"/>
                    </a:lnTo>
                    <a:lnTo>
                      <a:pt x="1529" y="244"/>
                    </a:lnTo>
                    <a:lnTo>
                      <a:pt x="1529" y="245"/>
                    </a:lnTo>
                    <a:lnTo>
                      <a:pt x="1527" y="245"/>
                    </a:lnTo>
                    <a:lnTo>
                      <a:pt x="1525" y="245"/>
                    </a:lnTo>
                    <a:lnTo>
                      <a:pt x="1525" y="244"/>
                    </a:lnTo>
                    <a:lnTo>
                      <a:pt x="1524" y="244"/>
                    </a:lnTo>
                    <a:lnTo>
                      <a:pt x="1524" y="245"/>
                    </a:lnTo>
                    <a:lnTo>
                      <a:pt x="1522" y="245"/>
                    </a:lnTo>
                    <a:lnTo>
                      <a:pt x="1521" y="245"/>
                    </a:lnTo>
                    <a:lnTo>
                      <a:pt x="1521" y="247"/>
                    </a:lnTo>
                    <a:lnTo>
                      <a:pt x="1519" y="249"/>
                    </a:lnTo>
                    <a:lnTo>
                      <a:pt x="1519" y="250"/>
                    </a:lnTo>
                    <a:lnTo>
                      <a:pt x="1517" y="250"/>
                    </a:lnTo>
                    <a:lnTo>
                      <a:pt x="1517" y="252"/>
                    </a:lnTo>
                    <a:lnTo>
                      <a:pt x="1516" y="252"/>
                    </a:lnTo>
                    <a:lnTo>
                      <a:pt x="1514" y="252"/>
                    </a:lnTo>
                    <a:lnTo>
                      <a:pt x="1514" y="250"/>
                    </a:lnTo>
                    <a:lnTo>
                      <a:pt x="1514" y="249"/>
                    </a:lnTo>
                    <a:lnTo>
                      <a:pt x="1513" y="247"/>
                    </a:lnTo>
                    <a:lnTo>
                      <a:pt x="1513" y="249"/>
                    </a:lnTo>
                    <a:lnTo>
                      <a:pt x="1513" y="250"/>
                    </a:lnTo>
                    <a:lnTo>
                      <a:pt x="1511" y="250"/>
                    </a:lnTo>
                    <a:lnTo>
                      <a:pt x="1511" y="252"/>
                    </a:lnTo>
                    <a:lnTo>
                      <a:pt x="1510" y="252"/>
                    </a:lnTo>
                    <a:lnTo>
                      <a:pt x="1510" y="253"/>
                    </a:lnTo>
                    <a:lnTo>
                      <a:pt x="1510" y="255"/>
                    </a:lnTo>
                    <a:lnTo>
                      <a:pt x="1511" y="255"/>
                    </a:lnTo>
                    <a:lnTo>
                      <a:pt x="1511" y="257"/>
                    </a:lnTo>
                    <a:lnTo>
                      <a:pt x="1511" y="258"/>
                    </a:lnTo>
                    <a:lnTo>
                      <a:pt x="1510" y="258"/>
                    </a:lnTo>
                    <a:lnTo>
                      <a:pt x="1508" y="258"/>
                    </a:lnTo>
                    <a:lnTo>
                      <a:pt x="1508" y="260"/>
                    </a:lnTo>
                    <a:lnTo>
                      <a:pt x="1506" y="260"/>
                    </a:lnTo>
                    <a:lnTo>
                      <a:pt x="1508" y="261"/>
                    </a:lnTo>
                    <a:lnTo>
                      <a:pt x="1510" y="261"/>
                    </a:lnTo>
                    <a:lnTo>
                      <a:pt x="1510" y="263"/>
                    </a:lnTo>
                    <a:lnTo>
                      <a:pt x="1511" y="263"/>
                    </a:lnTo>
                    <a:lnTo>
                      <a:pt x="1511" y="264"/>
                    </a:lnTo>
                    <a:lnTo>
                      <a:pt x="1511" y="266"/>
                    </a:lnTo>
                    <a:lnTo>
                      <a:pt x="1511" y="268"/>
                    </a:lnTo>
                    <a:lnTo>
                      <a:pt x="1513" y="268"/>
                    </a:lnTo>
                    <a:lnTo>
                      <a:pt x="1513" y="269"/>
                    </a:lnTo>
                    <a:lnTo>
                      <a:pt x="1513" y="268"/>
                    </a:lnTo>
                    <a:lnTo>
                      <a:pt x="1514" y="268"/>
                    </a:lnTo>
                    <a:lnTo>
                      <a:pt x="1516" y="268"/>
                    </a:lnTo>
                    <a:lnTo>
                      <a:pt x="1517" y="268"/>
                    </a:lnTo>
                    <a:lnTo>
                      <a:pt x="1517" y="266"/>
                    </a:lnTo>
                    <a:lnTo>
                      <a:pt x="1519" y="266"/>
                    </a:lnTo>
                    <a:lnTo>
                      <a:pt x="1521" y="266"/>
                    </a:lnTo>
                    <a:lnTo>
                      <a:pt x="1522" y="266"/>
                    </a:lnTo>
                    <a:lnTo>
                      <a:pt x="1522" y="268"/>
                    </a:lnTo>
                    <a:lnTo>
                      <a:pt x="1524" y="268"/>
                    </a:lnTo>
                    <a:lnTo>
                      <a:pt x="1524" y="266"/>
                    </a:lnTo>
                    <a:lnTo>
                      <a:pt x="1525" y="266"/>
                    </a:lnTo>
                    <a:lnTo>
                      <a:pt x="1527" y="266"/>
                    </a:lnTo>
                    <a:lnTo>
                      <a:pt x="1529" y="266"/>
                    </a:lnTo>
                    <a:lnTo>
                      <a:pt x="1529" y="268"/>
                    </a:lnTo>
                    <a:lnTo>
                      <a:pt x="1530" y="268"/>
                    </a:lnTo>
                    <a:lnTo>
                      <a:pt x="1532" y="268"/>
                    </a:lnTo>
                    <a:lnTo>
                      <a:pt x="1532" y="269"/>
                    </a:lnTo>
                    <a:lnTo>
                      <a:pt x="1533" y="269"/>
                    </a:lnTo>
                    <a:lnTo>
                      <a:pt x="1532" y="269"/>
                    </a:lnTo>
                    <a:lnTo>
                      <a:pt x="1532" y="271"/>
                    </a:lnTo>
                    <a:lnTo>
                      <a:pt x="1530" y="271"/>
                    </a:lnTo>
                    <a:lnTo>
                      <a:pt x="1530" y="272"/>
                    </a:lnTo>
                    <a:lnTo>
                      <a:pt x="1530" y="274"/>
                    </a:lnTo>
                    <a:lnTo>
                      <a:pt x="1532" y="274"/>
                    </a:lnTo>
                    <a:lnTo>
                      <a:pt x="1533" y="274"/>
                    </a:lnTo>
                    <a:lnTo>
                      <a:pt x="1535" y="274"/>
                    </a:lnTo>
                    <a:lnTo>
                      <a:pt x="1536" y="274"/>
                    </a:lnTo>
                    <a:lnTo>
                      <a:pt x="1536" y="272"/>
                    </a:lnTo>
                    <a:lnTo>
                      <a:pt x="1536" y="271"/>
                    </a:lnTo>
                    <a:lnTo>
                      <a:pt x="1538" y="271"/>
                    </a:lnTo>
                    <a:lnTo>
                      <a:pt x="1538" y="272"/>
                    </a:lnTo>
                    <a:lnTo>
                      <a:pt x="1540" y="272"/>
                    </a:lnTo>
                    <a:lnTo>
                      <a:pt x="1541" y="274"/>
                    </a:lnTo>
                    <a:lnTo>
                      <a:pt x="1543" y="274"/>
                    </a:lnTo>
                    <a:lnTo>
                      <a:pt x="1543" y="276"/>
                    </a:lnTo>
                    <a:lnTo>
                      <a:pt x="1544" y="276"/>
                    </a:lnTo>
                    <a:lnTo>
                      <a:pt x="1546" y="277"/>
                    </a:lnTo>
                    <a:lnTo>
                      <a:pt x="1548" y="277"/>
                    </a:lnTo>
                    <a:lnTo>
                      <a:pt x="1548" y="279"/>
                    </a:lnTo>
                    <a:lnTo>
                      <a:pt x="1548" y="277"/>
                    </a:lnTo>
                    <a:lnTo>
                      <a:pt x="1549" y="279"/>
                    </a:lnTo>
                    <a:lnTo>
                      <a:pt x="1549" y="277"/>
                    </a:lnTo>
                    <a:lnTo>
                      <a:pt x="1551" y="277"/>
                    </a:lnTo>
                    <a:lnTo>
                      <a:pt x="1551" y="279"/>
                    </a:lnTo>
                    <a:lnTo>
                      <a:pt x="1551" y="277"/>
                    </a:lnTo>
                    <a:lnTo>
                      <a:pt x="1552" y="279"/>
                    </a:lnTo>
                    <a:lnTo>
                      <a:pt x="1554" y="279"/>
                    </a:lnTo>
                    <a:lnTo>
                      <a:pt x="1552" y="279"/>
                    </a:lnTo>
                    <a:lnTo>
                      <a:pt x="1552" y="280"/>
                    </a:lnTo>
                    <a:lnTo>
                      <a:pt x="1554" y="280"/>
                    </a:lnTo>
                    <a:lnTo>
                      <a:pt x="1552" y="282"/>
                    </a:lnTo>
                    <a:lnTo>
                      <a:pt x="1552" y="283"/>
                    </a:lnTo>
                    <a:lnTo>
                      <a:pt x="1551" y="283"/>
                    </a:lnTo>
                    <a:lnTo>
                      <a:pt x="1551" y="285"/>
                    </a:lnTo>
                    <a:lnTo>
                      <a:pt x="1552" y="285"/>
                    </a:lnTo>
                    <a:lnTo>
                      <a:pt x="1554" y="285"/>
                    </a:lnTo>
                    <a:lnTo>
                      <a:pt x="1552" y="285"/>
                    </a:lnTo>
                    <a:lnTo>
                      <a:pt x="1552" y="287"/>
                    </a:lnTo>
                    <a:lnTo>
                      <a:pt x="1554" y="287"/>
                    </a:lnTo>
                    <a:lnTo>
                      <a:pt x="1555" y="287"/>
                    </a:lnTo>
                    <a:lnTo>
                      <a:pt x="1554" y="288"/>
                    </a:lnTo>
                    <a:lnTo>
                      <a:pt x="1554" y="290"/>
                    </a:lnTo>
                    <a:lnTo>
                      <a:pt x="1552" y="291"/>
                    </a:lnTo>
                    <a:lnTo>
                      <a:pt x="1552" y="293"/>
                    </a:lnTo>
                    <a:lnTo>
                      <a:pt x="1551" y="295"/>
                    </a:lnTo>
                    <a:lnTo>
                      <a:pt x="1552" y="295"/>
                    </a:lnTo>
                    <a:lnTo>
                      <a:pt x="1554" y="295"/>
                    </a:lnTo>
                    <a:lnTo>
                      <a:pt x="1555" y="295"/>
                    </a:lnTo>
                    <a:lnTo>
                      <a:pt x="1557" y="295"/>
                    </a:lnTo>
                    <a:lnTo>
                      <a:pt x="1559" y="296"/>
                    </a:lnTo>
                    <a:lnTo>
                      <a:pt x="1560" y="296"/>
                    </a:lnTo>
                    <a:lnTo>
                      <a:pt x="1562" y="296"/>
                    </a:lnTo>
                    <a:lnTo>
                      <a:pt x="1563" y="296"/>
                    </a:lnTo>
                    <a:lnTo>
                      <a:pt x="1565" y="296"/>
                    </a:lnTo>
                    <a:lnTo>
                      <a:pt x="1565" y="298"/>
                    </a:lnTo>
                    <a:lnTo>
                      <a:pt x="1567" y="298"/>
                    </a:lnTo>
                    <a:lnTo>
                      <a:pt x="1565" y="298"/>
                    </a:lnTo>
                    <a:lnTo>
                      <a:pt x="1563" y="298"/>
                    </a:lnTo>
                    <a:lnTo>
                      <a:pt x="1563" y="299"/>
                    </a:lnTo>
                    <a:lnTo>
                      <a:pt x="1562" y="299"/>
                    </a:lnTo>
                    <a:lnTo>
                      <a:pt x="1560" y="299"/>
                    </a:lnTo>
                    <a:lnTo>
                      <a:pt x="1560" y="301"/>
                    </a:lnTo>
                    <a:lnTo>
                      <a:pt x="1559" y="301"/>
                    </a:lnTo>
                    <a:lnTo>
                      <a:pt x="1559" y="302"/>
                    </a:lnTo>
                    <a:lnTo>
                      <a:pt x="1560" y="302"/>
                    </a:lnTo>
                    <a:lnTo>
                      <a:pt x="1562" y="302"/>
                    </a:lnTo>
                    <a:lnTo>
                      <a:pt x="1563" y="302"/>
                    </a:lnTo>
                    <a:lnTo>
                      <a:pt x="1565" y="302"/>
                    </a:lnTo>
                    <a:lnTo>
                      <a:pt x="1567" y="302"/>
                    </a:lnTo>
                    <a:lnTo>
                      <a:pt x="1567" y="304"/>
                    </a:lnTo>
                    <a:lnTo>
                      <a:pt x="1568" y="304"/>
                    </a:lnTo>
                    <a:lnTo>
                      <a:pt x="1568" y="306"/>
                    </a:lnTo>
                    <a:lnTo>
                      <a:pt x="1570" y="306"/>
                    </a:lnTo>
                    <a:lnTo>
                      <a:pt x="1570" y="307"/>
                    </a:lnTo>
                    <a:lnTo>
                      <a:pt x="1570" y="306"/>
                    </a:lnTo>
                    <a:lnTo>
                      <a:pt x="1563" y="304"/>
                    </a:lnTo>
                    <a:lnTo>
                      <a:pt x="1555" y="302"/>
                    </a:lnTo>
                    <a:lnTo>
                      <a:pt x="1551" y="304"/>
                    </a:lnTo>
                    <a:lnTo>
                      <a:pt x="1548" y="304"/>
                    </a:lnTo>
                    <a:lnTo>
                      <a:pt x="1543" y="309"/>
                    </a:lnTo>
                    <a:lnTo>
                      <a:pt x="1536" y="315"/>
                    </a:lnTo>
                    <a:lnTo>
                      <a:pt x="1533" y="320"/>
                    </a:lnTo>
                    <a:lnTo>
                      <a:pt x="1527" y="318"/>
                    </a:lnTo>
                    <a:lnTo>
                      <a:pt x="1522" y="315"/>
                    </a:lnTo>
                    <a:lnTo>
                      <a:pt x="1516" y="315"/>
                    </a:lnTo>
                    <a:lnTo>
                      <a:pt x="1513" y="317"/>
                    </a:lnTo>
                    <a:lnTo>
                      <a:pt x="1511" y="320"/>
                    </a:lnTo>
                    <a:lnTo>
                      <a:pt x="1510" y="320"/>
                    </a:lnTo>
                    <a:lnTo>
                      <a:pt x="1506" y="317"/>
                    </a:lnTo>
                    <a:lnTo>
                      <a:pt x="1502" y="310"/>
                    </a:lnTo>
                    <a:lnTo>
                      <a:pt x="1498" y="310"/>
                    </a:lnTo>
                    <a:lnTo>
                      <a:pt x="1497" y="309"/>
                    </a:lnTo>
                    <a:lnTo>
                      <a:pt x="1495" y="310"/>
                    </a:lnTo>
                    <a:lnTo>
                      <a:pt x="1495" y="312"/>
                    </a:lnTo>
                    <a:lnTo>
                      <a:pt x="1495" y="315"/>
                    </a:lnTo>
                    <a:lnTo>
                      <a:pt x="1495" y="322"/>
                    </a:lnTo>
                    <a:lnTo>
                      <a:pt x="1495" y="328"/>
                    </a:lnTo>
                    <a:lnTo>
                      <a:pt x="1497" y="336"/>
                    </a:lnTo>
                    <a:lnTo>
                      <a:pt x="1502" y="344"/>
                    </a:lnTo>
                    <a:lnTo>
                      <a:pt x="1503" y="350"/>
                    </a:lnTo>
                    <a:lnTo>
                      <a:pt x="1506" y="353"/>
                    </a:lnTo>
                    <a:lnTo>
                      <a:pt x="1510" y="355"/>
                    </a:lnTo>
                    <a:lnTo>
                      <a:pt x="1513" y="355"/>
                    </a:lnTo>
                    <a:lnTo>
                      <a:pt x="1516" y="355"/>
                    </a:lnTo>
                    <a:lnTo>
                      <a:pt x="1519" y="353"/>
                    </a:lnTo>
                    <a:lnTo>
                      <a:pt x="1524" y="356"/>
                    </a:lnTo>
                    <a:lnTo>
                      <a:pt x="1529" y="361"/>
                    </a:lnTo>
                    <a:lnTo>
                      <a:pt x="1532" y="369"/>
                    </a:lnTo>
                    <a:lnTo>
                      <a:pt x="1530" y="375"/>
                    </a:lnTo>
                    <a:lnTo>
                      <a:pt x="1525" y="380"/>
                    </a:lnTo>
                    <a:lnTo>
                      <a:pt x="1525" y="383"/>
                    </a:lnTo>
                    <a:lnTo>
                      <a:pt x="1521" y="390"/>
                    </a:lnTo>
                    <a:lnTo>
                      <a:pt x="1516" y="399"/>
                    </a:lnTo>
                    <a:lnTo>
                      <a:pt x="1510" y="407"/>
                    </a:lnTo>
                    <a:lnTo>
                      <a:pt x="1505" y="412"/>
                    </a:lnTo>
                    <a:lnTo>
                      <a:pt x="1502" y="418"/>
                    </a:lnTo>
                    <a:lnTo>
                      <a:pt x="1502" y="423"/>
                    </a:lnTo>
                    <a:lnTo>
                      <a:pt x="1502" y="431"/>
                    </a:lnTo>
                    <a:lnTo>
                      <a:pt x="1503" y="439"/>
                    </a:lnTo>
                    <a:lnTo>
                      <a:pt x="1502" y="444"/>
                    </a:lnTo>
                    <a:lnTo>
                      <a:pt x="1503" y="448"/>
                    </a:lnTo>
                    <a:lnTo>
                      <a:pt x="1508" y="456"/>
                    </a:lnTo>
                    <a:lnTo>
                      <a:pt x="1511" y="464"/>
                    </a:lnTo>
                    <a:lnTo>
                      <a:pt x="1511" y="472"/>
                    </a:lnTo>
                    <a:lnTo>
                      <a:pt x="1513" y="478"/>
                    </a:lnTo>
                    <a:lnTo>
                      <a:pt x="1516" y="483"/>
                    </a:lnTo>
                    <a:lnTo>
                      <a:pt x="1517" y="482"/>
                    </a:lnTo>
                    <a:lnTo>
                      <a:pt x="1519" y="475"/>
                    </a:lnTo>
                    <a:lnTo>
                      <a:pt x="1522" y="469"/>
                    </a:lnTo>
                    <a:lnTo>
                      <a:pt x="1524" y="470"/>
                    </a:lnTo>
                    <a:lnTo>
                      <a:pt x="1527" y="472"/>
                    </a:lnTo>
                    <a:lnTo>
                      <a:pt x="1532" y="477"/>
                    </a:lnTo>
                    <a:lnTo>
                      <a:pt x="1533" y="482"/>
                    </a:lnTo>
                    <a:lnTo>
                      <a:pt x="1536" y="482"/>
                    </a:lnTo>
                    <a:lnTo>
                      <a:pt x="1536" y="478"/>
                    </a:lnTo>
                    <a:lnTo>
                      <a:pt x="1538" y="470"/>
                    </a:lnTo>
                    <a:lnTo>
                      <a:pt x="1540" y="459"/>
                    </a:lnTo>
                    <a:lnTo>
                      <a:pt x="1544" y="453"/>
                    </a:lnTo>
                    <a:lnTo>
                      <a:pt x="1549" y="453"/>
                    </a:lnTo>
                    <a:lnTo>
                      <a:pt x="1557" y="458"/>
                    </a:lnTo>
                    <a:lnTo>
                      <a:pt x="1562" y="463"/>
                    </a:lnTo>
                    <a:lnTo>
                      <a:pt x="1565" y="469"/>
                    </a:lnTo>
                    <a:lnTo>
                      <a:pt x="1568" y="475"/>
                    </a:lnTo>
                    <a:lnTo>
                      <a:pt x="1573" y="477"/>
                    </a:lnTo>
                    <a:lnTo>
                      <a:pt x="1578" y="475"/>
                    </a:lnTo>
                    <a:lnTo>
                      <a:pt x="1582" y="472"/>
                    </a:lnTo>
                    <a:lnTo>
                      <a:pt x="1587" y="466"/>
                    </a:lnTo>
                    <a:lnTo>
                      <a:pt x="1592" y="458"/>
                    </a:lnTo>
                    <a:lnTo>
                      <a:pt x="1595" y="455"/>
                    </a:lnTo>
                    <a:lnTo>
                      <a:pt x="1601" y="455"/>
                    </a:lnTo>
                    <a:lnTo>
                      <a:pt x="1606" y="458"/>
                    </a:lnTo>
                    <a:lnTo>
                      <a:pt x="1609" y="458"/>
                    </a:lnTo>
                    <a:lnTo>
                      <a:pt x="1611" y="455"/>
                    </a:lnTo>
                    <a:lnTo>
                      <a:pt x="1619" y="451"/>
                    </a:lnTo>
                    <a:lnTo>
                      <a:pt x="1628" y="450"/>
                    </a:lnTo>
                    <a:lnTo>
                      <a:pt x="1631" y="448"/>
                    </a:lnTo>
                    <a:lnTo>
                      <a:pt x="1635" y="448"/>
                    </a:lnTo>
                    <a:lnTo>
                      <a:pt x="1643" y="444"/>
                    </a:lnTo>
                    <a:lnTo>
                      <a:pt x="1646" y="442"/>
                    </a:lnTo>
                    <a:lnTo>
                      <a:pt x="1646" y="432"/>
                    </a:lnTo>
                    <a:lnTo>
                      <a:pt x="1644" y="421"/>
                    </a:lnTo>
                    <a:lnTo>
                      <a:pt x="1644" y="409"/>
                    </a:lnTo>
                    <a:lnTo>
                      <a:pt x="1646" y="398"/>
                    </a:lnTo>
                    <a:lnTo>
                      <a:pt x="1646" y="386"/>
                    </a:lnTo>
                    <a:lnTo>
                      <a:pt x="1644" y="377"/>
                    </a:lnTo>
                    <a:lnTo>
                      <a:pt x="1644" y="371"/>
                    </a:lnTo>
                    <a:lnTo>
                      <a:pt x="1646" y="367"/>
                    </a:lnTo>
                    <a:lnTo>
                      <a:pt x="1646" y="366"/>
                    </a:lnTo>
                    <a:lnTo>
                      <a:pt x="1649" y="366"/>
                    </a:lnTo>
                    <a:lnTo>
                      <a:pt x="1650" y="364"/>
                    </a:lnTo>
                    <a:lnTo>
                      <a:pt x="1654" y="364"/>
                    </a:lnTo>
                    <a:lnTo>
                      <a:pt x="1655" y="364"/>
                    </a:lnTo>
                    <a:lnTo>
                      <a:pt x="1658" y="364"/>
                    </a:lnTo>
                    <a:lnTo>
                      <a:pt x="1660" y="364"/>
                    </a:lnTo>
                    <a:lnTo>
                      <a:pt x="1663" y="364"/>
                    </a:lnTo>
                    <a:lnTo>
                      <a:pt x="1665" y="364"/>
                    </a:lnTo>
                    <a:lnTo>
                      <a:pt x="1666" y="364"/>
                    </a:lnTo>
                    <a:lnTo>
                      <a:pt x="1669" y="364"/>
                    </a:lnTo>
                    <a:lnTo>
                      <a:pt x="1674" y="363"/>
                    </a:lnTo>
                    <a:lnTo>
                      <a:pt x="1677" y="363"/>
                    </a:lnTo>
                    <a:lnTo>
                      <a:pt x="1684" y="364"/>
                    </a:lnTo>
                    <a:lnTo>
                      <a:pt x="1687" y="366"/>
                    </a:lnTo>
                    <a:lnTo>
                      <a:pt x="1687" y="367"/>
                    </a:lnTo>
                    <a:lnTo>
                      <a:pt x="1687" y="369"/>
                    </a:lnTo>
                    <a:lnTo>
                      <a:pt x="1689" y="375"/>
                    </a:lnTo>
                    <a:lnTo>
                      <a:pt x="1690" y="385"/>
                    </a:lnTo>
                    <a:lnTo>
                      <a:pt x="1693" y="388"/>
                    </a:lnTo>
                    <a:lnTo>
                      <a:pt x="1696" y="391"/>
                    </a:lnTo>
                    <a:lnTo>
                      <a:pt x="1700" y="396"/>
                    </a:lnTo>
                    <a:lnTo>
                      <a:pt x="1700" y="401"/>
                    </a:lnTo>
                    <a:lnTo>
                      <a:pt x="1698" y="404"/>
                    </a:lnTo>
                    <a:lnTo>
                      <a:pt x="1704" y="404"/>
                    </a:lnTo>
                    <a:lnTo>
                      <a:pt x="1714" y="402"/>
                    </a:lnTo>
                    <a:lnTo>
                      <a:pt x="1720" y="404"/>
                    </a:lnTo>
                    <a:lnTo>
                      <a:pt x="1723" y="405"/>
                    </a:lnTo>
                    <a:lnTo>
                      <a:pt x="1728" y="410"/>
                    </a:lnTo>
                    <a:lnTo>
                      <a:pt x="1728" y="417"/>
                    </a:lnTo>
                    <a:lnTo>
                      <a:pt x="1727" y="421"/>
                    </a:lnTo>
                    <a:lnTo>
                      <a:pt x="1725" y="428"/>
                    </a:lnTo>
                    <a:lnTo>
                      <a:pt x="1725" y="432"/>
                    </a:lnTo>
                    <a:lnTo>
                      <a:pt x="1720" y="437"/>
                    </a:lnTo>
                    <a:lnTo>
                      <a:pt x="1717" y="442"/>
                    </a:lnTo>
                    <a:lnTo>
                      <a:pt x="1717" y="447"/>
                    </a:lnTo>
                    <a:lnTo>
                      <a:pt x="1720" y="450"/>
                    </a:lnTo>
                    <a:lnTo>
                      <a:pt x="1725" y="451"/>
                    </a:lnTo>
                    <a:lnTo>
                      <a:pt x="1728" y="451"/>
                    </a:lnTo>
                    <a:lnTo>
                      <a:pt x="1733" y="450"/>
                    </a:lnTo>
                    <a:lnTo>
                      <a:pt x="1734" y="450"/>
                    </a:lnTo>
                    <a:lnTo>
                      <a:pt x="1738" y="448"/>
                    </a:lnTo>
                    <a:lnTo>
                      <a:pt x="1741" y="445"/>
                    </a:lnTo>
                    <a:lnTo>
                      <a:pt x="1744" y="440"/>
                    </a:lnTo>
                    <a:lnTo>
                      <a:pt x="1749" y="436"/>
                    </a:lnTo>
                    <a:lnTo>
                      <a:pt x="1755" y="428"/>
                    </a:lnTo>
                    <a:lnTo>
                      <a:pt x="1758" y="424"/>
                    </a:lnTo>
                    <a:lnTo>
                      <a:pt x="1761" y="420"/>
                    </a:lnTo>
                    <a:lnTo>
                      <a:pt x="1761" y="418"/>
                    </a:lnTo>
                    <a:lnTo>
                      <a:pt x="1763" y="415"/>
                    </a:lnTo>
                    <a:lnTo>
                      <a:pt x="1765" y="413"/>
                    </a:lnTo>
                    <a:lnTo>
                      <a:pt x="1769" y="412"/>
                    </a:lnTo>
                    <a:lnTo>
                      <a:pt x="1772" y="410"/>
                    </a:lnTo>
                    <a:lnTo>
                      <a:pt x="1774" y="410"/>
                    </a:lnTo>
                    <a:lnTo>
                      <a:pt x="1779" y="409"/>
                    </a:lnTo>
                    <a:lnTo>
                      <a:pt x="1784" y="405"/>
                    </a:lnTo>
                    <a:lnTo>
                      <a:pt x="1785" y="401"/>
                    </a:lnTo>
                    <a:lnTo>
                      <a:pt x="1785" y="394"/>
                    </a:lnTo>
                    <a:lnTo>
                      <a:pt x="1785" y="388"/>
                    </a:lnTo>
                    <a:lnTo>
                      <a:pt x="1785" y="383"/>
                    </a:lnTo>
                    <a:lnTo>
                      <a:pt x="1788" y="380"/>
                    </a:lnTo>
                    <a:lnTo>
                      <a:pt x="1793" y="375"/>
                    </a:lnTo>
                    <a:lnTo>
                      <a:pt x="1801" y="367"/>
                    </a:lnTo>
                    <a:lnTo>
                      <a:pt x="1809" y="360"/>
                    </a:lnTo>
                    <a:lnTo>
                      <a:pt x="1815" y="350"/>
                    </a:lnTo>
                    <a:lnTo>
                      <a:pt x="1822" y="341"/>
                    </a:lnTo>
                    <a:lnTo>
                      <a:pt x="1828" y="329"/>
                    </a:lnTo>
                    <a:lnTo>
                      <a:pt x="1833" y="323"/>
                    </a:lnTo>
                    <a:lnTo>
                      <a:pt x="1837" y="315"/>
                    </a:lnTo>
                    <a:lnTo>
                      <a:pt x="1845" y="309"/>
                    </a:lnTo>
                    <a:lnTo>
                      <a:pt x="1852" y="301"/>
                    </a:lnTo>
                    <a:lnTo>
                      <a:pt x="1860" y="295"/>
                    </a:lnTo>
                    <a:lnTo>
                      <a:pt x="1868" y="291"/>
                    </a:lnTo>
                    <a:lnTo>
                      <a:pt x="1879" y="291"/>
                    </a:lnTo>
                    <a:lnTo>
                      <a:pt x="1891" y="290"/>
                    </a:lnTo>
                    <a:lnTo>
                      <a:pt x="1899" y="288"/>
                    </a:lnTo>
                    <a:lnTo>
                      <a:pt x="1906" y="287"/>
                    </a:lnTo>
                    <a:lnTo>
                      <a:pt x="1910" y="282"/>
                    </a:lnTo>
                    <a:lnTo>
                      <a:pt x="1913" y="279"/>
                    </a:lnTo>
                    <a:lnTo>
                      <a:pt x="1915" y="277"/>
                    </a:lnTo>
                    <a:lnTo>
                      <a:pt x="1917" y="276"/>
                    </a:lnTo>
                    <a:lnTo>
                      <a:pt x="1918" y="274"/>
                    </a:lnTo>
                    <a:lnTo>
                      <a:pt x="1920" y="274"/>
                    </a:lnTo>
                    <a:lnTo>
                      <a:pt x="1925" y="276"/>
                    </a:lnTo>
                    <a:lnTo>
                      <a:pt x="1932" y="274"/>
                    </a:lnTo>
                    <a:lnTo>
                      <a:pt x="1942" y="274"/>
                    </a:lnTo>
                    <a:lnTo>
                      <a:pt x="1951" y="272"/>
                    </a:lnTo>
                    <a:lnTo>
                      <a:pt x="1959" y="269"/>
                    </a:lnTo>
                    <a:lnTo>
                      <a:pt x="1966" y="269"/>
                    </a:lnTo>
                    <a:lnTo>
                      <a:pt x="1974" y="274"/>
                    </a:lnTo>
                    <a:lnTo>
                      <a:pt x="1982" y="282"/>
                    </a:lnTo>
                    <a:lnTo>
                      <a:pt x="1985" y="287"/>
                    </a:lnTo>
                    <a:lnTo>
                      <a:pt x="1980" y="288"/>
                    </a:lnTo>
                    <a:lnTo>
                      <a:pt x="1974" y="291"/>
                    </a:lnTo>
                    <a:lnTo>
                      <a:pt x="1964" y="291"/>
                    </a:lnTo>
                    <a:lnTo>
                      <a:pt x="1959" y="291"/>
                    </a:lnTo>
                    <a:lnTo>
                      <a:pt x="1956" y="290"/>
                    </a:lnTo>
                    <a:lnTo>
                      <a:pt x="1947" y="290"/>
                    </a:lnTo>
                    <a:lnTo>
                      <a:pt x="1944" y="291"/>
                    </a:lnTo>
                    <a:lnTo>
                      <a:pt x="1945" y="298"/>
                    </a:lnTo>
                    <a:lnTo>
                      <a:pt x="1947" y="304"/>
                    </a:lnTo>
                    <a:lnTo>
                      <a:pt x="1950" y="309"/>
                    </a:lnTo>
                    <a:lnTo>
                      <a:pt x="1951" y="314"/>
                    </a:lnTo>
                    <a:lnTo>
                      <a:pt x="1955" y="315"/>
                    </a:lnTo>
                    <a:lnTo>
                      <a:pt x="1959" y="315"/>
                    </a:lnTo>
                    <a:lnTo>
                      <a:pt x="1969" y="314"/>
                    </a:lnTo>
                    <a:lnTo>
                      <a:pt x="1977" y="312"/>
                    </a:lnTo>
                    <a:lnTo>
                      <a:pt x="1985" y="310"/>
                    </a:lnTo>
                    <a:lnTo>
                      <a:pt x="1993" y="307"/>
                    </a:lnTo>
                    <a:lnTo>
                      <a:pt x="1997" y="302"/>
                    </a:lnTo>
                    <a:lnTo>
                      <a:pt x="1999" y="302"/>
                    </a:lnTo>
                    <a:lnTo>
                      <a:pt x="2004" y="301"/>
                    </a:lnTo>
                    <a:lnTo>
                      <a:pt x="2010" y="301"/>
                    </a:lnTo>
                    <a:lnTo>
                      <a:pt x="2015" y="296"/>
                    </a:lnTo>
                    <a:lnTo>
                      <a:pt x="2023" y="290"/>
                    </a:lnTo>
                    <a:lnTo>
                      <a:pt x="2031" y="287"/>
                    </a:lnTo>
                    <a:lnTo>
                      <a:pt x="2039" y="283"/>
                    </a:lnTo>
                    <a:lnTo>
                      <a:pt x="2048" y="280"/>
                    </a:lnTo>
                    <a:lnTo>
                      <a:pt x="2056" y="276"/>
                    </a:lnTo>
                    <a:lnTo>
                      <a:pt x="2062" y="269"/>
                    </a:lnTo>
                    <a:lnTo>
                      <a:pt x="2067" y="264"/>
                    </a:lnTo>
                    <a:lnTo>
                      <a:pt x="2069" y="263"/>
                    </a:lnTo>
                    <a:lnTo>
                      <a:pt x="2070" y="261"/>
                    </a:lnTo>
                    <a:lnTo>
                      <a:pt x="2072" y="260"/>
                    </a:lnTo>
                    <a:lnTo>
                      <a:pt x="2073" y="260"/>
                    </a:lnTo>
                    <a:lnTo>
                      <a:pt x="2075" y="260"/>
                    </a:lnTo>
                    <a:lnTo>
                      <a:pt x="2078" y="258"/>
                    </a:lnTo>
                    <a:lnTo>
                      <a:pt x="2080" y="258"/>
                    </a:lnTo>
                    <a:lnTo>
                      <a:pt x="2081" y="258"/>
                    </a:lnTo>
                    <a:lnTo>
                      <a:pt x="2083" y="258"/>
                    </a:lnTo>
                    <a:lnTo>
                      <a:pt x="2088" y="258"/>
                    </a:lnTo>
                    <a:lnTo>
                      <a:pt x="2096" y="258"/>
                    </a:lnTo>
                    <a:lnTo>
                      <a:pt x="2104" y="260"/>
                    </a:lnTo>
                    <a:lnTo>
                      <a:pt x="2110" y="261"/>
                    </a:lnTo>
                    <a:lnTo>
                      <a:pt x="2121" y="263"/>
                    </a:lnTo>
                    <a:lnTo>
                      <a:pt x="2132" y="266"/>
                    </a:lnTo>
                    <a:lnTo>
                      <a:pt x="2140" y="268"/>
                    </a:lnTo>
                    <a:lnTo>
                      <a:pt x="2145" y="271"/>
                    </a:lnTo>
                    <a:lnTo>
                      <a:pt x="2149" y="271"/>
                    </a:lnTo>
                    <a:lnTo>
                      <a:pt x="2154" y="268"/>
                    </a:lnTo>
                    <a:lnTo>
                      <a:pt x="2157" y="263"/>
                    </a:lnTo>
                    <a:lnTo>
                      <a:pt x="2164" y="258"/>
                    </a:lnTo>
                    <a:lnTo>
                      <a:pt x="2170" y="257"/>
                    </a:lnTo>
                    <a:lnTo>
                      <a:pt x="2180" y="255"/>
                    </a:lnTo>
                    <a:lnTo>
                      <a:pt x="2191" y="255"/>
                    </a:lnTo>
                    <a:lnTo>
                      <a:pt x="2194" y="255"/>
                    </a:lnTo>
                    <a:lnTo>
                      <a:pt x="2197" y="264"/>
                    </a:lnTo>
                    <a:lnTo>
                      <a:pt x="2202" y="268"/>
                    </a:lnTo>
                    <a:lnTo>
                      <a:pt x="2211" y="268"/>
                    </a:lnTo>
                    <a:lnTo>
                      <a:pt x="2216" y="268"/>
                    </a:lnTo>
                    <a:lnTo>
                      <a:pt x="2221" y="268"/>
                    </a:lnTo>
                    <a:lnTo>
                      <a:pt x="2225" y="263"/>
                    </a:lnTo>
                    <a:lnTo>
                      <a:pt x="2232" y="261"/>
                    </a:lnTo>
                    <a:lnTo>
                      <a:pt x="2237" y="261"/>
                    </a:lnTo>
                    <a:lnTo>
                      <a:pt x="2243" y="266"/>
                    </a:lnTo>
                    <a:lnTo>
                      <a:pt x="2251" y="264"/>
                    </a:lnTo>
                    <a:lnTo>
                      <a:pt x="2257" y="263"/>
                    </a:lnTo>
                    <a:lnTo>
                      <a:pt x="2264" y="264"/>
                    </a:lnTo>
                    <a:lnTo>
                      <a:pt x="2271" y="266"/>
                    </a:lnTo>
                    <a:lnTo>
                      <a:pt x="2279" y="264"/>
                    </a:lnTo>
                    <a:lnTo>
                      <a:pt x="2284" y="261"/>
                    </a:lnTo>
                    <a:lnTo>
                      <a:pt x="2292" y="257"/>
                    </a:lnTo>
                    <a:lnTo>
                      <a:pt x="2295" y="257"/>
                    </a:lnTo>
                    <a:lnTo>
                      <a:pt x="2297" y="257"/>
                    </a:lnTo>
                    <a:lnTo>
                      <a:pt x="2298" y="257"/>
                    </a:lnTo>
                    <a:lnTo>
                      <a:pt x="2303" y="257"/>
                    </a:lnTo>
                    <a:lnTo>
                      <a:pt x="2306" y="257"/>
                    </a:lnTo>
                    <a:lnTo>
                      <a:pt x="2311" y="260"/>
                    </a:lnTo>
                    <a:lnTo>
                      <a:pt x="2313" y="261"/>
                    </a:lnTo>
                    <a:lnTo>
                      <a:pt x="2314" y="263"/>
                    </a:lnTo>
                    <a:lnTo>
                      <a:pt x="2317" y="266"/>
                    </a:lnTo>
                    <a:lnTo>
                      <a:pt x="2319" y="266"/>
                    </a:lnTo>
                    <a:lnTo>
                      <a:pt x="2321" y="261"/>
                    </a:lnTo>
                    <a:lnTo>
                      <a:pt x="2325" y="258"/>
                    </a:lnTo>
                    <a:lnTo>
                      <a:pt x="2330" y="257"/>
                    </a:lnTo>
                    <a:lnTo>
                      <a:pt x="2333" y="253"/>
                    </a:lnTo>
                    <a:lnTo>
                      <a:pt x="2338" y="249"/>
                    </a:lnTo>
                    <a:lnTo>
                      <a:pt x="2343" y="242"/>
                    </a:lnTo>
                    <a:lnTo>
                      <a:pt x="2340" y="238"/>
                    </a:lnTo>
                    <a:lnTo>
                      <a:pt x="2336" y="234"/>
                    </a:lnTo>
                    <a:lnTo>
                      <a:pt x="2335" y="231"/>
                    </a:lnTo>
                    <a:lnTo>
                      <a:pt x="2335" y="230"/>
                    </a:lnTo>
                    <a:lnTo>
                      <a:pt x="2333" y="225"/>
                    </a:lnTo>
                    <a:lnTo>
                      <a:pt x="2340" y="223"/>
                    </a:lnTo>
                    <a:lnTo>
                      <a:pt x="2344" y="220"/>
                    </a:lnTo>
                    <a:lnTo>
                      <a:pt x="2351" y="217"/>
                    </a:lnTo>
                    <a:lnTo>
                      <a:pt x="2355" y="214"/>
                    </a:lnTo>
                    <a:lnTo>
                      <a:pt x="2362" y="214"/>
                    </a:lnTo>
                    <a:lnTo>
                      <a:pt x="2368" y="212"/>
                    </a:lnTo>
                    <a:lnTo>
                      <a:pt x="2373" y="214"/>
                    </a:lnTo>
                    <a:lnTo>
                      <a:pt x="2373" y="215"/>
                    </a:lnTo>
                    <a:lnTo>
                      <a:pt x="2374" y="212"/>
                    </a:lnTo>
                    <a:lnTo>
                      <a:pt x="2378" y="211"/>
                    </a:lnTo>
                    <a:lnTo>
                      <a:pt x="2381" y="207"/>
                    </a:lnTo>
                    <a:lnTo>
                      <a:pt x="2385" y="203"/>
                    </a:lnTo>
                    <a:lnTo>
                      <a:pt x="2389" y="201"/>
                    </a:lnTo>
                    <a:lnTo>
                      <a:pt x="2390" y="198"/>
                    </a:lnTo>
                    <a:lnTo>
                      <a:pt x="2393" y="196"/>
                    </a:lnTo>
                    <a:lnTo>
                      <a:pt x="2395" y="196"/>
                    </a:lnTo>
                    <a:lnTo>
                      <a:pt x="2397" y="195"/>
                    </a:lnTo>
                    <a:lnTo>
                      <a:pt x="2398" y="195"/>
                    </a:lnTo>
                    <a:lnTo>
                      <a:pt x="2401" y="195"/>
                    </a:lnTo>
                    <a:lnTo>
                      <a:pt x="2408" y="196"/>
                    </a:lnTo>
                    <a:lnTo>
                      <a:pt x="2409" y="203"/>
                    </a:lnTo>
                    <a:lnTo>
                      <a:pt x="2411" y="212"/>
                    </a:lnTo>
                    <a:lnTo>
                      <a:pt x="2412" y="220"/>
                    </a:lnTo>
                    <a:lnTo>
                      <a:pt x="2411" y="231"/>
                    </a:lnTo>
                    <a:lnTo>
                      <a:pt x="2409" y="238"/>
                    </a:lnTo>
                    <a:lnTo>
                      <a:pt x="2409" y="239"/>
                    </a:lnTo>
                    <a:lnTo>
                      <a:pt x="2411" y="239"/>
                    </a:lnTo>
                    <a:lnTo>
                      <a:pt x="2414" y="238"/>
                    </a:lnTo>
                    <a:lnTo>
                      <a:pt x="2416" y="238"/>
                    </a:lnTo>
                    <a:lnTo>
                      <a:pt x="2417" y="239"/>
                    </a:lnTo>
                    <a:lnTo>
                      <a:pt x="2420" y="242"/>
                    </a:lnTo>
                    <a:lnTo>
                      <a:pt x="2425" y="249"/>
                    </a:lnTo>
                    <a:lnTo>
                      <a:pt x="2428" y="252"/>
                    </a:lnTo>
                    <a:lnTo>
                      <a:pt x="2435" y="260"/>
                    </a:lnTo>
                    <a:lnTo>
                      <a:pt x="2436" y="261"/>
                    </a:lnTo>
                    <a:lnTo>
                      <a:pt x="2443" y="272"/>
                    </a:lnTo>
                    <a:lnTo>
                      <a:pt x="2446" y="277"/>
                    </a:lnTo>
                    <a:lnTo>
                      <a:pt x="2447" y="282"/>
                    </a:lnTo>
                    <a:lnTo>
                      <a:pt x="2452" y="293"/>
                    </a:lnTo>
                    <a:lnTo>
                      <a:pt x="2458" y="304"/>
                    </a:lnTo>
                    <a:lnTo>
                      <a:pt x="2460" y="310"/>
                    </a:lnTo>
                    <a:lnTo>
                      <a:pt x="2457" y="315"/>
                    </a:lnTo>
                    <a:lnTo>
                      <a:pt x="2458" y="322"/>
                    </a:lnTo>
                    <a:lnTo>
                      <a:pt x="2462" y="326"/>
                    </a:lnTo>
                    <a:lnTo>
                      <a:pt x="2465" y="329"/>
                    </a:lnTo>
                    <a:lnTo>
                      <a:pt x="2466" y="336"/>
                    </a:lnTo>
                    <a:lnTo>
                      <a:pt x="2468" y="342"/>
                    </a:lnTo>
                    <a:lnTo>
                      <a:pt x="2471" y="348"/>
                    </a:lnTo>
                    <a:lnTo>
                      <a:pt x="2477" y="353"/>
                    </a:lnTo>
                    <a:lnTo>
                      <a:pt x="2481" y="356"/>
                    </a:lnTo>
                    <a:lnTo>
                      <a:pt x="2482" y="358"/>
                    </a:lnTo>
                    <a:lnTo>
                      <a:pt x="2482" y="363"/>
                    </a:lnTo>
                    <a:lnTo>
                      <a:pt x="2481" y="366"/>
                    </a:lnTo>
                    <a:lnTo>
                      <a:pt x="2477" y="367"/>
                    </a:lnTo>
                    <a:lnTo>
                      <a:pt x="2476" y="369"/>
                    </a:lnTo>
                    <a:lnTo>
                      <a:pt x="2474" y="371"/>
                    </a:lnTo>
                    <a:lnTo>
                      <a:pt x="2473" y="372"/>
                    </a:lnTo>
                    <a:lnTo>
                      <a:pt x="2473" y="374"/>
                    </a:lnTo>
                    <a:lnTo>
                      <a:pt x="2473" y="375"/>
                    </a:lnTo>
                    <a:lnTo>
                      <a:pt x="2479" y="379"/>
                    </a:lnTo>
                    <a:lnTo>
                      <a:pt x="2485" y="383"/>
                    </a:lnTo>
                    <a:lnTo>
                      <a:pt x="2490" y="390"/>
                    </a:lnTo>
                    <a:lnTo>
                      <a:pt x="2493" y="396"/>
                    </a:lnTo>
                    <a:lnTo>
                      <a:pt x="2496" y="401"/>
                    </a:lnTo>
                    <a:lnTo>
                      <a:pt x="2503" y="410"/>
                    </a:lnTo>
                    <a:lnTo>
                      <a:pt x="2511" y="420"/>
                    </a:lnTo>
                    <a:lnTo>
                      <a:pt x="2520" y="429"/>
                    </a:lnTo>
                    <a:lnTo>
                      <a:pt x="2526" y="436"/>
                    </a:lnTo>
                    <a:lnTo>
                      <a:pt x="2533" y="442"/>
                    </a:lnTo>
                    <a:lnTo>
                      <a:pt x="2539" y="447"/>
                    </a:lnTo>
                    <a:lnTo>
                      <a:pt x="2545" y="450"/>
                    </a:lnTo>
                    <a:lnTo>
                      <a:pt x="2549" y="453"/>
                    </a:lnTo>
                    <a:lnTo>
                      <a:pt x="2550" y="456"/>
                    </a:lnTo>
                    <a:lnTo>
                      <a:pt x="2550" y="461"/>
                    </a:lnTo>
                    <a:lnTo>
                      <a:pt x="2549" y="467"/>
                    </a:lnTo>
                    <a:lnTo>
                      <a:pt x="2547" y="467"/>
                    </a:lnTo>
                    <a:lnTo>
                      <a:pt x="2544" y="475"/>
                    </a:lnTo>
                    <a:lnTo>
                      <a:pt x="2542" y="485"/>
                    </a:lnTo>
                    <a:lnTo>
                      <a:pt x="2541" y="494"/>
                    </a:lnTo>
                    <a:lnTo>
                      <a:pt x="2542" y="502"/>
                    </a:lnTo>
                    <a:lnTo>
                      <a:pt x="2549" y="510"/>
                    </a:lnTo>
                    <a:lnTo>
                      <a:pt x="2555" y="516"/>
                    </a:lnTo>
                    <a:lnTo>
                      <a:pt x="2560" y="521"/>
                    </a:lnTo>
                    <a:lnTo>
                      <a:pt x="2561" y="526"/>
                    </a:lnTo>
                    <a:lnTo>
                      <a:pt x="2563" y="535"/>
                    </a:lnTo>
                    <a:lnTo>
                      <a:pt x="2564" y="543"/>
                    </a:lnTo>
                    <a:lnTo>
                      <a:pt x="2563" y="551"/>
                    </a:lnTo>
                    <a:lnTo>
                      <a:pt x="2560" y="562"/>
                    </a:lnTo>
                    <a:lnTo>
                      <a:pt x="2560" y="572"/>
                    </a:lnTo>
                    <a:lnTo>
                      <a:pt x="2560" y="577"/>
                    </a:lnTo>
                    <a:lnTo>
                      <a:pt x="2555" y="580"/>
                    </a:lnTo>
                    <a:lnTo>
                      <a:pt x="2549" y="581"/>
                    </a:lnTo>
                    <a:lnTo>
                      <a:pt x="2541" y="585"/>
                    </a:lnTo>
                    <a:lnTo>
                      <a:pt x="2530" y="588"/>
                    </a:lnTo>
                    <a:lnTo>
                      <a:pt x="2525" y="588"/>
                    </a:lnTo>
                    <a:lnTo>
                      <a:pt x="2522" y="591"/>
                    </a:lnTo>
                    <a:lnTo>
                      <a:pt x="2517" y="599"/>
                    </a:lnTo>
                    <a:lnTo>
                      <a:pt x="2515" y="602"/>
                    </a:lnTo>
                    <a:lnTo>
                      <a:pt x="2512" y="610"/>
                    </a:lnTo>
                    <a:lnTo>
                      <a:pt x="2507" y="624"/>
                    </a:lnTo>
                    <a:lnTo>
                      <a:pt x="2504" y="637"/>
                    </a:lnTo>
                    <a:lnTo>
                      <a:pt x="2503" y="645"/>
                    </a:lnTo>
                    <a:lnTo>
                      <a:pt x="2495" y="654"/>
                    </a:lnTo>
                    <a:lnTo>
                      <a:pt x="2490" y="659"/>
                    </a:lnTo>
                    <a:lnTo>
                      <a:pt x="2487" y="659"/>
                    </a:lnTo>
                    <a:lnTo>
                      <a:pt x="2482" y="656"/>
                    </a:lnTo>
                    <a:lnTo>
                      <a:pt x="2477" y="649"/>
                    </a:lnTo>
                    <a:lnTo>
                      <a:pt x="2471" y="638"/>
                    </a:lnTo>
                    <a:lnTo>
                      <a:pt x="2466" y="630"/>
                    </a:lnTo>
                    <a:lnTo>
                      <a:pt x="2463" y="623"/>
                    </a:lnTo>
                    <a:lnTo>
                      <a:pt x="2462" y="611"/>
                    </a:lnTo>
                    <a:lnTo>
                      <a:pt x="2458" y="594"/>
                    </a:lnTo>
                    <a:lnTo>
                      <a:pt x="2455" y="580"/>
                    </a:lnTo>
                    <a:lnTo>
                      <a:pt x="2454" y="572"/>
                    </a:lnTo>
                    <a:lnTo>
                      <a:pt x="2452" y="564"/>
                    </a:lnTo>
                    <a:lnTo>
                      <a:pt x="2449" y="556"/>
                    </a:lnTo>
                    <a:lnTo>
                      <a:pt x="2444" y="553"/>
                    </a:lnTo>
                    <a:lnTo>
                      <a:pt x="2392" y="540"/>
                    </a:lnTo>
                    <a:lnTo>
                      <a:pt x="2387" y="534"/>
                    </a:lnTo>
                    <a:lnTo>
                      <a:pt x="2384" y="526"/>
                    </a:lnTo>
                    <a:lnTo>
                      <a:pt x="2378" y="516"/>
                    </a:lnTo>
                    <a:lnTo>
                      <a:pt x="2374" y="510"/>
                    </a:lnTo>
                    <a:lnTo>
                      <a:pt x="2368" y="510"/>
                    </a:lnTo>
                    <a:lnTo>
                      <a:pt x="2365" y="512"/>
                    </a:lnTo>
                    <a:lnTo>
                      <a:pt x="2360" y="518"/>
                    </a:lnTo>
                    <a:lnTo>
                      <a:pt x="2327" y="545"/>
                    </a:lnTo>
                    <a:lnTo>
                      <a:pt x="2317" y="553"/>
                    </a:lnTo>
                    <a:lnTo>
                      <a:pt x="2309" y="566"/>
                    </a:lnTo>
                    <a:lnTo>
                      <a:pt x="2305" y="572"/>
                    </a:lnTo>
                    <a:lnTo>
                      <a:pt x="2305" y="602"/>
                    </a:lnTo>
                    <a:lnTo>
                      <a:pt x="2287" y="630"/>
                    </a:lnTo>
                    <a:lnTo>
                      <a:pt x="2283" y="638"/>
                    </a:lnTo>
                    <a:lnTo>
                      <a:pt x="2279" y="654"/>
                    </a:lnTo>
                    <a:lnTo>
                      <a:pt x="2278" y="667"/>
                    </a:lnTo>
                    <a:lnTo>
                      <a:pt x="2276" y="673"/>
                    </a:lnTo>
                    <a:lnTo>
                      <a:pt x="2276" y="684"/>
                    </a:lnTo>
                    <a:lnTo>
                      <a:pt x="2275" y="703"/>
                    </a:lnTo>
                    <a:lnTo>
                      <a:pt x="2273" y="714"/>
                    </a:lnTo>
                    <a:lnTo>
                      <a:pt x="2273" y="722"/>
                    </a:lnTo>
                    <a:lnTo>
                      <a:pt x="2273" y="730"/>
                    </a:lnTo>
                    <a:lnTo>
                      <a:pt x="2271" y="740"/>
                    </a:lnTo>
                    <a:lnTo>
                      <a:pt x="2271" y="741"/>
                    </a:lnTo>
                    <a:lnTo>
                      <a:pt x="2286" y="762"/>
                    </a:lnTo>
                    <a:lnTo>
                      <a:pt x="2281" y="776"/>
                    </a:lnTo>
                    <a:lnTo>
                      <a:pt x="2276" y="784"/>
                    </a:lnTo>
                    <a:lnTo>
                      <a:pt x="2270" y="803"/>
                    </a:lnTo>
                    <a:lnTo>
                      <a:pt x="2265" y="816"/>
                    </a:lnTo>
                    <a:lnTo>
                      <a:pt x="2262" y="824"/>
                    </a:lnTo>
                    <a:lnTo>
                      <a:pt x="2259" y="832"/>
                    </a:lnTo>
                    <a:lnTo>
                      <a:pt x="2259" y="833"/>
                    </a:lnTo>
                    <a:lnTo>
                      <a:pt x="2260" y="840"/>
                    </a:lnTo>
                    <a:lnTo>
                      <a:pt x="2264" y="852"/>
                    </a:lnTo>
                    <a:lnTo>
                      <a:pt x="2267" y="867"/>
                    </a:lnTo>
                    <a:lnTo>
                      <a:pt x="2267" y="868"/>
                    </a:lnTo>
                    <a:lnTo>
                      <a:pt x="2287" y="876"/>
                    </a:lnTo>
                    <a:lnTo>
                      <a:pt x="2317" y="889"/>
                    </a:lnTo>
                    <a:lnTo>
                      <a:pt x="2330" y="893"/>
                    </a:lnTo>
                    <a:lnTo>
                      <a:pt x="2336" y="895"/>
                    </a:lnTo>
                    <a:lnTo>
                      <a:pt x="2340" y="897"/>
                    </a:lnTo>
                    <a:lnTo>
                      <a:pt x="2343" y="898"/>
                    </a:lnTo>
                    <a:lnTo>
                      <a:pt x="2349" y="901"/>
                    </a:lnTo>
                    <a:lnTo>
                      <a:pt x="2355" y="903"/>
                    </a:lnTo>
                    <a:lnTo>
                      <a:pt x="2359" y="911"/>
                    </a:lnTo>
                    <a:lnTo>
                      <a:pt x="2359" y="922"/>
                    </a:lnTo>
                    <a:lnTo>
                      <a:pt x="2359" y="925"/>
                    </a:lnTo>
                    <a:lnTo>
                      <a:pt x="2357" y="932"/>
                    </a:lnTo>
                    <a:lnTo>
                      <a:pt x="2357" y="943"/>
                    </a:lnTo>
                    <a:lnTo>
                      <a:pt x="2357" y="947"/>
                    </a:lnTo>
                    <a:lnTo>
                      <a:pt x="2352" y="960"/>
                    </a:lnTo>
                    <a:lnTo>
                      <a:pt x="2343" y="973"/>
                    </a:lnTo>
                    <a:lnTo>
                      <a:pt x="2344" y="987"/>
                    </a:lnTo>
                    <a:lnTo>
                      <a:pt x="2341" y="993"/>
                    </a:lnTo>
                    <a:lnTo>
                      <a:pt x="2338" y="998"/>
                    </a:lnTo>
                    <a:lnTo>
                      <a:pt x="2336" y="1001"/>
                    </a:lnTo>
                    <a:lnTo>
                      <a:pt x="2328" y="1009"/>
                    </a:lnTo>
                    <a:lnTo>
                      <a:pt x="2327" y="1012"/>
                    </a:lnTo>
                    <a:lnTo>
                      <a:pt x="2319" y="1022"/>
                    </a:lnTo>
                    <a:lnTo>
                      <a:pt x="2319" y="1028"/>
                    </a:lnTo>
                    <a:lnTo>
                      <a:pt x="2317" y="1035"/>
                    </a:lnTo>
                    <a:lnTo>
                      <a:pt x="2316" y="1041"/>
                    </a:lnTo>
                    <a:lnTo>
                      <a:pt x="2314" y="1055"/>
                    </a:lnTo>
                    <a:lnTo>
                      <a:pt x="2314" y="1061"/>
                    </a:lnTo>
                    <a:lnTo>
                      <a:pt x="2305" y="1074"/>
                    </a:lnTo>
                    <a:lnTo>
                      <a:pt x="2302" y="1082"/>
                    </a:lnTo>
                    <a:lnTo>
                      <a:pt x="2302" y="1088"/>
                    </a:lnTo>
                    <a:lnTo>
                      <a:pt x="2297" y="1093"/>
                    </a:lnTo>
                    <a:lnTo>
                      <a:pt x="2298" y="1096"/>
                    </a:lnTo>
                    <a:lnTo>
                      <a:pt x="2300" y="1101"/>
                    </a:lnTo>
                    <a:lnTo>
                      <a:pt x="2298" y="1106"/>
                    </a:lnTo>
                    <a:lnTo>
                      <a:pt x="2297" y="1107"/>
                    </a:lnTo>
                    <a:lnTo>
                      <a:pt x="2294" y="1111"/>
                    </a:lnTo>
                    <a:lnTo>
                      <a:pt x="2287" y="1114"/>
                    </a:lnTo>
                    <a:lnTo>
                      <a:pt x="2279" y="1118"/>
                    </a:lnTo>
                    <a:lnTo>
                      <a:pt x="2273" y="1122"/>
                    </a:lnTo>
                    <a:lnTo>
                      <a:pt x="2271" y="1122"/>
                    </a:lnTo>
                    <a:lnTo>
                      <a:pt x="2265" y="1123"/>
                    </a:lnTo>
                    <a:lnTo>
                      <a:pt x="2257" y="1123"/>
                    </a:lnTo>
                    <a:lnTo>
                      <a:pt x="2256" y="1125"/>
                    </a:lnTo>
                    <a:lnTo>
                      <a:pt x="2254" y="1114"/>
                    </a:lnTo>
                    <a:lnTo>
                      <a:pt x="2245" y="1114"/>
                    </a:lnTo>
                    <a:lnTo>
                      <a:pt x="2238" y="1117"/>
                    </a:lnTo>
                    <a:lnTo>
                      <a:pt x="2227" y="1123"/>
                    </a:lnTo>
                    <a:lnTo>
                      <a:pt x="2221" y="1128"/>
                    </a:lnTo>
                    <a:lnTo>
                      <a:pt x="2211" y="1149"/>
                    </a:lnTo>
                    <a:lnTo>
                      <a:pt x="2206" y="1155"/>
                    </a:lnTo>
                    <a:lnTo>
                      <a:pt x="2205" y="1157"/>
                    </a:lnTo>
                    <a:lnTo>
                      <a:pt x="2197" y="1161"/>
                    </a:lnTo>
                    <a:lnTo>
                      <a:pt x="2191" y="1166"/>
                    </a:lnTo>
                    <a:lnTo>
                      <a:pt x="2186" y="1174"/>
                    </a:lnTo>
                    <a:lnTo>
                      <a:pt x="2173" y="1160"/>
                    </a:lnTo>
                    <a:lnTo>
                      <a:pt x="2159" y="1144"/>
                    </a:lnTo>
                    <a:lnTo>
                      <a:pt x="2145" y="1131"/>
                    </a:lnTo>
                    <a:lnTo>
                      <a:pt x="2134" y="1122"/>
                    </a:lnTo>
                    <a:lnTo>
                      <a:pt x="2116" y="1115"/>
                    </a:lnTo>
                    <a:lnTo>
                      <a:pt x="2110" y="1115"/>
                    </a:lnTo>
                    <a:lnTo>
                      <a:pt x="2099" y="1111"/>
                    </a:lnTo>
                    <a:lnTo>
                      <a:pt x="2088" y="1106"/>
                    </a:lnTo>
                    <a:lnTo>
                      <a:pt x="2072" y="1098"/>
                    </a:lnTo>
                    <a:lnTo>
                      <a:pt x="2056" y="1088"/>
                    </a:lnTo>
                    <a:lnTo>
                      <a:pt x="2051" y="1082"/>
                    </a:lnTo>
                    <a:lnTo>
                      <a:pt x="2043" y="1079"/>
                    </a:lnTo>
                    <a:lnTo>
                      <a:pt x="2026" y="1077"/>
                    </a:lnTo>
                    <a:lnTo>
                      <a:pt x="2026" y="1079"/>
                    </a:lnTo>
                    <a:lnTo>
                      <a:pt x="2010" y="1092"/>
                    </a:lnTo>
                    <a:lnTo>
                      <a:pt x="2002" y="1104"/>
                    </a:lnTo>
                    <a:lnTo>
                      <a:pt x="1997" y="1109"/>
                    </a:lnTo>
                    <a:lnTo>
                      <a:pt x="1986" y="1120"/>
                    </a:lnTo>
                    <a:lnTo>
                      <a:pt x="1977" y="1131"/>
                    </a:lnTo>
                    <a:lnTo>
                      <a:pt x="1972" y="1142"/>
                    </a:lnTo>
                    <a:lnTo>
                      <a:pt x="1964" y="1153"/>
                    </a:lnTo>
                    <a:lnTo>
                      <a:pt x="1964" y="1168"/>
                    </a:lnTo>
                    <a:lnTo>
                      <a:pt x="1966" y="1176"/>
                    </a:lnTo>
                    <a:lnTo>
                      <a:pt x="1966" y="1177"/>
                    </a:lnTo>
                    <a:lnTo>
                      <a:pt x="1966" y="1179"/>
                    </a:lnTo>
                    <a:lnTo>
                      <a:pt x="1966" y="1187"/>
                    </a:lnTo>
                    <a:lnTo>
                      <a:pt x="1969" y="1196"/>
                    </a:lnTo>
                    <a:lnTo>
                      <a:pt x="1970" y="1202"/>
                    </a:lnTo>
                    <a:lnTo>
                      <a:pt x="1970" y="1209"/>
                    </a:lnTo>
                    <a:lnTo>
                      <a:pt x="1970" y="1217"/>
                    </a:lnTo>
                    <a:lnTo>
                      <a:pt x="1970" y="1226"/>
                    </a:lnTo>
                    <a:lnTo>
                      <a:pt x="1969" y="1229"/>
                    </a:lnTo>
                    <a:lnTo>
                      <a:pt x="1969" y="1231"/>
                    </a:lnTo>
                    <a:lnTo>
                      <a:pt x="1967" y="1236"/>
                    </a:lnTo>
                    <a:lnTo>
                      <a:pt x="1967" y="1242"/>
                    </a:lnTo>
                    <a:lnTo>
                      <a:pt x="1967" y="1247"/>
                    </a:lnTo>
                    <a:lnTo>
                      <a:pt x="1967" y="1253"/>
                    </a:lnTo>
                    <a:lnTo>
                      <a:pt x="1967" y="1258"/>
                    </a:lnTo>
                    <a:lnTo>
                      <a:pt x="1967" y="1264"/>
                    </a:lnTo>
                    <a:lnTo>
                      <a:pt x="1970" y="1283"/>
                    </a:lnTo>
                    <a:lnTo>
                      <a:pt x="1970" y="1296"/>
                    </a:lnTo>
                    <a:lnTo>
                      <a:pt x="1969" y="1312"/>
                    </a:lnTo>
                    <a:lnTo>
                      <a:pt x="1969" y="1323"/>
                    </a:lnTo>
                    <a:lnTo>
                      <a:pt x="1969" y="1336"/>
                    </a:lnTo>
                    <a:lnTo>
                      <a:pt x="1977" y="1356"/>
                    </a:lnTo>
                    <a:lnTo>
                      <a:pt x="1983" y="1372"/>
                    </a:lnTo>
                    <a:lnTo>
                      <a:pt x="1966" y="1377"/>
                    </a:lnTo>
                    <a:lnTo>
                      <a:pt x="1956" y="1382"/>
                    </a:lnTo>
                    <a:lnTo>
                      <a:pt x="1950" y="1386"/>
                    </a:lnTo>
                    <a:lnTo>
                      <a:pt x="1942" y="1393"/>
                    </a:lnTo>
                    <a:lnTo>
                      <a:pt x="1934" y="1399"/>
                    </a:lnTo>
                    <a:lnTo>
                      <a:pt x="1917" y="1407"/>
                    </a:lnTo>
                    <a:lnTo>
                      <a:pt x="1912" y="1415"/>
                    </a:lnTo>
                    <a:lnTo>
                      <a:pt x="1899" y="1418"/>
                    </a:lnTo>
                    <a:lnTo>
                      <a:pt x="1893" y="1424"/>
                    </a:lnTo>
                    <a:lnTo>
                      <a:pt x="1891" y="1429"/>
                    </a:lnTo>
                    <a:lnTo>
                      <a:pt x="1883" y="1434"/>
                    </a:lnTo>
                    <a:lnTo>
                      <a:pt x="1879" y="1440"/>
                    </a:lnTo>
                    <a:lnTo>
                      <a:pt x="1874" y="1448"/>
                    </a:lnTo>
                    <a:lnTo>
                      <a:pt x="1869" y="1453"/>
                    </a:lnTo>
                    <a:lnTo>
                      <a:pt x="1847" y="1456"/>
                    </a:lnTo>
                    <a:lnTo>
                      <a:pt x="1822" y="1459"/>
                    </a:lnTo>
                    <a:lnTo>
                      <a:pt x="1804" y="1462"/>
                    </a:lnTo>
                    <a:lnTo>
                      <a:pt x="1795" y="1465"/>
                    </a:lnTo>
                    <a:lnTo>
                      <a:pt x="1784" y="1465"/>
                    </a:lnTo>
                    <a:lnTo>
                      <a:pt x="1774" y="1469"/>
                    </a:lnTo>
                    <a:lnTo>
                      <a:pt x="1765" y="1469"/>
                    </a:lnTo>
                    <a:lnTo>
                      <a:pt x="1753" y="1467"/>
                    </a:lnTo>
                    <a:lnTo>
                      <a:pt x="1742" y="1465"/>
                    </a:lnTo>
                    <a:lnTo>
                      <a:pt x="1733" y="1462"/>
                    </a:lnTo>
                    <a:lnTo>
                      <a:pt x="1723" y="1456"/>
                    </a:lnTo>
                    <a:lnTo>
                      <a:pt x="1696" y="1489"/>
                    </a:lnTo>
                    <a:lnTo>
                      <a:pt x="1687" y="1508"/>
                    </a:lnTo>
                    <a:lnTo>
                      <a:pt x="1679" y="1530"/>
                    </a:lnTo>
                    <a:lnTo>
                      <a:pt x="1665" y="1562"/>
                    </a:lnTo>
                    <a:lnTo>
                      <a:pt x="1660" y="1572"/>
                    </a:lnTo>
                    <a:lnTo>
                      <a:pt x="1657" y="1586"/>
                    </a:lnTo>
                    <a:lnTo>
                      <a:pt x="1650" y="1603"/>
                    </a:lnTo>
                    <a:lnTo>
                      <a:pt x="1646" y="1618"/>
                    </a:lnTo>
                    <a:lnTo>
                      <a:pt x="1643" y="1630"/>
                    </a:lnTo>
                    <a:lnTo>
                      <a:pt x="1639" y="1652"/>
                    </a:lnTo>
                    <a:lnTo>
                      <a:pt x="1639" y="1670"/>
                    </a:lnTo>
                    <a:lnTo>
                      <a:pt x="1638" y="1673"/>
                    </a:lnTo>
                    <a:lnTo>
                      <a:pt x="1633" y="1679"/>
                    </a:lnTo>
                    <a:lnTo>
                      <a:pt x="1631" y="1684"/>
                    </a:lnTo>
                    <a:lnTo>
                      <a:pt x="1630" y="1690"/>
                    </a:lnTo>
                    <a:lnTo>
                      <a:pt x="1627" y="1698"/>
                    </a:lnTo>
                    <a:lnTo>
                      <a:pt x="1624" y="1705"/>
                    </a:lnTo>
                    <a:lnTo>
                      <a:pt x="1619" y="1716"/>
                    </a:lnTo>
                    <a:lnTo>
                      <a:pt x="1614" y="1727"/>
                    </a:lnTo>
                    <a:lnTo>
                      <a:pt x="1609" y="1736"/>
                    </a:lnTo>
                    <a:lnTo>
                      <a:pt x="1606" y="1746"/>
                    </a:lnTo>
                    <a:lnTo>
                      <a:pt x="1603" y="1757"/>
                    </a:lnTo>
                    <a:lnTo>
                      <a:pt x="1598" y="1767"/>
                    </a:lnTo>
                    <a:lnTo>
                      <a:pt x="1593" y="1778"/>
                    </a:lnTo>
                    <a:lnTo>
                      <a:pt x="1587" y="1787"/>
                    </a:lnTo>
                    <a:lnTo>
                      <a:pt x="1579" y="1795"/>
                    </a:lnTo>
                    <a:lnTo>
                      <a:pt x="1576" y="1816"/>
                    </a:lnTo>
                    <a:lnTo>
                      <a:pt x="1571" y="1830"/>
                    </a:lnTo>
                    <a:lnTo>
                      <a:pt x="1562" y="1852"/>
                    </a:lnTo>
                    <a:lnTo>
                      <a:pt x="1568" y="1874"/>
                    </a:lnTo>
                    <a:lnTo>
                      <a:pt x="1563" y="1881"/>
                    </a:lnTo>
                    <a:lnTo>
                      <a:pt x="1548" y="1908"/>
                    </a:lnTo>
                    <a:lnTo>
                      <a:pt x="1538" y="1923"/>
                    </a:lnTo>
                    <a:lnTo>
                      <a:pt x="1505" y="1974"/>
                    </a:lnTo>
                    <a:lnTo>
                      <a:pt x="1486" y="1980"/>
                    </a:lnTo>
                    <a:lnTo>
                      <a:pt x="1449" y="1999"/>
                    </a:lnTo>
                    <a:lnTo>
                      <a:pt x="1451" y="2003"/>
                    </a:lnTo>
                    <a:lnTo>
                      <a:pt x="1435" y="2004"/>
                    </a:lnTo>
                    <a:lnTo>
                      <a:pt x="1429" y="2004"/>
                    </a:lnTo>
                    <a:lnTo>
                      <a:pt x="1427" y="2004"/>
                    </a:lnTo>
                    <a:lnTo>
                      <a:pt x="1427" y="2006"/>
                    </a:lnTo>
                    <a:lnTo>
                      <a:pt x="1426" y="2006"/>
                    </a:lnTo>
                    <a:lnTo>
                      <a:pt x="1426" y="2004"/>
                    </a:lnTo>
                    <a:lnTo>
                      <a:pt x="1424" y="2003"/>
                    </a:lnTo>
                    <a:lnTo>
                      <a:pt x="1421" y="2003"/>
                    </a:lnTo>
                    <a:lnTo>
                      <a:pt x="1419" y="2003"/>
                    </a:lnTo>
                    <a:lnTo>
                      <a:pt x="1418" y="2003"/>
                    </a:lnTo>
                    <a:lnTo>
                      <a:pt x="1414" y="2001"/>
                    </a:lnTo>
                    <a:lnTo>
                      <a:pt x="1413" y="2001"/>
                    </a:lnTo>
                    <a:lnTo>
                      <a:pt x="1411" y="2001"/>
                    </a:lnTo>
                    <a:lnTo>
                      <a:pt x="1410" y="2006"/>
                    </a:lnTo>
                    <a:lnTo>
                      <a:pt x="1408" y="2006"/>
                    </a:lnTo>
                    <a:lnTo>
                      <a:pt x="1403" y="2007"/>
                    </a:lnTo>
                    <a:lnTo>
                      <a:pt x="1402" y="2007"/>
                    </a:lnTo>
                    <a:lnTo>
                      <a:pt x="1397" y="2007"/>
                    </a:lnTo>
                    <a:lnTo>
                      <a:pt x="1389" y="2004"/>
                    </a:lnTo>
                    <a:lnTo>
                      <a:pt x="1378" y="1999"/>
                    </a:lnTo>
                    <a:lnTo>
                      <a:pt x="1375" y="1999"/>
                    </a:lnTo>
                    <a:lnTo>
                      <a:pt x="1372" y="1999"/>
                    </a:lnTo>
                    <a:lnTo>
                      <a:pt x="1369" y="1998"/>
                    </a:lnTo>
                    <a:lnTo>
                      <a:pt x="1367" y="1998"/>
                    </a:lnTo>
                    <a:lnTo>
                      <a:pt x="1359" y="1995"/>
                    </a:lnTo>
                    <a:lnTo>
                      <a:pt x="1356" y="1993"/>
                    </a:lnTo>
                    <a:lnTo>
                      <a:pt x="1350" y="1990"/>
                    </a:lnTo>
                    <a:lnTo>
                      <a:pt x="1348" y="1990"/>
                    </a:lnTo>
                    <a:lnTo>
                      <a:pt x="1343" y="1988"/>
                    </a:lnTo>
                    <a:lnTo>
                      <a:pt x="1340" y="1988"/>
                    </a:lnTo>
                    <a:lnTo>
                      <a:pt x="1338" y="1987"/>
                    </a:lnTo>
                    <a:lnTo>
                      <a:pt x="1335" y="1982"/>
                    </a:lnTo>
                    <a:lnTo>
                      <a:pt x="1332" y="1977"/>
                    </a:lnTo>
                    <a:lnTo>
                      <a:pt x="1331" y="1974"/>
                    </a:lnTo>
                    <a:lnTo>
                      <a:pt x="1329" y="1974"/>
                    </a:lnTo>
                    <a:lnTo>
                      <a:pt x="1329" y="1976"/>
                    </a:lnTo>
                    <a:lnTo>
                      <a:pt x="1326" y="1977"/>
                    </a:lnTo>
                    <a:lnTo>
                      <a:pt x="1324" y="1980"/>
                    </a:lnTo>
                    <a:lnTo>
                      <a:pt x="1324" y="1982"/>
                    </a:lnTo>
                    <a:lnTo>
                      <a:pt x="1321" y="1980"/>
                    </a:lnTo>
                    <a:lnTo>
                      <a:pt x="1318" y="1980"/>
                    </a:lnTo>
                    <a:lnTo>
                      <a:pt x="1315" y="1980"/>
                    </a:lnTo>
                    <a:lnTo>
                      <a:pt x="1312" y="1979"/>
                    </a:lnTo>
                    <a:lnTo>
                      <a:pt x="1310" y="1979"/>
                    </a:lnTo>
                    <a:lnTo>
                      <a:pt x="1310" y="1977"/>
                    </a:lnTo>
                    <a:lnTo>
                      <a:pt x="1308" y="1977"/>
                    </a:lnTo>
                    <a:lnTo>
                      <a:pt x="1307" y="1977"/>
                    </a:lnTo>
                    <a:lnTo>
                      <a:pt x="1307" y="1979"/>
                    </a:lnTo>
                    <a:lnTo>
                      <a:pt x="1304" y="1979"/>
                    </a:lnTo>
                    <a:lnTo>
                      <a:pt x="1302" y="1979"/>
                    </a:lnTo>
                    <a:lnTo>
                      <a:pt x="1299" y="1979"/>
                    </a:lnTo>
                    <a:lnTo>
                      <a:pt x="1294" y="1974"/>
                    </a:lnTo>
                    <a:lnTo>
                      <a:pt x="1294" y="1973"/>
                    </a:lnTo>
                    <a:lnTo>
                      <a:pt x="1289" y="1973"/>
                    </a:lnTo>
                    <a:lnTo>
                      <a:pt x="1286" y="1973"/>
                    </a:lnTo>
                    <a:lnTo>
                      <a:pt x="1277" y="1976"/>
                    </a:lnTo>
                    <a:lnTo>
                      <a:pt x="1270" y="1979"/>
                    </a:lnTo>
                    <a:lnTo>
                      <a:pt x="1267" y="1979"/>
                    </a:lnTo>
                    <a:lnTo>
                      <a:pt x="1266" y="1979"/>
                    </a:lnTo>
                    <a:lnTo>
                      <a:pt x="1262" y="1980"/>
                    </a:lnTo>
                    <a:lnTo>
                      <a:pt x="1261" y="1980"/>
                    </a:lnTo>
                    <a:lnTo>
                      <a:pt x="1259" y="1980"/>
                    </a:lnTo>
                    <a:lnTo>
                      <a:pt x="1258" y="1980"/>
                    </a:lnTo>
                    <a:lnTo>
                      <a:pt x="1253" y="1980"/>
                    </a:lnTo>
                    <a:lnTo>
                      <a:pt x="1250" y="1980"/>
                    </a:lnTo>
                    <a:lnTo>
                      <a:pt x="1243" y="1980"/>
                    </a:lnTo>
                    <a:lnTo>
                      <a:pt x="1235" y="1979"/>
                    </a:lnTo>
                    <a:lnTo>
                      <a:pt x="1228" y="1979"/>
                    </a:lnTo>
                    <a:lnTo>
                      <a:pt x="1226" y="1979"/>
                    </a:lnTo>
                    <a:lnTo>
                      <a:pt x="1216" y="1977"/>
                    </a:lnTo>
                    <a:lnTo>
                      <a:pt x="1215" y="1977"/>
                    </a:lnTo>
                    <a:lnTo>
                      <a:pt x="1213" y="1977"/>
                    </a:lnTo>
                    <a:lnTo>
                      <a:pt x="1210" y="1977"/>
                    </a:lnTo>
                    <a:lnTo>
                      <a:pt x="1209" y="1977"/>
                    </a:lnTo>
                    <a:lnTo>
                      <a:pt x="1207" y="1977"/>
                    </a:lnTo>
                    <a:lnTo>
                      <a:pt x="1204" y="1977"/>
                    </a:lnTo>
                    <a:lnTo>
                      <a:pt x="1202" y="1977"/>
                    </a:lnTo>
                    <a:lnTo>
                      <a:pt x="1201" y="1977"/>
                    </a:lnTo>
                    <a:lnTo>
                      <a:pt x="1199" y="1977"/>
                    </a:lnTo>
                    <a:lnTo>
                      <a:pt x="1197" y="1977"/>
                    </a:lnTo>
                    <a:lnTo>
                      <a:pt x="1194" y="1977"/>
                    </a:lnTo>
                    <a:lnTo>
                      <a:pt x="1185" y="1976"/>
                    </a:lnTo>
                    <a:lnTo>
                      <a:pt x="1183" y="1976"/>
                    </a:lnTo>
                    <a:lnTo>
                      <a:pt x="1182" y="1974"/>
                    </a:lnTo>
                    <a:lnTo>
                      <a:pt x="1180" y="1974"/>
                    </a:lnTo>
                    <a:lnTo>
                      <a:pt x="1177" y="1974"/>
                    </a:lnTo>
                    <a:lnTo>
                      <a:pt x="1175" y="1976"/>
                    </a:lnTo>
                    <a:lnTo>
                      <a:pt x="1174" y="1976"/>
                    </a:lnTo>
                    <a:lnTo>
                      <a:pt x="1172" y="1976"/>
                    </a:lnTo>
                    <a:lnTo>
                      <a:pt x="1171" y="1976"/>
                    </a:lnTo>
                    <a:lnTo>
                      <a:pt x="1167" y="1977"/>
                    </a:lnTo>
                    <a:lnTo>
                      <a:pt x="1164" y="1976"/>
                    </a:lnTo>
                    <a:lnTo>
                      <a:pt x="1159" y="1971"/>
                    </a:lnTo>
                    <a:lnTo>
                      <a:pt x="1156" y="1969"/>
                    </a:lnTo>
                    <a:lnTo>
                      <a:pt x="1148" y="1963"/>
                    </a:lnTo>
                    <a:lnTo>
                      <a:pt x="1142" y="1957"/>
                    </a:lnTo>
                    <a:lnTo>
                      <a:pt x="1139" y="1954"/>
                    </a:lnTo>
                    <a:lnTo>
                      <a:pt x="1137" y="1950"/>
                    </a:lnTo>
                    <a:lnTo>
                      <a:pt x="1134" y="1947"/>
                    </a:lnTo>
                    <a:lnTo>
                      <a:pt x="1131" y="1944"/>
                    </a:lnTo>
                    <a:lnTo>
                      <a:pt x="1129" y="1942"/>
                    </a:lnTo>
                    <a:lnTo>
                      <a:pt x="1126" y="1942"/>
                    </a:lnTo>
                    <a:lnTo>
                      <a:pt x="1123" y="1941"/>
                    </a:lnTo>
                    <a:lnTo>
                      <a:pt x="1121" y="1941"/>
                    </a:lnTo>
                    <a:lnTo>
                      <a:pt x="1120" y="1941"/>
                    </a:lnTo>
                    <a:lnTo>
                      <a:pt x="1118" y="1941"/>
                    </a:lnTo>
                    <a:lnTo>
                      <a:pt x="1112" y="1935"/>
                    </a:lnTo>
                    <a:lnTo>
                      <a:pt x="1090" y="1922"/>
                    </a:lnTo>
                    <a:lnTo>
                      <a:pt x="1077" y="1912"/>
                    </a:lnTo>
                    <a:lnTo>
                      <a:pt x="1060" y="1901"/>
                    </a:lnTo>
                    <a:lnTo>
                      <a:pt x="1030" y="1881"/>
                    </a:lnTo>
                    <a:lnTo>
                      <a:pt x="1028" y="1879"/>
                    </a:lnTo>
                    <a:lnTo>
                      <a:pt x="1026" y="1879"/>
                    </a:lnTo>
                    <a:lnTo>
                      <a:pt x="1026" y="1874"/>
                    </a:lnTo>
                    <a:lnTo>
                      <a:pt x="1025" y="1874"/>
                    </a:lnTo>
                    <a:lnTo>
                      <a:pt x="1023" y="1873"/>
                    </a:lnTo>
                    <a:lnTo>
                      <a:pt x="1018" y="1870"/>
                    </a:lnTo>
                    <a:lnTo>
                      <a:pt x="1003" y="1860"/>
                    </a:lnTo>
                    <a:lnTo>
                      <a:pt x="1001" y="1858"/>
                    </a:lnTo>
                    <a:lnTo>
                      <a:pt x="998" y="1857"/>
                    </a:lnTo>
                    <a:lnTo>
                      <a:pt x="993" y="1854"/>
                    </a:lnTo>
                    <a:lnTo>
                      <a:pt x="990" y="1852"/>
                    </a:lnTo>
                    <a:lnTo>
                      <a:pt x="988" y="1851"/>
                    </a:lnTo>
                    <a:lnTo>
                      <a:pt x="987" y="1849"/>
                    </a:lnTo>
                    <a:lnTo>
                      <a:pt x="982" y="1846"/>
                    </a:lnTo>
                    <a:lnTo>
                      <a:pt x="971" y="1839"/>
                    </a:lnTo>
                    <a:lnTo>
                      <a:pt x="969" y="1838"/>
                    </a:lnTo>
                    <a:lnTo>
                      <a:pt x="957" y="1830"/>
                    </a:lnTo>
                    <a:lnTo>
                      <a:pt x="939" y="1819"/>
                    </a:lnTo>
                    <a:lnTo>
                      <a:pt x="936" y="1817"/>
                    </a:lnTo>
                    <a:lnTo>
                      <a:pt x="922" y="1808"/>
                    </a:lnTo>
                    <a:lnTo>
                      <a:pt x="920" y="1806"/>
                    </a:lnTo>
                    <a:lnTo>
                      <a:pt x="908" y="1798"/>
                    </a:lnTo>
                    <a:lnTo>
                      <a:pt x="896" y="1790"/>
                    </a:lnTo>
                    <a:lnTo>
                      <a:pt x="895" y="1789"/>
                    </a:lnTo>
                    <a:lnTo>
                      <a:pt x="887" y="1786"/>
                    </a:lnTo>
                    <a:lnTo>
                      <a:pt x="879" y="1779"/>
                    </a:lnTo>
                    <a:lnTo>
                      <a:pt x="877" y="1779"/>
                    </a:lnTo>
                    <a:lnTo>
                      <a:pt x="876" y="1778"/>
                    </a:lnTo>
                    <a:lnTo>
                      <a:pt x="873" y="1778"/>
                    </a:lnTo>
                    <a:lnTo>
                      <a:pt x="870" y="1774"/>
                    </a:lnTo>
                    <a:lnTo>
                      <a:pt x="866" y="1770"/>
                    </a:lnTo>
                    <a:lnTo>
                      <a:pt x="866" y="1768"/>
                    </a:lnTo>
                    <a:lnTo>
                      <a:pt x="865" y="1767"/>
                    </a:lnTo>
                    <a:lnTo>
                      <a:pt x="865" y="1765"/>
                    </a:lnTo>
                    <a:lnTo>
                      <a:pt x="863" y="1765"/>
                    </a:lnTo>
                    <a:lnTo>
                      <a:pt x="862" y="1765"/>
                    </a:lnTo>
                    <a:lnTo>
                      <a:pt x="857" y="1763"/>
                    </a:lnTo>
                    <a:lnTo>
                      <a:pt x="854" y="1760"/>
                    </a:lnTo>
                    <a:lnTo>
                      <a:pt x="852" y="1757"/>
                    </a:lnTo>
                    <a:lnTo>
                      <a:pt x="851" y="1757"/>
                    </a:lnTo>
                    <a:lnTo>
                      <a:pt x="851" y="1755"/>
                    </a:lnTo>
                    <a:lnTo>
                      <a:pt x="849" y="1755"/>
                    </a:lnTo>
                    <a:lnTo>
                      <a:pt x="846" y="1754"/>
                    </a:lnTo>
                    <a:lnTo>
                      <a:pt x="844" y="1754"/>
                    </a:lnTo>
                    <a:lnTo>
                      <a:pt x="839" y="1754"/>
                    </a:lnTo>
                    <a:lnTo>
                      <a:pt x="838" y="1754"/>
                    </a:lnTo>
                    <a:lnTo>
                      <a:pt x="836" y="1752"/>
                    </a:lnTo>
                    <a:lnTo>
                      <a:pt x="835" y="1752"/>
                    </a:lnTo>
                    <a:lnTo>
                      <a:pt x="832" y="1749"/>
                    </a:lnTo>
                    <a:lnTo>
                      <a:pt x="830" y="1749"/>
                    </a:lnTo>
                    <a:lnTo>
                      <a:pt x="827" y="1749"/>
                    </a:lnTo>
                    <a:lnTo>
                      <a:pt x="825" y="1746"/>
                    </a:lnTo>
                    <a:lnTo>
                      <a:pt x="817" y="1743"/>
                    </a:lnTo>
                    <a:lnTo>
                      <a:pt x="816" y="1743"/>
                    </a:lnTo>
                    <a:lnTo>
                      <a:pt x="808" y="1740"/>
                    </a:lnTo>
                    <a:lnTo>
                      <a:pt x="798" y="1736"/>
                    </a:lnTo>
                    <a:lnTo>
                      <a:pt x="794" y="1735"/>
                    </a:lnTo>
                    <a:lnTo>
                      <a:pt x="792" y="1735"/>
                    </a:lnTo>
                    <a:lnTo>
                      <a:pt x="782" y="1735"/>
                    </a:lnTo>
                    <a:lnTo>
                      <a:pt x="757" y="1736"/>
                    </a:lnTo>
                    <a:lnTo>
                      <a:pt x="756" y="1736"/>
                    </a:lnTo>
                    <a:lnTo>
                      <a:pt x="752" y="1736"/>
                    </a:lnTo>
                    <a:lnTo>
                      <a:pt x="746" y="1736"/>
                    </a:lnTo>
                    <a:lnTo>
                      <a:pt x="740" y="1736"/>
                    </a:lnTo>
                    <a:lnTo>
                      <a:pt x="738" y="1736"/>
                    </a:lnTo>
                    <a:lnTo>
                      <a:pt x="740" y="1736"/>
                    </a:lnTo>
                    <a:lnTo>
                      <a:pt x="741" y="1736"/>
                    </a:lnTo>
                    <a:lnTo>
                      <a:pt x="743" y="1736"/>
                    </a:lnTo>
                    <a:lnTo>
                      <a:pt x="744" y="1736"/>
                    </a:lnTo>
                    <a:lnTo>
                      <a:pt x="746" y="1736"/>
                    </a:lnTo>
                    <a:lnTo>
                      <a:pt x="748" y="1736"/>
                    </a:lnTo>
                    <a:lnTo>
                      <a:pt x="749" y="1736"/>
                    </a:lnTo>
                    <a:lnTo>
                      <a:pt x="751" y="1736"/>
                    </a:lnTo>
                    <a:lnTo>
                      <a:pt x="752" y="1736"/>
                    </a:lnTo>
                    <a:lnTo>
                      <a:pt x="754" y="1736"/>
                    </a:lnTo>
                    <a:lnTo>
                      <a:pt x="754" y="1735"/>
                    </a:lnTo>
                    <a:lnTo>
                      <a:pt x="756" y="1729"/>
                    </a:lnTo>
                    <a:lnTo>
                      <a:pt x="756" y="1727"/>
                    </a:lnTo>
                    <a:lnTo>
                      <a:pt x="757" y="1725"/>
                    </a:lnTo>
                    <a:lnTo>
                      <a:pt x="759" y="1722"/>
                    </a:lnTo>
                    <a:lnTo>
                      <a:pt x="759" y="1719"/>
                    </a:lnTo>
                    <a:lnTo>
                      <a:pt x="760" y="1714"/>
                    </a:lnTo>
                    <a:lnTo>
                      <a:pt x="762" y="1710"/>
                    </a:lnTo>
                    <a:lnTo>
                      <a:pt x="768" y="1700"/>
                    </a:lnTo>
                    <a:lnTo>
                      <a:pt x="768" y="1698"/>
                    </a:lnTo>
                    <a:lnTo>
                      <a:pt x="770" y="1697"/>
                    </a:lnTo>
                    <a:lnTo>
                      <a:pt x="773" y="1690"/>
                    </a:lnTo>
                    <a:lnTo>
                      <a:pt x="778" y="1684"/>
                    </a:lnTo>
                    <a:lnTo>
                      <a:pt x="784" y="1676"/>
                    </a:lnTo>
                    <a:lnTo>
                      <a:pt x="792" y="1668"/>
                    </a:lnTo>
                    <a:lnTo>
                      <a:pt x="795" y="1662"/>
                    </a:lnTo>
                    <a:lnTo>
                      <a:pt x="803" y="1652"/>
                    </a:lnTo>
                    <a:lnTo>
                      <a:pt x="805" y="1645"/>
                    </a:lnTo>
                    <a:lnTo>
                      <a:pt x="811" y="1633"/>
                    </a:lnTo>
                    <a:lnTo>
                      <a:pt x="811" y="1621"/>
                    </a:lnTo>
                    <a:lnTo>
                      <a:pt x="809" y="1611"/>
                    </a:lnTo>
                    <a:lnTo>
                      <a:pt x="806" y="1603"/>
                    </a:lnTo>
                    <a:lnTo>
                      <a:pt x="801" y="1599"/>
                    </a:lnTo>
                    <a:lnTo>
                      <a:pt x="800" y="1591"/>
                    </a:lnTo>
                    <a:lnTo>
                      <a:pt x="800" y="1583"/>
                    </a:lnTo>
                    <a:lnTo>
                      <a:pt x="801" y="1580"/>
                    </a:lnTo>
                    <a:lnTo>
                      <a:pt x="806" y="1573"/>
                    </a:lnTo>
                    <a:lnTo>
                      <a:pt x="808" y="1567"/>
                    </a:lnTo>
                    <a:lnTo>
                      <a:pt x="808" y="1562"/>
                    </a:lnTo>
                    <a:lnTo>
                      <a:pt x="808" y="1556"/>
                    </a:lnTo>
                    <a:lnTo>
                      <a:pt x="811" y="1546"/>
                    </a:lnTo>
                    <a:lnTo>
                      <a:pt x="816" y="1538"/>
                    </a:lnTo>
                    <a:lnTo>
                      <a:pt x="822" y="1532"/>
                    </a:lnTo>
                    <a:lnTo>
                      <a:pt x="824" y="1526"/>
                    </a:lnTo>
                    <a:lnTo>
                      <a:pt x="825" y="1524"/>
                    </a:lnTo>
                    <a:lnTo>
                      <a:pt x="830" y="1518"/>
                    </a:lnTo>
                    <a:lnTo>
                      <a:pt x="836" y="1515"/>
                    </a:lnTo>
                    <a:lnTo>
                      <a:pt x="839" y="1513"/>
                    </a:lnTo>
                    <a:lnTo>
                      <a:pt x="846" y="1515"/>
                    </a:lnTo>
                    <a:lnTo>
                      <a:pt x="854" y="1516"/>
                    </a:lnTo>
                    <a:lnTo>
                      <a:pt x="863" y="1518"/>
                    </a:lnTo>
                    <a:lnTo>
                      <a:pt x="871" y="1518"/>
                    </a:lnTo>
                    <a:lnTo>
                      <a:pt x="881" y="1516"/>
                    </a:lnTo>
                    <a:lnTo>
                      <a:pt x="892" y="1515"/>
                    </a:lnTo>
                    <a:lnTo>
                      <a:pt x="896" y="1510"/>
                    </a:lnTo>
                    <a:lnTo>
                      <a:pt x="901" y="1510"/>
                    </a:lnTo>
                    <a:lnTo>
                      <a:pt x="908" y="1513"/>
                    </a:lnTo>
                    <a:lnTo>
                      <a:pt x="915" y="1515"/>
                    </a:lnTo>
                    <a:lnTo>
                      <a:pt x="923" y="1515"/>
                    </a:lnTo>
                    <a:lnTo>
                      <a:pt x="931" y="1521"/>
                    </a:lnTo>
                    <a:lnTo>
                      <a:pt x="938" y="1526"/>
                    </a:lnTo>
                    <a:lnTo>
                      <a:pt x="946" y="1527"/>
                    </a:lnTo>
                    <a:lnTo>
                      <a:pt x="960" y="1523"/>
                    </a:lnTo>
                    <a:lnTo>
                      <a:pt x="968" y="1519"/>
                    </a:lnTo>
                    <a:lnTo>
                      <a:pt x="974" y="1515"/>
                    </a:lnTo>
                    <a:lnTo>
                      <a:pt x="982" y="1513"/>
                    </a:lnTo>
                    <a:lnTo>
                      <a:pt x="990" y="1507"/>
                    </a:lnTo>
                    <a:lnTo>
                      <a:pt x="999" y="1504"/>
                    </a:lnTo>
                    <a:lnTo>
                      <a:pt x="1007" y="1502"/>
                    </a:lnTo>
                    <a:lnTo>
                      <a:pt x="1007" y="1499"/>
                    </a:lnTo>
                    <a:lnTo>
                      <a:pt x="1014" y="1497"/>
                    </a:lnTo>
                    <a:lnTo>
                      <a:pt x="1022" y="1494"/>
                    </a:lnTo>
                    <a:lnTo>
                      <a:pt x="1025" y="1489"/>
                    </a:lnTo>
                    <a:lnTo>
                      <a:pt x="1028" y="1485"/>
                    </a:lnTo>
                    <a:lnTo>
                      <a:pt x="1030" y="1483"/>
                    </a:lnTo>
                    <a:lnTo>
                      <a:pt x="1036" y="1481"/>
                    </a:lnTo>
                    <a:lnTo>
                      <a:pt x="1044" y="1483"/>
                    </a:lnTo>
                    <a:lnTo>
                      <a:pt x="1052" y="1486"/>
                    </a:lnTo>
                    <a:lnTo>
                      <a:pt x="1056" y="1491"/>
                    </a:lnTo>
                    <a:lnTo>
                      <a:pt x="1064" y="1489"/>
                    </a:lnTo>
                    <a:lnTo>
                      <a:pt x="1069" y="1492"/>
                    </a:lnTo>
                    <a:lnTo>
                      <a:pt x="1075" y="1494"/>
                    </a:lnTo>
                    <a:lnTo>
                      <a:pt x="1080" y="1499"/>
                    </a:lnTo>
                    <a:lnTo>
                      <a:pt x="1088" y="1504"/>
                    </a:lnTo>
                    <a:lnTo>
                      <a:pt x="1096" y="1504"/>
                    </a:lnTo>
                    <a:lnTo>
                      <a:pt x="1098" y="1504"/>
                    </a:lnTo>
                    <a:lnTo>
                      <a:pt x="1101" y="1500"/>
                    </a:lnTo>
                    <a:lnTo>
                      <a:pt x="1102" y="1496"/>
                    </a:lnTo>
                    <a:lnTo>
                      <a:pt x="1102" y="1491"/>
                    </a:lnTo>
                    <a:lnTo>
                      <a:pt x="1102" y="1483"/>
                    </a:lnTo>
                    <a:lnTo>
                      <a:pt x="1101" y="1477"/>
                    </a:lnTo>
                    <a:lnTo>
                      <a:pt x="1101" y="1470"/>
                    </a:lnTo>
                    <a:lnTo>
                      <a:pt x="1101" y="1462"/>
                    </a:lnTo>
                    <a:lnTo>
                      <a:pt x="1107" y="1456"/>
                    </a:lnTo>
                    <a:lnTo>
                      <a:pt x="1112" y="1448"/>
                    </a:lnTo>
                    <a:lnTo>
                      <a:pt x="1114" y="1440"/>
                    </a:lnTo>
                    <a:lnTo>
                      <a:pt x="1115" y="1434"/>
                    </a:lnTo>
                    <a:lnTo>
                      <a:pt x="1115" y="1424"/>
                    </a:lnTo>
                    <a:lnTo>
                      <a:pt x="1115" y="1415"/>
                    </a:lnTo>
                    <a:lnTo>
                      <a:pt x="1114" y="1405"/>
                    </a:lnTo>
                    <a:lnTo>
                      <a:pt x="1114" y="1402"/>
                    </a:lnTo>
                    <a:lnTo>
                      <a:pt x="1114" y="1401"/>
                    </a:lnTo>
                    <a:lnTo>
                      <a:pt x="1112" y="1397"/>
                    </a:lnTo>
                    <a:lnTo>
                      <a:pt x="1110" y="1393"/>
                    </a:lnTo>
                    <a:lnTo>
                      <a:pt x="1114" y="1385"/>
                    </a:lnTo>
                    <a:lnTo>
                      <a:pt x="1120" y="1383"/>
                    </a:lnTo>
                    <a:lnTo>
                      <a:pt x="1125" y="1382"/>
                    </a:lnTo>
                    <a:lnTo>
                      <a:pt x="1133" y="1382"/>
                    </a:lnTo>
                    <a:lnTo>
                      <a:pt x="1137" y="1378"/>
                    </a:lnTo>
                    <a:lnTo>
                      <a:pt x="1142" y="1375"/>
                    </a:lnTo>
                    <a:lnTo>
                      <a:pt x="1147" y="1374"/>
                    </a:lnTo>
                    <a:lnTo>
                      <a:pt x="1152" y="1370"/>
                    </a:lnTo>
                    <a:lnTo>
                      <a:pt x="1153" y="1367"/>
                    </a:lnTo>
                    <a:lnTo>
                      <a:pt x="1156" y="1361"/>
                    </a:lnTo>
                    <a:lnTo>
                      <a:pt x="1156" y="1355"/>
                    </a:lnTo>
                    <a:lnTo>
                      <a:pt x="1152" y="1350"/>
                    </a:lnTo>
                    <a:lnTo>
                      <a:pt x="1147" y="1348"/>
                    </a:lnTo>
                    <a:lnTo>
                      <a:pt x="1142" y="1347"/>
                    </a:lnTo>
                    <a:lnTo>
                      <a:pt x="1136" y="1342"/>
                    </a:lnTo>
                    <a:lnTo>
                      <a:pt x="1134" y="1337"/>
                    </a:lnTo>
                    <a:lnTo>
                      <a:pt x="1133" y="1331"/>
                    </a:lnTo>
                    <a:lnTo>
                      <a:pt x="1133" y="1324"/>
                    </a:lnTo>
                    <a:lnTo>
                      <a:pt x="1129" y="1318"/>
                    </a:lnTo>
                    <a:lnTo>
                      <a:pt x="1125" y="1313"/>
                    </a:lnTo>
                    <a:lnTo>
                      <a:pt x="1125" y="1307"/>
                    </a:lnTo>
                    <a:lnTo>
                      <a:pt x="1123" y="1301"/>
                    </a:lnTo>
                    <a:lnTo>
                      <a:pt x="1121" y="1293"/>
                    </a:lnTo>
                    <a:lnTo>
                      <a:pt x="1117" y="1291"/>
                    </a:lnTo>
                    <a:lnTo>
                      <a:pt x="1115" y="1291"/>
                    </a:lnTo>
                    <a:lnTo>
                      <a:pt x="1114" y="1291"/>
                    </a:lnTo>
                    <a:lnTo>
                      <a:pt x="1107" y="1291"/>
                    </a:lnTo>
                    <a:lnTo>
                      <a:pt x="1102" y="1291"/>
                    </a:lnTo>
                    <a:lnTo>
                      <a:pt x="1099" y="1288"/>
                    </a:lnTo>
                    <a:lnTo>
                      <a:pt x="1096" y="1285"/>
                    </a:lnTo>
                    <a:lnTo>
                      <a:pt x="1091" y="1283"/>
                    </a:lnTo>
                    <a:lnTo>
                      <a:pt x="1088" y="1280"/>
                    </a:lnTo>
                    <a:lnTo>
                      <a:pt x="1085" y="1277"/>
                    </a:lnTo>
                    <a:lnTo>
                      <a:pt x="1080" y="1277"/>
                    </a:lnTo>
                    <a:lnTo>
                      <a:pt x="1075" y="1280"/>
                    </a:lnTo>
                    <a:lnTo>
                      <a:pt x="1074" y="1282"/>
                    </a:lnTo>
                    <a:lnTo>
                      <a:pt x="1072" y="1282"/>
                    </a:lnTo>
                    <a:lnTo>
                      <a:pt x="1069" y="1282"/>
                    </a:lnTo>
                    <a:lnTo>
                      <a:pt x="1068" y="1277"/>
                    </a:lnTo>
                    <a:lnTo>
                      <a:pt x="1068" y="1272"/>
                    </a:lnTo>
                    <a:lnTo>
                      <a:pt x="1069" y="1266"/>
                    </a:lnTo>
                    <a:lnTo>
                      <a:pt x="1068" y="1260"/>
                    </a:lnTo>
                    <a:lnTo>
                      <a:pt x="1066" y="1252"/>
                    </a:lnTo>
                    <a:lnTo>
                      <a:pt x="1064" y="1247"/>
                    </a:lnTo>
                    <a:lnTo>
                      <a:pt x="1064" y="1244"/>
                    </a:lnTo>
                    <a:lnTo>
                      <a:pt x="1066" y="1236"/>
                    </a:lnTo>
                    <a:lnTo>
                      <a:pt x="1069" y="1229"/>
                    </a:lnTo>
                    <a:lnTo>
                      <a:pt x="1075" y="1223"/>
                    </a:lnTo>
                    <a:lnTo>
                      <a:pt x="1080" y="1215"/>
                    </a:lnTo>
                    <a:lnTo>
                      <a:pt x="1083" y="1207"/>
                    </a:lnTo>
                    <a:lnTo>
                      <a:pt x="1087" y="1199"/>
                    </a:lnTo>
                    <a:lnTo>
                      <a:pt x="1087" y="1191"/>
                    </a:lnTo>
                    <a:lnTo>
                      <a:pt x="1087" y="1185"/>
                    </a:lnTo>
                    <a:lnTo>
                      <a:pt x="1087" y="1183"/>
                    </a:lnTo>
                    <a:lnTo>
                      <a:pt x="1085" y="1177"/>
                    </a:lnTo>
                    <a:lnTo>
                      <a:pt x="1083" y="1169"/>
                    </a:lnTo>
                    <a:lnTo>
                      <a:pt x="1077" y="1166"/>
                    </a:lnTo>
                    <a:lnTo>
                      <a:pt x="1074" y="1160"/>
                    </a:lnTo>
                    <a:lnTo>
                      <a:pt x="1071" y="1155"/>
                    </a:lnTo>
                    <a:lnTo>
                      <a:pt x="1071" y="1149"/>
                    </a:lnTo>
                    <a:lnTo>
                      <a:pt x="1072" y="1141"/>
                    </a:lnTo>
                    <a:lnTo>
                      <a:pt x="1074" y="1134"/>
                    </a:lnTo>
                    <a:lnTo>
                      <a:pt x="1075" y="1131"/>
                    </a:lnTo>
                    <a:lnTo>
                      <a:pt x="1079" y="1128"/>
                    </a:lnTo>
                    <a:lnTo>
                      <a:pt x="1085" y="1122"/>
                    </a:lnTo>
                    <a:lnTo>
                      <a:pt x="1088" y="1117"/>
                    </a:lnTo>
                    <a:lnTo>
                      <a:pt x="1093" y="1111"/>
                    </a:lnTo>
                    <a:lnTo>
                      <a:pt x="1099" y="1106"/>
                    </a:lnTo>
                    <a:lnTo>
                      <a:pt x="1104" y="1107"/>
                    </a:lnTo>
                    <a:lnTo>
                      <a:pt x="1107" y="1112"/>
                    </a:lnTo>
                    <a:lnTo>
                      <a:pt x="1110" y="1117"/>
                    </a:lnTo>
                    <a:lnTo>
                      <a:pt x="1117" y="1120"/>
                    </a:lnTo>
                    <a:lnTo>
                      <a:pt x="1121" y="1120"/>
                    </a:lnTo>
                    <a:lnTo>
                      <a:pt x="1126" y="1117"/>
                    </a:lnTo>
                    <a:lnTo>
                      <a:pt x="1129" y="1112"/>
                    </a:lnTo>
                    <a:lnTo>
                      <a:pt x="1133" y="1112"/>
                    </a:lnTo>
                    <a:lnTo>
                      <a:pt x="1134" y="1112"/>
                    </a:lnTo>
                    <a:lnTo>
                      <a:pt x="1140" y="1117"/>
                    </a:lnTo>
                    <a:lnTo>
                      <a:pt x="1145" y="1125"/>
                    </a:lnTo>
                    <a:lnTo>
                      <a:pt x="1152" y="1126"/>
                    </a:lnTo>
                    <a:lnTo>
                      <a:pt x="1156" y="1126"/>
                    </a:lnTo>
                    <a:lnTo>
                      <a:pt x="1158" y="1128"/>
                    </a:lnTo>
                    <a:lnTo>
                      <a:pt x="1159" y="1131"/>
                    </a:lnTo>
                    <a:lnTo>
                      <a:pt x="1164" y="1134"/>
                    </a:lnTo>
                    <a:lnTo>
                      <a:pt x="1171" y="1133"/>
                    </a:lnTo>
                    <a:lnTo>
                      <a:pt x="1174" y="1136"/>
                    </a:lnTo>
                    <a:lnTo>
                      <a:pt x="1172" y="1141"/>
                    </a:lnTo>
                    <a:lnTo>
                      <a:pt x="1172" y="1147"/>
                    </a:lnTo>
                    <a:lnTo>
                      <a:pt x="1175" y="1152"/>
                    </a:lnTo>
                    <a:lnTo>
                      <a:pt x="1180" y="1149"/>
                    </a:lnTo>
                    <a:lnTo>
                      <a:pt x="1186" y="1147"/>
                    </a:lnTo>
                    <a:lnTo>
                      <a:pt x="1193" y="1145"/>
                    </a:lnTo>
                    <a:lnTo>
                      <a:pt x="1194" y="1145"/>
                    </a:lnTo>
                    <a:lnTo>
                      <a:pt x="1202" y="1144"/>
                    </a:lnTo>
                    <a:lnTo>
                      <a:pt x="1205" y="1145"/>
                    </a:lnTo>
                    <a:lnTo>
                      <a:pt x="1207" y="1149"/>
                    </a:lnTo>
                    <a:lnTo>
                      <a:pt x="1213" y="1152"/>
                    </a:lnTo>
                    <a:lnTo>
                      <a:pt x="1216" y="1158"/>
                    </a:lnTo>
                    <a:lnTo>
                      <a:pt x="1216" y="1164"/>
                    </a:lnTo>
                    <a:lnTo>
                      <a:pt x="1216" y="1171"/>
                    </a:lnTo>
                    <a:lnTo>
                      <a:pt x="1215" y="1176"/>
                    </a:lnTo>
                    <a:lnTo>
                      <a:pt x="1210" y="1179"/>
                    </a:lnTo>
                    <a:lnTo>
                      <a:pt x="1204" y="1182"/>
                    </a:lnTo>
                    <a:lnTo>
                      <a:pt x="1202" y="1182"/>
                    </a:lnTo>
                    <a:lnTo>
                      <a:pt x="1197" y="1183"/>
                    </a:lnTo>
                    <a:lnTo>
                      <a:pt x="1193" y="1183"/>
                    </a:lnTo>
                    <a:lnTo>
                      <a:pt x="1190" y="1185"/>
                    </a:lnTo>
                    <a:lnTo>
                      <a:pt x="1188" y="1187"/>
                    </a:lnTo>
                    <a:lnTo>
                      <a:pt x="1185" y="1191"/>
                    </a:lnTo>
                    <a:lnTo>
                      <a:pt x="1183" y="1196"/>
                    </a:lnTo>
                    <a:lnTo>
                      <a:pt x="1183" y="1199"/>
                    </a:lnTo>
                    <a:lnTo>
                      <a:pt x="1182" y="1202"/>
                    </a:lnTo>
                    <a:lnTo>
                      <a:pt x="1180" y="1206"/>
                    </a:lnTo>
                    <a:lnTo>
                      <a:pt x="1183" y="1210"/>
                    </a:lnTo>
                    <a:lnTo>
                      <a:pt x="1186" y="1214"/>
                    </a:lnTo>
                    <a:lnTo>
                      <a:pt x="1188" y="1220"/>
                    </a:lnTo>
                    <a:lnTo>
                      <a:pt x="1185" y="1226"/>
                    </a:lnTo>
                    <a:lnTo>
                      <a:pt x="1180" y="1231"/>
                    </a:lnTo>
                    <a:lnTo>
                      <a:pt x="1177" y="1234"/>
                    </a:lnTo>
                    <a:lnTo>
                      <a:pt x="1172" y="1236"/>
                    </a:lnTo>
                    <a:lnTo>
                      <a:pt x="1167" y="1234"/>
                    </a:lnTo>
                    <a:lnTo>
                      <a:pt x="1164" y="1231"/>
                    </a:lnTo>
                    <a:lnTo>
                      <a:pt x="1159" y="1228"/>
                    </a:lnTo>
                    <a:lnTo>
                      <a:pt x="1156" y="1233"/>
                    </a:lnTo>
                    <a:lnTo>
                      <a:pt x="1155" y="1241"/>
                    </a:lnTo>
                    <a:lnTo>
                      <a:pt x="1153" y="1245"/>
                    </a:lnTo>
                    <a:lnTo>
                      <a:pt x="1158" y="1252"/>
                    </a:lnTo>
                    <a:lnTo>
                      <a:pt x="1158" y="1255"/>
                    </a:lnTo>
                    <a:lnTo>
                      <a:pt x="1159" y="1258"/>
                    </a:lnTo>
                    <a:lnTo>
                      <a:pt x="1161" y="1261"/>
                    </a:lnTo>
                    <a:lnTo>
                      <a:pt x="1164" y="1266"/>
                    </a:lnTo>
                    <a:lnTo>
                      <a:pt x="1166" y="1271"/>
                    </a:lnTo>
                    <a:lnTo>
                      <a:pt x="1166" y="1275"/>
                    </a:lnTo>
                    <a:lnTo>
                      <a:pt x="1171" y="1277"/>
                    </a:lnTo>
                    <a:lnTo>
                      <a:pt x="1174" y="1280"/>
                    </a:lnTo>
                    <a:lnTo>
                      <a:pt x="1177" y="1285"/>
                    </a:lnTo>
                    <a:lnTo>
                      <a:pt x="1178" y="1286"/>
                    </a:lnTo>
                    <a:lnTo>
                      <a:pt x="1180" y="1293"/>
                    </a:lnTo>
                    <a:lnTo>
                      <a:pt x="1183" y="1298"/>
                    </a:lnTo>
                    <a:lnTo>
                      <a:pt x="1190" y="1299"/>
                    </a:lnTo>
                    <a:lnTo>
                      <a:pt x="1193" y="1304"/>
                    </a:lnTo>
                    <a:lnTo>
                      <a:pt x="1193" y="1312"/>
                    </a:lnTo>
                    <a:lnTo>
                      <a:pt x="1191" y="1315"/>
                    </a:lnTo>
                    <a:lnTo>
                      <a:pt x="1188" y="1320"/>
                    </a:lnTo>
                    <a:lnTo>
                      <a:pt x="1188" y="1323"/>
                    </a:lnTo>
                    <a:lnTo>
                      <a:pt x="1188" y="1324"/>
                    </a:lnTo>
                    <a:lnTo>
                      <a:pt x="1191" y="1326"/>
                    </a:lnTo>
                    <a:lnTo>
                      <a:pt x="1196" y="1328"/>
                    </a:lnTo>
                    <a:lnTo>
                      <a:pt x="1201" y="1326"/>
                    </a:lnTo>
                    <a:lnTo>
                      <a:pt x="1204" y="1321"/>
                    </a:lnTo>
                    <a:lnTo>
                      <a:pt x="1205" y="1321"/>
                    </a:lnTo>
                    <a:lnTo>
                      <a:pt x="1209" y="1318"/>
                    </a:lnTo>
                    <a:lnTo>
                      <a:pt x="1215" y="1320"/>
                    </a:lnTo>
                    <a:lnTo>
                      <a:pt x="1220" y="1320"/>
                    </a:lnTo>
                    <a:lnTo>
                      <a:pt x="1226" y="1318"/>
                    </a:lnTo>
                    <a:lnTo>
                      <a:pt x="1229" y="1313"/>
                    </a:lnTo>
                    <a:lnTo>
                      <a:pt x="1232" y="1312"/>
                    </a:lnTo>
                    <a:lnTo>
                      <a:pt x="1235" y="1309"/>
                    </a:lnTo>
                    <a:lnTo>
                      <a:pt x="1242" y="1309"/>
                    </a:lnTo>
                    <a:lnTo>
                      <a:pt x="1247" y="1304"/>
                    </a:lnTo>
                    <a:lnTo>
                      <a:pt x="1243" y="1299"/>
                    </a:lnTo>
                    <a:lnTo>
                      <a:pt x="1239" y="1296"/>
                    </a:lnTo>
                    <a:lnTo>
                      <a:pt x="1234" y="1294"/>
                    </a:lnTo>
                    <a:lnTo>
                      <a:pt x="1229" y="1293"/>
                    </a:lnTo>
                    <a:lnTo>
                      <a:pt x="1226" y="1293"/>
                    </a:lnTo>
                    <a:lnTo>
                      <a:pt x="1224" y="1288"/>
                    </a:lnTo>
                    <a:lnTo>
                      <a:pt x="1220" y="1285"/>
                    </a:lnTo>
                    <a:lnTo>
                      <a:pt x="1216" y="1288"/>
                    </a:lnTo>
                    <a:lnTo>
                      <a:pt x="1213" y="1288"/>
                    </a:lnTo>
                    <a:lnTo>
                      <a:pt x="1210" y="1285"/>
                    </a:lnTo>
                    <a:lnTo>
                      <a:pt x="1212" y="1279"/>
                    </a:lnTo>
                    <a:lnTo>
                      <a:pt x="1218" y="1274"/>
                    </a:lnTo>
                    <a:lnTo>
                      <a:pt x="1223" y="1272"/>
                    </a:lnTo>
                    <a:lnTo>
                      <a:pt x="1224" y="1266"/>
                    </a:lnTo>
                    <a:lnTo>
                      <a:pt x="1228" y="1260"/>
                    </a:lnTo>
                    <a:lnTo>
                      <a:pt x="1229" y="1258"/>
                    </a:lnTo>
                    <a:lnTo>
                      <a:pt x="1232" y="1252"/>
                    </a:lnTo>
                    <a:lnTo>
                      <a:pt x="1234" y="1250"/>
                    </a:lnTo>
                    <a:lnTo>
                      <a:pt x="1235" y="1245"/>
                    </a:lnTo>
                    <a:lnTo>
                      <a:pt x="1237" y="1239"/>
                    </a:lnTo>
                    <a:lnTo>
                      <a:pt x="1240" y="1233"/>
                    </a:lnTo>
                    <a:lnTo>
                      <a:pt x="1245" y="1226"/>
                    </a:lnTo>
                    <a:lnTo>
                      <a:pt x="1251" y="1225"/>
                    </a:lnTo>
                    <a:lnTo>
                      <a:pt x="1258" y="1221"/>
                    </a:lnTo>
                    <a:lnTo>
                      <a:pt x="1258" y="1217"/>
                    </a:lnTo>
                    <a:lnTo>
                      <a:pt x="1258" y="1210"/>
                    </a:lnTo>
                    <a:lnTo>
                      <a:pt x="1256" y="1202"/>
                    </a:lnTo>
                    <a:lnTo>
                      <a:pt x="1254" y="1196"/>
                    </a:lnTo>
                    <a:lnTo>
                      <a:pt x="1254" y="1193"/>
                    </a:lnTo>
                    <a:lnTo>
                      <a:pt x="1254" y="1191"/>
                    </a:lnTo>
                    <a:lnTo>
                      <a:pt x="1254" y="1185"/>
                    </a:lnTo>
                    <a:lnTo>
                      <a:pt x="1253" y="1179"/>
                    </a:lnTo>
                    <a:lnTo>
                      <a:pt x="1253" y="1177"/>
                    </a:lnTo>
                    <a:lnTo>
                      <a:pt x="1254" y="1176"/>
                    </a:lnTo>
                    <a:lnTo>
                      <a:pt x="1254" y="1174"/>
                    </a:lnTo>
                    <a:lnTo>
                      <a:pt x="1254" y="1168"/>
                    </a:lnTo>
                    <a:lnTo>
                      <a:pt x="1259" y="1161"/>
                    </a:lnTo>
                    <a:lnTo>
                      <a:pt x="1262" y="1158"/>
                    </a:lnTo>
                    <a:lnTo>
                      <a:pt x="1266" y="1157"/>
                    </a:lnTo>
                    <a:lnTo>
                      <a:pt x="1269" y="1155"/>
                    </a:lnTo>
                    <a:lnTo>
                      <a:pt x="1277" y="1152"/>
                    </a:lnTo>
                    <a:lnTo>
                      <a:pt x="1286" y="1152"/>
                    </a:lnTo>
                    <a:lnTo>
                      <a:pt x="1288" y="1152"/>
                    </a:lnTo>
                    <a:lnTo>
                      <a:pt x="1296" y="1152"/>
                    </a:lnTo>
                    <a:lnTo>
                      <a:pt x="1300" y="1152"/>
                    </a:lnTo>
                    <a:lnTo>
                      <a:pt x="1307" y="1157"/>
                    </a:lnTo>
                    <a:lnTo>
                      <a:pt x="1313" y="1158"/>
                    </a:lnTo>
                    <a:lnTo>
                      <a:pt x="1319" y="1157"/>
                    </a:lnTo>
                    <a:lnTo>
                      <a:pt x="1321" y="1157"/>
                    </a:lnTo>
                    <a:lnTo>
                      <a:pt x="1324" y="1158"/>
                    </a:lnTo>
                    <a:lnTo>
                      <a:pt x="1326" y="1161"/>
                    </a:lnTo>
                    <a:lnTo>
                      <a:pt x="1332" y="1161"/>
                    </a:lnTo>
                    <a:lnTo>
                      <a:pt x="1334" y="1163"/>
                    </a:lnTo>
                    <a:lnTo>
                      <a:pt x="1337" y="1166"/>
                    </a:lnTo>
                    <a:lnTo>
                      <a:pt x="1340" y="1164"/>
                    </a:lnTo>
                    <a:lnTo>
                      <a:pt x="1346" y="1161"/>
                    </a:lnTo>
                    <a:lnTo>
                      <a:pt x="1351" y="1160"/>
                    </a:lnTo>
                    <a:lnTo>
                      <a:pt x="1353" y="1161"/>
                    </a:lnTo>
                    <a:lnTo>
                      <a:pt x="1354" y="1163"/>
                    </a:lnTo>
                    <a:lnTo>
                      <a:pt x="1356" y="1163"/>
                    </a:lnTo>
                    <a:lnTo>
                      <a:pt x="1359" y="1166"/>
                    </a:lnTo>
                    <a:lnTo>
                      <a:pt x="1362" y="1171"/>
                    </a:lnTo>
                    <a:lnTo>
                      <a:pt x="1367" y="1176"/>
                    </a:lnTo>
                    <a:lnTo>
                      <a:pt x="1373" y="1180"/>
                    </a:lnTo>
                    <a:lnTo>
                      <a:pt x="1380" y="1187"/>
                    </a:lnTo>
                    <a:lnTo>
                      <a:pt x="1386" y="1191"/>
                    </a:lnTo>
                    <a:lnTo>
                      <a:pt x="1389" y="1196"/>
                    </a:lnTo>
                    <a:lnTo>
                      <a:pt x="1392" y="1204"/>
                    </a:lnTo>
                    <a:lnTo>
                      <a:pt x="1399" y="1214"/>
                    </a:lnTo>
                    <a:lnTo>
                      <a:pt x="1400" y="1215"/>
                    </a:lnTo>
                    <a:lnTo>
                      <a:pt x="1403" y="1221"/>
                    </a:lnTo>
                    <a:lnTo>
                      <a:pt x="1405" y="1225"/>
                    </a:lnTo>
                    <a:lnTo>
                      <a:pt x="1408" y="1228"/>
                    </a:lnTo>
                    <a:lnTo>
                      <a:pt x="1411" y="1234"/>
                    </a:lnTo>
                    <a:lnTo>
                      <a:pt x="1419" y="1237"/>
                    </a:lnTo>
                    <a:lnTo>
                      <a:pt x="1426" y="1239"/>
                    </a:lnTo>
                    <a:lnTo>
                      <a:pt x="1432" y="1241"/>
                    </a:lnTo>
                    <a:lnTo>
                      <a:pt x="1438" y="1237"/>
                    </a:lnTo>
                    <a:lnTo>
                      <a:pt x="1446" y="1236"/>
                    </a:lnTo>
                    <a:lnTo>
                      <a:pt x="1452" y="1234"/>
                    </a:lnTo>
                    <a:lnTo>
                      <a:pt x="1460" y="1234"/>
                    </a:lnTo>
                    <a:lnTo>
                      <a:pt x="1460" y="1231"/>
                    </a:lnTo>
                    <a:lnTo>
                      <a:pt x="1456" y="1228"/>
                    </a:lnTo>
                    <a:lnTo>
                      <a:pt x="1452" y="1221"/>
                    </a:lnTo>
                    <a:lnTo>
                      <a:pt x="1451" y="1217"/>
                    </a:lnTo>
                    <a:lnTo>
                      <a:pt x="1449" y="1212"/>
                    </a:lnTo>
                    <a:lnTo>
                      <a:pt x="1448" y="1207"/>
                    </a:lnTo>
                    <a:lnTo>
                      <a:pt x="1449" y="1201"/>
                    </a:lnTo>
                    <a:lnTo>
                      <a:pt x="1454" y="1196"/>
                    </a:lnTo>
                    <a:lnTo>
                      <a:pt x="1457" y="1193"/>
                    </a:lnTo>
                    <a:lnTo>
                      <a:pt x="1459" y="1187"/>
                    </a:lnTo>
                    <a:lnTo>
                      <a:pt x="1459" y="1182"/>
                    </a:lnTo>
                    <a:lnTo>
                      <a:pt x="1459" y="1180"/>
                    </a:lnTo>
                    <a:lnTo>
                      <a:pt x="1459" y="1176"/>
                    </a:lnTo>
                    <a:lnTo>
                      <a:pt x="1457" y="1169"/>
                    </a:lnTo>
                    <a:lnTo>
                      <a:pt x="1456" y="1164"/>
                    </a:lnTo>
                    <a:lnTo>
                      <a:pt x="1454" y="1158"/>
                    </a:lnTo>
                    <a:lnTo>
                      <a:pt x="1454" y="1152"/>
                    </a:lnTo>
                    <a:lnTo>
                      <a:pt x="1451" y="1147"/>
                    </a:lnTo>
                    <a:lnTo>
                      <a:pt x="1449" y="1142"/>
                    </a:lnTo>
                    <a:lnTo>
                      <a:pt x="1449" y="1136"/>
                    </a:lnTo>
                    <a:lnTo>
                      <a:pt x="1451" y="1128"/>
                    </a:lnTo>
                    <a:lnTo>
                      <a:pt x="1448" y="1122"/>
                    </a:lnTo>
                    <a:lnTo>
                      <a:pt x="1446" y="1120"/>
                    </a:lnTo>
                    <a:lnTo>
                      <a:pt x="1443" y="1118"/>
                    </a:lnTo>
                    <a:lnTo>
                      <a:pt x="1438" y="1117"/>
                    </a:lnTo>
                    <a:lnTo>
                      <a:pt x="1437" y="1114"/>
                    </a:lnTo>
                    <a:lnTo>
                      <a:pt x="1438" y="1109"/>
                    </a:lnTo>
                    <a:lnTo>
                      <a:pt x="1441" y="1106"/>
                    </a:lnTo>
                    <a:lnTo>
                      <a:pt x="1440" y="1103"/>
                    </a:lnTo>
                    <a:lnTo>
                      <a:pt x="1432" y="1101"/>
                    </a:lnTo>
                    <a:lnTo>
                      <a:pt x="1426" y="1103"/>
                    </a:lnTo>
                    <a:lnTo>
                      <a:pt x="1418" y="1104"/>
                    </a:lnTo>
                    <a:lnTo>
                      <a:pt x="1410" y="1104"/>
                    </a:lnTo>
                    <a:lnTo>
                      <a:pt x="1405" y="1103"/>
                    </a:lnTo>
                    <a:lnTo>
                      <a:pt x="1407" y="1096"/>
                    </a:lnTo>
                    <a:lnTo>
                      <a:pt x="1407" y="1093"/>
                    </a:lnTo>
                    <a:lnTo>
                      <a:pt x="1408" y="1092"/>
                    </a:lnTo>
                    <a:lnTo>
                      <a:pt x="1403" y="1088"/>
                    </a:lnTo>
                    <a:lnTo>
                      <a:pt x="1402" y="1088"/>
                    </a:lnTo>
                    <a:lnTo>
                      <a:pt x="1399" y="1088"/>
                    </a:lnTo>
                    <a:lnTo>
                      <a:pt x="1394" y="1085"/>
                    </a:lnTo>
                    <a:lnTo>
                      <a:pt x="1386" y="1085"/>
                    </a:lnTo>
                    <a:lnTo>
                      <a:pt x="1380" y="1085"/>
                    </a:lnTo>
                    <a:lnTo>
                      <a:pt x="1375" y="1082"/>
                    </a:lnTo>
                    <a:lnTo>
                      <a:pt x="1373" y="1079"/>
                    </a:lnTo>
                    <a:lnTo>
                      <a:pt x="1369" y="1074"/>
                    </a:lnTo>
                    <a:lnTo>
                      <a:pt x="1367" y="1076"/>
                    </a:lnTo>
                    <a:lnTo>
                      <a:pt x="1357" y="1076"/>
                    </a:lnTo>
                    <a:lnTo>
                      <a:pt x="1351" y="1077"/>
                    </a:lnTo>
                    <a:lnTo>
                      <a:pt x="1346" y="1076"/>
                    </a:lnTo>
                    <a:lnTo>
                      <a:pt x="1343" y="1073"/>
                    </a:lnTo>
                    <a:lnTo>
                      <a:pt x="1340" y="1066"/>
                    </a:lnTo>
                    <a:lnTo>
                      <a:pt x="1337" y="1063"/>
                    </a:lnTo>
                    <a:lnTo>
                      <a:pt x="1331" y="1063"/>
                    </a:lnTo>
                    <a:lnTo>
                      <a:pt x="1329" y="1061"/>
                    </a:lnTo>
                    <a:lnTo>
                      <a:pt x="1326" y="1058"/>
                    </a:lnTo>
                    <a:lnTo>
                      <a:pt x="1323" y="1055"/>
                    </a:lnTo>
                    <a:lnTo>
                      <a:pt x="1318" y="1055"/>
                    </a:lnTo>
                    <a:lnTo>
                      <a:pt x="1316" y="1055"/>
                    </a:lnTo>
                    <a:lnTo>
                      <a:pt x="1316" y="1050"/>
                    </a:lnTo>
                    <a:lnTo>
                      <a:pt x="1316" y="1047"/>
                    </a:lnTo>
                    <a:lnTo>
                      <a:pt x="1316" y="1042"/>
                    </a:lnTo>
                    <a:lnTo>
                      <a:pt x="1319" y="1041"/>
                    </a:lnTo>
                    <a:lnTo>
                      <a:pt x="1321" y="1039"/>
                    </a:lnTo>
                    <a:lnTo>
                      <a:pt x="1324" y="1038"/>
                    </a:lnTo>
                    <a:lnTo>
                      <a:pt x="1326" y="1036"/>
                    </a:lnTo>
                    <a:lnTo>
                      <a:pt x="1331" y="1035"/>
                    </a:lnTo>
                    <a:lnTo>
                      <a:pt x="1334" y="1033"/>
                    </a:lnTo>
                    <a:lnTo>
                      <a:pt x="1338" y="1028"/>
                    </a:lnTo>
                    <a:lnTo>
                      <a:pt x="1338" y="1025"/>
                    </a:lnTo>
                    <a:lnTo>
                      <a:pt x="1335" y="1022"/>
                    </a:lnTo>
                    <a:lnTo>
                      <a:pt x="1335" y="1017"/>
                    </a:lnTo>
                    <a:lnTo>
                      <a:pt x="1335" y="1012"/>
                    </a:lnTo>
                    <a:lnTo>
                      <a:pt x="1335" y="1009"/>
                    </a:lnTo>
                    <a:lnTo>
                      <a:pt x="1335" y="1004"/>
                    </a:lnTo>
                    <a:lnTo>
                      <a:pt x="1334" y="1001"/>
                    </a:lnTo>
                    <a:lnTo>
                      <a:pt x="1335" y="996"/>
                    </a:lnTo>
                    <a:lnTo>
                      <a:pt x="1338" y="996"/>
                    </a:lnTo>
                    <a:lnTo>
                      <a:pt x="1338" y="990"/>
                    </a:lnTo>
                    <a:lnTo>
                      <a:pt x="1337" y="984"/>
                    </a:lnTo>
                    <a:lnTo>
                      <a:pt x="1334" y="984"/>
                    </a:lnTo>
                    <a:lnTo>
                      <a:pt x="1332" y="989"/>
                    </a:lnTo>
                    <a:lnTo>
                      <a:pt x="1327" y="987"/>
                    </a:lnTo>
                    <a:lnTo>
                      <a:pt x="1327" y="984"/>
                    </a:lnTo>
                    <a:lnTo>
                      <a:pt x="1329" y="979"/>
                    </a:lnTo>
                    <a:lnTo>
                      <a:pt x="1331" y="977"/>
                    </a:lnTo>
                    <a:lnTo>
                      <a:pt x="1329" y="974"/>
                    </a:lnTo>
                    <a:lnTo>
                      <a:pt x="1326" y="971"/>
                    </a:lnTo>
                    <a:lnTo>
                      <a:pt x="1321" y="970"/>
                    </a:lnTo>
                    <a:lnTo>
                      <a:pt x="1316" y="970"/>
                    </a:lnTo>
                    <a:lnTo>
                      <a:pt x="1318" y="965"/>
                    </a:lnTo>
                    <a:lnTo>
                      <a:pt x="1318" y="960"/>
                    </a:lnTo>
                    <a:lnTo>
                      <a:pt x="1315" y="955"/>
                    </a:lnTo>
                    <a:lnTo>
                      <a:pt x="1308" y="952"/>
                    </a:lnTo>
                    <a:lnTo>
                      <a:pt x="1300" y="951"/>
                    </a:lnTo>
                    <a:lnTo>
                      <a:pt x="1296" y="955"/>
                    </a:lnTo>
                    <a:lnTo>
                      <a:pt x="1289" y="962"/>
                    </a:lnTo>
                    <a:lnTo>
                      <a:pt x="1285" y="962"/>
                    </a:lnTo>
                    <a:lnTo>
                      <a:pt x="1278" y="963"/>
                    </a:lnTo>
                    <a:lnTo>
                      <a:pt x="1270" y="962"/>
                    </a:lnTo>
                    <a:lnTo>
                      <a:pt x="1266" y="958"/>
                    </a:lnTo>
                    <a:lnTo>
                      <a:pt x="1264" y="954"/>
                    </a:lnTo>
                    <a:lnTo>
                      <a:pt x="1261" y="951"/>
                    </a:lnTo>
                    <a:lnTo>
                      <a:pt x="1259" y="952"/>
                    </a:lnTo>
                    <a:lnTo>
                      <a:pt x="1253" y="952"/>
                    </a:lnTo>
                    <a:lnTo>
                      <a:pt x="1247" y="952"/>
                    </a:lnTo>
                    <a:lnTo>
                      <a:pt x="1240" y="951"/>
                    </a:lnTo>
                    <a:lnTo>
                      <a:pt x="1234" y="946"/>
                    </a:lnTo>
                    <a:lnTo>
                      <a:pt x="1231" y="939"/>
                    </a:lnTo>
                    <a:lnTo>
                      <a:pt x="1224" y="941"/>
                    </a:lnTo>
                    <a:lnTo>
                      <a:pt x="1221" y="946"/>
                    </a:lnTo>
                    <a:lnTo>
                      <a:pt x="1220" y="952"/>
                    </a:lnTo>
                    <a:lnTo>
                      <a:pt x="1215" y="957"/>
                    </a:lnTo>
                    <a:lnTo>
                      <a:pt x="1210" y="963"/>
                    </a:lnTo>
                    <a:lnTo>
                      <a:pt x="1204" y="971"/>
                    </a:lnTo>
                    <a:lnTo>
                      <a:pt x="1202" y="976"/>
                    </a:lnTo>
                    <a:lnTo>
                      <a:pt x="1201" y="979"/>
                    </a:lnTo>
                    <a:lnTo>
                      <a:pt x="1199" y="982"/>
                    </a:lnTo>
                    <a:lnTo>
                      <a:pt x="1193" y="984"/>
                    </a:lnTo>
                    <a:lnTo>
                      <a:pt x="1186" y="984"/>
                    </a:lnTo>
                    <a:lnTo>
                      <a:pt x="1180" y="989"/>
                    </a:lnTo>
                    <a:lnTo>
                      <a:pt x="1174" y="995"/>
                    </a:lnTo>
                    <a:lnTo>
                      <a:pt x="1169" y="996"/>
                    </a:lnTo>
                    <a:lnTo>
                      <a:pt x="1167" y="996"/>
                    </a:lnTo>
                    <a:lnTo>
                      <a:pt x="1164" y="993"/>
                    </a:lnTo>
                    <a:lnTo>
                      <a:pt x="1163" y="989"/>
                    </a:lnTo>
                    <a:lnTo>
                      <a:pt x="1159" y="985"/>
                    </a:lnTo>
                    <a:lnTo>
                      <a:pt x="1156" y="982"/>
                    </a:lnTo>
                    <a:lnTo>
                      <a:pt x="1152" y="979"/>
                    </a:lnTo>
                    <a:lnTo>
                      <a:pt x="1148" y="976"/>
                    </a:lnTo>
                    <a:lnTo>
                      <a:pt x="1148" y="970"/>
                    </a:lnTo>
                    <a:lnTo>
                      <a:pt x="1148" y="966"/>
                    </a:lnTo>
                    <a:lnTo>
                      <a:pt x="1150" y="963"/>
                    </a:lnTo>
                    <a:lnTo>
                      <a:pt x="1150" y="952"/>
                    </a:lnTo>
                    <a:lnTo>
                      <a:pt x="1153" y="943"/>
                    </a:lnTo>
                    <a:lnTo>
                      <a:pt x="1153" y="936"/>
                    </a:lnTo>
                    <a:lnTo>
                      <a:pt x="1156" y="932"/>
                    </a:lnTo>
                    <a:lnTo>
                      <a:pt x="1159" y="928"/>
                    </a:lnTo>
                    <a:lnTo>
                      <a:pt x="1161" y="927"/>
                    </a:lnTo>
                    <a:lnTo>
                      <a:pt x="1167" y="924"/>
                    </a:lnTo>
                    <a:lnTo>
                      <a:pt x="1172" y="920"/>
                    </a:lnTo>
                    <a:lnTo>
                      <a:pt x="1178" y="917"/>
                    </a:lnTo>
                    <a:lnTo>
                      <a:pt x="1183" y="913"/>
                    </a:lnTo>
                    <a:lnTo>
                      <a:pt x="1188" y="911"/>
                    </a:lnTo>
                    <a:lnTo>
                      <a:pt x="1194" y="908"/>
                    </a:lnTo>
                    <a:lnTo>
                      <a:pt x="1199" y="905"/>
                    </a:lnTo>
                    <a:lnTo>
                      <a:pt x="1202" y="901"/>
                    </a:lnTo>
                    <a:lnTo>
                      <a:pt x="1209" y="898"/>
                    </a:lnTo>
                    <a:lnTo>
                      <a:pt x="1210" y="895"/>
                    </a:lnTo>
                    <a:lnTo>
                      <a:pt x="1212" y="889"/>
                    </a:lnTo>
                    <a:lnTo>
                      <a:pt x="1212" y="882"/>
                    </a:lnTo>
                    <a:lnTo>
                      <a:pt x="1212" y="878"/>
                    </a:lnTo>
                    <a:lnTo>
                      <a:pt x="1216" y="874"/>
                    </a:lnTo>
                    <a:lnTo>
                      <a:pt x="1221" y="871"/>
                    </a:lnTo>
                    <a:lnTo>
                      <a:pt x="1223" y="867"/>
                    </a:lnTo>
                    <a:lnTo>
                      <a:pt x="1224" y="862"/>
                    </a:lnTo>
                    <a:lnTo>
                      <a:pt x="1226" y="855"/>
                    </a:lnTo>
                    <a:lnTo>
                      <a:pt x="1226" y="854"/>
                    </a:lnTo>
                    <a:lnTo>
                      <a:pt x="1231" y="848"/>
                    </a:lnTo>
                    <a:lnTo>
                      <a:pt x="1235" y="846"/>
                    </a:lnTo>
                    <a:lnTo>
                      <a:pt x="1240" y="843"/>
                    </a:lnTo>
                    <a:lnTo>
                      <a:pt x="1245" y="841"/>
                    </a:lnTo>
                    <a:lnTo>
                      <a:pt x="1248" y="841"/>
                    </a:lnTo>
                    <a:lnTo>
                      <a:pt x="1251" y="841"/>
                    </a:lnTo>
                    <a:lnTo>
                      <a:pt x="1254" y="838"/>
                    </a:lnTo>
                    <a:lnTo>
                      <a:pt x="1256" y="832"/>
                    </a:lnTo>
                    <a:lnTo>
                      <a:pt x="1254" y="827"/>
                    </a:lnTo>
                    <a:lnTo>
                      <a:pt x="1253" y="822"/>
                    </a:lnTo>
                    <a:lnTo>
                      <a:pt x="1247" y="819"/>
                    </a:lnTo>
                    <a:lnTo>
                      <a:pt x="1247" y="814"/>
                    </a:lnTo>
                    <a:lnTo>
                      <a:pt x="1248" y="814"/>
                    </a:lnTo>
                    <a:lnTo>
                      <a:pt x="1250" y="811"/>
                    </a:lnTo>
                    <a:lnTo>
                      <a:pt x="1253" y="806"/>
                    </a:lnTo>
                    <a:lnTo>
                      <a:pt x="1253" y="800"/>
                    </a:lnTo>
                    <a:lnTo>
                      <a:pt x="1250" y="795"/>
                    </a:lnTo>
                    <a:lnTo>
                      <a:pt x="1251" y="789"/>
                    </a:lnTo>
                    <a:lnTo>
                      <a:pt x="1254" y="784"/>
                    </a:lnTo>
                    <a:lnTo>
                      <a:pt x="1258" y="778"/>
                    </a:lnTo>
                    <a:lnTo>
                      <a:pt x="1259" y="773"/>
                    </a:lnTo>
                    <a:lnTo>
                      <a:pt x="1261" y="767"/>
                    </a:lnTo>
                    <a:lnTo>
                      <a:pt x="1267" y="760"/>
                    </a:lnTo>
                    <a:lnTo>
                      <a:pt x="1273" y="756"/>
                    </a:lnTo>
                    <a:lnTo>
                      <a:pt x="1277" y="751"/>
                    </a:lnTo>
                    <a:lnTo>
                      <a:pt x="1277" y="746"/>
                    </a:lnTo>
                    <a:lnTo>
                      <a:pt x="1280" y="740"/>
                    </a:lnTo>
                    <a:lnTo>
                      <a:pt x="1285" y="738"/>
                    </a:lnTo>
                    <a:lnTo>
                      <a:pt x="1286" y="737"/>
                    </a:lnTo>
                    <a:lnTo>
                      <a:pt x="1291" y="733"/>
                    </a:lnTo>
                    <a:lnTo>
                      <a:pt x="1294" y="730"/>
                    </a:lnTo>
                    <a:lnTo>
                      <a:pt x="1296" y="724"/>
                    </a:lnTo>
                    <a:lnTo>
                      <a:pt x="1299" y="719"/>
                    </a:lnTo>
                    <a:lnTo>
                      <a:pt x="1302" y="714"/>
                    </a:lnTo>
                    <a:lnTo>
                      <a:pt x="1302" y="708"/>
                    </a:lnTo>
                    <a:lnTo>
                      <a:pt x="1304" y="703"/>
                    </a:lnTo>
                    <a:lnTo>
                      <a:pt x="1305" y="699"/>
                    </a:lnTo>
                    <a:lnTo>
                      <a:pt x="1310" y="694"/>
                    </a:lnTo>
                    <a:lnTo>
                      <a:pt x="1308" y="694"/>
                    </a:lnTo>
                    <a:lnTo>
                      <a:pt x="1308" y="692"/>
                    </a:lnTo>
                    <a:lnTo>
                      <a:pt x="1313" y="689"/>
                    </a:lnTo>
                    <a:lnTo>
                      <a:pt x="1313" y="688"/>
                    </a:lnTo>
                    <a:lnTo>
                      <a:pt x="1313" y="686"/>
                    </a:lnTo>
                    <a:lnTo>
                      <a:pt x="1308" y="684"/>
                    </a:lnTo>
                    <a:lnTo>
                      <a:pt x="1310" y="680"/>
                    </a:lnTo>
                    <a:lnTo>
                      <a:pt x="1312" y="676"/>
                    </a:lnTo>
                    <a:lnTo>
                      <a:pt x="1307" y="673"/>
                    </a:lnTo>
                    <a:lnTo>
                      <a:pt x="1304" y="670"/>
                    </a:lnTo>
                    <a:lnTo>
                      <a:pt x="1300" y="665"/>
                    </a:lnTo>
                    <a:lnTo>
                      <a:pt x="1300" y="664"/>
                    </a:lnTo>
                    <a:lnTo>
                      <a:pt x="1302" y="659"/>
                    </a:lnTo>
                    <a:lnTo>
                      <a:pt x="1302" y="654"/>
                    </a:lnTo>
                    <a:lnTo>
                      <a:pt x="1302" y="651"/>
                    </a:lnTo>
                    <a:lnTo>
                      <a:pt x="1300" y="646"/>
                    </a:lnTo>
                    <a:lnTo>
                      <a:pt x="1296" y="640"/>
                    </a:lnTo>
                    <a:lnTo>
                      <a:pt x="1291" y="634"/>
                    </a:lnTo>
                    <a:lnTo>
                      <a:pt x="1289" y="630"/>
                    </a:lnTo>
                    <a:lnTo>
                      <a:pt x="1288" y="624"/>
                    </a:lnTo>
                    <a:lnTo>
                      <a:pt x="1291" y="619"/>
                    </a:lnTo>
                    <a:lnTo>
                      <a:pt x="1294" y="618"/>
                    </a:lnTo>
                    <a:lnTo>
                      <a:pt x="1299" y="619"/>
                    </a:lnTo>
                    <a:lnTo>
                      <a:pt x="1304" y="621"/>
                    </a:lnTo>
                    <a:lnTo>
                      <a:pt x="1305" y="623"/>
                    </a:lnTo>
                    <a:lnTo>
                      <a:pt x="1307" y="630"/>
                    </a:lnTo>
                    <a:lnTo>
                      <a:pt x="1310" y="640"/>
                    </a:lnTo>
                    <a:lnTo>
                      <a:pt x="1313" y="648"/>
                    </a:lnTo>
                    <a:lnTo>
                      <a:pt x="1315" y="654"/>
                    </a:lnTo>
                    <a:lnTo>
                      <a:pt x="1316" y="657"/>
                    </a:lnTo>
                    <a:lnTo>
                      <a:pt x="1318" y="659"/>
                    </a:lnTo>
                    <a:lnTo>
                      <a:pt x="1321" y="662"/>
                    </a:lnTo>
                    <a:lnTo>
                      <a:pt x="1324" y="669"/>
                    </a:lnTo>
                    <a:lnTo>
                      <a:pt x="1327" y="670"/>
                    </a:lnTo>
                    <a:lnTo>
                      <a:pt x="1329" y="669"/>
                    </a:lnTo>
                    <a:lnTo>
                      <a:pt x="1331" y="661"/>
                    </a:lnTo>
                    <a:lnTo>
                      <a:pt x="1329" y="653"/>
                    </a:lnTo>
                    <a:lnTo>
                      <a:pt x="1329" y="646"/>
                    </a:lnTo>
                    <a:lnTo>
                      <a:pt x="1329" y="640"/>
                    </a:lnTo>
                    <a:lnTo>
                      <a:pt x="1332" y="637"/>
                    </a:lnTo>
                    <a:lnTo>
                      <a:pt x="1338" y="632"/>
                    </a:lnTo>
                    <a:lnTo>
                      <a:pt x="1340" y="632"/>
                    </a:lnTo>
                    <a:lnTo>
                      <a:pt x="1338" y="629"/>
                    </a:lnTo>
                    <a:lnTo>
                      <a:pt x="1335" y="626"/>
                    </a:lnTo>
                    <a:lnTo>
                      <a:pt x="1329" y="621"/>
                    </a:lnTo>
                    <a:lnTo>
                      <a:pt x="1324" y="618"/>
                    </a:lnTo>
                    <a:lnTo>
                      <a:pt x="1321" y="613"/>
                    </a:lnTo>
                    <a:lnTo>
                      <a:pt x="1323" y="607"/>
                    </a:lnTo>
                    <a:lnTo>
                      <a:pt x="1324" y="600"/>
                    </a:lnTo>
                    <a:lnTo>
                      <a:pt x="1326" y="594"/>
                    </a:lnTo>
                    <a:lnTo>
                      <a:pt x="1323" y="586"/>
                    </a:lnTo>
                    <a:lnTo>
                      <a:pt x="1321" y="581"/>
                    </a:lnTo>
                    <a:lnTo>
                      <a:pt x="1316" y="577"/>
                    </a:lnTo>
                    <a:lnTo>
                      <a:pt x="1310" y="570"/>
                    </a:lnTo>
                    <a:lnTo>
                      <a:pt x="1307" y="570"/>
                    </a:lnTo>
                    <a:lnTo>
                      <a:pt x="1302" y="572"/>
                    </a:lnTo>
                    <a:lnTo>
                      <a:pt x="1300" y="570"/>
                    </a:lnTo>
                    <a:lnTo>
                      <a:pt x="1299" y="567"/>
                    </a:lnTo>
                    <a:lnTo>
                      <a:pt x="1296" y="566"/>
                    </a:lnTo>
                    <a:lnTo>
                      <a:pt x="1291" y="564"/>
                    </a:lnTo>
                    <a:lnTo>
                      <a:pt x="1285" y="562"/>
                    </a:lnTo>
                    <a:lnTo>
                      <a:pt x="1280" y="566"/>
                    </a:lnTo>
                    <a:lnTo>
                      <a:pt x="1277" y="567"/>
                    </a:lnTo>
                    <a:lnTo>
                      <a:pt x="1270" y="566"/>
                    </a:lnTo>
                    <a:lnTo>
                      <a:pt x="1267" y="569"/>
                    </a:lnTo>
                    <a:lnTo>
                      <a:pt x="1266" y="575"/>
                    </a:lnTo>
                    <a:lnTo>
                      <a:pt x="1266" y="580"/>
                    </a:lnTo>
                    <a:lnTo>
                      <a:pt x="1262" y="585"/>
                    </a:lnTo>
                    <a:lnTo>
                      <a:pt x="1261" y="589"/>
                    </a:lnTo>
                    <a:lnTo>
                      <a:pt x="1261" y="591"/>
                    </a:lnTo>
                    <a:lnTo>
                      <a:pt x="1259" y="599"/>
                    </a:lnTo>
                    <a:lnTo>
                      <a:pt x="1256" y="605"/>
                    </a:lnTo>
                    <a:lnTo>
                      <a:pt x="1256" y="608"/>
                    </a:lnTo>
                    <a:lnTo>
                      <a:pt x="1253" y="611"/>
                    </a:lnTo>
                    <a:lnTo>
                      <a:pt x="1247" y="615"/>
                    </a:lnTo>
                    <a:lnTo>
                      <a:pt x="1242" y="616"/>
                    </a:lnTo>
                    <a:lnTo>
                      <a:pt x="1240" y="618"/>
                    </a:lnTo>
                    <a:lnTo>
                      <a:pt x="1237" y="619"/>
                    </a:lnTo>
                    <a:lnTo>
                      <a:pt x="1232" y="623"/>
                    </a:lnTo>
                    <a:lnTo>
                      <a:pt x="1228" y="621"/>
                    </a:lnTo>
                    <a:lnTo>
                      <a:pt x="1224" y="616"/>
                    </a:lnTo>
                    <a:lnTo>
                      <a:pt x="1220" y="608"/>
                    </a:lnTo>
                    <a:lnTo>
                      <a:pt x="1220" y="600"/>
                    </a:lnTo>
                    <a:lnTo>
                      <a:pt x="1221" y="594"/>
                    </a:lnTo>
                    <a:lnTo>
                      <a:pt x="1221" y="588"/>
                    </a:lnTo>
                    <a:lnTo>
                      <a:pt x="1218" y="586"/>
                    </a:lnTo>
                    <a:lnTo>
                      <a:pt x="1215" y="585"/>
                    </a:lnTo>
                    <a:lnTo>
                      <a:pt x="1213" y="580"/>
                    </a:lnTo>
                    <a:lnTo>
                      <a:pt x="1209" y="578"/>
                    </a:lnTo>
                    <a:lnTo>
                      <a:pt x="1201" y="577"/>
                    </a:lnTo>
                    <a:lnTo>
                      <a:pt x="1194" y="577"/>
                    </a:lnTo>
                    <a:lnTo>
                      <a:pt x="1188" y="580"/>
                    </a:lnTo>
                    <a:lnTo>
                      <a:pt x="1183" y="581"/>
                    </a:lnTo>
                    <a:lnTo>
                      <a:pt x="1182" y="581"/>
                    </a:lnTo>
                    <a:lnTo>
                      <a:pt x="1178" y="578"/>
                    </a:lnTo>
                    <a:lnTo>
                      <a:pt x="1177" y="577"/>
                    </a:lnTo>
                    <a:lnTo>
                      <a:pt x="1175" y="577"/>
                    </a:lnTo>
                    <a:lnTo>
                      <a:pt x="1171" y="577"/>
                    </a:lnTo>
                    <a:lnTo>
                      <a:pt x="1166" y="578"/>
                    </a:lnTo>
                    <a:lnTo>
                      <a:pt x="1164" y="578"/>
                    </a:lnTo>
                    <a:lnTo>
                      <a:pt x="1163" y="583"/>
                    </a:lnTo>
                    <a:lnTo>
                      <a:pt x="1161" y="583"/>
                    </a:lnTo>
                    <a:lnTo>
                      <a:pt x="1156" y="583"/>
                    </a:lnTo>
                    <a:lnTo>
                      <a:pt x="1155" y="585"/>
                    </a:lnTo>
                    <a:lnTo>
                      <a:pt x="1153" y="585"/>
                    </a:lnTo>
                    <a:lnTo>
                      <a:pt x="1150" y="586"/>
                    </a:lnTo>
                    <a:lnTo>
                      <a:pt x="1145" y="585"/>
                    </a:lnTo>
                    <a:lnTo>
                      <a:pt x="1142" y="583"/>
                    </a:lnTo>
                    <a:lnTo>
                      <a:pt x="1139" y="583"/>
                    </a:lnTo>
                    <a:lnTo>
                      <a:pt x="1133" y="588"/>
                    </a:lnTo>
                    <a:lnTo>
                      <a:pt x="1126" y="591"/>
                    </a:lnTo>
                    <a:lnTo>
                      <a:pt x="1123" y="591"/>
                    </a:lnTo>
                    <a:lnTo>
                      <a:pt x="1115" y="589"/>
                    </a:lnTo>
                    <a:lnTo>
                      <a:pt x="1109" y="586"/>
                    </a:lnTo>
                    <a:lnTo>
                      <a:pt x="1104" y="588"/>
                    </a:lnTo>
                    <a:lnTo>
                      <a:pt x="1098" y="594"/>
                    </a:lnTo>
                    <a:lnTo>
                      <a:pt x="1090" y="599"/>
                    </a:lnTo>
                    <a:lnTo>
                      <a:pt x="1083" y="599"/>
                    </a:lnTo>
                    <a:lnTo>
                      <a:pt x="1077" y="599"/>
                    </a:lnTo>
                    <a:lnTo>
                      <a:pt x="1071" y="599"/>
                    </a:lnTo>
                    <a:lnTo>
                      <a:pt x="1066" y="597"/>
                    </a:lnTo>
                    <a:lnTo>
                      <a:pt x="1061" y="594"/>
                    </a:lnTo>
                    <a:lnTo>
                      <a:pt x="1056" y="594"/>
                    </a:lnTo>
                    <a:lnTo>
                      <a:pt x="1055" y="594"/>
                    </a:lnTo>
                    <a:lnTo>
                      <a:pt x="1052" y="596"/>
                    </a:lnTo>
                    <a:lnTo>
                      <a:pt x="1047" y="599"/>
                    </a:lnTo>
                    <a:lnTo>
                      <a:pt x="1044" y="597"/>
                    </a:lnTo>
                    <a:lnTo>
                      <a:pt x="1041" y="592"/>
                    </a:lnTo>
                    <a:lnTo>
                      <a:pt x="1037" y="589"/>
                    </a:lnTo>
                    <a:lnTo>
                      <a:pt x="1036" y="586"/>
                    </a:lnTo>
                    <a:lnTo>
                      <a:pt x="1033" y="585"/>
                    </a:lnTo>
                    <a:lnTo>
                      <a:pt x="1023" y="589"/>
                    </a:lnTo>
                    <a:lnTo>
                      <a:pt x="1017" y="592"/>
                    </a:lnTo>
                    <a:lnTo>
                      <a:pt x="1014" y="589"/>
                    </a:lnTo>
                    <a:lnTo>
                      <a:pt x="1011" y="583"/>
                    </a:lnTo>
                    <a:lnTo>
                      <a:pt x="1006" y="575"/>
                    </a:lnTo>
                    <a:lnTo>
                      <a:pt x="1001" y="572"/>
                    </a:lnTo>
                    <a:lnTo>
                      <a:pt x="995" y="572"/>
                    </a:lnTo>
                    <a:lnTo>
                      <a:pt x="993" y="573"/>
                    </a:lnTo>
                    <a:lnTo>
                      <a:pt x="988" y="575"/>
                    </a:lnTo>
                    <a:lnTo>
                      <a:pt x="984" y="578"/>
                    </a:lnTo>
                    <a:lnTo>
                      <a:pt x="980" y="585"/>
                    </a:lnTo>
                    <a:lnTo>
                      <a:pt x="976" y="594"/>
                    </a:lnTo>
                    <a:lnTo>
                      <a:pt x="974" y="599"/>
                    </a:lnTo>
                    <a:lnTo>
                      <a:pt x="974" y="605"/>
                    </a:lnTo>
                    <a:lnTo>
                      <a:pt x="974" y="607"/>
                    </a:lnTo>
                    <a:lnTo>
                      <a:pt x="974" y="613"/>
                    </a:lnTo>
                    <a:lnTo>
                      <a:pt x="976" y="618"/>
                    </a:lnTo>
                    <a:lnTo>
                      <a:pt x="980" y="623"/>
                    </a:lnTo>
                    <a:lnTo>
                      <a:pt x="982" y="623"/>
                    </a:lnTo>
                    <a:lnTo>
                      <a:pt x="985" y="624"/>
                    </a:lnTo>
                    <a:lnTo>
                      <a:pt x="990" y="627"/>
                    </a:lnTo>
                    <a:lnTo>
                      <a:pt x="995" y="629"/>
                    </a:lnTo>
                    <a:lnTo>
                      <a:pt x="999" y="629"/>
                    </a:lnTo>
                    <a:lnTo>
                      <a:pt x="1006" y="630"/>
                    </a:lnTo>
                    <a:lnTo>
                      <a:pt x="1012" y="632"/>
                    </a:lnTo>
                    <a:lnTo>
                      <a:pt x="1017" y="634"/>
                    </a:lnTo>
                    <a:lnTo>
                      <a:pt x="1020" y="635"/>
                    </a:lnTo>
                    <a:lnTo>
                      <a:pt x="1020" y="638"/>
                    </a:lnTo>
                    <a:lnTo>
                      <a:pt x="1018" y="645"/>
                    </a:lnTo>
                    <a:lnTo>
                      <a:pt x="1015" y="653"/>
                    </a:lnTo>
                    <a:lnTo>
                      <a:pt x="1014" y="659"/>
                    </a:lnTo>
                    <a:lnTo>
                      <a:pt x="1012" y="664"/>
                    </a:lnTo>
                    <a:lnTo>
                      <a:pt x="1012" y="669"/>
                    </a:lnTo>
                    <a:lnTo>
                      <a:pt x="1011" y="675"/>
                    </a:lnTo>
                    <a:lnTo>
                      <a:pt x="1012" y="680"/>
                    </a:lnTo>
                    <a:lnTo>
                      <a:pt x="1012" y="686"/>
                    </a:lnTo>
                    <a:lnTo>
                      <a:pt x="1014" y="691"/>
                    </a:lnTo>
                    <a:lnTo>
                      <a:pt x="1014" y="692"/>
                    </a:lnTo>
                    <a:lnTo>
                      <a:pt x="1014" y="695"/>
                    </a:lnTo>
                    <a:lnTo>
                      <a:pt x="1014" y="697"/>
                    </a:lnTo>
                    <a:lnTo>
                      <a:pt x="1014" y="703"/>
                    </a:lnTo>
                    <a:lnTo>
                      <a:pt x="1014" y="705"/>
                    </a:lnTo>
                    <a:lnTo>
                      <a:pt x="1014" y="707"/>
                    </a:lnTo>
                    <a:lnTo>
                      <a:pt x="1011" y="708"/>
                    </a:lnTo>
                    <a:lnTo>
                      <a:pt x="1006" y="710"/>
                    </a:lnTo>
                    <a:lnTo>
                      <a:pt x="1001" y="711"/>
                    </a:lnTo>
                    <a:lnTo>
                      <a:pt x="999" y="711"/>
                    </a:lnTo>
                    <a:lnTo>
                      <a:pt x="996" y="710"/>
                    </a:lnTo>
                    <a:lnTo>
                      <a:pt x="995" y="708"/>
                    </a:lnTo>
                    <a:lnTo>
                      <a:pt x="993" y="707"/>
                    </a:lnTo>
                    <a:lnTo>
                      <a:pt x="992" y="705"/>
                    </a:lnTo>
                    <a:lnTo>
                      <a:pt x="990" y="703"/>
                    </a:lnTo>
                    <a:lnTo>
                      <a:pt x="990" y="702"/>
                    </a:lnTo>
                    <a:lnTo>
                      <a:pt x="990" y="699"/>
                    </a:lnTo>
                    <a:lnTo>
                      <a:pt x="988" y="697"/>
                    </a:lnTo>
                    <a:lnTo>
                      <a:pt x="987" y="694"/>
                    </a:lnTo>
                    <a:lnTo>
                      <a:pt x="985" y="692"/>
                    </a:lnTo>
                    <a:lnTo>
                      <a:pt x="984" y="692"/>
                    </a:lnTo>
                    <a:lnTo>
                      <a:pt x="982" y="691"/>
                    </a:lnTo>
                    <a:lnTo>
                      <a:pt x="977" y="692"/>
                    </a:lnTo>
                    <a:lnTo>
                      <a:pt x="973" y="694"/>
                    </a:lnTo>
                    <a:lnTo>
                      <a:pt x="969" y="695"/>
                    </a:lnTo>
                    <a:lnTo>
                      <a:pt x="965" y="695"/>
                    </a:lnTo>
                    <a:lnTo>
                      <a:pt x="963" y="695"/>
                    </a:lnTo>
                    <a:lnTo>
                      <a:pt x="960" y="695"/>
                    </a:lnTo>
                    <a:lnTo>
                      <a:pt x="958" y="697"/>
                    </a:lnTo>
                    <a:lnTo>
                      <a:pt x="957" y="697"/>
                    </a:lnTo>
                    <a:lnTo>
                      <a:pt x="955" y="699"/>
                    </a:lnTo>
                    <a:lnTo>
                      <a:pt x="954" y="699"/>
                    </a:lnTo>
                    <a:lnTo>
                      <a:pt x="952" y="700"/>
                    </a:lnTo>
                    <a:lnTo>
                      <a:pt x="952" y="703"/>
                    </a:lnTo>
                    <a:lnTo>
                      <a:pt x="952" y="707"/>
                    </a:lnTo>
                    <a:lnTo>
                      <a:pt x="955" y="710"/>
                    </a:lnTo>
                    <a:lnTo>
                      <a:pt x="960" y="713"/>
                    </a:lnTo>
                    <a:lnTo>
                      <a:pt x="963" y="716"/>
                    </a:lnTo>
                    <a:lnTo>
                      <a:pt x="966" y="719"/>
                    </a:lnTo>
                    <a:lnTo>
                      <a:pt x="965" y="726"/>
                    </a:lnTo>
                    <a:lnTo>
                      <a:pt x="963" y="732"/>
                    </a:lnTo>
                    <a:lnTo>
                      <a:pt x="958" y="738"/>
                    </a:lnTo>
                    <a:lnTo>
                      <a:pt x="957" y="746"/>
                    </a:lnTo>
                    <a:lnTo>
                      <a:pt x="957" y="754"/>
                    </a:lnTo>
                    <a:lnTo>
                      <a:pt x="957" y="764"/>
                    </a:lnTo>
                    <a:lnTo>
                      <a:pt x="955" y="771"/>
                    </a:lnTo>
                    <a:lnTo>
                      <a:pt x="955" y="781"/>
                    </a:lnTo>
                    <a:lnTo>
                      <a:pt x="955" y="789"/>
                    </a:lnTo>
                    <a:lnTo>
                      <a:pt x="957" y="797"/>
                    </a:lnTo>
                    <a:lnTo>
                      <a:pt x="961" y="803"/>
                    </a:lnTo>
                    <a:lnTo>
                      <a:pt x="963" y="810"/>
                    </a:lnTo>
                    <a:lnTo>
                      <a:pt x="966" y="817"/>
                    </a:lnTo>
                    <a:lnTo>
                      <a:pt x="968" y="824"/>
                    </a:lnTo>
                    <a:lnTo>
                      <a:pt x="966" y="829"/>
                    </a:lnTo>
                    <a:lnTo>
                      <a:pt x="963" y="835"/>
                    </a:lnTo>
                    <a:lnTo>
                      <a:pt x="957" y="844"/>
                    </a:lnTo>
                    <a:lnTo>
                      <a:pt x="955" y="854"/>
                    </a:lnTo>
                    <a:lnTo>
                      <a:pt x="955" y="862"/>
                    </a:lnTo>
                    <a:lnTo>
                      <a:pt x="952" y="871"/>
                    </a:lnTo>
                    <a:lnTo>
                      <a:pt x="949" y="878"/>
                    </a:lnTo>
                    <a:lnTo>
                      <a:pt x="942" y="882"/>
                    </a:lnTo>
                    <a:lnTo>
                      <a:pt x="938" y="886"/>
                    </a:lnTo>
                    <a:lnTo>
                      <a:pt x="935" y="886"/>
                    </a:lnTo>
                    <a:lnTo>
                      <a:pt x="928" y="889"/>
                    </a:lnTo>
                    <a:lnTo>
                      <a:pt x="922" y="890"/>
                    </a:lnTo>
                    <a:lnTo>
                      <a:pt x="915" y="893"/>
                    </a:lnTo>
                    <a:lnTo>
                      <a:pt x="908" y="897"/>
                    </a:lnTo>
                    <a:lnTo>
                      <a:pt x="900" y="903"/>
                    </a:lnTo>
                    <a:lnTo>
                      <a:pt x="896" y="906"/>
                    </a:lnTo>
                    <a:lnTo>
                      <a:pt x="892" y="911"/>
                    </a:lnTo>
                    <a:lnTo>
                      <a:pt x="884" y="917"/>
                    </a:lnTo>
                    <a:lnTo>
                      <a:pt x="876" y="922"/>
                    </a:lnTo>
                    <a:lnTo>
                      <a:pt x="871" y="922"/>
                    </a:lnTo>
                    <a:lnTo>
                      <a:pt x="870" y="922"/>
                    </a:lnTo>
                    <a:lnTo>
                      <a:pt x="858" y="919"/>
                    </a:lnTo>
                    <a:lnTo>
                      <a:pt x="854" y="919"/>
                    </a:lnTo>
                    <a:lnTo>
                      <a:pt x="851" y="919"/>
                    </a:lnTo>
                    <a:lnTo>
                      <a:pt x="839" y="920"/>
                    </a:lnTo>
                    <a:lnTo>
                      <a:pt x="828" y="922"/>
                    </a:lnTo>
                    <a:lnTo>
                      <a:pt x="819" y="924"/>
                    </a:lnTo>
                    <a:lnTo>
                      <a:pt x="809" y="924"/>
                    </a:lnTo>
                    <a:lnTo>
                      <a:pt x="800" y="922"/>
                    </a:lnTo>
                    <a:lnTo>
                      <a:pt x="798" y="922"/>
                    </a:lnTo>
                    <a:lnTo>
                      <a:pt x="789" y="919"/>
                    </a:lnTo>
                    <a:lnTo>
                      <a:pt x="778" y="914"/>
                    </a:lnTo>
                    <a:lnTo>
                      <a:pt x="776" y="914"/>
                    </a:lnTo>
                    <a:lnTo>
                      <a:pt x="770" y="911"/>
                    </a:lnTo>
                    <a:lnTo>
                      <a:pt x="762" y="905"/>
                    </a:lnTo>
                    <a:lnTo>
                      <a:pt x="757" y="901"/>
                    </a:lnTo>
                    <a:lnTo>
                      <a:pt x="756" y="900"/>
                    </a:lnTo>
                    <a:lnTo>
                      <a:pt x="749" y="897"/>
                    </a:lnTo>
                    <a:lnTo>
                      <a:pt x="743" y="892"/>
                    </a:lnTo>
                    <a:lnTo>
                      <a:pt x="737" y="887"/>
                    </a:lnTo>
                    <a:lnTo>
                      <a:pt x="733" y="879"/>
                    </a:lnTo>
                    <a:lnTo>
                      <a:pt x="732" y="878"/>
                    </a:lnTo>
                    <a:lnTo>
                      <a:pt x="729" y="878"/>
                    </a:lnTo>
                    <a:lnTo>
                      <a:pt x="725" y="879"/>
                    </a:lnTo>
                    <a:lnTo>
                      <a:pt x="724" y="881"/>
                    </a:lnTo>
                    <a:lnTo>
                      <a:pt x="721" y="881"/>
                    </a:lnTo>
                    <a:lnTo>
                      <a:pt x="714" y="878"/>
                    </a:lnTo>
                    <a:lnTo>
                      <a:pt x="705" y="873"/>
                    </a:lnTo>
                    <a:lnTo>
                      <a:pt x="694" y="870"/>
                    </a:lnTo>
                    <a:lnTo>
                      <a:pt x="689" y="867"/>
                    </a:lnTo>
                    <a:lnTo>
                      <a:pt x="687" y="867"/>
                    </a:lnTo>
                    <a:lnTo>
                      <a:pt x="684" y="867"/>
                    </a:lnTo>
                    <a:lnTo>
                      <a:pt x="679" y="867"/>
                    </a:lnTo>
                    <a:lnTo>
                      <a:pt x="672" y="868"/>
                    </a:lnTo>
                    <a:lnTo>
                      <a:pt x="665" y="870"/>
                    </a:lnTo>
                    <a:lnTo>
                      <a:pt x="656" y="867"/>
                    </a:lnTo>
                    <a:lnTo>
                      <a:pt x="653" y="862"/>
                    </a:lnTo>
                    <a:lnTo>
                      <a:pt x="648" y="859"/>
                    </a:lnTo>
                    <a:lnTo>
                      <a:pt x="641" y="857"/>
                    </a:lnTo>
                    <a:lnTo>
                      <a:pt x="635" y="857"/>
                    </a:lnTo>
                    <a:lnTo>
                      <a:pt x="630" y="854"/>
                    </a:lnTo>
                    <a:lnTo>
                      <a:pt x="629" y="852"/>
                    </a:lnTo>
                    <a:lnTo>
                      <a:pt x="624" y="851"/>
                    </a:lnTo>
                    <a:lnTo>
                      <a:pt x="618" y="849"/>
                    </a:lnTo>
                    <a:lnTo>
                      <a:pt x="613" y="848"/>
                    </a:lnTo>
                    <a:lnTo>
                      <a:pt x="610" y="846"/>
                    </a:lnTo>
                    <a:lnTo>
                      <a:pt x="607" y="843"/>
                    </a:lnTo>
                    <a:lnTo>
                      <a:pt x="605" y="841"/>
                    </a:lnTo>
                    <a:lnTo>
                      <a:pt x="599" y="835"/>
                    </a:lnTo>
                    <a:lnTo>
                      <a:pt x="592" y="830"/>
                    </a:lnTo>
                    <a:lnTo>
                      <a:pt x="584" y="825"/>
                    </a:lnTo>
                    <a:lnTo>
                      <a:pt x="572" y="827"/>
                    </a:lnTo>
                    <a:lnTo>
                      <a:pt x="565" y="825"/>
                    </a:lnTo>
                    <a:lnTo>
                      <a:pt x="559" y="824"/>
                    </a:lnTo>
                    <a:lnTo>
                      <a:pt x="558" y="821"/>
                    </a:lnTo>
                    <a:lnTo>
                      <a:pt x="556" y="816"/>
                    </a:lnTo>
                    <a:lnTo>
                      <a:pt x="558" y="810"/>
                    </a:lnTo>
                    <a:lnTo>
                      <a:pt x="561" y="803"/>
                    </a:lnTo>
                    <a:lnTo>
                      <a:pt x="562" y="797"/>
                    </a:lnTo>
                    <a:lnTo>
                      <a:pt x="559" y="792"/>
                    </a:lnTo>
                    <a:lnTo>
                      <a:pt x="553" y="786"/>
                    </a:lnTo>
                    <a:lnTo>
                      <a:pt x="551" y="784"/>
                    </a:lnTo>
                    <a:lnTo>
                      <a:pt x="550" y="781"/>
                    </a:lnTo>
                    <a:lnTo>
                      <a:pt x="550" y="778"/>
                    </a:lnTo>
                    <a:lnTo>
                      <a:pt x="546" y="770"/>
                    </a:lnTo>
                    <a:lnTo>
                      <a:pt x="543" y="768"/>
                    </a:lnTo>
                    <a:lnTo>
                      <a:pt x="542" y="768"/>
                    </a:lnTo>
                    <a:lnTo>
                      <a:pt x="540" y="767"/>
                    </a:lnTo>
                    <a:lnTo>
                      <a:pt x="535" y="765"/>
                    </a:lnTo>
                    <a:lnTo>
                      <a:pt x="529" y="762"/>
                    </a:lnTo>
                    <a:lnTo>
                      <a:pt x="524" y="759"/>
                    </a:lnTo>
                    <a:lnTo>
                      <a:pt x="516" y="752"/>
                    </a:lnTo>
                    <a:lnTo>
                      <a:pt x="510" y="748"/>
                    </a:lnTo>
                    <a:lnTo>
                      <a:pt x="505" y="746"/>
                    </a:lnTo>
                    <a:lnTo>
                      <a:pt x="502" y="743"/>
                    </a:lnTo>
                    <a:lnTo>
                      <a:pt x="504" y="741"/>
                    </a:lnTo>
                    <a:lnTo>
                      <a:pt x="505" y="737"/>
                    </a:lnTo>
                    <a:lnTo>
                      <a:pt x="510" y="732"/>
                    </a:lnTo>
                    <a:lnTo>
                      <a:pt x="513" y="727"/>
                    </a:lnTo>
                    <a:lnTo>
                      <a:pt x="516" y="722"/>
                    </a:lnTo>
                    <a:lnTo>
                      <a:pt x="518" y="718"/>
                    </a:lnTo>
                    <a:lnTo>
                      <a:pt x="519" y="711"/>
                    </a:lnTo>
                    <a:lnTo>
                      <a:pt x="516" y="705"/>
                    </a:lnTo>
                    <a:lnTo>
                      <a:pt x="515" y="699"/>
                    </a:lnTo>
                    <a:lnTo>
                      <a:pt x="515" y="695"/>
                    </a:lnTo>
                    <a:lnTo>
                      <a:pt x="512" y="684"/>
                    </a:lnTo>
                    <a:lnTo>
                      <a:pt x="510" y="680"/>
                    </a:lnTo>
                    <a:lnTo>
                      <a:pt x="508" y="678"/>
                    </a:lnTo>
                    <a:lnTo>
                      <a:pt x="505" y="673"/>
                    </a:lnTo>
                    <a:lnTo>
                      <a:pt x="499" y="673"/>
                    </a:lnTo>
                    <a:lnTo>
                      <a:pt x="493" y="672"/>
                    </a:lnTo>
                    <a:lnTo>
                      <a:pt x="491" y="673"/>
                    </a:lnTo>
                    <a:lnTo>
                      <a:pt x="488" y="673"/>
                    </a:lnTo>
                    <a:lnTo>
                      <a:pt x="483" y="673"/>
                    </a:lnTo>
                    <a:lnTo>
                      <a:pt x="478" y="673"/>
                    </a:lnTo>
                    <a:lnTo>
                      <a:pt x="475" y="676"/>
                    </a:lnTo>
                    <a:lnTo>
                      <a:pt x="472" y="681"/>
                    </a:lnTo>
                    <a:lnTo>
                      <a:pt x="467" y="684"/>
                    </a:lnTo>
                    <a:lnTo>
                      <a:pt x="467" y="688"/>
                    </a:lnTo>
                    <a:lnTo>
                      <a:pt x="466" y="689"/>
                    </a:lnTo>
                    <a:lnTo>
                      <a:pt x="467" y="694"/>
                    </a:lnTo>
                    <a:lnTo>
                      <a:pt x="470" y="699"/>
                    </a:lnTo>
                    <a:lnTo>
                      <a:pt x="478" y="705"/>
                    </a:lnTo>
                    <a:lnTo>
                      <a:pt x="480" y="707"/>
                    </a:lnTo>
                    <a:lnTo>
                      <a:pt x="483" y="710"/>
                    </a:lnTo>
                    <a:lnTo>
                      <a:pt x="486" y="711"/>
                    </a:lnTo>
                    <a:lnTo>
                      <a:pt x="488" y="713"/>
                    </a:lnTo>
                    <a:lnTo>
                      <a:pt x="488" y="716"/>
                    </a:lnTo>
                    <a:lnTo>
                      <a:pt x="486" y="719"/>
                    </a:lnTo>
                    <a:lnTo>
                      <a:pt x="483" y="722"/>
                    </a:lnTo>
                    <a:lnTo>
                      <a:pt x="481" y="726"/>
                    </a:lnTo>
                    <a:lnTo>
                      <a:pt x="477" y="730"/>
                    </a:lnTo>
                    <a:lnTo>
                      <a:pt x="470" y="735"/>
                    </a:lnTo>
                    <a:lnTo>
                      <a:pt x="464" y="738"/>
                    </a:lnTo>
                    <a:lnTo>
                      <a:pt x="461" y="737"/>
                    </a:lnTo>
                    <a:lnTo>
                      <a:pt x="458" y="737"/>
                    </a:lnTo>
                    <a:lnTo>
                      <a:pt x="453" y="738"/>
                    </a:lnTo>
                    <a:lnTo>
                      <a:pt x="453" y="740"/>
                    </a:lnTo>
                    <a:lnTo>
                      <a:pt x="450" y="741"/>
                    </a:lnTo>
                    <a:lnTo>
                      <a:pt x="442" y="746"/>
                    </a:lnTo>
                    <a:lnTo>
                      <a:pt x="436" y="751"/>
                    </a:lnTo>
                    <a:lnTo>
                      <a:pt x="432" y="751"/>
                    </a:lnTo>
                    <a:lnTo>
                      <a:pt x="428" y="752"/>
                    </a:lnTo>
                    <a:lnTo>
                      <a:pt x="421" y="751"/>
                    </a:lnTo>
                    <a:lnTo>
                      <a:pt x="417" y="749"/>
                    </a:lnTo>
                    <a:lnTo>
                      <a:pt x="413" y="746"/>
                    </a:lnTo>
                    <a:lnTo>
                      <a:pt x="412" y="740"/>
                    </a:lnTo>
                    <a:lnTo>
                      <a:pt x="410" y="735"/>
                    </a:lnTo>
                    <a:lnTo>
                      <a:pt x="410" y="732"/>
                    </a:lnTo>
                    <a:lnTo>
                      <a:pt x="407" y="727"/>
                    </a:lnTo>
                    <a:lnTo>
                      <a:pt x="405" y="727"/>
                    </a:lnTo>
                    <a:lnTo>
                      <a:pt x="404" y="727"/>
                    </a:lnTo>
                    <a:lnTo>
                      <a:pt x="402" y="730"/>
                    </a:lnTo>
                    <a:lnTo>
                      <a:pt x="399" y="732"/>
                    </a:lnTo>
                    <a:lnTo>
                      <a:pt x="398" y="730"/>
                    </a:lnTo>
                    <a:lnTo>
                      <a:pt x="396" y="732"/>
                    </a:lnTo>
                    <a:lnTo>
                      <a:pt x="393" y="733"/>
                    </a:lnTo>
                    <a:lnTo>
                      <a:pt x="390" y="733"/>
                    </a:lnTo>
                    <a:lnTo>
                      <a:pt x="385" y="732"/>
                    </a:lnTo>
                    <a:lnTo>
                      <a:pt x="382" y="730"/>
                    </a:lnTo>
                    <a:lnTo>
                      <a:pt x="380" y="732"/>
                    </a:lnTo>
                    <a:lnTo>
                      <a:pt x="377" y="737"/>
                    </a:lnTo>
                    <a:lnTo>
                      <a:pt x="374" y="741"/>
                    </a:lnTo>
                    <a:lnTo>
                      <a:pt x="372" y="746"/>
                    </a:lnTo>
                    <a:lnTo>
                      <a:pt x="369" y="746"/>
                    </a:lnTo>
                    <a:lnTo>
                      <a:pt x="363" y="745"/>
                    </a:lnTo>
                    <a:lnTo>
                      <a:pt x="360" y="741"/>
                    </a:lnTo>
                    <a:lnTo>
                      <a:pt x="356" y="745"/>
                    </a:lnTo>
                    <a:lnTo>
                      <a:pt x="355" y="748"/>
                    </a:lnTo>
                    <a:lnTo>
                      <a:pt x="355" y="754"/>
                    </a:lnTo>
                    <a:lnTo>
                      <a:pt x="355" y="760"/>
                    </a:lnTo>
                    <a:lnTo>
                      <a:pt x="355" y="762"/>
                    </a:lnTo>
                    <a:lnTo>
                      <a:pt x="350" y="765"/>
                    </a:lnTo>
                    <a:lnTo>
                      <a:pt x="348" y="765"/>
                    </a:lnTo>
                    <a:lnTo>
                      <a:pt x="345" y="767"/>
                    </a:lnTo>
                    <a:lnTo>
                      <a:pt x="340" y="768"/>
                    </a:lnTo>
                    <a:lnTo>
                      <a:pt x="337" y="775"/>
                    </a:lnTo>
                    <a:lnTo>
                      <a:pt x="331" y="783"/>
                    </a:lnTo>
                    <a:lnTo>
                      <a:pt x="326" y="784"/>
                    </a:lnTo>
                    <a:lnTo>
                      <a:pt x="326" y="786"/>
                    </a:lnTo>
                    <a:lnTo>
                      <a:pt x="325" y="787"/>
                    </a:lnTo>
                    <a:lnTo>
                      <a:pt x="325" y="794"/>
                    </a:lnTo>
                    <a:lnTo>
                      <a:pt x="326" y="800"/>
                    </a:lnTo>
                    <a:lnTo>
                      <a:pt x="328" y="810"/>
                    </a:lnTo>
                    <a:lnTo>
                      <a:pt x="328" y="817"/>
                    </a:lnTo>
                    <a:lnTo>
                      <a:pt x="329" y="829"/>
                    </a:lnTo>
                    <a:lnTo>
                      <a:pt x="331" y="829"/>
                    </a:lnTo>
                    <a:lnTo>
                      <a:pt x="331" y="832"/>
                    </a:lnTo>
                    <a:lnTo>
                      <a:pt x="333" y="836"/>
                    </a:lnTo>
                    <a:lnTo>
                      <a:pt x="331" y="840"/>
                    </a:lnTo>
                    <a:lnTo>
                      <a:pt x="326" y="844"/>
                    </a:lnTo>
                    <a:lnTo>
                      <a:pt x="321" y="846"/>
                    </a:lnTo>
                    <a:lnTo>
                      <a:pt x="317" y="851"/>
                    </a:lnTo>
                    <a:lnTo>
                      <a:pt x="310" y="855"/>
                    </a:lnTo>
                    <a:lnTo>
                      <a:pt x="309" y="854"/>
                    </a:lnTo>
                    <a:lnTo>
                      <a:pt x="302" y="851"/>
                    </a:lnTo>
                    <a:lnTo>
                      <a:pt x="295" y="851"/>
                    </a:lnTo>
                    <a:lnTo>
                      <a:pt x="288" y="851"/>
                    </a:lnTo>
                    <a:lnTo>
                      <a:pt x="285" y="848"/>
                    </a:lnTo>
                    <a:lnTo>
                      <a:pt x="283" y="844"/>
                    </a:lnTo>
                    <a:lnTo>
                      <a:pt x="287" y="841"/>
                    </a:lnTo>
                    <a:lnTo>
                      <a:pt x="288" y="838"/>
                    </a:lnTo>
                    <a:lnTo>
                      <a:pt x="293" y="836"/>
                    </a:lnTo>
                    <a:lnTo>
                      <a:pt x="296" y="832"/>
                    </a:lnTo>
                    <a:lnTo>
                      <a:pt x="296" y="829"/>
                    </a:lnTo>
                    <a:lnTo>
                      <a:pt x="296" y="827"/>
                    </a:lnTo>
                    <a:lnTo>
                      <a:pt x="293" y="825"/>
                    </a:lnTo>
                    <a:lnTo>
                      <a:pt x="290" y="824"/>
                    </a:lnTo>
                    <a:lnTo>
                      <a:pt x="283" y="822"/>
                    </a:lnTo>
                    <a:lnTo>
                      <a:pt x="277" y="821"/>
                    </a:lnTo>
                    <a:lnTo>
                      <a:pt x="271" y="817"/>
                    </a:lnTo>
                    <a:lnTo>
                      <a:pt x="264" y="814"/>
                    </a:lnTo>
                    <a:lnTo>
                      <a:pt x="260" y="811"/>
                    </a:lnTo>
                    <a:lnTo>
                      <a:pt x="258" y="808"/>
                    </a:lnTo>
                    <a:lnTo>
                      <a:pt x="258" y="803"/>
                    </a:lnTo>
                    <a:lnTo>
                      <a:pt x="257" y="798"/>
                    </a:lnTo>
                    <a:lnTo>
                      <a:pt x="255" y="792"/>
                    </a:lnTo>
                    <a:lnTo>
                      <a:pt x="253" y="787"/>
                    </a:lnTo>
                    <a:lnTo>
                      <a:pt x="250" y="784"/>
                    </a:lnTo>
                    <a:lnTo>
                      <a:pt x="245" y="779"/>
                    </a:lnTo>
                    <a:lnTo>
                      <a:pt x="241" y="775"/>
                    </a:lnTo>
                    <a:lnTo>
                      <a:pt x="238" y="771"/>
                    </a:lnTo>
                    <a:lnTo>
                      <a:pt x="231" y="770"/>
                    </a:lnTo>
                    <a:lnTo>
                      <a:pt x="226" y="767"/>
                    </a:lnTo>
                    <a:lnTo>
                      <a:pt x="223" y="760"/>
                    </a:lnTo>
                    <a:lnTo>
                      <a:pt x="220" y="754"/>
                    </a:lnTo>
                    <a:lnTo>
                      <a:pt x="219" y="751"/>
                    </a:lnTo>
                    <a:lnTo>
                      <a:pt x="217" y="749"/>
                    </a:lnTo>
                    <a:lnTo>
                      <a:pt x="215" y="745"/>
                    </a:lnTo>
                    <a:lnTo>
                      <a:pt x="215" y="743"/>
                    </a:lnTo>
                    <a:lnTo>
                      <a:pt x="215" y="738"/>
                    </a:lnTo>
                    <a:lnTo>
                      <a:pt x="217" y="730"/>
                    </a:lnTo>
                    <a:lnTo>
                      <a:pt x="219" y="724"/>
                    </a:lnTo>
                    <a:lnTo>
                      <a:pt x="222" y="719"/>
                    </a:lnTo>
                    <a:lnTo>
                      <a:pt x="225" y="713"/>
                    </a:lnTo>
                    <a:lnTo>
                      <a:pt x="228" y="710"/>
                    </a:lnTo>
                    <a:lnTo>
                      <a:pt x="230" y="708"/>
                    </a:lnTo>
                    <a:lnTo>
                      <a:pt x="233" y="702"/>
                    </a:lnTo>
                    <a:lnTo>
                      <a:pt x="236" y="699"/>
                    </a:lnTo>
                    <a:lnTo>
                      <a:pt x="238" y="699"/>
                    </a:lnTo>
                    <a:lnTo>
                      <a:pt x="239" y="697"/>
                    </a:lnTo>
                    <a:lnTo>
                      <a:pt x="241" y="695"/>
                    </a:lnTo>
                    <a:lnTo>
                      <a:pt x="242" y="692"/>
                    </a:lnTo>
                    <a:lnTo>
                      <a:pt x="239" y="689"/>
                    </a:lnTo>
                    <a:lnTo>
                      <a:pt x="234" y="686"/>
                    </a:lnTo>
                    <a:lnTo>
                      <a:pt x="228" y="686"/>
                    </a:lnTo>
                    <a:lnTo>
                      <a:pt x="223" y="684"/>
                    </a:lnTo>
                    <a:lnTo>
                      <a:pt x="222" y="681"/>
                    </a:lnTo>
                    <a:lnTo>
                      <a:pt x="223" y="676"/>
                    </a:lnTo>
                    <a:lnTo>
                      <a:pt x="228" y="675"/>
                    </a:lnTo>
                    <a:lnTo>
                      <a:pt x="234" y="673"/>
                    </a:lnTo>
                    <a:lnTo>
                      <a:pt x="239" y="670"/>
                    </a:lnTo>
                    <a:lnTo>
                      <a:pt x="241" y="667"/>
                    </a:lnTo>
                    <a:lnTo>
                      <a:pt x="245" y="665"/>
                    </a:lnTo>
                    <a:lnTo>
                      <a:pt x="250" y="664"/>
                    </a:lnTo>
                    <a:lnTo>
                      <a:pt x="253" y="662"/>
                    </a:lnTo>
                    <a:lnTo>
                      <a:pt x="258" y="661"/>
                    </a:lnTo>
                    <a:lnTo>
                      <a:pt x="264" y="657"/>
                    </a:lnTo>
                    <a:lnTo>
                      <a:pt x="269" y="656"/>
                    </a:lnTo>
                    <a:lnTo>
                      <a:pt x="277" y="654"/>
                    </a:lnTo>
                    <a:lnTo>
                      <a:pt x="280" y="651"/>
                    </a:lnTo>
                    <a:lnTo>
                      <a:pt x="280" y="646"/>
                    </a:lnTo>
                    <a:lnTo>
                      <a:pt x="274" y="645"/>
                    </a:lnTo>
                    <a:lnTo>
                      <a:pt x="268" y="643"/>
                    </a:lnTo>
                    <a:lnTo>
                      <a:pt x="260" y="643"/>
                    </a:lnTo>
                    <a:lnTo>
                      <a:pt x="253" y="642"/>
                    </a:lnTo>
                    <a:lnTo>
                      <a:pt x="247" y="640"/>
                    </a:lnTo>
                    <a:lnTo>
                      <a:pt x="242" y="640"/>
                    </a:lnTo>
                    <a:lnTo>
                      <a:pt x="241" y="640"/>
                    </a:lnTo>
                    <a:lnTo>
                      <a:pt x="234" y="640"/>
                    </a:lnTo>
                    <a:lnTo>
                      <a:pt x="228" y="643"/>
                    </a:lnTo>
                    <a:lnTo>
                      <a:pt x="226" y="643"/>
                    </a:lnTo>
                    <a:lnTo>
                      <a:pt x="225" y="643"/>
                    </a:lnTo>
                    <a:lnTo>
                      <a:pt x="220" y="645"/>
                    </a:lnTo>
                    <a:lnTo>
                      <a:pt x="214" y="645"/>
                    </a:lnTo>
                    <a:lnTo>
                      <a:pt x="203" y="645"/>
                    </a:lnTo>
                    <a:lnTo>
                      <a:pt x="198" y="638"/>
                    </a:lnTo>
                    <a:lnTo>
                      <a:pt x="195" y="632"/>
                    </a:lnTo>
                    <a:lnTo>
                      <a:pt x="193" y="626"/>
                    </a:lnTo>
                    <a:lnTo>
                      <a:pt x="188" y="619"/>
                    </a:lnTo>
                    <a:lnTo>
                      <a:pt x="182" y="618"/>
                    </a:lnTo>
                    <a:lnTo>
                      <a:pt x="176" y="618"/>
                    </a:lnTo>
                    <a:lnTo>
                      <a:pt x="168" y="616"/>
                    </a:lnTo>
                    <a:lnTo>
                      <a:pt x="161" y="615"/>
                    </a:lnTo>
                    <a:lnTo>
                      <a:pt x="158" y="613"/>
                    </a:lnTo>
                    <a:lnTo>
                      <a:pt x="155" y="610"/>
                    </a:lnTo>
                    <a:lnTo>
                      <a:pt x="152" y="605"/>
                    </a:lnTo>
                    <a:lnTo>
                      <a:pt x="149" y="599"/>
                    </a:lnTo>
                    <a:lnTo>
                      <a:pt x="146" y="596"/>
                    </a:lnTo>
                    <a:lnTo>
                      <a:pt x="142" y="591"/>
                    </a:lnTo>
                    <a:lnTo>
                      <a:pt x="139" y="588"/>
                    </a:lnTo>
                    <a:lnTo>
                      <a:pt x="133" y="583"/>
                    </a:lnTo>
                    <a:lnTo>
                      <a:pt x="128" y="580"/>
                    </a:lnTo>
                    <a:lnTo>
                      <a:pt x="122" y="578"/>
                    </a:lnTo>
                    <a:lnTo>
                      <a:pt x="117" y="577"/>
                    </a:lnTo>
                    <a:lnTo>
                      <a:pt x="111" y="573"/>
                    </a:lnTo>
                    <a:lnTo>
                      <a:pt x="104" y="570"/>
                    </a:lnTo>
                    <a:lnTo>
                      <a:pt x="100" y="566"/>
                    </a:lnTo>
                    <a:lnTo>
                      <a:pt x="95" y="562"/>
                    </a:lnTo>
                    <a:lnTo>
                      <a:pt x="90" y="559"/>
                    </a:lnTo>
                    <a:lnTo>
                      <a:pt x="87" y="556"/>
                    </a:lnTo>
                    <a:lnTo>
                      <a:pt x="81" y="551"/>
                    </a:lnTo>
                    <a:lnTo>
                      <a:pt x="78" y="548"/>
                    </a:lnTo>
                    <a:lnTo>
                      <a:pt x="74" y="543"/>
                    </a:lnTo>
                    <a:lnTo>
                      <a:pt x="71" y="539"/>
                    </a:lnTo>
                    <a:lnTo>
                      <a:pt x="66" y="534"/>
                    </a:lnTo>
                    <a:lnTo>
                      <a:pt x="60" y="529"/>
                    </a:lnTo>
                    <a:lnTo>
                      <a:pt x="52" y="524"/>
                    </a:lnTo>
                    <a:lnTo>
                      <a:pt x="46" y="523"/>
                    </a:lnTo>
                    <a:lnTo>
                      <a:pt x="40" y="520"/>
                    </a:lnTo>
                    <a:lnTo>
                      <a:pt x="33" y="518"/>
                    </a:lnTo>
                    <a:lnTo>
                      <a:pt x="27" y="521"/>
                    </a:lnTo>
                    <a:lnTo>
                      <a:pt x="21" y="524"/>
                    </a:lnTo>
                    <a:lnTo>
                      <a:pt x="19" y="527"/>
                    </a:lnTo>
                    <a:lnTo>
                      <a:pt x="17" y="531"/>
                    </a:lnTo>
                    <a:lnTo>
                      <a:pt x="13" y="534"/>
                    </a:lnTo>
                    <a:lnTo>
                      <a:pt x="9" y="534"/>
                    </a:lnTo>
                    <a:lnTo>
                      <a:pt x="6" y="534"/>
                    </a:lnTo>
                    <a:lnTo>
                      <a:pt x="3" y="529"/>
                    </a:lnTo>
                    <a:lnTo>
                      <a:pt x="2" y="526"/>
                    </a:lnTo>
                    <a:lnTo>
                      <a:pt x="0" y="526"/>
                    </a:lnTo>
                    <a:lnTo>
                      <a:pt x="0" y="524"/>
                    </a:lnTo>
                    <a:lnTo>
                      <a:pt x="3" y="524"/>
                    </a:lnTo>
                    <a:lnTo>
                      <a:pt x="3" y="523"/>
                    </a:lnTo>
                    <a:lnTo>
                      <a:pt x="3" y="521"/>
                    </a:lnTo>
                    <a:lnTo>
                      <a:pt x="3" y="518"/>
                    </a:lnTo>
                    <a:lnTo>
                      <a:pt x="5" y="515"/>
                    </a:lnTo>
                    <a:lnTo>
                      <a:pt x="5" y="502"/>
                    </a:lnTo>
                    <a:lnTo>
                      <a:pt x="5" y="496"/>
                    </a:lnTo>
                    <a:lnTo>
                      <a:pt x="5" y="493"/>
                    </a:lnTo>
                    <a:lnTo>
                      <a:pt x="5" y="489"/>
                    </a:lnTo>
                    <a:lnTo>
                      <a:pt x="5" y="483"/>
                    </a:lnTo>
                    <a:lnTo>
                      <a:pt x="5" y="478"/>
                    </a:lnTo>
                    <a:lnTo>
                      <a:pt x="5" y="477"/>
                    </a:lnTo>
                    <a:lnTo>
                      <a:pt x="5" y="470"/>
                    </a:lnTo>
                    <a:lnTo>
                      <a:pt x="3" y="463"/>
                    </a:lnTo>
                    <a:lnTo>
                      <a:pt x="3" y="459"/>
                    </a:lnTo>
                    <a:lnTo>
                      <a:pt x="3" y="456"/>
                    </a:lnTo>
                    <a:lnTo>
                      <a:pt x="5" y="432"/>
                    </a:lnTo>
                    <a:lnTo>
                      <a:pt x="5" y="429"/>
                    </a:lnTo>
                    <a:lnTo>
                      <a:pt x="5" y="421"/>
                    </a:lnTo>
                    <a:lnTo>
                      <a:pt x="5" y="417"/>
                    </a:lnTo>
                    <a:lnTo>
                      <a:pt x="5" y="413"/>
                    </a:lnTo>
                    <a:lnTo>
                      <a:pt x="5" y="412"/>
                    </a:lnTo>
                    <a:lnTo>
                      <a:pt x="3" y="399"/>
                    </a:lnTo>
                    <a:lnTo>
                      <a:pt x="3" y="394"/>
                    </a:lnTo>
                    <a:lnTo>
                      <a:pt x="3" y="393"/>
                    </a:lnTo>
                    <a:lnTo>
                      <a:pt x="3" y="390"/>
                    </a:lnTo>
                    <a:lnTo>
                      <a:pt x="3" y="388"/>
                    </a:lnTo>
                    <a:lnTo>
                      <a:pt x="3" y="386"/>
                    </a:lnTo>
                    <a:lnTo>
                      <a:pt x="3" y="385"/>
                    </a:lnTo>
                    <a:lnTo>
                      <a:pt x="3" y="372"/>
                    </a:lnTo>
                    <a:lnTo>
                      <a:pt x="3" y="371"/>
                    </a:lnTo>
                    <a:lnTo>
                      <a:pt x="2" y="369"/>
                    </a:lnTo>
                    <a:lnTo>
                      <a:pt x="2" y="358"/>
                    </a:lnTo>
                    <a:lnTo>
                      <a:pt x="0" y="355"/>
                    </a:lnTo>
                    <a:lnTo>
                      <a:pt x="0" y="348"/>
                    </a:lnTo>
                    <a:lnTo>
                      <a:pt x="0" y="345"/>
                    </a:lnTo>
                    <a:lnTo>
                      <a:pt x="2" y="345"/>
                    </a:lnTo>
                    <a:lnTo>
                      <a:pt x="2" y="347"/>
                    </a:lnTo>
                    <a:lnTo>
                      <a:pt x="3" y="347"/>
                    </a:lnTo>
                    <a:lnTo>
                      <a:pt x="3" y="348"/>
                    </a:lnTo>
                    <a:lnTo>
                      <a:pt x="5" y="348"/>
                    </a:lnTo>
                    <a:lnTo>
                      <a:pt x="6" y="348"/>
                    </a:lnTo>
                    <a:lnTo>
                      <a:pt x="8" y="348"/>
                    </a:lnTo>
                    <a:lnTo>
                      <a:pt x="9" y="348"/>
                    </a:lnTo>
                    <a:lnTo>
                      <a:pt x="11" y="348"/>
                    </a:lnTo>
                    <a:lnTo>
                      <a:pt x="13" y="348"/>
                    </a:lnTo>
                    <a:lnTo>
                      <a:pt x="13" y="350"/>
                    </a:lnTo>
                    <a:lnTo>
                      <a:pt x="14" y="350"/>
                    </a:lnTo>
                    <a:lnTo>
                      <a:pt x="16" y="350"/>
                    </a:lnTo>
                    <a:lnTo>
                      <a:pt x="17" y="350"/>
                    </a:lnTo>
                    <a:lnTo>
                      <a:pt x="19" y="350"/>
                    </a:lnTo>
                    <a:lnTo>
                      <a:pt x="21" y="350"/>
                    </a:lnTo>
                    <a:lnTo>
                      <a:pt x="22" y="350"/>
                    </a:lnTo>
                    <a:lnTo>
                      <a:pt x="24" y="350"/>
                    </a:lnTo>
                    <a:lnTo>
                      <a:pt x="25" y="350"/>
                    </a:lnTo>
                    <a:lnTo>
                      <a:pt x="25" y="348"/>
                    </a:lnTo>
                    <a:lnTo>
                      <a:pt x="27" y="348"/>
                    </a:lnTo>
                    <a:lnTo>
                      <a:pt x="27" y="350"/>
                    </a:lnTo>
                    <a:lnTo>
                      <a:pt x="28" y="350"/>
                    </a:lnTo>
                    <a:lnTo>
                      <a:pt x="30" y="350"/>
                    </a:lnTo>
                    <a:lnTo>
                      <a:pt x="32" y="350"/>
                    </a:lnTo>
                    <a:lnTo>
                      <a:pt x="33" y="350"/>
                    </a:lnTo>
                    <a:lnTo>
                      <a:pt x="33" y="352"/>
                    </a:lnTo>
                    <a:lnTo>
                      <a:pt x="35" y="353"/>
                    </a:lnTo>
                    <a:lnTo>
                      <a:pt x="36" y="353"/>
                    </a:lnTo>
                    <a:lnTo>
                      <a:pt x="38" y="353"/>
                    </a:lnTo>
                    <a:lnTo>
                      <a:pt x="38" y="352"/>
                    </a:lnTo>
                    <a:lnTo>
                      <a:pt x="40" y="352"/>
                    </a:lnTo>
                    <a:lnTo>
                      <a:pt x="41" y="352"/>
                    </a:lnTo>
                    <a:lnTo>
                      <a:pt x="43" y="352"/>
                    </a:lnTo>
                    <a:lnTo>
                      <a:pt x="44" y="352"/>
                    </a:lnTo>
                    <a:lnTo>
                      <a:pt x="46" y="353"/>
                    </a:lnTo>
                    <a:lnTo>
                      <a:pt x="47" y="353"/>
                    </a:lnTo>
                    <a:lnTo>
                      <a:pt x="49" y="353"/>
                    </a:lnTo>
                    <a:lnTo>
                      <a:pt x="51" y="353"/>
                    </a:lnTo>
                    <a:lnTo>
                      <a:pt x="52" y="353"/>
                    </a:lnTo>
                    <a:lnTo>
                      <a:pt x="54" y="353"/>
                    </a:lnTo>
                    <a:lnTo>
                      <a:pt x="55" y="355"/>
                    </a:lnTo>
                    <a:lnTo>
                      <a:pt x="57" y="355"/>
                    </a:lnTo>
                    <a:lnTo>
                      <a:pt x="59" y="355"/>
                    </a:lnTo>
                    <a:lnTo>
                      <a:pt x="59" y="353"/>
                    </a:lnTo>
                    <a:lnTo>
                      <a:pt x="60" y="353"/>
                    </a:lnTo>
                    <a:lnTo>
                      <a:pt x="62" y="353"/>
                    </a:lnTo>
                    <a:lnTo>
                      <a:pt x="63" y="353"/>
                    </a:lnTo>
                    <a:lnTo>
                      <a:pt x="65" y="353"/>
                    </a:lnTo>
                    <a:lnTo>
                      <a:pt x="65" y="352"/>
                    </a:lnTo>
                    <a:lnTo>
                      <a:pt x="66" y="352"/>
                    </a:lnTo>
                    <a:lnTo>
                      <a:pt x="68" y="350"/>
                    </a:lnTo>
                    <a:lnTo>
                      <a:pt x="68" y="348"/>
                    </a:lnTo>
                    <a:lnTo>
                      <a:pt x="68" y="347"/>
                    </a:lnTo>
                    <a:lnTo>
                      <a:pt x="68" y="345"/>
                    </a:lnTo>
                    <a:lnTo>
                      <a:pt x="70" y="345"/>
                    </a:lnTo>
                    <a:lnTo>
                      <a:pt x="71" y="344"/>
                    </a:lnTo>
                    <a:lnTo>
                      <a:pt x="73" y="344"/>
                    </a:lnTo>
                    <a:lnTo>
                      <a:pt x="73" y="342"/>
                    </a:lnTo>
                    <a:lnTo>
                      <a:pt x="73" y="341"/>
                    </a:lnTo>
                    <a:lnTo>
                      <a:pt x="74" y="341"/>
                    </a:lnTo>
                    <a:lnTo>
                      <a:pt x="74" y="339"/>
                    </a:lnTo>
                    <a:lnTo>
                      <a:pt x="76" y="339"/>
                    </a:lnTo>
                    <a:lnTo>
                      <a:pt x="76" y="337"/>
                    </a:lnTo>
                    <a:lnTo>
                      <a:pt x="76" y="336"/>
                    </a:lnTo>
                    <a:lnTo>
                      <a:pt x="76" y="334"/>
                    </a:lnTo>
                    <a:lnTo>
                      <a:pt x="78" y="334"/>
                    </a:lnTo>
                    <a:lnTo>
                      <a:pt x="78" y="333"/>
                    </a:lnTo>
                    <a:lnTo>
                      <a:pt x="79" y="331"/>
                    </a:lnTo>
                    <a:lnTo>
                      <a:pt x="79" y="329"/>
                    </a:lnTo>
                    <a:lnTo>
                      <a:pt x="79" y="328"/>
                    </a:lnTo>
                    <a:lnTo>
                      <a:pt x="81" y="326"/>
                    </a:lnTo>
                    <a:lnTo>
                      <a:pt x="81" y="325"/>
                    </a:lnTo>
                    <a:lnTo>
                      <a:pt x="81" y="323"/>
                    </a:lnTo>
                    <a:lnTo>
                      <a:pt x="81" y="322"/>
                    </a:lnTo>
                    <a:lnTo>
                      <a:pt x="81" y="320"/>
                    </a:lnTo>
                    <a:lnTo>
                      <a:pt x="82" y="320"/>
                    </a:lnTo>
                    <a:lnTo>
                      <a:pt x="82" y="318"/>
                    </a:lnTo>
                    <a:lnTo>
                      <a:pt x="84" y="318"/>
                    </a:lnTo>
                    <a:lnTo>
                      <a:pt x="84" y="317"/>
                    </a:lnTo>
                    <a:lnTo>
                      <a:pt x="84" y="315"/>
                    </a:lnTo>
                    <a:lnTo>
                      <a:pt x="82" y="314"/>
                    </a:lnTo>
                    <a:lnTo>
                      <a:pt x="84" y="312"/>
                    </a:lnTo>
                    <a:lnTo>
                      <a:pt x="84" y="310"/>
                    </a:lnTo>
                    <a:lnTo>
                      <a:pt x="84" y="309"/>
                    </a:lnTo>
                    <a:lnTo>
                      <a:pt x="82" y="307"/>
                    </a:lnTo>
                    <a:lnTo>
                      <a:pt x="84" y="306"/>
                    </a:lnTo>
                    <a:lnTo>
                      <a:pt x="84" y="304"/>
                    </a:lnTo>
                    <a:lnTo>
                      <a:pt x="82" y="302"/>
                    </a:lnTo>
                    <a:lnTo>
                      <a:pt x="82" y="301"/>
                    </a:lnTo>
                    <a:lnTo>
                      <a:pt x="82" y="299"/>
                    </a:lnTo>
                    <a:lnTo>
                      <a:pt x="82" y="298"/>
                    </a:lnTo>
                    <a:lnTo>
                      <a:pt x="82" y="296"/>
                    </a:lnTo>
                    <a:lnTo>
                      <a:pt x="84" y="296"/>
                    </a:lnTo>
                    <a:lnTo>
                      <a:pt x="84" y="298"/>
                    </a:lnTo>
                    <a:lnTo>
                      <a:pt x="85" y="298"/>
                    </a:lnTo>
                    <a:lnTo>
                      <a:pt x="87" y="299"/>
                    </a:lnTo>
                    <a:lnTo>
                      <a:pt x="89" y="299"/>
                    </a:lnTo>
                    <a:lnTo>
                      <a:pt x="90" y="301"/>
                    </a:lnTo>
                    <a:lnTo>
                      <a:pt x="92" y="301"/>
                    </a:lnTo>
                    <a:lnTo>
                      <a:pt x="92" y="299"/>
                    </a:lnTo>
                    <a:lnTo>
                      <a:pt x="93" y="299"/>
                    </a:lnTo>
                    <a:lnTo>
                      <a:pt x="93" y="298"/>
                    </a:lnTo>
                    <a:lnTo>
                      <a:pt x="93" y="296"/>
                    </a:lnTo>
                    <a:lnTo>
                      <a:pt x="95" y="296"/>
                    </a:lnTo>
                    <a:lnTo>
                      <a:pt x="95" y="295"/>
                    </a:lnTo>
                    <a:lnTo>
                      <a:pt x="97" y="293"/>
                    </a:lnTo>
                    <a:lnTo>
                      <a:pt x="98" y="293"/>
                    </a:lnTo>
                    <a:lnTo>
                      <a:pt x="100" y="293"/>
                    </a:lnTo>
                    <a:lnTo>
                      <a:pt x="101" y="293"/>
                    </a:lnTo>
                    <a:lnTo>
                      <a:pt x="103" y="291"/>
                    </a:lnTo>
                    <a:lnTo>
                      <a:pt x="103" y="290"/>
                    </a:lnTo>
                    <a:lnTo>
                      <a:pt x="101" y="290"/>
                    </a:lnTo>
                    <a:lnTo>
                      <a:pt x="101" y="288"/>
                    </a:lnTo>
                    <a:lnTo>
                      <a:pt x="101" y="287"/>
                    </a:lnTo>
                    <a:lnTo>
                      <a:pt x="100" y="287"/>
                    </a:lnTo>
                    <a:lnTo>
                      <a:pt x="100" y="285"/>
                    </a:lnTo>
                    <a:lnTo>
                      <a:pt x="98" y="285"/>
                    </a:lnTo>
                    <a:lnTo>
                      <a:pt x="98" y="283"/>
                    </a:lnTo>
                    <a:lnTo>
                      <a:pt x="97" y="285"/>
                    </a:lnTo>
                    <a:lnTo>
                      <a:pt x="97" y="287"/>
                    </a:lnTo>
                    <a:lnTo>
                      <a:pt x="95" y="288"/>
                    </a:lnTo>
                    <a:lnTo>
                      <a:pt x="93" y="288"/>
                    </a:lnTo>
                    <a:lnTo>
                      <a:pt x="92" y="288"/>
                    </a:lnTo>
                    <a:lnTo>
                      <a:pt x="90" y="288"/>
                    </a:lnTo>
                    <a:lnTo>
                      <a:pt x="89" y="288"/>
                    </a:lnTo>
                    <a:lnTo>
                      <a:pt x="87" y="288"/>
                    </a:lnTo>
                    <a:lnTo>
                      <a:pt x="87" y="287"/>
                    </a:lnTo>
                    <a:lnTo>
                      <a:pt x="85" y="287"/>
                    </a:lnTo>
                    <a:lnTo>
                      <a:pt x="84" y="287"/>
                    </a:lnTo>
                    <a:lnTo>
                      <a:pt x="82" y="287"/>
                    </a:lnTo>
                    <a:lnTo>
                      <a:pt x="84" y="287"/>
                    </a:lnTo>
                    <a:lnTo>
                      <a:pt x="84" y="285"/>
                    </a:lnTo>
                    <a:lnTo>
                      <a:pt x="84" y="283"/>
                    </a:lnTo>
                    <a:lnTo>
                      <a:pt x="85" y="283"/>
                    </a:lnTo>
                    <a:lnTo>
                      <a:pt x="85" y="282"/>
                    </a:lnTo>
                    <a:lnTo>
                      <a:pt x="87" y="280"/>
                    </a:lnTo>
                    <a:lnTo>
                      <a:pt x="85" y="280"/>
                    </a:lnTo>
                    <a:lnTo>
                      <a:pt x="85" y="279"/>
                    </a:lnTo>
                    <a:lnTo>
                      <a:pt x="84" y="279"/>
                    </a:lnTo>
                    <a:lnTo>
                      <a:pt x="82" y="279"/>
                    </a:lnTo>
                    <a:lnTo>
                      <a:pt x="81" y="277"/>
                    </a:lnTo>
                    <a:lnTo>
                      <a:pt x="79" y="277"/>
                    </a:lnTo>
                    <a:lnTo>
                      <a:pt x="78" y="277"/>
                    </a:lnTo>
                    <a:lnTo>
                      <a:pt x="76" y="277"/>
                    </a:lnTo>
                    <a:lnTo>
                      <a:pt x="74" y="277"/>
                    </a:lnTo>
                    <a:lnTo>
                      <a:pt x="74" y="279"/>
                    </a:lnTo>
                    <a:lnTo>
                      <a:pt x="74" y="277"/>
                    </a:lnTo>
                    <a:lnTo>
                      <a:pt x="73" y="277"/>
                    </a:lnTo>
                    <a:lnTo>
                      <a:pt x="74" y="277"/>
                    </a:lnTo>
                    <a:lnTo>
                      <a:pt x="74" y="276"/>
                    </a:lnTo>
                    <a:lnTo>
                      <a:pt x="73" y="276"/>
                    </a:lnTo>
                    <a:lnTo>
                      <a:pt x="73" y="274"/>
                    </a:lnTo>
                    <a:lnTo>
                      <a:pt x="74" y="274"/>
                    </a:lnTo>
                    <a:lnTo>
                      <a:pt x="74" y="272"/>
                    </a:lnTo>
                    <a:lnTo>
                      <a:pt x="74" y="271"/>
                    </a:lnTo>
                    <a:lnTo>
                      <a:pt x="74" y="269"/>
                    </a:lnTo>
                    <a:lnTo>
                      <a:pt x="74" y="268"/>
                    </a:lnTo>
                    <a:lnTo>
                      <a:pt x="76" y="268"/>
                    </a:lnTo>
                    <a:lnTo>
                      <a:pt x="76" y="266"/>
                    </a:lnTo>
                    <a:lnTo>
                      <a:pt x="76" y="268"/>
                    </a:lnTo>
                    <a:lnTo>
                      <a:pt x="78" y="268"/>
                    </a:lnTo>
                    <a:lnTo>
                      <a:pt x="79" y="268"/>
                    </a:lnTo>
                    <a:lnTo>
                      <a:pt x="81" y="268"/>
                    </a:lnTo>
                    <a:lnTo>
                      <a:pt x="82" y="268"/>
                    </a:lnTo>
                    <a:lnTo>
                      <a:pt x="84" y="269"/>
                    </a:lnTo>
                    <a:lnTo>
                      <a:pt x="85" y="269"/>
                    </a:lnTo>
                    <a:lnTo>
                      <a:pt x="87" y="269"/>
                    </a:lnTo>
                    <a:lnTo>
                      <a:pt x="89" y="271"/>
                    </a:lnTo>
                    <a:lnTo>
                      <a:pt x="90" y="271"/>
                    </a:lnTo>
                    <a:lnTo>
                      <a:pt x="90" y="272"/>
                    </a:lnTo>
                    <a:lnTo>
                      <a:pt x="92" y="272"/>
                    </a:lnTo>
                    <a:lnTo>
                      <a:pt x="92" y="274"/>
                    </a:lnTo>
                    <a:lnTo>
                      <a:pt x="92" y="272"/>
                    </a:lnTo>
                    <a:lnTo>
                      <a:pt x="92" y="271"/>
                    </a:lnTo>
                    <a:lnTo>
                      <a:pt x="92" y="269"/>
                    </a:lnTo>
                    <a:lnTo>
                      <a:pt x="92" y="268"/>
                    </a:lnTo>
                    <a:lnTo>
                      <a:pt x="90" y="268"/>
                    </a:lnTo>
                    <a:lnTo>
                      <a:pt x="90" y="266"/>
                    </a:lnTo>
                    <a:lnTo>
                      <a:pt x="90" y="264"/>
                    </a:lnTo>
                    <a:lnTo>
                      <a:pt x="90" y="263"/>
                    </a:lnTo>
                    <a:lnTo>
                      <a:pt x="92" y="263"/>
                    </a:lnTo>
                    <a:lnTo>
                      <a:pt x="92" y="261"/>
                    </a:lnTo>
                    <a:lnTo>
                      <a:pt x="90" y="261"/>
                    </a:lnTo>
                    <a:lnTo>
                      <a:pt x="92" y="260"/>
                    </a:lnTo>
                    <a:lnTo>
                      <a:pt x="92" y="261"/>
                    </a:lnTo>
                    <a:lnTo>
                      <a:pt x="93" y="261"/>
                    </a:lnTo>
                    <a:lnTo>
                      <a:pt x="93" y="260"/>
                    </a:lnTo>
                    <a:lnTo>
                      <a:pt x="95" y="260"/>
                    </a:lnTo>
                    <a:lnTo>
                      <a:pt x="97" y="260"/>
                    </a:lnTo>
                    <a:lnTo>
                      <a:pt x="98" y="260"/>
                    </a:lnTo>
                    <a:lnTo>
                      <a:pt x="100" y="261"/>
                    </a:lnTo>
                    <a:lnTo>
                      <a:pt x="100" y="263"/>
                    </a:lnTo>
                    <a:lnTo>
                      <a:pt x="101" y="263"/>
                    </a:lnTo>
                    <a:lnTo>
                      <a:pt x="103" y="263"/>
                    </a:lnTo>
                    <a:lnTo>
                      <a:pt x="104" y="263"/>
                    </a:lnTo>
                    <a:lnTo>
                      <a:pt x="106" y="263"/>
                    </a:lnTo>
                    <a:lnTo>
                      <a:pt x="108" y="263"/>
                    </a:lnTo>
                    <a:lnTo>
                      <a:pt x="108" y="261"/>
                    </a:lnTo>
                    <a:lnTo>
                      <a:pt x="108" y="260"/>
                    </a:lnTo>
                    <a:lnTo>
                      <a:pt x="106" y="258"/>
                    </a:lnTo>
                    <a:lnTo>
                      <a:pt x="106" y="257"/>
                    </a:lnTo>
                    <a:lnTo>
                      <a:pt x="108" y="257"/>
                    </a:lnTo>
                    <a:lnTo>
                      <a:pt x="109" y="257"/>
                    </a:lnTo>
                    <a:lnTo>
                      <a:pt x="109" y="255"/>
                    </a:lnTo>
                    <a:lnTo>
                      <a:pt x="111" y="255"/>
                    </a:lnTo>
                    <a:lnTo>
                      <a:pt x="111" y="253"/>
                    </a:lnTo>
                    <a:lnTo>
                      <a:pt x="111" y="252"/>
                    </a:lnTo>
                    <a:lnTo>
                      <a:pt x="111" y="250"/>
                    </a:lnTo>
                    <a:lnTo>
                      <a:pt x="111" y="249"/>
                    </a:lnTo>
                    <a:lnTo>
                      <a:pt x="111" y="247"/>
                    </a:lnTo>
                    <a:lnTo>
                      <a:pt x="111" y="245"/>
                    </a:lnTo>
                    <a:lnTo>
                      <a:pt x="111" y="244"/>
                    </a:lnTo>
                    <a:lnTo>
                      <a:pt x="109" y="242"/>
                    </a:lnTo>
                    <a:lnTo>
                      <a:pt x="108" y="242"/>
                    </a:lnTo>
                    <a:lnTo>
                      <a:pt x="108" y="241"/>
                    </a:lnTo>
                    <a:lnTo>
                      <a:pt x="108" y="239"/>
                    </a:lnTo>
                    <a:lnTo>
                      <a:pt x="106" y="239"/>
                    </a:lnTo>
                    <a:lnTo>
                      <a:pt x="106" y="238"/>
                    </a:lnTo>
                    <a:lnTo>
                      <a:pt x="104" y="238"/>
                    </a:lnTo>
                    <a:lnTo>
                      <a:pt x="103" y="238"/>
                    </a:lnTo>
                    <a:lnTo>
                      <a:pt x="103" y="236"/>
                    </a:lnTo>
                    <a:lnTo>
                      <a:pt x="100" y="236"/>
                    </a:lnTo>
                    <a:lnTo>
                      <a:pt x="100" y="234"/>
                    </a:lnTo>
                    <a:lnTo>
                      <a:pt x="98" y="234"/>
                    </a:lnTo>
                    <a:lnTo>
                      <a:pt x="97" y="234"/>
                    </a:lnTo>
                    <a:lnTo>
                      <a:pt x="95" y="234"/>
                    </a:lnTo>
                    <a:lnTo>
                      <a:pt x="95" y="233"/>
                    </a:lnTo>
                    <a:lnTo>
                      <a:pt x="93" y="233"/>
                    </a:lnTo>
                    <a:lnTo>
                      <a:pt x="93" y="231"/>
                    </a:lnTo>
                    <a:lnTo>
                      <a:pt x="93" y="230"/>
                    </a:lnTo>
                    <a:lnTo>
                      <a:pt x="93" y="228"/>
                    </a:lnTo>
                    <a:lnTo>
                      <a:pt x="93" y="226"/>
                    </a:lnTo>
                    <a:lnTo>
                      <a:pt x="93" y="225"/>
                    </a:lnTo>
                    <a:lnTo>
                      <a:pt x="93" y="223"/>
                    </a:lnTo>
                    <a:lnTo>
                      <a:pt x="92" y="223"/>
                    </a:lnTo>
                    <a:lnTo>
                      <a:pt x="90" y="223"/>
                    </a:lnTo>
                    <a:lnTo>
                      <a:pt x="89" y="223"/>
                    </a:lnTo>
                    <a:lnTo>
                      <a:pt x="89" y="222"/>
                    </a:lnTo>
                    <a:lnTo>
                      <a:pt x="87" y="222"/>
                    </a:lnTo>
                    <a:lnTo>
                      <a:pt x="87" y="220"/>
                    </a:lnTo>
                    <a:lnTo>
                      <a:pt x="87" y="219"/>
                    </a:lnTo>
                    <a:lnTo>
                      <a:pt x="87" y="217"/>
                    </a:lnTo>
                    <a:lnTo>
                      <a:pt x="85" y="217"/>
                    </a:lnTo>
                    <a:lnTo>
                      <a:pt x="85" y="215"/>
                    </a:lnTo>
                    <a:lnTo>
                      <a:pt x="85" y="214"/>
                    </a:lnTo>
                    <a:lnTo>
                      <a:pt x="85" y="212"/>
                    </a:lnTo>
                    <a:lnTo>
                      <a:pt x="84" y="212"/>
                    </a:lnTo>
                    <a:lnTo>
                      <a:pt x="84" y="211"/>
                    </a:lnTo>
                    <a:lnTo>
                      <a:pt x="82" y="211"/>
                    </a:lnTo>
                    <a:lnTo>
                      <a:pt x="82" y="209"/>
                    </a:lnTo>
                    <a:lnTo>
                      <a:pt x="84" y="209"/>
                    </a:lnTo>
                    <a:lnTo>
                      <a:pt x="84" y="207"/>
                    </a:lnTo>
                    <a:lnTo>
                      <a:pt x="85" y="207"/>
                    </a:lnTo>
                    <a:lnTo>
                      <a:pt x="87" y="207"/>
                    </a:lnTo>
                    <a:lnTo>
                      <a:pt x="89" y="207"/>
                    </a:lnTo>
                    <a:lnTo>
                      <a:pt x="90" y="209"/>
                    </a:lnTo>
                    <a:lnTo>
                      <a:pt x="90" y="211"/>
                    </a:lnTo>
                    <a:lnTo>
                      <a:pt x="92" y="211"/>
                    </a:lnTo>
                    <a:lnTo>
                      <a:pt x="93" y="211"/>
                    </a:lnTo>
                    <a:lnTo>
                      <a:pt x="93" y="212"/>
                    </a:lnTo>
                    <a:lnTo>
                      <a:pt x="95" y="212"/>
                    </a:lnTo>
                    <a:lnTo>
                      <a:pt x="97" y="212"/>
                    </a:lnTo>
                    <a:lnTo>
                      <a:pt x="98" y="212"/>
                    </a:lnTo>
                    <a:lnTo>
                      <a:pt x="100" y="212"/>
                    </a:lnTo>
                    <a:lnTo>
                      <a:pt x="100" y="214"/>
                    </a:lnTo>
                    <a:lnTo>
                      <a:pt x="101" y="214"/>
                    </a:lnTo>
                    <a:lnTo>
                      <a:pt x="101" y="215"/>
                    </a:lnTo>
                    <a:lnTo>
                      <a:pt x="103" y="215"/>
                    </a:lnTo>
                    <a:lnTo>
                      <a:pt x="103" y="214"/>
                    </a:lnTo>
                    <a:lnTo>
                      <a:pt x="104" y="214"/>
                    </a:lnTo>
                    <a:lnTo>
                      <a:pt x="106" y="214"/>
                    </a:lnTo>
                    <a:lnTo>
                      <a:pt x="108" y="214"/>
                    </a:lnTo>
                    <a:lnTo>
                      <a:pt x="109" y="215"/>
                    </a:lnTo>
                    <a:lnTo>
                      <a:pt x="111" y="215"/>
                    </a:lnTo>
                    <a:lnTo>
                      <a:pt x="111" y="214"/>
                    </a:lnTo>
                    <a:lnTo>
                      <a:pt x="112" y="214"/>
                    </a:lnTo>
                    <a:lnTo>
                      <a:pt x="112" y="215"/>
                    </a:lnTo>
                    <a:lnTo>
                      <a:pt x="114" y="214"/>
                    </a:lnTo>
                    <a:lnTo>
                      <a:pt x="116" y="214"/>
                    </a:lnTo>
                    <a:lnTo>
                      <a:pt x="116" y="212"/>
                    </a:lnTo>
                    <a:lnTo>
                      <a:pt x="116" y="214"/>
                    </a:lnTo>
                    <a:lnTo>
                      <a:pt x="117" y="214"/>
                    </a:lnTo>
                    <a:lnTo>
                      <a:pt x="117" y="212"/>
                    </a:lnTo>
                    <a:lnTo>
                      <a:pt x="119" y="212"/>
                    </a:lnTo>
                    <a:lnTo>
                      <a:pt x="119" y="214"/>
                    </a:lnTo>
                    <a:lnTo>
                      <a:pt x="120" y="214"/>
                    </a:lnTo>
                    <a:lnTo>
                      <a:pt x="120" y="212"/>
                    </a:lnTo>
                    <a:lnTo>
                      <a:pt x="122" y="212"/>
                    </a:lnTo>
                    <a:lnTo>
                      <a:pt x="123" y="211"/>
                    </a:lnTo>
                    <a:lnTo>
                      <a:pt x="123" y="212"/>
                    </a:lnTo>
                    <a:lnTo>
                      <a:pt x="123" y="211"/>
                    </a:lnTo>
                    <a:lnTo>
                      <a:pt x="125" y="211"/>
                    </a:lnTo>
                    <a:lnTo>
                      <a:pt x="125" y="212"/>
                    </a:lnTo>
                    <a:lnTo>
                      <a:pt x="127" y="212"/>
                    </a:lnTo>
                    <a:lnTo>
                      <a:pt x="127" y="214"/>
                    </a:lnTo>
                    <a:lnTo>
                      <a:pt x="128" y="214"/>
                    </a:lnTo>
                    <a:lnTo>
                      <a:pt x="128" y="215"/>
                    </a:lnTo>
                    <a:lnTo>
                      <a:pt x="130" y="217"/>
                    </a:lnTo>
                    <a:lnTo>
                      <a:pt x="131" y="219"/>
                    </a:lnTo>
                    <a:lnTo>
                      <a:pt x="133" y="219"/>
                    </a:lnTo>
                    <a:lnTo>
                      <a:pt x="133" y="220"/>
                    </a:lnTo>
                    <a:lnTo>
                      <a:pt x="135" y="220"/>
                    </a:lnTo>
                    <a:lnTo>
                      <a:pt x="136" y="222"/>
                    </a:lnTo>
                    <a:lnTo>
                      <a:pt x="138" y="222"/>
                    </a:lnTo>
                    <a:lnTo>
                      <a:pt x="138" y="223"/>
                    </a:lnTo>
                    <a:lnTo>
                      <a:pt x="139" y="223"/>
                    </a:lnTo>
                    <a:lnTo>
                      <a:pt x="139" y="225"/>
                    </a:lnTo>
                    <a:lnTo>
                      <a:pt x="141" y="225"/>
                    </a:lnTo>
                    <a:lnTo>
                      <a:pt x="142" y="225"/>
                    </a:lnTo>
                    <a:lnTo>
                      <a:pt x="142" y="226"/>
                    </a:lnTo>
                    <a:lnTo>
                      <a:pt x="144" y="228"/>
                    </a:lnTo>
                    <a:lnTo>
                      <a:pt x="146" y="228"/>
                    </a:lnTo>
                    <a:lnTo>
                      <a:pt x="147" y="230"/>
                    </a:lnTo>
                    <a:lnTo>
                      <a:pt x="149" y="230"/>
                    </a:lnTo>
                    <a:lnTo>
                      <a:pt x="150" y="230"/>
                    </a:lnTo>
                    <a:lnTo>
                      <a:pt x="150" y="231"/>
                    </a:lnTo>
                    <a:lnTo>
                      <a:pt x="152" y="231"/>
                    </a:lnTo>
                    <a:lnTo>
                      <a:pt x="154" y="231"/>
                    </a:lnTo>
                    <a:lnTo>
                      <a:pt x="154" y="233"/>
                    </a:lnTo>
                    <a:lnTo>
                      <a:pt x="155" y="234"/>
                    </a:lnTo>
                    <a:lnTo>
                      <a:pt x="157" y="234"/>
                    </a:lnTo>
                    <a:lnTo>
                      <a:pt x="158" y="234"/>
                    </a:lnTo>
                    <a:lnTo>
                      <a:pt x="160" y="234"/>
                    </a:lnTo>
                    <a:lnTo>
                      <a:pt x="161" y="234"/>
                    </a:lnTo>
                    <a:lnTo>
                      <a:pt x="163" y="234"/>
                    </a:lnTo>
                    <a:lnTo>
                      <a:pt x="165" y="234"/>
                    </a:lnTo>
                    <a:lnTo>
                      <a:pt x="165" y="236"/>
                    </a:lnTo>
                    <a:lnTo>
                      <a:pt x="166" y="236"/>
                    </a:lnTo>
                    <a:lnTo>
                      <a:pt x="168" y="236"/>
                    </a:lnTo>
                    <a:lnTo>
                      <a:pt x="169" y="236"/>
                    </a:lnTo>
                    <a:lnTo>
                      <a:pt x="171" y="236"/>
                    </a:lnTo>
                    <a:lnTo>
                      <a:pt x="173" y="236"/>
                    </a:lnTo>
                    <a:lnTo>
                      <a:pt x="173" y="238"/>
                    </a:lnTo>
                    <a:lnTo>
                      <a:pt x="174" y="238"/>
                    </a:lnTo>
                    <a:lnTo>
                      <a:pt x="174" y="239"/>
                    </a:lnTo>
                    <a:lnTo>
                      <a:pt x="174" y="241"/>
                    </a:lnTo>
                    <a:lnTo>
                      <a:pt x="176" y="241"/>
                    </a:lnTo>
                    <a:lnTo>
                      <a:pt x="176" y="242"/>
                    </a:lnTo>
                    <a:lnTo>
                      <a:pt x="177" y="242"/>
                    </a:lnTo>
                    <a:lnTo>
                      <a:pt x="179" y="242"/>
                    </a:lnTo>
                    <a:lnTo>
                      <a:pt x="179" y="244"/>
                    </a:lnTo>
                    <a:lnTo>
                      <a:pt x="181" y="244"/>
                    </a:lnTo>
                    <a:lnTo>
                      <a:pt x="182" y="244"/>
                    </a:lnTo>
                    <a:lnTo>
                      <a:pt x="184" y="244"/>
                    </a:lnTo>
                    <a:lnTo>
                      <a:pt x="184" y="242"/>
                    </a:lnTo>
                    <a:lnTo>
                      <a:pt x="185" y="242"/>
                    </a:lnTo>
                    <a:lnTo>
                      <a:pt x="187" y="242"/>
                    </a:lnTo>
                    <a:lnTo>
                      <a:pt x="188" y="241"/>
                    </a:lnTo>
                    <a:lnTo>
                      <a:pt x="190" y="241"/>
                    </a:lnTo>
                    <a:lnTo>
                      <a:pt x="190" y="239"/>
                    </a:lnTo>
                    <a:lnTo>
                      <a:pt x="192" y="239"/>
                    </a:lnTo>
                    <a:lnTo>
                      <a:pt x="193" y="238"/>
                    </a:lnTo>
                    <a:lnTo>
                      <a:pt x="195" y="238"/>
                    </a:lnTo>
                    <a:lnTo>
                      <a:pt x="195" y="236"/>
                    </a:lnTo>
                    <a:lnTo>
                      <a:pt x="196" y="236"/>
                    </a:lnTo>
                    <a:lnTo>
                      <a:pt x="196" y="234"/>
                    </a:lnTo>
                    <a:lnTo>
                      <a:pt x="196" y="233"/>
                    </a:lnTo>
                    <a:lnTo>
                      <a:pt x="196" y="231"/>
                    </a:lnTo>
                    <a:lnTo>
                      <a:pt x="196" y="230"/>
                    </a:lnTo>
                    <a:lnTo>
                      <a:pt x="195" y="230"/>
                    </a:lnTo>
                    <a:lnTo>
                      <a:pt x="193" y="230"/>
                    </a:lnTo>
                    <a:lnTo>
                      <a:pt x="193" y="228"/>
                    </a:lnTo>
                    <a:lnTo>
                      <a:pt x="193" y="226"/>
                    </a:lnTo>
                    <a:lnTo>
                      <a:pt x="195" y="225"/>
                    </a:lnTo>
                    <a:lnTo>
                      <a:pt x="196" y="225"/>
                    </a:lnTo>
                    <a:lnTo>
                      <a:pt x="196" y="223"/>
                    </a:lnTo>
                    <a:lnTo>
                      <a:pt x="198" y="223"/>
                    </a:lnTo>
                    <a:lnTo>
                      <a:pt x="198" y="222"/>
                    </a:lnTo>
                    <a:lnTo>
                      <a:pt x="200" y="222"/>
                    </a:lnTo>
                    <a:lnTo>
                      <a:pt x="200" y="220"/>
                    </a:lnTo>
                    <a:lnTo>
                      <a:pt x="200" y="219"/>
                    </a:lnTo>
                    <a:lnTo>
                      <a:pt x="198" y="219"/>
                    </a:lnTo>
                    <a:lnTo>
                      <a:pt x="198" y="217"/>
                    </a:lnTo>
                    <a:lnTo>
                      <a:pt x="196" y="217"/>
                    </a:lnTo>
                    <a:lnTo>
                      <a:pt x="196" y="215"/>
                    </a:lnTo>
                    <a:lnTo>
                      <a:pt x="198" y="215"/>
                    </a:lnTo>
                    <a:lnTo>
                      <a:pt x="198" y="214"/>
                    </a:lnTo>
                    <a:lnTo>
                      <a:pt x="198" y="212"/>
                    </a:lnTo>
                    <a:lnTo>
                      <a:pt x="198" y="211"/>
                    </a:lnTo>
                    <a:lnTo>
                      <a:pt x="198" y="209"/>
                    </a:lnTo>
                    <a:lnTo>
                      <a:pt x="196" y="209"/>
                    </a:lnTo>
                    <a:lnTo>
                      <a:pt x="196" y="207"/>
                    </a:lnTo>
                    <a:lnTo>
                      <a:pt x="196" y="206"/>
                    </a:lnTo>
                    <a:lnTo>
                      <a:pt x="196" y="204"/>
                    </a:lnTo>
                    <a:lnTo>
                      <a:pt x="196" y="203"/>
                    </a:lnTo>
                    <a:lnTo>
                      <a:pt x="196" y="201"/>
                    </a:lnTo>
                    <a:lnTo>
                      <a:pt x="198" y="199"/>
                    </a:lnTo>
                    <a:lnTo>
                      <a:pt x="198" y="198"/>
                    </a:lnTo>
                    <a:lnTo>
                      <a:pt x="198" y="196"/>
                    </a:lnTo>
                    <a:lnTo>
                      <a:pt x="198" y="195"/>
                    </a:lnTo>
                    <a:lnTo>
                      <a:pt x="198" y="193"/>
                    </a:lnTo>
                    <a:lnTo>
                      <a:pt x="196" y="193"/>
                    </a:lnTo>
                    <a:lnTo>
                      <a:pt x="196" y="192"/>
                    </a:lnTo>
                    <a:lnTo>
                      <a:pt x="195" y="192"/>
                    </a:lnTo>
                    <a:lnTo>
                      <a:pt x="195" y="190"/>
                    </a:lnTo>
                    <a:lnTo>
                      <a:pt x="193" y="190"/>
                    </a:lnTo>
                    <a:lnTo>
                      <a:pt x="193" y="188"/>
                    </a:lnTo>
                    <a:lnTo>
                      <a:pt x="195" y="188"/>
                    </a:lnTo>
                    <a:lnTo>
                      <a:pt x="196" y="188"/>
                    </a:lnTo>
                    <a:lnTo>
                      <a:pt x="198" y="188"/>
                    </a:lnTo>
                    <a:lnTo>
                      <a:pt x="198" y="187"/>
                    </a:lnTo>
                    <a:lnTo>
                      <a:pt x="200" y="187"/>
                    </a:lnTo>
                    <a:lnTo>
                      <a:pt x="200" y="185"/>
                    </a:lnTo>
                    <a:lnTo>
                      <a:pt x="198" y="185"/>
                    </a:lnTo>
                    <a:lnTo>
                      <a:pt x="198" y="184"/>
                    </a:lnTo>
                    <a:lnTo>
                      <a:pt x="198" y="182"/>
                    </a:lnTo>
                    <a:lnTo>
                      <a:pt x="198" y="180"/>
                    </a:lnTo>
                    <a:lnTo>
                      <a:pt x="196" y="180"/>
                    </a:lnTo>
                    <a:lnTo>
                      <a:pt x="195" y="180"/>
                    </a:lnTo>
                    <a:lnTo>
                      <a:pt x="195" y="179"/>
                    </a:lnTo>
                    <a:lnTo>
                      <a:pt x="195" y="177"/>
                    </a:lnTo>
                    <a:lnTo>
                      <a:pt x="196" y="177"/>
                    </a:lnTo>
                    <a:lnTo>
                      <a:pt x="198" y="176"/>
                    </a:lnTo>
                    <a:lnTo>
                      <a:pt x="200" y="176"/>
                    </a:lnTo>
                    <a:lnTo>
                      <a:pt x="201" y="176"/>
                    </a:lnTo>
                    <a:lnTo>
                      <a:pt x="201" y="174"/>
                    </a:lnTo>
                    <a:lnTo>
                      <a:pt x="203" y="174"/>
                    </a:lnTo>
                    <a:lnTo>
                      <a:pt x="203" y="173"/>
                    </a:lnTo>
                    <a:lnTo>
                      <a:pt x="203" y="171"/>
                    </a:lnTo>
                    <a:lnTo>
                      <a:pt x="204" y="171"/>
                    </a:lnTo>
                    <a:lnTo>
                      <a:pt x="204" y="169"/>
                    </a:lnTo>
                    <a:lnTo>
                      <a:pt x="206" y="169"/>
                    </a:lnTo>
                    <a:lnTo>
                      <a:pt x="206" y="168"/>
                    </a:lnTo>
                    <a:lnTo>
                      <a:pt x="207" y="168"/>
                    </a:lnTo>
                    <a:lnTo>
                      <a:pt x="207" y="166"/>
                    </a:lnTo>
                    <a:lnTo>
                      <a:pt x="209" y="166"/>
                    </a:lnTo>
                    <a:lnTo>
                      <a:pt x="211" y="166"/>
                    </a:lnTo>
                    <a:lnTo>
                      <a:pt x="212" y="166"/>
                    </a:lnTo>
                    <a:lnTo>
                      <a:pt x="214" y="166"/>
                    </a:lnTo>
                    <a:lnTo>
                      <a:pt x="215" y="166"/>
                    </a:lnTo>
                    <a:lnTo>
                      <a:pt x="215" y="165"/>
                    </a:lnTo>
                    <a:lnTo>
                      <a:pt x="215" y="163"/>
                    </a:lnTo>
                    <a:lnTo>
                      <a:pt x="217" y="163"/>
                    </a:lnTo>
                    <a:lnTo>
                      <a:pt x="217" y="161"/>
                    </a:lnTo>
                    <a:lnTo>
                      <a:pt x="219" y="161"/>
                    </a:lnTo>
                    <a:lnTo>
                      <a:pt x="219" y="160"/>
                    </a:lnTo>
                    <a:lnTo>
                      <a:pt x="219" y="158"/>
                    </a:lnTo>
                    <a:lnTo>
                      <a:pt x="217" y="158"/>
                    </a:lnTo>
                    <a:lnTo>
                      <a:pt x="217" y="157"/>
                    </a:lnTo>
                    <a:lnTo>
                      <a:pt x="219" y="157"/>
                    </a:lnTo>
                    <a:lnTo>
                      <a:pt x="220" y="157"/>
                    </a:lnTo>
                    <a:lnTo>
                      <a:pt x="222" y="157"/>
                    </a:lnTo>
                    <a:lnTo>
                      <a:pt x="222" y="155"/>
                    </a:lnTo>
                    <a:lnTo>
                      <a:pt x="222" y="154"/>
                    </a:lnTo>
                    <a:lnTo>
                      <a:pt x="223" y="154"/>
                    </a:lnTo>
                    <a:lnTo>
                      <a:pt x="223" y="152"/>
                    </a:lnTo>
                    <a:lnTo>
                      <a:pt x="225" y="150"/>
                    </a:lnTo>
                    <a:lnTo>
                      <a:pt x="223" y="150"/>
                    </a:lnTo>
                    <a:lnTo>
                      <a:pt x="223" y="149"/>
                    </a:lnTo>
                    <a:lnTo>
                      <a:pt x="223" y="147"/>
                    </a:lnTo>
                    <a:lnTo>
                      <a:pt x="223" y="146"/>
                    </a:lnTo>
                    <a:lnTo>
                      <a:pt x="222" y="146"/>
                    </a:lnTo>
                    <a:lnTo>
                      <a:pt x="220" y="146"/>
                    </a:lnTo>
                    <a:lnTo>
                      <a:pt x="219" y="146"/>
                    </a:lnTo>
                    <a:lnTo>
                      <a:pt x="219" y="144"/>
                    </a:lnTo>
                    <a:lnTo>
                      <a:pt x="217" y="144"/>
                    </a:lnTo>
                    <a:lnTo>
                      <a:pt x="217" y="142"/>
                    </a:lnTo>
                    <a:lnTo>
                      <a:pt x="217" y="141"/>
                    </a:lnTo>
                    <a:lnTo>
                      <a:pt x="217" y="139"/>
                    </a:lnTo>
                    <a:lnTo>
                      <a:pt x="219" y="139"/>
                    </a:lnTo>
                    <a:lnTo>
                      <a:pt x="220" y="139"/>
                    </a:lnTo>
                    <a:lnTo>
                      <a:pt x="220" y="138"/>
                    </a:lnTo>
                    <a:lnTo>
                      <a:pt x="222" y="138"/>
                    </a:lnTo>
                    <a:lnTo>
                      <a:pt x="222" y="136"/>
                    </a:lnTo>
                    <a:lnTo>
                      <a:pt x="222" y="135"/>
                    </a:lnTo>
                    <a:lnTo>
                      <a:pt x="223" y="133"/>
                    </a:lnTo>
                    <a:lnTo>
                      <a:pt x="223" y="131"/>
                    </a:lnTo>
                    <a:lnTo>
                      <a:pt x="225" y="130"/>
                    </a:lnTo>
                    <a:lnTo>
                      <a:pt x="225" y="128"/>
                    </a:lnTo>
                    <a:lnTo>
                      <a:pt x="226" y="128"/>
                    </a:lnTo>
                    <a:lnTo>
                      <a:pt x="226" y="127"/>
                    </a:lnTo>
                    <a:lnTo>
                      <a:pt x="228" y="125"/>
                    </a:lnTo>
                    <a:lnTo>
                      <a:pt x="228" y="123"/>
                    </a:lnTo>
                    <a:lnTo>
                      <a:pt x="226" y="123"/>
                    </a:lnTo>
                    <a:lnTo>
                      <a:pt x="226" y="122"/>
                    </a:lnTo>
                    <a:lnTo>
                      <a:pt x="225" y="122"/>
                    </a:lnTo>
                    <a:lnTo>
                      <a:pt x="225" y="120"/>
                    </a:lnTo>
                    <a:lnTo>
                      <a:pt x="223" y="120"/>
                    </a:lnTo>
                    <a:lnTo>
                      <a:pt x="223" y="119"/>
                    </a:lnTo>
                    <a:lnTo>
                      <a:pt x="222" y="119"/>
                    </a:lnTo>
                    <a:lnTo>
                      <a:pt x="220" y="119"/>
                    </a:lnTo>
                    <a:lnTo>
                      <a:pt x="220" y="117"/>
                    </a:lnTo>
                    <a:lnTo>
                      <a:pt x="219" y="117"/>
                    </a:lnTo>
                    <a:lnTo>
                      <a:pt x="219" y="116"/>
                    </a:lnTo>
                    <a:lnTo>
                      <a:pt x="217" y="114"/>
                    </a:lnTo>
                    <a:lnTo>
                      <a:pt x="219" y="114"/>
                    </a:lnTo>
                    <a:lnTo>
                      <a:pt x="219" y="112"/>
                    </a:lnTo>
                    <a:lnTo>
                      <a:pt x="217" y="112"/>
                    </a:lnTo>
                    <a:lnTo>
                      <a:pt x="217" y="111"/>
                    </a:lnTo>
                    <a:lnTo>
                      <a:pt x="215" y="111"/>
                    </a:lnTo>
                    <a:lnTo>
                      <a:pt x="215" y="109"/>
                    </a:lnTo>
                    <a:lnTo>
                      <a:pt x="217" y="108"/>
                    </a:lnTo>
                    <a:lnTo>
                      <a:pt x="217" y="109"/>
                    </a:lnTo>
                    <a:lnTo>
                      <a:pt x="219" y="109"/>
                    </a:lnTo>
                    <a:lnTo>
                      <a:pt x="219" y="108"/>
                    </a:lnTo>
                    <a:lnTo>
                      <a:pt x="220" y="108"/>
                    </a:lnTo>
                    <a:lnTo>
                      <a:pt x="220" y="106"/>
                    </a:lnTo>
                    <a:lnTo>
                      <a:pt x="220" y="104"/>
                    </a:lnTo>
                    <a:lnTo>
                      <a:pt x="219" y="104"/>
                    </a:lnTo>
                    <a:lnTo>
                      <a:pt x="219" y="103"/>
                    </a:lnTo>
                    <a:lnTo>
                      <a:pt x="220" y="101"/>
                    </a:lnTo>
                    <a:lnTo>
                      <a:pt x="222" y="101"/>
                    </a:lnTo>
                    <a:lnTo>
                      <a:pt x="223" y="101"/>
                    </a:lnTo>
                    <a:lnTo>
                      <a:pt x="223" y="103"/>
                    </a:lnTo>
                    <a:lnTo>
                      <a:pt x="225" y="103"/>
                    </a:lnTo>
                    <a:lnTo>
                      <a:pt x="226" y="103"/>
                    </a:lnTo>
                    <a:lnTo>
                      <a:pt x="226" y="104"/>
                    </a:lnTo>
                    <a:lnTo>
                      <a:pt x="228" y="106"/>
                    </a:lnTo>
                    <a:lnTo>
                      <a:pt x="230" y="106"/>
                    </a:lnTo>
                    <a:lnTo>
                      <a:pt x="230" y="108"/>
                    </a:lnTo>
                    <a:lnTo>
                      <a:pt x="231" y="108"/>
                    </a:lnTo>
                    <a:lnTo>
                      <a:pt x="233" y="109"/>
                    </a:lnTo>
                    <a:lnTo>
                      <a:pt x="234" y="109"/>
                    </a:lnTo>
                    <a:lnTo>
                      <a:pt x="234" y="111"/>
                    </a:lnTo>
                    <a:lnTo>
                      <a:pt x="236" y="111"/>
                    </a:lnTo>
                    <a:lnTo>
                      <a:pt x="238" y="111"/>
                    </a:lnTo>
                    <a:lnTo>
                      <a:pt x="239" y="111"/>
                    </a:lnTo>
                    <a:lnTo>
                      <a:pt x="241" y="111"/>
                    </a:lnTo>
                    <a:lnTo>
                      <a:pt x="242" y="111"/>
                    </a:lnTo>
                    <a:lnTo>
                      <a:pt x="242" y="109"/>
                    </a:lnTo>
                    <a:lnTo>
                      <a:pt x="242" y="108"/>
                    </a:lnTo>
                    <a:lnTo>
                      <a:pt x="244" y="108"/>
                    </a:lnTo>
                    <a:lnTo>
                      <a:pt x="244" y="106"/>
                    </a:lnTo>
                    <a:lnTo>
                      <a:pt x="244" y="104"/>
                    </a:lnTo>
                    <a:lnTo>
                      <a:pt x="244" y="103"/>
                    </a:lnTo>
                    <a:lnTo>
                      <a:pt x="244" y="101"/>
                    </a:lnTo>
                    <a:lnTo>
                      <a:pt x="245" y="101"/>
                    </a:lnTo>
                    <a:lnTo>
                      <a:pt x="245" y="100"/>
                    </a:lnTo>
                    <a:lnTo>
                      <a:pt x="247" y="100"/>
                    </a:lnTo>
                    <a:lnTo>
                      <a:pt x="247" y="101"/>
                    </a:lnTo>
                    <a:lnTo>
                      <a:pt x="249" y="101"/>
                    </a:lnTo>
                    <a:lnTo>
                      <a:pt x="250" y="101"/>
                    </a:lnTo>
                    <a:lnTo>
                      <a:pt x="250" y="103"/>
                    </a:lnTo>
                    <a:lnTo>
                      <a:pt x="252" y="103"/>
                    </a:lnTo>
                    <a:lnTo>
                      <a:pt x="253" y="103"/>
                    </a:lnTo>
                    <a:lnTo>
                      <a:pt x="255" y="103"/>
                    </a:lnTo>
                    <a:lnTo>
                      <a:pt x="257" y="103"/>
                    </a:lnTo>
                    <a:lnTo>
                      <a:pt x="258" y="103"/>
                    </a:lnTo>
                    <a:lnTo>
                      <a:pt x="260" y="103"/>
                    </a:lnTo>
                    <a:lnTo>
                      <a:pt x="261" y="103"/>
                    </a:lnTo>
                    <a:lnTo>
                      <a:pt x="261" y="104"/>
                    </a:lnTo>
                    <a:lnTo>
                      <a:pt x="263" y="104"/>
                    </a:lnTo>
                    <a:lnTo>
                      <a:pt x="263" y="106"/>
                    </a:lnTo>
                    <a:lnTo>
                      <a:pt x="261" y="106"/>
                    </a:lnTo>
                    <a:lnTo>
                      <a:pt x="263" y="106"/>
                    </a:lnTo>
                    <a:lnTo>
                      <a:pt x="263" y="108"/>
                    </a:lnTo>
                    <a:lnTo>
                      <a:pt x="261" y="108"/>
                    </a:lnTo>
                    <a:lnTo>
                      <a:pt x="261" y="109"/>
                    </a:lnTo>
                    <a:lnTo>
                      <a:pt x="261" y="111"/>
                    </a:lnTo>
                    <a:lnTo>
                      <a:pt x="261" y="112"/>
                    </a:lnTo>
                    <a:lnTo>
                      <a:pt x="261" y="114"/>
                    </a:lnTo>
                    <a:lnTo>
                      <a:pt x="261" y="116"/>
                    </a:lnTo>
                    <a:lnTo>
                      <a:pt x="261" y="117"/>
                    </a:lnTo>
                    <a:lnTo>
                      <a:pt x="263" y="119"/>
                    </a:lnTo>
                    <a:lnTo>
                      <a:pt x="261" y="119"/>
                    </a:lnTo>
                    <a:lnTo>
                      <a:pt x="261" y="120"/>
                    </a:lnTo>
                    <a:lnTo>
                      <a:pt x="261" y="122"/>
                    </a:lnTo>
                    <a:lnTo>
                      <a:pt x="260" y="122"/>
                    </a:lnTo>
                    <a:lnTo>
                      <a:pt x="260" y="123"/>
                    </a:lnTo>
                    <a:lnTo>
                      <a:pt x="260" y="125"/>
                    </a:lnTo>
                    <a:lnTo>
                      <a:pt x="260" y="127"/>
                    </a:lnTo>
                    <a:lnTo>
                      <a:pt x="260" y="128"/>
                    </a:lnTo>
                    <a:lnTo>
                      <a:pt x="261" y="130"/>
                    </a:lnTo>
                    <a:lnTo>
                      <a:pt x="260" y="130"/>
                    </a:lnTo>
                    <a:lnTo>
                      <a:pt x="261" y="130"/>
                    </a:lnTo>
                    <a:lnTo>
                      <a:pt x="263" y="130"/>
                    </a:lnTo>
                    <a:lnTo>
                      <a:pt x="263" y="131"/>
                    </a:lnTo>
                    <a:lnTo>
                      <a:pt x="264" y="131"/>
                    </a:lnTo>
                    <a:lnTo>
                      <a:pt x="264" y="133"/>
                    </a:lnTo>
                    <a:lnTo>
                      <a:pt x="266" y="133"/>
                    </a:lnTo>
                    <a:lnTo>
                      <a:pt x="268" y="133"/>
                    </a:lnTo>
                    <a:lnTo>
                      <a:pt x="269" y="133"/>
                    </a:lnTo>
                    <a:lnTo>
                      <a:pt x="271" y="133"/>
                    </a:lnTo>
                    <a:lnTo>
                      <a:pt x="272" y="133"/>
                    </a:lnTo>
                    <a:lnTo>
                      <a:pt x="272" y="135"/>
                    </a:lnTo>
                    <a:lnTo>
                      <a:pt x="274" y="135"/>
                    </a:lnTo>
                    <a:lnTo>
                      <a:pt x="276" y="135"/>
                    </a:lnTo>
                    <a:lnTo>
                      <a:pt x="276" y="133"/>
                    </a:lnTo>
                    <a:lnTo>
                      <a:pt x="277" y="133"/>
                    </a:lnTo>
                    <a:lnTo>
                      <a:pt x="277" y="131"/>
                    </a:lnTo>
                    <a:lnTo>
                      <a:pt x="279" y="131"/>
                    </a:lnTo>
                    <a:lnTo>
                      <a:pt x="279" y="130"/>
                    </a:lnTo>
                    <a:lnTo>
                      <a:pt x="280" y="127"/>
                    </a:lnTo>
                    <a:lnTo>
                      <a:pt x="280" y="125"/>
                    </a:lnTo>
                    <a:lnTo>
                      <a:pt x="282" y="125"/>
                    </a:lnTo>
                    <a:lnTo>
                      <a:pt x="283" y="125"/>
                    </a:lnTo>
                    <a:lnTo>
                      <a:pt x="285" y="125"/>
                    </a:lnTo>
                    <a:lnTo>
                      <a:pt x="287" y="125"/>
                    </a:lnTo>
                    <a:lnTo>
                      <a:pt x="287" y="123"/>
                    </a:lnTo>
                    <a:lnTo>
                      <a:pt x="288" y="123"/>
                    </a:lnTo>
                    <a:lnTo>
                      <a:pt x="290" y="123"/>
                    </a:lnTo>
                    <a:lnTo>
                      <a:pt x="290" y="122"/>
                    </a:lnTo>
                    <a:lnTo>
                      <a:pt x="302" y="123"/>
                    </a:lnTo>
                    <a:lnTo>
                      <a:pt x="302" y="125"/>
                    </a:lnTo>
                    <a:lnTo>
                      <a:pt x="302" y="127"/>
                    </a:lnTo>
                    <a:lnTo>
                      <a:pt x="304" y="127"/>
                    </a:lnTo>
                    <a:lnTo>
                      <a:pt x="304" y="128"/>
                    </a:lnTo>
                    <a:lnTo>
                      <a:pt x="304" y="130"/>
                    </a:lnTo>
                    <a:lnTo>
                      <a:pt x="306" y="130"/>
                    </a:lnTo>
                    <a:lnTo>
                      <a:pt x="306" y="131"/>
                    </a:lnTo>
                    <a:lnTo>
                      <a:pt x="307" y="131"/>
                    </a:lnTo>
                    <a:lnTo>
                      <a:pt x="307" y="133"/>
                    </a:lnTo>
                    <a:lnTo>
                      <a:pt x="309" y="133"/>
                    </a:lnTo>
                    <a:lnTo>
                      <a:pt x="309" y="135"/>
                    </a:lnTo>
                    <a:lnTo>
                      <a:pt x="310" y="135"/>
                    </a:lnTo>
                    <a:lnTo>
                      <a:pt x="312" y="135"/>
                    </a:lnTo>
                    <a:lnTo>
                      <a:pt x="314" y="135"/>
                    </a:lnTo>
                    <a:lnTo>
                      <a:pt x="315" y="135"/>
                    </a:lnTo>
                    <a:lnTo>
                      <a:pt x="317" y="135"/>
                    </a:lnTo>
                    <a:lnTo>
                      <a:pt x="318" y="135"/>
                    </a:lnTo>
                    <a:lnTo>
                      <a:pt x="318" y="136"/>
                    </a:lnTo>
                    <a:lnTo>
                      <a:pt x="320" y="135"/>
                    </a:lnTo>
                    <a:lnTo>
                      <a:pt x="320" y="133"/>
                    </a:lnTo>
                    <a:lnTo>
                      <a:pt x="321" y="133"/>
                    </a:lnTo>
                    <a:lnTo>
                      <a:pt x="323" y="133"/>
                    </a:lnTo>
                    <a:lnTo>
                      <a:pt x="323" y="131"/>
                    </a:lnTo>
                    <a:lnTo>
                      <a:pt x="325" y="131"/>
                    </a:lnTo>
                    <a:lnTo>
                      <a:pt x="325" y="130"/>
                    </a:lnTo>
                    <a:lnTo>
                      <a:pt x="326" y="130"/>
                    </a:lnTo>
                    <a:lnTo>
                      <a:pt x="326" y="131"/>
                    </a:lnTo>
                    <a:lnTo>
                      <a:pt x="328" y="131"/>
                    </a:lnTo>
                    <a:lnTo>
                      <a:pt x="329" y="131"/>
                    </a:lnTo>
                    <a:lnTo>
                      <a:pt x="329" y="133"/>
                    </a:lnTo>
                    <a:lnTo>
                      <a:pt x="331" y="133"/>
                    </a:lnTo>
                    <a:lnTo>
                      <a:pt x="333" y="133"/>
                    </a:lnTo>
                    <a:lnTo>
                      <a:pt x="333" y="135"/>
                    </a:lnTo>
                    <a:lnTo>
                      <a:pt x="334" y="135"/>
                    </a:lnTo>
                    <a:lnTo>
                      <a:pt x="334" y="136"/>
                    </a:lnTo>
                    <a:lnTo>
                      <a:pt x="336" y="136"/>
                    </a:lnTo>
                    <a:lnTo>
                      <a:pt x="336" y="138"/>
                    </a:lnTo>
                    <a:lnTo>
                      <a:pt x="337" y="138"/>
                    </a:lnTo>
                    <a:lnTo>
                      <a:pt x="337" y="139"/>
                    </a:lnTo>
                    <a:lnTo>
                      <a:pt x="339" y="139"/>
                    </a:lnTo>
                    <a:lnTo>
                      <a:pt x="339" y="141"/>
                    </a:lnTo>
                    <a:lnTo>
                      <a:pt x="340" y="139"/>
                    </a:lnTo>
                    <a:lnTo>
                      <a:pt x="340" y="141"/>
                    </a:lnTo>
                    <a:lnTo>
                      <a:pt x="342" y="141"/>
                    </a:lnTo>
                    <a:lnTo>
                      <a:pt x="344" y="141"/>
                    </a:lnTo>
                    <a:lnTo>
                      <a:pt x="345" y="141"/>
                    </a:lnTo>
                    <a:lnTo>
                      <a:pt x="345" y="142"/>
                    </a:lnTo>
                    <a:lnTo>
                      <a:pt x="345" y="144"/>
                    </a:lnTo>
                    <a:lnTo>
                      <a:pt x="347" y="144"/>
                    </a:lnTo>
                    <a:lnTo>
                      <a:pt x="345" y="144"/>
                    </a:lnTo>
                    <a:lnTo>
                      <a:pt x="345" y="146"/>
                    </a:lnTo>
                    <a:lnTo>
                      <a:pt x="347" y="146"/>
                    </a:lnTo>
                    <a:lnTo>
                      <a:pt x="347" y="147"/>
                    </a:lnTo>
                    <a:lnTo>
                      <a:pt x="348" y="147"/>
                    </a:lnTo>
                    <a:lnTo>
                      <a:pt x="348" y="149"/>
                    </a:lnTo>
                    <a:lnTo>
                      <a:pt x="350" y="149"/>
                    </a:lnTo>
                    <a:lnTo>
                      <a:pt x="350" y="150"/>
                    </a:lnTo>
                    <a:lnTo>
                      <a:pt x="352" y="150"/>
                    </a:lnTo>
                    <a:lnTo>
                      <a:pt x="352" y="152"/>
                    </a:lnTo>
                    <a:lnTo>
                      <a:pt x="353" y="152"/>
                    </a:lnTo>
                    <a:lnTo>
                      <a:pt x="353" y="154"/>
                    </a:lnTo>
                    <a:lnTo>
                      <a:pt x="355" y="154"/>
                    </a:lnTo>
                    <a:lnTo>
                      <a:pt x="355" y="155"/>
                    </a:lnTo>
                    <a:lnTo>
                      <a:pt x="356" y="155"/>
                    </a:lnTo>
                    <a:lnTo>
                      <a:pt x="358" y="155"/>
                    </a:lnTo>
                    <a:lnTo>
                      <a:pt x="358" y="154"/>
                    </a:lnTo>
                    <a:lnTo>
                      <a:pt x="360" y="154"/>
                    </a:lnTo>
                    <a:lnTo>
                      <a:pt x="361" y="154"/>
                    </a:lnTo>
                    <a:lnTo>
                      <a:pt x="361" y="152"/>
                    </a:lnTo>
                    <a:lnTo>
                      <a:pt x="363" y="152"/>
                    </a:lnTo>
                    <a:lnTo>
                      <a:pt x="363" y="150"/>
                    </a:lnTo>
                    <a:lnTo>
                      <a:pt x="364" y="150"/>
                    </a:lnTo>
                    <a:lnTo>
                      <a:pt x="366" y="150"/>
                    </a:lnTo>
                    <a:lnTo>
                      <a:pt x="367" y="150"/>
                    </a:lnTo>
                    <a:lnTo>
                      <a:pt x="367" y="152"/>
                    </a:lnTo>
                    <a:lnTo>
                      <a:pt x="369" y="152"/>
                    </a:lnTo>
                    <a:lnTo>
                      <a:pt x="369" y="154"/>
                    </a:lnTo>
                    <a:lnTo>
                      <a:pt x="371" y="154"/>
                    </a:lnTo>
                    <a:lnTo>
                      <a:pt x="371" y="152"/>
                    </a:lnTo>
                    <a:lnTo>
                      <a:pt x="371" y="154"/>
                    </a:lnTo>
                    <a:lnTo>
                      <a:pt x="371" y="155"/>
                    </a:lnTo>
                    <a:lnTo>
                      <a:pt x="369" y="155"/>
                    </a:lnTo>
                    <a:lnTo>
                      <a:pt x="369" y="157"/>
                    </a:lnTo>
                    <a:lnTo>
                      <a:pt x="369" y="158"/>
                    </a:lnTo>
                    <a:lnTo>
                      <a:pt x="369" y="160"/>
                    </a:lnTo>
                    <a:lnTo>
                      <a:pt x="367" y="160"/>
                    </a:lnTo>
                    <a:lnTo>
                      <a:pt x="367" y="161"/>
                    </a:lnTo>
                    <a:lnTo>
                      <a:pt x="366" y="161"/>
                    </a:lnTo>
                    <a:lnTo>
                      <a:pt x="364" y="161"/>
                    </a:lnTo>
                    <a:lnTo>
                      <a:pt x="363" y="161"/>
                    </a:lnTo>
                    <a:lnTo>
                      <a:pt x="361" y="161"/>
                    </a:lnTo>
                    <a:lnTo>
                      <a:pt x="361" y="160"/>
                    </a:lnTo>
                    <a:lnTo>
                      <a:pt x="360" y="160"/>
                    </a:lnTo>
                    <a:lnTo>
                      <a:pt x="358" y="160"/>
                    </a:lnTo>
                    <a:lnTo>
                      <a:pt x="356" y="160"/>
                    </a:lnTo>
                    <a:lnTo>
                      <a:pt x="355" y="160"/>
                    </a:lnTo>
                    <a:lnTo>
                      <a:pt x="356" y="160"/>
                    </a:lnTo>
                    <a:lnTo>
                      <a:pt x="356" y="161"/>
                    </a:lnTo>
                    <a:lnTo>
                      <a:pt x="356" y="163"/>
                    </a:lnTo>
                    <a:lnTo>
                      <a:pt x="358" y="165"/>
                    </a:lnTo>
                    <a:lnTo>
                      <a:pt x="358" y="166"/>
                    </a:lnTo>
                    <a:lnTo>
                      <a:pt x="358" y="168"/>
                    </a:lnTo>
                    <a:lnTo>
                      <a:pt x="360" y="168"/>
                    </a:lnTo>
                    <a:lnTo>
                      <a:pt x="361" y="169"/>
                    </a:lnTo>
                    <a:lnTo>
                      <a:pt x="363" y="169"/>
                    </a:lnTo>
                    <a:lnTo>
                      <a:pt x="363" y="171"/>
                    </a:lnTo>
                    <a:lnTo>
                      <a:pt x="363" y="173"/>
                    </a:lnTo>
                    <a:lnTo>
                      <a:pt x="363" y="174"/>
                    </a:lnTo>
                    <a:lnTo>
                      <a:pt x="364" y="174"/>
                    </a:lnTo>
                    <a:lnTo>
                      <a:pt x="364" y="176"/>
                    </a:lnTo>
                    <a:lnTo>
                      <a:pt x="366" y="176"/>
                    </a:lnTo>
                    <a:lnTo>
                      <a:pt x="364" y="176"/>
                    </a:lnTo>
                    <a:lnTo>
                      <a:pt x="363" y="177"/>
                    </a:lnTo>
                    <a:lnTo>
                      <a:pt x="361" y="177"/>
                    </a:lnTo>
                    <a:lnTo>
                      <a:pt x="363" y="177"/>
                    </a:lnTo>
                    <a:lnTo>
                      <a:pt x="363" y="179"/>
                    </a:lnTo>
                    <a:lnTo>
                      <a:pt x="364" y="179"/>
                    </a:lnTo>
                    <a:lnTo>
                      <a:pt x="364" y="180"/>
                    </a:lnTo>
                    <a:lnTo>
                      <a:pt x="366" y="180"/>
                    </a:lnTo>
                    <a:lnTo>
                      <a:pt x="366" y="182"/>
                    </a:lnTo>
                    <a:lnTo>
                      <a:pt x="366" y="184"/>
                    </a:lnTo>
                    <a:lnTo>
                      <a:pt x="367" y="184"/>
                    </a:lnTo>
                    <a:lnTo>
                      <a:pt x="367" y="185"/>
                    </a:lnTo>
                    <a:lnTo>
                      <a:pt x="367" y="187"/>
                    </a:lnTo>
                    <a:lnTo>
                      <a:pt x="367" y="188"/>
                    </a:lnTo>
                    <a:lnTo>
                      <a:pt x="366" y="190"/>
                    </a:lnTo>
                    <a:lnTo>
                      <a:pt x="364" y="190"/>
                    </a:lnTo>
                    <a:lnTo>
                      <a:pt x="363" y="190"/>
                    </a:lnTo>
                    <a:lnTo>
                      <a:pt x="361" y="192"/>
                    </a:lnTo>
                    <a:lnTo>
                      <a:pt x="360" y="192"/>
                    </a:lnTo>
                    <a:lnTo>
                      <a:pt x="361" y="192"/>
                    </a:lnTo>
                    <a:lnTo>
                      <a:pt x="361" y="193"/>
                    </a:lnTo>
                    <a:lnTo>
                      <a:pt x="363" y="193"/>
                    </a:lnTo>
                    <a:lnTo>
                      <a:pt x="363" y="195"/>
                    </a:lnTo>
                    <a:lnTo>
                      <a:pt x="364" y="195"/>
                    </a:lnTo>
                    <a:lnTo>
                      <a:pt x="366" y="195"/>
                    </a:lnTo>
                    <a:lnTo>
                      <a:pt x="367" y="195"/>
                    </a:lnTo>
                    <a:lnTo>
                      <a:pt x="369" y="195"/>
                    </a:lnTo>
                    <a:lnTo>
                      <a:pt x="371" y="195"/>
                    </a:lnTo>
                    <a:lnTo>
                      <a:pt x="372" y="195"/>
                    </a:lnTo>
                    <a:lnTo>
                      <a:pt x="372" y="196"/>
                    </a:lnTo>
                    <a:lnTo>
                      <a:pt x="374" y="196"/>
                    </a:lnTo>
                    <a:lnTo>
                      <a:pt x="375" y="196"/>
                    </a:lnTo>
                    <a:lnTo>
                      <a:pt x="377" y="196"/>
                    </a:lnTo>
                    <a:lnTo>
                      <a:pt x="379" y="196"/>
                    </a:lnTo>
                    <a:lnTo>
                      <a:pt x="380" y="195"/>
                    </a:lnTo>
                    <a:lnTo>
                      <a:pt x="382" y="196"/>
                    </a:lnTo>
                    <a:lnTo>
                      <a:pt x="383" y="196"/>
                    </a:lnTo>
                    <a:lnTo>
                      <a:pt x="383" y="195"/>
                    </a:lnTo>
                    <a:lnTo>
                      <a:pt x="385" y="195"/>
                    </a:lnTo>
                    <a:lnTo>
                      <a:pt x="385" y="196"/>
                    </a:lnTo>
                    <a:lnTo>
                      <a:pt x="386" y="196"/>
                    </a:lnTo>
                    <a:lnTo>
                      <a:pt x="388" y="196"/>
                    </a:lnTo>
                    <a:lnTo>
                      <a:pt x="388" y="198"/>
                    </a:lnTo>
                    <a:lnTo>
                      <a:pt x="388" y="199"/>
                    </a:lnTo>
                    <a:lnTo>
                      <a:pt x="390" y="201"/>
                    </a:lnTo>
                    <a:lnTo>
                      <a:pt x="391" y="201"/>
                    </a:lnTo>
                    <a:lnTo>
                      <a:pt x="393" y="201"/>
                    </a:lnTo>
                    <a:lnTo>
                      <a:pt x="393" y="203"/>
                    </a:lnTo>
                    <a:lnTo>
                      <a:pt x="394" y="203"/>
                    </a:lnTo>
                    <a:lnTo>
                      <a:pt x="396" y="204"/>
                    </a:lnTo>
                    <a:lnTo>
                      <a:pt x="398" y="204"/>
                    </a:lnTo>
                    <a:lnTo>
                      <a:pt x="398" y="203"/>
                    </a:lnTo>
                    <a:lnTo>
                      <a:pt x="398" y="201"/>
                    </a:lnTo>
                    <a:lnTo>
                      <a:pt x="399" y="201"/>
                    </a:lnTo>
                    <a:lnTo>
                      <a:pt x="399" y="203"/>
                    </a:lnTo>
                    <a:lnTo>
                      <a:pt x="401" y="203"/>
                    </a:lnTo>
                    <a:lnTo>
                      <a:pt x="402" y="203"/>
                    </a:lnTo>
                    <a:lnTo>
                      <a:pt x="402" y="204"/>
                    </a:lnTo>
                    <a:lnTo>
                      <a:pt x="404" y="204"/>
                    </a:lnTo>
                    <a:lnTo>
                      <a:pt x="405" y="206"/>
                    </a:lnTo>
                    <a:lnTo>
                      <a:pt x="407" y="206"/>
                    </a:lnTo>
                    <a:lnTo>
                      <a:pt x="409" y="206"/>
                    </a:lnTo>
                    <a:lnTo>
                      <a:pt x="409" y="204"/>
                    </a:lnTo>
                    <a:lnTo>
                      <a:pt x="410" y="204"/>
                    </a:lnTo>
                    <a:lnTo>
                      <a:pt x="410" y="203"/>
                    </a:lnTo>
                    <a:lnTo>
                      <a:pt x="410" y="201"/>
                    </a:lnTo>
                    <a:lnTo>
                      <a:pt x="412" y="201"/>
                    </a:lnTo>
                    <a:lnTo>
                      <a:pt x="413" y="201"/>
                    </a:lnTo>
                    <a:lnTo>
                      <a:pt x="415" y="201"/>
                    </a:lnTo>
                    <a:lnTo>
                      <a:pt x="417" y="201"/>
                    </a:lnTo>
                    <a:lnTo>
                      <a:pt x="418" y="203"/>
                    </a:lnTo>
                    <a:lnTo>
                      <a:pt x="420" y="203"/>
                    </a:lnTo>
                    <a:lnTo>
                      <a:pt x="420" y="204"/>
                    </a:lnTo>
                    <a:lnTo>
                      <a:pt x="418" y="204"/>
                    </a:lnTo>
                    <a:lnTo>
                      <a:pt x="418" y="206"/>
                    </a:lnTo>
                    <a:lnTo>
                      <a:pt x="420" y="206"/>
                    </a:lnTo>
                    <a:lnTo>
                      <a:pt x="421" y="206"/>
                    </a:lnTo>
                    <a:lnTo>
                      <a:pt x="421" y="207"/>
                    </a:lnTo>
                    <a:lnTo>
                      <a:pt x="421" y="209"/>
                    </a:lnTo>
                    <a:lnTo>
                      <a:pt x="421" y="211"/>
                    </a:lnTo>
                    <a:lnTo>
                      <a:pt x="423" y="211"/>
                    </a:lnTo>
                    <a:lnTo>
                      <a:pt x="424" y="211"/>
                    </a:lnTo>
                    <a:lnTo>
                      <a:pt x="424" y="212"/>
                    </a:lnTo>
                    <a:lnTo>
                      <a:pt x="426" y="212"/>
                    </a:lnTo>
                    <a:lnTo>
                      <a:pt x="428" y="212"/>
                    </a:lnTo>
                    <a:lnTo>
                      <a:pt x="428" y="214"/>
                    </a:lnTo>
                    <a:lnTo>
                      <a:pt x="429" y="214"/>
                    </a:lnTo>
                    <a:lnTo>
                      <a:pt x="428" y="215"/>
                    </a:lnTo>
                    <a:lnTo>
                      <a:pt x="428" y="217"/>
                    </a:lnTo>
                    <a:lnTo>
                      <a:pt x="429" y="217"/>
                    </a:lnTo>
                    <a:lnTo>
                      <a:pt x="431" y="217"/>
                    </a:lnTo>
                    <a:lnTo>
                      <a:pt x="432" y="217"/>
                    </a:lnTo>
                    <a:lnTo>
                      <a:pt x="434" y="217"/>
                    </a:lnTo>
                    <a:lnTo>
                      <a:pt x="436" y="217"/>
                    </a:lnTo>
                    <a:lnTo>
                      <a:pt x="436" y="215"/>
                    </a:lnTo>
                    <a:lnTo>
                      <a:pt x="437" y="214"/>
                    </a:lnTo>
                    <a:lnTo>
                      <a:pt x="439" y="214"/>
                    </a:lnTo>
                    <a:lnTo>
                      <a:pt x="440" y="214"/>
                    </a:lnTo>
                    <a:lnTo>
                      <a:pt x="442" y="214"/>
                    </a:lnTo>
                    <a:lnTo>
                      <a:pt x="443" y="214"/>
                    </a:lnTo>
                    <a:lnTo>
                      <a:pt x="443" y="215"/>
                    </a:lnTo>
                    <a:lnTo>
                      <a:pt x="443" y="217"/>
                    </a:lnTo>
                    <a:lnTo>
                      <a:pt x="445" y="217"/>
                    </a:lnTo>
                    <a:lnTo>
                      <a:pt x="445" y="219"/>
                    </a:lnTo>
                    <a:lnTo>
                      <a:pt x="445" y="220"/>
                    </a:lnTo>
                    <a:lnTo>
                      <a:pt x="445" y="222"/>
                    </a:lnTo>
                    <a:lnTo>
                      <a:pt x="443" y="222"/>
                    </a:lnTo>
                    <a:lnTo>
                      <a:pt x="443" y="223"/>
                    </a:lnTo>
                    <a:lnTo>
                      <a:pt x="443" y="225"/>
                    </a:lnTo>
                    <a:lnTo>
                      <a:pt x="445" y="225"/>
                    </a:lnTo>
                    <a:lnTo>
                      <a:pt x="445" y="226"/>
                    </a:lnTo>
                    <a:lnTo>
                      <a:pt x="445" y="228"/>
                    </a:lnTo>
                    <a:lnTo>
                      <a:pt x="445" y="230"/>
                    </a:lnTo>
                    <a:lnTo>
                      <a:pt x="445" y="231"/>
                    </a:lnTo>
                    <a:lnTo>
                      <a:pt x="447" y="231"/>
                    </a:lnTo>
                    <a:lnTo>
                      <a:pt x="447" y="233"/>
                    </a:lnTo>
                    <a:lnTo>
                      <a:pt x="448" y="233"/>
                    </a:lnTo>
                    <a:lnTo>
                      <a:pt x="448" y="234"/>
                    </a:lnTo>
                    <a:lnTo>
                      <a:pt x="448" y="236"/>
                    </a:lnTo>
                    <a:lnTo>
                      <a:pt x="448" y="238"/>
                    </a:lnTo>
                    <a:lnTo>
                      <a:pt x="448" y="239"/>
                    </a:lnTo>
                    <a:lnTo>
                      <a:pt x="448" y="241"/>
                    </a:lnTo>
                    <a:lnTo>
                      <a:pt x="448" y="242"/>
                    </a:lnTo>
                    <a:lnTo>
                      <a:pt x="448" y="244"/>
                    </a:lnTo>
                    <a:lnTo>
                      <a:pt x="448" y="245"/>
                    </a:lnTo>
                    <a:lnTo>
                      <a:pt x="448" y="247"/>
                    </a:lnTo>
                    <a:lnTo>
                      <a:pt x="448" y="249"/>
                    </a:lnTo>
                    <a:lnTo>
                      <a:pt x="448" y="250"/>
                    </a:lnTo>
                    <a:lnTo>
                      <a:pt x="450" y="252"/>
                    </a:lnTo>
                    <a:lnTo>
                      <a:pt x="451" y="252"/>
                    </a:lnTo>
                    <a:lnTo>
                      <a:pt x="453" y="252"/>
                    </a:lnTo>
                    <a:lnTo>
                      <a:pt x="455" y="252"/>
                    </a:lnTo>
                    <a:lnTo>
                      <a:pt x="455" y="253"/>
                    </a:lnTo>
                    <a:lnTo>
                      <a:pt x="456" y="253"/>
                    </a:lnTo>
                    <a:lnTo>
                      <a:pt x="456" y="255"/>
                    </a:lnTo>
                    <a:lnTo>
                      <a:pt x="458" y="257"/>
                    </a:lnTo>
                    <a:lnTo>
                      <a:pt x="459" y="257"/>
                    </a:lnTo>
                    <a:lnTo>
                      <a:pt x="459" y="258"/>
                    </a:lnTo>
                    <a:lnTo>
                      <a:pt x="461" y="258"/>
                    </a:lnTo>
                    <a:lnTo>
                      <a:pt x="461" y="260"/>
                    </a:lnTo>
                    <a:lnTo>
                      <a:pt x="462" y="261"/>
                    </a:lnTo>
                    <a:lnTo>
                      <a:pt x="464" y="261"/>
                    </a:lnTo>
                    <a:lnTo>
                      <a:pt x="464" y="263"/>
                    </a:lnTo>
                    <a:lnTo>
                      <a:pt x="466" y="263"/>
                    </a:lnTo>
                    <a:lnTo>
                      <a:pt x="467" y="263"/>
                    </a:lnTo>
                    <a:lnTo>
                      <a:pt x="467" y="261"/>
                    </a:lnTo>
                    <a:lnTo>
                      <a:pt x="469" y="261"/>
                    </a:lnTo>
                    <a:lnTo>
                      <a:pt x="470" y="261"/>
                    </a:lnTo>
                    <a:lnTo>
                      <a:pt x="470" y="263"/>
                    </a:lnTo>
                    <a:lnTo>
                      <a:pt x="472" y="263"/>
                    </a:lnTo>
                    <a:lnTo>
                      <a:pt x="472" y="261"/>
                    </a:lnTo>
                    <a:lnTo>
                      <a:pt x="474" y="261"/>
                    </a:lnTo>
                    <a:lnTo>
                      <a:pt x="475" y="261"/>
                    </a:lnTo>
                    <a:lnTo>
                      <a:pt x="475" y="263"/>
                    </a:lnTo>
                    <a:lnTo>
                      <a:pt x="475" y="264"/>
                    </a:lnTo>
                    <a:lnTo>
                      <a:pt x="477" y="264"/>
                    </a:lnTo>
                    <a:lnTo>
                      <a:pt x="478" y="264"/>
                    </a:lnTo>
                    <a:lnTo>
                      <a:pt x="478" y="266"/>
                    </a:lnTo>
                    <a:lnTo>
                      <a:pt x="480" y="266"/>
                    </a:lnTo>
                    <a:lnTo>
                      <a:pt x="480" y="268"/>
                    </a:lnTo>
                    <a:lnTo>
                      <a:pt x="480" y="269"/>
                    </a:lnTo>
                    <a:lnTo>
                      <a:pt x="480" y="271"/>
                    </a:lnTo>
                    <a:lnTo>
                      <a:pt x="481" y="271"/>
                    </a:lnTo>
                    <a:lnTo>
                      <a:pt x="481" y="272"/>
                    </a:lnTo>
                    <a:lnTo>
                      <a:pt x="481" y="274"/>
                    </a:lnTo>
                    <a:lnTo>
                      <a:pt x="483" y="274"/>
                    </a:lnTo>
                    <a:lnTo>
                      <a:pt x="483" y="276"/>
                    </a:lnTo>
                    <a:lnTo>
                      <a:pt x="485" y="276"/>
                    </a:lnTo>
                    <a:lnTo>
                      <a:pt x="485" y="277"/>
                    </a:lnTo>
                    <a:lnTo>
                      <a:pt x="483" y="277"/>
                    </a:lnTo>
                    <a:lnTo>
                      <a:pt x="483" y="279"/>
                    </a:lnTo>
                    <a:lnTo>
                      <a:pt x="485" y="279"/>
                    </a:lnTo>
                    <a:lnTo>
                      <a:pt x="485" y="280"/>
                    </a:lnTo>
                    <a:lnTo>
                      <a:pt x="483" y="280"/>
                    </a:lnTo>
                    <a:lnTo>
                      <a:pt x="481" y="280"/>
                    </a:lnTo>
                    <a:lnTo>
                      <a:pt x="481" y="282"/>
                    </a:lnTo>
                    <a:lnTo>
                      <a:pt x="481" y="280"/>
                    </a:lnTo>
                    <a:lnTo>
                      <a:pt x="480" y="280"/>
                    </a:lnTo>
                    <a:lnTo>
                      <a:pt x="478" y="280"/>
                    </a:lnTo>
                    <a:lnTo>
                      <a:pt x="478" y="282"/>
                    </a:lnTo>
                    <a:lnTo>
                      <a:pt x="477" y="282"/>
                    </a:lnTo>
                    <a:lnTo>
                      <a:pt x="477" y="283"/>
                    </a:lnTo>
                    <a:lnTo>
                      <a:pt x="475" y="283"/>
                    </a:lnTo>
                    <a:lnTo>
                      <a:pt x="475" y="285"/>
                    </a:lnTo>
                    <a:lnTo>
                      <a:pt x="475" y="287"/>
                    </a:lnTo>
                    <a:lnTo>
                      <a:pt x="475" y="288"/>
                    </a:lnTo>
                    <a:lnTo>
                      <a:pt x="477" y="290"/>
                    </a:lnTo>
                    <a:lnTo>
                      <a:pt x="477" y="291"/>
                    </a:lnTo>
                    <a:lnTo>
                      <a:pt x="477" y="293"/>
                    </a:lnTo>
                    <a:lnTo>
                      <a:pt x="477" y="295"/>
                    </a:lnTo>
                    <a:lnTo>
                      <a:pt x="475" y="295"/>
                    </a:lnTo>
                    <a:lnTo>
                      <a:pt x="475" y="296"/>
                    </a:lnTo>
                    <a:lnTo>
                      <a:pt x="475" y="298"/>
                    </a:lnTo>
                    <a:lnTo>
                      <a:pt x="475" y="299"/>
                    </a:lnTo>
                    <a:lnTo>
                      <a:pt x="474" y="299"/>
                    </a:lnTo>
                    <a:lnTo>
                      <a:pt x="474" y="301"/>
                    </a:lnTo>
                    <a:lnTo>
                      <a:pt x="474" y="302"/>
                    </a:lnTo>
                    <a:lnTo>
                      <a:pt x="474" y="304"/>
                    </a:lnTo>
                    <a:lnTo>
                      <a:pt x="474" y="306"/>
                    </a:lnTo>
                    <a:lnTo>
                      <a:pt x="474" y="307"/>
                    </a:lnTo>
                    <a:lnTo>
                      <a:pt x="475" y="309"/>
                    </a:lnTo>
                    <a:lnTo>
                      <a:pt x="475" y="307"/>
                    </a:lnTo>
                    <a:lnTo>
                      <a:pt x="477" y="309"/>
                    </a:lnTo>
                    <a:lnTo>
                      <a:pt x="478" y="309"/>
                    </a:lnTo>
                    <a:lnTo>
                      <a:pt x="478" y="310"/>
                    </a:lnTo>
                    <a:lnTo>
                      <a:pt x="480" y="310"/>
                    </a:lnTo>
                    <a:lnTo>
                      <a:pt x="481" y="310"/>
                    </a:lnTo>
                    <a:lnTo>
                      <a:pt x="483" y="310"/>
                    </a:lnTo>
                    <a:lnTo>
                      <a:pt x="485" y="312"/>
                    </a:lnTo>
                    <a:lnTo>
                      <a:pt x="486" y="312"/>
                    </a:lnTo>
                    <a:lnTo>
                      <a:pt x="488" y="312"/>
                    </a:lnTo>
                    <a:lnTo>
                      <a:pt x="489" y="312"/>
                    </a:lnTo>
                    <a:lnTo>
                      <a:pt x="489" y="310"/>
                    </a:lnTo>
                    <a:lnTo>
                      <a:pt x="489" y="309"/>
                    </a:lnTo>
                    <a:lnTo>
                      <a:pt x="491" y="309"/>
                    </a:lnTo>
                    <a:lnTo>
                      <a:pt x="493" y="310"/>
                    </a:lnTo>
                    <a:lnTo>
                      <a:pt x="494" y="310"/>
                    </a:lnTo>
                    <a:lnTo>
                      <a:pt x="496" y="310"/>
                    </a:lnTo>
                    <a:lnTo>
                      <a:pt x="496" y="309"/>
                    </a:lnTo>
                    <a:lnTo>
                      <a:pt x="497" y="309"/>
                    </a:lnTo>
                    <a:lnTo>
                      <a:pt x="497" y="310"/>
                    </a:lnTo>
                    <a:lnTo>
                      <a:pt x="497" y="309"/>
                    </a:lnTo>
                    <a:lnTo>
                      <a:pt x="499" y="309"/>
                    </a:lnTo>
                    <a:lnTo>
                      <a:pt x="499" y="307"/>
                    </a:lnTo>
                    <a:lnTo>
                      <a:pt x="499" y="306"/>
                    </a:lnTo>
                    <a:lnTo>
                      <a:pt x="500" y="307"/>
                    </a:lnTo>
                    <a:lnTo>
                      <a:pt x="502" y="307"/>
                    </a:lnTo>
                    <a:lnTo>
                      <a:pt x="504" y="307"/>
                    </a:lnTo>
                    <a:lnTo>
                      <a:pt x="505" y="307"/>
                    </a:lnTo>
                    <a:lnTo>
                      <a:pt x="507" y="307"/>
                    </a:lnTo>
                    <a:lnTo>
                      <a:pt x="508" y="307"/>
                    </a:lnTo>
                    <a:lnTo>
                      <a:pt x="510" y="307"/>
                    </a:lnTo>
                    <a:lnTo>
                      <a:pt x="512" y="307"/>
                    </a:lnTo>
                    <a:lnTo>
                      <a:pt x="513" y="307"/>
                    </a:lnTo>
                    <a:lnTo>
                      <a:pt x="515" y="307"/>
                    </a:lnTo>
                    <a:lnTo>
                      <a:pt x="516" y="307"/>
                    </a:lnTo>
                    <a:lnTo>
                      <a:pt x="518" y="307"/>
                    </a:lnTo>
                    <a:lnTo>
                      <a:pt x="519" y="307"/>
                    </a:lnTo>
                    <a:lnTo>
                      <a:pt x="521" y="306"/>
                    </a:lnTo>
                    <a:lnTo>
                      <a:pt x="521" y="307"/>
                    </a:lnTo>
                    <a:lnTo>
                      <a:pt x="521" y="309"/>
                    </a:lnTo>
                    <a:lnTo>
                      <a:pt x="523" y="309"/>
                    </a:lnTo>
                    <a:lnTo>
                      <a:pt x="523" y="310"/>
                    </a:lnTo>
                    <a:lnTo>
                      <a:pt x="523" y="312"/>
                    </a:lnTo>
                    <a:lnTo>
                      <a:pt x="521" y="314"/>
                    </a:lnTo>
                    <a:lnTo>
                      <a:pt x="521" y="315"/>
                    </a:lnTo>
                    <a:lnTo>
                      <a:pt x="521" y="317"/>
                    </a:lnTo>
                    <a:lnTo>
                      <a:pt x="523" y="317"/>
                    </a:lnTo>
                    <a:lnTo>
                      <a:pt x="523" y="318"/>
                    </a:lnTo>
                    <a:lnTo>
                      <a:pt x="524" y="318"/>
                    </a:lnTo>
                    <a:lnTo>
                      <a:pt x="526" y="318"/>
                    </a:lnTo>
                    <a:lnTo>
                      <a:pt x="527" y="318"/>
                    </a:lnTo>
                    <a:lnTo>
                      <a:pt x="531" y="318"/>
                    </a:lnTo>
                    <a:lnTo>
                      <a:pt x="532" y="318"/>
                    </a:lnTo>
                    <a:lnTo>
                      <a:pt x="534" y="318"/>
                    </a:lnTo>
                    <a:lnTo>
                      <a:pt x="534" y="320"/>
                    </a:lnTo>
                    <a:lnTo>
                      <a:pt x="534" y="322"/>
                    </a:lnTo>
                    <a:lnTo>
                      <a:pt x="534" y="323"/>
                    </a:lnTo>
                    <a:lnTo>
                      <a:pt x="534" y="325"/>
                    </a:lnTo>
                    <a:lnTo>
                      <a:pt x="535" y="325"/>
                    </a:lnTo>
                    <a:lnTo>
                      <a:pt x="535" y="326"/>
                    </a:lnTo>
                    <a:lnTo>
                      <a:pt x="535" y="328"/>
                    </a:lnTo>
                    <a:lnTo>
                      <a:pt x="535" y="329"/>
                    </a:lnTo>
                    <a:lnTo>
                      <a:pt x="535" y="331"/>
                    </a:lnTo>
                    <a:lnTo>
                      <a:pt x="537" y="331"/>
                    </a:lnTo>
                    <a:lnTo>
                      <a:pt x="538" y="331"/>
                    </a:lnTo>
                    <a:lnTo>
                      <a:pt x="538" y="333"/>
                    </a:lnTo>
                    <a:lnTo>
                      <a:pt x="540" y="333"/>
                    </a:lnTo>
                    <a:lnTo>
                      <a:pt x="542" y="333"/>
                    </a:lnTo>
                    <a:lnTo>
                      <a:pt x="542" y="334"/>
                    </a:lnTo>
                    <a:lnTo>
                      <a:pt x="543" y="334"/>
                    </a:lnTo>
                    <a:lnTo>
                      <a:pt x="543" y="336"/>
                    </a:lnTo>
                    <a:lnTo>
                      <a:pt x="545" y="336"/>
                    </a:lnTo>
                    <a:lnTo>
                      <a:pt x="545" y="337"/>
                    </a:lnTo>
                    <a:lnTo>
                      <a:pt x="546" y="337"/>
                    </a:lnTo>
                    <a:lnTo>
                      <a:pt x="546" y="339"/>
                    </a:lnTo>
                    <a:lnTo>
                      <a:pt x="548" y="339"/>
                    </a:lnTo>
                    <a:lnTo>
                      <a:pt x="548" y="337"/>
                    </a:lnTo>
                    <a:lnTo>
                      <a:pt x="550" y="337"/>
                    </a:lnTo>
                    <a:lnTo>
                      <a:pt x="550" y="339"/>
                    </a:lnTo>
                    <a:lnTo>
                      <a:pt x="551" y="339"/>
                    </a:lnTo>
                    <a:lnTo>
                      <a:pt x="551" y="337"/>
                    </a:lnTo>
                    <a:lnTo>
                      <a:pt x="553" y="337"/>
                    </a:lnTo>
                    <a:lnTo>
                      <a:pt x="554" y="337"/>
                    </a:lnTo>
                    <a:lnTo>
                      <a:pt x="556" y="337"/>
                    </a:lnTo>
                    <a:lnTo>
                      <a:pt x="556" y="339"/>
                    </a:lnTo>
                    <a:lnTo>
                      <a:pt x="558" y="339"/>
                    </a:lnTo>
                    <a:lnTo>
                      <a:pt x="558" y="341"/>
                    </a:lnTo>
                    <a:lnTo>
                      <a:pt x="559" y="341"/>
                    </a:lnTo>
                    <a:lnTo>
                      <a:pt x="559" y="342"/>
                    </a:lnTo>
                    <a:lnTo>
                      <a:pt x="559" y="344"/>
                    </a:lnTo>
                    <a:lnTo>
                      <a:pt x="561" y="344"/>
                    </a:lnTo>
                    <a:lnTo>
                      <a:pt x="561" y="345"/>
                    </a:lnTo>
                    <a:lnTo>
                      <a:pt x="561" y="347"/>
                    </a:lnTo>
                    <a:lnTo>
                      <a:pt x="561" y="348"/>
                    </a:lnTo>
                    <a:lnTo>
                      <a:pt x="561" y="350"/>
                    </a:lnTo>
                    <a:lnTo>
                      <a:pt x="561" y="352"/>
                    </a:lnTo>
                    <a:lnTo>
                      <a:pt x="561" y="353"/>
                    </a:lnTo>
                    <a:lnTo>
                      <a:pt x="562" y="353"/>
                    </a:lnTo>
                    <a:lnTo>
                      <a:pt x="562" y="355"/>
                    </a:lnTo>
                    <a:lnTo>
                      <a:pt x="562" y="356"/>
                    </a:lnTo>
                    <a:lnTo>
                      <a:pt x="562" y="358"/>
                    </a:lnTo>
                    <a:lnTo>
                      <a:pt x="562" y="360"/>
                    </a:lnTo>
                    <a:lnTo>
                      <a:pt x="564" y="361"/>
                    </a:lnTo>
                    <a:lnTo>
                      <a:pt x="564" y="363"/>
                    </a:lnTo>
                    <a:lnTo>
                      <a:pt x="565" y="364"/>
                    </a:lnTo>
                    <a:lnTo>
                      <a:pt x="565" y="366"/>
                    </a:lnTo>
                    <a:lnTo>
                      <a:pt x="565" y="367"/>
                    </a:lnTo>
                    <a:lnTo>
                      <a:pt x="567" y="367"/>
                    </a:lnTo>
                    <a:lnTo>
                      <a:pt x="567" y="369"/>
                    </a:lnTo>
                    <a:lnTo>
                      <a:pt x="567" y="371"/>
                    </a:lnTo>
                    <a:lnTo>
                      <a:pt x="567" y="372"/>
                    </a:lnTo>
                    <a:lnTo>
                      <a:pt x="569" y="372"/>
                    </a:lnTo>
                    <a:lnTo>
                      <a:pt x="570" y="372"/>
                    </a:lnTo>
                    <a:lnTo>
                      <a:pt x="572" y="371"/>
                    </a:lnTo>
                    <a:lnTo>
                      <a:pt x="573" y="371"/>
                    </a:lnTo>
                    <a:lnTo>
                      <a:pt x="575" y="371"/>
                    </a:lnTo>
                    <a:lnTo>
                      <a:pt x="577" y="371"/>
                    </a:lnTo>
                    <a:lnTo>
                      <a:pt x="578" y="371"/>
                    </a:lnTo>
                    <a:lnTo>
                      <a:pt x="580" y="371"/>
                    </a:lnTo>
                    <a:lnTo>
                      <a:pt x="581" y="371"/>
                    </a:lnTo>
                    <a:lnTo>
                      <a:pt x="581" y="369"/>
                    </a:lnTo>
                    <a:lnTo>
                      <a:pt x="583" y="369"/>
                    </a:lnTo>
                    <a:lnTo>
                      <a:pt x="584" y="369"/>
                    </a:lnTo>
                    <a:lnTo>
                      <a:pt x="584" y="367"/>
                    </a:lnTo>
                    <a:lnTo>
                      <a:pt x="584" y="366"/>
                    </a:lnTo>
                    <a:lnTo>
                      <a:pt x="586" y="364"/>
                    </a:lnTo>
                    <a:lnTo>
                      <a:pt x="586" y="363"/>
                    </a:lnTo>
                    <a:lnTo>
                      <a:pt x="586" y="361"/>
                    </a:lnTo>
                    <a:lnTo>
                      <a:pt x="584" y="361"/>
                    </a:lnTo>
                    <a:lnTo>
                      <a:pt x="586" y="361"/>
                    </a:lnTo>
                    <a:lnTo>
                      <a:pt x="588" y="361"/>
                    </a:lnTo>
                    <a:lnTo>
                      <a:pt x="589" y="361"/>
                    </a:lnTo>
                    <a:lnTo>
                      <a:pt x="591" y="361"/>
                    </a:lnTo>
                    <a:lnTo>
                      <a:pt x="592" y="361"/>
                    </a:lnTo>
                    <a:lnTo>
                      <a:pt x="594" y="361"/>
                    </a:lnTo>
                    <a:lnTo>
                      <a:pt x="596" y="360"/>
                    </a:lnTo>
                    <a:lnTo>
                      <a:pt x="597" y="360"/>
                    </a:lnTo>
                    <a:lnTo>
                      <a:pt x="599" y="360"/>
                    </a:lnTo>
                    <a:lnTo>
                      <a:pt x="600" y="360"/>
                    </a:lnTo>
                    <a:lnTo>
                      <a:pt x="602" y="360"/>
                    </a:lnTo>
                    <a:lnTo>
                      <a:pt x="602" y="358"/>
                    </a:lnTo>
                    <a:lnTo>
                      <a:pt x="603" y="358"/>
                    </a:lnTo>
                    <a:lnTo>
                      <a:pt x="605" y="358"/>
                    </a:lnTo>
                    <a:lnTo>
                      <a:pt x="605" y="356"/>
                    </a:lnTo>
                    <a:lnTo>
                      <a:pt x="603" y="356"/>
                    </a:lnTo>
                    <a:lnTo>
                      <a:pt x="603" y="355"/>
                    </a:lnTo>
                    <a:lnTo>
                      <a:pt x="603" y="353"/>
                    </a:lnTo>
                    <a:lnTo>
                      <a:pt x="603" y="352"/>
                    </a:lnTo>
                    <a:lnTo>
                      <a:pt x="602" y="350"/>
                    </a:lnTo>
                    <a:lnTo>
                      <a:pt x="600" y="350"/>
                    </a:lnTo>
                    <a:lnTo>
                      <a:pt x="602" y="348"/>
                    </a:lnTo>
                    <a:lnTo>
                      <a:pt x="602" y="347"/>
                    </a:lnTo>
                    <a:lnTo>
                      <a:pt x="603" y="347"/>
                    </a:lnTo>
                    <a:lnTo>
                      <a:pt x="605" y="345"/>
                    </a:lnTo>
                    <a:lnTo>
                      <a:pt x="605" y="344"/>
                    </a:lnTo>
                    <a:lnTo>
                      <a:pt x="607" y="342"/>
                    </a:lnTo>
                    <a:lnTo>
                      <a:pt x="605" y="342"/>
                    </a:lnTo>
                    <a:lnTo>
                      <a:pt x="605" y="341"/>
                    </a:lnTo>
                    <a:lnTo>
                      <a:pt x="607" y="341"/>
                    </a:lnTo>
                    <a:lnTo>
                      <a:pt x="607" y="342"/>
                    </a:lnTo>
                    <a:lnTo>
                      <a:pt x="608" y="342"/>
                    </a:lnTo>
                    <a:lnTo>
                      <a:pt x="610" y="342"/>
                    </a:lnTo>
                    <a:lnTo>
                      <a:pt x="610" y="341"/>
                    </a:lnTo>
                    <a:lnTo>
                      <a:pt x="611" y="339"/>
                    </a:lnTo>
                    <a:lnTo>
                      <a:pt x="611" y="337"/>
                    </a:lnTo>
                    <a:lnTo>
                      <a:pt x="611" y="336"/>
                    </a:lnTo>
                    <a:lnTo>
                      <a:pt x="611" y="334"/>
                    </a:lnTo>
                    <a:lnTo>
                      <a:pt x="611" y="333"/>
                    </a:lnTo>
                    <a:lnTo>
                      <a:pt x="613" y="333"/>
                    </a:lnTo>
                    <a:lnTo>
                      <a:pt x="613" y="331"/>
                    </a:lnTo>
                    <a:lnTo>
                      <a:pt x="613" y="329"/>
                    </a:lnTo>
                    <a:lnTo>
                      <a:pt x="611" y="329"/>
                    </a:lnTo>
                    <a:lnTo>
                      <a:pt x="611" y="331"/>
                    </a:lnTo>
                    <a:lnTo>
                      <a:pt x="610" y="331"/>
                    </a:lnTo>
                    <a:lnTo>
                      <a:pt x="610" y="329"/>
                    </a:lnTo>
                    <a:lnTo>
                      <a:pt x="608" y="329"/>
                    </a:lnTo>
                    <a:lnTo>
                      <a:pt x="608" y="328"/>
                    </a:lnTo>
                    <a:lnTo>
                      <a:pt x="608" y="326"/>
                    </a:lnTo>
                    <a:lnTo>
                      <a:pt x="608" y="325"/>
                    </a:lnTo>
                    <a:lnTo>
                      <a:pt x="608" y="323"/>
                    </a:lnTo>
                    <a:lnTo>
                      <a:pt x="610" y="323"/>
                    </a:lnTo>
                    <a:lnTo>
                      <a:pt x="608" y="323"/>
                    </a:lnTo>
                    <a:lnTo>
                      <a:pt x="608" y="322"/>
                    </a:lnTo>
                    <a:lnTo>
                      <a:pt x="607" y="322"/>
                    </a:lnTo>
                    <a:lnTo>
                      <a:pt x="605" y="322"/>
                    </a:lnTo>
                    <a:lnTo>
                      <a:pt x="605" y="323"/>
                    </a:lnTo>
                    <a:lnTo>
                      <a:pt x="603" y="323"/>
                    </a:lnTo>
                    <a:lnTo>
                      <a:pt x="603" y="325"/>
                    </a:lnTo>
                    <a:lnTo>
                      <a:pt x="602" y="325"/>
                    </a:lnTo>
                    <a:lnTo>
                      <a:pt x="600" y="325"/>
                    </a:lnTo>
                    <a:lnTo>
                      <a:pt x="600" y="326"/>
                    </a:lnTo>
                    <a:lnTo>
                      <a:pt x="600" y="325"/>
                    </a:lnTo>
                    <a:lnTo>
                      <a:pt x="599" y="325"/>
                    </a:lnTo>
                    <a:lnTo>
                      <a:pt x="599" y="323"/>
                    </a:lnTo>
                    <a:lnTo>
                      <a:pt x="597" y="323"/>
                    </a:lnTo>
                    <a:lnTo>
                      <a:pt x="597" y="322"/>
                    </a:lnTo>
                    <a:lnTo>
                      <a:pt x="596" y="322"/>
                    </a:lnTo>
                    <a:lnTo>
                      <a:pt x="596" y="320"/>
                    </a:lnTo>
                    <a:lnTo>
                      <a:pt x="594" y="320"/>
                    </a:lnTo>
                    <a:lnTo>
                      <a:pt x="594" y="318"/>
                    </a:lnTo>
                    <a:lnTo>
                      <a:pt x="592" y="318"/>
                    </a:lnTo>
                    <a:lnTo>
                      <a:pt x="592" y="317"/>
                    </a:lnTo>
                    <a:lnTo>
                      <a:pt x="591" y="317"/>
                    </a:lnTo>
                    <a:lnTo>
                      <a:pt x="591" y="315"/>
                    </a:lnTo>
                    <a:lnTo>
                      <a:pt x="592" y="314"/>
                    </a:lnTo>
                    <a:lnTo>
                      <a:pt x="592" y="312"/>
                    </a:lnTo>
                    <a:lnTo>
                      <a:pt x="592" y="310"/>
                    </a:lnTo>
                    <a:lnTo>
                      <a:pt x="594" y="310"/>
                    </a:lnTo>
                    <a:lnTo>
                      <a:pt x="596" y="310"/>
                    </a:lnTo>
                    <a:lnTo>
                      <a:pt x="597" y="310"/>
                    </a:lnTo>
                    <a:lnTo>
                      <a:pt x="599" y="310"/>
                    </a:lnTo>
                    <a:lnTo>
                      <a:pt x="600" y="310"/>
                    </a:lnTo>
                    <a:lnTo>
                      <a:pt x="600" y="309"/>
                    </a:lnTo>
                    <a:lnTo>
                      <a:pt x="602" y="309"/>
                    </a:lnTo>
                    <a:lnTo>
                      <a:pt x="602" y="307"/>
                    </a:lnTo>
                    <a:lnTo>
                      <a:pt x="602" y="306"/>
                    </a:lnTo>
                    <a:lnTo>
                      <a:pt x="602" y="304"/>
                    </a:lnTo>
                    <a:lnTo>
                      <a:pt x="602" y="302"/>
                    </a:lnTo>
                    <a:lnTo>
                      <a:pt x="603" y="302"/>
                    </a:lnTo>
                    <a:lnTo>
                      <a:pt x="603" y="301"/>
                    </a:lnTo>
                    <a:lnTo>
                      <a:pt x="605" y="299"/>
                    </a:lnTo>
                    <a:lnTo>
                      <a:pt x="607" y="299"/>
                    </a:lnTo>
                    <a:lnTo>
                      <a:pt x="608" y="299"/>
                    </a:lnTo>
                    <a:lnTo>
                      <a:pt x="608" y="298"/>
                    </a:lnTo>
                    <a:lnTo>
                      <a:pt x="610" y="298"/>
                    </a:lnTo>
                    <a:lnTo>
                      <a:pt x="611" y="298"/>
                    </a:lnTo>
                    <a:lnTo>
                      <a:pt x="613" y="301"/>
                    </a:lnTo>
                    <a:lnTo>
                      <a:pt x="615" y="302"/>
                    </a:lnTo>
                    <a:lnTo>
                      <a:pt x="616" y="302"/>
                    </a:lnTo>
                    <a:lnTo>
                      <a:pt x="616" y="304"/>
                    </a:lnTo>
                    <a:lnTo>
                      <a:pt x="618" y="304"/>
                    </a:lnTo>
                    <a:lnTo>
                      <a:pt x="619" y="304"/>
                    </a:lnTo>
                    <a:lnTo>
                      <a:pt x="621" y="304"/>
                    </a:lnTo>
                    <a:lnTo>
                      <a:pt x="622" y="304"/>
                    </a:lnTo>
                    <a:lnTo>
                      <a:pt x="624" y="304"/>
                    </a:lnTo>
                    <a:lnTo>
                      <a:pt x="626" y="304"/>
                    </a:lnTo>
                    <a:lnTo>
                      <a:pt x="627" y="304"/>
                    </a:lnTo>
                    <a:lnTo>
                      <a:pt x="627" y="306"/>
                    </a:lnTo>
                    <a:lnTo>
                      <a:pt x="629" y="306"/>
                    </a:lnTo>
                    <a:lnTo>
                      <a:pt x="630" y="306"/>
                    </a:lnTo>
                    <a:lnTo>
                      <a:pt x="632" y="306"/>
                    </a:lnTo>
                    <a:lnTo>
                      <a:pt x="634" y="306"/>
                    </a:lnTo>
                    <a:lnTo>
                      <a:pt x="634" y="307"/>
                    </a:lnTo>
                    <a:lnTo>
                      <a:pt x="634" y="309"/>
                    </a:lnTo>
                    <a:lnTo>
                      <a:pt x="635" y="309"/>
                    </a:lnTo>
                    <a:lnTo>
                      <a:pt x="635" y="307"/>
                    </a:lnTo>
                    <a:lnTo>
                      <a:pt x="637" y="307"/>
                    </a:lnTo>
                    <a:lnTo>
                      <a:pt x="638" y="307"/>
                    </a:lnTo>
                    <a:lnTo>
                      <a:pt x="640" y="306"/>
                    </a:lnTo>
                    <a:lnTo>
                      <a:pt x="638" y="306"/>
                    </a:lnTo>
                    <a:lnTo>
                      <a:pt x="640" y="306"/>
                    </a:lnTo>
                    <a:lnTo>
                      <a:pt x="640" y="304"/>
                    </a:lnTo>
                    <a:lnTo>
                      <a:pt x="638" y="304"/>
                    </a:lnTo>
                    <a:lnTo>
                      <a:pt x="638" y="302"/>
                    </a:lnTo>
                    <a:lnTo>
                      <a:pt x="637" y="302"/>
                    </a:lnTo>
                    <a:lnTo>
                      <a:pt x="637" y="301"/>
                    </a:lnTo>
                    <a:lnTo>
                      <a:pt x="638" y="301"/>
                    </a:lnTo>
                    <a:lnTo>
                      <a:pt x="638" y="302"/>
                    </a:lnTo>
                    <a:lnTo>
                      <a:pt x="638" y="301"/>
                    </a:lnTo>
                    <a:lnTo>
                      <a:pt x="640" y="301"/>
                    </a:lnTo>
                    <a:lnTo>
                      <a:pt x="640" y="302"/>
                    </a:lnTo>
                    <a:lnTo>
                      <a:pt x="640" y="301"/>
                    </a:lnTo>
                    <a:lnTo>
                      <a:pt x="641" y="301"/>
                    </a:lnTo>
                    <a:lnTo>
                      <a:pt x="640" y="301"/>
                    </a:lnTo>
                    <a:lnTo>
                      <a:pt x="640" y="299"/>
                    </a:lnTo>
                    <a:lnTo>
                      <a:pt x="641" y="299"/>
                    </a:lnTo>
                    <a:lnTo>
                      <a:pt x="641" y="298"/>
                    </a:lnTo>
                    <a:lnTo>
                      <a:pt x="643" y="298"/>
                    </a:lnTo>
                    <a:lnTo>
                      <a:pt x="645" y="298"/>
                    </a:lnTo>
                    <a:lnTo>
                      <a:pt x="645" y="296"/>
                    </a:lnTo>
                    <a:lnTo>
                      <a:pt x="643" y="296"/>
                    </a:lnTo>
                    <a:lnTo>
                      <a:pt x="643" y="295"/>
                    </a:lnTo>
                    <a:lnTo>
                      <a:pt x="643" y="293"/>
                    </a:lnTo>
                    <a:lnTo>
                      <a:pt x="641" y="293"/>
                    </a:lnTo>
                    <a:lnTo>
                      <a:pt x="641" y="291"/>
                    </a:lnTo>
                    <a:lnTo>
                      <a:pt x="640" y="291"/>
                    </a:lnTo>
                    <a:lnTo>
                      <a:pt x="640" y="290"/>
                    </a:lnTo>
                    <a:lnTo>
                      <a:pt x="640" y="288"/>
                    </a:lnTo>
                    <a:lnTo>
                      <a:pt x="640" y="287"/>
                    </a:lnTo>
                    <a:lnTo>
                      <a:pt x="640" y="285"/>
                    </a:lnTo>
                    <a:lnTo>
                      <a:pt x="640" y="283"/>
                    </a:lnTo>
                    <a:lnTo>
                      <a:pt x="638" y="283"/>
                    </a:lnTo>
                    <a:lnTo>
                      <a:pt x="638" y="282"/>
                    </a:lnTo>
                    <a:lnTo>
                      <a:pt x="640" y="282"/>
                    </a:lnTo>
                    <a:lnTo>
                      <a:pt x="640" y="280"/>
                    </a:lnTo>
                    <a:lnTo>
                      <a:pt x="638" y="280"/>
                    </a:lnTo>
                    <a:lnTo>
                      <a:pt x="640" y="279"/>
                    </a:lnTo>
                    <a:lnTo>
                      <a:pt x="638" y="279"/>
                    </a:lnTo>
                    <a:lnTo>
                      <a:pt x="638" y="277"/>
                    </a:lnTo>
                    <a:lnTo>
                      <a:pt x="638" y="276"/>
                    </a:lnTo>
                    <a:lnTo>
                      <a:pt x="637" y="276"/>
                    </a:lnTo>
                    <a:lnTo>
                      <a:pt x="637" y="274"/>
                    </a:lnTo>
                    <a:lnTo>
                      <a:pt x="638" y="274"/>
                    </a:lnTo>
                    <a:lnTo>
                      <a:pt x="637" y="274"/>
                    </a:lnTo>
                    <a:lnTo>
                      <a:pt x="637" y="272"/>
                    </a:lnTo>
                    <a:lnTo>
                      <a:pt x="635" y="272"/>
                    </a:lnTo>
                    <a:lnTo>
                      <a:pt x="635" y="271"/>
                    </a:lnTo>
                    <a:lnTo>
                      <a:pt x="635" y="269"/>
                    </a:lnTo>
                    <a:lnTo>
                      <a:pt x="637" y="268"/>
                    </a:lnTo>
                    <a:lnTo>
                      <a:pt x="637" y="266"/>
                    </a:lnTo>
                    <a:lnTo>
                      <a:pt x="638" y="266"/>
                    </a:lnTo>
                    <a:lnTo>
                      <a:pt x="638" y="264"/>
                    </a:lnTo>
                    <a:lnTo>
                      <a:pt x="638" y="263"/>
                    </a:lnTo>
                    <a:lnTo>
                      <a:pt x="638" y="261"/>
                    </a:lnTo>
                    <a:lnTo>
                      <a:pt x="638" y="260"/>
                    </a:lnTo>
                    <a:lnTo>
                      <a:pt x="640" y="260"/>
                    </a:lnTo>
                    <a:lnTo>
                      <a:pt x="640" y="258"/>
                    </a:lnTo>
                    <a:lnTo>
                      <a:pt x="641" y="258"/>
                    </a:lnTo>
                    <a:lnTo>
                      <a:pt x="641" y="257"/>
                    </a:lnTo>
                    <a:lnTo>
                      <a:pt x="641" y="255"/>
                    </a:lnTo>
                    <a:lnTo>
                      <a:pt x="641" y="253"/>
                    </a:lnTo>
                    <a:lnTo>
                      <a:pt x="640" y="253"/>
                    </a:lnTo>
                    <a:lnTo>
                      <a:pt x="640" y="252"/>
                    </a:lnTo>
                    <a:lnTo>
                      <a:pt x="638" y="250"/>
                    </a:lnTo>
                    <a:lnTo>
                      <a:pt x="638" y="249"/>
                    </a:lnTo>
                    <a:lnTo>
                      <a:pt x="637" y="249"/>
                    </a:lnTo>
                    <a:lnTo>
                      <a:pt x="637" y="247"/>
                    </a:lnTo>
                    <a:lnTo>
                      <a:pt x="635" y="247"/>
                    </a:lnTo>
                    <a:lnTo>
                      <a:pt x="634" y="247"/>
                    </a:lnTo>
                    <a:lnTo>
                      <a:pt x="634" y="245"/>
                    </a:lnTo>
                    <a:lnTo>
                      <a:pt x="632" y="245"/>
                    </a:lnTo>
                    <a:lnTo>
                      <a:pt x="632" y="244"/>
                    </a:lnTo>
                    <a:lnTo>
                      <a:pt x="630" y="244"/>
                    </a:lnTo>
                    <a:lnTo>
                      <a:pt x="630" y="242"/>
                    </a:lnTo>
                    <a:lnTo>
                      <a:pt x="629" y="242"/>
                    </a:lnTo>
                    <a:lnTo>
                      <a:pt x="629" y="241"/>
                    </a:lnTo>
                    <a:lnTo>
                      <a:pt x="627" y="241"/>
                    </a:lnTo>
                    <a:lnTo>
                      <a:pt x="627" y="239"/>
                    </a:lnTo>
                    <a:lnTo>
                      <a:pt x="626" y="239"/>
                    </a:lnTo>
                    <a:lnTo>
                      <a:pt x="626" y="241"/>
                    </a:lnTo>
                    <a:lnTo>
                      <a:pt x="624" y="241"/>
                    </a:lnTo>
                    <a:lnTo>
                      <a:pt x="622" y="241"/>
                    </a:lnTo>
                    <a:lnTo>
                      <a:pt x="622" y="239"/>
                    </a:lnTo>
                    <a:lnTo>
                      <a:pt x="621" y="239"/>
                    </a:lnTo>
                    <a:lnTo>
                      <a:pt x="619" y="239"/>
                    </a:lnTo>
                    <a:lnTo>
                      <a:pt x="619" y="238"/>
                    </a:lnTo>
                    <a:lnTo>
                      <a:pt x="619" y="239"/>
                    </a:lnTo>
                    <a:lnTo>
                      <a:pt x="618" y="239"/>
                    </a:lnTo>
                    <a:lnTo>
                      <a:pt x="618" y="241"/>
                    </a:lnTo>
                    <a:lnTo>
                      <a:pt x="616" y="241"/>
                    </a:lnTo>
                    <a:lnTo>
                      <a:pt x="615" y="241"/>
                    </a:lnTo>
                    <a:lnTo>
                      <a:pt x="613" y="241"/>
                    </a:lnTo>
                    <a:lnTo>
                      <a:pt x="613" y="239"/>
                    </a:lnTo>
                    <a:lnTo>
                      <a:pt x="611" y="239"/>
                    </a:lnTo>
                    <a:lnTo>
                      <a:pt x="611" y="238"/>
                    </a:lnTo>
                    <a:lnTo>
                      <a:pt x="610" y="238"/>
                    </a:lnTo>
                    <a:lnTo>
                      <a:pt x="610" y="236"/>
                    </a:lnTo>
                    <a:lnTo>
                      <a:pt x="608" y="236"/>
                    </a:lnTo>
                    <a:lnTo>
                      <a:pt x="607" y="236"/>
                    </a:lnTo>
                    <a:lnTo>
                      <a:pt x="607" y="234"/>
                    </a:lnTo>
                    <a:lnTo>
                      <a:pt x="605" y="234"/>
                    </a:lnTo>
                    <a:lnTo>
                      <a:pt x="605" y="233"/>
                    </a:lnTo>
                    <a:lnTo>
                      <a:pt x="605" y="231"/>
                    </a:lnTo>
                    <a:lnTo>
                      <a:pt x="603" y="231"/>
                    </a:lnTo>
                    <a:lnTo>
                      <a:pt x="603" y="230"/>
                    </a:lnTo>
                    <a:lnTo>
                      <a:pt x="602" y="230"/>
                    </a:lnTo>
                    <a:lnTo>
                      <a:pt x="603" y="228"/>
                    </a:lnTo>
                    <a:lnTo>
                      <a:pt x="602" y="228"/>
                    </a:lnTo>
                    <a:lnTo>
                      <a:pt x="602" y="226"/>
                    </a:lnTo>
                    <a:lnTo>
                      <a:pt x="602" y="225"/>
                    </a:lnTo>
                    <a:lnTo>
                      <a:pt x="600" y="225"/>
                    </a:lnTo>
                    <a:lnTo>
                      <a:pt x="600" y="223"/>
                    </a:lnTo>
                    <a:lnTo>
                      <a:pt x="599" y="223"/>
                    </a:lnTo>
                    <a:lnTo>
                      <a:pt x="597" y="223"/>
                    </a:lnTo>
                    <a:lnTo>
                      <a:pt x="597" y="222"/>
                    </a:lnTo>
                    <a:lnTo>
                      <a:pt x="596" y="222"/>
                    </a:lnTo>
                    <a:lnTo>
                      <a:pt x="596" y="220"/>
                    </a:lnTo>
                    <a:lnTo>
                      <a:pt x="594" y="220"/>
                    </a:lnTo>
                    <a:lnTo>
                      <a:pt x="594" y="219"/>
                    </a:lnTo>
                    <a:lnTo>
                      <a:pt x="592" y="219"/>
                    </a:lnTo>
                    <a:lnTo>
                      <a:pt x="591" y="219"/>
                    </a:lnTo>
                    <a:lnTo>
                      <a:pt x="589" y="217"/>
                    </a:lnTo>
                    <a:lnTo>
                      <a:pt x="588" y="217"/>
                    </a:lnTo>
                    <a:lnTo>
                      <a:pt x="588" y="215"/>
                    </a:lnTo>
                    <a:lnTo>
                      <a:pt x="588" y="214"/>
                    </a:lnTo>
                    <a:lnTo>
                      <a:pt x="589" y="214"/>
                    </a:lnTo>
                    <a:lnTo>
                      <a:pt x="589" y="212"/>
                    </a:lnTo>
                    <a:lnTo>
                      <a:pt x="589" y="211"/>
                    </a:lnTo>
                    <a:lnTo>
                      <a:pt x="589" y="209"/>
                    </a:lnTo>
                    <a:lnTo>
                      <a:pt x="588" y="209"/>
                    </a:lnTo>
                    <a:lnTo>
                      <a:pt x="588" y="207"/>
                    </a:lnTo>
                    <a:lnTo>
                      <a:pt x="586" y="206"/>
                    </a:lnTo>
                    <a:lnTo>
                      <a:pt x="584" y="206"/>
                    </a:lnTo>
                    <a:lnTo>
                      <a:pt x="584" y="204"/>
                    </a:lnTo>
                    <a:lnTo>
                      <a:pt x="583" y="204"/>
                    </a:lnTo>
                    <a:lnTo>
                      <a:pt x="581" y="204"/>
                    </a:lnTo>
                    <a:lnTo>
                      <a:pt x="581" y="206"/>
                    </a:lnTo>
                    <a:lnTo>
                      <a:pt x="581" y="204"/>
                    </a:lnTo>
                    <a:lnTo>
                      <a:pt x="583" y="204"/>
                    </a:lnTo>
                    <a:lnTo>
                      <a:pt x="584" y="204"/>
                    </a:lnTo>
                    <a:lnTo>
                      <a:pt x="584" y="203"/>
                    </a:lnTo>
                    <a:lnTo>
                      <a:pt x="586" y="203"/>
                    </a:lnTo>
                    <a:lnTo>
                      <a:pt x="586" y="201"/>
                    </a:lnTo>
                    <a:lnTo>
                      <a:pt x="588" y="199"/>
                    </a:lnTo>
                    <a:lnTo>
                      <a:pt x="589" y="199"/>
                    </a:lnTo>
                    <a:lnTo>
                      <a:pt x="589" y="198"/>
                    </a:lnTo>
                    <a:lnTo>
                      <a:pt x="589" y="196"/>
                    </a:lnTo>
                    <a:lnTo>
                      <a:pt x="591" y="196"/>
                    </a:lnTo>
                    <a:lnTo>
                      <a:pt x="591" y="195"/>
                    </a:lnTo>
                    <a:lnTo>
                      <a:pt x="589" y="193"/>
                    </a:lnTo>
                    <a:lnTo>
                      <a:pt x="589" y="192"/>
                    </a:lnTo>
                    <a:lnTo>
                      <a:pt x="589" y="190"/>
                    </a:lnTo>
                    <a:lnTo>
                      <a:pt x="588" y="188"/>
                    </a:lnTo>
                    <a:lnTo>
                      <a:pt x="588" y="187"/>
                    </a:lnTo>
                    <a:lnTo>
                      <a:pt x="588" y="185"/>
                    </a:lnTo>
                    <a:lnTo>
                      <a:pt x="586" y="185"/>
                    </a:lnTo>
                    <a:lnTo>
                      <a:pt x="586" y="184"/>
                    </a:lnTo>
                    <a:lnTo>
                      <a:pt x="584" y="182"/>
                    </a:lnTo>
                    <a:lnTo>
                      <a:pt x="584" y="180"/>
                    </a:lnTo>
                    <a:lnTo>
                      <a:pt x="584" y="179"/>
                    </a:lnTo>
                    <a:lnTo>
                      <a:pt x="584" y="177"/>
                    </a:lnTo>
                    <a:lnTo>
                      <a:pt x="584" y="179"/>
                    </a:lnTo>
                    <a:lnTo>
                      <a:pt x="586" y="179"/>
                    </a:lnTo>
                    <a:lnTo>
                      <a:pt x="586" y="177"/>
                    </a:lnTo>
                    <a:lnTo>
                      <a:pt x="588" y="177"/>
                    </a:lnTo>
                    <a:lnTo>
                      <a:pt x="589" y="179"/>
                    </a:lnTo>
                    <a:lnTo>
                      <a:pt x="591" y="179"/>
                    </a:lnTo>
                    <a:lnTo>
                      <a:pt x="592" y="179"/>
                    </a:lnTo>
                    <a:lnTo>
                      <a:pt x="592" y="180"/>
                    </a:lnTo>
                    <a:lnTo>
                      <a:pt x="594" y="180"/>
                    </a:lnTo>
                    <a:lnTo>
                      <a:pt x="596" y="180"/>
                    </a:lnTo>
                    <a:lnTo>
                      <a:pt x="596" y="179"/>
                    </a:lnTo>
                    <a:lnTo>
                      <a:pt x="597" y="177"/>
                    </a:lnTo>
                    <a:lnTo>
                      <a:pt x="596" y="176"/>
                    </a:lnTo>
                    <a:lnTo>
                      <a:pt x="596" y="174"/>
                    </a:lnTo>
                    <a:lnTo>
                      <a:pt x="594" y="173"/>
                    </a:lnTo>
                    <a:lnTo>
                      <a:pt x="592" y="173"/>
                    </a:lnTo>
                    <a:lnTo>
                      <a:pt x="592" y="171"/>
                    </a:lnTo>
                    <a:lnTo>
                      <a:pt x="591" y="169"/>
                    </a:lnTo>
                    <a:lnTo>
                      <a:pt x="589" y="169"/>
                    </a:lnTo>
                    <a:lnTo>
                      <a:pt x="588" y="169"/>
                    </a:lnTo>
                    <a:lnTo>
                      <a:pt x="586" y="169"/>
                    </a:lnTo>
                    <a:lnTo>
                      <a:pt x="584" y="169"/>
                    </a:lnTo>
                    <a:lnTo>
                      <a:pt x="583" y="169"/>
                    </a:lnTo>
                    <a:lnTo>
                      <a:pt x="581" y="168"/>
                    </a:lnTo>
                    <a:lnTo>
                      <a:pt x="581" y="166"/>
                    </a:lnTo>
                    <a:lnTo>
                      <a:pt x="581" y="165"/>
                    </a:lnTo>
                    <a:lnTo>
                      <a:pt x="581" y="163"/>
                    </a:lnTo>
                    <a:lnTo>
                      <a:pt x="583" y="163"/>
                    </a:lnTo>
                    <a:lnTo>
                      <a:pt x="583" y="161"/>
                    </a:lnTo>
                    <a:lnTo>
                      <a:pt x="583" y="160"/>
                    </a:lnTo>
                    <a:lnTo>
                      <a:pt x="583" y="158"/>
                    </a:lnTo>
                    <a:lnTo>
                      <a:pt x="581" y="158"/>
                    </a:lnTo>
                    <a:lnTo>
                      <a:pt x="581" y="157"/>
                    </a:lnTo>
                    <a:lnTo>
                      <a:pt x="581" y="155"/>
                    </a:lnTo>
                    <a:lnTo>
                      <a:pt x="583" y="155"/>
                    </a:lnTo>
                    <a:lnTo>
                      <a:pt x="584" y="155"/>
                    </a:lnTo>
                    <a:lnTo>
                      <a:pt x="586" y="155"/>
                    </a:lnTo>
                    <a:lnTo>
                      <a:pt x="586" y="157"/>
                    </a:lnTo>
                    <a:lnTo>
                      <a:pt x="588" y="157"/>
                    </a:lnTo>
                    <a:lnTo>
                      <a:pt x="588" y="155"/>
                    </a:lnTo>
                    <a:lnTo>
                      <a:pt x="588" y="154"/>
                    </a:lnTo>
                    <a:lnTo>
                      <a:pt x="586" y="154"/>
                    </a:lnTo>
                    <a:lnTo>
                      <a:pt x="586" y="152"/>
                    </a:lnTo>
                    <a:lnTo>
                      <a:pt x="584" y="150"/>
                    </a:lnTo>
                    <a:lnTo>
                      <a:pt x="584" y="149"/>
                    </a:lnTo>
                    <a:lnTo>
                      <a:pt x="583" y="149"/>
                    </a:lnTo>
                    <a:lnTo>
                      <a:pt x="583" y="147"/>
                    </a:lnTo>
                    <a:lnTo>
                      <a:pt x="583" y="146"/>
                    </a:lnTo>
                    <a:lnTo>
                      <a:pt x="583" y="144"/>
                    </a:lnTo>
                    <a:lnTo>
                      <a:pt x="583" y="142"/>
                    </a:lnTo>
                    <a:lnTo>
                      <a:pt x="583" y="141"/>
                    </a:lnTo>
                    <a:lnTo>
                      <a:pt x="581" y="141"/>
                    </a:lnTo>
                    <a:lnTo>
                      <a:pt x="583" y="141"/>
                    </a:lnTo>
                    <a:lnTo>
                      <a:pt x="581" y="141"/>
                    </a:lnTo>
                    <a:lnTo>
                      <a:pt x="581" y="139"/>
                    </a:lnTo>
                    <a:lnTo>
                      <a:pt x="583" y="139"/>
                    </a:lnTo>
                    <a:lnTo>
                      <a:pt x="581" y="138"/>
                    </a:lnTo>
                    <a:lnTo>
                      <a:pt x="581" y="136"/>
                    </a:lnTo>
                    <a:lnTo>
                      <a:pt x="581" y="130"/>
                    </a:lnTo>
                    <a:lnTo>
                      <a:pt x="583" y="128"/>
                    </a:lnTo>
                    <a:lnTo>
                      <a:pt x="583" y="127"/>
                    </a:lnTo>
                    <a:lnTo>
                      <a:pt x="583" y="125"/>
                    </a:lnTo>
                    <a:lnTo>
                      <a:pt x="581" y="125"/>
                    </a:lnTo>
                    <a:lnTo>
                      <a:pt x="581" y="123"/>
                    </a:lnTo>
                    <a:lnTo>
                      <a:pt x="583" y="123"/>
                    </a:lnTo>
                    <a:lnTo>
                      <a:pt x="581" y="120"/>
                    </a:lnTo>
                    <a:lnTo>
                      <a:pt x="583" y="117"/>
                    </a:lnTo>
                    <a:lnTo>
                      <a:pt x="581" y="112"/>
                    </a:lnTo>
                    <a:lnTo>
                      <a:pt x="581" y="108"/>
                    </a:lnTo>
                    <a:lnTo>
                      <a:pt x="586" y="106"/>
                    </a:lnTo>
                    <a:lnTo>
                      <a:pt x="586" y="104"/>
                    </a:lnTo>
                    <a:lnTo>
                      <a:pt x="586" y="103"/>
                    </a:lnTo>
                    <a:lnTo>
                      <a:pt x="586" y="100"/>
                    </a:lnTo>
                    <a:lnTo>
                      <a:pt x="586" y="98"/>
                    </a:lnTo>
                    <a:lnTo>
                      <a:pt x="588" y="98"/>
                    </a:lnTo>
                    <a:lnTo>
                      <a:pt x="588" y="100"/>
                    </a:lnTo>
                    <a:lnTo>
                      <a:pt x="589" y="100"/>
                    </a:lnTo>
                    <a:lnTo>
                      <a:pt x="589" y="101"/>
                    </a:lnTo>
                    <a:lnTo>
                      <a:pt x="591" y="101"/>
                    </a:lnTo>
                    <a:lnTo>
                      <a:pt x="592" y="101"/>
                    </a:lnTo>
                    <a:lnTo>
                      <a:pt x="592" y="103"/>
                    </a:lnTo>
                    <a:lnTo>
                      <a:pt x="596" y="101"/>
                    </a:lnTo>
                    <a:lnTo>
                      <a:pt x="602" y="101"/>
                    </a:lnTo>
                    <a:lnTo>
                      <a:pt x="605" y="101"/>
                    </a:lnTo>
                    <a:lnTo>
                      <a:pt x="605" y="100"/>
                    </a:lnTo>
                    <a:lnTo>
                      <a:pt x="607" y="100"/>
                    </a:lnTo>
                    <a:lnTo>
                      <a:pt x="607" y="98"/>
                    </a:lnTo>
                    <a:lnTo>
                      <a:pt x="607" y="97"/>
                    </a:lnTo>
                    <a:lnTo>
                      <a:pt x="608" y="97"/>
                    </a:lnTo>
                    <a:lnTo>
                      <a:pt x="610" y="97"/>
                    </a:lnTo>
                    <a:lnTo>
                      <a:pt x="610" y="95"/>
                    </a:lnTo>
                    <a:lnTo>
                      <a:pt x="611" y="95"/>
                    </a:lnTo>
                    <a:lnTo>
                      <a:pt x="611" y="97"/>
                    </a:lnTo>
                    <a:lnTo>
                      <a:pt x="611" y="95"/>
                    </a:lnTo>
                    <a:lnTo>
                      <a:pt x="613" y="95"/>
                    </a:lnTo>
                    <a:lnTo>
                      <a:pt x="615" y="95"/>
                    </a:lnTo>
                    <a:lnTo>
                      <a:pt x="615" y="93"/>
                    </a:lnTo>
                    <a:lnTo>
                      <a:pt x="616" y="93"/>
                    </a:lnTo>
                    <a:lnTo>
                      <a:pt x="618" y="93"/>
                    </a:lnTo>
                    <a:lnTo>
                      <a:pt x="619" y="93"/>
                    </a:lnTo>
                    <a:lnTo>
                      <a:pt x="619" y="92"/>
                    </a:lnTo>
                    <a:lnTo>
                      <a:pt x="619" y="93"/>
                    </a:lnTo>
                    <a:lnTo>
                      <a:pt x="621" y="93"/>
                    </a:lnTo>
                    <a:lnTo>
                      <a:pt x="622" y="93"/>
                    </a:lnTo>
                    <a:lnTo>
                      <a:pt x="622" y="95"/>
                    </a:lnTo>
                    <a:lnTo>
                      <a:pt x="624" y="93"/>
                    </a:lnTo>
                    <a:lnTo>
                      <a:pt x="624" y="92"/>
                    </a:lnTo>
                    <a:lnTo>
                      <a:pt x="624" y="90"/>
                    </a:lnTo>
                    <a:lnTo>
                      <a:pt x="626" y="90"/>
                    </a:lnTo>
                    <a:lnTo>
                      <a:pt x="627" y="90"/>
                    </a:lnTo>
                    <a:lnTo>
                      <a:pt x="629" y="90"/>
                    </a:lnTo>
                    <a:lnTo>
                      <a:pt x="630" y="90"/>
                    </a:lnTo>
                    <a:lnTo>
                      <a:pt x="632" y="90"/>
                    </a:lnTo>
                    <a:lnTo>
                      <a:pt x="634" y="90"/>
                    </a:lnTo>
                    <a:lnTo>
                      <a:pt x="634" y="92"/>
                    </a:lnTo>
                    <a:lnTo>
                      <a:pt x="635" y="92"/>
                    </a:lnTo>
                    <a:lnTo>
                      <a:pt x="637" y="90"/>
                    </a:lnTo>
                    <a:lnTo>
                      <a:pt x="638" y="90"/>
                    </a:lnTo>
                    <a:lnTo>
                      <a:pt x="638" y="89"/>
                    </a:lnTo>
                    <a:lnTo>
                      <a:pt x="638" y="87"/>
                    </a:lnTo>
                    <a:lnTo>
                      <a:pt x="640" y="87"/>
                    </a:lnTo>
                    <a:lnTo>
                      <a:pt x="640" y="85"/>
                    </a:lnTo>
                    <a:lnTo>
                      <a:pt x="641" y="85"/>
                    </a:lnTo>
                    <a:lnTo>
                      <a:pt x="641" y="84"/>
                    </a:lnTo>
                    <a:lnTo>
                      <a:pt x="643" y="82"/>
                    </a:lnTo>
                    <a:lnTo>
                      <a:pt x="641" y="82"/>
                    </a:lnTo>
                    <a:lnTo>
                      <a:pt x="641" y="81"/>
                    </a:lnTo>
                    <a:lnTo>
                      <a:pt x="641" y="79"/>
                    </a:lnTo>
                    <a:lnTo>
                      <a:pt x="641" y="81"/>
                    </a:lnTo>
                    <a:lnTo>
                      <a:pt x="643" y="81"/>
                    </a:lnTo>
                    <a:lnTo>
                      <a:pt x="643" y="79"/>
                    </a:lnTo>
                    <a:lnTo>
                      <a:pt x="643" y="77"/>
                    </a:lnTo>
                    <a:lnTo>
                      <a:pt x="643" y="76"/>
                    </a:lnTo>
                    <a:lnTo>
                      <a:pt x="643" y="74"/>
                    </a:lnTo>
                    <a:lnTo>
                      <a:pt x="645" y="74"/>
                    </a:lnTo>
                    <a:lnTo>
                      <a:pt x="646" y="74"/>
                    </a:lnTo>
                    <a:lnTo>
                      <a:pt x="648" y="74"/>
                    </a:lnTo>
                    <a:lnTo>
                      <a:pt x="649" y="74"/>
                    </a:lnTo>
                    <a:lnTo>
                      <a:pt x="649" y="73"/>
                    </a:lnTo>
                    <a:lnTo>
                      <a:pt x="649" y="71"/>
                    </a:lnTo>
                    <a:lnTo>
                      <a:pt x="649" y="70"/>
                    </a:lnTo>
                    <a:lnTo>
                      <a:pt x="648" y="70"/>
                    </a:lnTo>
                    <a:lnTo>
                      <a:pt x="648" y="68"/>
                    </a:lnTo>
                    <a:lnTo>
                      <a:pt x="648" y="66"/>
                    </a:lnTo>
                    <a:lnTo>
                      <a:pt x="648" y="65"/>
                    </a:lnTo>
                    <a:lnTo>
                      <a:pt x="646" y="65"/>
                    </a:lnTo>
                    <a:lnTo>
                      <a:pt x="646" y="63"/>
                    </a:lnTo>
                    <a:lnTo>
                      <a:pt x="646" y="62"/>
                    </a:lnTo>
                    <a:lnTo>
                      <a:pt x="648" y="62"/>
                    </a:lnTo>
                    <a:lnTo>
                      <a:pt x="649" y="62"/>
                    </a:lnTo>
                    <a:lnTo>
                      <a:pt x="649" y="60"/>
                    </a:lnTo>
                    <a:lnTo>
                      <a:pt x="651" y="60"/>
                    </a:lnTo>
                    <a:lnTo>
                      <a:pt x="651" y="58"/>
                    </a:lnTo>
                    <a:lnTo>
                      <a:pt x="653" y="58"/>
                    </a:lnTo>
                    <a:lnTo>
                      <a:pt x="654" y="58"/>
                    </a:lnTo>
                    <a:lnTo>
                      <a:pt x="654" y="57"/>
                    </a:lnTo>
                    <a:lnTo>
                      <a:pt x="654" y="55"/>
                    </a:lnTo>
                    <a:lnTo>
                      <a:pt x="654" y="54"/>
                    </a:lnTo>
                    <a:lnTo>
                      <a:pt x="654" y="52"/>
                    </a:lnTo>
                    <a:lnTo>
                      <a:pt x="654" y="51"/>
                    </a:lnTo>
                    <a:lnTo>
                      <a:pt x="656" y="51"/>
                    </a:lnTo>
                    <a:lnTo>
                      <a:pt x="657" y="51"/>
                    </a:lnTo>
                    <a:lnTo>
                      <a:pt x="659" y="51"/>
                    </a:lnTo>
                    <a:lnTo>
                      <a:pt x="660" y="51"/>
                    </a:lnTo>
                    <a:lnTo>
                      <a:pt x="660" y="49"/>
                    </a:lnTo>
                    <a:lnTo>
                      <a:pt x="660" y="47"/>
                    </a:lnTo>
                    <a:lnTo>
                      <a:pt x="662" y="47"/>
                    </a:lnTo>
                    <a:lnTo>
                      <a:pt x="662" y="46"/>
                    </a:lnTo>
                    <a:lnTo>
                      <a:pt x="662" y="44"/>
                    </a:lnTo>
                    <a:lnTo>
                      <a:pt x="662" y="43"/>
                    </a:lnTo>
                    <a:lnTo>
                      <a:pt x="662" y="41"/>
                    </a:lnTo>
                    <a:lnTo>
                      <a:pt x="664" y="41"/>
                    </a:lnTo>
                    <a:lnTo>
                      <a:pt x="664" y="39"/>
                    </a:lnTo>
                    <a:lnTo>
                      <a:pt x="665" y="39"/>
                    </a:lnTo>
                    <a:lnTo>
                      <a:pt x="667" y="39"/>
                    </a:lnTo>
                    <a:lnTo>
                      <a:pt x="667" y="38"/>
                    </a:lnTo>
                    <a:lnTo>
                      <a:pt x="668" y="38"/>
                    </a:lnTo>
                    <a:lnTo>
                      <a:pt x="668" y="36"/>
                    </a:lnTo>
                    <a:lnTo>
                      <a:pt x="670" y="36"/>
                    </a:lnTo>
                    <a:lnTo>
                      <a:pt x="670" y="35"/>
                    </a:lnTo>
                    <a:lnTo>
                      <a:pt x="672" y="35"/>
                    </a:lnTo>
                    <a:lnTo>
                      <a:pt x="672" y="33"/>
                    </a:lnTo>
                    <a:lnTo>
                      <a:pt x="673" y="33"/>
                    </a:lnTo>
                    <a:lnTo>
                      <a:pt x="673" y="32"/>
                    </a:lnTo>
                    <a:lnTo>
                      <a:pt x="673" y="30"/>
                    </a:lnTo>
                    <a:lnTo>
                      <a:pt x="675" y="30"/>
                    </a:lnTo>
                    <a:lnTo>
                      <a:pt x="675" y="28"/>
                    </a:lnTo>
                    <a:lnTo>
                      <a:pt x="676" y="28"/>
                    </a:lnTo>
                    <a:lnTo>
                      <a:pt x="676" y="27"/>
                    </a:lnTo>
                    <a:lnTo>
                      <a:pt x="678" y="27"/>
                    </a:lnTo>
                    <a:lnTo>
                      <a:pt x="678" y="25"/>
                    </a:lnTo>
                    <a:lnTo>
                      <a:pt x="679" y="25"/>
                    </a:lnTo>
                    <a:lnTo>
                      <a:pt x="679" y="24"/>
                    </a:lnTo>
                    <a:lnTo>
                      <a:pt x="681" y="24"/>
                    </a:lnTo>
                    <a:lnTo>
                      <a:pt x="681" y="22"/>
                    </a:lnTo>
                    <a:lnTo>
                      <a:pt x="683" y="22"/>
                    </a:lnTo>
                    <a:lnTo>
                      <a:pt x="683" y="20"/>
                    </a:lnTo>
                    <a:lnTo>
                      <a:pt x="684" y="20"/>
                    </a:lnTo>
                    <a:lnTo>
                      <a:pt x="684" y="19"/>
                    </a:lnTo>
                    <a:lnTo>
                      <a:pt x="686" y="19"/>
                    </a:lnTo>
                    <a:lnTo>
                      <a:pt x="686" y="17"/>
                    </a:lnTo>
                    <a:lnTo>
                      <a:pt x="687" y="17"/>
                    </a:lnTo>
                    <a:lnTo>
                      <a:pt x="689" y="16"/>
                    </a:lnTo>
                    <a:lnTo>
                      <a:pt x="691" y="16"/>
                    </a:lnTo>
                    <a:lnTo>
                      <a:pt x="691" y="14"/>
                    </a:lnTo>
                    <a:lnTo>
                      <a:pt x="692" y="14"/>
                    </a:lnTo>
                    <a:lnTo>
                      <a:pt x="694" y="14"/>
                    </a:lnTo>
                    <a:lnTo>
                      <a:pt x="695" y="14"/>
                    </a:lnTo>
                    <a:lnTo>
                      <a:pt x="697" y="14"/>
                    </a:lnTo>
                    <a:lnTo>
                      <a:pt x="697" y="16"/>
                    </a:lnTo>
                    <a:lnTo>
                      <a:pt x="698" y="16"/>
                    </a:lnTo>
                    <a:lnTo>
                      <a:pt x="700" y="16"/>
                    </a:lnTo>
                    <a:lnTo>
                      <a:pt x="702" y="16"/>
                    </a:lnTo>
                    <a:lnTo>
                      <a:pt x="703" y="16"/>
                    </a:lnTo>
                    <a:lnTo>
                      <a:pt x="705" y="16"/>
                    </a:lnTo>
                    <a:lnTo>
                      <a:pt x="705" y="14"/>
                    </a:lnTo>
                    <a:lnTo>
                      <a:pt x="706" y="14"/>
                    </a:lnTo>
                    <a:lnTo>
                      <a:pt x="708" y="14"/>
                    </a:lnTo>
                    <a:lnTo>
                      <a:pt x="710" y="14"/>
                    </a:lnTo>
                    <a:lnTo>
                      <a:pt x="711" y="14"/>
                    </a:lnTo>
                    <a:lnTo>
                      <a:pt x="710" y="14"/>
                    </a:lnTo>
                    <a:lnTo>
                      <a:pt x="710" y="16"/>
                    </a:lnTo>
                    <a:lnTo>
                      <a:pt x="711" y="16"/>
                    </a:lnTo>
                    <a:lnTo>
                      <a:pt x="711" y="17"/>
                    </a:lnTo>
                    <a:lnTo>
                      <a:pt x="711" y="19"/>
                    </a:lnTo>
                    <a:lnTo>
                      <a:pt x="710" y="20"/>
                    </a:lnTo>
                    <a:lnTo>
                      <a:pt x="710" y="22"/>
                    </a:lnTo>
                    <a:lnTo>
                      <a:pt x="711" y="22"/>
                    </a:lnTo>
                    <a:lnTo>
                      <a:pt x="710" y="22"/>
                    </a:lnTo>
                    <a:lnTo>
                      <a:pt x="711" y="24"/>
                    </a:lnTo>
                    <a:lnTo>
                      <a:pt x="711" y="25"/>
                    </a:lnTo>
                    <a:lnTo>
                      <a:pt x="711" y="27"/>
                    </a:lnTo>
                    <a:lnTo>
                      <a:pt x="710" y="25"/>
                    </a:lnTo>
                    <a:lnTo>
                      <a:pt x="710" y="27"/>
                    </a:lnTo>
                    <a:lnTo>
                      <a:pt x="708" y="27"/>
                    </a:lnTo>
                    <a:lnTo>
                      <a:pt x="708" y="28"/>
                    </a:lnTo>
                    <a:lnTo>
                      <a:pt x="706" y="28"/>
                    </a:lnTo>
                    <a:lnTo>
                      <a:pt x="708" y="28"/>
                    </a:lnTo>
                    <a:lnTo>
                      <a:pt x="708" y="30"/>
                    </a:lnTo>
                    <a:lnTo>
                      <a:pt x="708" y="32"/>
                    </a:lnTo>
                    <a:lnTo>
                      <a:pt x="706" y="32"/>
                    </a:lnTo>
                    <a:lnTo>
                      <a:pt x="706" y="33"/>
                    </a:lnTo>
                    <a:lnTo>
                      <a:pt x="705" y="33"/>
                    </a:lnTo>
                    <a:lnTo>
                      <a:pt x="706" y="33"/>
                    </a:lnTo>
                    <a:lnTo>
                      <a:pt x="705" y="35"/>
                    </a:lnTo>
                    <a:lnTo>
                      <a:pt x="705" y="36"/>
                    </a:lnTo>
                    <a:lnTo>
                      <a:pt x="703" y="36"/>
                    </a:lnTo>
                    <a:lnTo>
                      <a:pt x="703" y="38"/>
                    </a:lnTo>
                    <a:lnTo>
                      <a:pt x="703" y="39"/>
                    </a:lnTo>
                    <a:lnTo>
                      <a:pt x="705" y="41"/>
                    </a:lnTo>
                    <a:lnTo>
                      <a:pt x="705" y="43"/>
                    </a:lnTo>
                    <a:lnTo>
                      <a:pt x="705" y="44"/>
                    </a:lnTo>
                    <a:lnTo>
                      <a:pt x="705" y="46"/>
                    </a:lnTo>
                    <a:lnTo>
                      <a:pt x="703" y="46"/>
                    </a:lnTo>
                    <a:lnTo>
                      <a:pt x="703" y="47"/>
                    </a:lnTo>
                    <a:lnTo>
                      <a:pt x="703" y="49"/>
                    </a:lnTo>
                    <a:lnTo>
                      <a:pt x="703" y="47"/>
                    </a:lnTo>
                    <a:lnTo>
                      <a:pt x="703" y="49"/>
                    </a:lnTo>
                    <a:lnTo>
                      <a:pt x="705" y="49"/>
                    </a:lnTo>
                    <a:lnTo>
                      <a:pt x="706" y="49"/>
                    </a:lnTo>
                    <a:lnTo>
                      <a:pt x="708" y="49"/>
                    </a:lnTo>
                    <a:lnTo>
                      <a:pt x="708" y="51"/>
                    </a:lnTo>
                    <a:lnTo>
                      <a:pt x="710" y="51"/>
                    </a:lnTo>
                    <a:lnTo>
                      <a:pt x="710" y="52"/>
                    </a:lnTo>
                    <a:lnTo>
                      <a:pt x="711" y="52"/>
                    </a:lnTo>
                    <a:lnTo>
                      <a:pt x="713" y="52"/>
                    </a:lnTo>
                    <a:lnTo>
                      <a:pt x="714" y="54"/>
                    </a:lnTo>
                    <a:lnTo>
                      <a:pt x="716" y="54"/>
                    </a:lnTo>
                    <a:lnTo>
                      <a:pt x="717" y="54"/>
                    </a:lnTo>
                    <a:lnTo>
                      <a:pt x="719" y="54"/>
                    </a:lnTo>
                    <a:lnTo>
                      <a:pt x="721" y="52"/>
                    </a:lnTo>
                    <a:lnTo>
                      <a:pt x="722" y="52"/>
                    </a:lnTo>
                    <a:lnTo>
                      <a:pt x="724" y="52"/>
                    </a:lnTo>
                    <a:lnTo>
                      <a:pt x="725" y="52"/>
                    </a:lnTo>
                    <a:lnTo>
                      <a:pt x="727" y="52"/>
                    </a:lnTo>
                    <a:lnTo>
                      <a:pt x="729" y="52"/>
                    </a:lnTo>
                    <a:lnTo>
                      <a:pt x="729" y="51"/>
                    </a:lnTo>
                    <a:lnTo>
                      <a:pt x="730" y="51"/>
                    </a:lnTo>
                    <a:lnTo>
                      <a:pt x="730" y="49"/>
                    </a:lnTo>
                    <a:lnTo>
                      <a:pt x="730" y="47"/>
                    </a:lnTo>
                    <a:lnTo>
                      <a:pt x="730" y="46"/>
                    </a:lnTo>
                    <a:lnTo>
                      <a:pt x="730" y="44"/>
                    </a:lnTo>
                    <a:lnTo>
                      <a:pt x="730" y="43"/>
                    </a:lnTo>
                    <a:lnTo>
                      <a:pt x="730" y="41"/>
                    </a:lnTo>
                    <a:lnTo>
                      <a:pt x="730" y="39"/>
                    </a:lnTo>
                    <a:lnTo>
                      <a:pt x="732" y="39"/>
                    </a:lnTo>
                    <a:lnTo>
                      <a:pt x="732" y="38"/>
                    </a:lnTo>
                    <a:lnTo>
                      <a:pt x="733" y="38"/>
                    </a:lnTo>
                    <a:lnTo>
                      <a:pt x="735" y="38"/>
                    </a:lnTo>
                    <a:lnTo>
                      <a:pt x="737" y="38"/>
                    </a:lnTo>
                    <a:lnTo>
                      <a:pt x="737" y="36"/>
                    </a:lnTo>
                    <a:lnTo>
                      <a:pt x="738" y="36"/>
                    </a:lnTo>
                    <a:lnTo>
                      <a:pt x="738" y="35"/>
                    </a:lnTo>
                    <a:lnTo>
                      <a:pt x="740" y="35"/>
                    </a:lnTo>
                    <a:lnTo>
                      <a:pt x="741" y="35"/>
                    </a:lnTo>
                    <a:lnTo>
                      <a:pt x="741" y="33"/>
                    </a:lnTo>
                    <a:lnTo>
                      <a:pt x="743" y="33"/>
                    </a:lnTo>
                    <a:lnTo>
                      <a:pt x="744" y="33"/>
                    </a:lnTo>
                    <a:lnTo>
                      <a:pt x="744" y="32"/>
                    </a:lnTo>
                    <a:lnTo>
                      <a:pt x="746" y="32"/>
                    </a:lnTo>
                    <a:lnTo>
                      <a:pt x="748" y="32"/>
                    </a:lnTo>
                    <a:lnTo>
                      <a:pt x="748" y="30"/>
                    </a:lnTo>
                    <a:lnTo>
                      <a:pt x="749" y="30"/>
                    </a:lnTo>
                    <a:lnTo>
                      <a:pt x="751" y="30"/>
                    </a:lnTo>
                    <a:lnTo>
                      <a:pt x="751" y="28"/>
                    </a:lnTo>
                    <a:lnTo>
                      <a:pt x="752" y="28"/>
                    </a:lnTo>
                    <a:lnTo>
                      <a:pt x="754" y="28"/>
                    </a:lnTo>
                    <a:lnTo>
                      <a:pt x="752" y="27"/>
                    </a:lnTo>
                    <a:lnTo>
                      <a:pt x="752" y="25"/>
                    </a:lnTo>
                    <a:lnTo>
                      <a:pt x="754" y="25"/>
                    </a:lnTo>
                    <a:lnTo>
                      <a:pt x="754" y="24"/>
                    </a:lnTo>
                    <a:lnTo>
                      <a:pt x="756" y="24"/>
                    </a:lnTo>
                    <a:lnTo>
                      <a:pt x="757" y="24"/>
                    </a:lnTo>
                    <a:lnTo>
                      <a:pt x="757" y="22"/>
                    </a:lnTo>
                    <a:lnTo>
                      <a:pt x="759" y="22"/>
                    </a:lnTo>
                    <a:lnTo>
                      <a:pt x="760" y="22"/>
                    </a:lnTo>
                    <a:lnTo>
                      <a:pt x="762" y="22"/>
                    </a:lnTo>
                    <a:lnTo>
                      <a:pt x="763" y="22"/>
                    </a:lnTo>
                    <a:lnTo>
                      <a:pt x="765" y="22"/>
                    </a:lnTo>
                    <a:lnTo>
                      <a:pt x="767" y="22"/>
                    </a:lnTo>
                    <a:lnTo>
                      <a:pt x="767" y="24"/>
                    </a:lnTo>
                    <a:lnTo>
                      <a:pt x="768" y="24"/>
                    </a:lnTo>
                    <a:lnTo>
                      <a:pt x="768" y="25"/>
                    </a:lnTo>
                    <a:lnTo>
                      <a:pt x="770" y="25"/>
                    </a:lnTo>
                    <a:lnTo>
                      <a:pt x="770" y="27"/>
                    </a:lnTo>
                    <a:lnTo>
                      <a:pt x="771" y="27"/>
                    </a:lnTo>
                    <a:lnTo>
                      <a:pt x="773" y="28"/>
                    </a:lnTo>
                    <a:lnTo>
                      <a:pt x="775" y="28"/>
                    </a:lnTo>
                    <a:lnTo>
                      <a:pt x="775" y="30"/>
                    </a:lnTo>
                    <a:lnTo>
                      <a:pt x="776" y="30"/>
                    </a:lnTo>
                    <a:lnTo>
                      <a:pt x="778" y="32"/>
                    </a:lnTo>
                    <a:lnTo>
                      <a:pt x="779" y="32"/>
                    </a:lnTo>
                    <a:lnTo>
                      <a:pt x="781" y="32"/>
                    </a:lnTo>
                    <a:lnTo>
                      <a:pt x="781" y="33"/>
                    </a:lnTo>
                    <a:lnTo>
                      <a:pt x="782" y="33"/>
                    </a:lnTo>
                    <a:lnTo>
                      <a:pt x="784" y="33"/>
                    </a:lnTo>
                    <a:lnTo>
                      <a:pt x="784" y="35"/>
                    </a:lnTo>
                    <a:lnTo>
                      <a:pt x="786" y="35"/>
                    </a:lnTo>
                    <a:lnTo>
                      <a:pt x="787" y="35"/>
                    </a:lnTo>
                    <a:lnTo>
                      <a:pt x="787" y="36"/>
                    </a:lnTo>
                    <a:lnTo>
                      <a:pt x="789" y="36"/>
                    </a:lnTo>
                    <a:lnTo>
                      <a:pt x="790" y="36"/>
                    </a:lnTo>
                    <a:lnTo>
                      <a:pt x="790" y="38"/>
                    </a:lnTo>
                    <a:lnTo>
                      <a:pt x="792" y="38"/>
                    </a:lnTo>
                    <a:lnTo>
                      <a:pt x="794" y="39"/>
                    </a:lnTo>
                    <a:lnTo>
                      <a:pt x="795" y="39"/>
                    </a:lnTo>
                    <a:lnTo>
                      <a:pt x="797" y="39"/>
                    </a:lnTo>
                    <a:lnTo>
                      <a:pt x="798" y="41"/>
                    </a:lnTo>
                    <a:lnTo>
                      <a:pt x="798" y="43"/>
                    </a:lnTo>
                    <a:lnTo>
                      <a:pt x="798" y="44"/>
                    </a:lnTo>
                    <a:lnTo>
                      <a:pt x="798" y="46"/>
                    </a:lnTo>
                    <a:lnTo>
                      <a:pt x="798" y="47"/>
                    </a:lnTo>
                    <a:lnTo>
                      <a:pt x="797" y="47"/>
                    </a:lnTo>
                    <a:lnTo>
                      <a:pt x="797" y="49"/>
                    </a:lnTo>
                    <a:lnTo>
                      <a:pt x="797" y="51"/>
                    </a:lnTo>
                    <a:lnTo>
                      <a:pt x="797" y="52"/>
                    </a:lnTo>
                    <a:lnTo>
                      <a:pt x="798" y="52"/>
                    </a:lnTo>
                    <a:lnTo>
                      <a:pt x="800" y="52"/>
                    </a:lnTo>
                    <a:lnTo>
                      <a:pt x="800" y="54"/>
                    </a:lnTo>
                    <a:lnTo>
                      <a:pt x="801" y="54"/>
                    </a:lnTo>
                    <a:lnTo>
                      <a:pt x="803" y="54"/>
                    </a:lnTo>
                    <a:lnTo>
                      <a:pt x="803" y="52"/>
                    </a:lnTo>
                    <a:lnTo>
                      <a:pt x="805" y="52"/>
                    </a:lnTo>
                    <a:lnTo>
                      <a:pt x="805" y="54"/>
                    </a:lnTo>
                    <a:lnTo>
                      <a:pt x="806" y="52"/>
                    </a:lnTo>
                    <a:lnTo>
                      <a:pt x="808" y="52"/>
                    </a:lnTo>
                    <a:lnTo>
                      <a:pt x="809" y="52"/>
                    </a:lnTo>
                    <a:lnTo>
                      <a:pt x="811" y="52"/>
                    </a:lnTo>
                    <a:lnTo>
                      <a:pt x="811" y="51"/>
                    </a:lnTo>
                    <a:lnTo>
                      <a:pt x="813" y="51"/>
                    </a:lnTo>
                    <a:lnTo>
                      <a:pt x="813" y="49"/>
                    </a:lnTo>
                    <a:lnTo>
                      <a:pt x="814" y="49"/>
                    </a:lnTo>
                    <a:lnTo>
                      <a:pt x="814" y="47"/>
                    </a:lnTo>
                    <a:lnTo>
                      <a:pt x="816" y="47"/>
                    </a:lnTo>
                    <a:lnTo>
                      <a:pt x="816" y="49"/>
                    </a:lnTo>
                    <a:lnTo>
                      <a:pt x="816" y="51"/>
                    </a:lnTo>
                    <a:lnTo>
                      <a:pt x="817" y="52"/>
                    </a:lnTo>
                    <a:lnTo>
                      <a:pt x="816" y="52"/>
                    </a:lnTo>
                    <a:lnTo>
                      <a:pt x="817" y="52"/>
                    </a:lnTo>
                    <a:lnTo>
                      <a:pt x="817" y="51"/>
                    </a:lnTo>
                    <a:lnTo>
                      <a:pt x="819" y="51"/>
                    </a:lnTo>
                    <a:lnTo>
                      <a:pt x="819" y="49"/>
                    </a:lnTo>
                    <a:lnTo>
                      <a:pt x="819" y="47"/>
                    </a:lnTo>
                    <a:lnTo>
                      <a:pt x="820" y="47"/>
                    </a:lnTo>
                    <a:lnTo>
                      <a:pt x="820" y="46"/>
                    </a:lnTo>
                    <a:lnTo>
                      <a:pt x="822" y="46"/>
                    </a:lnTo>
                    <a:lnTo>
                      <a:pt x="824" y="46"/>
                    </a:lnTo>
                    <a:lnTo>
                      <a:pt x="824" y="44"/>
                    </a:lnTo>
                    <a:lnTo>
                      <a:pt x="825" y="44"/>
                    </a:lnTo>
                    <a:lnTo>
                      <a:pt x="827" y="44"/>
                    </a:lnTo>
                    <a:lnTo>
                      <a:pt x="828" y="44"/>
                    </a:lnTo>
                    <a:lnTo>
                      <a:pt x="830" y="44"/>
                    </a:lnTo>
                    <a:lnTo>
                      <a:pt x="830" y="46"/>
                    </a:lnTo>
                    <a:lnTo>
                      <a:pt x="828" y="46"/>
                    </a:lnTo>
                    <a:lnTo>
                      <a:pt x="830" y="46"/>
                    </a:lnTo>
                    <a:lnTo>
                      <a:pt x="830" y="47"/>
                    </a:lnTo>
                    <a:lnTo>
                      <a:pt x="830" y="49"/>
                    </a:lnTo>
                    <a:lnTo>
                      <a:pt x="830" y="51"/>
                    </a:lnTo>
                    <a:lnTo>
                      <a:pt x="832" y="51"/>
                    </a:lnTo>
                    <a:lnTo>
                      <a:pt x="832" y="52"/>
                    </a:lnTo>
                    <a:lnTo>
                      <a:pt x="832" y="54"/>
                    </a:lnTo>
                    <a:lnTo>
                      <a:pt x="832" y="55"/>
                    </a:lnTo>
                    <a:lnTo>
                      <a:pt x="832" y="57"/>
                    </a:lnTo>
                    <a:lnTo>
                      <a:pt x="833" y="57"/>
                    </a:lnTo>
                    <a:lnTo>
                      <a:pt x="833" y="55"/>
                    </a:lnTo>
                    <a:lnTo>
                      <a:pt x="835" y="55"/>
                    </a:lnTo>
                    <a:lnTo>
                      <a:pt x="835" y="54"/>
                    </a:lnTo>
                    <a:lnTo>
                      <a:pt x="835" y="55"/>
                    </a:lnTo>
                    <a:lnTo>
                      <a:pt x="836" y="55"/>
                    </a:lnTo>
                    <a:lnTo>
                      <a:pt x="836" y="54"/>
                    </a:lnTo>
                    <a:lnTo>
                      <a:pt x="836" y="52"/>
                    </a:lnTo>
                    <a:lnTo>
                      <a:pt x="838" y="52"/>
                    </a:lnTo>
                    <a:lnTo>
                      <a:pt x="838" y="51"/>
                    </a:lnTo>
                    <a:lnTo>
                      <a:pt x="839" y="51"/>
                    </a:lnTo>
                    <a:lnTo>
                      <a:pt x="841" y="51"/>
                    </a:lnTo>
                    <a:lnTo>
                      <a:pt x="841" y="49"/>
                    </a:lnTo>
                    <a:lnTo>
                      <a:pt x="841" y="47"/>
                    </a:lnTo>
                    <a:lnTo>
                      <a:pt x="843" y="47"/>
                    </a:lnTo>
                    <a:lnTo>
                      <a:pt x="843" y="46"/>
                    </a:lnTo>
                    <a:lnTo>
                      <a:pt x="843" y="44"/>
                    </a:lnTo>
                    <a:lnTo>
                      <a:pt x="843" y="43"/>
                    </a:lnTo>
                    <a:lnTo>
                      <a:pt x="844" y="43"/>
                    </a:lnTo>
                    <a:lnTo>
                      <a:pt x="844" y="44"/>
                    </a:lnTo>
                    <a:lnTo>
                      <a:pt x="844" y="43"/>
                    </a:lnTo>
                    <a:lnTo>
                      <a:pt x="844" y="41"/>
                    </a:lnTo>
                    <a:lnTo>
                      <a:pt x="843" y="41"/>
                    </a:lnTo>
                    <a:lnTo>
                      <a:pt x="843" y="39"/>
                    </a:lnTo>
                    <a:lnTo>
                      <a:pt x="844" y="39"/>
                    </a:lnTo>
                    <a:lnTo>
                      <a:pt x="844" y="38"/>
                    </a:lnTo>
                    <a:lnTo>
                      <a:pt x="846" y="38"/>
                    </a:lnTo>
                    <a:lnTo>
                      <a:pt x="847" y="36"/>
                    </a:lnTo>
                    <a:lnTo>
                      <a:pt x="847" y="35"/>
                    </a:lnTo>
                    <a:lnTo>
                      <a:pt x="847" y="33"/>
                    </a:lnTo>
                    <a:lnTo>
                      <a:pt x="847" y="32"/>
                    </a:lnTo>
                    <a:lnTo>
                      <a:pt x="849" y="32"/>
                    </a:lnTo>
                    <a:lnTo>
                      <a:pt x="847" y="32"/>
                    </a:lnTo>
                    <a:lnTo>
                      <a:pt x="847" y="30"/>
                    </a:lnTo>
                    <a:lnTo>
                      <a:pt x="849" y="30"/>
                    </a:lnTo>
                    <a:lnTo>
                      <a:pt x="851" y="30"/>
                    </a:lnTo>
                    <a:lnTo>
                      <a:pt x="852" y="30"/>
                    </a:lnTo>
                    <a:lnTo>
                      <a:pt x="854" y="30"/>
                    </a:lnTo>
                    <a:lnTo>
                      <a:pt x="855" y="30"/>
                    </a:lnTo>
                    <a:lnTo>
                      <a:pt x="857" y="30"/>
                    </a:lnTo>
                    <a:lnTo>
                      <a:pt x="857" y="32"/>
                    </a:lnTo>
                    <a:lnTo>
                      <a:pt x="858" y="32"/>
                    </a:lnTo>
                    <a:lnTo>
                      <a:pt x="858" y="33"/>
                    </a:lnTo>
                    <a:lnTo>
                      <a:pt x="860" y="33"/>
                    </a:lnTo>
                    <a:lnTo>
                      <a:pt x="860" y="35"/>
                    </a:lnTo>
                    <a:lnTo>
                      <a:pt x="862" y="35"/>
                    </a:lnTo>
                    <a:lnTo>
                      <a:pt x="862" y="36"/>
                    </a:lnTo>
                    <a:lnTo>
                      <a:pt x="863" y="36"/>
                    </a:lnTo>
                    <a:lnTo>
                      <a:pt x="865" y="36"/>
                    </a:lnTo>
                    <a:lnTo>
                      <a:pt x="865" y="38"/>
                    </a:lnTo>
                    <a:lnTo>
                      <a:pt x="866" y="38"/>
                    </a:lnTo>
                    <a:lnTo>
                      <a:pt x="868" y="38"/>
                    </a:lnTo>
                    <a:lnTo>
                      <a:pt x="870" y="38"/>
                    </a:lnTo>
                    <a:lnTo>
                      <a:pt x="870" y="39"/>
                    </a:lnTo>
                    <a:lnTo>
                      <a:pt x="871" y="39"/>
                    </a:lnTo>
                    <a:lnTo>
                      <a:pt x="873" y="39"/>
                    </a:lnTo>
                    <a:lnTo>
                      <a:pt x="874" y="39"/>
                    </a:lnTo>
                    <a:lnTo>
                      <a:pt x="876" y="41"/>
                    </a:lnTo>
                    <a:lnTo>
                      <a:pt x="877" y="41"/>
                    </a:lnTo>
                    <a:lnTo>
                      <a:pt x="879" y="41"/>
                    </a:lnTo>
                    <a:lnTo>
                      <a:pt x="881" y="41"/>
                    </a:lnTo>
                    <a:lnTo>
                      <a:pt x="882" y="41"/>
                    </a:lnTo>
                    <a:lnTo>
                      <a:pt x="884" y="41"/>
                    </a:lnTo>
                    <a:lnTo>
                      <a:pt x="885" y="41"/>
                    </a:lnTo>
                    <a:lnTo>
                      <a:pt x="887" y="41"/>
                    </a:lnTo>
                    <a:lnTo>
                      <a:pt x="889" y="41"/>
                    </a:lnTo>
                    <a:lnTo>
                      <a:pt x="890" y="41"/>
                    </a:lnTo>
                    <a:lnTo>
                      <a:pt x="892" y="43"/>
                    </a:lnTo>
                    <a:lnTo>
                      <a:pt x="893" y="43"/>
                    </a:lnTo>
                    <a:lnTo>
                      <a:pt x="893" y="44"/>
                    </a:lnTo>
                    <a:lnTo>
                      <a:pt x="895" y="44"/>
                    </a:lnTo>
                    <a:lnTo>
                      <a:pt x="896" y="46"/>
                    </a:lnTo>
                    <a:lnTo>
                      <a:pt x="896" y="47"/>
                    </a:lnTo>
                    <a:lnTo>
                      <a:pt x="896" y="49"/>
                    </a:lnTo>
                    <a:lnTo>
                      <a:pt x="896" y="51"/>
                    </a:lnTo>
                    <a:lnTo>
                      <a:pt x="895" y="52"/>
                    </a:lnTo>
                    <a:lnTo>
                      <a:pt x="895" y="54"/>
                    </a:lnTo>
                    <a:lnTo>
                      <a:pt x="893" y="54"/>
                    </a:lnTo>
                    <a:lnTo>
                      <a:pt x="893" y="55"/>
                    </a:lnTo>
                    <a:lnTo>
                      <a:pt x="893" y="57"/>
                    </a:lnTo>
                    <a:lnTo>
                      <a:pt x="892" y="57"/>
                    </a:lnTo>
                    <a:lnTo>
                      <a:pt x="892" y="58"/>
                    </a:lnTo>
                    <a:lnTo>
                      <a:pt x="890" y="58"/>
                    </a:lnTo>
                    <a:lnTo>
                      <a:pt x="890" y="60"/>
                    </a:lnTo>
                    <a:lnTo>
                      <a:pt x="890" y="62"/>
                    </a:lnTo>
                    <a:lnTo>
                      <a:pt x="889" y="62"/>
                    </a:lnTo>
                    <a:lnTo>
                      <a:pt x="887" y="63"/>
                    </a:lnTo>
                    <a:lnTo>
                      <a:pt x="887" y="65"/>
                    </a:lnTo>
                    <a:lnTo>
                      <a:pt x="889" y="66"/>
                    </a:lnTo>
                    <a:lnTo>
                      <a:pt x="889" y="68"/>
                    </a:lnTo>
                    <a:lnTo>
                      <a:pt x="890" y="68"/>
                    </a:lnTo>
                    <a:lnTo>
                      <a:pt x="890" y="70"/>
                    </a:lnTo>
                    <a:lnTo>
                      <a:pt x="892" y="70"/>
                    </a:lnTo>
                    <a:lnTo>
                      <a:pt x="892" y="71"/>
                    </a:lnTo>
                    <a:lnTo>
                      <a:pt x="892" y="73"/>
                    </a:lnTo>
                    <a:lnTo>
                      <a:pt x="892" y="74"/>
                    </a:lnTo>
                    <a:lnTo>
                      <a:pt x="893" y="76"/>
                    </a:lnTo>
                    <a:lnTo>
                      <a:pt x="893" y="77"/>
                    </a:lnTo>
                    <a:lnTo>
                      <a:pt x="893" y="79"/>
                    </a:lnTo>
                    <a:lnTo>
                      <a:pt x="895" y="79"/>
                    </a:lnTo>
                    <a:lnTo>
                      <a:pt x="895" y="81"/>
                    </a:lnTo>
                    <a:lnTo>
                      <a:pt x="895" y="82"/>
                    </a:lnTo>
                    <a:lnTo>
                      <a:pt x="896" y="82"/>
                    </a:lnTo>
                    <a:lnTo>
                      <a:pt x="896" y="84"/>
                    </a:lnTo>
                    <a:lnTo>
                      <a:pt x="898" y="84"/>
                    </a:lnTo>
                    <a:lnTo>
                      <a:pt x="898" y="85"/>
                    </a:lnTo>
                    <a:lnTo>
                      <a:pt x="900" y="85"/>
                    </a:lnTo>
                    <a:lnTo>
                      <a:pt x="900" y="87"/>
                    </a:lnTo>
                    <a:lnTo>
                      <a:pt x="901" y="87"/>
                    </a:lnTo>
                    <a:lnTo>
                      <a:pt x="901" y="89"/>
                    </a:lnTo>
                    <a:lnTo>
                      <a:pt x="903" y="89"/>
                    </a:lnTo>
                    <a:lnTo>
                      <a:pt x="904" y="89"/>
                    </a:lnTo>
                    <a:lnTo>
                      <a:pt x="906" y="90"/>
                    </a:lnTo>
                    <a:lnTo>
                      <a:pt x="908" y="90"/>
                    </a:lnTo>
                    <a:lnTo>
                      <a:pt x="909" y="90"/>
                    </a:lnTo>
                    <a:lnTo>
                      <a:pt x="911" y="90"/>
                    </a:lnTo>
                    <a:lnTo>
                      <a:pt x="912" y="90"/>
                    </a:lnTo>
                    <a:lnTo>
                      <a:pt x="914" y="90"/>
                    </a:lnTo>
                    <a:lnTo>
                      <a:pt x="915" y="90"/>
                    </a:lnTo>
                    <a:lnTo>
                      <a:pt x="917" y="90"/>
                    </a:lnTo>
                    <a:lnTo>
                      <a:pt x="917" y="92"/>
                    </a:lnTo>
                    <a:lnTo>
                      <a:pt x="919" y="92"/>
                    </a:lnTo>
                    <a:lnTo>
                      <a:pt x="919" y="93"/>
                    </a:lnTo>
                    <a:lnTo>
                      <a:pt x="920" y="93"/>
                    </a:lnTo>
                    <a:lnTo>
                      <a:pt x="922" y="93"/>
                    </a:lnTo>
                    <a:lnTo>
                      <a:pt x="922" y="95"/>
                    </a:lnTo>
                    <a:lnTo>
                      <a:pt x="923" y="95"/>
                    </a:lnTo>
                    <a:lnTo>
                      <a:pt x="923" y="97"/>
                    </a:lnTo>
                    <a:lnTo>
                      <a:pt x="925" y="97"/>
                    </a:lnTo>
                    <a:lnTo>
                      <a:pt x="925" y="98"/>
                    </a:lnTo>
                    <a:lnTo>
                      <a:pt x="925" y="100"/>
                    </a:lnTo>
                    <a:lnTo>
                      <a:pt x="925" y="101"/>
                    </a:lnTo>
                    <a:lnTo>
                      <a:pt x="927" y="101"/>
                    </a:lnTo>
                    <a:lnTo>
                      <a:pt x="927" y="103"/>
                    </a:lnTo>
                    <a:lnTo>
                      <a:pt x="927" y="104"/>
                    </a:lnTo>
                    <a:lnTo>
                      <a:pt x="928" y="104"/>
                    </a:lnTo>
                    <a:lnTo>
                      <a:pt x="928" y="106"/>
                    </a:lnTo>
                    <a:lnTo>
                      <a:pt x="930" y="106"/>
                    </a:lnTo>
                    <a:lnTo>
                      <a:pt x="931" y="108"/>
                    </a:lnTo>
                    <a:lnTo>
                      <a:pt x="931" y="109"/>
                    </a:lnTo>
                    <a:lnTo>
                      <a:pt x="933" y="109"/>
                    </a:lnTo>
                    <a:lnTo>
                      <a:pt x="933" y="111"/>
                    </a:lnTo>
                    <a:lnTo>
                      <a:pt x="935" y="111"/>
                    </a:lnTo>
                    <a:lnTo>
                      <a:pt x="936" y="111"/>
                    </a:lnTo>
                    <a:lnTo>
                      <a:pt x="938" y="111"/>
                    </a:lnTo>
                    <a:lnTo>
                      <a:pt x="939" y="111"/>
                    </a:lnTo>
                    <a:lnTo>
                      <a:pt x="939" y="109"/>
                    </a:lnTo>
                    <a:lnTo>
                      <a:pt x="941" y="109"/>
                    </a:lnTo>
                    <a:lnTo>
                      <a:pt x="941" y="108"/>
                    </a:lnTo>
                    <a:lnTo>
                      <a:pt x="941" y="106"/>
                    </a:lnTo>
                    <a:lnTo>
                      <a:pt x="941" y="104"/>
                    </a:lnTo>
                    <a:lnTo>
                      <a:pt x="942" y="103"/>
                    </a:lnTo>
                    <a:lnTo>
                      <a:pt x="942" y="101"/>
                    </a:lnTo>
                    <a:lnTo>
                      <a:pt x="944" y="100"/>
                    </a:lnTo>
                    <a:lnTo>
                      <a:pt x="946" y="100"/>
                    </a:lnTo>
                    <a:lnTo>
                      <a:pt x="947" y="101"/>
                    </a:lnTo>
                    <a:lnTo>
                      <a:pt x="949" y="101"/>
                    </a:lnTo>
                    <a:lnTo>
                      <a:pt x="949" y="100"/>
                    </a:lnTo>
                    <a:lnTo>
                      <a:pt x="950" y="100"/>
                    </a:lnTo>
                    <a:lnTo>
                      <a:pt x="952" y="100"/>
                    </a:lnTo>
                    <a:lnTo>
                      <a:pt x="954" y="100"/>
                    </a:lnTo>
                    <a:lnTo>
                      <a:pt x="955" y="100"/>
                    </a:lnTo>
                    <a:lnTo>
                      <a:pt x="957" y="100"/>
                    </a:lnTo>
                    <a:lnTo>
                      <a:pt x="957" y="101"/>
                    </a:lnTo>
                    <a:lnTo>
                      <a:pt x="958" y="101"/>
                    </a:lnTo>
                    <a:lnTo>
                      <a:pt x="960" y="101"/>
                    </a:lnTo>
                    <a:lnTo>
                      <a:pt x="960" y="103"/>
                    </a:lnTo>
                    <a:lnTo>
                      <a:pt x="961" y="103"/>
                    </a:lnTo>
                    <a:lnTo>
                      <a:pt x="963" y="104"/>
                    </a:lnTo>
                    <a:lnTo>
                      <a:pt x="965" y="104"/>
                    </a:lnTo>
                    <a:lnTo>
                      <a:pt x="965" y="106"/>
                    </a:lnTo>
                    <a:lnTo>
                      <a:pt x="966" y="108"/>
                    </a:lnTo>
                    <a:lnTo>
                      <a:pt x="968" y="109"/>
                    </a:lnTo>
                    <a:lnTo>
                      <a:pt x="969" y="109"/>
                    </a:lnTo>
                    <a:lnTo>
                      <a:pt x="971" y="109"/>
                    </a:lnTo>
                    <a:lnTo>
                      <a:pt x="973" y="109"/>
                    </a:lnTo>
                    <a:lnTo>
                      <a:pt x="974" y="109"/>
                    </a:lnTo>
                    <a:lnTo>
                      <a:pt x="976" y="109"/>
                    </a:lnTo>
                    <a:lnTo>
                      <a:pt x="977" y="109"/>
                    </a:lnTo>
                    <a:lnTo>
                      <a:pt x="977" y="111"/>
                    </a:lnTo>
                    <a:lnTo>
                      <a:pt x="979" y="111"/>
                    </a:lnTo>
                    <a:lnTo>
                      <a:pt x="979" y="112"/>
                    </a:lnTo>
                    <a:lnTo>
                      <a:pt x="980" y="112"/>
                    </a:lnTo>
                    <a:lnTo>
                      <a:pt x="982" y="112"/>
                    </a:lnTo>
                    <a:lnTo>
                      <a:pt x="984" y="112"/>
                    </a:lnTo>
                    <a:lnTo>
                      <a:pt x="985" y="114"/>
                    </a:lnTo>
                    <a:lnTo>
                      <a:pt x="987" y="114"/>
                    </a:lnTo>
                    <a:lnTo>
                      <a:pt x="987" y="112"/>
                    </a:lnTo>
                    <a:lnTo>
                      <a:pt x="988" y="112"/>
                    </a:lnTo>
                    <a:lnTo>
                      <a:pt x="990" y="112"/>
                    </a:lnTo>
                    <a:lnTo>
                      <a:pt x="992" y="112"/>
                    </a:lnTo>
                    <a:lnTo>
                      <a:pt x="992" y="114"/>
                    </a:lnTo>
                    <a:lnTo>
                      <a:pt x="993" y="114"/>
                    </a:lnTo>
                    <a:lnTo>
                      <a:pt x="995" y="116"/>
                    </a:lnTo>
                    <a:lnTo>
                      <a:pt x="996" y="117"/>
                    </a:lnTo>
                    <a:lnTo>
                      <a:pt x="996" y="119"/>
                    </a:lnTo>
                    <a:lnTo>
                      <a:pt x="998" y="119"/>
                    </a:lnTo>
                    <a:lnTo>
                      <a:pt x="998" y="120"/>
                    </a:lnTo>
                    <a:lnTo>
                      <a:pt x="999" y="120"/>
                    </a:lnTo>
                    <a:lnTo>
                      <a:pt x="999" y="122"/>
                    </a:lnTo>
                    <a:lnTo>
                      <a:pt x="999" y="123"/>
                    </a:lnTo>
                    <a:lnTo>
                      <a:pt x="999" y="125"/>
                    </a:lnTo>
                    <a:lnTo>
                      <a:pt x="1001" y="125"/>
                    </a:lnTo>
                    <a:lnTo>
                      <a:pt x="1001" y="127"/>
                    </a:lnTo>
                    <a:lnTo>
                      <a:pt x="1003" y="127"/>
                    </a:lnTo>
                    <a:lnTo>
                      <a:pt x="1003" y="128"/>
                    </a:lnTo>
                    <a:lnTo>
                      <a:pt x="1004" y="128"/>
                    </a:lnTo>
                    <a:lnTo>
                      <a:pt x="1006" y="130"/>
                    </a:lnTo>
                    <a:lnTo>
                      <a:pt x="1007" y="130"/>
                    </a:lnTo>
                    <a:lnTo>
                      <a:pt x="1009" y="130"/>
                    </a:lnTo>
                    <a:lnTo>
                      <a:pt x="1011" y="130"/>
                    </a:lnTo>
                    <a:lnTo>
                      <a:pt x="1011" y="131"/>
                    </a:lnTo>
                    <a:lnTo>
                      <a:pt x="1011" y="133"/>
                    </a:lnTo>
                    <a:lnTo>
                      <a:pt x="1011" y="135"/>
                    </a:lnTo>
                    <a:lnTo>
                      <a:pt x="1011" y="136"/>
                    </a:lnTo>
                    <a:lnTo>
                      <a:pt x="1012" y="136"/>
                    </a:lnTo>
                    <a:lnTo>
                      <a:pt x="1014" y="136"/>
                    </a:lnTo>
                    <a:lnTo>
                      <a:pt x="1014" y="138"/>
                    </a:lnTo>
                    <a:lnTo>
                      <a:pt x="1015" y="138"/>
                    </a:lnTo>
                    <a:lnTo>
                      <a:pt x="1017" y="139"/>
                    </a:lnTo>
                    <a:lnTo>
                      <a:pt x="1018" y="139"/>
                    </a:lnTo>
                    <a:lnTo>
                      <a:pt x="1018" y="141"/>
                    </a:lnTo>
                    <a:lnTo>
                      <a:pt x="1018" y="142"/>
                    </a:lnTo>
                    <a:lnTo>
                      <a:pt x="1018" y="144"/>
                    </a:lnTo>
                    <a:lnTo>
                      <a:pt x="1020" y="144"/>
                    </a:lnTo>
                    <a:lnTo>
                      <a:pt x="1020" y="146"/>
                    </a:lnTo>
                    <a:lnTo>
                      <a:pt x="1022" y="146"/>
                    </a:lnTo>
                    <a:lnTo>
                      <a:pt x="1023" y="146"/>
                    </a:lnTo>
                    <a:lnTo>
                      <a:pt x="1025" y="146"/>
                    </a:lnTo>
                    <a:lnTo>
                      <a:pt x="1025" y="147"/>
                    </a:lnTo>
                    <a:lnTo>
                      <a:pt x="1026" y="147"/>
                    </a:lnTo>
                    <a:lnTo>
                      <a:pt x="1026" y="149"/>
                    </a:lnTo>
                    <a:lnTo>
                      <a:pt x="1028" y="149"/>
                    </a:lnTo>
                    <a:lnTo>
                      <a:pt x="1028" y="150"/>
                    </a:lnTo>
                    <a:lnTo>
                      <a:pt x="1030" y="152"/>
                    </a:lnTo>
                    <a:lnTo>
                      <a:pt x="1031" y="152"/>
                    </a:lnTo>
                    <a:lnTo>
                      <a:pt x="1031" y="154"/>
                    </a:lnTo>
                    <a:lnTo>
                      <a:pt x="1033" y="154"/>
                    </a:lnTo>
                    <a:lnTo>
                      <a:pt x="1034" y="154"/>
                    </a:lnTo>
                    <a:lnTo>
                      <a:pt x="1036" y="152"/>
                    </a:lnTo>
                    <a:lnTo>
                      <a:pt x="1036" y="154"/>
                    </a:lnTo>
                    <a:lnTo>
                      <a:pt x="1036" y="152"/>
                    </a:lnTo>
                    <a:lnTo>
                      <a:pt x="1036" y="154"/>
                    </a:lnTo>
                    <a:lnTo>
                      <a:pt x="1037" y="154"/>
                    </a:lnTo>
                    <a:lnTo>
                      <a:pt x="1039" y="155"/>
                    </a:lnTo>
                    <a:lnTo>
                      <a:pt x="1039" y="157"/>
                    </a:lnTo>
                    <a:lnTo>
                      <a:pt x="1041" y="157"/>
                    </a:lnTo>
                    <a:lnTo>
                      <a:pt x="1041" y="158"/>
                    </a:lnTo>
                    <a:lnTo>
                      <a:pt x="1041" y="160"/>
                    </a:lnTo>
                    <a:lnTo>
                      <a:pt x="1042" y="160"/>
                    </a:lnTo>
                    <a:lnTo>
                      <a:pt x="1044" y="160"/>
                    </a:lnTo>
                    <a:lnTo>
                      <a:pt x="1045" y="158"/>
                    </a:lnTo>
                    <a:lnTo>
                      <a:pt x="1047" y="158"/>
                    </a:lnTo>
                    <a:lnTo>
                      <a:pt x="1049" y="158"/>
                    </a:lnTo>
                    <a:lnTo>
                      <a:pt x="1050" y="158"/>
                    </a:lnTo>
                    <a:lnTo>
                      <a:pt x="1052" y="158"/>
                    </a:lnTo>
                    <a:lnTo>
                      <a:pt x="1053" y="158"/>
                    </a:lnTo>
                    <a:lnTo>
                      <a:pt x="1053" y="160"/>
                    </a:lnTo>
                    <a:lnTo>
                      <a:pt x="1055" y="160"/>
                    </a:lnTo>
                    <a:lnTo>
                      <a:pt x="1055" y="158"/>
                    </a:lnTo>
                    <a:lnTo>
                      <a:pt x="1056" y="158"/>
                    </a:lnTo>
                    <a:lnTo>
                      <a:pt x="1056" y="157"/>
                    </a:lnTo>
                    <a:lnTo>
                      <a:pt x="1056" y="155"/>
                    </a:lnTo>
                    <a:lnTo>
                      <a:pt x="1056" y="154"/>
                    </a:lnTo>
                    <a:lnTo>
                      <a:pt x="1058" y="154"/>
                    </a:lnTo>
                    <a:lnTo>
                      <a:pt x="1058" y="155"/>
                    </a:lnTo>
                    <a:lnTo>
                      <a:pt x="1060" y="155"/>
                    </a:lnTo>
                    <a:lnTo>
                      <a:pt x="1061" y="157"/>
                    </a:lnTo>
                    <a:lnTo>
                      <a:pt x="1063" y="157"/>
                    </a:lnTo>
                    <a:lnTo>
                      <a:pt x="1063" y="155"/>
                    </a:lnTo>
                    <a:lnTo>
                      <a:pt x="1064" y="155"/>
                    </a:lnTo>
                    <a:lnTo>
                      <a:pt x="1064" y="154"/>
                    </a:lnTo>
                    <a:lnTo>
                      <a:pt x="1064" y="155"/>
                    </a:lnTo>
                    <a:lnTo>
                      <a:pt x="1066" y="155"/>
                    </a:lnTo>
                    <a:lnTo>
                      <a:pt x="1066" y="154"/>
                    </a:lnTo>
                    <a:lnTo>
                      <a:pt x="1068" y="154"/>
                    </a:lnTo>
                    <a:lnTo>
                      <a:pt x="1069" y="154"/>
                    </a:lnTo>
                    <a:lnTo>
                      <a:pt x="1071" y="154"/>
                    </a:lnTo>
                    <a:lnTo>
                      <a:pt x="1072" y="154"/>
                    </a:lnTo>
                    <a:lnTo>
                      <a:pt x="1072" y="152"/>
                    </a:lnTo>
                    <a:lnTo>
                      <a:pt x="1074" y="152"/>
                    </a:lnTo>
                    <a:lnTo>
                      <a:pt x="1075" y="152"/>
                    </a:lnTo>
                    <a:lnTo>
                      <a:pt x="1077" y="152"/>
                    </a:lnTo>
                    <a:lnTo>
                      <a:pt x="1077" y="150"/>
                    </a:lnTo>
                    <a:lnTo>
                      <a:pt x="1079" y="150"/>
                    </a:lnTo>
                    <a:lnTo>
                      <a:pt x="1079" y="149"/>
                    </a:lnTo>
                    <a:lnTo>
                      <a:pt x="1080" y="147"/>
                    </a:lnTo>
                    <a:lnTo>
                      <a:pt x="1082" y="146"/>
                    </a:lnTo>
                    <a:lnTo>
                      <a:pt x="1083" y="146"/>
                    </a:lnTo>
                    <a:lnTo>
                      <a:pt x="1083" y="144"/>
                    </a:lnTo>
                    <a:lnTo>
                      <a:pt x="1083" y="142"/>
                    </a:lnTo>
                    <a:lnTo>
                      <a:pt x="1085" y="142"/>
                    </a:lnTo>
                    <a:lnTo>
                      <a:pt x="1087" y="142"/>
                    </a:lnTo>
                    <a:lnTo>
                      <a:pt x="1087" y="144"/>
                    </a:lnTo>
                    <a:lnTo>
                      <a:pt x="1088" y="144"/>
                    </a:lnTo>
                    <a:lnTo>
                      <a:pt x="1088" y="142"/>
                    </a:lnTo>
                    <a:lnTo>
                      <a:pt x="1088" y="141"/>
                    </a:lnTo>
                    <a:lnTo>
                      <a:pt x="1088" y="139"/>
                    </a:lnTo>
                    <a:lnTo>
                      <a:pt x="1090" y="139"/>
                    </a:lnTo>
                    <a:lnTo>
                      <a:pt x="1090" y="138"/>
                    </a:lnTo>
                    <a:lnTo>
                      <a:pt x="1091" y="139"/>
                    </a:lnTo>
                    <a:lnTo>
                      <a:pt x="1093" y="139"/>
                    </a:lnTo>
                    <a:lnTo>
                      <a:pt x="1093" y="138"/>
                    </a:lnTo>
                    <a:lnTo>
                      <a:pt x="1094" y="138"/>
                    </a:lnTo>
                    <a:lnTo>
                      <a:pt x="1094" y="136"/>
                    </a:lnTo>
                    <a:lnTo>
                      <a:pt x="1096" y="136"/>
                    </a:lnTo>
                    <a:lnTo>
                      <a:pt x="1098" y="135"/>
                    </a:lnTo>
                    <a:lnTo>
                      <a:pt x="1099" y="135"/>
                    </a:lnTo>
                    <a:lnTo>
                      <a:pt x="1099" y="133"/>
                    </a:lnTo>
                    <a:lnTo>
                      <a:pt x="1101" y="133"/>
                    </a:lnTo>
                    <a:lnTo>
                      <a:pt x="1102" y="133"/>
                    </a:lnTo>
                    <a:lnTo>
                      <a:pt x="1104" y="133"/>
                    </a:lnTo>
                    <a:lnTo>
                      <a:pt x="1104" y="135"/>
                    </a:lnTo>
                    <a:lnTo>
                      <a:pt x="1106" y="135"/>
                    </a:lnTo>
                    <a:lnTo>
                      <a:pt x="1106" y="136"/>
                    </a:lnTo>
                    <a:lnTo>
                      <a:pt x="1107" y="136"/>
                    </a:lnTo>
                    <a:lnTo>
                      <a:pt x="1107" y="138"/>
                    </a:lnTo>
                    <a:lnTo>
                      <a:pt x="1109" y="138"/>
                    </a:lnTo>
                    <a:lnTo>
                      <a:pt x="1110" y="138"/>
                    </a:lnTo>
                    <a:lnTo>
                      <a:pt x="1112" y="136"/>
                    </a:lnTo>
                    <a:lnTo>
                      <a:pt x="1112" y="135"/>
                    </a:lnTo>
                    <a:lnTo>
                      <a:pt x="1110" y="135"/>
                    </a:lnTo>
                    <a:lnTo>
                      <a:pt x="1110" y="133"/>
                    </a:lnTo>
                    <a:lnTo>
                      <a:pt x="1110" y="131"/>
                    </a:lnTo>
                    <a:lnTo>
                      <a:pt x="1110" y="130"/>
                    </a:lnTo>
                    <a:lnTo>
                      <a:pt x="1112" y="130"/>
                    </a:lnTo>
                    <a:lnTo>
                      <a:pt x="1114" y="130"/>
                    </a:lnTo>
                    <a:lnTo>
                      <a:pt x="1115" y="130"/>
                    </a:lnTo>
                    <a:lnTo>
                      <a:pt x="1115" y="131"/>
                    </a:lnTo>
                    <a:lnTo>
                      <a:pt x="1117" y="131"/>
                    </a:lnTo>
                    <a:lnTo>
                      <a:pt x="1118" y="131"/>
                    </a:lnTo>
                    <a:lnTo>
                      <a:pt x="1118" y="130"/>
                    </a:lnTo>
                    <a:lnTo>
                      <a:pt x="1120" y="130"/>
                    </a:lnTo>
                    <a:lnTo>
                      <a:pt x="1121" y="130"/>
                    </a:lnTo>
                    <a:lnTo>
                      <a:pt x="1121" y="128"/>
                    </a:lnTo>
                    <a:lnTo>
                      <a:pt x="1123" y="128"/>
                    </a:lnTo>
                    <a:lnTo>
                      <a:pt x="1125" y="128"/>
                    </a:lnTo>
                    <a:lnTo>
                      <a:pt x="1126" y="128"/>
                    </a:lnTo>
                    <a:lnTo>
                      <a:pt x="1128" y="128"/>
                    </a:lnTo>
                    <a:lnTo>
                      <a:pt x="1129" y="128"/>
                    </a:lnTo>
                    <a:lnTo>
                      <a:pt x="1129" y="127"/>
                    </a:lnTo>
                    <a:lnTo>
                      <a:pt x="1129" y="125"/>
                    </a:lnTo>
                    <a:lnTo>
                      <a:pt x="1131" y="125"/>
                    </a:lnTo>
                    <a:lnTo>
                      <a:pt x="1131" y="123"/>
                    </a:lnTo>
                    <a:lnTo>
                      <a:pt x="1133" y="123"/>
                    </a:lnTo>
                    <a:lnTo>
                      <a:pt x="1134" y="123"/>
                    </a:lnTo>
                    <a:lnTo>
                      <a:pt x="1134" y="122"/>
                    </a:lnTo>
                    <a:lnTo>
                      <a:pt x="1136" y="122"/>
                    </a:lnTo>
                    <a:lnTo>
                      <a:pt x="1137" y="122"/>
                    </a:lnTo>
                    <a:lnTo>
                      <a:pt x="1139" y="122"/>
                    </a:lnTo>
                    <a:lnTo>
                      <a:pt x="1140" y="122"/>
                    </a:lnTo>
                    <a:lnTo>
                      <a:pt x="1142" y="122"/>
                    </a:lnTo>
                    <a:lnTo>
                      <a:pt x="1144" y="122"/>
                    </a:lnTo>
                    <a:lnTo>
                      <a:pt x="1144" y="120"/>
                    </a:lnTo>
                    <a:lnTo>
                      <a:pt x="1144" y="119"/>
                    </a:lnTo>
                    <a:lnTo>
                      <a:pt x="1144" y="117"/>
                    </a:lnTo>
                    <a:lnTo>
                      <a:pt x="1145" y="117"/>
                    </a:lnTo>
                    <a:lnTo>
                      <a:pt x="1145" y="119"/>
                    </a:lnTo>
                    <a:lnTo>
                      <a:pt x="1147" y="119"/>
                    </a:lnTo>
                    <a:lnTo>
                      <a:pt x="1148" y="119"/>
                    </a:lnTo>
                    <a:lnTo>
                      <a:pt x="1148" y="117"/>
                    </a:lnTo>
                    <a:lnTo>
                      <a:pt x="1148" y="116"/>
                    </a:lnTo>
                    <a:lnTo>
                      <a:pt x="1148" y="114"/>
                    </a:lnTo>
                    <a:lnTo>
                      <a:pt x="1150" y="112"/>
                    </a:lnTo>
                    <a:lnTo>
                      <a:pt x="1152" y="112"/>
                    </a:lnTo>
                    <a:lnTo>
                      <a:pt x="1153" y="112"/>
                    </a:lnTo>
                    <a:lnTo>
                      <a:pt x="1155" y="112"/>
                    </a:lnTo>
                    <a:lnTo>
                      <a:pt x="1155" y="111"/>
                    </a:lnTo>
                    <a:lnTo>
                      <a:pt x="1153" y="111"/>
                    </a:lnTo>
                    <a:lnTo>
                      <a:pt x="1153" y="109"/>
                    </a:lnTo>
                    <a:lnTo>
                      <a:pt x="1153" y="108"/>
                    </a:lnTo>
                    <a:lnTo>
                      <a:pt x="1155" y="108"/>
                    </a:lnTo>
                    <a:lnTo>
                      <a:pt x="1156" y="108"/>
                    </a:lnTo>
                    <a:lnTo>
                      <a:pt x="1158" y="108"/>
                    </a:lnTo>
                    <a:lnTo>
                      <a:pt x="1159" y="108"/>
                    </a:lnTo>
                    <a:lnTo>
                      <a:pt x="1161" y="108"/>
                    </a:lnTo>
                    <a:lnTo>
                      <a:pt x="1163" y="108"/>
                    </a:lnTo>
                    <a:lnTo>
                      <a:pt x="1163" y="109"/>
                    </a:lnTo>
                    <a:lnTo>
                      <a:pt x="1164" y="109"/>
                    </a:lnTo>
                    <a:lnTo>
                      <a:pt x="1164" y="108"/>
                    </a:lnTo>
                    <a:lnTo>
                      <a:pt x="1164" y="106"/>
                    </a:lnTo>
                    <a:lnTo>
                      <a:pt x="1164" y="104"/>
                    </a:lnTo>
                    <a:lnTo>
                      <a:pt x="1166" y="103"/>
                    </a:lnTo>
                    <a:lnTo>
                      <a:pt x="1166" y="101"/>
                    </a:lnTo>
                    <a:lnTo>
                      <a:pt x="1167" y="100"/>
                    </a:lnTo>
                    <a:lnTo>
                      <a:pt x="1169" y="100"/>
                    </a:lnTo>
                    <a:lnTo>
                      <a:pt x="1171" y="100"/>
                    </a:lnTo>
                    <a:lnTo>
                      <a:pt x="1172" y="100"/>
                    </a:lnTo>
                    <a:lnTo>
                      <a:pt x="1172" y="101"/>
                    </a:lnTo>
                    <a:lnTo>
                      <a:pt x="1172" y="103"/>
                    </a:lnTo>
                    <a:lnTo>
                      <a:pt x="1174" y="103"/>
                    </a:lnTo>
                    <a:lnTo>
                      <a:pt x="1175" y="103"/>
                    </a:lnTo>
                    <a:lnTo>
                      <a:pt x="1175" y="101"/>
                    </a:lnTo>
                    <a:lnTo>
                      <a:pt x="1177" y="100"/>
                    </a:lnTo>
                    <a:lnTo>
                      <a:pt x="1178" y="100"/>
                    </a:lnTo>
                    <a:lnTo>
                      <a:pt x="1180" y="98"/>
                    </a:lnTo>
                    <a:lnTo>
                      <a:pt x="1180" y="97"/>
                    </a:lnTo>
                    <a:lnTo>
                      <a:pt x="1180" y="95"/>
                    </a:lnTo>
                    <a:lnTo>
                      <a:pt x="1182" y="95"/>
                    </a:lnTo>
                    <a:lnTo>
                      <a:pt x="1183" y="95"/>
                    </a:lnTo>
                    <a:lnTo>
                      <a:pt x="1183" y="93"/>
                    </a:lnTo>
                    <a:lnTo>
                      <a:pt x="1185" y="93"/>
                    </a:lnTo>
                    <a:lnTo>
                      <a:pt x="1185" y="92"/>
                    </a:lnTo>
                    <a:lnTo>
                      <a:pt x="1186" y="92"/>
                    </a:lnTo>
                    <a:lnTo>
                      <a:pt x="1188" y="92"/>
                    </a:lnTo>
                    <a:lnTo>
                      <a:pt x="1188" y="90"/>
                    </a:lnTo>
                    <a:lnTo>
                      <a:pt x="1190" y="90"/>
                    </a:lnTo>
                    <a:lnTo>
                      <a:pt x="1190" y="89"/>
                    </a:lnTo>
                    <a:lnTo>
                      <a:pt x="1191" y="89"/>
                    </a:lnTo>
                    <a:lnTo>
                      <a:pt x="1193" y="89"/>
                    </a:lnTo>
                    <a:lnTo>
                      <a:pt x="1193" y="87"/>
                    </a:lnTo>
                    <a:lnTo>
                      <a:pt x="1194" y="87"/>
                    </a:lnTo>
                    <a:lnTo>
                      <a:pt x="1194" y="85"/>
                    </a:lnTo>
                    <a:lnTo>
                      <a:pt x="1196" y="85"/>
                    </a:lnTo>
                    <a:lnTo>
                      <a:pt x="1197" y="85"/>
                    </a:lnTo>
                    <a:lnTo>
                      <a:pt x="1197" y="84"/>
                    </a:lnTo>
                    <a:lnTo>
                      <a:pt x="1199" y="84"/>
                    </a:lnTo>
                    <a:lnTo>
                      <a:pt x="1199" y="82"/>
                    </a:lnTo>
                    <a:lnTo>
                      <a:pt x="1201" y="82"/>
                    </a:lnTo>
                    <a:lnTo>
                      <a:pt x="1202" y="82"/>
                    </a:lnTo>
                    <a:lnTo>
                      <a:pt x="1202" y="84"/>
                    </a:lnTo>
                    <a:lnTo>
                      <a:pt x="1204" y="84"/>
                    </a:lnTo>
                    <a:lnTo>
                      <a:pt x="1204" y="85"/>
                    </a:lnTo>
                    <a:lnTo>
                      <a:pt x="1204" y="87"/>
                    </a:lnTo>
                    <a:lnTo>
                      <a:pt x="1205" y="87"/>
                    </a:lnTo>
                    <a:lnTo>
                      <a:pt x="1207" y="87"/>
                    </a:lnTo>
                    <a:lnTo>
                      <a:pt x="1209" y="87"/>
                    </a:lnTo>
                    <a:lnTo>
                      <a:pt x="1209" y="85"/>
                    </a:lnTo>
                    <a:lnTo>
                      <a:pt x="1210" y="85"/>
                    </a:lnTo>
                    <a:lnTo>
                      <a:pt x="1212" y="85"/>
                    </a:lnTo>
                    <a:lnTo>
                      <a:pt x="1213" y="87"/>
                    </a:lnTo>
                    <a:lnTo>
                      <a:pt x="1215" y="87"/>
                    </a:lnTo>
                    <a:lnTo>
                      <a:pt x="1216" y="87"/>
                    </a:lnTo>
                    <a:lnTo>
                      <a:pt x="1218" y="87"/>
                    </a:lnTo>
                    <a:lnTo>
                      <a:pt x="1218" y="85"/>
                    </a:lnTo>
                    <a:lnTo>
                      <a:pt x="1218" y="84"/>
                    </a:lnTo>
                    <a:lnTo>
                      <a:pt x="1218" y="82"/>
                    </a:lnTo>
                    <a:lnTo>
                      <a:pt x="1220" y="82"/>
                    </a:lnTo>
                    <a:lnTo>
                      <a:pt x="1220" y="81"/>
                    </a:lnTo>
                    <a:lnTo>
                      <a:pt x="1221" y="81"/>
                    </a:lnTo>
                    <a:lnTo>
                      <a:pt x="1223" y="81"/>
                    </a:lnTo>
                    <a:lnTo>
                      <a:pt x="1223" y="82"/>
                    </a:lnTo>
                    <a:lnTo>
                      <a:pt x="1224" y="82"/>
                    </a:lnTo>
                    <a:lnTo>
                      <a:pt x="1224" y="81"/>
                    </a:lnTo>
                    <a:lnTo>
                      <a:pt x="1226" y="81"/>
                    </a:lnTo>
                    <a:lnTo>
                      <a:pt x="1226" y="79"/>
                    </a:lnTo>
                    <a:lnTo>
                      <a:pt x="1224" y="77"/>
                    </a:lnTo>
                    <a:lnTo>
                      <a:pt x="1224" y="76"/>
                    </a:lnTo>
                    <a:lnTo>
                      <a:pt x="1224" y="74"/>
                    </a:lnTo>
                    <a:lnTo>
                      <a:pt x="1226" y="74"/>
                    </a:lnTo>
                    <a:lnTo>
                      <a:pt x="1226" y="73"/>
                    </a:lnTo>
                    <a:lnTo>
                      <a:pt x="1226" y="71"/>
                    </a:lnTo>
                    <a:lnTo>
                      <a:pt x="1228" y="71"/>
                    </a:lnTo>
                    <a:lnTo>
                      <a:pt x="1228" y="70"/>
                    </a:lnTo>
                    <a:lnTo>
                      <a:pt x="1228" y="68"/>
                    </a:lnTo>
                    <a:lnTo>
                      <a:pt x="1229" y="68"/>
                    </a:lnTo>
                    <a:lnTo>
                      <a:pt x="1229" y="66"/>
                    </a:lnTo>
                    <a:lnTo>
                      <a:pt x="1231" y="66"/>
                    </a:lnTo>
                    <a:lnTo>
                      <a:pt x="1232" y="66"/>
                    </a:lnTo>
                    <a:lnTo>
                      <a:pt x="1234" y="66"/>
                    </a:lnTo>
                    <a:lnTo>
                      <a:pt x="1234" y="68"/>
                    </a:lnTo>
                    <a:lnTo>
                      <a:pt x="1234" y="70"/>
                    </a:lnTo>
                    <a:lnTo>
                      <a:pt x="1234" y="71"/>
                    </a:lnTo>
                    <a:lnTo>
                      <a:pt x="1235" y="71"/>
                    </a:lnTo>
                    <a:lnTo>
                      <a:pt x="1237" y="71"/>
                    </a:lnTo>
                    <a:lnTo>
                      <a:pt x="1237" y="73"/>
                    </a:lnTo>
                    <a:lnTo>
                      <a:pt x="1239" y="73"/>
                    </a:lnTo>
                    <a:lnTo>
                      <a:pt x="1240" y="73"/>
                    </a:lnTo>
                    <a:lnTo>
                      <a:pt x="1240" y="71"/>
                    </a:lnTo>
                    <a:lnTo>
                      <a:pt x="1243" y="71"/>
                    </a:lnTo>
                    <a:lnTo>
                      <a:pt x="1245" y="71"/>
                    </a:lnTo>
                    <a:lnTo>
                      <a:pt x="1247" y="71"/>
                    </a:lnTo>
                    <a:lnTo>
                      <a:pt x="1247" y="70"/>
                    </a:lnTo>
                    <a:lnTo>
                      <a:pt x="1247" y="68"/>
                    </a:lnTo>
                    <a:lnTo>
                      <a:pt x="1248" y="68"/>
                    </a:lnTo>
                    <a:lnTo>
                      <a:pt x="1248" y="66"/>
                    </a:lnTo>
                    <a:lnTo>
                      <a:pt x="1250" y="66"/>
                    </a:lnTo>
                    <a:lnTo>
                      <a:pt x="1250" y="65"/>
                    </a:lnTo>
                    <a:lnTo>
                      <a:pt x="1251" y="65"/>
                    </a:lnTo>
                    <a:lnTo>
                      <a:pt x="1253" y="65"/>
                    </a:lnTo>
                    <a:lnTo>
                      <a:pt x="1253" y="63"/>
                    </a:lnTo>
                    <a:lnTo>
                      <a:pt x="1254" y="63"/>
                    </a:lnTo>
                    <a:lnTo>
                      <a:pt x="1254" y="62"/>
                    </a:lnTo>
                    <a:lnTo>
                      <a:pt x="1253" y="60"/>
                    </a:lnTo>
                    <a:lnTo>
                      <a:pt x="1253" y="58"/>
                    </a:lnTo>
                    <a:lnTo>
                      <a:pt x="1254" y="58"/>
                    </a:lnTo>
                    <a:lnTo>
                      <a:pt x="1256" y="57"/>
                    </a:lnTo>
                    <a:lnTo>
                      <a:pt x="1254" y="55"/>
                    </a:lnTo>
                    <a:lnTo>
                      <a:pt x="1254" y="54"/>
                    </a:lnTo>
                    <a:lnTo>
                      <a:pt x="1253" y="52"/>
                    </a:lnTo>
                    <a:lnTo>
                      <a:pt x="1253" y="51"/>
                    </a:lnTo>
                    <a:lnTo>
                      <a:pt x="1251" y="51"/>
                    </a:lnTo>
                    <a:lnTo>
                      <a:pt x="1251" y="49"/>
                    </a:lnTo>
                    <a:lnTo>
                      <a:pt x="1253" y="49"/>
                    </a:lnTo>
                    <a:lnTo>
                      <a:pt x="1253" y="47"/>
                    </a:lnTo>
                    <a:lnTo>
                      <a:pt x="1254" y="47"/>
                    </a:lnTo>
                    <a:lnTo>
                      <a:pt x="1254" y="46"/>
                    </a:lnTo>
                    <a:lnTo>
                      <a:pt x="1256" y="46"/>
                    </a:lnTo>
                    <a:lnTo>
                      <a:pt x="1256" y="44"/>
                    </a:lnTo>
                    <a:lnTo>
                      <a:pt x="1258" y="44"/>
                    </a:lnTo>
                    <a:lnTo>
                      <a:pt x="1259" y="44"/>
                    </a:lnTo>
                    <a:lnTo>
                      <a:pt x="1259" y="43"/>
                    </a:lnTo>
                    <a:lnTo>
                      <a:pt x="1261" y="43"/>
                    </a:lnTo>
                    <a:lnTo>
                      <a:pt x="1262" y="43"/>
                    </a:lnTo>
                    <a:lnTo>
                      <a:pt x="1262" y="41"/>
                    </a:lnTo>
                    <a:lnTo>
                      <a:pt x="1262" y="39"/>
                    </a:lnTo>
                    <a:lnTo>
                      <a:pt x="1262" y="38"/>
                    </a:lnTo>
                    <a:lnTo>
                      <a:pt x="1262" y="36"/>
                    </a:lnTo>
                    <a:lnTo>
                      <a:pt x="1264" y="36"/>
                    </a:lnTo>
                    <a:lnTo>
                      <a:pt x="1264" y="35"/>
                    </a:lnTo>
                    <a:lnTo>
                      <a:pt x="1266" y="35"/>
                    </a:lnTo>
                    <a:lnTo>
                      <a:pt x="1266" y="33"/>
                    </a:lnTo>
                    <a:lnTo>
                      <a:pt x="1264" y="33"/>
                    </a:lnTo>
                    <a:lnTo>
                      <a:pt x="1264" y="32"/>
                    </a:lnTo>
                    <a:lnTo>
                      <a:pt x="1264" y="30"/>
                    </a:lnTo>
                    <a:lnTo>
                      <a:pt x="1264" y="28"/>
                    </a:lnTo>
                    <a:lnTo>
                      <a:pt x="1266" y="28"/>
                    </a:lnTo>
                    <a:lnTo>
                      <a:pt x="1267" y="28"/>
                    </a:lnTo>
                    <a:lnTo>
                      <a:pt x="1269" y="28"/>
                    </a:lnTo>
                    <a:lnTo>
                      <a:pt x="1269" y="27"/>
                    </a:lnTo>
                    <a:lnTo>
                      <a:pt x="1267" y="27"/>
                    </a:lnTo>
                    <a:lnTo>
                      <a:pt x="1267" y="25"/>
                    </a:lnTo>
                    <a:lnTo>
                      <a:pt x="1266" y="25"/>
                    </a:lnTo>
                    <a:lnTo>
                      <a:pt x="1266" y="24"/>
                    </a:lnTo>
                    <a:lnTo>
                      <a:pt x="1266" y="22"/>
                    </a:lnTo>
                    <a:lnTo>
                      <a:pt x="1267" y="22"/>
                    </a:lnTo>
                    <a:lnTo>
                      <a:pt x="1269" y="22"/>
                    </a:lnTo>
                    <a:lnTo>
                      <a:pt x="1269" y="20"/>
                    </a:lnTo>
                    <a:lnTo>
                      <a:pt x="1269" y="19"/>
                    </a:lnTo>
                    <a:lnTo>
                      <a:pt x="1269" y="17"/>
                    </a:lnTo>
                    <a:lnTo>
                      <a:pt x="1269" y="16"/>
                    </a:lnTo>
                    <a:lnTo>
                      <a:pt x="1269" y="14"/>
                    </a:lnTo>
                    <a:lnTo>
                      <a:pt x="1270" y="14"/>
                    </a:lnTo>
                    <a:lnTo>
                      <a:pt x="1270" y="13"/>
                    </a:lnTo>
                    <a:lnTo>
                      <a:pt x="1270" y="11"/>
                    </a:lnTo>
                    <a:lnTo>
                      <a:pt x="1269" y="9"/>
                    </a:lnTo>
                    <a:lnTo>
                      <a:pt x="1269" y="8"/>
                    </a:lnTo>
                    <a:lnTo>
                      <a:pt x="1269" y="6"/>
                    </a:lnTo>
                    <a:lnTo>
                      <a:pt x="1270" y="6"/>
                    </a:lnTo>
                    <a:lnTo>
                      <a:pt x="1272" y="6"/>
                    </a:lnTo>
                    <a:lnTo>
                      <a:pt x="1272" y="8"/>
                    </a:lnTo>
                    <a:lnTo>
                      <a:pt x="1273" y="8"/>
                    </a:lnTo>
                    <a:lnTo>
                      <a:pt x="1273" y="6"/>
                    </a:lnTo>
                    <a:lnTo>
                      <a:pt x="1275" y="6"/>
                    </a:lnTo>
                    <a:lnTo>
                      <a:pt x="1277" y="8"/>
                    </a:lnTo>
                    <a:lnTo>
                      <a:pt x="1277" y="6"/>
                    </a:lnTo>
                    <a:lnTo>
                      <a:pt x="1278" y="6"/>
                    </a:lnTo>
                    <a:lnTo>
                      <a:pt x="1280" y="6"/>
                    </a:lnTo>
                    <a:lnTo>
                      <a:pt x="1281" y="6"/>
                    </a:lnTo>
                    <a:lnTo>
                      <a:pt x="1283" y="6"/>
                    </a:lnTo>
                    <a:lnTo>
                      <a:pt x="1285" y="6"/>
                    </a:lnTo>
                    <a:lnTo>
                      <a:pt x="1286" y="6"/>
                    </a:lnTo>
                    <a:lnTo>
                      <a:pt x="1286" y="5"/>
                    </a:lnTo>
                    <a:lnTo>
                      <a:pt x="1288" y="5"/>
                    </a:lnTo>
                    <a:lnTo>
                      <a:pt x="1289" y="5"/>
                    </a:lnTo>
                    <a:lnTo>
                      <a:pt x="1291" y="5"/>
                    </a:lnTo>
                    <a:lnTo>
                      <a:pt x="1292" y="3"/>
                    </a:lnTo>
                    <a:lnTo>
                      <a:pt x="1294" y="3"/>
                    </a:lnTo>
                    <a:lnTo>
                      <a:pt x="1296" y="3"/>
                    </a:lnTo>
                    <a:lnTo>
                      <a:pt x="1297" y="3"/>
                    </a:lnTo>
                    <a:lnTo>
                      <a:pt x="1299" y="3"/>
                    </a:lnTo>
                    <a:lnTo>
                      <a:pt x="1300" y="3"/>
                    </a:lnTo>
                    <a:lnTo>
                      <a:pt x="1302" y="3"/>
                    </a:lnTo>
                    <a:lnTo>
                      <a:pt x="1302" y="5"/>
                    </a:lnTo>
                    <a:lnTo>
                      <a:pt x="1302" y="3"/>
                    </a:lnTo>
                    <a:lnTo>
                      <a:pt x="1304" y="3"/>
                    </a:lnTo>
                    <a:lnTo>
                      <a:pt x="1305" y="3"/>
                    </a:lnTo>
                    <a:lnTo>
                      <a:pt x="1307" y="3"/>
                    </a:lnTo>
                    <a:lnTo>
                      <a:pt x="1308" y="3"/>
                    </a:lnTo>
                    <a:lnTo>
                      <a:pt x="1310" y="3"/>
                    </a:lnTo>
                    <a:lnTo>
                      <a:pt x="1312" y="3"/>
                    </a:lnTo>
                    <a:lnTo>
                      <a:pt x="1313" y="1"/>
                    </a:lnTo>
                    <a:lnTo>
                      <a:pt x="1315" y="1"/>
                    </a:lnTo>
                    <a:lnTo>
                      <a:pt x="1316" y="1"/>
                    </a:lnTo>
                    <a:lnTo>
                      <a:pt x="1318" y="3"/>
                    </a:lnTo>
                    <a:lnTo>
                      <a:pt x="1319" y="3"/>
                    </a:lnTo>
                    <a:lnTo>
                      <a:pt x="1321" y="3"/>
                    </a:lnTo>
                    <a:lnTo>
                      <a:pt x="1321" y="5"/>
                    </a:lnTo>
                    <a:lnTo>
                      <a:pt x="1321" y="3"/>
                    </a:lnTo>
                    <a:lnTo>
                      <a:pt x="1323" y="3"/>
                    </a:lnTo>
                    <a:lnTo>
                      <a:pt x="1323" y="5"/>
                    </a:lnTo>
                    <a:lnTo>
                      <a:pt x="1324" y="5"/>
                    </a:lnTo>
                    <a:lnTo>
                      <a:pt x="1326" y="3"/>
                    </a:lnTo>
                    <a:lnTo>
                      <a:pt x="1327" y="3"/>
                    </a:lnTo>
                    <a:lnTo>
                      <a:pt x="1327" y="1"/>
                    </a:lnTo>
                    <a:lnTo>
                      <a:pt x="1329" y="1"/>
                    </a:lnTo>
                    <a:lnTo>
                      <a:pt x="1329" y="3"/>
                    </a:lnTo>
                    <a:lnTo>
                      <a:pt x="1331" y="3"/>
                    </a:lnTo>
                    <a:lnTo>
                      <a:pt x="1332" y="3"/>
                    </a:lnTo>
                    <a:lnTo>
                      <a:pt x="1334" y="3"/>
                    </a:lnTo>
                    <a:lnTo>
                      <a:pt x="1334" y="1"/>
                    </a:lnTo>
                    <a:lnTo>
                      <a:pt x="1335" y="1"/>
                    </a:lnTo>
                    <a:lnTo>
                      <a:pt x="1337" y="1"/>
                    </a:lnTo>
                    <a:lnTo>
                      <a:pt x="1337" y="0"/>
                    </a:lnTo>
                    <a:lnTo>
                      <a:pt x="1338" y="0"/>
                    </a:lnTo>
                    <a:lnTo>
                      <a:pt x="1340" y="0"/>
                    </a:lnTo>
                    <a:close/>
                    <a:moveTo>
                      <a:pt x="678" y="252"/>
                    </a:moveTo>
                    <a:lnTo>
                      <a:pt x="676" y="252"/>
                    </a:lnTo>
                    <a:lnTo>
                      <a:pt x="675" y="252"/>
                    </a:lnTo>
                    <a:lnTo>
                      <a:pt x="673" y="252"/>
                    </a:lnTo>
                    <a:lnTo>
                      <a:pt x="672" y="253"/>
                    </a:lnTo>
                    <a:lnTo>
                      <a:pt x="670" y="253"/>
                    </a:lnTo>
                    <a:lnTo>
                      <a:pt x="670" y="255"/>
                    </a:lnTo>
                    <a:lnTo>
                      <a:pt x="668" y="255"/>
                    </a:lnTo>
                    <a:lnTo>
                      <a:pt x="668" y="257"/>
                    </a:lnTo>
                    <a:lnTo>
                      <a:pt x="667" y="257"/>
                    </a:lnTo>
                    <a:lnTo>
                      <a:pt x="665" y="257"/>
                    </a:lnTo>
                    <a:lnTo>
                      <a:pt x="664" y="258"/>
                    </a:lnTo>
                    <a:lnTo>
                      <a:pt x="662" y="258"/>
                    </a:lnTo>
                    <a:lnTo>
                      <a:pt x="660" y="258"/>
                    </a:lnTo>
                    <a:lnTo>
                      <a:pt x="660" y="260"/>
                    </a:lnTo>
                    <a:lnTo>
                      <a:pt x="660" y="261"/>
                    </a:lnTo>
                    <a:lnTo>
                      <a:pt x="659" y="261"/>
                    </a:lnTo>
                    <a:lnTo>
                      <a:pt x="659" y="263"/>
                    </a:lnTo>
                    <a:lnTo>
                      <a:pt x="659" y="264"/>
                    </a:lnTo>
                    <a:lnTo>
                      <a:pt x="657" y="264"/>
                    </a:lnTo>
                    <a:lnTo>
                      <a:pt x="657" y="266"/>
                    </a:lnTo>
                    <a:lnTo>
                      <a:pt x="659" y="266"/>
                    </a:lnTo>
                    <a:lnTo>
                      <a:pt x="657" y="266"/>
                    </a:lnTo>
                    <a:lnTo>
                      <a:pt x="657" y="268"/>
                    </a:lnTo>
                    <a:lnTo>
                      <a:pt x="657" y="269"/>
                    </a:lnTo>
                    <a:lnTo>
                      <a:pt x="657" y="271"/>
                    </a:lnTo>
                    <a:lnTo>
                      <a:pt x="657" y="272"/>
                    </a:lnTo>
                    <a:lnTo>
                      <a:pt x="656" y="272"/>
                    </a:lnTo>
                    <a:lnTo>
                      <a:pt x="656" y="274"/>
                    </a:lnTo>
                    <a:lnTo>
                      <a:pt x="657" y="274"/>
                    </a:lnTo>
                    <a:lnTo>
                      <a:pt x="657" y="276"/>
                    </a:lnTo>
                    <a:lnTo>
                      <a:pt x="656" y="276"/>
                    </a:lnTo>
                    <a:lnTo>
                      <a:pt x="656" y="277"/>
                    </a:lnTo>
                    <a:lnTo>
                      <a:pt x="656" y="279"/>
                    </a:lnTo>
                    <a:lnTo>
                      <a:pt x="656" y="280"/>
                    </a:lnTo>
                    <a:lnTo>
                      <a:pt x="657" y="282"/>
                    </a:lnTo>
                    <a:lnTo>
                      <a:pt x="657" y="283"/>
                    </a:lnTo>
                    <a:lnTo>
                      <a:pt x="657" y="285"/>
                    </a:lnTo>
                    <a:lnTo>
                      <a:pt x="657" y="287"/>
                    </a:lnTo>
                    <a:lnTo>
                      <a:pt x="657" y="288"/>
                    </a:lnTo>
                    <a:lnTo>
                      <a:pt x="657" y="290"/>
                    </a:lnTo>
                    <a:lnTo>
                      <a:pt x="659" y="290"/>
                    </a:lnTo>
                    <a:lnTo>
                      <a:pt x="659" y="291"/>
                    </a:lnTo>
                    <a:lnTo>
                      <a:pt x="659" y="293"/>
                    </a:lnTo>
                    <a:lnTo>
                      <a:pt x="659" y="295"/>
                    </a:lnTo>
                    <a:lnTo>
                      <a:pt x="660" y="295"/>
                    </a:lnTo>
                    <a:lnTo>
                      <a:pt x="660" y="296"/>
                    </a:lnTo>
                    <a:lnTo>
                      <a:pt x="660" y="298"/>
                    </a:lnTo>
                    <a:lnTo>
                      <a:pt x="660" y="299"/>
                    </a:lnTo>
                    <a:lnTo>
                      <a:pt x="662" y="299"/>
                    </a:lnTo>
                    <a:lnTo>
                      <a:pt x="662" y="301"/>
                    </a:lnTo>
                    <a:lnTo>
                      <a:pt x="662" y="302"/>
                    </a:lnTo>
                    <a:lnTo>
                      <a:pt x="664" y="302"/>
                    </a:lnTo>
                    <a:lnTo>
                      <a:pt x="664" y="304"/>
                    </a:lnTo>
                    <a:lnTo>
                      <a:pt x="665" y="304"/>
                    </a:lnTo>
                    <a:lnTo>
                      <a:pt x="665" y="306"/>
                    </a:lnTo>
                    <a:lnTo>
                      <a:pt x="667" y="306"/>
                    </a:lnTo>
                    <a:lnTo>
                      <a:pt x="667" y="304"/>
                    </a:lnTo>
                    <a:lnTo>
                      <a:pt x="667" y="302"/>
                    </a:lnTo>
                    <a:lnTo>
                      <a:pt x="668" y="301"/>
                    </a:lnTo>
                    <a:lnTo>
                      <a:pt x="668" y="299"/>
                    </a:lnTo>
                    <a:lnTo>
                      <a:pt x="670" y="299"/>
                    </a:lnTo>
                    <a:lnTo>
                      <a:pt x="670" y="298"/>
                    </a:lnTo>
                    <a:lnTo>
                      <a:pt x="672" y="298"/>
                    </a:lnTo>
                    <a:lnTo>
                      <a:pt x="673" y="298"/>
                    </a:lnTo>
                    <a:lnTo>
                      <a:pt x="673" y="296"/>
                    </a:lnTo>
                    <a:lnTo>
                      <a:pt x="675" y="296"/>
                    </a:lnTo>
                    <a:lnTo>
                      <a:pt x="675" y="298"/>
                    </a:lnTo>
                    <a:lnTo>
                      <a:pt x="675" y="299"/>
                    </a:lnTo>
                    <a:lnTo>
                      <a:pt x="676" y="299"/>
                    </a:lnTo>
                    <a:lnTo>
                      <a:pt x="678" y="299"/>
                    </a:lnTo>
                    <a:lnTo>
                      <a:pt x="679" y="299"/>
                    </a:lnTo>
                    <a:lnTo>
                      <a:pt x="681" y="299"/>
                    </a:lnTo>
                    <a:lnTo>
                      <a:pt x="681" y="298"/>
                    </a:lnTo>
                    <a:lnTo>
                      <a:pt x="681" y="296"/>
                    </a:lnTo>
                    <a:lnTo>
                      <a:pt x="679" y="296"/>
                    </a:lnTo>
                    <a:lnTo>
                      <a:pt x="678" y="296"/>
                    </a:lnTo>
                    <a:lnTo>
                      <a:pt x="678" y="295"/>
                    </a:lnTo>
                    <a:lnTo>
                      <a:pt x="678" y="293"/>
                    </a:lnTo>
                    <a:lnTo>
                      <a:pt x="676" y="293"/>
                    </a:lnTo>
                    <a:lnTo>
                      <a:pt x="678" y="291"/>
                    </a:lnTo>
                    <a:lnTo>
                      <a:pt x="678" y="290"/>
                    </a:lnTo>
                    <a:lnTo>
                      <a:pt x="678" y="288"/>
                    </a:lnTo>
                    <a:lnTo>
                      <a:pt x="676" y="288"/>
                    </a:lnTo>
                    <a:lnTo>
                      <a:pt x="676" y="287"/>
                    </a:lnTo>
                    <a:lnTo>
                      <a:pt x="676" y="285"/>
                    </a:lnTo>
                    <a:lnTo>
                      <a:pt x="676" y="283"/>
                    </a:lnTo>
                    <a:lnTo>
                      <a:pt x="675" y="283"/>
                    </a:lnTo>
                    <a:lnTo>
                      <a:pt x="673" y="283"/>
                    </a:lnTo>
                    <a:lnTo>
                      <a:pt x="673" y="282"/>
                    </a:lnTo>
                    <a:lnTo>
                      <a:pt x="672" y="280"/>
                    </a:lnTo>
                    <a:lnTo>
                      <a:pt x="672" y="279"/>
                    </a:lnTo>
                    <a:lnTo>
                      <a:pt x="673" y="279"/>
                    </a:lnTo>
                    <a:lnTo>
                      <a:pt x="673" y="277"/>
                    </a:lnTo>
                    <a:lnTo>
                      <a:pt x="675" y="276"/>
                    </a:lnTo>
                    <a:lnTo>
                      <a:pt x="676" y="274"/>
                    </a:lnTo>
                    <a:lnTo>
                      <a:pt x="678" y="274"/>
                    </a:lnTo>
                    <a:lnTo>
                      <a:pt x="679" y="274"/>
                    </a:lnTo>
                    <a:lnTo>
                      <a:pt x="681" y="274"/>
                    </a:lnTo>
                    <a:lnTo>
                      <a:pt x="683" y="274"/>
                    </a:lnTo>
                    <a:lnTo>
                      <a:pt x="683" y="272"/>
                    </a:lnTo>
                    <a:lnTo>
                      <a:pt x="684" y="272"/>
                    </a:lnTo>
                    <a:lnTo>
                      <a:pt x="686" y="271"/>
                    </a:lnTo>
                    <a:lnTo>
                      <a:pt x="686" y="269"/>
                    </a:lnTo>
                    <a:lnTo>
                      <a:pt x="686" y="268"/>
                    </a:lnTo>
                    <a:lnTo>
                      <a:pt x="687" y="268"/>
                    </a:lnTo>
                    <a:lnTo>
                      <a:pt x="689" y="268"/>
                    </a:lnTo>
                    <a:lnTo>
                      <a:pt x="691" y="268"/>
                    </a:lnTo>
                    <a:lnTo>
                      <a:pt x="691" y="266"/>
                    </a:lnTo>
                    <a:lnTo>
                      <a:pt x="691" y="264"/>
                    </a:lnTo>
                    <a:lnTo>
                      <a:pt x="691" y="263"/>
                    </a:lnTo>
                    <a:lnTo>
                      <a:pt x="691" y="261"/>
                    </a:lnTo>
                    <a:lnTo>
                      <a:pt x="691" y="260"/>
                    </a:lnTo>
                    <a:lnTo>
                      <a:pt x="689" y="260"/>
                    </a:lnTo>
                    <a:lnTo>
                      <a:pt x="687" y="260"/>
                    </a:lnTo>
                    <a:lnTo>
                      <a:pt x="686" y="260"/>
                    </a:lnTo>
                    <a:lnTo>
                      <a:pt x="686" y="258"/>
                    </a:lnTo>
                    <a:lnTo>
                      <a:pt x="684" y="258"/>
                    </a:lnTo>
                    <a:lnTo>
                      <a:pt x="684" y="257"/>
                    </a:lnTo>
                    <a:lnTo>
                      <a:pt x="683" y="255"/>
                    </a:lnTo>
                    <a:lnTo>
                      <a:pt x="681" y="253"/>
                    </a:lnTo>
                    <a:lnTo>
                      <a:pt x="679" y="253"/>
                    </a:lnTo>
                    <a:lnTo>
                      <a:pt x="679" y="252"/>
                    </a:lnTo>
                    <a:lnTo>
                      <a:pt x="678" y="252"/>
                    </a:lnTo>
                    <a:close/>
                    <a:moveTo>
                      <a:pt x="1346" y="380"/>
                    </a:moveTo>
                    <a:lnTo>
                      <a:pt x="1343" y="380"/>
                    </a:lnTo>
                    <a:lnTo>
                      <a:pt x="1342" y="382"/>
                    </a:lnTo>
                    <a:lnTo>
                      <a:pt x="1340" y="382"/>
                    </a:lnTo>
                    <a:lnTo>
                      <a:pt x="1340" y="380"/>
                    </a:lnTo>
                    <a:lnTo>
                      <a:pt x="1338" y="380"/>
                    </a:lnTo>
                    <a:lnTo>
                      <a:pt x="1337" y="380"/>
                    </a:lnTo>
                    <a:lnTo>
                      <a:pt x="1337" y="382"/>
                    </a:lnTo>
                    <a:lnTo>
                      <a:pt x="1335" y="382"/>
                    </a:lnTo>
                    <a:lnTo>
                      <a:pt x="1334" y="382"/>
                    </a:lnTo>
                    <a:lnTo>
                      <a:pt x="1334" y="383"/>
                    </a:lnTo>
                    <a:lnTo>
                      <a:pt x="1332" y="383"/>
                    </a:lnTo>
                    <a:lnTo>
                      <a:pt x="1332" y="385"/>
                    </a:lnTo>
                    <a:lnTo>
                      <a:pt x="1331" y="385"/>
                    </a:lnTo>
                    <a:lnTo>
                      <a:pt x="1331" y="386"/>
                    </a:lnTo>
                    <a:lnTo>
                      <a:pt x="1331" y="388"/>
                    </a:lnTo>
                    <a:lnTo>
                      <a:pt x="1331" y="390"/>
                    </a:lnTo>
                    <a:lnTo>
                      <a:pt x="1331" y="391"/>
                    </a:lnTo>
                    <a:lnTo>
                      <a:pt x="1329" y="391"/>
                    </a:lnTo>
                    <a:lnTo>
                      <a:pt x="1329" y="393"/>
                    </a:lnTo>
                    <a:lnTo>
                      <a:pt x="1327" y="393"/>
                    </a:lnTo>
                    <a:lnTo>
                      <a:pt x="1327" y="394"/>
                    </a:lnTo>
                    <a:lnTo>
                      <a:pt x="1327" y="396"/>
                    </a:lnTo>
                    <a:lnTo>
                      <a:pt x="1326" y="396"/>
                    </a:lnTo>
                    <a:lnTo>
                      <a:pt x="1326" y="398"/>
                    </a:lnTo>
                    <a:lnTo>
                      <a:pt x="1326" y="399"/>
                    </a:lnTo>
                    <a:lnTo>
                      <a:pt x="1324" y="401"/>
                    </a:lnTo>
                    <a:lnTo>
                      <a:pt x="1323" y="401"/>
                    </a:lnTo>
                    <a:lnTo>
                      <a:pt x="1321" y="401"/>
                    </a:lnTo>
                    <a:lnTo>
                      <a:pt x="1321" y="402"/>
                    </a:lnTo>
                    <a:lnTo>
                      <a:pt x="1321" y="404"/>
                    </a:lnTo>
                    <a:lnTo>
                      <a:pt x="1321" y="405"/>
                    </a:lnTo>
                    <a:lnTo>
                      <a:pt x="1321" y="407"/>
                    </a:lnTo>
                    <a:lnTo>
                      <a:pt x="1323" y="407"/>
                    </a:lnTo>
                    <a:lnTo>
                      <a:pt x="1323" y="409"/>
                    </a:lnTo>
                    <a:lnTo>
                      <a:pt x="1323" y="410"/>
                    </a:lnTo>
                    <a:lnTo>
                      <a:pt x="1321" y="410"/>
                    </a:lnTo>
                    <a:lnTo>
                      <a:pt x="1321" y="412"/>
                    </a:lnTo>
                    <a:lnTo>
                      <a:pt x="1323" y="412"/>
                    </a:lnTo>
                    <a:lnTo>
                      <a:pt x="1323" y="413"/>
                    </a:lnTo>
                    <a:lnTo>
                      <a:pt x="1324" y="413"/>
                    </a:lnTo>
                    <a:lnTo>
                      <a:pt x="1324" y="415"/>
                    </a:lnTo>
                    <a:lnTo>
                      <a:pt x="1326" y="415"/>
                    </a:lnTo>
                    <a:lnTo>
                      <a:pt x="1326" y="417"/>
                    </a:lnTo>
                    <a:lnTo>
                      <a:pt x="1326" y="418"/>
                    </a:lnTo>
                    <a:lnTo>
                      <a:pt x="1327" y="418"/>
                    </a:lnTo>
                    <a:lnTo>
                      <a:pt x="1327" y="420"/>
                    </a:lnTo>
                    <a:lnTo>
                      <a:pt x="1329" y="420"/>
                    </a:lnTo>
                    <a:lnTo>
                      <a:pt x="1329" y="421"/>
                    </a:lnTo>
                    <a:lnTo>
                      <a:pt x="1329" y="423"/>
                    </a:lnTo>
                    <a:lnTo>
                      <a:pt x="1329" y="424"/>
                    </a:lnTo>
                    <a:lnTo>
                      <a:pt x="1327" y="426"/>
                    </a:lnTo>
                    <a:lnTo>
                      <a:pt x="1327" y="428"/>
                    </a:lnTo>
                    <a:lnTo>
                      <a:pt x="1327" y="429"/>
                    </a:lnTo>
                    <a:lnTo>
                      <a:pt x="1329" y="429"/>
                    </a:lnTo>
                    <a:lnTo>
                      <a:pt x="1329" y="431"/>
                    </a:lnTo>
                    <a:lnTo>
                      <a:pt x="1331" y="431"/>
                    </a:lnTo>
                    <a:lnTo>
                      <a:pt x="1332" y="431"/>
                    </a:lnTo>
                    <a:lnTo>
                      <a:pt x="1334" y="432"/>
                    </a:lnTo>
                    <a:lnTo>
                      <a:pt x="1334" y="434"/>
                    </a:lnTo>
                    <a:lnTo>
                      <a:pt x="1335" y="434"/>
                    </a:lnTo>
                    <a:lnTo>
                      <a:pt x="1335" y="436"/>
                    </a:lnTo>
                    <a:lnTo>
                      <a:pt x="1337" y="436"/>
                    </a:lnTo>
                    <a:lnTo>
                      <a:pt x="1338" y="436"/>
                    </a:lnTo>
                    <a:lnTo>
                      <a:pt x="1338" y="434"/>
                    </a:lnTo>
                    <a:lnTo>
                      <a:pt x="1340" y="434"/>
                    </a:lnTo>
                    <a:lnTo>
                      <a:pt x="1342" y="436"/>
                    </a:lnTo>
                    <a:lnTo>
                      <a:pt x="1342" y="437"/>
                    </a:lnTo>
                    <a:lnTo>
                      <a:pt x="1343" y="437"/>
                    </a:lnTo>
                    <a:lnTo>
                      <a:pt x="1343" y="439"/>
                    </a:lnTo>
                    <a:lnTo>
                      <a:pt x="1345" y="439"/>
                    </a:lnTo>
                    <a:lnTo>
                      <a:pt x="1346" y="439"/>
                    </a:lnTo>
                    <a:lnTo>
                      <a:pt x="1348" y="439"/>
                    </a:lnTo>
                    <a:lnTo>
                      <a:pt x="1346" y="439"/>
                    </a:lnTo>
                    <a:lnTo>
                      <a:pt x="1346" y="440"/>
                    </a:lnTo>
                    <a:lnTo>
                      <a:pt x="1348" y="442"/>
                    </a:lnTo>
                    <a:lnTo>
                      <a:pt x="1348" y="444"/>
                    </a:lnTo>
                    <a:lnTo>
                      <a:pt x="1350" y="444"/>
                    </a:lnTo>
                    <a:lnTo>
                      <a:pt x="1350" y="445"/>
                    </a:lnTo>
                    <a:lnTo>
                      <a:pt x="1351" y="445"/>
                    </a:lnTo>
                    <a:lnTo>
                      <a:pt x="1351" y="447"/>
                    </a:lnTo>
                    <a:lnTo>
                      <a:pt x="1353" y="448"/>
                    </a:lnTo>
                    <a:lnTo>
                      <a:pt x="1354" y="448"/>
                    </a:lnTo>
                    <a:lnTo>
                      <a:pt x="1356" y="448"/>
                    </a:lnTo>
                    <a:lnTo>
                      <a:pt x="1356" y="450"/>
                    </a:lnTo>
                    <a:lnTo>
                      <a:pt x="1357" y="450"/>
                    </a:lnTo>
                    <a:lnTo>
                      <a:pt x="1357" y="451"/>
                    </a:lnTo>
                    <a:lnTo>
                      <a:pt x="1357" y="453"/>
                    </a:lnTo>
                    <a:lnTo>
                      <a:pt x="1359" y="453"/>
                    </a:lnTo>
                    <a:lnTo>
                      <a:pt x="1361" y="453"/>
                    </a:lnTo>
                    <a:lnTo>
                      <a:pt x="1362" y="453"/>
                    </a:lnTo>
                    <a:lnTo>
                      <a:pt x="1364" y="453"/>
                    </a:lnTo>
                    <a:lnTo>
                      <a:pt x="1364" y="455"/>
                    </a:lnTo>
                    <a:lnTo>
                      <a:pt x="1365" y="455"/>
                    </a:lnTo>
                    <a:lnTo>
                      <a:pt x="1367" y="455"/>
                    </a:lnTo>
                    <a:lnTo>
                      <a:pt x="1367" y="453"/>
                    </a:lnTo>
                    <a:lnTo>
                      <a:pt x="1369" y="453"/>
                    </a:lnTo>
                    <a:lnTo>
                      <a:pt x="1369" y="451"/>
                    </a:lnTo>
                    <a:lnTo>
                      <a:pt x="1370" y="451"/>
                    </a:lnTo>
                    <a:lnTo>
                      <a:pt x="1372" y="448"/>
                    </a:lnTo>
                    <a:lnTo>
                      <a:pt x="1372" y="447"/>
                    </a:lnTo>
                    <a:lnTo>
                      <a:pt x="1372" y="444"/>
                    </a:lnTo>
                    <a:lnTo>
                      <a:pt x="1372" y="442"/>
                    </a:lnTo>
                    <a:lnTo>
                      <a:pt x="1373" y="444"/>
                    </a:lnTo>
                    <a:lnTo>
                      <a:pt x="1376" y="444"/>
                    </a:lnTo>
                    <a:lnTo>
                      <a:pt x="1378" y="444"/>
                    </a:lnTo>
                    <a:lnTo>
                      <a:pt x="1380" y="442"/>
                    </a:lnTo>
                    <a:lnTo>
                      <a:pt x="1381" y="442"/>
                    </a:lnTo>
                    <a:lnTo>
                      <a:pt x="1383" y="442"/>
                    </a:lnTo>
                    <a:lnTo>
                      <a:pt x="1383" y="444"/>
                    </a:lnTo>
                    <a:lnTo>
                      <a:pt x="1384" y="444"/>
                    </a:lnTo>
                    <a:lnTo>
                      <a:pt x="1384" y="442"/>
                    </a:lnTo>
                    <a:lnTo>
                      <a:pt x="1384" y="440"/>
                    </a:lnTo>
                    <a:lnTo>
                      <a:pt x="1384" y="439"/>
                    </a:lnTo>
                    <a:lnTo>
                      <a:pt x="1384" y="437"/>
                    </a:lnTo>
                    <a:lnTo>
                      <a:pt x="1384" y="436"/>
                    </a:lnTo>
                    <a:lnTo>
                      <a:pt x="1384" y="434"/>
                    </a:lnTo>
                    <a:lnTo>
                      <a:pt x="1383" y="434"/>
                    </a:lnTo>
                    <a:lnTo>
                      <a:pt x="1383" y="432"/>
                    </a:lnTo>
                    <a:lnTo>
                      <a:pt x="1381" y="431"/>
                    </a:lnTo>
                    <a:lnTo>
                      <a:pt x="1381" y="429"/>
                    </a:lnTo>
                    <a:lnTo>
                      <a:pt x="1380" y="428"/>
                    </a:lnTo>
                    <a:lnTo>
                      <a:pt x="1380" y="424"/>
                    </a:lnTo>
                    <a:lnTo>
                      <a:pt x="1380" y="423"/>
                    </a:lnTo>
                    <a:lnTo>
                      <a:pt x="1380" y="421"/>
                    </a:lnTo>
                    <a:lnTo>
                      <a:pt x="1381" y="421"/>
                    </a:lnTo>
                    <a:lnTo>
                      <a:pt x="1383" y="421"/>
                    </a:lnTo>
                    <a:lnTo>
                      <a:pt x="1384" y="423"/>
                    </a:lnTo>
                    <a:lnTo>
                      <a:pt x="1386" y="423"/>
                    </a:lnTo>
                    <a:lnTo>
                      <a:pt x="1388" y="423"/>
                    </a:lnTo>
                    <a:lnTo>
                      <a:pt x="1389" y="423"/>
                    </a:lnTo>
                    <a:lnTo>
                      <a:pt x="1389" y="424"/>
                    </a:lnTo>
                    <a:lnTo>
                      <a:pt x="1391" y="424"/>
                    </a:lnTo>
                    <a:lnTo>
                      <a:pt x="1392" y="423"/>
                    </a:lnTo>
                    <a:lnTo>
                      <a:pt x="1391" y="421"/>
                    </a:lnTo>
                    <a:lnTo>
                      <a:pt x="1391" y="420"/>
                    </a:lnTo>
                    <a:lnTo>
                      <a:pt x="1391" y="418"/>
                    </a:lnTo>
                    <a:lnTo>
                      <a:pt x="1392" y="417"/>
                    </a:lnTo>
                    <a:lnTo>
                      <a:pt x="1392" y="418"/>
                    </a:lnTo>
                    <a:lnTo>
                      <a:pt x="1392" y="417"/>
                    </a:lnTo>
                    <a:lnTo>
                      <a:pt x="1394" y="417"/>
                    </a:lnTo>
                    <a:lnTo>
                      <a:pt x="1394" y="415"/>
                    </a:lnTo>
                    <a:lnTo>
                      <a:pt x="1394" y="413"/>
                    </a:lnTo>
                    <a:lnTo>
                      <a:pt x="1395" y="412"/>
                    </a:lnTo>
                    <a:lnTo>
                      <a:pt x="1394" y="412"/>
                    </a:lnTo>
                    <a:lnTo>
                      <a:pt x="1394" y="410"/>
                    </a:lnTo>
                    <a:lnTo>
                      <a:pt x="1394" y="409"/>
                    </a:lnTo>
                    <a:lnTo>
                      <a:pt x="1394" y="407"/>
                    </a:lnTo>
                    <a:lnTo>
                      <a:pt x="1394" y="405"/>
                    </a:lnTo>
                    <a:lnTo>
                      <a:pt x="1395" y="405"/>
                    </a:lnTo>
                    <a:lnTo>
                      <a:pt x="1395" y="404"/>
                    </a:lnTo>
                    <a:lnTo>
                      <a:pt x="1394" y="402"/>
                    </a:lnTo>
                    <a:lnTo>
                      <a:pt x="1394" y="401"/>
                    </a:lnTo>
                    <a:lnTo>
                      <a:pt x="1392" y="401"/>
                    </a:lnTo>
                    <a:lnTo>
                      <a:pt x="1392" y="399"/>
                    </a:lnTo>
                    <a:lnTo>
                      <a:pt x="1391" y="398"/>
                    </a:lnTo>
                    <a:lnTo>
                      <a:pt x="1392" y="396"/>
                    </a:lnTo>
                    <a:lnTo>
                      <a:pt x="1391" y="394"/>
                    </a:lnTo>
                    <a:lnTo>
                      <a:pt x="1391" y="393"/>
                    </a:lnTo>
                    <a:lnTo>
                      <a:pt x="1389" y="391"/>
                    </a:lnTo>
                    <a:lnTo>
                      <a:pt x="1388" y="390"/>
                    </a:lnTo>
                    <a:lnTo>
                      <a:pt x="1388" y="388"/>
                    </a:lnTo>
                    <a:lnTo>
                      <a:pt x="1388" y="386"/>
                    </a:lnTo>
                    <a:lnTo>
                      <a:pt x="1388" y="385"/>
                    </a:lnTo>
                    <a:lnTo>
                      <a:pt x="1388" y="383"/>
                    </a:lnTo>
                    <a:lnTo>
                      <a:pt x="1386" y="382"/>
                    </a:lnTo>
                    <a:lnTo>
                      <a:pt x="1386" y="380"/>
                    </a:lnTo>
                    <a:lnTo>
                      <a:pt x="1384" y="380"/>
                    </a:lnTo>
                    <a:lnTo>
                      <a:pt x="1383" y="380"/>
                    </a:lnTo>
                    <a:lnTo>
                      <a:pt x="1383" y="382"/>
                    </a:lnTo>
                    <a:lnTo>
                      <a:pt x="1381" y="382"/>
                    </a:lnTo>
                    <a:lnTo>
                      <a:pt x="1380" y="382"/>
                    </a:lnTo>
                    <a:lnTo>
                      <a:pt x="1378" y="382"/>
                    </a:lnTo>
                    <a:lnTo>
                      <a:pt x="1376" y="382"/>
                    </a:lnTo>
                    <a:lnTo>
                      <a:pt x="1373" y="382"/>
                    </a:lnTo>
                    <a:lnTo>
                      <a:pt x="1373" y="383"/>
                    </a:lnTo>
                    <a:lnTo>
                      <a:pt x="1372" y="382"/>
                    </a:lnTo>
                    <a:lnTo>
                      <a:pt x="1372" y="383"/>
                    </a:lnTo>
                    <a:lnTo>
                      <a:pt x="1370" y="383"/>
                    </a:lnTo>
                    <a:lnTo>
                      <a:pt x="1370" y="382"/>
                    </a:lnTo>
                    <a:lnTo>
                      <a:pt x="1370" y="380"/>
                    </a:lnTo>
                    <a:lnTo>
                      <a:pt x="1369" y="380"/>
                    </a:lnTo>
                    <a:lnTo>
                      <a:pt x="1369" y="379"/>
                    </a:lnTo>
                    <a:lnTo>
                      <a:pt x="1369" y="377"/>
                    </a:lnTo>
                    <a:lnTo>
                      <a:pt x="1367" y="377"/>
                    </a:lnTo>
                    <a:lnTo>
                      <a:pt x="1367" y="379"/>
                    </a:lnTo>
                    <a:lnTo>
                      <a:pt x="1365" y="379"/>
                    </a:lnTo>
                    <a:lnTo>
                      <a:pt x="1365" y="380"/>
                    </a:lnTo>
                    <a:lnTo>
                      <a:pt x="1364" y="380"/>
                    </a:lnTo>
                    <a:lnTo>
                      <a:pt x="1362" y="382"/>
                    </a:lnTo>
                    <a:lnTo>
                      <a:pt x="1362" y="383"/>
                    </a:lnTo>
                    <a:lnTo>
                      <a:pt x="1361" y="383"/>
                    </a:lnTo>
                    <a:lnTo>
                      <a:pt x="1359" y="382"/>
                    </a:lnTo>
                    <a:lnTo>
                      <a:pt x="1359" y="380"/>
                    </a:lnTo>
                    <a:lnTo>
                      <a:pt x="1357" y="380"/>
                    </a:lnTo>
                    <a:lnTo>
                      <a:pt x="1357" y="379"/>
                    </a:lnTo>
                    <a:lnTo>
                      <a:pt x="1357" y="377"/>
                    </a:lnTo>
                    <a:lnTo>
                      <a:pt x="1356" y="377"/>
                    </a:lnTo>
                    <a:lnTo>
                      <a:pt x="1354" y="377"/>
                    </a:lnTo>
                    <a:lnTo>
                      <a:pt x="1353" y="377"/>
                    </a:lnTo>
                    <a:lnTo>
                      <a:pt x="1353" y="379"/>
                    </a:lnTo>
                    <a:lnTo>
                      <a:pt x="1351" y="379"/>
                    </a:lnTo>
                    <a:lnTo>
                      <a:pt x="1350" y="379"/>
                    </a:lnTo>
                    <a:lnTo>
                      <a:pt x="1350" y="380"/>
                    </a:lnTo>
                    <a:lnTo>
                      <a:pt x="1348" y="380"/>
                    </a:lnTo>
                    <a:lnTo>
                      <a:pt x="1346" y="380"/>
                    </a:lnTo>
                    <a:close/>
                    <a:moveTo>
                      <a:pt x="618" y="453"/>
                    </a:moveTo>
                    <a:lnTo>
                      <a:pt x="618" y="451"/>
                    </a:lnTo>
                    <a:lnTo>
                      <a:pt x="616" y="451"/>
                    </a:lnTo>
                    <a:lnTo>
                      <a:pt x="616" y="450"/>
                    </a:lnTo>
                    <a:lnTo>
                      <a:pt x="616" y="448"/>
                    </a:lnTo>
                    <a:lnTo>
                      <a:pt x="615" y="448"/>
                    </a:lnTo>
                    <a:lnTo>
                      <a:pt x="615" y="447"/>
                    </a:lnTo>
                    <a:lnTo>
                      <a:pt x="613" y="447"/>
                    </a:lnTo>
                    <a:lnTo>
                      <a:pt x="613" y="445"/>
                    </a:lnTo>
                    <a:lnTo>
                      <a:pt x="613" y="444"/>
                    </a:lnTo>
                    <a:lnTo>
                      <a:pt x="611" y="444"/>
                    </a:lnTo>
                    <a:lnTo>
                      <a:pt x="610" y="444"/>
                    </a:lnTo>
                    <a:lnTo>
                      <a:pt x="610" y="445"/>
                    </a:lnTo>
                    <a:lnTo>
                      <a:pt x="610" y="444"/>
                    </a:lnTo>
                    <a:lnTo>
                      <a:pt x="608" y="444"/>
                    </a:lnTo>
                    <a:lnTo>
                      <a:pt x="608" y="442"/>
                    </a:lnTo>
                    <a:lnTo>
                      <a:pt x="608" y="440"/>
                    </a:lnTo>
                    <a:lnTo>
                      <a:pt x="608" y="439"/>
                    </a:lnTo>
                    <a:lnTo>
                      <a:pt x="608" y="437"/>
                    </a:lnTo>
                    <a:lnTo>
                      <a:pt x="610" y="437"/>
                    </a:lnTo>
                    <a:lnTo>
                      <a:pt x="610" y="436"/>
                    </a:lnTo>
                    <a:lnTo>
                      <a:pt x="610" y="434"/>
                    </a:lnTo>
                    <a:lnTo>
                      <a:pt x="610" y="432"/>
                    </a:lnTo>
                    <a:lnTo>
                      <a:pt x="610" y="431"/>
                    </a:lnTo>
                    <a:lnTo>
                      <a:pt x="610" y="429"/>
                    </a:lnTo>
                    <a:lnTo>
                      <a:pt x="610" y="428"/>
                    </a:lnTo>
                    <a:lnTo>
                      <a:pt x="610" y="426"/>
                    </a:lnTo>
                    <a:lnTo>
                      <a:pt x="611" y="426"/>
                    </a:lnTo>
                    <a:lnTo>
                      <a:pt x="611" y="424"/>
                    </a:lnTo>
                    <a:lnTo>
                      <a:pt x="611" y="423"/>
                    </a:lnTo>
                    <a:lnTo>
                      <a:pt x="611" y="421"/>
                    </a:lnTo>
                    <a:lnTo>
                      <a:pt x="611" y="420"/>
                    </a:lnTo>
                    <a:lnTo>
                      <a:pt x="611" y="418"/>
                    </a:lnTo>
                    <a:lnTo>
                      <a:pt x="611" y="417"/>
                    </a:lnTo>
                    <a:lnTo>
                      <a:pt x="611" y="415"/>
                    </a:lnTo>
                    <a:lnTo>
                      <a:pt x="613" y="415"/>
                    </a:lnTo>
                    <a:lnTo>
                      <a:pt x="611" y="415"/>
                    </a:lnTo>
                    <a:lnTo>
                      <a:pt x="610" y="415"/>
                    </a:lnTo>
                    <a:lnTo>
                      <a:pt x="610" y="417"/>
                    </a:lnTo>
                    <a:lnTo>
                      <a:pt x="608" y="417"/>
                    </a:lnTo>
                    <a:lnTo>
                      <a:pt x="608" y="418"/>
                    </a:lnTo>
                    <a:lnTo>
                      <a:pt x="607" y="418"/>
                    </a:lnTo>
                    <a:lnTo>
                      <a:pt x="607" y="417"/>
                    </a:lnTo>
                    <a:lnTo>
                      <a:pt x="605" y="417"/>
                    </a:lnTo>
                    <a:lnTo>
                      <a:pt x="605" y="415"/>
                    </a:lnTo>
                    <a:lnTo>
                      <a:pt x="603" y="415"/>
                    </a:lnTo>
                    <a:lnTo>
                      <a:pt x="603" y="413"/>
                    </a:lnTo>
                    <a:lnTo>
                      <a:pt x="602" y="413"/>
                    </a:lnTo>
                    <a:lnTo>
                      <a:pt x="600" y="413"/>
                    </a:lnTo>
                    <a:lnTo>
                      <a:pt x="600" y="412"/>
                    </a:lnTo>
                    <a:lnTo>
                      <a:pt x="599" y="412"/>
                    </a:lnTo>
                    <a:lnTo>
                      <a:pt x="597" y="412"/>
                    </a:lnTo>
                    <a:lnTo>
                      <a:pt x="597" y="410"/>
                    </a:lnTo>
                    <a:lnTo>
                      <a:pt x="596" y="409"/>
                    </a:lnTo>
                    <a:lnTo>
                      <a:pt x="594" y="407"/>
                    </a:lnTo>
                    <a:lnTo>
                      <a:pt x="596" y="407"/>
                    </a:lnTo>
                    <a:lnTo>
                      <a:pt x="596" y="405"/>
                    </a:lnTo>
                    <a:lnTo>
                      <a:pt x="596" y="407"/>
                    </a:lnTo>
                    <a:lnTo>
                      <a:pt x="596" y="405"/>
                    </a:lnTo>
                    <a:lnTo>
                      <a:pt x="597" y="405"/>
                    </a:lnTo>
                    <a:lnTo>
                      <a:pt x="599" y="405"/>
                    </a:lnTo>
                    <a:lnTo>
                      <a:pt x="599" y="404"/>
                    </a:lnTo>
                    <a:lnTo>
                      <a:pt x="600" y="404"/>
                    </a:lnTo>
                    <a:lnTo>
                      <a:pt x="600" y="402"/>
                    </a:lnTo>
                    <a:lnTo>
                      <a:pt x="599" y="402"/>
                    </a:lnTo>
                    <a:lnTo>
                      <a:pt x="599" y="401"/>
                    </a:lnTo>
                    <a:lnTo>
                      <a:pt x="597" y="401"/>
                    </a:lnTo>
                    <a:lnTo>
                      <a:pt x="596" y="401"/>
                    </a:lnTo>
                    <a:lnTo>
                      <a:pt x="594" y="401"/>
                    </a:lnTo>
                    <a:lnTo>
                      <a:pt x="594" y="399"/>
                    </a:lnTo>
                    <a:lnTo>
                      <a:pt x="592" y="399"/>
                    </a:lnTo>
                    <a:lnTo>
                      <a:pt x="592" y="398"/>
                    </a:lnTo>
                    <a:lnTo>
                      <a:pt x="592" y="399"/>
                    </a:lnTo>
                    <a:lnTo>
                      <a:pt x="591" y="399"/>
                    </a:lnTo>
                    <a:lnTo>
                      <a:pt x="591" y="398"/>
                    </a:lnTo>
                    <a:lnTo>
                      <a:pt x="589" y="398"/>
                    </a:lnTo>
                    <a:lnTo>
                      <a:pt x="588" y="398"/>
                    </a:lnTo>
                    <a:lnTo>
                      <a:pt x="586" y="398"/>
                    </a:lnTo>
                    <a:lnTo>
                      <a:pt x="584" y="399"/>
                    </a:lnTo>
                    <a:lnTo>
                      <a:pt x="584" y="398"/>
                    </a:lnTo>
                    <a:lnTo>
                      <a:pt x="583" y="398"/>
                    </a:lnTo>
                    <a:lnTo>
                      <a:pt x="581" y="398"/>
                    </a:lnTo>
                    <a:lnTo>
                      <a:pt x="581" y="399"/>
                    </a:lnTo>
                    <a:lnTo>
                      <a:pt x="581" y="398"/>
                    </a:lnTo>
                    <a:lnTo>
                      <a:pt x="580" y="399"/>
                    </a:lnTo>
                    <a:lnTo>
                      <a:pt x="578" y="399"/>
                    </a:lnTo>
                    <a:lnTo>
                      <a:pt x="577" y="399"/>
                    </a:lnTo>
                    <a:lnTo>
                      <a:pt x="577" y="398"/>
                    </a:lnTo>
                    <a:lnTo>
                      <a:pt x="575" y="398"/>
                    </a:lnTo>
                    <a:lnTo>
                      <a:pt x="573" y="398"/>
                    </a:lnTo>
                    <a:lnTo>
                      <a:pt x="572" y="398"/>
                    </a:lnTo>
                    <a:lnTo>
                      <a:pt x="570" y="398"/>
                    </a:lnTo>
                    <a:lnTo>
                      <a:pt x="569" y="398"/>
                    </a:lnTo>
                    <a:lnTo>
                      <a:pt x="569" y="396"/>
                    </a:lnTo>
                    <a:lnTo>
                      <a:pt x="567" y="396"/>
                    </a:lnTo>
                    <a:lnTo>
                      <a:pt x="567" y="394"/>
                    </a:lnTo>
                    <a:lnTo>
                      <a:pt x="565" y="394"/>
                    </a:lnTo>
                    <a:lnTo>
                      <a:pt x="565" y="396"/>
                    </a:lnTo>
                    <a:lnTo>
                      <a:pt x="564" y="396"/>
                    </a:lnTo>
                    <a:lnTo>
                      <a:pt x="562" y="396"/>
                    </a:lnTo>
                    <a:lnTo>
                      <a:pt x="561" y="396"/>
                    </a:lnTo>
                    <a:lnTo>
                      <a:pt x="559" y="394"/>
                    </a:lnTo>
                    <a:lnTo>
                      <a:pt x="559" y="396"/>
                    </a:lnTo>
                    <a:lnTo>
                      <a:pt x="559" y="398"/>
                    </a:lnTo>
                    <a:lnTo>
                      <a:pt x="559" y="399"/>
                    </a:lnTo>
                    <a:lnTo>
                      <a:pt x="559" y="401"/>
                    </a:lnTo>
                    <a:lnTo>
                      <a:pt x="559" y="402"/>
                    </a:lnTo>
                    <a:lnTo>
                      <a:pt x="558" y="402"/>
                    </a:lnTo>
                    <a:lnTo>
                      <a:pt x="558" y="404"/>
                    </a:lnTo>
                    <a:lnTo>
                      <a:pt x="556" y="405"/>
                    </a:lnTo>
                    <a:lnTo>
                      <a:pt x="558" y="407"/>
                    </a:lnTo>
                    <a:lnTo>
                      <a:pt x="558" y="409"/>
                    </a:lnTo>
                    <a:lnTo>
                      <a:pt x="558" y="410"/>
                    </a:lnTo>
                    <a:lnTo>
                      <a:pt x="556" y="410"/>
                    </a:lnTo>
                    <a:lnTo>
                      <a:pt x="558" y="410"/>
                    </a:lnTo>
                    <a:lnTo>
                      <a:pt x="558" y="412"/>
                    </a:lnTo>
                    <a:lnTo>
                      <a:pt x="558" y="413"/>
                    </a:lnTo>
                    <a:lnTo>
                      <a:pt x="556" y="413"/>
                    </a:lnTo>
                    <a:lnTo>
                      <a:pt x="556" y="415"/>
                    </a:lnTo>
                    <a:lnTo>
                      <a:pt x="556" y="413"/>
                    </a:lnTo>
                    <a:lnTo>
                      <a:pt x="554" y="413"/>
                    </a:lnTo>
                    <a:lnTo>
                      <a:pt x="554" y="415"/>
                    </a:lnTo>
                    <a:lnTo>
                      <a:pt x="554" y="417"/>
                    </a:lnTo>
                    <a:lnTo>
                      <a:pt x="553" y="417"/>
                    </a:lnTo>
                    <a:lnTo>
                      <a:pt x="553" y="418"/>
                    </a:lnTo>
                    <a:lnTo>
                      <a:pt x="553" y="420"/>
                    </a:lnTo>
                    <a:lnTo>
                      <a:pt x="551" y="418"/>
                    </a:lnTo>
                    <a:lnTo>
                      <a:pt x="551" y="420"/>
                    </a:lnTo>
                    <a:lnTo>
                      <a:pt x="551" y="421"/>
                    </a:lnTo>
                    <a:lnTo>
                      <a:pt x="551" y="423"/>
                    </a:lnTo>
                    <a:lnTo>
                      <a:pt x="550" y="423"/>
                    </a:lnTo>
                    <a:lnTo>
                      <a:pt x="550" y="424"/>
                    </a:lnTo>
                    <a:lnTo>
                      <a:pt x="548" y="424"/>
                    </a:lnTo>
                    <a:lnTo>
                      <a:pt x="548" y="426"/>
                    </a:lnTo>
                    <a:lnTo>
                      <a:pt x="550" y="426"/>
                    </a:lnTo>
                    <a:lnTo>
                      <a:pt x="550" y="428"/>
                    </a:lnTo>
                    <a:lnTo>
                      <a:pt x="548" y="428"/>
                    </a:lnTo>
                    <a:lnTo>
                      <a:pt x="548" y="429"/>
                    </a:lnTo>
                    <a:lnTo>
                      <a:pt x="550" y="429"/>
                    </a:lnTo>
                    <a:lnTo>
                      <a:pt x="550" y="431"/>
                    </a:lnTo>
                    <a:lnTo>
                      <a:pt x="548" y="431"/>
                    </a:lnTo>
                    <a:lnTo>
                      <a:pt x="550" y="431"/>
                    </a:lnTo>
                    <a:lnTo>
                      <a:pt x="550" y="432"/>
                    </a:lnTo>
                    <a:lnTo>
                      <a:pt x="548" y="432"/>
                    </a:lnTo>
                    <a:lnTo>
                      <a:pt x="548" y="434"/>
                    </a:lnTo>
                    <a:lnTo>
                      <a:pt x="550" y="434"/>
                    </a:lnTo>
                    <a:lnTo>
                      <a:pt x="548" y="434"/>
                    </a:lnTo>
                    <a:lnTo>
                      <a:pt x="550" y="436"/>
                    </a:lnTo>
                    <a:lnTo>
                      <a:pt x="550" y="437"/>
                    </a:lnTo>
                    <a:lnTo>
                      <a:pt x="550" y="439"/>
                    </a:lnTo>
                    <a:lnTo>
                      <a:pt x="550" y="440"/>
                    </a:lnTo>
                    <a:lnTo>
                      <a:pt x="548" y="440"/>
                    </a:lnTo>
                    <a:lnTo>
                      <a:pt x="548" y="442"/>
                    </a:lnTo>
                    <a:lnTo>
                      <a:pt x="550" y="444"/>
                    </a:lnTo>
                    <a:lnTo>
                      <a:pt x="550" y="445"/>
                    </a:lnTo>
                    <a:lnTo>
                      <a:pt x="550" y="447"/>
                    </a:lnTo>
                    <a:lnTo>
                      <a:pt x="551" y="447"/>
                    </a:lnTo>
                    <a:lnTo>
                      <a:pt x="551" y="448"/>
                    </a:lnTo>
                    <a:lnTo>
                      <a:pt x="553" y="448"/>
                    </a:lnTo>
                    <a:lnTo>
                      <a:pt x="554" y="448"/>
                    </a:lnTo>
                    <a:lnTo>
                      <a:pt x="554" y="450"/>
                    </a:lnTo>
                    <a:lnTo>
                      <a:pt x="556" y="450"/>
                    </a:lnTo>
                    <a:lnTo>
                      <a:pt x="558" y="450"/>
                    </a:lnTo>
                    <a:lnTo>
                      <a:pt x="558" y="448"/>
                    </a:lnTo>
                    <a:lnTo>
                      <a:pt x="556" y="448"/>
                    </a:lnTo>
                    <a:lnTo>
                      <a:pt x="558" y="448"/>
                    </a:lnTo>
                    <a:lnTo>
                      <a:pt x="559" y="448"/>
                    </a:lnTo>
                    <a:lnTo>
                      <a:pt x="561" y="448"/>
                    </a:lnTo>
                    <a:lnTo>
                      <a:pt x="562" y="448"/>
                    </a:lnTo>
                    <a:lnTo>
                      <a:pt x="564" y="448"/>
                    </a:lnTo>
                    <a:lnTo>
                      <a:pt x="565" y="448"/>
                    </a:lnTo>
                    <a:lnTo>
                      <a:pt x="567" y="447"/>
                    </a:lnTo>
                    <a:lnTo>
                      <a:pt x="569" y="448"/>
                    </a:lnTo>
                    <a:lnTo>
                      <a:pt x="570" y="448"/>
                    </a:lnTo>
                    <a:lnTo>
                      <a:pt x="570" y="447"/>
                    </a:lnTo>
                    <a:lnTo>
                      <a:pt x="572" y="447"/>
                    </a:lnTo>
                    <a:lnTo>
                      <a:pt x="573" y="447"/>
                    </a:lnTo>
                    <a:lnTo>
                      <a:pt x="573" y="448"/>
                    </a:lnTo>
                    <a:lnTo>
                      <a:pt x="573" y="450"/>
                    </a:lnTo>
                    <a:lnTo>
                      <a:pt x="575" y="450"/>
                    </a:lnTo>
                    <a:lnTo>
                      <a:pt x="575" y="451"/>
                    </a:lnTo>
                    <a:lnTo>
                      <a:pt x="577" y="451"/>
                    </a:lnTo>
                    <a:lnTo>
                      <a:pt x="578" y="451"/>
                    </a:lnTo>
                    <a:lnTo>
                      <a:pt x="580" y="451"/>
                    </a:lnTo>
                    <a:lnTo>
                      <a:pt x="581" y="451"/>
                    </a:lnTo>
                    <a:lnTo>
                      <a:pt x="583" y="451"/>
                    </a:lnTo>
                    <a:lnTo>
                      <a:pt x="584" y="451"/>
                    </a:lnTo>
                    <a:lnTo>
                      <a:pt x="586" y="451"/>
                    </a:lnTo>
                    <a:lnTo>
                      <a:pt x="586" y="450"/>
                    </a:lnTo>
                    <a:lnTo>
                      <a:pt x="586" y="448"/>
                    </a:lnTo>
                    <a:lnTo>
                      <a:pt x="586" y="447"/>
                    </a:lnTo>
                    <a:lnTo>
                      <a:pt x="588" y="447"/>
                    </a:lnTo>
                    <a:lnTo>
                      <a:pt x="588" y="445"/>
                    </a:lnTo>
                    <a:lnTo>
                      <a:pt x="588" y="444"/>
                    </a:lnTo>
                    <a:lnTo>
                      <a:pt x="589" y="444"/>
                    </a:lnTo>
                    <a:lnTo>
                      <a:pt x="591" y="444"/>
                    </a:lnTo>
                    <a:lnTo>
                      <a:pt x="592" y="444"/>
                    </a:lnTo>
                    <a:lnTo>
                      <a:pt x="592" y="442"/>
                    </a:lnTo>
                    <a:lnTo>
                      <a:pt x="592" y="440"/>
                    </a:lnTo>
                    <a:lnTo>
                      <a:pt x="594" y="442"/>
                    </a:lnTo>
                    <a:lnTo>
                      <a:pt x="596" y="442"/>
                    </a:lnTo>
                    <a:lnTo>
                      <a:pt x="596" y="444"/>
                    </a:lnTo>
                    <a:lnTo>
                      <a:pt x="594" y="444"/>
                    </a:lnTo>
                    <a:lnTo>
                      <a:pt x="594" y="445"/>
                    </a:lnTo>
                    <a:lnTo>
                      <a:pt x="596" y="445"/>
                    </a:lnTo>
                    <a:lnTo>
                      <a:pt x="596" y="447"/>
                    </a:lnTo>
                    <a:lnTo>
                      <a:pt x="597" y="447"/>
                    </a:lnTo>
                    <a:lnTo>
                      <a:pt x="597" y="448"/>
                    </a:lnTo>
                    <a:lnTo>
                      <a:pt x="599" y="448"/>
                    </a:lnTo>
                    <a:lnTo>
                      <a:pt x="600" y="450"/>
                    </a:lnTo>
                    <a:lnTo>
                      <a:pt x="602" y="450"/>
                    </a:lnTo>
                    <a:lnTo>
                      <a:pt x="603" y="450"/>
                    </a:lnTo>
                    <a:lnTo>
                      <a:pt x="605" y="451"/>
                    </a:lnTo>
                    <a:lnTo>
                      <a:pt x="605" y="453"/>
                    </a:lnTo>
                    <a:lnTo>
                      <a:pt x="605" y="455"/>
                    </a:lnTo>
                    <a:lnTo>
                      <a:pt x="605" y="456"/>
                    </a:lnTo>
                    <a:lnTo>
                      <a:pt x="605" y="458"/>
                    </a:lnTo>
                    <a:lnTo>
                      <a:pt x="605" y="459"/>
                    </a:lnTo>
                    <a:lnTo>
                      <a:pt x="605" y="461"/>
                    </a:lnTo>
                    <a:lnTo>
                      <a:pt x="605" y="463"/>
                    </a:lnTo>
                    <a:lnTo>
                      <a:pt x="607" y="463"/>
                    </a:lnTo>
                    <a:lnTo>
                      <a:pt x="607" y="464"/>
                    </a:lnTo>
                    <a:lnTo>
                      <a:pt x="608" y="464"/>
                    </a:lnTo>
                    <a:lnTo>
                      <a:pt x="608" y="466"/>
                    </a:lnTo>
                    <a:lnTo>
                      <a:pt x="610" y="466"/>
                    </a:lnTo>
                    <a:lnTo>
                      <a:pt x="611" y="466"/>
                    </a:lnTo>
                    <a:lnTo>
                      <a:pt x="613" y="466"/>
                    </a:lnTo>
                    <a:lnTo>
                      <a:pt x="613" y="467"/>
                    </a:lnTo>
                    <a:lnTo>
                      <a:pt x="615" y="467"/>
                    </a:lnTo>
                    <a:lnTo>
                      <a:pt x="616" y="467"/>
                    </a:lnTo>
                    <a:lnTo>
                      <a:pt x="618" y="467"/>
                    </a:lnTo>
                    <a:lnTo>
                      <a:pt x="618" y="466"/>
                    </a:lnTo>
                    <a:lnTo>
                      <a:pt x="616" y="466"/>
                    </a:lnTo>
                    <a:lnTo>
                      <a:pt x="616" y="464"/>
                    </a:lnTo>
                    <a:lnTo>
                      <a:pt x="618" y="464"/>
                    </a:lnTo>
                    <a:lnTo>
                      <a:pt x="618" y="463"/>
                    </a:lnTo>
                    <a:lnTo>
                      <a:pt x="616" y="463"/>
                    </a:lnTo>
                    <a:lnTo>
                      <a:pt x="616" y="461"/>
                    </a:lnTo>
                    <a:lnTo>
                      <a:pt x="615" y="461"/>
                    </a:lnTo>
                    <a:lnTo>
                      <a:pt x="615" y="459"/>
                    </a:lnTo>
                    <a:lnTo>
                      <a:pt x="613" y="459"/>
                    </a:lnTo>
                    <a:lnTo>
                      <a:pt x="613" y="458"/>
                    </a:lnTo>
                    <a:lnTo>
                      <a:pt x="611" y="458"/>
                    </a:lnTo>
                    <a:lnTo>
                      <a:pt x="611" y="456"/>
                    </a:lnTo>
                    <a:lnTo>
                      <a:pt x="613" y="456"/>
                    </a:lnTo>
                    <a:lnTo>
                      <a:pt x="615" y="456"/>
                    </a:lnTo>
                    <a:lnTo>
                      <a:pt x="615" y="455"/>
                    </a:lnTo>
                    <a:lnTo>
                      <a:pt x="616" y="455"/>
                    </a:lnTo>
                    <a:lnTo>
                      <a:pt x="618" y="453"/>
                    </a:lnTo>
                    <a:close/>
                    <a:moveTo>
                      <a:pt x="630" y="405"/>
                    </a:moveTo>
                    <a:lnTo>
                      <a:pt x="630" y="407"/>
                    </a:lnTo>
                    <a:lnTo>
                      <a:pt x="629" y="407"/>
                    </a:lnTo>
                    <a:lnTo>
                      <a:pt x="627" y="407"/>
                    </a:lnTo>
                    <a:lnTo>
                      <a:pt x="627" y="409"/>
                    </a:lnTo>
                    <a:lnTo>
                      <a:pt x="627" y="410"/>
                    </a:lnTo>
                    <a:lnTo>
                      <a:pt x="626" y="410"/>
                    </a:lnTo>
                    <a:lnTo>
                      <a:pt x="624" y="410"/>
                    </a:lnTo>
                    <a:lnTo>
                      <a:pt x="622" y="410"/>
                    </a:lnTo>
                    <a:lnTo>
                      <a:pt x="622" y="412"/>
                    </a:lnTo>
                    <a:lnTo>
                      <a:pt x="621" y="412"/>
                    </a:lnTo>
                    <a:lnTo>
                      <a:pt x="621" y="413"/>
                    </a:lnTo>
                    <a:lnTo>
                      <a:pt x="619" y="413"/>
                    </a:lnTo>
                    <a:lnTo>
                      <a:pt x="618" y="413"/>
                    </a:lnTo>
                    <a:lnTo>
                      <a:pt x="616" y="415"/>
                    </a:lnTo>
                    <a:lnTo>
                      <a:pt x="616" y="417"/>
                    </a:lnTo>
                    <a:lnTo>
                      <a:pt x="615" y="417"/>
                    </a:lnTo>
                    <a:lnTo>
                      <a:pt x="615" y="418"/>
                    </a:lnTo>
                    <a:lnTo>
                      <a:pt x="616" y="418"/>
                    </a:lnTo>
                    <a:lnTo>
                      <a:pt x="618" y="420"/>
                    </a:lnTo>
                    <a:lnTo>
                      <a:pt x="619" y="420"/>
                    </a:lnTo>
                    <a:lnTo>
                      <a:pt x="621" y="420"/>
                    </a:lnTo>
                    <a:lnTo>
                      <a:pt x="621" y="421"/>
                    </a:lnTo>
                    <a:lnTo>
                      <a:pt x="621" y="423"/>
                    </a:lnTo>
                    <a:lnTo>
                      <a:pt x="622" y="423"/>
                    </a:lnTo>
                    <a:lnTo>
                      <a:pt x="622" y="424"/>
                    </a:lnTo>
                    <a:lnTo>
                      <a:pt x="624" y="424"/>
                    </a:lnTo>
                    <a:lnTo>
                      <a:pt x="624" y="426"/>
                    </a:lnTo>
                    <a:lnTo>
                      <a:pt x="626" y="426"/>
                    </a:lnTo>
                    <a:lnTo>
                      <a:pt x="627" y="426"/>
                    </a:lnTo>
                    <a:lnTo>
                      <a:pt x="629" y="426"/>
                    </a:lnTo>
                    <a:lnTo>
                      <a:pt x="629" y="424"/>
                    </a:lnTo>
                    <a:lnTo>
                      <a:pt x="630" y="424"/>
                    </a:lnTo>
                    <a:lnTo>
                      <a:pt x="632" y="424"/>
                    </a:lnTo>
                    <a:lnTo>
                      <a:pt x="634" y="424"/>
                    </a:lnTo>
                    <a:lnTo>
                      <a:pt x="634" y="423"/>
                    </a:lnTo>
                    <a:lnTo>
                      <a:pt x="635" y="423"/>
                    </a:lnTo>
                    <a:lnTo>
                      <a:pt x="637" y="423"/>
                    </a:lnTo>
                    <a:lnTo>
                      <a:pt x="637" y="421"/>
                    </a:lnTo>
                    <a:lnTo>
                      <a:pt x="638" y="421"/>
                    </a:lnTo>
                    <a:lnTo>
                      <a:pt x="640" y="421"/>
                    </a:lnTo>
                    <a:lnTo>
                      <a:pt x="641" y="421"/>
                    </a:lnTo>
                    <a:lnTo>
                      <a:pt x="641" y="420"/>
                    </a:lnTo>
                    <a:lnTo>
                      <a:pt x="643" y="420"/>
                    </a:lnTo>
                    <a:lnTo>
                      <a:pt x="643" y="418"/>
                    </a:lnTo>
                    <a:lnTo>
                      <a:pt x="643" y="417"/>
                    </a:lnTo>
                    <a:lnTo>
                      <a:pt x="641" y="417"/>
                    </a:lnTo>
                    <a:lnTo>
                      <a:pt x="640" y="417"/>
                    </a:lnTo>
                    <a:lnTo>
                      <a:pt x="640" y="415"/>
                    </a:lnTo>
                    <a:lnTo>
                      <a:pt x="638" y="415"/>
                    </a:lnTo>
                    <a:lnTo>
                      <a:pt x="638" y="413"/>
                    </a:lnTo>
                    <a:lnTo>
                      <a:pt x="637" y="413"/>
                    </a:lnTo>
                    <a:lnTo>
                      <a:pt x="635" y="413"/>
                    </a:lnTo>
                    <a:lnTo>
                      <a:pt x="635" y="412"/>
                    </a:lnTo>
                    <a:lnTo>
                      <a:pt x="635" y="410"/>
                    </a:lnTo>
                    <a:lnTo>
                      <a:pt x="635" y="409"/>
                    </a:lnTo>
                    <a:lnTo>
                      <a:pt x="634" y="409"/>
                    </a:lnTo>
                    <a:lnTo>
                      <a:pt x="634" y="407"/>
                    </a:lnTo>
                    <a:lnTo>
                      <a:pt x="632" y="407"/>
                    </a:lnTo>
                    <a:lnTo>
                      <a:pt x="630" y="405"/>
                    </a:lnTo>
                    <a:close/>
                    <a:moveTo>
                      <a:pt x="2371" y="293"/>
                    </a:moveTo>
                    <a:lnTo>
                      <a:pt x="2366" y="291"/>
                    </a:lnTo>
                    <a:lnTo>
                      <a:pt x="2362" y="295"/>
                    </a:lnTo>
                    <a:lnTo>
                      <a:pt x="2357" y="296"/>
                    </a:lnTo>
                    <a:lnTo>
                      <a:pt x="2352" y="299"/>
                    </a:lnTo>
                    <a:lnTo>
                      <a:pt x="2346" y="299"/>
                    </a:lnTo>
                    <a:lnTo>
                      <a:pt x="2343" y="295"/>
                    </a:lnTo>
                    <a:lnTo>
                      <a:pt x="2340" y="291"/>
                    </a:lnTo>
                    <a:lnTo>
                      <a:pt x="2335" y="291"/>
                    </a:lnTo>
                    <a:lnTo>
                      <a:pt x="2330" y="296"/>
                    </a:lnTo>
                    <a:lnTo>
                      <a:pt x="2328" y="298"/>
                    </a:lnTo>
                    <a:lnTo>
                      <a:pt x="2327" y="302"/>
                    </a:lnTo>
                    <a:lnTo>
                      <a:pt x="2322" y="309"/>
                    </a:lnTo>
                    <a:lnTo>
                      <a:pt x="2317" y="315"/>
                    </a:lnTo>
                    <a:lnTo>
                      <a:pt x="2316" y="322"/>
                    </a:lnTo>
                    <a:lnTo>
                      <a:pt x="2316" y="326"/>
                    </a:lnTo>
                    <a:lnTo>
                      <a:pt x="2314" y="331"/>
                    </a:lnTo>
                    <a:lnTo>
                      <a:pt x="2314" y="336"/>
                    </a:lnTo>
                    <a:lnTo>
                      <a:pt x="2316" y="339"/>
                    </a:lnTo>
                    <a:lnTo>
                      <a:pt x="2319" y="341"/>
                    </a:lnTo>
                    <a:lnTo>
                      <a:pt x="2324" y="339"/>
                    </a:lnTo>
                    <a:lnTo>
                      <a:pt x="2330" y="337"/>
                    </a:lnTo>
                    <a:lnTo>
                      <a:pt x="2333" y="337"/>
                    </a:lnTo>
                    <a:lnTo>
                      <a:pt x="2335" y="339"/>
                    </a:lnTo>
                    <a:lnTo>
                      <a:pt x="2338" y="342"/>
                    </a:lnTo>
                    <a:lnTo>
                      <a:pt x="2341" y="344"/>
                    </a:lnTo>
                    <a:lnTo>
                      <a:pt x="2346" y="344"/>
                    </a:lnTo>
                    <a:lnTo>
                      <a:pt x="2351" y="341"/>
                    </a:lnTo>
                    <a:lnTo>
                      <a:pt x="2355" y="341"/>
                    </a:lnTo>
                    <a:lnTo>
                      <a:pt x="2359" y="342"/>
                    </a:lnTo>
                    <a:lnTo>
                      <a:pt x="2362" y="347"/>
                    </a:lnTo>
                    <a:lnTo>
                      <a:pt x="2365" y="350"/>
                    </a:lnTo>
                    <a:lnTo>
                      <a:pt x="2370" y="350"/>
                    </a:lnTo>
                    <a:lnTo>
                      <a:pt x="2371" y="348"/>
                    </a:lnTo>
                    <a:lnTo>
                      <a:pt x="2373" y="348"/>
                    </a:lnTo>
                    <a:lnTo>
                      <a:pt x="2374" y="347"/>
                    </a:lnTo>
                    <a:lnTo>
                      <a:pt x="2378" y="342"/>
                    </a:lnTo>
                    <a:lnTo>
                      <a:pt x="2376" y="337"/>
                    </a:lnTo>
                    <a:lnTo>
                      <a:pt x="2374" y="334"/>
                    </a:lnTo>
                    <a:lnTo>
                      <a:pt x="2373" y="331"/>
                    </a:lnTo>
                    <a:lnTo>
                      <a:pt x="2371" y="328"/>
                    </a:lnTo>
                    <a:lnTo>
                      <a:pt x="2370" y="326"/>
                    </a:lnTo>
                    <a:lnTo>
                      <a:pt x="2371" y="322"/>
                    </a:lnTo>
                    <a:lnTo>
                      <a:pt x="2373" y="317"/>
                    </a:lnTo>
                    <a:lnTo>
                      <a:pt x="2374" y="314"/>
                    </a:lnTo>
                    <a:lnTo>
                      <a:pt x="2374" y="310"/>
                    </a:lnTo>
                    <a:lnTo>
                      <a:pt x="2373" y="307"/>
                    </a:lnTo>
                    <a:lnTo>
                      <a:pt x="2374" y="302"/>
                    </a:lnTo>
                    <a:lnTo>
                      <a:pt x="2376" y="299"/>
                    </a:lnTo>
                    <a:lnTo>
                      <a:pt x="2374" y="298"/>
                    </a:lnTo>
                    <a:lnTo>
                      <a:pt x="2374" y="296"/>
                    </a:lnTo>
                    <a:lnTo>
                      <a:pt x="2371" y="293"/>
                    </a:lnTo>
                    <a:close/>
                  </a:path>
                </a:pathLst>
              </a:custGeom>
              <a:solidFill>
                <a:srgbClr val="E1E1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138"/>
              </a:p>
            </p:txBody>
          </p:sp>
          <p:sp>
            <p:nvSpPr>
              <p:cNvPr id="29" name="Freeform 27"/>
              <p:cNvSpPr>
                <a:spLocks/>
              </p:cNvSpPr>
              <p:nvPr/>
            </p:nvSpPr>
            <p:spPr bwMode="auto">
              <a:xfrm>
                <a:off x="3092" y="1963"/>
                <a:ext cx="1159" cy="483"/>
              </a:xfrm>
              <a:custGeom>
                <a:avLst/>
                <a:gdLst>
                  <a:gd name="T0" fmla="*/ 33 w 1159"/>
                  <a:gd name="T1" fmla="*/ 6 h 483"/>
                  <a:gd name="T2" fmla="*/ 55 w 1159"/>
                  <a:gd name="T3" fmla="*/ 13 h 483"/>
                  <a:gd name="T4" fmla="*/ 53 w 1159"/>
                  <a:gd name="T5" fmla="*/ 36 h 483"/>
                  <a:gd name="T6" fmla="*/ 52 w 1159"/>
                  <a:gd name="T7" fmla="*/ 55 h 483"/>
                  <a:gd name="T8" fmla="*/ 53 w 1159"/>
                  <a:gd name="T9" fmla="*/ 76 h 483"/>
                  <a:gd name="T10" fmla="*/ 41 w 1159"/>
                  <a:gd name="T11" fmla="*/ 87 h 483"/>
                  <a:gd name="T12" fmla="*/ 23 w 1159"/>
                  <a:gd name="T13" fmla="*/ 95 h 483"/>
                  <a:gd name="T14" fmla="*/ 4 w 1159"/>
                  <a:gd name="T15" fmla="*/ 98 h 483"/>
                  <a:gd name="T16" fmla="*/ 6 w 1159"/>
                  <a:gd name="T17" fmla="*/ 109 h 483"/>
                  <a:gd name="T18" fmla="*/ 23 w 1159"/>
                  <a:gd name="T19" fmla="*/ 116 h 483"/>
                  <a:gd name="T20" fmla="*/ 39 w 1159"/>
                  <a:gd name="T21" fmla="*/ 123 h 483"/>
                  <a:gd name="T22" fmla="*/ 38 w 1159"/>
                  <a:gd name="T23" fmla="*/ 146 h 483"/>
                  <a:gd name="T24" fmla="*/ 42 w 1159"/>
                  <a:gd name="T25" fmla="*/ 165 h 483"/>
                  <a:gd name="T26" fmla="*/ 50 w 1159"/>
                  <a:gd name="T27" fmla="*/ 180 h 483"/>
                  <a:gd name="T28" fmla="*/ 65 w 1159"/>
                  <a:gd name="T29" fmla="*/ 193 h 483"/>
                  <a:gd name="T30" fmla="*/ 80 w 1159"/>
                  <a:gd name="T31" fmla="*/ 193 h 483"/>
                  <a:gd name="T32" fmla="*/ 88 w 1159"/>
                  <a:gd name="T33" fmla="*/ 187 h 483"/>
                  <a:gd name="T34" fmla="*/ 101 w 1159"/>
                  <a:gd name="T35" fmla="*/ 192 h 483"/>
                  <a:gd name="T36" fmla="*/ 118 w 1159"/>
                  <a:gd name="T37" fmla="*/ 203 h 483"/>
                  <a:gd name="T38" fmla="*/ 118 w 1159"/>
                  <a:gd name="T39" fmla="*/ 217 h 483"/>
                  <a:gd name="T40" fmla="*/ 120 w 1159"/>
                  <a:gd name="T41" fmla="*/ 230 h 483"/>
                  <a:gd name="T42" fmla="*/ 126 w 1159"/>
                  <a:gd name="T43" fmla="*/ 239 h 483"/>
                  <a:gd name="T44" fmla="*/ 141 w 1159"/>
                  <a:gd name="T45" fmla="*/ 239 h 483"/>
                  <a:gd name="T46" fmla="*/ 152 w 1159"/>
                  <a:gd name="T47" fmla="*/ 228 h 483"/>
                  <a:gd name="T48" fmla="*/ 161 w 1159"/>
                  <a:gd name="T49" fmla="*/ 212 h 483"/>
                  <a:gd name="T50" fmla="*/ 168 w 1159"/>
                  <a:gd name="T51" fmla="*/ 199 h 483"/>
                  <a:gd name="T52" fmla="*/ 183 w 1159"/>
                  <a:gd name="T53" fmla="*/ 188 h 483"/>
                  <a:gd name="T54" fmla="*/ 204 w 1159"/>
                  <a:gd name="T55" fmla="*/ 177 h 483"/>
                  <a:gd name="T56" fmla="*/ 213 w 1159"/>
                  <a:gd name="T57" fmla="*/ 176 h 483"/>
                  <a:gd name="T58" fmla="*/ 218 w 1159"/>
                  <a:gd name="T59" fmla="*/ 195 h 483"/>
                  <a:gd name="T60" fmla="*/ 213 w 1159"/>
                  <a:gd name="T61" fmla="*/ 219 h 483"/>
                  <a:gd name="T62" fmla="*/ 207 w 1159"/>
                  <a:gd name="T63" fmla="*/ 234 h 483"/>
                  <a:gd name="T64" fmla="*/ 198 w 1159"/>
                  <a:gd name="T65" fmla="*/ 245 h 483"/>
                  <a:gd name="T66" fmla="*/ 187 w 1159"/>
                  <a:gd name="T67" fmla="*/ 255 h 483"/>
                  <a:gd name="T68" fmla="*/ 190 w 1159"/>
                  <a:gd name="T69" fmla="*/ 268 h 483"/>
                  <a:gd name="T70" fmla="*/ 209 w 1159"/>
                  <a:gd name="T71" fmla="*/ 269 h 483"/>
                  <a:gd name="T72" fmla="*/ 220 w 1159"/>
                  <a:gd name="T73" fmla="*/ 274 h 483"/>
                  <a:gd name="T74" fmla="*/ 229 w 1159"/>
                  <a:gd name="T75" fmla="*/ 282 h 483"/>
                  <a:gd name="T76" fmla="*/ 232 w 1159"/>
                  <a:gd name="T77" fmla="*/ 295 h 483"/>
                  <a:gd name="T78" fmla="*/ 237 w 1159"/>
                  <a:gd name="T79" fmla="*/ 302 h 483"/>
                  <a:gd name="T80" fmla="*/ 210 w 1159"/>
                  <a:gd name="T81" fmla="*/ 320 h 483"/>
                  <a:gd name="T82" fmla="*/ 179 w 1159"/>
                  <a:gd name="T83" fmla="*/ 344 h 483"/>
                  <a:gd name="T84" fmla="*/ 179 w 1159"/>
                  <a:gd name="T85" fmla="*/ 418 h 483"/>
                  <a:gd name="T86" fmla="*/ 210 w 1159"/>
                  <a:gd name="T87" fmla="*/ 482 h 483"/>
                  <a:gd name="T88" fmla="*/ 278 w 1159"/>
                  <a:gd name="T89" fmla="*/ 455 h 483"/>
                  <a:gd name="T90" fmla="*/ 323 w 1159"/>
                  <a:gd name="T91" fmla="*/ 367 h 483"/>
                  <a:gd name="T92" fmla="*/ 364 w 1159"/>
                  <a:gd name="T93" fmla="*/ 369 h 483"/>
                  <a:gd name="T94" fmla="*/ 397 w 1159"/>
                  <a:gd name="T95" fmla="*/ 437 h 483"/>
                  <a:gd name="T96" fmla="*/ 442 w 1159"/>
                  <a:gd name="T97" fmla="*/ 413 h 483"/>
                  <a:gd name="T98" fmla="*/ 510 w 1159"/>
                  <a:gd name="T99" fmla="*/ 323 h 483"/>
                  <a:gd name="T100" fmla="*/ 609 w 1159"/>
                  <a:gd name="T101" fmla="*/ 274 h 483"/>
                  <a:gd name="T102" fmla="*/ 627 w 1159"/>
                  <a:gd name="T103" fmla="*/ 309 h 483"/>
                  <a:gd name="T104" fmla="*/ 733 w 1159"/>
                  <a:gd name="T105" fmla="*/ 276 h 483"/>
                  <a:gd name="T106" fmla="*/ 809 w 1159"/>
                  <a:gd name="T107" fmla="*/ 266 h 483"/>
                  <a:gd name="T108" fmla="*/ 909 w 1159"/>
                  <a:gd name="T109" fmla="*/ 261 h 483"/>
                  <a:gd name="T110" fmla="*/ 991 w 1159"/>
                  <a:gd name="T111" fmla="*/ 263 h 483"/>
                  <a:gd name="T112" fmla="*/ 1032 w 1159"/>
                  <a:gd name="T113" fmla="*/ 214 h 483"/>
                  <a:gd name="T114" fmla="*/ 1086 w 1159"/>
                  <a:gd name="T115" fmla="*/ 203 h 483"/>
                  <a:gd name="T116" fmla="*/ 1124 w 1159"/>
                  <a:gd name="T117" fmla="*/ 282 h 483"/>
                  <a:gd name="T118" fmla="*/ 1153 w 1159"/>
                  <a:gd name="T119" fmla="*/ 369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59" h="483">
                    <a:moveTo>
                      <a:pt x="17" y="0"/>
                    </a:moveTo>
                    <a:lnTo>
                      <a:pt x="19" y="0"/>
                    </a:lnTo>
                    <a:lnTo>
                      <a:pt x="20" y="0"/>
                    </a:lnTo>
                    <a:lnTo>
                      <a:pt x="22" y="0"/>
                    </a:lnTo>
                    <a:lnTo>
                      <a:pt x="23" y="0"/>
                    </a:lnTo>
                    <a:lnTo>
                      <a:pt x="23" y="1"/>
                    </a:lnTo>
                    <a:lnTo>
                      <a:pt x="23" y="0"/>
                    </a:lnTo>
                    <a:lnTo>
                      <a:pt x="25" y="0"/>
                    </a:lnTo>
                    <a:lnTo>
                      <a:pt x="25" y="1"/>
                    </a:lnTo>
                    <a:lnTo>
                      <a:pt x="27" y="1"/>
                    </a:lnTo>
                    <a:lnTo>
                      <a:pt x="27" y="3"/>
                    </a:lnTo>
                    <a:lnTo>
                      <a:pt x="28" y="3"/>
                    </a:lnTo>
                    <a:lnTo>
                      <a:pt x="30" y="3"/>
                    </a:lnTo>
                    <a:lnTo>
                      <a:pt x="30" y="5"/>
                    </a:lnTo>
                    <a:lnTo>
                      <a:pt x="31" y="5"/>
                    </a:lnTo>
                    <a:lnTo>
                      <a:pt x="31" y="6"/>
                    </a:lnTo>
                    <a:lnTo>
                      <a:pt x="33" y="6"/>
                    </a:lnTo>
                    <a:lnTo>
                      <a:pt x="34" y="6"/>
                    </a:lnTo>
                    <a:lnTo>
                      <a:pt x="36" y="6"/>
                    </a:lnTo>
                    <a:lnTo>
                      <a:pt x="38" y="6"/>
                    </a:lnTo>
                    <a:lnTo>
                      <a:pt x="39" y="6"/>
                    </a:lnTo>
                    <a:lnTo>
                      <a:pt x="41" y="6"/>
                    </a:lnTo>
                    <a:lnTo>
                      <a:pt x="41" y="5"/>
                    </a:lnTo>
                    <a:lnTo>
                      <a:pt x="42" y="5"/>
                    </a:lnTo>
                    <a:lnTo>
                      <a:pt x="42" y="6"/>
                    </a:lnTo>
                    <a:lnTo>
                      <a:pt x="44" y="6"/>
                    </a:lnTo>
                    <a:lnTo>
                      <a:pt x="46" y="6"/>
                    </a:lnTo>
                    <a:lnTo>
                      <a:pt x="47" y="6"/>
                    </a:lnTo>
                    <a:lnTo>
                      <a:pt x="49" y="6"/>
                    </a:lnTo>
                    <a:lnTo>
                      <a:pt x="50" y="8"/>
                    </a:lnTo>
                    <a:lnTo>
                      <a:pt x="52" y="8"/>
                    </a:lnTo>
                    <a:lnTo>
                      <a:pt x="53" y="8"/>
                    </a:lnTo>
                    <a:lnTo>
                      <a:pt x="53" y="9"/>
                    </a:lnTo>
                    <a:lnTo>
                      <a:pt x="55" y="13"/>
                    </a:lnTo>
                    <a:lnTo>
                      <a:pt x="55" y="14"/>
                    </a:lnTo>
                    <a:lnTo>
                      <a:pt x="57" y="16"/>
                    </a:lnTo>
                    <a:lnTo>
                      <a:pt x="57" y="17"/>
                    </a:lnTo>
                    <a:lnTo>
                      <a:pt x="57" y="20"/>
                    </a:lnTo>
                    <a:lnTo>
                      <a:pt x="57" y="22"/>
                    </a:lnTo>
                    <a:lnTo>
                      <a:pt x="57" y="24"/>
                    </a:lnTo>
                    <a:lnTo>
                      <a:pt x="57" y="25"/>
                    </a:lnTo>
                    <a:lnTo>
                      <a:pt x="57" y="27"/>
                    </a:lnTo>
                    <a:lnTo>
                      <a:pt x="57" y="28"/>
                    </a:lnTo>
                    <a:lnTo>
                      <a:pt x="58" y="28"/>
                    </a:lnTo>
                    <a:lnTo>
                      <a:pt x="58" y="30"/>
                    </a:lnTo>
                    <a:lnTo>
                      <a:pt x="58" y="32"/>
                    </a:lnTo>
                    <a:lnTo>
                      <a:pt x="57" y="33"/>
                    </a:lnTo>
                    <a:lnTo>
                      <a:pt x="57" y="35"/>
                    </a:lnTo>
                    <a:lnTo>
                      <a:pt x="55" y="35"/>
                    </a:lnTo>
                    <a:lnTo>
                      <a:pt x="55" y="36"/>
                    </a:lnTo>
                    <a:lnTo>
                      <a:pt x="53" y="36"/>
                    </a:lnTo>
                    <a:lnTo>
                      <a:pt x="53" y="38"/>
                    </a:lnTo>
                    <a:lnTo>
                      <a:pt x="53" y="39"/>
                    </a:lnTo>
                    <a:lnTo>
                      <a:pt x="53" y="41"/>
                    </a:lnTo>
                    <a:lnTo>
                      <a:pt x="55" y="41"/>
                    </a:lnTo>
                    <a:lnTo>
                      <a:pt x="55" y="43"/>
                    </a:lnTo>
                    <a:lnTo>
                      <a:pt x="53" y="43"/>
                    </a:lnTo>
                    <a:lnTo>
                      <a:pt x="53" y="44"/>
                    </a:lnTo>
                    <a:lnTo>
                      <a:pt x="52" y="44"/>
                    </a:lnTo>
                    <a:lnTo>
                      <a:pt x="52" y="46"/>
                    </a:lnTo>
                    <a:lnTo>
                      <a:pt x="50" y="46"/>
                    </a:lnTo>
                    <a:lnTo>
                      <a:pt x="50" y="47"/>
                    </a:lnTo>
                    <a:lnTo>
                      <a:pt x="50" y="49"/>
                    </a:lnTo>
                    <a:lnTo>
                      <a:pt x="50" y="51"/>
                    </a:lnTo>
                    <a:lnTo>
                      <a:pt x="50" y="52"/>
                    </a:lnTo>
                    <a:lnTo>
                      <a:pt x="50" y="54"/>
                    </a:lnTo>
                    <a:lnTo>
                      <a:pt x="52" y="54"/>
                    </a:lnTo>
                    <a:lnTo>
                      <a:pt x="52" y="55"/>
                    </a:lnTo>
                    <a:lnTo>
                      <a:pt x="52" y="57"/>
                    </a:lnTo>
                    <a:lnTo>
                      <a:pt x="50" y="57"/>
                    </a:lnTo>
                    <a:lnTo>
                      <a:pt x="50" y="58"/>
                    </a:lnTo>
                    <a:lnTo>
                      <a:pt x="50" y="60"/>
                    </a:lnTo>
                    <a:lnTo>
                      <a:pt x="50" y="62"/>
                    </a:lnTo>
                    <a:lnTo>
                      <a:pt x="50" y="63"/>
                    </a:lnTo>
                    <a:lnTo>
                      <a:pt x="50" y="65"/>
                    </a:lnTo>
                    <a:lnTo>
                      <a:pt x="50" y="66"/>
                    </a:lnTo>
                    <a:lnTo>
                      <a:pt x="50" y="68"/>
                    </a:lnTo>
                    <a:lnTo>
                      <a:pt x="52" y="68"/>
                    </a:lnTo>
                    <a:lnTo>
                      <a:pt x="52" y="70"/>
                    </a:lnTo>
                    <a:lnTo>
                      <a:pt x="53" y="71"/>
                    </a:lnTo>
                    <a:lnTo>
                      <a:pt x="53" y="73"/>
                    </a:lnTo>
                    <a:lnTo>
                      <a:pt x="55" y="73"/>
                    </a:lnTo>
                    <a:lnTo>
                      <a:pt x="53" y="74"/>
                    </a:lnTo>
                    <a:lnTo>
                      <a:pt x="55" y="74"/>
                    </a:lnTo>
                    <a:lnTo>
                      <a:pt x="53" y="76"/>
                    </a:lnTo>
                    <a:lnTo>
                      <a:pt x="55" y="76"/>
                    </a:lnTo>
                    <a:lnTo>
                      <a:pt x="55" y="77"/>
                    </a:lnTo>
                    <a:lnTo>
                      <a:pt x="55" y="79"/>
                    </a:lnTo>
                    <a:lnTo>
                      <a:pt x="53" y="81"/>
                    </a:lnTo>
                    <a:lnTo>
                      <a:pt x="52" y="81"/>
                    </a:lnTo>
                    <a:lnTo>
                      <a:pt x="52" y="79"/>
                    </a:lnTo>
                    <a:lnTo>
                      <a:pt x="50" y="79"/>
                    </a:lnTo>
                    <a:lnTo>
                      <a:pt x="50" y="81"/>
                    </a:lnTo>
                    <a:lnTo>
                      <a:pt x="49" y="81"/>
                    </a:lnTo>
                    <a:lnTo>
                      <a:pt x="47" y="81"/>
                    </a:lnTo>
                    <a:lnTo>
                      <a:pt x="46" y="81"/>
                    </a:lnTo>
                    <a:lnTo>
                      <a:pt x="46" y="82"/>
                    </a:lnTo>
                    <a:lnTo>
                      <a:pt x="46" y="84"/>
                    </a:lnTo>
                    <a:lnTo>
                      <a:pt x="44" y="85"/>
                    </a:lnTo>
                    <a:lnTo>
                      <a:pt x="42" y="84"/>
                    </a:lnTo>
                    <a:lnTo>
                      <a:pt x="42" y="85"/>
                    </a:lnTo>
                    <a:lnTo>
                      <a:pt x="41" y="87"/>
                    </a:lnTo>
                    <a:lnTo>
                      <a:pt x="39" y="85"/>
                    </a:lnTo>
                    <a:lnTo>
                      <a:pt x="39" y="87"/>
                    </a:lnTo>
                    <a:lnTo>
                      <a:pt x="38" y="87"/>
                    </a:lnTo>
                    <a:lnTo>
                      <a:pt x="38" y="85"/>
                    </a:lnTo>
                    <a:lnTo>
                      <a:pt x="38" y="87"/>
                    </a:lnTo>
                    <a:lnTo>
                      <a:pt x="36" y="87"/>
                    </a:lnTo>
                    <a:lnTo>
                      <a:pt x="36" y="89"/>
                    </a:lnTo>
                    <a:lnTo>
                      <a:pt x="34" y="89"/>
                    </a:lnTo>
                    <a:lnTo>
                      <a:pt x="33" y="89"/>
                    </a:lnTo>
                    <a:lnTo>
                      <a:pt x="33" y="90"/>
                    </a:lnTo>
                    <a:lnTo>
                      <a:pt x="31" y="90"/>
                    </a:lnTo>
                    <a:lnTo>
                      <a:pt x="31" y="92"/>
                    </a:lnTo>
                    <a:lnTo>
                      <a:pt x="30" y="92"/>
                    </a:lnTo>
                    <a:lnTo>
                      <a:pt x="28" y="93"/>
                    </a:lnTo>
                    <a:lnTo>
                      <a:pt x="27" y="95"/>
                    </a:lnTo>
                    <a:lnTo>
                      <a:pt x="25" y="95"/>
                    </a:lnTo>
                    <a:lnTo>
                      <a:pt x="23" y="95"/>
                    </a:lnTo>
                    <a:lnTo>
                      <a:pt x="22" y="95"/>
                    </a:lnTo>
                    <a:lnTo>
                      <a:pt x="22" y="97"/>
                    </a:lnTo>
                    <a:lnTo>
                      <a:pt x="20" y="97"/>
                    </a:lnTo>
                    <a:lnTo>
                      <a:pt x="19" y="97"/>
                    </a:lnTo>
                    <a:lnTo>
                      <a:pt x="19" y="98"/>
                    </a:lnTo>
                    <a:lnTo>
                      <a:pt x="17" y="98"/>
                    </a:lnTo>
                    <a:lnTo>
                      <a:pt x="15" y="97"/>
                    </a:lnTo>
                    <a:lnTo>
                      <a:pt x="14" y="97"/>
                    </a:lnTo>
                    <a:lnTo>
                      <a:pt x="12" y="97"/>
                    </a:lnTo>
                    <a:lnTo>
                      <a:pt x="12" y="98"/>
                    </a:lnTo>
                    <a:lnTo>
                      <a:pt x="11" y="98"/>
                    </a:lnTo>
                    <a:lnTo>
                      <a:pt x="9" y="98"/>
                    </a:lnTo>
                    <a:lnTo>
                      <a:pt x="8" y="98"/>
                    </a:lnTo>
                    <a:lnTo>
                      <a:pt x="8" y="97"/>
                    </a:lnTo>
                    <a:lnTo>
                      <a:pt x="6" y="97"/>
                    </a:lnTo>
                    <a:lnTo>
                      <a:pt x="6" y="98"/>
                    </a:lnTo>
                    <a:lnTo>
                      <a:pt x="4" y="98"/>
                    </a:lnTo>
                    <a:lnTo>
                      <a:pt x="4" y="97"/>
                    </a:lnTo>
                    <a:lnTo>
                      <a:pt x="3" y="97"/>
                    </a:lnTo>
                    <a:lnTo>
                      <a:pt x="1" y="97"/>
                    </a:lnTo>
                    <a:lnTo>
                      <a:pt x="1" y="95"/>
                    </a:lnTo>
                    <a:lnTo>
                      <a:pt x="0" y="95"/>
                    </a:lnTo>
                    <a:lnTo>
                      <a:pt x="0" y="97"/>
                    </a:lnTo>
                    <a:lnTo>
                      <a:pt x="0" y="98"/>
                    </a:lnTo>
                    <a:lnTo>
                      <a:pt x="0" y="100"/>
                    </a:lnTo>
                    <a:lnTo>
                      <a:pt x="0" y="101"/>
                    </a:lnTo>
                    <a:lnTo>
                      <a:pt x="0" y="103"/>
                    </a:lnTo>
                    <a:lnTo>
                      <a:pt x="0" y="104"/>
                    </a:lnTo>
                    <a:lnTo>
                      <a:pt x="1" y="104"/>
                    </a:lnTo>
                    <a:lnTo>
                      <a:pt x="1" y="106"/>
                    </a:lnTo>
                    <a:lnTo>
                      <a:pt x="3" y="106"/>
                    </a:lnTo>
                    <a:lnTo>
                      <a:pt x="3" y="108"/>
                    </a:lnTo>
                    <a:lnTo>
                      <a:pt x="4" y="108"/>
                    </a:lnTo>
                    <a:lnTo>
                      <a:pt x="6" y="109"/>
                    </a:lnTo>
                    <a:lnTo>
                      <a:pt x="8" y="109"/>
                    </a:lnTo>
                    <a:lnTo>
                      <a:pt x="8" y="111"/>
                    </a:lnTo>
                    <a:lnTo>
                      <a:pt x="9" y="111"/>
                    </a:lnTo>
                    <a:lnTo>
                      <a:pt x="11" y="111"/>
                    </a:lnTo>
                    <a:lnTo>
                      <a:pt x="12" y="112"/>
                    </a:lnTo>
                    <a:lnTo>
                      <a:pt x="12" y="111"/>
                    </a:lnTo>
                    <a:lnTo>
                      <a:pt x="12" y="112"/>
                    </a:lnTo>
                    <a:lnTo>
                      <a:pt x="14" y="112"/>
                    </a:lnTo>
                    <a:lnTo>
                      <a:pt x="14" y="114"/>
                    </a:lnTo>
                    <a:lnTo>
                      <a:pt x="15" y="114"/>
                    </a:lnTo>
                    <a:lnTo>
                      <a:pt x="17" y="114"/>
                    </a:lnTo>
                    <a:lnTo>
                      <a:pt x="19" y="116"/>
                    </a:lnTo>
                    <a:lnTo>
                      <a:pt x="20" y="116"/>
                    </a:lnTo>
                    <a:lnTo>
                      <a:pt x="20" y="114"/>
                    </a:lnTo>
                    <a:lnTo>
                      <a:pt x="22" y="114"/>
                    </a:lnTo>
                    <a:lnTo>
                      <a:pt x="22" y="116"/>
                    </a:lnTo>
                    <a:lnTo>
                      <a:pt x="23" y="116"/>
                    </a:lnTo>
                    <a:lnTo>
                      <a:pt x="23" y="117"/>
                    </a:lnTo>
                    <a:lnTo>
                      <a:pt x="25" y="117"/>
                    </a:lnTo>
                    <a:lnTo>
                      <a:pt x="27" y="117"/>
                    </a:lnTo>
                    <a:lnTo>
                      <a:pt x="28" y="119"/>
                    </a:lnTo>
                    <a:lnTo>
                      <a:pt x="30" y="119"/>
                    </a:lnTo>
                    <a:lnTo>
                      <a:pt x="31" y="119"/>
                    </a:lnTo>
                    <a:lnTo>
                      <a:pt x="33" y="120"/>
                    </a:lnTo>
                    <a:lnTo>
                      <a:pt x="33" y="119"/>
                    </a:lnTo>
                    <a:lnTo>
                      <a:pt x="34" y="119"/>
                    </a:lnTo>
                    <a:lnTo>
                      <a:pt x="34" y="117"/>
                    </a:lnTo>
                    <a:lnTo>
                      <a:pt x="34" y="119"/>
                    </a:lnTo>
                    <a:lnTo>
                      <a:pt x="36" y="119"/>
                    </a:lnTo>
                    <a:lnTo>
                      <a:pt x="36" y="120"/>
                    </a:lnTo>
                    <a:lnTo>
                      <a:pt x="38" y="120"/>
                    </a:lnTo>
                    <a:lnTo>
                      <a:pt x="38" y="122"/>
                    </a:lnTo>
                    <a:lnTo>
                      <a:pt x="39" y="122"/>
                    </a:lnTo>
                    <a:lnTo>
                      <a:pt x="39" y="123"/>
                    </a:lnTo>
                    <a:lnTo>
                      <a:pt x="41" y="123"/>
                    </a:lnTo>
                    <a:lnTo>
                      <a:pt x="41" y="125"/>
                    </a:lnTo>
                    <a:lnTo>
                      <a:pt x="41" y="127"/>
                    </a:lnTo>
                    <a:lnTo>
                      <a:pt x="41" y="128"/>
                    </a:lnTo>
                    <a:lnTo>
                      <a:pt x="41" y="130"/>
                    </a:lnTo>
                    <a:lnTo>
                      <a:pt x="39" y="130"/>
                    </a:lnTo>
                    <a:lnTo>
                      <a:pt x="39" y="131"/>
                    </a:lnTo>
                    <a:lnTo>
                      <a:pt x="39" y="133"/>
                    </a:lnTo>
                    <a:lnTo>
                      <a:pt x="41" y="135"/>
                    </a:lnTo>
                    <a:lnTo>
                      <a:pt x="41" y="136"/>
                    </a:lnTo>
                    <a:lnTo>
                      <a:pt x="41" y="138"/>
                    </a:lnTo>
                    <a:lnTo>
                      <a:pt x="41" y="139"/>
                    </a:lnTo>
                    <a:lnTo>
                      <a:pt x="41" y="141"/>
                    </a:lnTo>
                    <a:lnTo>
                      <a:pt x="41" y="142"/>
                    </a:lnTo>
                    <a:lnTo>
                      <a:pt x="41" y="144"/>
                    </a:lnTo>
                    <a:lnTo>
                      <a:pt x="39" y="146"/>
                    </a:lnTo>
                    <a:lnTo>
                      <a:pt x="38" y="146"/>
                    </a:lnTo>
                    <a:lnTo>
                      <a:pt x="38" y="147"/>
                    </a:lnTo>
                    <a:lnTo>
                      <a:pt x="38" y="149"/>
                    </a:lnTo>
                    <a:lnTo>
                      <a:pt x="39" y="149"/>
                    </a:lnTo>
                    <a:lnTo>
                      <a:pt x="39" y="150"/>
                    </a:lnTo>
                    <a:lnTo>
                      <a:pt x="41" y="150"/>
                    </a:lnTo>
                    <a:lnTo>
                      <a:pt x="41" y="152"/>
                    </a:lnTo>
                    <a:lnTo>
                      <a:pt x="41" y="154"/>
                    </a:lnTo>
                    <a:lnTo>
                      <a:pt x="42" y="154"/>
                    </a:lnTo>
                    <a:lnTo>
                      <a:pt x="42" y="152"/>
                    </a:lnTo>
                    <a:lnTo>
                      <a:pt x="42" y="155"/>
                    </a:lnTo>
                    <a:lnTo>
                      <a:pt x="42" y="157"/>
                    </a:lnTo>
                    <a:lnTo>
                      <a:pt x="42" y="158"/>
                    </a:lnTo>
                    <a:lnTo>
                      <a:pt x="42" y="160"/>
                    </a:lnTo>
                    <a:lnTo>
                      <a:pt x="42" y="161"/>
                    </a:lnTo>
                    <a:lnTo>
                      <a:pt x="42" y="163"/>
                    </a:lnTo>
                    <a:lnTo>
                      <a:pt x="44" y="165"/>
                    </a:lnTo>
                    <a:lnTo>
                      <a:pt x="42" y="165"/>
                    </a:lnTo>
                    <a:lnTo>
                      <a:pt x="42" y="166"/>
                    </a:lnTo>
                    <a:lnTo>
                      <a:pt x="44" y="166"/>
                    </a:lnTo>
                    <a:lnTo>
                      <a:pt x="44" y="168"/>
                    </a:lnTo>
                    <a:lnTo>
                      <a:pt x="44" y="169"/>
                    </a:lnTo>
                    <a:lnTo>
                      <a:pt x="46" y="169"/>
                    </a:lnTo>
                    <a:lnTo>
                      <a:pt x="46" y="171"/>
                    </a:lnTo>
                    <a:lnTo>
                      <a:pt x="46" y="173"/>
                    </a:lnTo>
                    <a:lnTo>
                      <a:pt x="47" y="173"/>
                    </a:lnTo>
                    <a:lnTo>
                      <a:pt x="47" y="174"/>
                    </a:lnTo>
                    <a:lnTo>
                      <a:pt x="47" y="176"/>
                    </a:lnTo>
                    <a:lnTo>
                      <a:pt x="47" y="177"/>
                    </a:lnTo>
                    <a:lnTo>
                      <a:pt x="49" y="177"/>
                    </a:lnTo>
                    <a:lnTo>
                      <a:pt x="49" y="179"/>
                    </a:lnTo>
                    <a:lnTo>
                      <a:pt x="49" y="180"/>
                    </a:lnTo>
                    <a:lnTo>
                      <a:pt x="50" y="180"/>
                    </a:lnTo>
                    <a:lnTo>
                      <a:pt x="50" y="182"/>
                    </a:lnTo>
                    <a:lnTo>
                      <a:pt x="50" y="180"/>
                    </a:lnTo>
                    <a:lnTo>
                      <a:pt x="50" y="182"/>
                    </a:lnTo>
                    <a:lnTo>
                      <a:pt x="52" y="182"/>
                    </a:lnTo>
                    <a:lnTo>
                      <a:pt x="52" y="184"/>
                    </a:lnTo>
                    <a:lnTo>
                      <a:pt x="53" y="184"/>
                    </a:lnTo>
                    <a:lnTo>
                      <a:pt x="53" y="185"/>
                    </a:lnTo>
                    <a:lnTo>
                      <a:pt x="55" y="185"/>
                    </a:lnTo>
                    <a:lnTo>
                      <a:pt x="57" y="185"/>
                    </a:lnTo>
                    <a:lnTo>
                      <a:pt x="57" y="187"/>
                    </a:lnTo>
                    <a:lnTo>
                      <a:pt x="58" y="187"/>
                    </a:lnTo>
                    <a:lnTo>
                      <a:pt x="58" y="188"/>
                    </a:lnTo>
                    <a:lnTo>
                      <a:pt x="60" y="188"/>
                    </a:lnTo>
                    <a:lnTo>
                      <a:pt x="60" y="190"/>
                    </a:lnTo>
                    <a:lnTo>
                      <a:pt x="60" y="192"/>
                    </a:lnTo>
                    <a:lnTo>
                      <a:pt x="61" y="192"/>
                    </a:lnTo>
                    <a:lnTo>
                      <a:pt x="63" y="192"/>
                    </a:lnTo>
                    <a:lnTo>
                      <a:pt x="63" y="193"/>
                    </a:lnTo>
                    <a:lnTo>
                      <a:pt x="65" y="193"/>
                    </a:lnTo>
                    <a:lnTo>
                      <a:pt x="65" y="195"/>
                    </a:lnTo>
                    <a:lnTo>
                      <a:pt x="66" y="195"/>
                    </a:lnTo>
                    <a:lnTo>
                      <a:pt x="68" y="195"/>
                    </a:lnTo>
                    <a:lnTo>
                      <a:pt x="68" y="196"/>
                    </a:lnTo>
                    <a:lnTo>
                      <a:pt x="69" y="196"/>
                    </a:lnTo>
                    <a:lnTo>
                      <a:pt x="69" y="198"/>
                    </a:lnTo>
                    <a:lnTo>
                      <a:pt x="71" y="198"/>
                    </a:lnTo>
                    <a:lnTo>
                      <a:pt x="72" y="198"/>
                    </a:lnTo>
                    <a:lnTo>
                      <a:pt x="74" y="198"/>
                    </a:lnTo>
                    <a:lnTo>
                      <a:pt x="76" y="196"/>
                    </a:lnTo>
                    <a:lnTo>
                      <a:pt x="76" y="195"/>
                    </a:lnTo>
                    <a:lnTo>
                      <a:pt x="77" y="195"/>
                    </a:lnTo>
                    <a:lnTo>
                      <a:pt x="77" y="193"/>
                    </a:lnTo>
                    <a:lnTo>
                      <a:pt x="79" y="193"/>
                    </a:lnTo>
                    <a:lnTo>
                      <a:pt x="79" y="192"/>
                    </a:lnTo>
                    <a:lnTo>
                      <a:pt x="80" y="192"/>
                    </a:lnTo>
                    <a:lnTo>
                      <a:pt x="80" y="193"/>
                    </a:lnTo>
                    <a:lnTo>
                      <a:pt x="82" y="193"/>
                    </a:lnTo>
                    <a:lnTo>
                      <a:pt x="82" y="195"/>
                    </a:lnTo>
                    <a:lnTo>
                      <a:pt x="84" y="195"/>
                    </a:lnTo>
                    <a:lnTo>
                      <a:pt x="84" y="196"/>
                    </a:lnTo>
                    <a:lnTo>
                      <a:pt x="85" y="196"/>
                    </a:lnTo>
                    <a:lnTo>
                      <a:pt x="87" y="198"/>
                    </a:lnTo>
                    <a:lnTo>
                      <a:pt x="88" y="196"/>
                    </a:lnTo>
                    <a:lnTo>
                      <a:pt x="87" y="196"/>
                    </a:lnTo>
                    <a:lnTo>
                      <a:pt x="87" y="195"/>
                    </a:lnTo>
                    <a:lnTo>
                      <a:pt x="87" y="193"/>
                    </a:lnTo>
                    <a:lnTo>
                      <a:pt x="85" y="193"/>
                    </a:lnTo>
                    <a:lnTo>
                      <a:pt x="85" y="192"/>
                    </a:lnTo>
                    <a:lnTo>
                      <a:pt x="85" y="190"/>
                    </a:lnTo>
                    <a:lnTo>
                      <a:pt x="85" y="188"/>
                    </a:lnTo>
                    <a:lnTo>
                      <a:pt x="87" y="188"/>
                    </a:lnTo>
                    <a:lnTo>
                      <a:pt x="87" y="187"/>
                    </a:lnTo>
                    <a:lnTo>
                      <a:pt x="88" y="187"/>
                    </a:lnTo>
                    <a:lnTo>
                      <a:pt x="88" y="185"/>
                    </a:lnTo>
                    <a:lnTo>
                      <a:pt x="90" y="185"/>
                    </a:lnTo>
                    <a:lnTo>
                      <a:pt x="90" y="184"/>
                    </a:lnTo>
                    <a:lnTo>
                      <a:pt x="91" y="182"/>
                    </a:lnTo>
                    <a:lnTo>
                      <a:pt x="93" y="184"/>
                    </a:lnTo>
                    <a:lnTo>
                      <a:pt x="93" y="185"/>
                    </a:lnTo>
                    <a:lnTo>
                      <a:pt x="95" y="185"/>
                    </a:lnTo>
                    <a:lnTo>
                      <a:pt x="95" y="187"/>
                    </a:lnTo>
                    <a:lnTo>
                      <a:pt x="96" y="187"/>
                    </a:lnTo>
                    <a:lnTo>
                      <a:pt x="98" y="187"/>
                    </a:lnTo>
                    <a:lnTo>
                      <a:pt x="99" y="187"/>
                    </a:lnTo>
                    <a:lnTo>
                      <a:pt x="99" y="188"/>
                    </a:lnTo>
                    <a:lnTo>
                      <a:pt x="101" y="188"/>
                    </a:lnTo>
                    <a:lnTo>
                      <a:pt x="101" y="190"/>
                    </a:lnTo>
                    <a:lnTo>
                      <a:pt x="103" y="190"/>
                    </a:lnTo>
                    <a:lnTo>
                      <a:pt x="101" y="190"/>
                    </a:lnTo>
                    <a:lnTo>
                      <a:pt x="101" y="192"/>
                    </a:lnTo>
                    <a:lnTo>
                      <a:pt x="103" y="192"/>
                    </a:lnTo>
                    <a:lnTo>
                      <a:pt x="103" y="193"/>
                    </a:lnTo>
                    <a:lnTo>
                      <a:pt x="103" y="195"/>
                    </a:lnTo>
                    <a:lnTo>
                      <a:pt x="103" y="196"/>
                    </a:lnTo>
                    <a:lnTo>
                      <a:pt x="104" y="198"/>
                    </a:lnTo>
                    <a:lnTo>
                      <a:pt x="106" y="198"/>
                    </a:lnTo>
                    <a:lnTo>
                      <a:pt x="106" y="199"/>
                    </a:lnTo>
                    <a:lnTo>
                      <a:pt x="107" y="199"/>
                    </a:lnTo>
                    <a:lnTo>
                      <a:pt x="109" y="199"/>
                    </a:lnTo>
                    <a:lnTo>
                      <a:pt x="109" y="201"/>
                    </a:lnTo>
                    <a:lnTo>
                      <a:pt x="110" y="201"/>
                    </a:lnTo>
                    <a:lnTo>
                      <a:pt x="112" y="201"/>
                    </a:lnTo>
                    <a:lnTo>
                      <a:pt x="114" y="201"/>
                    </a:lnTo>
                    <a:lnTo>
                      <a:pt x="115" y="201"/>
                    </a:lnTo>
                    <a:lnTo>
                      <a:pt x="115" y="203"/>
                    </a:lnTo>
                    <a:lnTo>
                      <a:pt x="117" y="203"/>
                    </a:lnTo>
                    <a:lnTo>
                      <a:pt x="118" y="203"/>
                    </a:lnTo>
                    <a:lnTo>
                      <a:pt x="120" y="203"/>
                    </a:lnTo>
                    <a:lnTo>
                      <a:pt x="122" y="203"/>
                    </a:lnTo>
                    <a:lnTo>
                      <a:pt x="122" y="204"/>
                    </a:lnTo>
                    <a:lnTo>
                      <a:pt x="122" y="206"/>
                    </a:lnTo>
                    <a:lnTo>
                      <a:pt x="122" y="207"/>
                    </a:lnTo>
                    <a:lnTo>
                      <a:pt x="120" y="207"/>
                    </a:lnTo>
                    <a:lnTo>
                      <a:pt x="120" y="209"/>
                    </a:lnTo>
                    <a:lnTo>
                      <a:pt x="122" y="209"/>
                    </a:lnTo>
                    <a:lnTo>
                      <a:pt x="120" y="209"/>
                    </a:lnTo>
                    <a:lnTo>
                      <a:pt x="120" y="211"/>
                    </a:lnTo>
                    <a:lnTo>
                      <a:pt x="120" y="212"/>
                    </a:lnTo>
                    <a:lnTo>
                      <a:pt x="122" y="212"/>
                    </a:lnTo>
                    <a:lnTo>
                      <a:pt x="122" y="214"/>
                    </a:lnTo>
                    <a:lnTo>
                      <a:pt x="122" y="215"/>
                    </a:lnTo>
                    <a:lnTo>
                      <a:pt x="120" y="215"/>
                    </a:lnTo>
                    <a:lnTo>
                      <a:pt x="120" y="217"/>
                    </a:lnTo>
                    <a:lnTo>
                      <a:pt x="118" y="217"/>
                    </a:lnTo>
                    <a:lnTo>
                      <a:pt x="117" y="217"/>
                    </a:lnTo>
                    <a:lnTo>
                      <a:pt x="117" y="219"/>
                    </a:lnTo>
                    <a:lnTo>
                      <a:pt x="117" y="220"/>
                    </a:lnTo>
                    <a:lnTo>
                      <a:pt x="117" y="222"/>
                    </a:lnTo>
                    <a:lnTo>
                      <a:pt x="115" y="222"/>
                    </a:lnTo>
                    <a:lnTo>
                      <a:pt x="115" y="223"/>
                    </a:lnTo>
                    <a:lnTo>
                      <a:pt x="114" y="223"/>
                    </a:lnTo>
                    <a:lnTo>
                      <a:pt x="112" y="223"/>
                    </a:lnTo>
                    <a:lnTo>
                      <a:pt x="112" y="225"/>
                    </a:lnTo>
                    <a:lnTo>
                      <a:pt x="112" y="226"/>
                    </a:lnTo>
                    <a:lnTo>
                      <a:pt x="114" y="226"/>
                    </a:lnTo>
                    <a:lnTo>
                      <a:pt x="114" y="228"/>
                    </a:lnTo>
                    <a:lnTo>
                      <a:pt x="115" y="228"/>
                    </a:lnTo>
                    <a:lnTo>
                      <a:pt x="117" y="228"/>
                    </a:lnTo>
                    <a:lnTo>
                      <a:pt x="118" y="228"/>
                    </a:lnTo>
                    <a:lnTo>
                      <a:pt x="118" y="230"/>
                    </a:lnTo>
                    <a:lnTo>
                      <a:pt x="120" y="230"/>
                    </a:lnTo>
                    <a:lnTo>
                      <a:pt x="120" y="231"/>
                    </a:lnTo>
                    <a:lnTo>
                      <a:pt x="118" y="233"/>
                    </a:lnTo>
                    <a:lnTo>
                      <a:pt x="118" y="234"/>
                    </a:lnTo>
                    <a:lnTo>
                      <a:pt x="117" y="234"/>
                    </a:lnTo>
                    <a:lnTo>
                      <a:pt x="117" y="236"/>
                    </a:lnTo>
                    <a:lnTo>
                      <a:pt x="117" y="238"/>
                    </a:lnTo>
                    <a:lnTo>
                      <a:pt x="117" y="239"/>
                    </a:lnTo>
                    <a:lnTo>
                      <a:pt x="118" y="239"/>
                    </a:lnTo>
                    <a:lnTo>
                      <a:pt x="120" y="239"/>
                    </a:lnTo>
                    <a:lnTo>
                      <a:pt x="120" y="241"/>
                    </a:lnTo>
                    <a:lnTo>
                      <a:pt x="122" y="241"/>
                    </a:lnTo>
                    <a:lnTo>
                      <a:pt x="122" y="242"/>
                    </a:lnTo>
                    <a:lnTo>
                      <a:pt x="123" y="242"/>
                    </a:lnTo>
                    <a:lnTo>
                      <a:pt x="125" y="242"/>
                    </a:lnTo>
                    <a:lnTo>
                      <a:pt x="126" y="242"/>
                    </a:lnTo>
                    <a:lnTo>
                      <a:pt x="126" y="241"/>
                    </a:lnTo>
                    <a:lnTo>
                      <a:pt x="126" y="239"/>
                    </a:lnTo>
                    <a:lnTo>
                      <a:pt x="128" y="239"/>
                    </a:lnTo>
                    <a:lnTo>
                      <a:pt x="128" y="241"/>
                    </a:lnTo>
                    <a:lnTo>
                      <a:pt x="129" y="241"/>
                    </a:lnTo>
                    <a:lnTo>
                      <a:pt x="129" y="239"/>
                    </a:lnTo>
                    <a:lnTo>
                      <a:pt x="131" y="239"/>
                    </a:lnTo>
                    <a:lnTo>
                      <a:pt x="131" y="238"/>
                    </a:lnTo>
                    <a:lnTo>
                      <a:pt x="133" y="238"/>
                    </a:lnTo>
                    <a:lnTo>
                      <a:pt x="133" y="239"/>
                    </a:lnTo>
                    <a:lnTo>
                      <a:pt x="134" y="239"/>
                    </a:lnTo>
                    <a:lnTo>
                      <a:pt x="134" y="241"/>
                    </a:lnTo>
                    <a:lnTo>
                      <a:pt x="136" y="241"/>
                    </a:lnTo>
                    <a:lnTo>
                      <a:pt x="136" y="242"/>
                    </a:lnTo>
                    <a:lnTo>
                      <a:pt x="137" y="242"/>
                    </a:lnTo>
                    <a:lnTo>
                      <a:pt x="139" y="242"/>
                    </a:lnTo>
                    <a:lnTo>
                      <a:pt x="141" y="242"/>
                    </a:lnTo>
                    <a:lnTo>
                      <a:pt x="141" y="241"/>
                    </a:lnTo>
                    <a:lnTo>
                      <a:pt x="141" y="239"/>
                    </a:lnTo>
                    <a:lnTo>
                      <a:pt x="141" y="238"/>
                    </a:lnTo>
                    <a:lnTo>
                      <a:pt x="141" y="236"/>
                    </a:lnTo>
                    <a:lnTo>
                      <a:pt x="141" y="234"/>
                    </a:lnTo>
                    <a:lnTo>
                      <a:pt x="142" y="234"/>
                    </a:lnTo>
                    <a:lnTo>
                      <a:pt x="144" y="234"/>
                    </a:lnTo>
                    <a:lnTo>
                      <a:pt x="145" y="234"/>
                    </a:lnTo>
                    <a:lnTo>
                      <a:pt x="147" y="234"/>
                    </a:lnTo>
                    <a:lnTo>
                      <a:pt x="147" y="233"/>
                    </a:lnTo>
                    <a:lnTo>
                      <a:pt x="148" y="233"/>
                    </a:lnTo>
                    <a:lnTo>
                      <a:pt x="147" y="233"/>
                    </a:lnTo>
                    <a:lnTo>
                      <a:pt x="147" y="231"/>
                    </a:lnTo>
                    <a:lnTo>
                      <a:pt x="147" y="230"/>
                    </a:lnTo>
                    <a:lnTo>
                      <a:pt x="148" y="230"/>
                    </a:lnTo>
                    <a:lnTo>
                      <a:pt x="150" y="230"/>
                    </a:lnTo>
                    <a:lnTo>
                      <a:pt x="150" y="228"/>
                    </a:lnTo>
                    <a:lnTo>
                      <a:pt x="152" y="226"/>
                    </a:lnTo>
                    <a:lnTo>
                      <a:pt x="152" y="228"/>
                    </a:lnTo>
                    <a:lnTo>
                      <a:pt x="152" y="226"/>
                    </a:lnTo>
                    <a:lnTo>
                      <a:pt x="153" y="226"/>
                    </a:lnTo>
                    <a:lnTo>
                      <a:pt x="152" y="225"/>
                    </a:lnTo>
                    <a:lnTo>
                      <a:pt x="152" y="223"/>
                    </a:lnTo>
                    <a:lnTo>
                      <a:pt x="153" y="223"/>
                    </a:lnTo>
                    <a:lnTo>
                      <a:pt x="153" y="222"/>
                    </a:lnTo>
                    <a:lnTo>
                      <a:pt x="155" y="222"/>
                    </a:lnTo>
                    <a:lnTo>
                      <a:pt x="156" y="222"/>
                    </a:lnTo>
                    <a:lnTo>
                      <a:pt x="158" y="222"/>
                    </a:lnTo>
                    <a:lnTo>
                      <a:pt x="158" y="220"/>
                    </a:lnTo>
                    <a:lnTo>
                      <a:pt x="158" y="219"/>
                    </a:lnTo>
                    <a:lnTo>
                      <a:pt x="160" y="219"/>
                    </a:lnTo>
                    <a:lnTo>
                      <a:pt x="160" y="217"/>
                    </a:lnTo>
                    <a:lnTo>
                      <a:pt x="160" y="215"/>
                    </a:lnTo>
                    <a:lnTo>
                      <a:pt x="161" y="215"/>
                    </a:lnTo>
                    <a:lnTo>
                      <a:pt x="161" y="214"/>
                    </a:lnTo>
                    <a:lnTo>
                      <a:pt x="161" y="212"/>
                    </a:lnTo>
                    <a:lnTo>
                      <a:pt x="163" y="212"/>
                    </a:lnTo>
                    <a:lnTo>
                      <a:pt x="163" y="211"/>
                    </a:lnTo>
                    <a:lnTo>
                      <a:pt x="163" y="209"/>
                    </a:lnTo>
                    <a:lnTo>
                      <a:pt x="161" y="209"/>
                    </a:lnTo>
                    <a:lnTo>
                      <a:pt x="161" y="207"/>
                    </a:lnTo>
                    <a:lnTo>
                      <a:pt x="160" y="207"/>
                    </a:lnTo>
                    <a:lnTo>
                      <a:pt x="161" y="207"/>
                    </a:lnTo>
                    <a:lnTo>
                      <a:pt x="163" y="207"/>
                    </a:lnTo>
                    <a:lnTo>
                      <a:pt x="163" y="206"/>
                    </a:lnTo>
                    <a:lnTo>
                      <a:pt x="164" y="207"/>
                    </a:lnTo>
                    <a:lnTo>
                      <a:pt x="164" y="206"/>
                    </a:lnTo>
                    <a:lnTo>
                      <a:pt x="164" y="204"/>
                    </a:lnTo>
                    <a:lnTo>
                      <a:pt x="164" y="203"/>
                    </a:lnTo>
                    <a:lnTo>
                      <a:pt x="166" y="203"/>
                    </a:lnTo>
                    <a:lnTo>
                      <a:pt x="166" y="201"/>
                    </a:lnTo>
                    <a:lnTo>
                      <a:pt x="168" y="201"/>
                    </a:lnTo>
                    <a:lnTo>
                      <a:pt x="168" y="199"/>
                    </a:lnTo>
                    <a:lnTo>
                      <a:pt x="169" y="199"/>
                    </a:lnTo>
                    <a:lnTo>
                      <a:pt x="171" y="199"/>
                    </a:lnTo>
                    <a:lnTo>
                      <a:pt x="172" y="199"/>
                    </a:lnTo>
                    <a:lnTo>
                      <a:pt x="172" y="198"/>
                    </a:lnTo>
                    <a:lnTo>
                      <a:pt x="172" y="196"/>
                    </a:lnTo>
                    <a:lnTo>
                      <a:pt x="174" y="195"/>
                    </a:lnTo>
                    <a:lnTo>
                      <a:pt x="174" y="193"/>
                    </a:lnTo>
                    <a:lnTo>
                      <a:pt x="174" y="192"/>
                    </a:lnTo>
                    <a:lnTo>
                      <a:pt x="175" y="192"/>
                    </a:lnTo>
                    <a:lnTo>
                      <a:pt x="175" y="190"/>
                    </a:lnTo>
                    <a:lnTo>
                      <a:pt x="177" y="188"/>
                    </a:lnTo>
                    <a:lnTo>
                      <a:pt x="179" y="190"/>
                    </a:lnTo>
                    <a:lnTo>
                      <a:pt x="180" y="190"/>
                    </a:lnTo>
                    <a:lnTo>
                      <a:pt x="180" y="192"/>
                    </a:lnTo>
                    <a:lnTo>
                      <a:pt x="182" y="192"/>
                    </a:lnTo>
                    <a:lnTo>
                      <a:pt x="183" y="190"/>
                    </a:lnTo>
                    <a:lnTo>
                      <a:pt x="183" y="188"/>
                    </a:lnTo>
                    <a:lnTo>
                      <a:pt x="183" y="187"/>
                    </a:lnTo>
                    <a:lnTo>
                      <a:pt x="185" y="187"/>
                    </a:lnTo>
                    <a:lnTo>
                      <a:pt x="185" y="185"/>
                    </a:lnTo>
                    <a:lnTo>
                      <a:pt x="187" y="185"/>
                    </a:lnTo>
                    <a:lnTo>
                      <a:pt x="187" y="184"/>
                    </a:lnTo>
                    <a:lnTo>
                      <a:pt x="188" y="184"/>
                    </a:lnTo>
                    <a:lnTo>
                      <a:pt x="190" y="184"/>
                    </a:lnTo>
                    <a:lnTo>
                      <a:pt x="190" y="182"/>
                    </a:lnTo>
                    <a:lnTo>
                      <a:pt x="191" y="182"/>
                    </a:lnTo>
                    <a:lnTo>
                      <a:pt x="191" y="180"/>
                    </a:lnTo>
                    <a:lnTo>
                      <a:pt x="193" y="180"/>
                    </a:lnTo>
                    <a:lnTo>
                      <a:pt x="194" y="182"/>
                    </a:lnTo>
                    <a:lnTo>
                      <a:pt x="202" y="182"/>
                    </a:lnTo>
                    <a:lnTo>
                      <a:pt x="202" y="180"/>
                    </a:lnTo>
                    <a:lnTo>
                      <a:pt x="202" y="179"/>
                    </a:lnTo>
                    <a:lnTo>
                      <a:pt x="204" y="179"/>
                    </a:lnTo>
                    <a:lnTo>
                      <a:pt x="204" y="177"/>
                    </a:lnTo>
                    <a:lnTo>
                      <a:pt x="202" y="177"/>
                    </a:lnTo>
                    <a:lnTo>
                      <a:pt x="201" y="177"/>
                    </a:lnTo>
                    <a:lnTo>
                      <a:pt x="199" y="177"/>
                    </a:lnTo>
                    <a:lnTo>
                      <a:pt x="198" y="177"/>
                    </a:lnTo>
                    <a:lnTo>
                      <a:pt x="198" y="176"/>
                    </a:lnTo>
                    <a:lnTo>
                      <a:pt x="199" y="174"/>
                    </a:lnTo>
                    <a:lnTo>
                      <a:pt x="201" y="174"/>
                    </a:lnTo>
                    <a:lnTo>
                      <a:pt x="201" y="176"/>
                    </a:lnTo>
                    <a:lnTo>
                      <a:pt x="202" y="176"/>
                    </a:lnTo>
                    <a:lnTo>
                      <a:pt x="202" y="174"/>
                    </a:lnTo>
                    <a:lnTo>
                      <a:pt x="204" y="174"/>
                    </a:lnTo>
                    <a:lnTo>
                      <a:pt x="206" y="174"/>
                    </a:lnTo>
                    <a:lnTo>
                      <a:pt x="207" y="173"/>
                    </a:lnTo>
                    <a:lnTo>
                      <a:pt x="209" y="173"/>
                    </a:lnTo>
                    <a:lnTo>
                      <a:pt x="210" y="173"/>
                    </a:lnTo>
                    <a:lnTo>
                      <a:pt x="212" y="174"/>
                    </a:lnTo>
                    <a:lnTo>
                      <a:pt x="213" y="176"/>
                    </a:lnTo>
                    <a:lnTo>
                      <a:pt x="213" y="177"/>
                    </a:lnTo>
                    <a:lnTo>
                      <a:pt x="215" y="177"/>
                    </a:lnTo>
                    <a:lnTo>
                      <a:pt x="213" y="179"/>
                    </a:lnTo>
                    <a:lnTo>
                      <a:pt x="213" y="180"/>
                    </a:lnTo>
                    <a:lnTo>
                      <a:pt x="215" y="180"/>
                    </a:lnTo>
                    <a:lnTo>
                      <a:pt x="215" y="182"/>
                    </a:lnTo>
                    <a:lnTo>
                      <a:pt x="215" y="184"/>
                    </a:lnTo>
                    <a:lnTo>
                      <a:pt x="217" y="184"/>
                    </a:lnTo>
                    <a:lnTo>
                      <a:pt x="217" y="185"/>
                    </a:lnTo>
                    <a:lnTo>
                      <a:pt x="217" y="187"/>
                    </a:lnTo>
                    <a:lnTo>
                      <a:pt x="218" y="187"/>
                    </a:lnTo>
                    <a:lnTo>
                      <a:pt x="218" y="188"/>
                    </a:lnTo>
                    <a:lnTo>
                      <a:pt x="218" y="190"/>
                    </a:lnTo>
                    <a:lnTo>
                      <a:pt x="218" y="192"/>
                    </a:lnTo>
                    <a:lnTo>
                      <a:pt x="218" y="193"/>
                    </a:lnTo>
                    <a:lnTo>
                      <a:pt x="220" y="195"/>
                    </a:lnTo>
                    <a:lnTo>
                      <a:pt x="218" y="195"/>
                    </a:lnTo>
                    <a:lnTo>
                      <a:pt x="218" y="196"/>
                    </a:lnTo>
                    <a:lnTo>
                      <a:pt x="217" y="196"/>
                    </a:lnTo>
                    <a:lnTo>
                      <a:pt x="215" y="198"/>
                    </a:lnTo>
                    <a:lnTo>
                      <a:pt x="215" y="199"/>
                    </a:lnTo>
                    <a:lnTo>
                      <a:pt x="215" y="201"/>
                    </a:lnTo>
                    <a:lnTo>
                      <a:pt x="213" y="201"/>
                    </a:lnTo>
                    <a:lnTo>
                      <a:pt x="213" y="203"/>
                    </a:lnTo>
                    <a:lnTo>
                      <a:pt x="213" y="204"/>
                    </a:lnTo>
                    <a:lnTo>
                      <a:pt x="213" y="206"/>
                    </a:lnTo>
                    <a:lnTo>
                      <a:pt x="213" y="207"/>
                    </a:lnTo>
                    <a:lnTo>
                      <a:pt x="213" y="209"/>
                    </a:lnTo>
                    <a:lnTo>
                      <a:pt x="213" y="211"/>
                    </a:lnTo>
                    <a:lnTo>
                      <a:pt x="213" y="212"/>
                    </a:lnTo>
                    <a:lnTo>
                      <a:pt x="213" y="214"/>
                    </a:lnTo>
                    <a:lnTo>
                      <a:pt x="213" y="215"/>
                    </a:lnTo>
                    <a:lnTo>
                      <a:pt x="213" y="217"/>
                    </a:lnTo>
                    <a:lnTo>
                      <a:pt x="213" y="219"/>
                    </a:lnTo>
                    <a:lnTo>
                      <a:pt x="212" y="219"/>
                    </a:lnTo>
                    <a:lnTo>
                      <a:pt x="212" y="220"/>
                    </a:lnTo>
                    <a:lnTo>
                      <a:pt x="212" y="222"/>
                    </a:lnTo>
                    <a:lnTo>
                      <a:pt x="212" y="223"/>
                    </a:lnTo>
                    <a:lnTo>
                      <a:pt x="212" y="225"/>
                    </a:lnTo>
                    <a:lnTo>
                      <a:pt x="212" y="226"/>
                    </a:lnTo>
                    <a:lnTo>
                      <a:pt x="210" y="226"/>
                    </a:lnTo>
                    <a:lnTo>
                      <a:pt x="210" y="228"/>
                    </a:lnTo>
                    <a:lnTo>
                      <a:pt x="210" y="230"/>
                    </a:lnTo>
                    <a:lnTo>
                      <a:pt x="212" y="230"/>
                    </a:lnTo>
                    <a:lnTo>
                      <a:pt x="210" y="230"/>
                    </a:lnTo>
                    <a:lnTo>
                      <a:pt x="210" y="231"/>
                    </a:lnTo>
                    <a:lnTo>
                      <a:pt x="209" y="231"/>
                    </a:lnTo>
                    <a:lnTo>
                      <a:pt x="207" y="231"/>
                    </a:lnTo>
                    <a:lnTo>
                      <a:pt x="207" y="233"/>
                    </a:lnTo>
                    <a:lnTo>
                      <a:pt x="209" y="233"/>
                    </a:lnTo>
                    <a:lnTo>
                      <a:pt x="207" y="234"/>
                    </a:lnTo>
                    <a:lnTo>
                      <a:pt x="209" y="236"/>
                    </a:lnTo>
                    <a:lnTo>
                      <a:pt x="210" y="236"/>
                    </a:lnTo>
                    <a:lnTo>
                      <a:pt x="210" y="238"/>
                    </a:lnTo>
                    <a:lnTo>
                      <a:pt x="209" y="238"/>
                    </a:lnTo>
                    <a:lnTo>
                      <a:pt x="209" y="239"/>
                    </a:lnTo>
                    <a:lnTo>
                      <a:pt x="207" y="241"/>
                    </a:lnTo>
                    <a:lnTo>
                      <a:pt x="207" y="242"/>
                    </a:lnTo>
                    <a:lnTo>
                      <a:pt x="206" y="242"/>
                    </a:lnTo>
                    <a:lnTo>
                      <a:pt x="206" y="244"/>
                    </a:lnTo>
                    <a:lnTo>
                      <a:pt x="206" y="245"/>
                    </a:lnTo>
                    <a:lnTo>
                      <a:pt x="204" y="245"/>
                    </a:lnTo>
                    <a:lnTo>
                      <a:pt x="202" y="245"/>
                    </a:lnTo>
                    <a:lnTo>
                      <a:pt x="202" y="244"/>
                    </a:lnTo>
                    <a:lnTo>
                      <a:pt x="201" y="244"/>
                    </a:lnTo>
                    <a:lnTo>
                      <a:pt x="201" y="245"/>
                    </a:lnTo>
                    <a:lnTo>
                      <a:pt x="199" y="245"/>
                    </a:lnTo>
                    <a:lnTo>
                      <a:pt x="198" y="245"/>
                    </a:lnTo>
                    <a:lnTo>
                      <a:pt x="198" y="247"/>
                    </a:lnTo>
                    <a:lnTo>
                      <a:pt x="196" y="249"/>
                    </a:lnTo>
                    <a:lnTo>
                      <a:pt x="196" y="250"/>
                    </a:lnTo>
                    <a:lnTo>
                      <a:pt x="194" y="250"/>
                    </a:lnTo>
                    <a:lnTo>
                      <a:pt x="194" y="252"/>
                    </a:lnTo>
                    <a:lnTo>
                      <a:pt x="193" y="252"/>
                    </a:lnTo>
                    <a:lnTo>
                      <a:pt x="191" y="252"/>
                    </a:lnTo>
                    <a:lnTo>
                      <a:pt x="191" y="250"/>
                    </a:lnTo>
                    <a:lnTo>
                      <a:pt x="191" y="249"/>
                    </a:lnTo>
                    <a:lnTo>
                      <a:pt x="190" y="247"/>
                    </a:lnTo>
                    <a:lnTo>
                      <a:pt x="190" y="249"/>
                    </a:lnTo>
                    <a:lnTo>
                      <a:pt x="190" y="250"/>
                    </a:lnTo>
                    <a:lnTo>
                      <a:pt x="188" y="250"/>
                    </a:lnTo>
                    <a:lnTo>
                      <a:pt x="188" y="252"/>
                    </a:lnTo>
                    <a:lnTo>
                      <a:pt x="187" y="252"/>
                    </a:lnTo>
                    <a:lnTo>
                      <a:pt x="187" y="253"/>
                    </a:lnTo>
                    <a:lnTo>
                      <a:pt x="187" y="255"/>
                    </a:lnTo>
                    <a:lnTo>
                      <a:pt x="188" y="255"/>
                    </a:lnTo>
                    <a:lnTo>
                      <a:pt x="188" y="257"/>
                    </a:lnTo>
                    <a:lnTo>
                      <a:pt x="188" y="258"/>
                    </a:lnTo>
                    <a:lnTo>
                      <a:pt x="187" y="258"/>
                    </a:lnTo>
                    <a:lnTo>
                      <a:pt x="185" y="258"/>
                    </a:lnTo>
                    <a:lnTo>
                      <a:pt x="185" y="260"/>
                    </a:lnTo>
                    <a:lnTo>
                      <a:pt x="183" y="260"/>
                    </a:lnTo>
                    <a:lnTo>
                      <a:pt x="185" y="261"/>
                    </a:lnTo>
                    <a:lnTo>
                      <a:pt x="187" y="261"/>
                    </a:lnTo>
                    <a:lnTo>
                      <a:pt x="187" y="263"/>
                    </a:lnTo>
                    <a:lnTo>
                      <a:pt x="188" y="263"/>
                    </a:lnTo>
                    <a:lnTo>
                      <a:pt x="188" y="264"/>
                    </a:lnTo>
                    <a:lnTo>
                      <a:pt x="188" y="266"/>
                    </a:lnTo>
                    <a:lnTo>
                      <a:pt x="188" y="268"/>
                    </a:lnTo>
                    <a:lnTo>
                      <a:pt x="190" y="268"/>
                    </a:lnTo>
                    <a:lnTo>
                      <a:pt x="190" y="269"/>
                    </a:lnTo>
                    <a:lnTo>
                      <a:pt x="190" y="268"/>
                    </a:lnTo>
                    <a:lnTo>
                      <a:pt x="191" y="268"/>
                    </a:lnTo>
                    <a:lnTo>
                      <a:pt x="193" y="268"/>
                    </a:lnTo>
                    <a:lnTo>
                      <a:pt x="194" y="268"/>
                    </a:lnTo>
                    <a:lnTo>
                      <a:pt x="194" y="266"/>
                    </a:lnTo>
                    <a:lnTo>
                      <a:pt x="196" y="266"/>
                    </a:lnTo>
                    <a:lnTo>
                      <a:pt x="198" y="266"/>
                    </a:lnTo>
                    <a:lnTo>
                      <a:pt x="199" y="266"/>
                    </a:lnTo>
                    <a:lnTo>
                      <a:pt x="199" y="268"/>
                    </a:lnTo>
                    <a:lnTo>
                      <a:pt x="201" y="268"/>
                    </a:lnTo>
                    <a:lnTo>
                      <a:pt x="201" y="266"/>
                    </a:lnTo>
                    <a:lnTo>
                      <a:pt x="202" y="266"/>
                    </a:lnTo>
                    <a:lnTo>
                      <a:pt x="204" y="266"/>
                    </a:lnTo>
                    <a:lnTo>
                      <a:pt x="206" y="266"/>
                    </a:lnTo>
                    <a:lnTo>
                      <a:pt x="206" y="268"/>
                    </a:lnTo>
                    <a:lnTo>
                      <a:pt x="207" y="268"/>
                    </a:lnTo>
                    <a:lnTo>
                      <a:pt x="209" y="268"/>
                    </a:lnTo>
                    <a:lnTo>
                      <a:pt x="209" y="269"/>
                    </a:lnTo>
                    <a:lnTo>
                      <a:pt x="210" y="269"/>
                    </a:lnTo>
                    <a:lnTo>
                      <a:pt x="209" y="269"/>
                    </a:lnTo>
                    <a:lnTo>
                      <a:pt x="209" y="271"/>
                    </a:lnTo>
                    <a:lnTo>
                      <a:pt x="207" y="271"/>
                    </a:lnTo>
                    <a:lnTo>
                      <a:pt x="207" y="272"/>
                    </a:lnTo>
                    <a:lnTo>
                      <a:pt x="207" y="274"/>
                    </a:lnTo>
                    <a:lnTo>
                      <a:pt x="209" y="274"/>
                    </a:lnTo>
                    <a:lnTo>
                      <a:pt x="210" y="274"/>
                    </a:lnTo>
                    <a:lnTo>
                      <a:pt x="212" y="274"/>
                    </a:lnTo>
                    <a:lnTo>
                      <a:pt x="213" y="274"/>
                    </a:lnTo>
                    <a:lnTo>
                      <a:pt x="213" y="272"/>
                    </a:lnTo>
                    <a:lnTo>
                      <a:pt x="213" y="271"/>
                    </a:lnTo>
                    <a:lnTo>
                      <a:pt x="215" y="271"/>
                    </a:lnTo>
                    <a:lnTo>
                      <a:pt x="215" y="272"/>
                    </a:lnTo>
                    <a:lnTo>
                      <a:pt x="217" y="272"/>
                    </a:lnTo>
                    <a:lnTo>
                      <a:pt x="218" y="274"/>
                    </a:lnTo>
                    <a:lnTo>
                      <a:pt x="220" y="274"/>
                    </a:lnTo>
                    <a:lnTo>
                      <a:pt x="220" y="276"/>
                    </a:lnTo>
                    <a:lnTo>
                      <a:pt x="221" y="276"/>
                    </a:lnTo>
                    <a:lnTo>
                      <a:pt x="223" y="277"/>
                    </a:lnTo>
                    <a:lnTo>
                      <a:pt x="225" y="277"/>
                    </a:lnTo>
                    <a:lnTo>
                      <a:pt x="225" y="279"/>
                    </a:lnTo>
                    <a:lnTo>
                      <a:pt x="225" y="277"/>
                    </a:lnTo>
                    <a:lnTo>
                      <a:pt x="226" y="279"/>
                    </a:lnTo>
                    <a:lnTo>
                      <a:pt x="226" y="277"/>
                    </a:lnTo>
                    <a:lnTo>
                      <a:pt x="228" y="277"/>
                    </a:lnTo>
                    <a:lnTo>
                      <a:pt x="228" y="279"/>
                    </a:lnTo>
                    <a:lnTo>
                      <a:pt x="228" y="277"/>
                    </a:lnTo>
                    <a:lnTo>
                      <a:pt x="229" y="279"/>
                    </a:lnTo>
                    <a:lnTo>
                      <a:pt x="231" y="279"/>
                    </a:lnTo>
                    <a:lnTo>
                      <a:pt x="229" y="279"/>
                    </a:lnTo>
                    <a:lnTo>
                      <a:pt x="229" y="280"/>
                    </a:lnTo>
                    <a:lnTo>
                      <a:pt x="231" y="280"/>
                    </a:lnTo>
                    <a:lnTo>
                      <a:pt x="229" y="282"/>
                    </a:lnTo>
                    <a:lnTo>
                      <a:pt x="229" y="283"/>
                    </a:lnTo>
                    <a:lnTo>
                      <a:pt x="228" y="283"/>
                    </a:lnTo>
                    <a:lnTo>
                      <a:pt x="228" y="285"/>
                    </a:lnTo>
                    <a:lnTo>
                      <a:pt x="229" y="285"/>
                    </a:lnTo>
                    <a:lnTo>
                      <a:pt x="231" y="285"/>
                    </a:lnTo>
                    <a:lnTo>
                      <a:pt x="229" y="285"/>
                    </a:lnTo>
                    <a:lnTo>
                      <a:pt x="229" y="287"/>
                    </a:lnTo>
                    <a:lnTo>
                      <a:pt x="231" y="287"/>
                    </a:lnTo>
                    <a:lnTo>
                      <a:pt x="232" y="287"/>
                    </a:lnTo>
                    <a:lnTo>
                      <a:pt x="231" y="288"/>
                    </a:lnTo>
                    <a:lnTo>
                      <a:pt x="231" y="290"/>
                    </a:lnTo>
                    <a:lnTo>
                      <a:pt x="229" y="291"/>
                    </a:lnTo>
                    <a:lnTo>
                      <a:pt x="229" y="293"/>
                    </a:lnTo>
                    <a:lnTo>
                      <a:pt x="228" y="295"/>
                    </a:lnTo>
                    <a:lnTo>
                      <a:pt x="229" y="295"/>
                    </a:lnTo>
                    <a:lnTo>
                      <a:pt x="231" y="295"/>
                    </a:lnTo>
                    <a:lnTo>
                      <a:pt x="232" y="295"/>
                    </a:lnTo>
                    <a:lnTo>
                      <a:pt x="234" y="295"/>
                    </a:lnTo>
                    <a:lnTo>
                      <a:pt x="236" y="296"/>
                    </a:lnTo>
                    <a:lnTo>
                      <a:pt x="237" y="296"/>
                    </a:lnTo>
                    <a:lnTo>
                      <a:pt x="239" y="296"/>
                    </a:lnTo>
                    <a:lnTo>
                      <a:pt x="240" y="296"/>
                    </a:lnTo>
                    <a:lnTo>
                      <a:pt x="242" y="296"/>
                    </a:lnTo>
                    <a:lnTo>
                      <a:pt x="242" y="298"/>
                    </a:lnTo>
                    <a:lnTo>
                      <a:pt x="244" y="298"/>
                    </a:lnTo>
                    <a:lnTo>
                      <a:pt x="242" y="298"/>
                    </a:lnTo>
                    <a:lnTo>
                      <a:pt x="240" y="298"/>
                    </a:lnTo>
                    <a:lnTo>
                      <a:pt x="240" y="299"/>
                    </a:lnTo>
                    <a:lnTo>
                      <a:pt x="239" y="299"/>
                    </a:lnTo>
                    <a:lnTo>
                      <a:pt x="237" y="299"/>
                    </a:lnTo>
                    <a:lnTo>
                      <a:pt x="237" y="301"/>
                    </a:lnTo>
                    <a:lnTo>
                      <a:pt x="236" y="301"/>
                    </a:lnTo>
                    <a:lnTo>
                      <a:pt x="236" y="302"/>
                    </a:lnTo>
                    <a:lnTo>
                      <a:pt x="237" y="302"/>
                    </a:lnTo>
                    <a:lnTo>
                      <a:pt x="239" y="302"/>
                    </a:lnTo>
                    <a:lnTo>
                      <a:pt x="240" y="302"/>
                    </a:lnTo>
                    <a:lnTo>
                      <a:pt x="242" y="302"/>
                    </a:lnTo>
                    <a:lnTo>
                      <a:pt x="244" y="302"/>
                    </a:lnTo>
                    <a:lnTo>
                      <a:pt x="244" y="304"/>
                    </a:lnTo>
                    <a:lnTo>
                      <a:pt x="245" y="304"/>
                    </a:lnTo>
                    <a:lnTo>
                      <a:pt x="245" y="306"/>
                    </a:lnTo>
                    <a:lnTo>
                      <a:pt x="247" y="306"/>
                    </a:lnTo>
                    <a:lnTo>
                      <a:pt x="247" y="307"/>
                    </a:lnTo>
                    <a:lnTo>
                      <a:pt x="247" y="306"/>
                    </a:lnTo>
                    <a:lnTo>
                      <a:pt x="240" y="304"/>
                    </a:lnTo>
                    <a:lnTo>
                      <a:pt x="232" y="302"/>
                    </a:lnTo>
                    <a:lnTo>
                      <a:pt x="228" y="304"/>
                    </a:lnTo>
                    <a:lnTo>
                      <a:pt x="225" y="304"/>
                    </a:lnTo>
                    <a:lnTo>
                      <a:pt x="220" y="309"/>
                    </a:lnTo>
                    <a:lnTo>
                      <a:pt x="213" y="315"/>
                    </a:lnTo>
                    <a:lnTo>
                      <a:pt x="210" y="320"/>
                    </a:lnTo>
                    <a:lnTo>
                      <a:pt x="204" y="318"/>
                    </a:lnTo>
                    <a:lnTo>
                      <a:pt x="199" y="315"/>
                    </a:lnTo>
                    <a:lnTo>
                      <a:pt x="193" y="315"/>
                    </a:lnTo>
                    <a:lnTo>
                      <a:pt x="190" y="317"/>
                    </a:lnTo>
                    <a:lnTo>
                      <a:pt x="188" y="320"/>
                    </a:lnTo>
                    <a:lnTo>
                      <a:pt x="187" y="320"/>
                    </a:lnTo>
                    <a:lnTo>
                      <a:pt x="183" y="317"/>
                    </a:lnTo>
                    <a:lnTo>
                      <a:pt x="179" y="310"/>
                    </a:lnTo>
                    <a:lnTo>
                      <a:pt x="175" y="310"/>
                    </a:lnTo>
                    <a:lnTo>
                      <a:pt x="174" y="309"/>
                    </a:lnTo>
                    <a:lnTo>
                      <a:pt x="172" y="310"/>
                    </a:lnTo>
                    <a:lnTo>
                      <a:pt x="172" y="312"/>
                    </a:lnTo>
                    <a:lnTo>
                      <a:pt x="172" y="315"/>
                    </a:lnTo>
                    <a:lnTo>
                      <a:pt x="172" y="322"/>
                    </a:lnTo>
                    <a:lnTo>
                      <a:pt x="172" y="328"/>
                    </a:lnTo>
                    <a:lnTo>
                      <a:pt x="174" y="336"/>
                    </a:lnTo>
                    <a:lnTo>
                      <a:pt x="179" y="344"/>
                    </a:lnTo>
                    <a:lnTo>
                      <a:pt x="180" y="350"/>
                    </a:lnTo>
                    <a:lnTo>
                      <a:pt x="183" y="353"/>
                    </a:lnTo>
                    <a:lnTo>
                      <a:pt x="187" y="355"/>
                    </a:lnTo>
                    <a:lnTo>
                      <a:pt x="190" y="355"/>
                    </a:lnTo>
                    <a:lnTo>
                      <a:pt x="193" y="355"/>
                    </a:lnTo>
                    <a:lnTo>
                      <a:pt x="196" y="353"/>
                    </a:lnTo>
                    <a:lnTo>
                      <a:pt x="201" y="356"/>
                    </a:lnTo>
                    <a:lnTo>
                      <a:pt x="206" y="361"/>
                    </a:lnTo>
                    <a:lnTo>
                      <a:pt x="209" y="369"/>
                    </a:lnTo>
                    <a:lnTo>
                      <a:pt x="207" y="375"/>
                    </a:lnTo>
                    <a:lnTo>
                      <a:pt x="202" y="380"/>
                    </a:lnTo>
                    <a:lnTo>
                      <a:pt x="202" y="383"/>
                    </a:lnTo>
                    <a:lnTo>
                      <a:pt x="198" y="390"/>
                    </a:lnTo>
                    <a:lnTo>
                      <a:pt x="193" y="399"/>
                    </a:lnTo>
                    <a:lnTo>
                      <a:pt x="187" y="407"/>
                    </a:lnTo>
                    <a:lnTo>
                      <a:pt x="182" y="412"/>
                    </a:lnTo>
                    <a:lnTo>
                      <a:pt x="179" y="418"/>
                    </a:lnTo>
                    <a:lnTo>
                      <a:pt x="179" y="423"/>
                    </a:lnTo>
                    <a:lnTo>
                      <a:pt x="179" y="431"/>
                    </a:lnTo>
                    <a:lnTo>
                      <a:pt x="180" y="439"/>
                    </a:lnTo>
                    <a:lnTo>
                      <a:pt x="179" y="444"/>
                    </a:lnTo>
                    <a:lnTo>
                      <a:pt x="180" y="448"/>
                    </a:lnTo>
                    <a:lnTo>
                      <a:pt x="185" y="456"/>
                    </a:lnTo>
                    <a:lnTo>
                      <a:pt x="188" y="464"/>
                    </a:lnTo>
                    <a:lnTo>
                      <a:pt x="188" y="472"/>
                    </a:lnTo>
                    <a:lnTo>
                      <a:pt x="190" y="478"/>
                    </a:lnTo>
                    <a:lnTo>
                      <a:pt x="193" y="483"/>
                    </a:lnTo>
                    <a:lnTo>
                      <a:pt x="194" y="482"/>
                    </a:lnTo>
                    <a:lnTo>
                      <a:pt x="196" y="475"/>
                    </a:lnTo>
                    <a:lnTo>
                      <a:pt x="199" y="469"/>
                    </a:lnTo>
                    <a:lnTo>
                      <a:pt x="201" y="470"/>
                    </a:lnTo>
                    <a:lnTo>
                      <a:pt x="204" y="472"/>
                    </a:lnTo>
                    <a:lnTo>
                      <a:pt x="209" y="477"/>
                    </a:lnTo>
                    <a:lnTo>
                      <a:pt x="210" y="482"/>
                    </a:lnTo>
                    <a:lnTo>
                      <a:pt x="213" y="482"/>
                    </a:lnTo>
                    <a:lnTo>
                      <a:pt x="213" y="478"/>
                    </a:lnTo>
                    <a:lnTo>
                      <a:pt x="215" y="470"/>
                    </a:lnTo>
                    <a:lnTo>
                      <a:pt x="217" y="459"/>
                    </a:lnTo>
                    <a:lnTo>
                      <a:pt x="221" y="453"/>
                    </a:lnTo>
                    <a:lnTo>
                      <a:pt x="226" y="453"/>
                    </a:lnTo>
                    <a:lnTo>
                      <a:pt x="234" y="458"/>
                    </a:lnTo>
                    <a:lnTo>
                      <a:pt x="239" y="463"/>
                    </a:lnTo>
                    <a:lnTo>
                      <a:pt x="242" y="469"/>
                    </a:lnTo>
                    <a:lnTo>
                      <a:pt x="245" y="475"/>
                    </a:lnTo>
                    <a:lnTo>
                      <a:pt x="250" y="477"/>
                    </a:lnTo>
                    <a:lnTo>
                      <a:pt x="255" y="475"/>
                    </a:lnTo>
                    <a:lnTo>
                      <a:pt x="259" y="472"/>
                    </a:lnTo>
                    <a:lnTo>
                      <a:pt x="264" y="466"/>
                    </a:lnTo>
                    <a:lnTo>
                      <a:pt x="269" y="458"/>
                    </a:lnTo>
                    <a:lnTo>
                      <a:pt x="272" y="455"/>
                    </a:lnTo>
                    <a:lnTo>
                      <a:pt x="278" y="455"/>
                    </a:lnTo>
                    <a:lnTo>
                      <a:pt x="283" y="458"/>
                    </a:lnTo>
                    <a:lnTo>
                      <a:pt x="286" y="458"/>
                    </a:lnTo>
                    <a:lnTo>
                      <a:pt x="288" y="455"/>
                    </a:lnTo>
                    <a:lnTo>
                      <a:pt x="296" y="451"/>
                    </a:lnTo>
                    <a:lnTo>
                      <a:pt x="305" y="450"/>
                    </a:lnTo>
                    <a:lnTo>
                      <a:pt x="308" y="448"/>
                    </a:lnTo>
                    <a:lnTo>
                      <a:pt x="312" y="448"/>
                    </a:lnTo>
                    <a:lnTo>
                      <a:pt x="320" y="444"/>
                    </a:lnTo>
                    <a:lnTo>
                      <a:pt x="323" y="442"/>
                    </a:lnTo>
                    <a:lnTo>
                      <a:pt x="323" y="432"/>
                    </a:lnTo>
                    <a:lnTo>
                      <a:pt x="321" y="421"/>
                    </a:lnTo>
                    <a:lnTo>
                      <a:pt x="321" y="409"/>
                    </a:lnTo>
                    <a:lnTo>
                      <a:pt x="323" y="398"/>
                    </a:lnTo>
                    <a:lnTo>
                      <a:pt x="323" y="386"/>
                    </a:lnTo>
                    <a:lnTo>
                      <a:pt x="321" y="377"/>
                    </a:lnTo>
                    <a:lnTo>
                      <a:pt x="321" y="371"/>
                    </a:lnTo>
                    <a:lnTo>
                      <a:pt x="323" y="367"/>
                    </a:lnTo>
                    <a:lnTo>
                      <a:pt x="323" y="366"/>
                    </a:lnTo>
                    <a:lnTo>
                      <a:pt x="326" y="366"/>
                    </a:lnTo>
                    <a:lnTo>
                      <a:pt x="327" y="364"/>
                    </a:lnTo>
                    <a:lnTo>
                      <a:pt x="331" y="364"/>
                    </a:lnTo>
                    <a:lnTo>
                      <a:pt x="332" y="364"/>
                    </a:lnTo>
                    <a:lnTo>
                      <a:pt x="335" y="364"/>
                    </a:lnTo>
                    <a:lnTo>
                      <a:pt x="337" y="364"/>
                    </a:lnTo>
                    <a:lnTo>
                      <a:pt x="340" y="364"/>
                    </a:lnTo>
                    <a:lnTo>
                      <a:pt x="342" y="364"/>
                    </a:lnTo>
                    <a:lnTo>
                      <a:pt x="343" y="364"/>
                    </a:lnTo>
                    <a:lnTo>
                      <a:pt x="346" y="364"/>
                    </a:lnTo>
                    <a:lnTo>
                      <a:pt x="351" y="363"/>
                    </a:lnTo>
                    <a:lnTo>
                      <a:pt x="354" y="363"/>
                    </a:lnTo>
                    <a:lnTo>
                      <a:pt x="361" y="364"/>
                    </a:lnTo>
                    <a:lnTo>
                      <a:pt x="364" y="366"/>
                    </a:lnTo>
                    <a:lnTo>
                      <a:pt x="364" y="367"/>
                    </a:lnTo>
                    <a:lnTo>
                      <a:pt x="364" y="369"/>
                    </a:lnTo>
                    <a:lnTo>
                      <a:pt x="366" y="375"/>
                    </a:lnTo>
                    <a:lnTo>
                      <a:pt x="367" y="385"/>
                    </a:lnTo>
                    <a:lnTo>
                      <a:pt x="370" y="388"/>
                    </a:lnTo>
                    <a:lnTo>
                      <a:pt x="373" y="391"/>
                    </a:lnTo>
                    <a:lnTo>
                      <a:pt x="377" y="396"/>
                    </a:lnTo>
                    <a:lnTo>
                      <a:pt x="377" y="401"/>
                    </a:lnTo>
                    <a:lnTo>
                      <a:pt x="375" y="404"/>
                    </a:lnTo>
                    <a:lnTo>
                      <a:pt x="381" y="404"/>
                    </a:lnTo>
                    <a:lnTo>
                      <a:pt x="391" y="402"/>
                    </a:lnTo>
                    <a:lnTo>
                      <a:pt x="397" y="404"/>
                    </a:lnTo>
                    <a:lnTo>
                      <a:pt x="400" y="405"/>
                    </a:lnTo>
                    <a:lnTo>
                      <a:pt x="405" y="410"/>
                    </a:lnTo>
                    <a:lnTo>
                      <a:pt x="405" y="417"/>
                    </a:lnTo>
                    <a:lnTo>
                      <a:pt x="404" y="421"/>
                    </a:lnTo>
                    <a:lnTo>
                      <a:pt x="402" y="428"/>
                    </a:lnTo>
                    <a:lnTo>
                      <a:pt x="402" y="432"/>
                    </a:lnTo>
                    <a:lnTo>
                      <a:pt x="397" y="437"/>
                    </a:lnTo>
                    <a:lnTo>
                      <a:pt x="394" y="442"/>
                    </a:lnTo>
                    <a:lnTo>
                      <a:pt x="394" y="447"/>
                    </a:lnTo>
                    <a:lnTo>
                      <a:pt x="397" y="450"/>
                    </a:lnTo>
                    <a:lnTo>
                      <a:pt x="402" y="451"/>
                    </a:lnTo>
                    <a:lnTo>
                      <a:pt x="405" y="451"/>
                    </a:lnTo>
                    <a:lnTo>
                      <a:pt x="410" y="450"/>
                    </a:lnTo>
                    <a:lnTo>
                      <a:pt x="411" y="450"/>
                    </a:lnTo>
                    <a:lnTo>
                      <a:pt x="415" y="448"/>
                    </a:lnTo>
                    <a:lnTo>
                      <a:pt x="418" y="445"/>
                    </a:lnTo>
                    <a:lnTo>
                      <a:pt x="421" y="440"/>
                    </a:lnTo>
                    <a:lnTo>
                      <a:pt x="426" y="436"/>
                    </a:lnTo>
                    <a:lnTo>
                      <a:pt x="432" y="428"/>
                    </a:lnTo>
                    <a:lnTo>
                      <a:pt x="435" y="424"/>
                    </a:lnTo>
                    <a:lnTo>
                      <a:pt x="438" y="420"/>
                    </a:lnTo>
                    <a:lnTo>
                      <a:pt x="438" y="418"/>
                    </a:lnTo>
                    <a:lnTo>
                      <a:pt x="440" y="415"/>
                    </a:lnTo>
                    <a:lnTo>
                      <a:pt x="442" y="413"/>
                    </a:lnTo>
                    <a:lnTo>
                      <a:pt x="446" y="412"/>
                    </a:lnTo>
                    <a:lnTo>
                      <a:pt x="449" y="410"/>
                    </a:lnTo>
                    <a:lnTo>
                      <a:pt x="451" y="410"/>
                    </a:lnTo>
                    <a:lnTo>
                      <a:pt x="456" y="409"/>
                    </a:lnTo>
                    <a:lnTo>
                      <a:pt x="461" y="405"/>
                    </a:lnTo>
                    <a:lnTo>
                      <a:pt x="462" y="401"/>
                    </a:lnTo>
                    <a:lnTo>
                      <a:pt x="462" y="394"/>
                    </a:lnTo>
                    <a:lnTo>
                      <a:pt x="462" y="388"/>
                    </a:lnTo>
                    <a:lnTo>
                      <a:pt x="462" y="383"/>
                    </a:lnTo>
                    <a:lnTo>
                      <a:pt x="465" y="380"/>
                    </a:lnTo>
                    <a:lnTo>
                      <a:pt x="470" y="375"/>
                    </a:lnTo>
                    <a:lnTo>
                      <a:pt x="478" y="367"/>
                    </a:lnTo>
                    <a:lnTo>
                      <a:pt x="486" y="360"/>
                    </a:lnTo>
                    <a:lnTo>
                      <a:pt x="492" y="350"/>
                    </a:lnTo>
                    <a:lnTo>
                      <a:pt x="499" y="341"/>
                    </a:lnTo>
                    <a:lnTo>
                      <a:pt x="505" y="329"/>
                    </a:lnTo>
                    <a:lnTo>
                      <a:pt x="510" y="323"/>
                    </a:lnTo>
                    <a:lnTo>
                      <a:pt x="514" y="315"/>
                    </a:lnTo>
                    <a:lnTo>
                      <a:pt x="522" y="309"/>
                    </a:lnTo>
                    <a:lnTo>
                      <a:pt x="529" y="301"/>
                    </a:lnTo>
                    <a:lnTo>
                      <a:pt x="537" y="295"/>
                    </a:lnTo>
                    <a:lnTo>
                      <a:pt x="545" y="291"/>
                    </a:lnTo>
                    <a:lnTo>
                      <a:pt x="556" y="291"/>
                    </a:lnTo>
                    <a:lnTo>
                      <a:pt x="568" y="290"/>
                    </a:lnTo>
                    <a:lnTo>
                      <a:pt x="576" y="288"/>
                    </a:lnTo>
                    <a:lnTo>
                      <a:pt x="583" y="287"/>
                    </a:lnTo>
                    <a:lnTo>
                      <a:pt x="587" y="282"/>
                    </a:lnTo>
                    <a:lnTo>
                      <a:pt x="590" y="279"/>
                    </a:lnTo>
                    <a:lnTo>
                      <a:pt x="592" y="277"/>
                    </a:lnTo>
                    <a:lnTo>
                      <a:pt x="594" y="276"/>
                    </a:lnTo>
                    <a:lnTo>
                      <a:pt x="595" y="274"/>
                    </a:lnTo>
                    <a:lnTo>
                      <a:pt x="597" y="274"/>
                    </a:lnTo>
                    <a:lnTo>
                      <a:pt x="602" y="276"/>
                    </a:lnTo>
                    <a:lnTo>
                      <a:pt x="609" y="274"/>
                    </a:lnTo>
                    <a:lnTo>
                      <a:pt x="619" y="274"/>
                    </a:lnTo>
                    <a:lnTo>
                      <a:pt x="628" y="272"/>
                    </a:lnTo>
                    <a:lnTo>
                      <a:pt x="636" y="269"/>
                    </a:lnTo>
                    <a:lnTo>
                      <a:pt x="643" y="269"/>
                    </a:lnTo>
                    <a:lnTo>
                      <a:pt x="651" y="274"/>
                    </a:lnTo>
                    <a:lnTo>
                      <a:pt x="659" y="282"/>
                    </a:lnTo>
                    <a:lnTo>
                      <a:pt x="662" y="287"/>
                    </a:lnTo>
                    <a:lnTo>
                      <a:pt x="657" y="288"/>
                    </a:lnTo>
                    <a:lnTo>
                      <a:pt x="651" y="291"/>
                    </a:lnTo>
                    <a:lnTo>
                      <a:pt x="641" y="291"/>
                    </a:lnTo>
                    <a:lnTo>
                      <a:pt x="636" y="291"/>
                    </a:lnTo>
                    <a:lnTo>
                      <a:pt x="633" y="290"/>
                    </a:lnTo>
                    <a:lnTo>
                      <a:pt x="624" y="290"/>
                    </a:lnTo>
                    <a:lnTo>
                      <a:pt x="621" y="291"/>
                    </a:lnTo>
                    <a:lnTo>
                      <a:pt x="622" y="298"/>
                    </a:lnTo>
                    <a:lnTo>
                      <a:pt x="624" y="304"/>
                    </a:lnTo>
                    <a:lnTo>
                      <a:pt x="627" y="309"/>
                    </a:lnTo>
                    <a:lnTo>
                      <a:pt x="628" y="314"/>
                    </a:lnTo>
                    <a:lnTo>
                      <a:pt x="632" y="315"/>
                    </a:lnTo>
                    <a:lnTo>
                      <a:pt x="636" y="315"/>
                    </a:lnTo>
                    <a:lnTo>
                      <a:pt x="646" y="314"/>
                    </a:lnTo>
                    <a:lnTo>
                      <a:pt x="654" y="312"/>
                    </a:lnTo>
                    <a:lnTo>
                      <a:pt x="662" y="310"/>
                    </a:lnTo>
                    <a:lnTo>
                      <a:pt x="670" y="307"/>
                    </a:lnTo>
                    <a:lnTo>
                      <a:pt x="674" y="302"/>
                    </a:lnTo>
                    <a:lnTo>
                      <a:pt x="676" y="302"/>
                    </a:lnTo>
                    <a:lnTo>
                      <a:pt x="681" y="301"/>
                    </a:lnTo>
                    <a:lnTo>
                      <a:pt x="687" y="301"/>
                    </a:lnTo>
                    <a:lnTo>
                      <a:pt x="692" y="296"/>
                    </a:lnTo>
                    <a:lnTo>
                      <a:pt x="700" y="290"/>
                    </a:lnTo>
                    <a:lnTo>
                      <a:pt x="708" y="287"/>
                    </a:lnTo>
                    <a:lnTo>
                      <a:pt x="716" y="283"/>
                    </a:lnTo>
                    <a:lnTo>
                      <a:pt x="725" y="280"/>
                    </a:lnTo>
                    <a:lnTo>
                      <a:pt x="733" y="276"/>
                    </a:lnTo>
                    <a:lnTo>
                      <a:pt x="739" y="269"/>
                    </a:lnTo>
                    <a:lnTo>
                      <a:pt x="744" y="264"/>
                    </a:lnTo>
                    <a:lnTo>
                      <a:pt x="746" y="263"/>
                    </a:lnTo>
                    <a:lnTo>
                      <a:pt x="747" y="261"/>
                    </a:lnTo>
                    <a:lnTo>
                      <a:pt x="749" y="260"/>
                    </a:lnTo>
                    <a:lnTo>
                      <a:pt x="750" y="260"/>
                    </a:lnTo>
                    <a:lnTo>
                      <a:pt x="752" y="260"/>
                    </a:lnTo>
                    <a:lnTo>
                      <a:pt x="755" y="258"/>
                    </a:lnTo>
                    <a:lnTo>
                      <a:pt x="757" y="258"/>
                    </a:lnTo>
                    <a:lnTo>
                      <a:pt x="758" y="258"/>
                    </a:lnTo>
                    <a:lnTo>
                      <a:pt x="760" y="258"/>
                    </a:lnTo>
                    <a:lnTo>
                      <a:pt x="765" y="258"/>
                    </a:lnTo>
                    <a:lnTo>
                      <a:pt x="773" y="258"/>
                    </a:lnTo>
                    <a:lnTo>
                      <a:pt x="781" y="260"/>
                    </a:lnTo>
                    <a:lnTo>
                      <a:pt x="787" y="261"/>
                    </a:lnTo>
                    <a:lnTo>
                      <a:pt x="798" y="263"/>
                    </a:lnTo>
                    <a:lnTo>
                      <a:pt x="809" y="266"/>
                    </a:lnTo>
                    <a:lnTo>
                      <a:pt x="817" y="268"/>
                    </a:lnTo>
                    <a:lnTo>
                      <a:pt x="822" y="271"/>
                    </a:lnTo>
                    <a:lnTo>
                      <a:pt x="826" y="271"/>
                    </a:lnTo>
                    <a:lnTo>
                      <a:pt x="831" y="268"/>
                    </a:lnTo>
                    <a:lnTo>
                      <a:pt x="834" y="263"/>
                    </a:lnTo>
                    <a:lnTo>
                      <a:pt x="841" y="258"/>
                    </a:lnTo>
                    <a:lnTo>
                      <a:pt x="847" y="257"/>
                    </a:lnTo>
                    <a:lnTo>
                      <a:pt x="857" y="255"/>
                    </a:lnTo>
                    <a:lnTo>
                      <a:pt x="868" y="255"/>
                    </a:lnTo>
                    <a:lnTo>
                      <a:pt x="871" y="255"/>
                    </a:lnTo>
                    <a:lnTo>
                      <a:pt x="874" y="264"/>
                    </a:lnTo>
                    <a:lnTo>
                      <a:pt x="879" y="268"/>
                    </a:lnTo>
                    <a:lnTo>
                      <a:pt x="888" y="268"/>
                    </a:lnTo>
                    <a:lnTo>
                      <a:pt x="893" y="268"/>
                    </a:lnTo>
                    <a:lnTo>
                      <a:pt x="898" y="268"/>
                    </a:lnTo>
                    <a:lnTo>
                      <a:pt x="902" y="263"/>
                    </a:lnTo>
                    <a:lnTo>
                      <a:pt x="909" y="261"/>
                    </a:lnTo>
                    <a:lnTo>
                      <a:pt x="914" y="261"/>
                    </a:lnTo>
                    <a:lnTo>
                      <a:pt x="920" y="266"/>
                    </a:lnTo>
                    <a:lnTo>
                      <a:pt x="928" y="264"/>
                    </a:lnTo>
                    <a:lnTo>
                      <a:pt x="934" y="263"/>
                    </a:lnTo>
                    <a:lnTo>
                      <a:pt x="941" y="264"/>
                    </a:lnTo>
                    <a:lnTo>
                      <a:pt x="948" y="266"/>
                    </a:lnTo>
                    <a:lnTo>
                      <a:pt x="956" y="264"/>
                    </a:lnTo>
                    <a:lnTo>
                      <a:pt x="961" y="261"/>
                    </a:lnTo>
                    <a:lnTo>
                      <a:pt x="969" y="257"/>
                    </a:lnTo>
                    <a:lnTo>
                      <a:pt x="972" y="257"/>
                    </a:lnTo>
                    <a:lnTo>
                      <a:pt x="974" y="257"/>
                    </a:lnTo>
                    <a:lnTo>
                      <a:pt x="975" y="257"/>
                    </a:lnTo>
                    <a:lnTo>
                      <a:pt x="980" y="257"/>
                    </a:lnTo>
                    <a:lnTo>
                      <a:pt x="983" y="257"/>
                    </a:lnTo>
                    <a:lnTo>
                      <a:pt x="988" y="260"/>
                    </a:lnTo>
                    <a:lnTo>
                      <a:pt x="990" y="261"/>
                    </a:lnTo>
                    <a:lnTo>
                      <a:pt x="991" y="263"/>
                    </a:lnTo>
                    <a:lnTo>
                      <a:pt x="994" y="266"/>
                    </a:lnTo>
                    <a:lnTo>
                      <a:pt x="996" y="266"/>
                    </a:lnTo>
                    <a:lnTo>
                      <a:pt x="998" y="261"/>
                    </a:lnTo>
                    <a:lnTo>
                      <a:pt x="1002" y="258"/>
                    </a:lnTo>
                    <a:lnTo>
                      <a:pt x="1007" y="257"/>
                    </a:lnTo>
                    <a:lnTo>
                      <a:pt x="1010" y="253"/>
                    </a:lnTo>
                    <a:lnTo>
                      <a:pt x="1015" y="249"/>
                    </a:lnTo>
                    <a:lnTo>
                      <a:pt x="1020" y="242"/>
                    </a:lnTo>
                    <a:lnTo>
                      <a:pt x="1017" y="238"/>
                    </a:lnTo>
                    <a:lnTo>
                      <a:pt x="1013" y="234"/>
                    </a:lnTo>
                    <a:lnTo>
                      <a:pt x="1012" y="231"/>
                    </a:lnTo>
                    <a:lnTo>
                      <a:pt x="1012" y="230"/>
                    </a:lnTo>
                    <a:lnTo>
                      <a:pt x="1010" y="225"/>
                    </a:lnTo>
                    <a:lnTo>
                      <a:pt x="1017" y="223"/>
                    </a:lnTo>
                    <a:lnTo>
                      <a:pt x="1021" y="220"/>
                    </a:lnTo>
                    <a:lnTo>
                      <a:pt x="1028" y="217"/>
                    </a:lnTo>
                    <a:lnTo>
                      <a:pt x="1032" y="214"/>
                    </a:lnTo>
                    <a:lnTo>
                      <a:pt x="1039" y="214"/>
                    </a:lnTo>
                    <a:lnTo>
                      <a:pt x="1045" y="212"/>
                    </a:lnTo>
                    <a:lnTo>
                      <a:pt x="1050" y="214"/>
                    </a:lnTo>
                    <a:lnTo>
                      <a:pt x="1050" y="215"/>
                    </a:lnTo>
                    <a:lnTo>
                      <a:pt x="1051" y="212"/>
                    </a:lnTo>
                    <a:lnTo>
                      <a:pt x="1055" y="211"/>
                    </a:lnTo>
                    <a:lnTo>
                      <a:pt x="1058" y="207"/>
                    </a:lnTo>
                    <a:lnTo>
                      <a:pt x="1062" y="203"/>
                    </a:lnTo>
                    <a:lnTo>
                      <a:pt x="1066" y="201"/>
                    </a:lnTo>
                    <a:lnTo>
                      <a:pt x="1067" y="198"/>
                    </a:lnTo>
                    <a:lnTo>
                      <a:pt x="1070" y="196"/>
                    </a:lnTo>
                    <a:lnTo>
                      <a:pt x="1072" y="196"/>
                    </a:lnTo>
                    <a:lnTo>
                      <a:pt x="1074" y="195"/>
                    </a:lnTo>
                    <a:lnTo>
                      <a:pt x="1075" y="195"/>
                    </a:lnTo>
                    <a:lnTo>
                      <a:pt x="1078" y="195"/>
                    </a:lnTo>
                    <a:lnTo>
                      <a:pt x="1085" y="196"/>
                    </a:lnTo>
                    <a:lnTo>
                      <a:pt x="1086" y="203"/>
                    </a:lnTo>
                    <a:lnTo>
                      <a:pt x="1088" y="212"/>
                    </a:lnTo>
                    <a:lnTo>
                      <a:pt x="1089" y="220"/>
                    </a:lnTo>
                    <a:lnTo>
                      <a:pt x="1088" y="231"/>
                    </a:lnTo>
                    <a:lnTo>
                      <a:pt x="1086" y="238"/>
                    </a:lnTo>
                    <a:lnTo>
                      <a:pt x="1086" y="239"/>
                    </a:lnTo>
                    <a:lnTo>
                      <a:pt x="1088" y="239"/>
                    </a:lnTo>
                    <a:lnTo>
                      <a:pt x="1091" y="238"/>
                    </a:lnTo>
                    <a:lnTo>
                      <a:pt x="1093" y="238"/>
                    </a:lnTo>
                    <a:lnTo>
                      <a:pt x="1094" y="239"/>
                    </a:lnTo>
                    <a:lnTo>
                      <a:pt x="1097" y="242"/>
                    </a:lnTo>
                    <a:lnTo>
                      <a:pt x="1102" y="249"/>
                    </a:lnTo>
                    <a:lnTo>
                      <a:pt x="1105" y="252"/>
                    </a:lnTo>
                    <a:lnTo>
                      <a:pt x="1112" y="260"/>
                    </a:lnTo>
                    <a:lnTo>
                      <a:pt x="1113" y="261"/>
                    </a:lnTo>
                    <a:lnTo>
                      <a:pt x="1120" y="272"/>
                    </a:lnTo>
                    <a:lnTo>
                      <a:pt x="1123" y="277"/>
                    </a:lnTo>
                    <a:lnTo>
                      <a:pt x="1124" y="282"/>
                    </a:lnTo>
                    <a:lnTo>
                      <a:pt x="1129" y="293"/>
                    </a:lnTo>
                    <a:lnTo>
                      <a:pt x="1135" y="304"/>
                    </a:lnTo>
                    <a:lnTo>
                      <a:pt x="1137" y="310"/>
                    </a:lnTo>
                    <a:lnTo>
                      <a:pt x="1134" y="315"/>
                    </a:lnTo>
                    <a:lnTo>
                      <a:pt x="1135" y="322"/>
                    </a:lnTo>
                    <a:lnTo>
                      <a:pt x="1139" y="326"/>
                    </a:lnTo>
                    <a:lnTo>
                      <a:pt x="1142" y="329"/>
                    </a:lnTo>
                    <a:lnTo>
                      <a:pt x="1143" y="336"/>
                    </a:lnTo>
                    <a:lnTo>
                      <a:pt x="1145" y="342"/>
                    </a:lnTo>
                    <a:lnTo>
                      <a:pt x="1148" y="348"/>
                    </a:lnTo>
                    <a:lnTo>
                      <a:pt x="1154" y="353"/>
                    </a:lnTo>
                    <a:lnTo>
                      <a:pt x="1158" y="356"/>
                    </a:lnTo>
                    <a:lnTo>
                      <a:pt x="1159" y="358"/>
                    </a:lnTo>
                    <a:lnTo>
                      <a:pt x="1159" y="363"/>
                    </a:lnTo>
                    <a:lnTo>
                      <a:pt x="1158" y="366"/>
                    </a:lnTo>
                    <a:lnTo>
                      <a:pt x="1154" y="367"/>
                    </a:lnTo>
                    <a:lnTo>
                      <a:pt x="1153" y="369"/>
                    </a:lnTo>
                    <a:lnTo>
                      <a:pt x="1151" y="371"/>
                    </a:lnTo>
                    <a:lnTo>
                      <a:pt x="1150" y="372"/>
                    </a:lnTo>
                    <a:lnTo>
                      <a:pt x="1150" y="374"/>
                    </a:lnTo>
                    <a:lnTo>
                      <a:pt x="1150" y="375"/>
                    </a:lnTo>
                  </a:path>
                </a:pathLst>
              </a:custGeom>
              <a:noFill/>
              <a:ln w="476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30" name="Freeform 28"/>
              <p:cNvSpPr>
                <a:spLocks/>
              </p:cNvSpPr>
              <p:nvPr/>
            </p:nvSpPr>
            <p:spPr bwMode="auto">
              <a:xfrm>
                <a:off x="2507" y="2338"/>
                <a:ext cx="1826" cy="1632"/>
              </a:xfrm>
              <a:custGeom>
                <a:avLst/>
                <a:gdLst>
                  <a:gd name="T0" fmla="*/ 1811 w 1826"/>
                  <a:gd name="T1" fmla="*/ 92 h 1632"/>
                  <a:gd name="T2" fmla="*/ 1811 w 1826"/>
                  <a:gd name="T3" fmla="*/ 206 h 1632"/>
                  <a:gd name="T4" fmla="*/ 1728 w 1826"/>
                  <a:gd name="T5" fmla="*/ 255 h 1632"/>
                  <a:gd name="T6" fmla="*/ 1589 w 1826"/>
                  <a:gd name="T7" fmla="*/ 170 h 1632"/>
                  <a:gd name="T8" fmla="*/ 1548 w 1826"/>
                  <a:gd name="T9" fmla="*/ 387 h 1632"/>
                  <a:gd name="T10" fmla="*/ 1605 w 1826"/>
                  <a:gd name="T11" fmla="*/ 523 h 1632"/>
                  <a:gd name="T12" fmla="*/ 1581 w 1826"/>
                  <a:gd name="T13" fmla="*/ 647 h 1632"/>
                  <a:gd name="T14" fmla="*/ 1535 w 1826"/>
                  <a:gd name="T15" fmla="*/ 747 h 1632"/>
                  <a:gd name="T16" fmla="*/ 1421 w 1826"/>
                  <a:gd name="T17" fmla="*/ 769 h 1632"/>
                  <a:gd name="T18" fmla="*/ 1239 w 1826"/>
                  <a:gd name="T19" fmla="*/ 756 h 1632"/>
                  <a:gd name="T20" fmla="*/ 1229 w 1826"/>
                  <a:gd name="T21" fmla="*/ 872 h 1632"/>
                  <a:gd name="T22" fmla="*/ 1174 w 1826"/>
                  <a:gd name="T23" fmla="*/ 1040 h 1632"/>
                  <a:gd name="T24" fmla="*/ 995 w 1826"/>
                  <a:gd name="T25" fmla="*/ 1087 h 1632"/>
                  <a:gd name="T26" fmla="*/ 889 w 1826"/>
                  <a:gd name="T27" fmla="*/ 1323 h 1632"/>
                  <a:gd name="T28" fmla="*/ 800 w 1826"/>
                  <a:gd name="T29" fmla="*/ 1548 h 1632"/>
                  <a:gd name="T30" fmla="*/ 673 w 1826"/>
                  <a:gd name="T31" fmla="*/ 1626 h 1632"/>
                  <a:gd name="T32" fmla="*/ 602 w 1826"/>
                  <a:gd name="T33" fmla="*/ 1613 h 1632"/>
                  <a:gd name="T34" fmla="*/ 569 w 1826"/>
                  <a:gd name="T35" fmla="*/ 1602 h 1632"/>
                  <a:gd name="T36" fmla="*/ 515 w 1826"/>
                  <a:gd name="T37" fmla="*/ 1605 h 1632"/>
                  <a:gd name="T38" fmla="*/ 456 w 1826"/>
                  <a:gd name="T39" fmla="*/ 1602 h 1632"/>
                  <a:gd name="T40" fmla="*/ 399 w 1826"/>
                  <a:gd name="T41" fmla="*/ 1575 h 1632"/>
                  <a:gd name="T42" fmla="*/ 287 w 1826"/>
                  <a:gd name="T43" fmla="*/ 1499 h 1632"/>
                  <a:gd name="T44" fmla="*/ 182 w 1826"/>
                  <a:gd name="T45" fmla="*/ 1431 h 1632"/>
                  <a:gd name="T46" fmla="*/ 116 w 1826"/>
                  <a:gd name="T47" fmla="*/ 1385 h 1632"/>
                  <a:gd name="T48" fmla="*/ 70 w 1826"/>
                  <a:gd name="T49" fmla="*/ 1365 h 1632"/>
                  <a:gd name="T50" fmla="*/ 11 w 1826"/>
                  <a:gd name="T51" fmla="*/ 1361 h 1632"/>
                  <a:gd name="T52" fmla="*/ 46 w 1826"/>
                  <a:gd name="T53" fmla="*/ 1301 h 1632"/>
                  <a:gd name="T54" fmla="*/ 73 w 1826"/>
                  <a:gd name="T55" fmla="*/ 1171 h 1632"/>
                  <a:gd name="T56" fmla="*/ 177 w 1826"/>
                  <a:gd name="T57" fmla="*/ 1140 h 1632"/>
                  <a:gd name="T58" fmla="*/ 292 w 1826"/>
                  <a:gd name="T59" fmla="*/ 1108 h 1632"/>
                  <a:gd name="T60" fmla="*/ 363 w 1826"/>
                  <a:gd name="T61" fmla="*/ 1095 h 1632"/>
                  <a:gd name="T62" fmla="*/ 399 w 1826"/>
                  <a:gd name="T63" fmla="*/ 1003 h 1632"/>
                  <a:gd name="T64" fmla="*/ 385 w 1826"/>
                  <a:gd name="T65" fmla="*/ 926 h 1632"/>
                  <a:gd name="T66" fmla="*/ 330 w 1826"/>
                  <a:gd name="T67" fmla="*/ 902 h 1632"/>
                  <a:gd name="T68" fmla="*/ 345 w 1826"/>
                  <a:gd name="T69" fmla="*/ 794 h 1632"/>
                  <a:gd name="T70" fmla="*/ 383 w 1826"/>
                  <a:gd name="T71" fmla="*/ 745 h 1632"/>
                  <a:gd name="T72" fmla="*/ 442 w 1826"/>
                  <a:gd name="T73" fmla="*/ 774 h 1632"/>
                  <a:gd name="T74" fmla="*/ 452 w 1826"/>
                  <a:gd name="T75" fmla="*/ 810 h 1632"/>
                  <a:gd name="T76" fmla="*/ 418 w 1826"/>
                  <a:gd name="T77" fmla="*/ 858 h 1632"/>
                  <a:gd name="T78" fmla="*/ 455 w 1826"/>
                  <a:gd name="T79" fmla="*/ 929 h 1632"/>
                  <a:gd name="T80" fmla="*/ 497 w 1826"/>
                  <a:gd name="T81" fmla="*/ 934 h 1632"/>
                  <a:gd name="T82" fmla="*/ 490 w 1826"/>
                  <a:gd name="T83" fmla="*/ 885 h 1632"/>
                  <a:gd name="T84" fmla="*/ 515 w 1826"/>
                  <a:gd name="T85" fmla="*/ 804 h 1632"/>
                  <a:gd name="T86" fmla="*/ 583 w 1826"/>
                  <a:gd name="T87" fmla="*/ 782 h 1632"/>
                  <a:gd name="T88" fmla="*/ 648 w 1826"/>
                  <a:gd name="T89" fmla="*/ 816 h 1632"/>
                  <a:gd name="T90" fmla="*/ 718 w 1826"/>
                  <a:gd name="T91" fmla="*/ 853 h 1632"/>
                  <a:gd name="T92" fmla="*/ 711 w 1826"/>
                  <a:gd name="T93" fmla="*/ 767 h 1632"/>
                  <a:gd name="T94" fmla="*/ 669 w 1826"/>
                  <a:gd name="T95" fmla="*/ 718 h 1632"/>
                  <a:gd name="T96" fmla="*/ 599 w 1826"/>
                  <a:gd name="T97" fmla="*/ 688 h 1632"/>
                  <a:gd name="T98" fmla="*/ 600 w 1826"/>
                  <a:gd name="T99" fmla="*/ 650 h 1632"/>
                  <a:gd name="T100" fmla="*/ 591 w 1826"/>
                  <a:gd name="T101" fmla="*/ 599 h 1632"/>
                  <a:gd name="T102" fmla="*/ 521 w 1826"/>
                  <a:gd name="T103" fmla="*/ 577 h 1632"/>
                  <a:gd name="T104" fmla="*/ 442 w 1826"/>
                  <a:gd name="T105" fmla="*/ 614 h 1632"/>
                  <a:gd name="T106" fmla="*/ 421 w 1826"/>
                  <a:gd name="T107" fmla="*/ 553 h 1632"/>
                  <a:gd name="T108" fmla="*/ 485 w 1826"/>
                  <a:gd name="T109" fmla="*/ 492 h 1632"/>
                  <a:gd name="T110" fmla="*/ 512 w 1826"/>
                  <a:gd name="T111" fmla="*/ 436 h 1632"/>
                  <a:gd name="T112" fmla="*/ 556 w 1826"/>
                  <a:gd name="T113" fmla="*/ 355 h 1632"/>
                  <a:gd name="T114" fmla="*/ 566 w 1826"/>
                  <a:gd name="T115" fmla="*/ 295 h 1632"/>
                  <a:gd name="T116" fmla="*/ 572 w 1826"/>
                  <a:gd name="T117" fmla="*/ 265 h 1632"/>
                  <a:gd name="T118" fmla="*/ 597 w 1826"/>
                  <a:gd name="T119" fmla="*/ 251 h 1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26" h="1632">
                    <a:moveTo>
                      <a:pt x="1735" y="0"/>
                    </a:moveTo>
                    <a:lnTo>
                      <a:pt x="1741" y="4"/>
                    </a:lnTo>
                    <a:lnTo>
                      <a:pt x="1747" y="8"/>
                    </a:lnTo>
                    <a:lnTo>
                      <a:pt x="1752" y="15"/>
                    </a:lnTo>
                    <a:lnTo>
                      <a:pt x="1755" y="21"/>
                    </a:lnTo>
                    <a:lnTo>
                      <a:pt x="1758" y="26"/>
                    </a:lnTo>
                    <a:lnTo>
                      <a:pt x="1765" y="35"/>
                    </a:lnTo>
                    <a:lnTo>
                      <a:pt x="1773" y="45"/>
                    </a:lnTo>
                    <a:lnTo>
                      <a:pt x="1782" y="54"/>
                    </a:lnTo>
                    <a:lnTo>
                      <a:pt x="1788" y="61"/>
                    </a:lnTo>
                    <a:lnTo>
                      <a:pt x="1795" y="67"/>
                    </a:lnTo>
                    <a:lnTo>
                      <a:pt x="1801" y="72"/>
                    </a:lnTo>
                    <a:lnTo>
                      <a:pt x="1807" y="75"/>
                    </a:lnTo>
                    <a:lnTo>
                      <a:pt x="1811" y="78"/>
                    </a:lnTo>
                    <a:lnTo>
                      <a:pt x="1812" y="81"/>
                    </a:lnTo>
                    <a:lnTo>
                      <a:pt x="1812" y="86"/>
                    </a:lnTo>
                    <a:lnTo>
                      <a:pt x="1811" y="92"/>
                    </a:lnTo>
                    <a:lnTo>
                      <a:pt x="1809" y="92"/>
                    </a:lnTo>
                    <a:lnTo>
                      <a:pt x="1806" y="100"/>
                    </a:lnTo>
                    <a:lnTo>
                      <a:pt x="1804" y="110"/>
                    </a:lnTo>
                    <a:lnTo>
                      <a:pt x="1803" y="119"/>
                    </a:lnTo>
                    <a:lnTo>
                      <a:pt x="1804" y="127"/>
                    </a:lnTo>
                    <a:lnTo>
                      <a:pt x="1811" y="135"/>
                    </a:lnTo>
                    <a:lnTo>
                      <a:pt x="1817" y="141"/>
                    </a:lnTo>
                    <a:lnTo>
                      <a:pt x="1822" y="146"/>
                    </a:lnTo>
                    <a:lnTo>
                      <a:pt x="1823" y="151"/>
                    </a:lnTo>
                    <a:lnTo>
                      <a:pt x="1825" y="160"/>
                    </a:lnTo>
                    <a:lnTo>
                      <a:pt x="1826" y="168"/>
                    </a:lnTo>
                    <a:lnTo>
                      <a:pt x="1825" y="176"/>
                    </a:lnTo>
                    <a:lnTo>
                      <a:pt x="1822" y="187"/>
                    </a:lnTo>
                    <a:lnTo>
                      <a:pt x="1822" y="197"/>
                    </a:lnTo>
                    <a:lnTo>
                      <a:pt x="1822" y="202"/>
                    </a:lnTo>
                    <a:lnTo>
                      <a:pt x="1817" y="205"/>
                    </a:lnTo>
                    <a:lnTo>
                      <a:pt x="1811" y="206"/>
                    </a:lnTo>
                    <a:lnTo>
                      <a:pt x="1803" y="210"/>
                    </a:lnTo>
                    <a:lnTo>
                      <a:pt x="1792" y="213"/>
                    </a:lnTo>
                    <a:lnTo>
                      <a:pt x="1787" y="213"/>
                    </a:lnTo>
                    <a:lnTo>
                      <a:pt x="1784" y="216"/>
                    </a:lnTo>
                    <a:lnTo>
                      <a:pt x="1779" y="224"/>
                    </a:lnTo>
                    <a:lnTo>
                      <a:pt x="1777" y="227"/>
                    </a:lnTo>
                    <a:lnTo>
                      <a:pt x="1774" y="235"/>
                    </a:lnTo>
                    <a:lnTo>
                      <a:pt x="1769" y="249"/>
                    </a:lnTo>
                    <a:lnTo>
                      <a:pt x="1766" y="262"/>
                    </a:lnTo>
                    <a:lnTo>
                      <a:pt x="1765" y="270"/>
                    </a:lnTo>
                    <a:lnTo>
                      <a:pt x="1757" y="279"/>
                    </a:lnTo>
                    <a:lnTo>
                      <a:pt x="1752" y="284"/>
                    </a:lnTo>
                    <a:lnTo>
                      <a:pt x="1749" y="284"/>
                    </a:lnTo>
                    <a:lnTo>
                      <a:pt x="1744" y="281"/>
                    </a:lnTo>
                    <a:lnTo>
                      <a:pt x="1739" y="274"/>
                    </a:lnTo>
                    <a:lnTo>
                      <a:pt x="1733" y="263"/>
                    </a:lnTo>
                    <a:lnTo>
                      <a:pt x="1728" y="255"/>
                    </a:lnTo>
                    <a:lnTo>
                      <a:pt x="1725" y="248"/>
                    </a:lnTo>
                    <a:lnTo>
                      <a:pt x="1724" y="236"/>
                    </a:lnTo>
                    <a:lnTo>
                      <a:pt x="1720" y="219"/>
                    </a:lnTo>
                    <a:lnTo>
                      <a:pt x="1717" y="205"/>
                    </a:lnTo>
                    <a:lnTo>
                      <a:pt x="1716" y="197"/>
                    </a:lnTo>
                    <a:lnTo>
                      <a:pt x="1714" y="189"/>
                    </a:lnTo>
                    <a:lnTo>
                      <a:pt x="1711" y="181"/>
                    </a:lnTo>
                    <a:lnTo>
                      <a:pt x="1706" y="178"/>
                    </a:lnTo>
                    <a:lnTo>
                      <a:pt x="1654" y="165"/>
                    </a:lnTo>
                    <a:lnTo>
                      <a:pt x="1649" y="159"/>
                    </a:lnTo>
                    <a:lnTo>
                      <a:pt x="1646" y="151"/>
                    </a:lnTo>
                    <a:lnTo>
                      <a:pt x="1640" y="141"/>
                    </a:lnTo>
                    <a:lnTo>
                      <a:pt x="1636" y="135"/>
                    </a:lnTo>
                    <a:lnTo>
                      <a:pt x="1630" y="135"/>
                    </a:lnTo>
                    <a:lnTo>
                      <a:pt x="1627" y="137"/>
                    </a:lnTo>
                    <a:lnTo>
                      <a:pt x="1622" y="143"/>
                    </a:lnTo>
                    <a:lnTo>
                      <a:pt x="1589" y="170"/>
                    </a:lnTo>
                    <a:lnTo>
                      <a:pt x="1579" y="178"/>
                    </a:lnTo>
                    <a:lnTo>
                      <a:pt x="1571" y="191"/>
                    </a:lnTo>
                    <a:lnTo>
                      <a:pt x="1567" y="197"/>
                    </a:lnTo>
                    <a:lnTo>
                      <a:pt x="1567" y="227"/>
                    </a:lnTo>
                    <a:lnTo>
                      <a:pt x="1549" y="255"/>
                    </a:lnTo>
                    <a:lnTo>
                      <a:pt x="1545" y="263"/>
                    </a:lnTo>
                    <a:lnTo>
                      <a:pt x="1541" y="279"/>
                    </a:lnTo>
                    <a:lnTo>
                      <a:pt x="1540" y="292"/>
                    </a:lnTo>
                    <a:lnTo>
                      <a:pt x="1538" y="298"/>
                    </a:lnTo>
                    <a:lnTo>
                      <a:pt x="1538" y="309"/>
                    </a:lnTo>
                    <a:lnTo>
                      <a:pt x="1537" y="328"/>
                    </a:lnTo>
                    <a:lnTo>
                      <a:pt x="1535" y="339"/>
                    </a:lnTo>
                    <a:lnTo>
                      <a:pt x="1535" y="347"/>
                    </a:lnTo>
                    <a:lnTo>
                      <a:pt x="1535" y="355"/>
                    </a:lnTo>
                    <a:lnTo>
                      <a:pt x="1533" y="365"/>
                    </a:lnTo>
                    <a:lnTo>
                      <a:pt x="1533" y="366"/>
                    </a:lnTo>
                    <a:lnTo>
                      <a:pt x="1548" y="387"/>
                    </a:lnTo>
                    <a:lnTo>
                      <a:pt x="1543" y="401"/>
                    </a:lnTo>
                    <a:lnTo>
                      <a:pt x="1538" y="409"/>
                    </a:lnTo>
                    <a:lnTo>
                      <a:pt x="1532" y="428"/>
                    </a:lnTo>
                    <a:lnTo>
                      <a:pt x="1527" y="441"/>
                    </a:lnTo>
                    <a:lnTo>
                      <a:pt x="1524" y="449"/>
                    </a:lnTo>
                    <a:lnTo>
                      <a:pt x="1521" y="457"/>
                    </a:lnTo>
                    <a:lnTo>
                      <a:pt x="1521" y="458"/>
                    </a:lnTo>
                    <a:lnTo>
                      <a:pt x="1522" y="465"/>
                    </a:lnTo>
                    <a:lnTo>
                      <a:pt x="1526" y="477"/>
                    </a:lnTo>
                    <a:lnTo>
                      <a:pt x="1529" y="492"/>
                    </a:lnTo>
                    <a:lnTo>
                      <a:pt x="1529" y="493"/>
                    </a:lnTo>
                    <a:lnTo>
                      <a:pt x="1549" y="501"/>
                    </a:lnTo>
                    <a:lnTo>
                      <a:pt x="1579" y="514"/>
                    </a:lnTo>
                    <a:lnTo>
                      <a:pt x="1592" y="518"/>
                    </a:lnTo>
                    <a:lnTo>
                      <a:pt x="1598" y="520"/>
                    </a:lnTo>
                    <a:lnTo>
                      <a:pt x="1602" y="522"/>
                    </a:lnTo>
                    <a:lnTo>
                      <a:pt x="1605" y="523"/>
                    </a:lnTo>
                    <a:lnTo>
                      <a:pt x="1611" y="526"/>
                    </a:lnTo>
                    <a:lnTo>
                      <a:pt x="1617" y="528"/>
                    </a:lnTo>
                    <a:lnTo>
                      <a:pt x="1621" y="536"/>
                    </a:lnTo>
                    <a:lnTo>
                      <a:pt x="1621" y="547"/>
                    </a:lnTo>
                    <a:lnTo>
                      <a:pt x="1621" y="550"/>
                    </a:lnTo>
                    <a:lnTo>
                      <a:pt x="1619" y="557"/>
                    </a:lnTo>
                    <a:lnTo>
                      <a:pt x="1619" y="568"/>
                    </a:lnTo>
                    <a:lnTo>
                      <a:pt x="1619" y="572"/>
                    </a:lnTo>
                    <a:lnTo>
                      <a:pt x="1614" y="585"/>
                    </a:lnTo>
                    <a:lnTo>
                      <a:pt x="1605" y="598"/>
                    </a:lnTo>
                    <a:lnTo>
                      <a:pt x="1606" y="612"/>
                    </a:lnTo>
                    <a:lnTo>
                      <a:pt x="1603" y="618"/>
                    </a:lnTo>
                    <a:lnTo>
                      <a:pt x="1600" y="623"/>
                    </a:lnTo>
                    <a:lnTo>
                      <a:pt x="1598" y="626"/>
                    </a:lnTo>
                    <a:lnTo>
                      <a:pt x="1590" y="634"/>
                    </a:lnTo>
                    <a:lnTo>
                      <a:pt x="1589" y="637"/>
                    </a:lnTo>
                    <a:lnTo>
                      <a:pt x="1581" y="647"/>
                    </a:lnTo>
                    <a:lnTo>
                      <a:pt x="1581" y="653"/>
                    </a:lnTo>
                    <a:lnTo>
                      <a:pt x="1579" y="660"/>
                    </a:lnTo>
                    <a:lnTo>
                      <a:pt x="1578" y="666"/>
                    </a:lnTo>
                    <a:lnTo>
                      <a:pt x="1576" y="680"/>
                    </a:lnTo>
                    <a:lnTo>
                      <a:pt x="1576" y="686"/>
                    </a:lnTo>
                    <a:lnTo>
                      <a:pt x="1567" y="699"/>
                    </a:lnTo>
                    <a:lnTo>
                      <a:pt x="1564" y="707"/>
                    </a:lnTo>
                    <a:lnTo>
                      <a:pt x="1564" y="713"/>
                    </a:lnTo>
                    <a:lnTo>
                      <a:pt x="1559" y="718"/>
                    </a:lnTo>
                    <a:lnTo>
                      <a:pt x="1560" y="721"/>
                    </a:lnTo>
                    <a:lnTo>
                      <a:pt x="1562" y="726"/>
                    </a:lnTo>
                    <a:lnTo>
                      <a:pt x="1560" y="731"/>
                    </a:lnTo>
                    <a:lnTo>
                      <a:pt x="1559" y="732"/>
                    </a:lnTo>
                    <a:lnTo>
                      <a:pt x="1556" y="736"/>
                    </a:lnTo>
                    <a:lnTo>
                      <a:pt x="1549" y="739"/>
                    </a:lnTo>
                    <a:lnTo>
                      <a:pt x="1541" y="743"/>
                    </a:lnTo>
                    <a:lnTo>
                      <a:pt x="1535" y="747"/>
                    </a:lnTo>
                    <a:lnTo>
                      <a:pt x="1533" y="747"/>
                    </a:lnTo>
                    <a:lnTo>
                      <a:pt x="1527" y="748"/>
                    </a:lnTo>
                    <a:lnTo>
                      <a:pt x="1519" y="748"/>
                    </a:lnTo>
                    <a:lnTo>
                      <a:pt x="1518" y="750"/>
                    </a:lnTo>
                    <a:lnTo>
                      <a:pt x="1516" y="739"/>
                    </a:lnTo>
                    <a:lnTo>
                      <a:pt x="1507" y="739"/>
                    </a:lnTo>
                    <a:lnTo>
                      <a:pt x="1500" y="742"/>
                    </a:lnTo>
                    <a:lnTo>
                      <a:pt x="1489" y="748"/>
                    </a:lnTo>
                    <a:lnTo>
                      <a:pt x="1483" y="753"/>
                    </a:lnTo>
                    <a:lnTo>
                      <a:pt x="1473" y="774"/>
                    </a:lnTo>
                    <a:lnTo>
                      <a:pt x="1468" y="780"/>
                    </a:lnTo>
                    <a:lnTo>
                      <a:pt x="1467" y="782"/>
                    </a:lnTo>
                    <a:lnTo>
                      <a:pt x="1459" y="786"/>
                    </a:lnTo>
                    <a:lnTo>
                      <a:pt x="1453" y="791"/>
                    </a:lnTo>
                    <a:lnTo>
                      <a:pt x="1448" y="799"/>
                    </a:lnTo>
                    <a:lnTo>
                      <a:pt x="1435" y="785"/>
                    </a:lnTo>
                    <a:lnTo>
                      <a:pt x="1421" y="769"/>
                    </a:lnTo>
                    <a:lnTo>
                      <a:pt x="1407" y="756"/>
                    </a:lnTo>
                    <a:lnTo>
                      <a:pt x="1396" y="747"/>
                    </a:lnTo>
                    <a:lnTo>
                      <a:pt x="1378" y="740"/>
                    </a:lnTo>
                    <a:lnTo>
                      <a:pt x="1372" y="740"/>
                    </a:lnTo>
                    <a:lnTo>
                      <a:pt x="1361" y="736"/>
                    </a:lnTo>
                    <a:lnTo>
                      <a:pt x="1350" y="731"/>
                    </a:lnTo>
                    <a:lnTo>
                      <a:pt x="1334" y="723"/>
                    </a:lnTo>
                    <a:lnTo>
                      <a:pt x="1318" y="713"/>
                    </a:lnTo>
                    <a:lnTo>
                      <a:pt x="1313" y="707"/>
                    </a:lnTo>
                    <a:lnTo>
                      <a:pt x="1305" y="704"/>
                    </a:lnTo>
                    <a:lnTo>
                      <a:pt x="1288" y="702"/>
                    </a:lnTo>
                    <a:lnTo>
                      <a:pt x="1288" y="704"/>
                    </a:lnTo>
                    <a:lnTo>
                      <a:pt x="1272" y="717"/>
                    </a:lnTo>
                    <a:lnTo>
                      <a:pt x="1264" y="729"/>
                    </a:lnTo>
                    <a:lnTo>
                      <a:pt x="1259" y="734"/>
                    </a:lnTo>
                    <a:lnTo>
                      <a:pt x="1248" y="745"/>
                    </a:lnTo>
                    <a:lnTo>
                      <a:pt x="1239" y="756"/>
                    </a:lnTo>
                    <a:lnTo>
                      <a:pt x="1234" y="767"/>
                    </a:lnTo>
                    <a:lnTo>
                      <a:pt x="1226" y="778"/>
                    </a:lnTo>
                    <a:lnTo>
                      <a:pt x="1226" y="793"/>
                    </a:lnTo>
                    <a:lnTo>
                      <a:pt x="1228" y="801"/>
                    </a:lnTo>
                    <a:lnTo>
                      <a:pt x="1228" y="802"/>
                    </a:lnTo>
                    <a:lnTo>
                      <a:pt x="1228" y="804"/>
                    </a:lnTo>
                    <a:lnTo>
                      <a:pt x="1228" y="812"/>
                    </a:lnTo>
                    <a:lnTo>
                      <a:pt x="1231" y="821"/>
                    </a:lnTo>
                    <a:lnTo>
                      <a:pt x="1232" y="827"/>
                    </a:lnTo>
                    <a:lnTo>
                      <a:pt x="1232" y="834"/>
                    </a:lnTo>
                    <a:lnTo>
                      <a:pt x="1232" y="842"/>
                    </a:lnTo>
                    <a:lnTo>
                      <a:pt x="1232" y="851"/>
                    </a:lnTo>
                    <a:lnTo>
                      <a:pt x="1231" y="854"/>
                    </a:lnTo>
                    <a:lnTo>
                      <a:pt x="1231" y="856"/>
                    </a:lnTo>
                    <a:lnTo>
                      <a:pt x="1229" y="861"/>
                    </a:lnTo>
                    <a:lnTo>
                      <a:pt x="1229" y="867"/>
                    </a:lnTo>
                    <a:lnTo>
                      <a:pt x="1229" y="872"/>
                    </a:lnTo>
                    <a:lnTo>
                      <a:pt x="1229" y="878"/>
                    </a:lnTo>
                    <a:lnTo>
                      <a:pt x="1229" y="883"/>
                    </a:lnTo>
                    <a:lnTo>
                      <a:pt x="1229" y="889"/>
                    </a:lnTo>
                    <a:lnTo>
                      <a:pt x="1232" y="908"/>
                    </a:lnTo>
                    <a:lnTo>
                      <a:pt x="1232" y="921"/>
                    </a:lnTo>
                    <a:lnTo>
                      <a:pt x="1231" y="937"/>
                    </a:lnTo>
                    <a:lnTo>
                      <a:pt x="1231" y="948"/>
                    </a:lnTo>
                    <a:lnTo>
                      <a:pt x="1231" y="961"/>
                    </a:lnTo>
                    <a:lnTo>
                      <a:pt x="1239" y="981"/>
                    </a:lnTo>
                    <a:lnTo>
                      <a:pt x="1245" y="997"/>
                    </a:lnTo>
                    <a:lnTo>
                      <a:pt x="1228" y="1002"/>
                    </a:lnTo>
                    <a:lnTo>
                      <a:pt x="1218" y="1007"/>
                    </a:lnTo>
                    <a:lnTo>
                      <a:pt x="1212" y="1011"/>
                    </a:lnTo>
                    <a:lnTo>
                      <a:pt x="1204" y="1018"/>
                    </a:lnTo>
                    <a:lnTo>
                      <a:pt x="1196" y="1024"/>
                    </a:lnTo>
                    <a:lnTo>
                      <a:pt x="1179" y="1032"/>
                    </a:lnTo>
                    <a:lnTo>
                      <a:pt x="1174" y="1040"/>
                    </a:lnTo>
                    <a:lnTo>
                      <a:pt x="1161" y="1043"/>
                    </a:lnTo>
                    <a:lnTo>
                      <a:pt x="1155" y="1049"/>
                    </a:lnTo>
                    <a:lnTo>
                      <a:pt x="1153" y="1054"/>
                    </a:lnTo>
                    <a:lnTo>
                      <a:pt x="1145" y="1059"/>
                    </a:lnTo>
                    <a:lnTo>
                      <a:pt x="1141" y="1065"/>
                    </a:lnTo>
                    <a:lnTo>
                      <a:pt x="1136" y="1073"/>
                    </a:lnTo>
                    <a:lnTo>
                      <a:pt x="1131" y="1078"/>
                    </a:lnTo>
                    <a:lnTo>
                      <a:pt x="1109" y="1081"/>
                    </a:lnTo>
                    <a:lnTo>
                      <a:pt x="1084" y="1084"/>
                    </a:lnTo>
                    <a:lnTo>
                      <a:pt x="1066" y="1087"/>
                    </a:lnTo>
                    <a:lnTo>
                      <a:pt x="1057" y="1090"/>
                    </a:lnTo>
                    <a:lnTo>
                      <a:pt x="1046" y="1090"/>
                    </a:lnTo>
                    <a:lnTo>
                      <a:pt x="1036" y="1094"/>
                    </a:lnTo>
                    <a:lnTo>
                      <a:pt x="1027" y="1094"/>
                    </a:lnTo>
                    <a:lnTo>
                      <a:pt x="1015" y="1092"/>
                    </a:lnTo>
                    <a:lnTo>
                      <a:pt x="1004" y="1090"/>
                    </a:lnTo>
                    <a:lnTo>
                      <a:pt x="995" y="1087"/>
                    </a:lnTo>
                    <a:lnTo>
                      <a:pt x="985" y="1081"/>
                    </a:lnTo>
                    <a:lnTo>
                      <a:pt x="958" y="1114"/>
                    </a:lnTo>
                    <a:lnTo>
                      <a:pt x="949" y="1133"/>
                    </a:lnTo>
                    <a:lnTo>
                      <a:pt x="941" y="1155"/>
                    </a:lnTo>
                    <a:lnTo>
                      <a:pt x="927" y="1187"/>
                    </a:lnTo>
                    <a:lnTo>
                      <a:pt x="922" y="1197"/>
                    </a:lnTo>
                    <a:lnTo>
                      <a:pt x="919" y="1211"/>
                    </a:lnTo>
                    <a:lnTo>
                      <a:pt x="912" y="1228"/>
                    </a:lnTo>
                    <a:lnTo>
                      <a:pt x="908" y="1243"/>
                    </a:lnTo>
                    <a:lnTo>
                      <a:pt x="905" y="1255"/>
                    </a:lnTo>
                    <a:lnTo>
                      <a:pt x="901" y="1277"/>
                    </a:lnTo>
                    <a:lnTo>
                      <a:pt x="901" y="1295"/>
                    </a:lnTo>
                    <a:lnTo>
                      <a:pt x="900" y="1298"/>
                    </a:lnTo>
                    <a:lnTo>
                      <a:pt x="895" y="1304"/>
                    </a:lnTo>
                    <a:lnTo>
                      <a:pt x="893" y="1309"/>
                    </a:lnTo>
                    <a:lnTo>
                      <a:pt x="892" y="1315"/>
                    </a:lnTo>
                    <a:lnTo>
                      <a:pt x="889" y="1323"/>
                    </a:lnTo>
                    <a:lnTo>
                      <a:pt x="886" y="1330"/>
                    </a:lnTo>
                    <a:lnTo>
                      <a:pt x="881" y="1341"/>
                    </a:lnTo>
                    <a:lnTo>
                      <a:pt x="876" y="1352"/>
                    </a:lnTo>
                    <a:lnTo>
                      <a:pt x="871" y="1361"/>
                    </a:lnTo>
                    <a:lnTo>
                      <a:pt x="868" y="1371"/>
                    </a:lnTo>
                    <a:lnTo>
                      <a:pt x="865" y="1382"/>
                    </a:lnTo>
                    <a:lnTo>
                      <a:pt x="860" y="1392"/>
                    </a:lnTo>
                    <a:lnTo>
                      <a:pt x="855" y="1403"/>
                    </a:lnTo>
                    <a:lnTo>
                      <a:pt x="849" y="1412"/>
                    </a:lnTo>
                    <a:lnTo>
                      <a:pt x="841" y="1420"/>
                    </a:lnTo>
                    <a:lnTo>
                      <a:pt x="838" y="1441"/>
                    </a:lnTo>
                    <a:lnTo>
                      <a:pt x="833" y="1455"/>
                    </a:lnTo>
                    <a:lnTo>
                      <a:pt x="824" y="1477"/>
                    </a:lnTo>
                    <a:lnTo>
                      <a:pt x="830" y="1499"/>
                    </a:lnTo>
                    <a:lnTo>
                      <a:pt x="825" y="1506"/>
                    </a:lnTo>
                    <a:lnTo>
                      <a:pt x="810" y="1533"/>
                    </a:lnTo>
                    <a:lnTo>
                      <a:pt x="800" y="1548"/>
                    </a:lnTo>
                    <a:lnTo>
                      <a:pt x="767" y="1599"/>
                    </a:lnTo>
                    <a:lnTo>
                      <a:pt x="748" y="1605"/>
                    </a:lnTo>
                    <a:lnTo>
                      <a:pt x="711" y="1624"/>
                    </a:lnTo>
                    <a:lnTo>
                      <a:pt x="713" y="1628"/>
                    </a:lnTo>
                    <a:lnTo>
                      <a:pt x="697" y="1629"/>
                    </a:lnTo>
                    <a:lnTo>
                      <a:pt x="691" y="1629"/>
                    </a:lnTo>
                    <a:lnTo>
                      <a:pt x="689" y="1629"/>
                    </a:lnTo>
                    <a:lnTo>
                      <a:pt x="689" y="1631"/>
                    </a:lnTo>
                    <a:lnTo>
                      <a:pt x="688" y="1631"/>
                    </a:lnTo>
                    <a:lnTo>
                      <a:pt x="688" y="1629"/>
                    </a:lnTo>
                    <a:lnTo>
                      <a:pt x="686" y="1628"/>
                    </a:lnTo>
                    <a:lnTo>
                      <a:pt x="683" y="1628"/>
                    </a:lnTo>
                    <a:lnTo>
                      <a:pt x="681" y="1628"/>
                    </a:lnTo>
                    <a:lnTo>
                      <a:pt x="680" y="1628"/>
                    </a:lnTo>
                    <a:lnTo>
                      <a:pt x="676" y="1626"/>
                    </a:lnTo>
                    <a:lnTo>
                      <a:pt x="675" y="1626"/>
                    </a:lnTo>
                    <a:lnTo>
                      <a:pt x="673" y="1626"/>
                    </a:lnTo>
                    <a:lnTo>
                      <a:pt x="672" y="1631"/>
                    </a:lnTo>
                    <a:lnTo>
                      <a:pt x="670" y="1631"/>
                    </a:lnTo>
                    <a:lnTo>
                      <a:pt x="665" y="1632"/>
                    </a:lnTo>
                    <a:lnTo>
                      <a:pt x="664" y="1632"/>
                    </a:lnTo>
                    <a:lnTo>
                      <a:pt x="659" y="1632"/>
                    </a:lnTo>
                    <a:lnTo>
                      <a:pt x="651" y="1629"/>
                    </a:lnTo>
                    <a:lnTo>
                      <a:pt x="640" y="1624"/>
                    </a:lnTo>
                    <a:lnTo>
                      <a:pt x="637" y="1624"/>
                    </a:lnTo>
                    <a:lnTo>
                      <a:pt x="634" y="1624"/>
                    </a:lnTo>
                    <a:lnTo>
                      <a:pt x="631" y="1623"/>
                    </a:lnTo>
                    <a:lnTo>
                      <a:pt x="629" y="1623"/>
                    </a:lnTo>
                    <a:lnTo>
                      <a:pt x="621" y="1620"/>
                    </a:lnTo>
                    <a:lnTo>
                      <a:pt x="618" y="1618"/>
                    </a:lnTo>
                    <a:lnTo>
                      <a:pt x="612" y="1615"/>
                    </a:lnTo>
                    <a:lnTo>
                      <a:pt x="610" y="1615"/>
                    </a:lnTo>
                    <a:lnTo>
                      <a:pt x="605" y="1613"/>
                    </a:lnTo>
                    <a:lnTo>
                      <a:pt x="602" y="1613"/>
                    </a:lnTo>
                    <a:lnTo>
                      <a:pt x="600" y="1612"/>
                    </a:lnTo>
                    <a:lnTo>
                      <a:pt x="597" y="1607"/>
                    </a:lnTo>
                    <a:lnTo>
                      <a:pt x="594" y="1602"/>
                    </a:lnTo>
                    <a:lnTo>
                      <a:pt x="593" y="1599"/>
                    </a:lnTo>
                    <a:lnTo>
                      <a:pt x="591" y="1599"/>
                    </a:lnTo>
                    <a:lnTo>
                      <a:pt x="591" y="1601"/>
                    </a:lnTo>
                    <a:lnTo>
                      <a:pt x="588" y="1602"/>
                    </a:lnTo>
                    <a:lnTo>
                      <a:pt x="586" y="1605"/>
                    </a:lnTo>
                    <a:lnTo>
                      <a:pt x="586" y="1607"/>
                    </a:lnTo>
                    <a:lnTo>
                      <a:pt x="583" y="1605"/>
                    </a:lnTo>
                    <a:lnTo>
                      <a:pt x="580" y="1605"/>
                    </a:lnTo>
                    <a:lnTo>
                      <a:pt x="577" y="1605"/>
                    </a:lnTo>
                    <a:lnTo>
                      <a:pt x="574" y="1604"/>
                    </a:lnTo>
                    <a:lnTo>
                      <a:pt x="572" y="1604"/>
                    </a:lnTo>
                    <a:lnTo>
                      <a:pt x="572" y="1602"/>
                    </a:lnTo>
                    <a:lnTo>
                      <a:pt x="570" y="1602"/>
                    </a:lnTo>
                    <a:lnTo>
                      <a:pt x="569" y="1602"/>
                    </a:lnTo>
                    <a:lnTo>
                      <a:pt x="569" y="1604"/>
                    </a:lnTo>
                    <a:lnTo>
                      <a:pt x="566" y="1604"/>
                    </a:lnTo>
                    <a:lnTo>
                      <a:pt x="564" y="1604"/>
                    </a:lnTo>
                    <a:lnTo>
                      <a:pt x="561" y="1604"/>
                    </a:lnTo>
                    <a:lnTo>
                      <a:pt x="556" y="1599"/>
                    </a:lnTo>
                    <a:lnTo>
                      <a:pt x="556" y="1598"/>
                    </a:lnTo>
                    <a:lnTo>
                      <a:pt x="551" y="1598"/>
                    </a:lnTo>
                    <a:lnTo>
                      <a:pt x="548" y="1598"/>
                    </a:lnTo>
                    <a:lnTo>
                      <a:pt x="539" y="1601"/>
                    </a:lnTo>
                    <a:lnTo>
                      <a:pt x="532" y="1604"/>
                    </a:lnTo>
                    <a:lnTo>
                      <a:pt x="529" y="1604"/>
                    </a:lnTo>
                    <a:lnTo>
                      <a:pt x="528" y="1604"/>
                    </a:lnTo>
                    <a:lnTo>
                      <a:pt x="524" y="1605"/>
                    </a:lnTo>
                    <a:lnTo>
                      <a:pt x="523" y="1605"/>
                    </a:lnTo>
                    <a:lnTo>
                      <a:pt x="521" y="1605"/>
                    </a:lnTo>
                    <a:lnTo>
                      <a:pt x="520" y="1605"/>
                    </a:lnTo>
                    <a:lnTo>
                      <a:pt x="515" y="1605"/>
                    </a:lnTo>
                    <a:lnTo>
                      <a:pt x="512" y="1605"/>
                    </a:lnTo>
                    <a:lnTo>
                      <a:pt x="505" y="1605"/>
                    </a:lnTo>
                    <a:lnTo>
                      <a:pt x="497" y="1604"/>
                    </a:lnTo>
                    <a:lnTo>
                      <a:pt x="490" y="1604"/>
                    </a:lnTo>
                    <a:lnTo>
                      <a:pt x="488" y="1604"/>
                    </a:lnTo>
                    <a:lnTo>
                      <a:pt x="478" y="1602"/>
                    </a:lnTo>
                    <a:lnTo>
                      <a:pt x="477" y="1602"/>
                    </a:lnTo>
                    <a:lnTo>
                      <a:pt x="475" y="1602"/>
                    </a:lnTo>
                    <a:lnTo>
                      <a:pt x="472" y="1602"/>
                    </a:lnTo>
                    <a:lnTo>
                      <a:pt x="471" y="1602"/>
                    </a:lnTo>
                    <a:lnTo>
                      <a:pt x="469" y="1602"/>
                    </a:lnTo>
                    <a:lnTo>
                      <a:pt x="466" y="1602"/>
                    </a:lnTo>
                    <a:lnTo>
                      <a:pt x="464" y="1602"/>
                    </a:lnTo>
                    <a:lnTo>
                      <a:pt x="463" y="1602"/>
                    </a:lnTo>
                    <a:lnTo>
                      <a:pt x="461" y="1602"/>
                    </a:lnTo>
                    <a:lnTo>
                      <a:pt x="459" y="1602"/>
                    </a:lnTo>
                    <a:lnTo>
                      <a:pt x="456" y="1602"/>
                    </a:lnTo>
                    <a:lnTo>
                      <a:pt x="447" y="1601"/>
                    </a:lnTo>
                    <a:lnTo>
                      <a:pt x="445" y="1601"/>
                    </a:lnTo>
                    <a:lnTo>
                      <a:pt x="444" y="1599"/>
                    </a:lnTo>
                    <a:lnTo>
                      <a:pt x="442" y="1599"/>
                    </a:lnTo>
                    <a:lnTo>
                      <a:pt x="439" y="1599"/>
                    </a:lnTo>
                    <a:lnTo>
                      <a:pt x="437" y="1601"/>
                    </a:lnTo>
                    <a:lnTo>
                      <a:pt x="436" y="1601"/>
                    </a:lnTo>
                    <a:lnTo>
                      <a:pt x="434" y="1601"/>
                    </a:lnTo>
                    <a:lnTo>
                      <a:pt x="433" y="1601"/>
                    </a:lnTo>
                    <a:lnTo>
                      <a:pt x="429" y="1602"/>
                    </a:lnTo>
                    <a:lnTo>
                      <a:pt x="426" y="1601"/>
                    </a:lnTo>
                    <a:lnTo>
                      <a:pt x="421" y="1596"/>
                    </a:lnTo>
                    <a:lnTo>
                      <a:pt x="418" y="1594"/>
                    </a:lnTo>
                    <a:lnTo>
                      <a:pt x="410" y="1588"/>
                    </a:lnTo>
                    <a:lnTo>
                      <a:pt x="404" y="1582"/>
                    </a:lnTo>
                    <a:lnTo>
                      <a:pt x="401" y="1579"/>
                    </a:lnTo>
                    <a:lnTo>
                      <a:pt x="399" y="1575"/>
                    </a:lnTo>
                    <a:lnTo>
                      <a:pt x="396" y="1572"/>
                    </a:lnTo>
                    <a:lnTo>
                      <a:pt x="393" y="1569"/>
                    </a:lnTo>
                    <a:lnTo>
                      <a:pt x="391" y="1567"/>
                    </a:lnTo>
                    <a:lnTo>
                      <a:pt x="388" y="1567"/>
                    </a:lnTo>
                    <a:lnTo>
                      <a:pt x="385" y="1566"/>
                    </a:lnTo>
                    <a:lnTo>
                      <a:pt x="383" y="1566"/>
                    </a:lnTo>
                    <a:lnTo>
                      <a:pt x="382" y="1566"/>
                    </a:lnTo>
                    <a:lnTo>
                      <a:pt x="380" y="1566"/>
                    </a:lnTo>
                    <a:lnTo>
                      <a:pt x="374" y="1560"/>
                    </a:lnTo>
                    <a:lnTo>
                      <a:pt x="352" y="1547"/>
                    </a:lnTo>
                    <a:lnTo>
                      <a:pt x="339" y="1537"/>
                    </a:lnTo>
                    <a:lnTo>
                      <a:pt x="322" y="1526"/>
                    </a:lnTo>
                    <a:lnTo>
                      <a:pt x="292" y="1506"/>
                    </a:lnTo>
                    <a:lnTo>
                      <a:pt x="290" y="1504"/>
                    </a:lnTo>
                    <a:lnTo>
                      <a:pt x="288" y="1504"/>
                    </a:lnTo>
                    <a:lnTo>
                      <a:pt x="288" y="1499"/>
                    </a:lnTo>
                    <a:lnTo>
                      <a:pt x="287" y="1499"/>
                    </a:lnTo>
                    <a:lnTo>
                      <a:pt x="285" y="1498"/>
                    </a:lnTo>
                    <a:lnTo>
                      <a:pt x="280" y="1495"/>
                    </a:lnTo>
                    <a:lnTo>
                      <a:pt x="265" y="1485"/>
                    </a:lnTo>
                    <a:lnTo>
                      <a:pt x="263" y="1483"/>
                    </a:lnTo>
                    <a:lnTo>
                      <a:pt x="260" y="1482"/>
                    </a:lnTo>
                    <a:lnTo>
                      <a:pt x="255" y="1479"/>
                    </a:lnTo>
                    <a:lnTo>
                      <a:pt x="252" y="1477"/>
                    </a:lnTo>
                    <a:lnTo>
                      <a:pt x="250" y="1476"/>
                    </a:lnTo>
                    <a:lnTo>
                      <a:pt x="249" y="1474"/>
                    </a:lnTo>
                    <a:lnTo>
                      <a:pt x="244" y="1471"/>
                    </a:lnTo>
                    <a:lnTo>
                      <a:pt x="233" y="1464"/>
                    </a:lnTo>
                    <a:lnTo>
                      <a:pt x="231" y="1463"/>
                    </a:lnTo>
                    <a:lnTo>
                      <a:pt x="219" y="1455"/>
                    </a:lnTo>
                    <a:lnTo>
                      <a:pt x="201" y="1444"/>
                    </a:lnTo>
                    <a:lnTo>
                      <a:pt x="198" y="1442"/>
                    </a:lnTo>
                    <a:lnTo>
                      <a:pt x="184" y="1433"/>
                    </a:lnTo>
                    <a:lnTo>
                      <a:pt x="182" y="1431"/>
                    </a:lnTo>
                    <a:lnTo>
                      <a:pt x="170" y="1423"/>
                    </a:lnTo>
                    <a:lnTo>
                      <a:pt x="158" y="1415"/>
                    </a:lnTo>
                    <a:lnTo>
                      <a:pt x="157" y="1414"/>
                    </a:lnTo>
                    <a:lnTo>
                      <a:pt x="149" y="1411"/>
                    </a:lnTo>
                    <a:lnTo>
                      <a:pt x="141" y="1404"/>
                    </a:lnTo>
                    <a:lnTo>
                      <a:pt x="139" y="1404"/>
                    </a:lnTo>
                    <a:lnTo>
                      <a:pt x="138" y="1403"/>
                    </a:lnTo>
                    <a:lnTo>
                      <a:pt x="135" y="1403"/>
                    </a:lnTo>
                    <a:lnTo>
                      <a:pt x="132" y="1399"/>
                    </a:lnTo>
                    <a:lnTo>
                      <a:pt x="128" y="1395"/>
                    </a:lnTo>
                    <a:lnTo>
                      <a:pt x="128" y="1393"/>
                    </a:lnTo>
                    <a:lnTo>
                      <a:pt x="127" y="1392"/>
                    </a:lnTo>
                    <a:lnTo>
                      <a:pt x="127" y="1390"/>
                    </a:lnTo>
                    <a:lnTo>
                      <a:pt x="125" y="1390"/>
                    </a:lnTo>
                    <a:lnTo>
                      <a:pt x="124" y="1390"/>
                    </a:lnTo>
                    <a:lnTo>
                      <a:pt x="119" y="1388"/>
                    </a:lnTo>
                    <a:lnTo>
                      <a:pt x="116" y="1385"/>
                    </a:lnTo>
                    <a:lnTo>
                      <a:pt x="114" y="1382"/>
                    </a:lnTo>
                    <a:lnTo>
                      <a:pt x="113" y="1382"/>
                    </a:lnTo>
                    <a:lnTo>
                      <a:pt x="113" y="1380"/>
                    </a:lnTo>
                    <a:lnTo>
                      <a:pt x="111" y="1380"/>
                    </a:lnTo>
                    <a:lnTo>
                      <a:pt x="108" y="1379"/>
                    </a:lnTo>
                    <a:lnTo>
                      <a:pt x="106" y="1379"/>
                    </a:lnTo>
                    <a:lnTo>
                      <a:pt x="101" y="1379"/>
                    </a:lnTo>
                    <a:lnTo>
                      <a:pt x="100" y="1379"/>
                    </a:lnTo>
                    <a:lnTo>
                      <a:pt x="98" y="1377"/>
                    </a:lnTo>
                    <a:lnTo>
                      <a:pt x="97" y="1377"/>
                    </a:lnTo>
                    <a:lnTo>
                      <a:pt x="94" y="1374"/>
                    </a:lnTo>
                    <a:lnTo>
                      <a:pt x="92" y="1374"/>
                    </a:lnTo>
                    <a:lnTo>
                      <a:pt x="89" y="1374"/>
                    </a:lnTo>
                    <a:lnTo>
                      <a:pt x="87" y="1371"/>
                    </a:lnTo>
                    <a:lnTo>
                      <a:pt x="79" y="1368"/>
                    </a:lnTo>
                    <a:lnTo>
                      <a:pt x="78" y="1368"/>
                    </a:lnTo>
                    <a:lnTo>
                      <a:pt x="70" y="1365"/>
                    </a:lnTo>
                    <a:lnTo>
                      <a:pt x="60" y="1361"/>
                    </a:lnTo>
                    <a:lnTo>
                      <a:pt x="56" y="1360"/>
                    </a:lnTo>
                    <a:lnTo>
                      <a:pt x="54" y="1360"/>
                    </a:lnTo>
                    <a:lnTo>
                      <a:pt x="44" y="1360"/>
                    </a:lnTo>
                    <a:lnTo>
                      <a:pt x="19" y="1361"/>
                    </a:lnTo>
                    <a:lnTo>
                      <a:pt x="18" y="1361"/>
                    </a:lnTo>
                    <a:lnTo>
                      <a:pt x="14" y="1361"/>
                    </a:lnTo>
                    <a:lnTo>
                      <a:pt x="8" y="1361"/>
                    </a:lnTo>
                    <a:lnTo>
                      <a:pt x="2" y="1361"/>
                    </a:lnTo>
                    <a:lnTo>
                      <a:pt x="0" y="1361"/>
                    </a:lnTo>
                    <a:lnTo>
                      <a:pt x="2" y="1361"/>
                    </a:lnTo>
                    <a:lnTo>
                      <a:pt x="3" y="1361"/>
                    </a:lnTo>
                    <a:lnTo>
                      <a:pt x="5" y="1361"/>
                    </a:lnTo>
                    <a:lnTo>
                      <a:pt x="6" y="1361"/>
                    </a:lnTo>
                    <a:lnTo>
                      <a:pt x="8" y="1361"/>
                    </a:lnTo>
                    <a:lnTo>
                      <a:pt x="10" y="1361"/>
                    </a:lnTo>
                    <a:lnTo>
                      <a:pt x="11" y="1361"/>
                    </a:lnTo>
                    <a:lnTo>
                      <a:pt x="13" y="1361"/>
                    </a:lnTo>
                    <a:lnTo>
                      <a:pt x="14" y="1361"/>
                    </a:lnTo>
                    <a:lnTo>
                      <a:pt x="16" y="1361"/>
                    </a:lnTo>
                    <a:lnTo>
                      <a:pt x="16" y="1360"/>
                    </a:lnTo>
                    <a:lnTo>
                      <a:pt x="18" y="1354"/>
                    </a:lnTo>
                    <a:lnTo>
                      <a:pt x="18" y="1352"/>
                    </a:lnTo>
                    <a:lnTo>
                      <a:pt x="19" y="1350"/>
                    </a:lnTo>
                    <a:lnTo>
                      <a:pt x="21" y="1347"/>
                    </a:lnTo>
                    <a:lnTo>
                      <a:pt x="21" y="1344"/>
                    </a:lnTo>
                    <a:lnTo>
                      <a:pt x="22" y="1339"/>
                    </a:lnTo>
                    <a:lnTo>
                      <a:pt x="24" y="1335"/>
                    </a:lnTo>
                    <a:lnTo>
                      <a:pt x="30" y="1325"/>
                    </a:lnTo>
                    <a:lnTo>
                      <a:pt x="30" y="1323"/>
                    </a:lnTo>
                    <a:lnTo>
                      <a:pt x="32" y="1322"/>
                    </a:lnTo>
                    <a:lnTo>
                      <a:pt x="35" y="1315"/>
                    </a:lnTo>
                    <a:lnTo>
                      <a:pt x="40" y="1309"/>
                    </a:lnTo>
                    <a:lnTo>
                      <a:pt x="46" y="1301"/>
                    </a:lnTo>
                    <a:lnTo>
                      <a:pt x="54" y="1293"/>
                    </a:lnTo>
                    <a:lnTo>
                      <a:pt x="57" y="1287"/>
                    </a:lnTo>
                    <a:lnTo>
                      <a:pt x="65" y="1277"/>
                    </a:lnTo>
                    <a:lnTo>
                      <a:pt x="67" y="1270"/>
                    </a:lnTo>
                    <a:lnTo>
                      <a:pt x="73" y="1258"/>
                    </a:lnTo>
                    <a:lnTo>
                      <a:pt x="73" y="1246"/>
                    </a:lnTo>
                    <a:lnTo>
                      <a:pt x="71" y="1236"/>
                    </a:lnTo>
                    <a:lnTo>
                      <a:pt x="68" y="1228"/>
                    </a:lnTo>
                    <a:lnTo>
                      <a:pt x="63" y="1224"/>
                    </a:lnTo>
                    <a:lnTo>
                      <a:pt x="62" y="1216"/>
                    </a:lnTo>
                    <a:lnTo>
                      <a:pt x="62" y="1208"/>
                    </a:lnTo>
                    <a:lnTo>
                      <a:pt x="63" y="1205"/>
                    </a:lnTo>
                    <a:lnTo>
                      <a:pt x="68" y="1198"/>
                    </a:lnTo>
                    <a:lnTo>
                      <a:pt x="70" y="1192"/>
                    </a:lnTo>
                    <a:lnTo>
                      <a:pt x="70" y="1187"/>
                    </a:lnTo>
                    <a:lnTo>
                      <a:pt x="70" y="1181"/>
                    </a:lnTo>
                    <a:lnTo>
                      <a:pt x="73" y="1171"/>
                    </a:lnTo>
                    <a:lnTo>
                      <a:pt x="78" y="1163"/>
                    </a:lnTo>
                    <a:lnTo>
                      <a:pt x="84" y="1157"/>
                    </a:lnTo>
                    <a:lnTo>
                      <a:pt x="86" y="1151"/>
                    </a:lnTo>
                    <a:lnTo>
                      <a:pt x="87" y="1149"/>
                    </a:lnTo>
                    <a:lnTo>
                      <a:pt x="92" y="1143"/>
                    </a:lnTo>
                    <a:lnTo>
                      <a:pt x="98" y="1140"/>
                    </a:lnTo>
                    <a:lnTo>
                      <a:pt x="101" y="1138"/>
                    </a:lnTo>
                    <a:lnTo>
                      <a:pt x="108" y="1140"/>
                    </a:lnTo>
                    <a:lnTo>
                      <a:pt x="116" y="1141"/>
                    </a:lnTo>
                    <a:lnTo>
                      <a:pt x="125" y="1143"/>
                    </a:lnTo>
                    <a:lnTo>
                      <a:pt x="133" y="1143"/>
                    </a:lnTo>
                    <a:lnTo>
                      <a:pt x="143" y="1141"/>
                    </a:lnTo>
                    <a:lnTo>
                      <a:pt x="154" y="1140"/>
                    </a:lnTo>
                    <a:lnTo>
                      <a:pt x="158" y="1135"/>
                    </a:lnTo>
                    <a:lnTo>
                      <a:pt x="163" y="1135"/>
                    </a:lnTo>
                    <a:lnTo>
                      <a:pt x="170" y="1138"/>
                    </a:lnTo>
                    <a:lnTo>
                      <a:pt x="177" y="1140"/>
                    </a:lnTo>
                    <a:lnTo>
                      <a:pt x="185" y="1140"/>
                    </a:lnTo>
                    <a:lnTo>
                      <a:pt x="193" y="1146"/>
                    </a:lnTo>
                    <a:lnTo>
                      <a:pt x="200" y="1151"/>
                    </a:lnTo>
                    <a:lnTo>
                      <a:pt x="208" y="1152"/>
                    </a:lnTo>
                    <a:lnTo>
                      <a:pt x="222" y="1148"/>
                    </a:lnTo>
                    <a:lnTo>
                      <a:pt x="230" y="1144"/>
                    </a:lnTo>
                    <a:lnTo>
                      <a:pt x="236" y="1140"/>
                    </a:lnTo>
                    <a:lnTo>
                      <a:pt x="244" y="1138"/>
                    </a:lnTo>
                    <a:lnTo>
                      <a:pt x="252" y="1132"/>
                    </a:lnTo>
                    <a:lnTo>
                      <a:pt x="261" y="1129"/>
                    </a:lnTo>
                    <a:lnTo>
                      <a:pt x="269" y="1127"/>
                    </a:lnTo>
                    <a:lnTo>
                      <a:pt x="269" y="1124"/>
                    </a:lnTo>
                    <a:lnTo>
                      <a:pt x="276" y="1122"/>
                    </a:lnTo>
                    <a:lnTo>
                      <a:pt x="284" y="1119"/>
                    </a:lnTo>
                    <a:lnTo>
                      <a:pt x="287" y="1114"/>
                    </a:lnTo>
                    <a:lnTo>
                      <a:pt x="290" y="1110"/>
                    </a:lnTo>
                    <a:lnTo>
                      <a:pt x="292" y="1108"/>
                    </a:lnTo>
                    <a:lnTo>
                      <a:pt x="298" y="1106"/>
                    </a:lnTo>
                    <a:lnTo>
                      <a:pt x="306" y="1108"/>
                    </a:lnTo>
                    <a:lnTo>
                      <a:pt x="314" y="1111"/>
                    </a:lnTo>
                    <a:lnTo>
                      <a:pt x="318" y="1116"/>
                    </a:lnTo>
                    <a:lnTo>
                      <a:pt x="326" y="1114"/>
                    </a:lnTo>
                    <a:lnTo>
                      <a:pt x="331" y="1117"/>
                    </a:lnTo>
                    <a:lnTo>
                      <a:pt x="337" y="1119"/>
                    </a:lnTo>
                    <a:lnTo>
                      <a:pt x="342" y="1124"/>
                    </a:lnTo>
                    <a:lnTo>
                      <a:pt x="350" y="1129"/>
                    </a:lnTo>
                    <a:lnTo>
                      <a:pt x="358" y="1129"/>
                    </a:lnTo>
                    <a:lnTo>
                      <a:pt x="360" y="1129"/>
                    </a:lnTo>
                    <a:lnTo>
                      <a:pt x="363" y="1125"/>
                    </a:lnTo>
                    <a:lnTo>
                      <a:pt x="364" y="1121"/>
                    </a:lnTo>
                    <a:lnTo>
                      <a:pt x="364" y="1116"/>
                    </a:lnTo>
                    <a:lnTo>
                      <a:pt x="364" y="1108"/>
                    </a:lnTo>
                    <a:lnTo>
                      <a:pt x="363" y="1102"/>
                    </a:lnTo>
                    <a:lnTo>
                      <a:pt x="363" y="1095"/>
                    </a:lnTo>
                    <a:lnTo>
                      <a:pt x="363" y="1087"/>
                    </a:lnTo>
                    <a:lnTo>
                      <a:pt x="369" y="1081"/>
                    </a:lnTo>
                    <a:lnTo>
                      <a:pt x="374" y="1073"/>
                    </a:lnTo>
                    <a:lnTo>
                      <a:pt x="376" y="1065"/>
                    </a:lnTo>
                    <a:lnTo>
                      <a:pt x="377" y="1059"/>
                    </a:lnTo>
                    <a:lnTo>
                      <a:pt x="377" y="1049"/>
                    </a:lnTo>
                    <a:lnTo>
                      <a:pt x="377" y="1040"/>
                    </a:lnTo>
                    <a:lnTo>
                      <a:pt x="376" y="1030"/>
                    </a:lnTo>
                    <a:lnTo>
                      <a:pt x="376" y="1027"/>
                    </a:lnTo>
                    <a:lnTo>
                      <a:pt x="376" y="1026"/>
                    </a:lnTo>
                    <a:lnTo>
                      <a:pt x="374" y="1022"/>
                    </a:lnTo>
                    <a:lnTo>
                      <a:pt x="372" y="1018"/>
                    </a:lnTo>
                    <a:lnTo>
                      <a:pt x="376" y="1010"/>
                    </a:lnTo>
                    <a:lnTo>
                      <a:pt x="382" y="1008"/>
                    </a:lnTo>
                    <a:lnTo>
                      <a:pt x="387" y="1007"/>
                    </a:lnTo>
                    <a:lnTo>
                      <a:pt x="395" y="1007"/>
                    </a:lnTo>
                    <a:lnTo>
                      <a:pt x="399" y="1003"/>
                    </a:lnTo>
                    <a:lnTo>
                      <a:pt x="404" y="1000"/>
                    </a:lnTo>
                    <a:lnTo>
                      <a:pt x="409" y="999"/>
                    </a:lnTo>
                    <a:lnTo>
                      <a:pt x="414" y="995"/>
                    </a:lnTo>
                    <a:lnTo>
                      <a:pt x="415" y="992"/>
                    </a:lnTo>
                    <a:lnTo>
                      <a:pt x="418" y="986"/>
                    </a:lnTo>
                    <a:lnTo>
                      <a:pt x="418" y="980"/>
                    </a:lnTo>
                    <a:lnTo>
                      <a:pt x="414" y="975"/>
                    </a:lnTo>
                    <a:lnTo>
                      <a:pt x="409" y="973"/>
                    </a:lnTo>
                    <a:lnTo>
                      <a:pt x="404" y="972"/>
                    </a:lnTo>
                    <a:lnTo>
                      <a:pt x="398" y="967"/>
                    </a:lnTo>
                    <a:lnTo>
                      <a:pt x="396" y="962"/>
                    </a:lnTo>
                    <a:lnTo>
                      <a:pt x="395" y="956"/>
                    </a:lnTo>
                    <a:lnTo>
                      <a:pt x="395" y="949"/>
                    </a:lnTo>
                    <a:lnTo>
                      <a:pt x="391" y="943"/>
                    </a:lnTo>
                    <a:lnTo>
                      <a:pt x="387" y="938"/>
                    </a:lnTo>
                    <a:lnTo>
                      <a:pt x="387" y="932"/>
                    </a:lnTo>
                    <a:lnTo>
                      <a:pt x="385" y="926"/>
                    </a:lnTo>
                    <a:lnTo>
                      <a:pt x="383" y="918"/>
                    </a:lnTo>
                    <a:lnTo>
                      <a:pt x="379" y="916"/>
                    </a:lnTo>
                    <a:lnTo>
                      <a:pt x="377" y="916"/>
                    </a:lnTo>
                    <a:lnTo>
                      <a:pt x="376" y="916"/>
                    </a:lnTo>
                    <a:lnTo>
                      <a:pt x="369" y="916"/>
                    </a:lnTo>
                    <a:lnTo>
                      <a:pt x="364" y="916"/>
                    </a:lnTo>
                    <a:lnTo>
                      <a:pt x="361" y="913"/>
                    </a:lnTo>
                    <a:lnTo>
                      <a:pt x="358" y="910"/>
                    </a:lnTo>
                    <a:lnTo>
                      <a:pt x="353" y="908"/>
                    </a:lnTo>
                    <a:lnTo>
                      <a:pt x="350" y="905"/>
                    </a:lnTo>
                    <a:lnTo>
                      <a:pt x="347" y="902"/>
                    </a:lnTo>
                    <a:lnTo>
                      <a:pt x="342" y="902"/>
                    </a:lnTo>
                    <a:lnTo>
                      <a:pt x="337" y="905"/>
                    </a:lnTo>
                    <a:lnTo>
                      <a:pt x="336" y="907"/>
                    </a:lnTo>
                    <a:lnTo>
                      <a:pt x="334" y="907"/>
                    </a:lnTo>
                    <a:lnTo>
                      <a:pt x="331" y="907"/>
                    </a:lnTo>
                    <a:lnTo>
                      <a:pt x="330" y="902"/>
                    </a:lnTo>
                    <a:lnTo>
                      <a:pt x="330" y="897"/>
                    </a:lnTo>
                    <a:lnTo>
                      <a:pt x="331" y="891"/>
                    </a:lnTo>
                    <a:lnTo>
                      <a:pt x="330" y="885"/>
                    </a:lnTo>
                    <a:lnTo>
                      <a:pt x="328" y="877"/>
                    </a:lnTo>
                    <a:lnTo>
                      <a:pt x="326" y="872"/>
                    </a:lnTo>
                    <a:lnTo>
                      <a:pt x="326" y="869"/>
                    </a:lnTo>
                    <a:lnTo>
                      <a:pt x="328" y="861"/>
                    </a:lnTo>
                    <a:lnTo>
                      <a:pt x="331" y="854"/>
                    </a:lnTo>
                    <a:lnTo>
                      <a:pt x="337" y="848"/>
                    </a:lnTo>
                    <a:lnTo>
                      <a:pt x="342" y="840"/>
                    </a:lnTo>
                    <a:lnTo>
                      <a:pt x="345" y="832"/>
                    </a:lnTo>
                    <a:lnTo>
                      <a:pt x="349" y="824"/>
                    </a:lnTo>
                    <a:lnTo>
                      <a:pt x="349" y="816"/>
                    </a:lnTo>
                    <a:lnTo>
                      <a:pt x="349" y="810"/>
                    </a:lnTo>
                    <a:lnTo>
                      <a:pt x="349" y="808"/>
                    </a:lnTo>
                    <a:lnTo>
                      <a:pt x="347" y="802"/>
                    </a:lnTo>
                    <a:lnTo>
                      <a:pt x="345" y="794"/>
                    </a:lnTo>
                    <a:lnTo>
                      <a:pt x="339" y="791"/>
                    </a:lnTo>
                    <a:lnTo>
                      <a:pt x="336" y="785"/>
                    </a:lnTo>
                    <a:lnTo>
                      <a:pt x="333" y="780"/>
                    </a:lnTo>
                    <a:lnTo>
                      <a:pt x="333" y="774"/>
                    </a:lnTo>
                    <a:lnTo>
                      <a:pt x="334" y="766"/>
                    </a:lnTo>
                    <a:lnTo>
                      <a:pt x="336" y="759"/>
                    </a:lnTo>
                    <a:lnTo>
                      <a:pt x="337" y="756"/>
                    </a:lnTo>
                    <a:lnTo>
                      <a:pt x="341" y="753"/>
                    </a:lnTo>
                    <a:lnTo>
                      <a:pt x="347" y="747"/>
                    </a:lnTo>
                    <a:lnTo>
                      <a:pt x="350" y="742"/>
                    </a:lnTo>
                    <a:lnTo>
                      <a:pt x="355" y="736"/>
                    </a:lnTo>
                    <a:lnTo>
                      <a:pt x="361" y="731"/>
                    </a:lnTo>
                    <a:lnTo>
                      <a:pt x="366" y="732"/>
                    </a:lnTo>
                    <a:lnTo>
                      <a:pt x="369" y="737"/>
                    </a:lnTo>
                    <a:lnTo>
                      <a:pt x="372" y="742"/>
                    </a:lnTo>
                    <a:lnTo>
                      <a:pt x="379" y="745"/>
                    </a:lnTo>
                    <a:lnTo>
                      <a:pt x="383" y="745"/>
                    </a:lnTo>
                    <a:lnTo>
                      <a:pt x="388" y="742"/>
                    </a:lnTo>
                    <a:lnTo>
                      <a:pt x="391" y="737"/>
                    </a:lnTo>
                    <a:lnTo>
                      <a:pt x="395" y="737"/>
                    </a:lnTo>
                    <a:lnTo>
                      <a:pt x="396" y="737"/>
                    </a:lnTo>
                    <a:lnTo>
                      <a:pt x="402" y="742"/>
                    </a:lnTo>
                    <a:lnTo>
                      <a:pt x="407" y="750"/>
                    </a:lnTo>
                    <a:lnTo>
                      <a:pt x="414" y="751"/>
                    </a:lnTo>
                    <a:lnTo>
                      <a:pt x="418" y="751"/>
                    </a:lnTo>
                    <a:lnTo>
                      <a:pt x="420" y="753"/>
                    </a:lnTo>
                    <a:lnTo>
                      <a:pt x="421" y="756"/>
                    </a:lnTo>
                    <a:lnTo>
                      <a:pt x="426" y="759"/>
                    </a:lnTo>
                    <a:lnTo>
                      <a:pt x="433" y="758"/>
                    </a:lnTo>
                    <a:lnTo>
                      <a:pt x="436" y="761"/>
                    </a:lnTo>
                    <a:lnTo>
                      <a:pt x="434" y="766"/>
                    </a:lnTo>
                    <a:lnTo>
                      <a:pt x="434" y="772"/>
                    </a:lnTo>
                    <a:lnTo>
                      <a:pt x="437" y="777"/>
                    </a:lnTo>
                    <a:lnTo>
                      <a:pt x="442" y="774"/>
                    </a:lnTo>
                    <a:lnTo>
                      <a:pt x="448" y="772"/>
                    </a:lnTo>
                    <a:lnTo>
                      <a:pt x="455" y="770"/>
                    </a:lnTo>
                    <a:lnTo>
                      <a:pt x="456" y="770"/>
                    </a:lnTo>
                    <a:lnTo>
                      <a:pt x="464" y="769"/>
                    </a:lnTo>
                    <a:lnTo>
                      <a:pt x="467" y="770"/>
                    </a:lnTo>
                    <a:lnTo>
                      <a:pt x="469" y="774"/>
                    </a:lnTo>
                    <a:lnTo>
                      <a:pt x="475" y="777"/>
                    </a:lnTo>
                    <a:lnTo>
                      <a:pt x="478" y="783"/>
                    </a:lnTo>
                    <a:lnTo>
                      <a:pt x="478" y="789"/>
                    </a:lnTo>
                    <a:lnTo>
                      <a:pt x="478" y="796"/>
                    </a:lnTo>
                    <a:lnTo>
                      <a:pt x="477" y="801"/>
                    </a:lnTo>
                    <a:lnTo>
                      <a:pt x="472" y="804"/>
                    </a:lnTo>
                    <a:lnTo>
                      <a:pt x="466" y="807"/>
                    </a:lnTo>
                    <a:lnTo>
                      <a:pt x="464" y="807"/>
                    </a:lnTo>
                    <a:lnTo>
                      <a:pt x="459" y="808"/>
                    </a:lnTo>
                    <a:lnTo>
                      <a:pt x="455" y="808"/>
                    </a:lnTo>
                    <a:lnTo>
                      <a:pt x="452" y="810"/>
                    </a:lnTo>
                    <a:lnTo>
                      <a:pt x="450" y="812"/>
                    </a:lnTo>
                    <a:lnTo>
                      <a:pt x="447" y="816"/>
                    </a:lnTo>
                    <a:lnTo>
                      <a:pt x="445" y="821"/>
                    </a:lnTo>
                    <a:lnTo>
                      <a:pt x="445" y="824"/>
                    </a:lnTo>
                    <a:lnTo>
                      <a:pt x="444" y="827"/>
                    </a:lnTo>
                    <a:lnTo>
                      <a:pt x="442" y="831"/>
                    </a:lnTo>
                    <a:lnTo>
                      <a:pt x="445" y="835"/>
                    </a:lnTo>
                    <a:lnTo>
                      <a:pt x="448" y="839"/>
                    </a:lnTo>
                    <a:lnTo>
                      <a:pt x="450" y="845"/>
                    </a:lnTo>
                    <a:lnTo>
                      <a:pt x="447" y="851"/>
                    </a:lnTo>
                    <a:lnTo>
                      <a:pt x="442" y="856"/>
                    </a:lnTo>
                    <a:lnTo>
                      <a:pt x="439" y="859"/>
                    </a:lnTo>
                    <a:lnTo>
                      <a:pt x="434" y="861"/>
                    </a:lnTo>
                    <a:lnTo>
                      <a:pt x="429" y="859"/>
                    </a:lnTo>
                    <a:lnTo>
                      <a:pt x="426" y="856"/>
                    </a:lnTo>
                    <a:lnTo>
                      <a:pt x="421" y="853"/>
                    </a:lnTo>
                    <a:lnTo>
                      <a:pt x="418" y="858"/>
                    </a:lnTo>
                    <a:lnTo>
                      <a:pt x="417" y="866"/>
                    </a:lnTo>
                    <a:lnTo>
                      <a:pt x="415" y="870"/>
                    </a:lnTo>
                    <a:lnTo>
                      <a:pt x="420" y="877"/>
                    </a:lnTo>
                    <a:lnTo>
                      <a:pt x="420" y="880"/>
                    </a:lnTo>
                    <a:lnTo>
                      <a:pt x="421" y="883"/>
                    </a:lnTo>
                    <a:lnTo>
                      <a:pt x="423" y="886"/>
                    </a:lnTo>
                    <a:lnTo>
                      <a:pt x="426" y="891"/>
                    </a:lnTo>
                    <a:lnTo>
                      <a:pt x="428" y="896"/>
                    </a:lnTo>
                    <a:lnTo>
                      <a:pt x="428" y="900"/>
                    </a:lnTo>
                    <a:lnTo>
                      <a:pt x="433" y="902"/>
                    </a:lnTo>
                    <a:lnTo>
                      <a:pt x="436" y="905"/>
                    </a:lnTo>
                    <a:lnTo>
                      <a:pt x="439" y="910"/>
                    </a:lnTo>
                    <a:lnTo>
                      <a:pt x="440" y="911"/>
                    </a:lnTo>
                    <a:lnTo>
                      <a:pt x="442" y="918"/>
                    </a:lnTo>
                    <a:lnTo>
                      <a:pt x="445" y="923"/>
                    </a:lnTo>
                    <a:lnTo>
                      <a:pt x="452" y="924"/>
                    </a:lnTo>
                    <a:lnTo>
                      <a:pt x="455" y="929"/>
                    </a:lnTo>
                    <a:lnTo>
                      <a:pt x="455" y="937"/>
                    </a:lnTo>
                    <a:lnTo>
                      <a:pt x="453" y="940"/>
                    </a:lnTo>
                    <a:lnTo>
                      <a:pt x="450" y="945"/>
                    </a:lnTo>
                    <a:lnTo>
                      <a:pt x="450" y="948"/>
                    </a:lnTo>
                    <a:lnTo>
                      <a:pt x="450" y="949"/>
                    </a:lnTo>
                    <a:lnTo>
                      <a:pt x="453" y="951"/>
                    </a:lnTo>
                    <a:lnTo>
                      <a:pt x="458" y="953"/>
                    </a:lnTo>
                    <a:lnTo>
                      <a:pt x="463" y="951"/>
                    </a:lnTo>
                    <a:lnTo>
                      <a:pt x="466" y="946"/>
                    </a:lnTo>
                    <a:lnTo>
                      <a:pt x="467" y="946"/>
                    </a:lnTo>
                    <a:lnTo>
                      <a:pt x="471" y="943"/>
                    </a:lnTo>
                    <a:lnTo>
                      <a:pt x="477" y="945"/>
                    </a:lnTo>
                    <a:lnTo>
                      <a:pt x="482" y="945"/>
                    </a:lnTo>
                    <a:lnTo>
                      <a:pt x="488" y="943"/>
                    </a:lnTo>
                    <a:lnTo>
                      <a:pt x="491" y="938"/>
                    </a:lnTo>
                    <a:lnTo>
                      <a:pt x="494" y="937"/>
                    </a:lnTo>
                    <a:lnTo>
                      <a:pt x="497" y="934"/>
                    </a:lnTo>
                    <a:lnTo>
                      <a:pt x="504" y="934"/>
                    </a:lnTo>
                    <a:lnTo>
                      <a:pt x="509" y="929"/>
                    </a:lnTo>
                    <a:lnTo>
                      <a:pt x="505" y="924"/>
                    </a:lnTo>
                    <a:lnTo>
                      <a:pt x="501" y="921"/>
                    </a:lnTo>
                    <a:lnTo>
                      <a:pt x="496" y="919"/>
                    </a:lnTo>
                    <a:lnTo>
                      <a:pt x="491" y="918"/>
                    </a:lnTo>
                    <a:lnTo>
                      <a:pt x="488" y="918"/>
                    </a:lnTo>
                    <a:lnTo>
                      <a:pt x="486" y="913"/>
                    </a:lnTo>
                    <a:lnTo>
                      <a:pt x="482" y="910"/>
                    </a:lnTo>
                    <a:lnTo>
                      <a:pt x="478" y="913"/>
                    </a:lnTo>
                    <a:lnTo>
                      <a:pt x="475" y="913"/>
                    </a:lnTo>
                    <a:lnTo>
                      <a:pt x="472" y="910"/>
                    </a:lnTo>
                    <a:lnTo>
                      <a:pt x="474" y="904"/>
                    </a:lnTo>
                    <a:lnTo>
                      <a:pt x="480" y="899"/>
                    </a:lnTo>
                    <a:lnTo>
                      <a:pt x="485" y="897"/>
                    </a:lnTo>
                    <a:lnTo>
                      <a:pt x="486" y="891"/>
                    </a:lnTo>
                    <a:lnTo>
                      <a:pt x="490" y="885"/>
                    </a:lnTo>
                    <a:lnTo>
                      <a:pt x="491" y="883"/>
                    </a:lnTo>
                    <a:lnTo>
                      <a:pt x="494" y="877"/>
                    </a:lnTo>
                    <a:lnTo>
                      <a:pt x="496" y="875"/>
                    </a:lnTo>
                    <a:lnTo>
                      <a:pt x="497" y="870"/>
                    </a:lnTo>
                    <a:lnTo>
                      <a:pt x="499" y="864"/>
                    </a:lnTo>
                    <a:lnTo>
                      <a:pt x="502" y="858"/>
                    </a:lnTo>
                    <a:lnTo>
                      <a:pt x="507" y="851"/>
                    </a:lnTo>
                    <a:lnTo>
                      <a:pt x="513" y="850"/>
                    </a:lnTo>
                    <a:lnTo>
                      <a:pt x="520" y="846"/>
                    </a:lnTo>
                    <a:lnTo>
                      <a:pt x="520" y="842"/>
                    </a:lnTo>
                    <a:lnTo>
                      <a:pt x="520" y="835"/>
                    </a:lnTo>
                    <a:lnTo>
                      <a:pt x="518" y="827"/>
                    </a:lnTo>
                    <a:lnTo>
                      <a:pt x="516" y="821"/>
                    </a:lnTo>
                    <a:lnTo>
                      <a:pt x="516" y="818"/>
                    </a:lnTo>
                    <a:lnTo>
                      <a:pt x="516" y="816"/>
                    </a:lnTo>
                    <a:lnTo>
                      <a:pt x="516" y="810"/>
                    </a:lnTo>
                    <a:lnTo>
                      <a:pt x="515" y="804"/>
                    </a:lnTo>
                    <a:lnTo>
                      <a:pt x="515" y="802"/>
                    </a:lnTo>
                    <a:lnTo>
                      <a:pt x="516" y="801"/>
                    </a:lnTo>
                    <a:lnTo>
                      <a:pt x="516" y="799"/>
                    </a:lnTo>
                    <a:lnTo>
                      <a:pt x="516" y="793"/>
                    </a:lnTo>
                    <a:lnTo>
                      <a:pt x="521" y="786"/>
                    </a:lnTo>
                    <a:lnTo>
                      <a:pt x="524" y="783"/>
                    </a:lnTo>
                    <a:lnTo>
                      <a:pt x="528" y="782"/>
                    </a:lnTo>
                    <a:lnTo>
                      <a:pt x="531" y="780"/>
                    </a:lnTo>
                    <a:lnTo>
                      <a:pt x="539" y="777"/>
                    </a:lnTo>
                    <a:lnTo>
                      <a:pt x="548" y="777"/>
                    </a:lnTo>
                    <a:lnTo>
                      <a:pt x="550" y="777"/>
                    </a:lnTo>
                    <a:lnTo>
                      <a:pt x="558" y="777"/>
                    </a:lnTo>
                    <a:lnTo>
                      <a:pt x="562" y="777"/>
                    </a:lnTo>
                    <a:lnTo>
                      <a:pt x="569" y="782"/>
                    </a:lnTo>
                    <a:lnTo>
                      <a:pt x="575" y="783"/>
                    </a:lnTo>
                    <a:lnTo>
                      <a:pt x="581" y="782"/>
                    </a:lnTo>
                    <a:lnTo>
                      <a:pt x="583" y="782"/>
                    </a:lnTo>
                    <a:lnTo>
                      <a:pt x="586" y="783"/>
                    </a:lnTo>
                    <a:lnTo>
                      <a:pt x="588" y="786"/>
                    </a:lnTo>
                    <a:lnTo>
                      <a:pt x="594" y="786"/>
                    </a:lnTo>
                    <a:lnTo>
                      <a:pt x="596" y="788"/>
                    </a:lnTo>
                    <a:lnTo>
                      <a:pt x="599" y="791"/>
                    </a:lnTo>
                    <a:lnTo>
                      <a:pt x="602" y="789"/>
                    </a:lnTo>
                    <a:lnTo>
                      <a:pt x="608" y="786"/>
                    </a:lnTo>
                    <a:lnTo>
                      <a:pt x="613" y="785"/>
                    </a:lnTo>
                    <a:lnTo>
                      <a:pt x="615" y="786"/>
                    </a:lnTo>
                    <a:lnTo>
                      <a:pt x="616" y="788"/>
                    </a:lnTo>
                    <a:lnTo>
                      <a:pt x="618" y="788"/>
                    </a:lnTo>
                    <a:lnTo>
                      <a:pt x="621" y="791"/>
                    </a:lnTo>
                    <a:lnTo>
                      <a:pt x="624" y="796"/>
                    </a:lnTo>
                    <a:lnTo>
                      <a:pt x="629" y="801"/>
                    </a:lnTo>
                    <a:lnTo>
                      <a:pt x="635" y="805"/>
                    </a:lnTo>
                    <a:lnTo>
                      <a:pt x="642" y="812"/>
                    </a:lnTo>
                    <a:lnTo>
                      <a:pt x="648" y="816"/>
                    </a:lnTo>
                    <a:lnTo>
                      <a:pt x="651" y="821"/>
                    </a:lnTo>
                    <a:lnTo>
                      <a:pt x="654" y="829"/>
                    </a:lnTo>
                    <a:lnTo>
                      <a:pt x="661" y="839"/>
                    </a:lnTo>
                    <a:lnTo>
                      <a:pt x="662" y="840"/>
                    </a:lnTo>
                    <a:lnTo>
                      <a:pt x="665" y="846"/>
                    </a:lnTo>
                    <a:lnTo>
                      <a:pt x="667" y="850"/>
                    </a:lnTo>
                    <a:lnTo>
                      <a:pt x="670" y="853"/>
                    </a:lnTo>
                    <a:lnTo>
                      <a:pt x="673" y="859"/>
                    </a:lnTo>
                    <a:lnTo>
                      <a:pt x="681" y="862"/>
                    </a:lnTo>
                    <a:lnTo>
                      <a:pt x="688" y="864"/>
                    </a:lnTo>
                    <a:lnTo>
                      <a:pt x="694" y="866"/>
                    </a:lnTo>
                    <a:lnTo>
                      <a:pt x="700" y="862"/>
                    </a:lnTo>
                    <a:lnTo>
                      <a:pt x="708" y="861"/>
                    </a:lnTo>
                    <a:lnTo>
                      <a:pt x="714" y="859"/>
                    </a:lnTo>
                    <a:lnTo>
                      <a:pt x="722" y="859"/>
                    </a:lnTo>
                    <a:lnTo>
                      <a:pt x="722" y="856"/>
                    </a:lnTo>
                    <a:lnTo>
                      <a:pt x="718" y="853"/>
                    </a:lnTo>
                    <a:lnTo>
                      <a:pt x="714" y="846"/>
                    </a:lnTo>
                    <a:lnTo>
                      <a:pt x="713" y="842"/>
                    </a:lnTo>
                    <a:lnTo>
                      <a:pt x="711" y="837"/>
                    </a:lnTo>
                    <a:lnTo>
                      <a:pt x="710" y="832"/>
                    </a:lnTo>
                    <a:lnTo>
                      <a:pt x="711" y="826"/>
                    </a:lnTo>
                    <a:lnTo>
                      <a:pt x="716" y="821"/>
                    </a:lnTo>
                    <a:lnTo>
                      <a:pt x="719" y="818"/>
                    </a:lnTo>
                    <a:lnTo>
                      <a:pt x="721" y="812"/>
                    </a:lnTo>
                    <a:lnTo>
                      <a:pt x="721" y="807"/>
                    </a:lnTo>
                    <a:lnTo>
                      <a:pt x="721" y="805"/>
                    </a:lnTo>
                    <a:lnTo>
                      <a:pt x="721" y="801"/>
                    </a:lnTo>
                    <a:lnTo>
                      <a:pt x="719" y="794"/>
                    </a:lnTo>
                    <a:lnTo>
                      <a:pt x="718" y="789"/>
                    </a:lnTo>
                    <a:lnTo>
                      <a:pt x="716" y="783"/>
                    </a:lnTo>
                    <a:lnTo>
                      <a:pt x="716" y="777"/>
                    </a:lnTo>
                    <a:lnTo>
                      <a:pt x="713" y="772"/>
                    </a:lnTo>
                    <a:lnTo>
                      <a:pt x="711" y="767"/>
                    </a:lnTo>
                    <a:lnTo>
                      <a:pt x="711" y="761"/>
                    </a:lnTo>
                    <a:lnTo>
                      <a:pt x="713" y="753"/>
                    </a:lnTo>
                    <a:lnTo>
                      <a:pt x="710" y="747"/>
                    </a:lnTo>
                    <a:lnTo>
                      <a:pt x="708" y="745"/>
                    </a:lnTo>
                    <a:lnTo>
                      <a:pt x="705" y="743"/>
                    </a:lnTo>
                    <a:lnTo>
                      <a:pt x="700" y="742"/>
                    </a:lnTo>
                    <a:lnTo>
                      <a:pt x="699" y="739"/>
                    </a:lnTo>
                    <a:lnTo>
                      <a:pt x="700" y="734"/>
                    </a:lnTo>
                    <a:lnTo>
                      <a:pt x="703" y="731"/>
                    </a:lnTo>
                    <a:lnTo>
                      <a:pt x="702" y="728"/>
                    </a:lnTo>
                    <a:lnTo>
                      <a:pt x="694" y="726"/>
                    </a:lnTo>
                    <a:lnTo>
                      <a:pt x="688" y="728"/>
                    </a:lnTo>
                    <a:lnTo>
                      <a:pt x="680" y="729"/>
                    </a:lnTo>
                    <a:lnTo>
                      <a:pt x="672" y="729"/>
                    </a:lnTo>
                    <a:lnTo>
                      <a:pt x="667" y="728"/>
                    </a:lnTo>
                    <a:lnTo>
                      <a:pt x="669" y="721"/>
                    </a:lnTo>
                    <a:lnTo>
                      <a:pt x="669" y="718"/>
                    </a:lnTo>
                    <a:lnTo>
                      <a:pt x="670" y="717"/>
                    </a:lnTo>
                    <a:lnTo>
                      <a:pt x="665" y="713"/>
                    </a:lnTo>
                    <a:lnTo>
                      <a:pt x="664" y="713"/>
                    </a:lnTo>
                    <a:lnTo>
                      <a:pt x="661" y="713"/>
                    </a:lnTo>
                    <a:lnTo>
                      <a:pt x="656" y="710"/>
                    </a:lnTo>
                    <a:lnTo>
                      <a:pt x="648" y="710"/>
                    </a:lnTo>
                    <a:lnTo>
                      <a:pt x="642" y="710"/>
                    </a:lnTo>
                    <a:lnTo>
                      <a:pt x="637" y="707"/>
                    </a:lnTo>
                    <a:lnTo>
                      <a:pt x="635" y="704"/>
                    </a:lnTo>
                    <a:lnTo>
                      <a:pt x="631" y="699"/>
                    </a:lnTo>
                    <a:lnTo>
                      <a:pt x="629" y="701"/>
                    </a:lnTo>
                    <a:lnTo>
                      <a:pt x="619" y="701"/>
                    </a:lnTo>
                    <a:lnTo>
                      <a:pt x="613" y="702"/>
                    </a:lnTo>
                    <a:lnTo>
                      <a:pt x="608" y="701"/>
                    </a:lnTo>
                    <a:lnTo>
                      <a:pt x="605" y="698"/>
                    </a:lnTo>
                    <a:lnTo>
                      <a:pt x="602" y="691"/>
                    </a:lnTo>
                    <a:lnTo>
                      <a:pt x="599" y="688"/>
                    </a:lnTo>
                    <a:lnTo>
                      <a:pt x="593" y="688"/>
                    </a:lnTo>
                    <a:lnTo>
                      <a:pt x="591" y="686"/>
                    </a:lnTo>
                    <a:lnTo>
                      <a:pt x="588" y="683"/>
                    </a:lnTo>
                    <a:lnTo>
                      <a:pt x="585" y="680"/>
                    </a:lnTo>
                    <a:lnTo>
                      <a:pt x="580" y="680"/>
                    </a:lnTo>
                    <a:lnTo>
                      <a:pt x="578" y="680"/>
                    </a:lnTo>
                    <a:lnTo>
                      <a:pt x="578" y="675"/>
                    </a:lnTo>
                    <a:lnTo>
                      <a:pt x="578" y="672"/>
                    </a:lnTo>
                    <a:lnTo>
                      <a:pt x="578" y="667"/>
                    </a:lnTo>
                    <a:lnTo>
                      <a:pt x="581" y="666"/>
                    </a:lnTo>
                    <a:lnTo>
                      <a:pt x="583" y="664"/>
                    </a:lnTo>
                    <a:lnTo>
                      <a:pt x="586" y="663"/>
                    </a:lnTo>
                    <a:lnTo>
                      <a:pt x="588" y="661"/>
                    </a:lnTo>
                    <a:lnTo>
                      <a:pt x="593" y="660"/>
                    </a:lnTo>
                    <a:lnTo>
                      <a:pt x="596" y="658"/>
                    </a:lnTo>
                    <a:lnTo>
                      <a:pt x="600" y="653"/>
                    </a:lnTo>
                    <a:lnTo>
                      <a:pt x="600" y="650"/>
                    </a:lnTo>
                    <a:lnTo>
                      <a:pt x="597" y="647"/>
                    </a:lnTo>
                    <a:lnTo>
                      <a:pt x="597" y="642"/>
                    </a:lnTo>
                    <a:lnTo>
                      <a:pt x="597" y="637"/>
                    </a:lnTo>
                    <a:lnTo>
                      <a:pt x="597" y="634"/>
                    </a:lnTo>
                    <a:lnTo>
                      <a:pt x="597" y="629"/>
                    </a:lnTo>
                    <a:lnTo>
                      <a:pt x="596" y="626"/>
                    </a:lnTo>
                    <a:lnTo>
                      <a:pt x="597" y="621"/>
                    </a:lnTo>
                    <a:lnTo>
                      <a:pt x="600" y="621"/>
                    </a:lnTo>
                    <a:lnTo>
                      <a:pt x="600" y="615"/>
                    </a:lnTo>
                    <a:lnTo>
                      <a:pt x="599" y="609"/>
                    </a:lnTo>
                    <a:lnTo>
                      <a:pt x="596" y="609"/>
                    </a:lnTo>
                    <a:lnTo>
                      <a:pt x="594" y="614"/>
                    </a:lnTo>
                    <a:lnTo>
                      <a:pt x="589" y="612"/>
                    </a:lnTo>
                    <a:lnTo>
                      <a:pt x="589" y="609"/>
                    </a:lnTo>
                    <a:lnTo>
                      <a:pt x="591" y="604"/>
                    </a:lnTo>
                    <a:lnTo>
                      <a:pt x="593" y="602"/>
                    </a:lnTo>
                    <a:lnTo>
                      <a:pt x="591" y="599"/>
                    </a:lnTo>
                    <a:lnTo>
                      <a:pt x="588" y="596"/>
                    </a:lnTo>
                    <a:lnTo>
                      <a:pt x="583" y="595"/>
                    </a:lnTo>
                    <a:lnTo>
                      <a:pt x="578" y="595"/>
                    </a:lnTo>
                    <a:lnTo>
                      <a:pt x="580" y="590"/>
                    </a:lnTo>
                    <a:lnTo>
                      <a:pt x="580" y="585"/>
                    </a:lnTo>
                    <a:lnTo>
                      <a:pt x="577" y="580"/>
                    </a:lnTo>
                    <a:lnTo>
                      <a:pt x="570" y="577"/>
                    </a:lnTo>
                    <a:lnTo>
                      <a:pt x="562" y="576"/>
                    </a:lnTo>
                    <a:lnTo>
                      <a:pt x="558" y="580"/>
                    </a:lnTo>
                    <a:lnTo>
                      <a:pt x="551" y="587"/>
                    </a:lnTo>
                    <a:lnTo>
                      <a:pt x="547" y="587"/>
                    </a:lnTo>
                    <a:lnTo>
                      <a:pt x="540" y="588"/>
                    </a:lnTo>
                    <a:lnTo>
                      <a:pt x="532" y="587"/>
                    </a:lnTo>
                    <a:lnTo>
                      <a:pt x="528" y="583"/>
                    </a:lnTo>
                    <a:lnTo>
                      <a:pt x="526" y="579"/>
                    </a:lnTo>
                    <a:lnTo>
                      <a:pt x="523" y="576"/>
                    </a:lnTo>
                    <a:lnTo>
                      <a:pt x="521" y="577"/>
                    </a:lnTo>
                    <a:lnTo>
                      <a:pt x="515" y="577"/>
                    </a:lnTo>
                    <a:lnTo>
                      <a:pt x="509" y="577"/>
                    </a:lnTo>
                    <a:lnTo>
                      <a:pt x="502" y="576"/>
                    </a:lnTo>
                    <a:lnTo>
                      <a:pt x="496" y="571"/>
                    </a:lnTo>
                    <a:lnTo>
                      <a:pt x="493" y="564"/>
                    </a:lnTo>
                    <a:lnTo>
                      <a:pt x="486" y="566"/>
                    </a:lnTo>
                    <a:lnTo>
                      <a:pt x="483" y="571"/>
                    </a:lnTo>
                    <a:lnTo>
                      <a:pt x="482" y="577"/>
                    </a:lnTo>
                    <a:lnTo>
                      <a:pt x="477" y="582"/>
                    </a:lnTo>
                    <a:lnTo>
                      <a:pt x="472" y="588"/>
                    </a:lnTo>
                    <a:lnTo>
                      <a:pt x="466" y="596"/>
                    </a:lnTo>
                    <a:lnTo>
                      <a:pt x="464" y="601"/>
                    </a:lnTo>
                    <a:lnTo>
                      <a:pt x="463" y="604"/>
                    </a:lnTo>
                    <a:lnTo>
                      <a:pt x="461" y="607"/>
                    </a:lnTo>
                    <a:lnTo>
                      <a:pt x="455" y="609"/>
                    </a:lnTo>
                    <a:lnTo>
                      <a:pt x="448" y="609"/>
                    </a:lnTo>
                    <a:lnTo>
                      <a:pt x="442" y="614"/>
                    </a:lnTo>
                    <a:lnTo>
                      <a:pt x="436" y="620"/>
                    </a:lnTo>
                    <a:lnTo>
                      <a:pt x="431" y="621"/>
                    </a:lnTo>
                    <a:lnTo>
                      <a:pt x="429" y="621"/>
                    </a:lnTo>
                    <a:lnTo>
                      <a:pt x="426" y="618"/>
                    </a:lnTo>
                    <a:lnTo>
                      <a:pt x="425" y="614"/>
                    </a:lnTo>
                    <a:lnTo>
                      <a:pt x="421" y="610"/>
                    </a:lnTo>
                    <a:lnTo>
                      <a:pt x="418" y="607"/>
                    </a:lnTo>
                    <a:lnTo>
                      <a:pt x="414" y="604"/>
                    </a:lnTo>
                    <a:lnTo>
                      <a:pt x="410" y="601"/>
                    </a:lnTo>
                    <a:lnTo>
                      <a:pt x="410" y="595"/>
                    </a:lnTo>
                    <a:lnTo>
                      <a:pt x="410" y="591"/>
                    </a:lnTo>
                    <a:lnTo>
                      <a:pt x="412" y="588"/>
                    </a:lnTo>
                    <a:lnTo>
                      <a:pt x="412" y="577"/>
                    </a:lnTo>
                    <a:lnTo>
                      <a:pt x="415" y="568"/>
                    </a:lnTo>
                    <a:lnTo>
                      <a:pt x="415" y="561"/>
                    </a:lnTo>
                    <a:lnTo>
                      <a:pt x="418" y="557"/>
                    </a:lnTo>
                    <a:lnTo>
                      <a:pt x="421" y="553"/>
                    </a:lnTo>
                    <a:lnTo>
                      <a:pt x="423" y="552"/>
                    </a:lnTo>
                    <a:lnTo>
                      <a:pt x="429" y="549"/>
                    </a:lnTo>
                    <a:lnTo>
                      <a:pt x="434" y="545"/>
                    </a:lnTo>
                    <a:lnTo>
                      <a:pt x="440" y="542"/>
                    </a:lnTo>
                    <a:lnTo>
                      <a:pt x="445" y="538"/>
                    </a:lnTo>
                    <a:lnTo>
                      <a:pt x="450" y="536"/>
                    </a:lnTo>
                    <a:lnTo>
                      <a:pt x="456" y="533"/>
                    </a:lnTo>
                    <a:lnTo>
                      <a:pt x="461" y="530"/>
                    </a:lnTo>
                    <a:lnTo>
                      <a:pt x="464" y="526"/>
                    </a:lnTo>
                    <a:lnTo>
                      <a:pt x="471" y="523"/>
                    </a:lnTo>
                    <a:lnTo>
                      <a:pt x="472" y="520"/>
                    </a:lnTo>
                    <a:lnTo>
                      <a:pt x="474" y="514"/>
                    </a:lnTo>
                    <a:lnTo>
                      <a:pt x="474" y="507"/>
                    </a:lnTo>
                    <a:lnTo>
                      <a:pt x="474" y="503"/>
                    </a:lnTo>
                    <a:lnTo>
                      <a:pt x="478" y="499"/>
                    </a:lnTo>
                    <a:lnTo>
                      <a:pt x="483" y="496"/>
                    </a:lnTo>
                    <a:lnTo>
                      <a:pt x="485" y="492"/>
                    </a:lnTo>
                    <a:lnTo>
                      <a:pt x="486" y="487"/>
                    </a:lnTo>
                    <a:lnTo>
                      <a:pt x="488" y="480"/>
                    </a:lnTo>
                    <a:lnTo>
                      <a:pt x="488" y="479"/>
                    </a:lnTo>
                    <a:lnTo>
                      <a:pt x="493" y="473"/>
                    </a:lnTo>
                    <a:lnTo>
                      <a:pt x="497" y="471"/>
                    </a:lnTo>
                    <a:lnTo>
                      <a:pt x="502" y="468"/>
                    </a:lnTo>
                    <a:lnTo>
                      <a:pt x="507" y="466"/>
                    </a:lnTo>
                    <a:lnTo>
                      <a:pt x="510" y="466"/>
                    </a:lnTo>
                    <a:lnTo>
                      <a:pt x="513" y="466"/>
                    </a:lnTo>
                    <a:lnTo>
                      <a:pt x="516" y="463"/>
                    </a:lnTo>
                    <a:lnTo>
                      <a:pt x="518" y="457"/>
                    </a:lnTo>
                    <a:lnTo>
                      <a:pt x="516" y="452"/>
                    </a:lnTo>
                    <a:lnTo>
                      <a:pt x="515" y="447"/>
                    </a:lnTo>
                    <a:lnTo>
                      <a:pt x="509" y="444"/>
                    </a:lnTo>
                    <a:lnTo>
                      <a:pt x="509" y="439"/>
                    </a:lnTo>
                    <a:lnTo>
                      <a:pt x="510" y="439"/>
                    </a:lnTo>
                    <a:lnTo>
                      <a:pt x="512" y="436"/>
                    </a:lnTo>
                    <a:lnTo>
                      <a:pt x="515" y="431"/>
                    </a:lnTo>
                    <a:lnTo>
                      <a:pt x="515" y="425"/>
                    </a:lnTo>
                    <a:lnTo>
                      <a:pt x="512" y="420"/>
                    </a:lnTo>
                    <a:lnTo>
                      <a:pt x="513" y="414"/>
                    </a:lnTo>
                    <a:lnTo>
                      <a:pt x="516" y="409"/>
                    </a:lnTo>
                    <a:lnTo>
                      <a:pt x="520" y="403"/>
                    </a:lnTo>
                    <a:lnTo>
                      <a:pt x="521" y="398"/>
                    </a:lnTo>
                    <a:lnTo>
                      <a:pt x="523" y="392"/>
                    </a:lnTo>
                    <a:lnTo>
                      <a:pt x="529" y="385"/>
                    </a:lnTo>
                    <a:lnTo>
                      <a:pt x="535" y="381"/>
                    </a:lnTo>
                    <a:lnTo>
                      <a:pt x="539" y="376"/>
                    </a:lnTo>
                    <a:lnTo>
                      <a:pt x="539" y="371"/>
                    </a:lnTo>
                    <a:lnTo>
                      <a:pt x="542" y="365"/>
                    </a:lnTo>
                    <a:lnTo>
                      <a:pt x="547" y="363"/>
                    </a:lnTo>
                    <a:lnTo>
                      <a:pt x="548" y="362"/>
                    </a:lnTo>
                    <a:lnTo>
                      <a:pt x="553" y="358"/>
                    </a:lnTo>
                    <a:lnTo>
                      <a:pt x="556" y="355"/>
                    </a:lnTo>
                    <a:lnTo>
                      <a:pt x="558" y="349"/>
                    </a:lnTo>
                    <a:lnTo>
                      <a:pt x="561" y="344"/>
                    </a:lnTo>
                    <a:lnTo>
                      <a:pt x="564" y="339"/>
                    </a:lnTo>
                    <a:lnTo>
                      <a:pt x="564" y="333"/>
                    </a:lnTo>
                    <a:lnTo>
                      <a:pt x="566" y="328"/>
                    </a:lnTo>
                    <a:lnTo>
                      <a:pt x="567" y="324"/>
                    </a:lnTo>
                    <a:lnTo>
                      <a:pt x="572" y="319"/>
                    </a:lnTo>
                    <a:lnTo>
                      <a:pt x="570" y="319"/>
                    </a:lnTo>
                    <a:lnTo>
                      <a:pt x="570" y="317"/>
                    </a:lnTo>
                    <a:lnTo>
                      <a:pt x="575" y="314"/>
                    </a:lnTo>
                    <a:lnTo>
                      <a:pt x="575" y="313"/>
                    </a:lnTo>
                    <a:lnTo>
                      <a:pt x="575" y="311"/>
                    </a:lnTo>
                    <a:lnTo>
                      <a:pt x="570" y="309"/>
                    </a:lnTo>
                    <a:lnTo>
                      <a:pt x="572" y="305"/>
                    </a:lnTo>
                    <a:lnTo>
                      <a:pt x="574" y="301"/>
                    </a:lnTo>
                    <a:lnTo>
                      <a:pt x="569" y="298"/>
                    </a:lnTo>
                    <a:lnTo>
                      <a:pt x="566" y="295"/>
                    </a:lnTo>
                    <a:lnTo>
                      <a:pt x="562" y="290"/>
                    </a:lnTo>
                    <a:lnTo>
                      <a:pt x="562" y="289"/>
                    </a:lnTo>
                    <a:lnTo>
                      <a:pt x="564" y="284"/>
                    </a:lnTo>
                    <a:lnTo>
                      <a:pt x="564" y="279"/>
                    </a:lnTo>
                    <a:lnTo>
                      <a:pt x="564" y="276"/>
                    </a:lnTo>
                    <a:lnTo>
                      <a:pt x="562" y="271"/>
                    </a:lnTo>
                    <a:lnTo>
                      <a:pt x="558" y="265"/>
                    </a:lnTo>
                    <a:lnTo>
                      <a:pt x="553" y="259"/>
                    </a:lnTo>
                    <a:lnTo>
                      <a:pt x="551" y="255"/>
                    </a:lnTo>
                    <a:lnTo>
                      <a:pt x="550" y="249"/>
                    </a:lnTo>
                    <a:lnTo>
                      <a:pt x="553" y="244"/>
                    </a:lnTo>
                    <a:lnTo>
                      <a:pt x="556" y="243"/>
                    </a:lnTo>
                    <a:lnTo>
                      <a:pt x="561" y="244"/>
                    </a:lnTo>
                    <a:lnTo>
                      <a:pt x="566" y="246"/>
                    </a:lnTo>
                    <a:lnTo>
                      <a:pt x="567" y="248"/>
                    </a:lnTo>
                    <a:lnTo>
                      <a:pt x="569" y="255"/>
                    </a:lnTo>
                    <a:lnTo>
                      <a:pt x="572" y="265"/>
                    </a:lnTo>
                    <a:lnTo>
                      <a:pt x="575" y="273"/>
                    </a:lnTo>
                    <a:lnTo>
                      <a:pt x="577" y="279"/>
                    </a:lnTo>
                    <a:lnTo>
                      <a:pt x="578" y="282"/>
                    </a:lnTo>
                    <a:lnTo>
                      <a:pt x="580" y="284"/>
                    </a:lnTo>
                    <a:lnTo>
                      <a:pt x="583" y="287"/>
                    </a:lnTo>
                    <a:lnTo>
                      <a:pt x="586" y="294"/>
                    </a:lnTo>
                    <a:lnTo>
                      <a:pt x="589" y="295"/>
                    </a:lnTo>
                    <a:lnTo>
                      <a:pt x="591" y="294"/>
                    </a:lnTo>
                    <a:lnTo>
                      <a:pt x="593" y="286"/>
                    </a:lnTo>
                    <a:lnTo>
                      <a:pt x="591" y="278"/>
                    </a:lnTo>
                    <a:lnTo>
                      <a:pt x="591" y="271"/>
                    </a:lnTo>
                    <a:lnTo>
                      <a:pt x="591" y="265"/>
                    </a:lnTo>
                    <a:lnTo>
                      <a:pt x="594" y="262"/>
                    </a:lnTo>
                    <a:lnTo>
                      <a:pt x="600" y="257"/>
                    </a:lnTo>
                    <a:lnTo>
                      <a:pt x="602" y="257"/>
                    </a:lnTo>
                    <a:lnTo>
                      <a:pt x="600" y="254"/>
                    </a:lnTo>
                    <a:lnTo>
                      <a:pt x="597" y="251"/>
                    </a:lnTo>
                    <a:lnTo>
                      <a:pt x="591" y="246"/>
                    </a:lnTo>
                    <a:lnTo>
                      <a:pt x="586" y="243"/>
                    </a:lnTo>
                    <a:lnTo>
                      <a:pt x="583" y="238"/>
                    </a:lnTo>
                    <a:lnTo>
                      <a:pt x="585" y="232"/>
                    </a:lnTo>
                  </a:path>
                </a:pathLst>
              </a:custGeom>
              <a:noFill/>
              <a:ln w="476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31" name="Freeform 29"/>
              <p:cNvSpPr>
                <a:spLocks/>
              </p:cNvSpPr>
              <p:nvPr/>
            </p:nvSpPr>
            <p:spPr bwMode="auto">
              <a:xfrm>
                <a:off x="1769" y="2072"/>
                <a:ext cx="1326" cy="815"/>
              </a:xfrm>
              <a:custGeom>
                <a:avLst/>
                <a:gdLst>
                  <a:gd name="T0" fmla="*/ 1270 w 1326"/>
                  <a:gd name="T1" fmla="*/ 457 h 815"/>
                  <a:gd name="T2" fmla="*/ 1224 w 1326"/>
                  <a:gd name="T3" fmla="*/ 507 h 815"/>
                  <a:gd name="T4" fmla="*/ 1171 w 1326"/>
                  <a:gd name="T5" fmla="*/ 468 h 815"/>
                  <a:gd name="T6" fmla="*/ 1104 w 1326"/>
                  <a:gd name="T7" fmla="*/ 479 h 815"/>
                  <a:gd name="T8" fmla="*/ 1023 w 1326"/>
                  <a:gd name="T9" fmla="*/ 480 h 815"/>
                  <a:gd name="T10" fmla="*/ 980 w 1326"/>
                  <a:gd name="T11" fmla="*/ 514 h 815"/>
                  <a:gd name="T12" fmla="*/ 1012 w 1326"/>
                  <a:gd name="T13" fmla="*/ 571 h 815"/>
                  <a:gd name="T14" fmla="*/ 990 w 1326"/>
                  <a:gd name="T15" fmla="*/ 594 h 815"/>
                  <a:gd name="T16" fmla="*/ 954 w 1326"/>
                  <a:gd name="T17" fmla="*/ 590 h 815"/>
                  <a:gd name="T18" fmla="*/ 957 w 1326"/>
                  <a:gd name="T19" fmla="*/ 688 h 815"/>
                  <a:gd name="T20" fmla="*/ 915 w 1326"/>
                  <a:gd name="T21" fmla="*/ 784 h 815"/>
                  <a:gd name="T22" fmla="*/ 798 w 1326"/>
                  <a:gd name="T23" fmla="*/ 813 h 815"/>
                  <a:gd name="T24" fmla="*/ 714 w 1326"/>
                  <a:gd name="T25" fmla="*/ 769 h 815"/>
                  <a:gd name="T26" fmla="*/ 618 w 1326"/>
                  <a:gd name="T27" fmla="*/ 740 h 815"/>
                  <a:gd name="T28" fmla="*/ 553 w 1326"/>
                  <a:gd name="T29" fmla="*/ 677 h 815"/>
                  <a:gd name="T30" fmla="*/ 510 w 1326"/>
                  <a:gd name="T31" fmla="*/ 623 h 815"/>
                  <a:gd name="T32" fmla="*/ 478 w 1326"/>
                  <a:gd name="T33" fmla="*/ 564 h 815"/>
                  <a:gd name="T34" fmla="*/ 477 w 1326"/>
                  <a:gd name="T35" fmla="*/ 621 h 815"/>
                  <a:gd name="T36" fmla="*/ 410 w 1326"/>
                  <a:gd name="T37" fmla="*/ 623 h 815"/>
                  <a:gd name="T38" fmla="*/ 363 w 1326"/>
                  <a:gd name="T39" fmla="*/ 636 h 815"/>
                  <a:gd name="T40" fmla="*/ 326 w 1326"/>
                  <a:gd name="T41" fmla="*/ 691 h 815"/>
                  <a:gd name="T42" fmla="*/ 283 w 1326"/>
                  <a:gd name="T43" fmla="*/ 735 h 815"/>
                  <a:gd name="T44" fmla="*/ 255 w 1326"/>
                  <a:gd name="T45" fmla="*/ 683 h 815"/>
                  <a:gd name="T46" fmla="*/ 222 w 1326"/>
                  <a:gd name="T47" fmla="*/ 610 h 815"/>
                  <a:gd name="T48" fmla="*/ 234 w 1326"/>
                  <a:gd name="T49" fmla="*/ 564 h 815"/>
                  <a:gd name="T50" fmla="*/ 242 w 1326"/>
                  <a:gd name="T51" fmla="*/ 531 h 815"/>
                  <a:gd name="T52" fmla="*/ 158 w 1326"/>
                  <a:gd name="T53" fmla="*/ 504 h 815"/>
                  <a:gd name="T54" fmla="*/ 81 w 1326"/>
                  <a:gd name="T55" fmla="*/ 442 h 815"/>
                  <a:gd name="T56" fmla="*/ 3 w 1326"/>
                  <a:gd name="T57" fmla="*/ 420 h 815"/>
                  <a:gd name="T58" fmla="*/ 3 w 1326"/>
                  <a:gd name="T59" fmla="*/ 354 h 815"/>
                  <a:gd name="T60" fmla="*/ 3 w 1326"/>
                  <a:gd name="T61" fmla="*/ 262 h 815"/>
                  <a:gd name="T62" fmla="*/ 14 w 1326"/>
                  <a:gd name="T63" fmla="*/ 241 h 815"/>
                  <a:gd name="T64" fmla="*/ 36 w 1326"/>
                  <a:gd name="T65" fmla="*/ 244 h 815"/>
                  <a:gd name="T66" fmla="*/ 60 w 1326"/>
                  <a:gd name="T67" fmla="*/ 244 h 815"/>
                  <a:gd name="T68" fmla="*/ 76 w 1326"/>
                  <a:gd name="T69" fmla="*/ 230 h 815"/>
                  <a:gd name="T70" fmla="*/ 84 w 1326"/>
                  <a:gd name="T71" fmla="*/ 208 h 815"/>
                  <a:gd name="T72" fmla="*/ 87 w 1326"/>
                  <a:gd name="T73" fmla="*/ 190 h 815"/>
                  <a:gd name="T74" fmla="*/ 101 w 1326"/>
                  <a:gd name="T75" fmla="*/ 179 h 815"/>
                  <a:gd name="T76" fmla="*/ 82 w 1326"/>
                  <a:gd name="T77" fmla="*/ 178 h 815"/>
                  <a:gd name="T78" fmla="*/ 74 w 1326"/>
                  <a:gd name="T79" fmla="*/ 168 h 815"/>
                  <a:gd name="T80" fmla="*/ 82 w 1326"/>
                  <a:gd name="T81" fmla="*/ 159 h 815"/>
                  <a:gd name="T82" fmla="*/ 92 w 1326"/>
                  <a:gd name="T83" fmla="*/ 154 h 815"/>
                  <a:gd name="T84" fmla="*/ 108 w 1326"/>
                  <a:gd name="T85" fmla="*/ 152 h 815"/>
                  <a:gd name="T86" fmla="*/ 108 w 1326"/>
                  <a:gd name="T87" fmla="*/ 132 h 815"/>
                  <a:gd name="T88" fmla="*/ 93 w 1326"/>
                  <a:gd name="T89" fmla="*/ 117 h 815"/>
                  <a:gd name="T90" fmla="*/ 82 w 1326"/>
                  <a:gd name="T91" fmla="*/ 102 h 815"/>
                  <a:gd name="T92" fmla="*/ 101 w 1326"/>
                  <a:gd name="T93" fmla="*/ 105 h 815"/>
                  <a:gd name="T94" fmla="*/ 117 w 1326"/>
                  <a:gd name="T95" fmla="*/ 103 h 815"/>
                  <a:gd name="T96" fmla="*/ 133 w 1326"/>
                  <a:gd name="T97" fmla="*/ 110 h 815"/>
                  <a:gd name="T98" fmla="*/ 152 w 1326"/>
                  <a:gd name="T99" fmla="*/ 122 h 815"/>
                  <a:gd name="T100" fmla="*/ 174 w 1326"/>
                  <a:gd name="T101" fmla="*/ 129 h 815"/>
                  <a:gd name="T102" fmla="*/ 192 w 1326"/>
                  <a:gd name="T103" fmla="*/ 130 h 815"/>
                  <a:gd name="T104" fmla="*/ 198 w 1326"/>
                  <a:gd name="T105" fmla="*/ 113 h 815"/>
                  <a:gd name="T106" fmla="*/ 196 w 1326"/>
                  <a:gd name="T107" fmla="*/ 94 h 815"/>
                  <a:gd name="T108" fmla="*/ 200 w 1326"/>
                  <a:gd name="T109" fmla="*/ 78 h 815"/>
                  <a:gd name="T110" fmla="*/ 203 w 1326"/>
                  <a:gd name="T111" fmla="*/ 62 h 815"/>
                  <a:gd name="T112" fmla="*/ 219 w 1326"/>
                  <a:gd name="T113" fmla="*/ 51 h 815"/>
                  <a:gd name="T114" fmla="*/ 220 w 1326"/>
                  <a:gd name="T115" fmla="*/ 37 h 815"/>
                  <a:gd name="T116" fmla="*/ 226 w 1326"/>
                  <a:gd name="T117" fmla="*/ 19 h 815"/>
                  <a:gd name="T118" fmla="*/ 219 w 1326"/>
                  <a:gd name="T119" fmla="*/ 3 h 8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26" h="815">
                    <a:moveTo>
                      <a:pt x="1323" y="498"/>
                    </a:moveTo>
                    <a:lnTo>
                      <a:pt x="1324" y="491"/>
                    </a:lnTo>
                    <a:lnTo>
                      <a:pt x="1326" y="485"/>
                    </a:lnTo>
                    <a:lnTo>
                      <a:pt x="1323" y="477"/>
                    </a:lnTo>
                    <a:lnTo>
                      <a:pt x="1321" y="472"/>
                    </a:lnTo>
                    <a:lnTo>
                      <a:pt x="1316" y="468"/>
                    </a:lnTo>
                    <a:lnTo>
                      <a:pt x="1310" y="461"/>
                    </a:lnTo>
                    <a:lnTo>
                      <a:pt x="1307" y="461"/>
                    </a:lnTo>
                    <a:lnTo>
                      <a:pt x="1302" y="463"/>
                    </a:lnTo>
                    <a:lnTo>
                      <a:pt x="1300" y="461"/>
                    </a:lnTo>
                    <a:lnTo>
                      <a:pt x="1299" y="458"/>
                    </a:lnTo>
                    <a:lnTo>
                      <a:pt x="1296" y="457"/>
                    </a:lnTo>
                    <a:lnTo>
                      <a:pt x="1291" y="455"/>
                    </a:lnTo>
                    <a:lnTo>
                      <a:pt x="1285" y="453"/>
                    </a:lnTo>
                    <a:lnTo>
                      <a:pt x="1280" y="457"/>
                    </a:lnTo>
                    <a:lnTo>
                      <a:pt x="1277" y="458"/>
                    </a:lnTo>
                    <a:lnTo>
                      <a:pt x="1270" y="457"/>
                    </a:lnTo>
                    <a:lnTo>
                      <a:pt x="1267" y="460"/>
                    </a:lnTo>
                    <a:lnTo>
                      <a:pt x="1266" y="466"/>
                    </a:lnTo>
                    <a:lnTo>
                      <a:pt x="1266" y="471"/>
                    </a:lnTo>
                    <a:lnTo>
                      <a:pt x="1262" y="476"/>
                    </a:lnTo>
                    <a:lnTo>
                      <a:pt x="1261" y="480"/>
                    </a:lnTo>
                    <a:lnTo>
                      <a:pt x="1261" y="482"/>
                    </a:lnTo>
                    <a:lnTo>
                      <a:pt x="1259" y="490"/>
                    </a:lnTo>
                    <a:lnTo>
                      <a:pt x="1256" y="496"/>
                    </a:lnTo>
                    <a:lnTo>
                      <a:pt x="1256" y="499"/>
                    </a:lnTo>
                    <a:lnTo>
                      <a:pt x="1253" y="502"/>
                    </a:lnTo>
                    <a:lnTo>
                      <a:pt x="1247" y="506"/>
                    </a:lnTo>
                    <a:lnTo>
                      <a:pt x="1242" y="507"/>
                    </a:lnTo>
                    <a:lnTo>
                      <a:pt x="1240" y="509"/>
                    </a:lnTo>
                    <a:lnTo>
                      <a:pt x="1237" y="510"/>
                    </a:lnTo>
                    <a:lnTo>
                      <a:pt x="1232" y="514"/>
                    </a:lnTo>
                    <a:lnTo>
                      <a:pt x="1228" y="512"/>
                    </a:lnTo>
                    <a:lnTo>
                      <a:pt x="1224" y="507"/>
                    </a:lnTo>
                    <a:lnTo>
                      <a:pt x="1220" y="499"/>
                    </a:lnTo>
                    <a:lnTo>
                      <a:pt x="1220" y="491"/>
                    </a:lnTo>
                    <a:lnTo>
                      <a:pt x="1221" y="485"/>
                    </a:lnTo>
                    <a:lnTo>
                      <a:pt x="1221" y="479"/>
                    </a:lnTo>
                    <a:lnTo>
                      <a:pt x="1218" y="477"/>
                    </a:lnTo>
                    <a:lnTo>
                      <a:pt x="1215" y="476"/>
                    </a:lnTo>
                    <a:lnTo>
                      <a:pt x="1213" y="471"/>
                    </a:lnTo>
                    <a:lnTo>
                      <a:pt x="1209" y="469"/>
                    </a:lnTo>
                    <a:lnTo>
                      <a:pt x="1201" y="468"/>
                    </a:lnTo>
                    <a:lnTo>
                      <a:pt x="1194" y="468"/>
                    </a:lnTo>
                    <a:lnTo>
                      <a:pt x="1188" y="471"/>
                    </a:lnTo>
                    <a:lnTo>
                      <a:pt x="1183" y="472"/>
                    </a:lnTo>
                    <a:lnTo>
                      <a:pt x="1182" y="472"/>
                    </a:lnTo>
                    <a:lnTo>
                      <a:pt x="1178" y="469"/>
                    </a:lnTo>
                    <a:lnTo>
                      <a:pt x="1177" y="468"/>
                    </a:lnTo>
                    <a:lnTo>
                      <a:pt x="1175" y="468"/>
                    </a:lnTo>
                    <a:lnTo>
                      <a:pt x="1171" y="468"/>
                    </a:lnTo>
                    <a:lnTo>
                      <a:pt x="1166" y="469"/>
                    </a:lnTo>
                    <a:lnTo>
                      <a:pt x="1164" y="469"/>
                    </a:lnTo>
                    <a:lnTo>
                      <a:pt x="1163" y="474"/>
                    </a:lnTo>
                    <a:lnTo>
                      <a:pt x="1161" y="474"/>
                    </a:lnTo>
                    <a:lnTo>
                      <a:pt x="1156" y="474"/>
                    </a:lnTo>
                    <a:lnTo>
                      <a:pt x="1155" y="476"/>
                    </a:lnTo>
                    <a:lnTo>
                      <a:pt x="1153" y="476"/>
                    </a:lnTo>
                    <a:lnTo>
                      <a:pt x="1150" y="477"/>
                    </a:lnTo>
                    <a:lnTo>
                      <a:pt x="1145" y="476"/>
                    </a:lnTo>
                    <a:lnTo>
                      <a:pt x="1142" y="474"/>
                    </a:lnTo>
                    <a:lnTo>
                      <a:pt x="1139" y="474"/>
                    </a:lnTo>
                    <a:lnTo>
                      <a:pt x="1133" y="479"/>
                    </a:lnTo>
                    <a:lnTo>
                      <a:pt x="1126" y="482"/>
                    </a:lnTo>
                    <a:lnTo>
                      <a:pt x="1123" y="482"/>
                    </a:lnTo>
                    <a:lnTo>
                      <a:pt x="1115" y="480"/>
                    </a:lnTo>
                    <a:lnTo>
                      <a:pt x="1109" y="477"/>
                    </a:lnTo>
                    <a:lnTo>
                      <a:pt x="1104" y="479"/>
                    </a:lnTo>
                    <a:lnTo>
                      <a:pt x="1098" y="485"/>
                    </a:lnTo>
                    <a:lnTo>
                      <a:pt x="1090" y="490"/>
                    </a:lnTo>
                    <a:lnTo>
                      <a:pt x="1083" y="490"/>
                    </a:lnTo>
                    <a:lnTo>
                      <a:pt x="1077" y="490"/>
                    </a:lnTo>
                    <a:lnTo>
                      <a:pt x="1071" y="490"/>
                    </a:lnTo>
                    <a:lnTo>
                      <a:pt x="1066" y="488"/>
                    </a:lnTo>
                    <a:lnTo>
                      <a:pt x="1061" y="485"/>
                    </a:lnTo>
                    <a:lnTo>
                      <a:pt x="1056" y="485"/>
                    </a:lnTo>
                    <a:lnTo>
                      <a:pt x="1055" y="485"/>
                    </a:lnTo>
                    <a:lnTo>
                      <a:pt x="1052" y="487"/>
                    </a:lnTo>
                    <a:lnTo>
                      <a:pt x="1047" y="490"/>
                    </a:lnTo>
                    <a:lnTo>
                      <a:pt x="1044" y="488"/>
                    </a:lnTo>
                    <a:lnTo>
                      <a:pt x="1041" y="483"/>
                    </a:lnTo>
                    <a:lnTo>
                      <a:pt x="1037" y="480"/>
                    </a:lnTo>
                    <a:lnTo>
                      <a:pt x="1036" y="477"/>
                    </a:lnTo>
                    <a:lnTo>
                      <a:pt x="1033" y="476"/>
                    </a:lnTo>
                    <a:lnTo>
                      <a:pt x="1023" y="480"/>
                    </a:lnTo>
                    <a:lnTo>
                      <a:pt x="1017" y="483"/>
                    </a:lnTo>
                    <a:lnTo>
                      <a:pt x="1014" y="480"/>
                    </a:lnTo>
                    <a:lnTo>
                      <a:pt x="1011" y="474"/>
                    </a:lnTo>
                    <a:lnTo>
                      <a:pt x="1006" y="466"/>
                    </a:lnTo>
                    <a:lnTo>
                      <a:pt x="1001" y="463"/>
                    </a:lnTo>
                    <a:lnTo>
                      <a:pt x="995" y="463"/>
                    </a:lnTo>
                    <a:lnTo>
                      <a:pt x="993" y="464"/>
                    </a:lnTo>
                    <a:lnTo>
                      <a:pt x="988" y="466"/>
                    </a:lnTo>
                    <a:lnTo>
                      <a:pt x="984" y="469"/>
                    </a:lnTo>
                    <a:lnTo>
                      <a:pt x="980" y="476"/>
                    </a:lnTo>
                    <a:lnTo>
                      <a:pt x="976" y="485"/>
                    </a:lnTo>
                    <a:lnTo>
                      <a:pt x="974" y="490"/>
                    </a:lnTo>
                    <a:lnTo>
                      <a:pt x="974" y="496"/>
                    </a:lnTo>
                    <a:lnTo>
                      <a:pt x="974" y="498"/>
                    </a:lnTo>
                    <a:lnTo>
                      <a:pt x="974" y="504"/>
                    </a:lnTo>
                    <a:lnTo>
                      <a:pt x="976" y="509"/>
                    </a:lnTo>
                    <a:lnTo>
                      <a:pt x="980" y="514"/>
                    </a:lnTo>
                    <a:lnTo>
                      <a:pt x="982" y="514"/>
                    </a:lnTo>
                    <a:lnTo>
                      <a:pt x="985" y="515"/>
                    </a:lnTo>
                    <a:lnTo>
                      <a:pt x="990" y="518"/>
                    </a:lnTo>
                    <a:lnTo>
                      <a:pt x="995" y="520"/>
                    </a:lnTo>
                    <a:lnTo>
                      <a:pt x="999" y="520"/>
                    </a:lnTo>
                    <a:lnTo>
                      <a:pt x="1006" y="521"/>
                    </a:lnTo>
                    <a:lnTo>
                      <a:pt x="1012" y="523"/>
                    </a:lnTo>
                    <a:lnTo>
                      <a:pt x="1017" y="525"/>
                    </a:lnTo>
                    <a:lnTo>
                      <a:pt x="1020" y="526"/>
                    </a:lnTo>
                    <a:lnTo>
                      <a:pt x="1020" y="529"/>
                    </a:lnTo>
                    <a:lnTo>
                      <a:pt x="1018" y="536"/>
                    </a:lnTo>
                    <a:lnTo>
                      <a:pt x="1015" y="544"/>
                    </a:lnTo>
                    <a:lnTo>
                      <a:pt x="1014" y="550"/>
                    </a:lnTo>
                    <a:lnTo>
                      <a:pt x="1012" y="555"/>
                    </a:lnTo>
                    <a:lnTo>
                      <a:pt x="1012" y="560"/>
                    </a:lnTo>
                    <a:lnTo>
                      <a:pt x="1011" y="566"/>
                    </a:lnTo>
                    <a:lnTo>
                      <a:pt x="1012" y="571"/>
                    </a:lnTo>
                    <a:lnTo>
                      <a:pt x="1012" y="577"/>
                    </a:lnTo>
                    <a:lnTo>
                      <a:pt x="1014" y="582"/>
                    </a:lnTo>
                    <a:lnTo>
                      <a:pt x="1014" y="583"/>
                    </a:lnTo>
                    <a:lnTo>
                      <a:pt x="1014" y="586"/>
                    </a:lnTo>
                    <a:lnTo>
                      <a:pt x="1014" y="588"/>
                    </a:lnTo>
                    <a:lnTo>
                      <a:pt x="1014" y="594"/>
                    </a:lnTo>
                    <a:lnTo>
                      <a:pt x="1014" y="596"/>
                    </a:lnTo>
                    <a:lnTo>
                      <a:pt x="1014" y="598"/>
                    </a:lnTo>
                    <a:lnTo>
                      <a:pt x="1011" y="599"/>
                    </a:lnTo>
                    <a:lnTo>
                      <a:pt x="1006" y="601"/>
                    </a:lnTo>
                    <a:lnTo>
                      <a:pt x="1001" y="602"/>
                    </a:lnTo>
                    <a:lnTo>
                      <a:pt x="999" y="602"/>
                    </a:lnTo>
                    <a:lnTo>
                      <a:pt x="996" y="601"/>
                    </a:lnTo>
                    <a:lnTo>
                      <a:pt x="995" y="599"/>
                    </a:lnTo>
                    <a:lnTo>
                      <a:pt x="993" y="598"/>
                    </a:lnTo>
                    <a:lnTo>
                      <a:pt x="992" y="596"/>
                    </a:lnTo>
                    <a:lnTo>
                      <a:pt x="990" y="594"/>
                    </a:lnTo>
                    <a:lnTo>
                      <a:pt x="990" y="593"/>
                    </a:lnTo>
                    <a:lnTo>
                      <a:pt x="990" y="590"/>
                    </a:lnTo>
                    <a:lnTo>
                      <a:pt x="988" y="588"/>
                    </a:lnTo>
                    <a:lnTo>
                      <a:pt x="987" y="585"/>
                    </a:lnTo>
                    <a:lnTo>
                      <a:pt x="985" y="583"/>
                    </a:lnTo>
                    <a:lnTo>
                      <a:pt x="984" y="583"/>
                    </a:lnTo>
                    <a:lnTo>
                      <a:pt x="982" y="582"/>
                    </a:lnTo>
                    <a:lnTo>
                      <a:pt x="977" y="583"/>
                    </a:lnTo>
                    <a:lnTo>
                      <a:pt x="973" y="585"/>
                    </a:lnTo>
                    <a:lnTo>
                      <a:pt x="969" y="586"/>
                    </a:lnTo>
                    <a:lnTo>
                      <a:pt x="965" y="586"/>
                    </a:lnTo>
                    <a:lnTo>
                      <a:pt x="963" y="586"/>
                    </a:lnTo>
                    <a:lnTo>
                      <a:pt x="960" y="586"/>
                    </a:lnTo>
                    <a:lnTo>
                      <a:pt x="958" y="588"/>
                    </a:lnTo>
                    <a:lnTo>
                      <a:pt x="957" y="588"/>
                    </a:lnTo>
                    <a:lnTo>
                      <a:pt x="955" y="590"/>
                    </a:lnTo>
                    <a:lnTo>
                      <a:pt x="954" y="590"/>
                    </a:lnTo>
                    <a:lnTo>
                      <a:pt x="952" y="591"/>
                    </a:lnTo>
                    <a:lnTo>
                      <a:pt x="952" y="594"/>
                    </a:lnTo>
                    <a:lnTo>
                      <a:pt x="952" y="598"/>
                    </a:lnTo>
                    <a:lnTo>
                      <a:pt x="955" y="601"/>
                    </a:lnTo>
                    <a:lnTo>
                      <a:pt x="960" y="604"/>
                    </a:lnTo>
                    <a:lnTo>
                      <a:pt x="963" y="607"/>
                    </a:lnTo>
                    <a:lnTo>
                      <a:pt x="966" y="610"/>
                    </a:lnTo>
                    <a:lnTo>
                      <a:pt x="965" y="617"/>
                    </a:lnTo>
                    <a:lnTo>
                      <a:pt x="963" y="623"/>
                    </a:lnTo>
                    <a:lnTo>
                      <a:pt x="958" y="629"/>
                    </a:lnTo>
                    <a:lnTo>
                      <a:pt x="957" y="637"/>
                    </a:lnTo>
                    <a:lnTo>
                      <a:pt x="957" y="645"/>
                    </a:lnTo>
                    <a:lnTo>
                      <a:pt x="957" y="655"/>
                    </a:lnTo>
                    <a:lnTo>
                      <a:pt x="955" y="662"/>
                    </a:lnTo>
                    <a:lnTo>
                      <a:pt x="955" y="672"/>
                    </a:lnTo>
                    <a:lnTo>
                      <a:pt x="955" y="680"/>
                    </a:lnTo>
                    <a:lnTo>
                      <a:pt x="957" y="688"/>
                    </a:lnTo>
                    <a:lnTo>
                      <a:pt x="961" y="694"/>
                    </a:lnTo>
                    <a:lnTo>
                      <a:pt x="963" y="701"/>
                    </a:lnTo>
                    <a:lnTo>
                      <a:pt x="966" y="708"/>
                    </a:lnTo>
                    <a:lnTo>
                      <a:pt x="968" y="715"/>
                    </a:lnTo>
                    <a:lnTo>
                      <a:pt x="966" y="720"/>
                    </a:lnTo>
                    <a:lnTo>
                      <a:pt x="963" y="726"/>
                    </a:lnTo>
                    <a:lnTo>
                      <a:pt x="957" y="735"/>
                    </a:lnTo>
                    <a:lnTo>
                      <a:pt x="955" y="745"/>
                    </a:lnTo>
                    <a:lnTo>
                      <a:pt x="955" y="753"/>
                    </a:lnTo>
                    <a:lnTo>
                      <a:pt x="952" y="762"/>
                    </a:lnTo>
                    <a:lnTo>
                      <a:pt x="949" y="769"/>
                    </a:lnTo>
                    <a:lnTo>
                      <a:pt x="942" y="773"/>
                    </a:lnTo>
                    <a:lnTo>
                      <a:pt x="938" y="777"/>
                    </a:lnTo>
                    <a:lnTo>
                      <a:pt x="935" y="777"/>
                    </a:lnTo>
                    <a:lnTo>
                      <a:pt x="928" y="780"/>
                    </a:lnTo>
                    <a:lnTo>
                      <a:pt x="922" y="781"/>
                    </a:lnTo>
                    <a:lnTo>
                      <a:pt x="915" y="784"/>
                    </a:lnTo>
                    <a:lnTo>
                      <a:pt x="908" y="788"/>
                    </a:lnTo>
                    <a:lnTo>
                      <a:pt x="900" y="794"/>
                    </a:lnTo>
                    <a:lnTo>
                      <a:pt x="896" y="797"/>
                    </a:lnTo>
                    <a:lnTo>
                      <a:pt x="892" y="802"/>
                    </a:lnTo>
                    <a:lnTo>
                      <a:pt x="884" y="808"/>
                    </a:lnTo>
                    <a:lnTo>
                      <a:pt x="876" y="813"/>
                    </a:lnTo>
                    <a:lnTo>
                      <a:pt x="871" y="813"/>
                    </a:lnTo>
                    <a:lnTo>
                      <a:pt x="870" y="813"/>
                    </a:lnTo>
                    <a:lnTo>
                      <a:pt x="858" y="810"/>
                    </a:lnTo>
                    <a:lnTo>
                      <a:pt x="854" y="810"/>
                    </a:lnTo>
                    <a:lnTo>
                      <a:pt x="851" y="810"/>
                    </a:lnTo>
                    <a:lnTo>
                      <a:pt x="839" y="811"/>
                    </a:lnTo>
                    <a:lnTo>
                      <a:pt x="828" y="813"/>
                    </a:lnTo>
                    <a:lnTo>
                      <a:pt x="819" y="815"/>
                    </a:lnTo>
                    <a:lnTo>
                      <a:pt x="809" y="815"/>
                    </a:lnTo>
                    <a:lnTo>
                      <a:pt x="800" y="813"/>
                    </a:lnTo>
                    <a:lnTo>
                      <a:pt x="798" y="813"/>
                    </a:lnTo>
                    <a:lnTo>
                      <a:pt x="789" y="810"/>
                    </a:lnTo>
                    <a:lnTo>
                      <a:pt x="778" y="805"/>
                    </a:lnTo>
                    <a:lnTo>
                      <a:pt x="776" y="805"/>
                    </a:lnTo>
                    <a:lnTo>
                      <a:pt x="770" y="802"/>
                    </a:lnTo>
                    <a:lnTo>
                      <a:pt x="762" y="796"/>
                    </a:lnTo>
                    <a:lnTo>
                      <a:pt x="757" y="792"/>
                    </a:lnTo>
                    <a:lnTo>
                      <a:pt x="756" y="791"/>
                    </a:lnTo>
                    <a:lnTo>
                      <a:pt x="749" y="788"/>
                    </a:lnTo>
                    <a:lnTo>
                      <a:pt x="743" y="783"/>
                    </a:lnTo>
                    <a:lnTo>
                      <a:pt x="737" y="778"/>
                    </a:lnTo>
                    <a:lnTo>
                      <a:pt x="733" y="770"/>
                    </a:lnTo>
                    <a:lnTo>
                      <a:pt x="732" y="769"/>
                    </a:lnTo>
                    <a:lnTo>
                      <a:pt x="729" y="769"/>
                    </a:lnTo>
                    <a:lnTo>
                      <a:pt x="725" y="770"/>
                    </a:lnTo>
                    <a:lnTo>
                      <a:pt x="724" y="772"/>
                    </a:lnTo>
                    <a:lnTo>
                      <a:pt x="721" y="772"/>
                    </a:lnTo>
                    <a:lnTo>
                      <a:pt x="714" y="769"/>
                    </a:lnTo>
                    <a:lnTo>
                      <a:pt x="705" y="764"/>
                    </a:lnTo>
                    <a:lnTo>
                      <a:pt x="694" y="761"/>
                    </a:lnTo>
                    <a:lnTo>
                      <a:pt x="689" y="758"/>
                    </a:lnTo>
                    <a:lnTo>
                      <a:pt x="687" y="758"/>
                    </a:lnTo>
                    <a:lnTo>
                      <a:pt x="684" y="758"/>
                    </a:lnTo>
                    <a:lnTo>
                      <a:pt x="679" y="758"/>
                    </a:lnTo>
                    <a:lnTo>
                      <a:pt x="672" y="759"/>
                    </a:lnTo>
                    <a:lnTo>
                      <a:pt x="665" y="761"/>
                    </a:lnTo>
                    <a:lnTo>
                      <a:pt x="656" y="758"/>
                    </a:lnTo>
                    <a:lnTo>
                      <a:pt x="653" y="753"/>
                    </a:lnTo>
                    <a:lnTo>
                      <a:pt x="648" y="750"/>
                    </a:lnTo>
                    <a:lnTo>
                      <a:pt x="641" y="748"/>
                    </a:lnTo>
                    <a:lnTo>
                      <a:pt x="635" y="748"/>
                    </a:lnTo>
                    <a:lnTo>
                      <a:pt x="630" y="745"/>
                    </a:lnTo>
                    <a:lnTo>
                      <a:pt x="629" y="743"/>
                    </a:lnTo>
                    <a:lnTo>
                      <a:pt x="624" y="742"/>
                    </a:lnTo>
                    <a:lnTo>
                      <a:pt x="618" y="740"/>
                    </a:lnTo>
                    <a:lnTo>
                      <a:pt x="613" y="739"/>
                    </a:lnTo>
                    <a:lnTo>
                      <a:pt x="610" y="737"/>
                    </a:lnTo>
                    <a:lnTo>
                      <a:pt x="607" y="734"/>
                    </a:lnTo>
                    <a:lnTo>
                      <a:pt x="605" y="732"/>
                    </a:lnTo>
                    <a:lnTo>
                      <a:pt x="599" y="726"/>
                    </a:lnTo>
                    <a:lnTo>
                      <a:pt x="592" y="721"/>
                    </a:lnTo>
                    <a:lnTo>
                      <a:pt x="584" y="716"/>
                    </a:lnTo>
                    <a:lnTo>
                      <a:pt x="572" y="718"/>
                    </a:lnTo>
                    <a:lnTo>
                      <a:pt x="565" y="716"/>
                    </a:lnTo>
                    <a:lnTo>
                      <a:pt x="559" y="715"/>
                    </a:lnTo>
                    <a:lnTo>
                      <a:pt x="558" y="712"/>
                    </a:lnTo>
                    <a:lnTo>
                      <a:pt x="556" y="707"/>
                    </a:lnTo>
                    <a:lnTo>
                      <a:pt x="558" y="701"/>
                    </a:lnTo>
                    <a:lnTo>
                      <a:pt x="561" y="694"/>
                    </a:lnTo>
                    <a:lnTo>
                      <a:pt x="562" y="688"/>
                    </a:lnTo>
                    <a:lnTo>
                      <a:pt x="559" y="683"/>
                    </a:lnTo>
                    <a:lnTo>
                      <a:pt x="553" y="677"/>
                    </a:lnTo>
                    <a:lnTo>
                      <a:pt x="551" y="675"/>
                    </a:lnTo>
                    <a:lnTo>
                      <a:pt x="550" y="672"/>
                    </a:lnTo>
                    <a:lnTo>
                      <a:pt x="550" y="669"/>
                    </a:lnTo>
                    <a:lnTo>
                      <a:pt x="546" y="661"/>
                    </a:lnTo>
                    <a:lnTo>
                      <a:pt x="543" y="659"/>
                    </a:lnTo>
                    <a:lnTo>
                      <a:pt x="542" y="659"/>
                    </a:lnTo>
                    <a:lnTo>
                      <a:pt x="540" y="658"/>
                    </a:lnTo>
                    <a:lnTo>
                      <a:pt x="535" y="656"/>
                    </a:lnTo>
                    <a:lnTo>
                      <a:pt x="529" y="653"/>
                    </a:lnTo>
                    <a:lnTo>
                      <a:pt x="524" y="650"/>
                    </a:lnTo>
                    <a:lnTo>
                      <a:pt x="516" y="643"/>
                    </a:lnTo>
                    <a:lnTo>
                      <a:pt x="510" y="639"/>
                    </a:lnTo>
                    <a:lnTo>
                      <a:pt x="505" y="637"/>
                    </a:lnTo>
                    <a:lnTo>
                      <a:pt x="502" y="634"/>
                    </a:lnTo>
                    <a:lnTo>
                      <a:pt x="504" y="632"/>
                    </a:lnTo>
                    <a:lnTo>
                      <a:pt x="505" y="628"/>
                    </a:lnTo>
                    <a:lnTo>
                      <a:pt x="510" y="623"/>
                    </a:lnTo>
                    <a:lnTo>
                      <a:pt x="513" y="618"/>
                    </a:lnTo>
                    <a:lnTo>
                      <a:pt x="516" y="613"/>
                    </a:lnTo>
                    <a:lnTo>
                      <a:pt x="518" y="609"/>
                    </a:lnTo>
                    <a:lnTo>
                      <a:pt x="519" y="602"/>
                    </a:lnTo>
                    <a:lnTo>
                      <a:pt x="516" y="596"/>
                    </a:lnTo>
                    <a:lnTo>
                      <a:pt x="515" y="590"/>
                    </a:lnTo>
                    <a:lnTo>
                      <a:pt x="515" y="586"/>
                    </a:lnTo>
                    <a:lnTo>
                      <a:pt x="512" y="575"/>
                    </a:lnTo>
                    <a:lnTo>
                      <a:pt x="510" y="571"/>
                    </a:lnTo>
                    <a:lnTo>
                      <a:pt x="508" y="569"/>
                    </a:lnTo>
                    <a:lnTo>
                      <a:pt x="505" y="564"/>
                    </a:lnTo>
                    <a:lnTo>
                      <a:pt x="499" y="564"/>
                    </a:lnTo>
                    <a:lnTo>
                      <a:pt x="493" y="563"/>
                    </a:lnTo>
                    <a:lnTo>
                      <a:pt x="491" y="564"/>
                    </a:lnTo>
                    <a:lnTo>
                      <a:pt x="488" y="564"/>
                    </a:lnTo>
                    <a:lnTo>
                      <a:pt x="483" y="564"/>
                    </a:lnTo>
                    <a:lnTo>
                      <a:pt x="478" y="564"/>
                    </a:lnTo>
                    <a:lnTo>
                      <a:pt x="475" y="567"/>
                    </a:lnTo>
                    <a:lnTo>
                      <a:pt x="472" y="572"/>
                    </a:lnTo>
                    <a:lnTo>
                      <a:pt x="467" y="575"/>
                    </a:lnTo>
                    <a:lnTo>
                      <a:pt x="467" y="579"/>
                    </a:lnTo>
                    <a:lnTo>
                      <a:pt x="466" y="580"/>
                    </a:lnTo>
                    <a:lnTo>
                      <a:pt x="467" y="585"/>
                    </a:lnTo>
                    <a:lnTo>
                      <a:pt x="470" y="590"/>
                    </a:lnTo>
                    <a:lnTo>
                      <a:pt x="478" y="596"/>
                    </a:lnTo>
                    <a:lnTo>
                      <a:pt x="480" y="598"/>
                    </a:lnTo>
                    <a:lnTo>
                      <a:pt x="483" y="601"/>
                    </a:lnTo>
                    <a:lnTo>
                      <a:pt x="486" y="602"/>
                    </a:lnTo>
                    <a:lnTo>
                      <a:pt x="488" y="604"/>
                    </a:lnTo>
                    <a:lnTo>
                      <a:pt x="488" y="607"/>
                    </a:lnTo>
                    <a:lnTo>
                      <a:pt x="486" y="610"/>
                    </a:lnTo>
                    <a:lnTo>
                      <a:pt x="483" y="613"/>
                    </a:lnTo>
                    <a:lnTo>
                      <a:pt x="481" y="617"/>
                    </a:lnTo>
                    <a:lnTo>
                      <a:pt x="477" y="621"/>
                    </a:lnTo>
                    <a:lnTo>
                      <a:pt x="470" y="626"/>
                    </a:lnTo>
                    <a:lnTo>
                      <a:pt x="464" y="629"/>
                    </a:lnTo>
                    <a:lnTo>
                      <a:pt x="461" y="628"/>
                    </a:lnTo>
                    <a:lnTo>
                      <a:pt x="458" y="628"/>
                    </a:lnTo>
                    <a:lnTo>
                      <a:pt x="453" y="629"/>
                    </a:lnTo>
                    <a:lnTo>
                      <a:pt x="453" y="631"/>
                    </a:lnTo>
                    <a:lnTo>
                      <a:pt x="450" y="632"/>
                    </a:lnTo>
                    <a:lnTo>
                      <a:pt x="442" y="637"/>
                    </a:lnTo>
                    <a:lnTo>
                      <a:pt x="436" y="642"/>
                    </a:lnTo>
                    <a:lnTo>
                      <a:pt x="432" y="642"/>
                    </a:lnTo>
                    <a:lnTo>
                      <a:pt x="428" y="643"/>
                    </a:lnTo>
                    <a:lnTo>
                      <a:pt x="421" y="642"/>
                    </a:lnTo>
                    <a:lnTo>
                      <a:pt x="417" y="640"/>
                    </a:lnTo>
                    <a:lnTo>
                      <a:pt x="413" y="637"/>
                    </a:lnTo>
                    <a:lnTo>
                      <a:pt x="412" y="631"/>
                    </a:lnTo>
                    <a:lnTo>
                      <a:pt x="410" y="626"/>
                    </a:lnTo>
                    <a:lnTo>
                      <a:pt x="410" y="623"/>
                    </a:lnTo>
                    <a:lnTo>
                      <a:pt x="407" y="618"/>
                    </a:lnTo>
                    <a:lnTo>
                      <a:pt x="405" y="618"/>
                    </a:lnTo>
                    <a:lnTo>
                      <a:pt x="404" y="618"/>
                    </a:lnTo>
                    <a:lnTo>
                      <a:pt x="402" y="621"/>
                    </a:lnTo>
                    <a:lnTo>
                      <a:pt x="399" y="623"/>
                    </a:lnTo>
                    <a:lnTo>
                      <a:pt x="398" y="621"/>
                    </a:lnTo>
                    <a:lnTo>
                      <a:pt x="396" y="623"/>
                    </a:lnTo>
                    <a:lnTo>
                      <a:pt x="393" y="624"/>
                    </a:lnTo>
                    <a:lnTo>
                      <a:pt x="390" y="624"/>
                    </a:lnTo>
                    <a:lnTo>
                      <a:pt x="385" y="623"/>
                    </a:lnTo>
                    <a:lnTo>
                      <a:pt x="382" y="621"/>
                    </a:lnTo>
                    <a:lnTo>
                      <a:pt x="380" y="623"/>
                    </a:lnTo>
                    <a:lnTo>
                      <a:pt x="377" y="628"/>
                    </a:lnTo>
                    <a:lnTo>
                      <a:pt x="374" y="632"/>
                    </a:lnTo>
                    <a:lnTo>
                      <a:pt x="372" y="637"/>
                    </a:lnTo>
                    <a:lnTo>
                      <a:pt x="369" y="637"/>
                    </a:lnTo>
                    <a:lnTo>
                      <a:pt x="363" y="636"/>
                    </a:lnTo>
                    <a:lnTo>
                      <a:pt x="360" y="632"/>
                    </a:lnTo>
                    <a:lnTo>
                      <a:pt x="356" y="636"/>
                    </a:lnTo>
                    <a:lnTo>
                      <a:pt x="355" y="639"/>
                    </a:lnTo>
                    <a:lnTo>
                      <a:pt x="355" y="645"/>
                    </a:lnTo>
                    <a:lnTo>
                      <a:pt x="355" y="651"/>
                    </a:lnTo>
                    <a:lnTo>
                      <a:pt x="355" y="653"/>
                    </a:lnTo>
                    <a:lnTo>
                      <a:pt x="350" y="656"/>
                    </a:lnTo>
                    <a:lnTo>
                      <a:pt x="348" y="656"/>
                    </a:lnTo>
                    <a:lnTo>
                      <a:pt x="345" y="658"/>
                    </a:lnTo>
                    <a:lnTo>
                      <a:pt x="340" y="659"/>
                    </a:lnTo>
                    <a:lnTo>
                      <a:pt x="337" y="666"/>
                    </a:lnTo>
                    <a:lnTo>
                      <a:pt x="331" y="674"/>
                    </a:lnTo>
                    <a:lnTo>
                      <a:pt x="326" y="675"/>
                    </a:lnTo>
                    <a:lnTo>
                      <a:pt x="326" y="677"/>
                    </a:lnTo>
                    <a:lnTo>
                      <a:pt x="325" y="678"/>
                    </a:lnTo>
                    <a:lnTo>
                      <a:pt x="325" y="685"/>
                    </a:lnTo>
                    <a:lnTo>
                      <a:pt x="326" y="691"/>
                    </a:lnTo>
                    <a:lnTo>
                      <a:pt x="328" y="701"/>
                    </a:lnTo>
                    <a:lnTo>
                      <a:pt x="328" y="708"/>
                    </a:lnTo>
                    <a:lnTo>
                      <a:pt x="329" y="720"/>
                    </a:lnTo>
                    <a:lnTo>
                      <a:pt x="331" y="720"/>
                    </a:lnTo>
                    <a:lnTo>
                      <a:pt x="331" y="723"/>
                    </a:lnTo>
                    <a:lnTo>
                      <a:pt x="333" y="727"/>
                    </a:lnTo>
                    <a:lnTo>
                      <a:pt x="331" y="731"/>
                    </a:lnTo>
                    <a:lnTo>
                      <a:pt x="326" y="735"/>
                    </a:lnTo>
                    <a:lnTo>
                      <a:pt x="321" y="737"/>
                    </a:lnTo>
                    <a:lnTo>
                      <a:pt x="317" y="742"/>
                    </a:lnTo>
                    <a:lnTo>
                      <a:pt x="310" y="746"/>
                    </a:lnTo>
                    <a:lnTo>
                      <a:pt x="309" y="745"/>
                    </a:lnTo>
                    <a:lnTo>
                      <a:pt x="302" y="742"/>
                    </a:lnTo>
                    <a:lnTo>
                      <a:pt x="295" y="742"/>
                    </a:lnTo>
                    <a:lnTo>
                      <a:pt x="288" y="742"/>
                    </a:lnTo>
                    <a:lnTo>
                      <a:pt x="285" y="739"/>
                    </a:lnTo>
                    <a:lnTo>
                      <a:pt x="283" y="735"/>
                    </a:lnTo>
                    <a:lnTo>
                      <a:pt x="287" y="732"/>
                    </a:lnTo>
                    <a:lnTo>
                      <a:pt x="288" y="729"/>
                    </a:lnTo>
                    <a:lnTo>
                      <a:pt x="293" y="727"/>
                    </a:lnTo>
                    <a:lnTo>
                      <a:pt x="296" y="723"/>
                    </a:lnTo>
                    <a:lnTo>
                      <a:pt x="296" y="720"/>
                    </a:lnTo>
                    <a:lnTo>
                      <a:pt x="296" y="718"/>
                    </a:lnTo>
                    <a:lnTo>
                      <a:pt x="293" y="716"/>
                    </a:lnTo>
                    <a:lnTo>
                      <a:pt x="290" y="715"/>
                    </a:lnTo>
                    <a:lnTo>
                      <a:pt x="283" y="713"/>
                    </a:lnTo>
                    <a:lnTo>
                      <a:pt x="277" y="712"/>
                    </a:lnTo>
                    <a:lnTo>
                      <a:pt x="271" y="708"/>
                    </a:lnTo>
                    <a:lnTo>
                      <a:pt x="264" y="705"/>
                    </a:lnTo>
                    <a:lnTo>
                      <a:pt x="260" y="702"/>
                    </a:lnTo>
                    <a:lnTo>
                      <a:pt x="258" y="699"/>
                    </a:lnTo>
                    <a:lnTo>
                      <a:pt x="258" y="694"/>
                    </a:lnTo>
                    <a:lnTo>
                      <a:pt x="257" y="689"/>
                    </a:lnTo>
                    <a:lnTo>
                      <a:pt x="255" y="683"/>
                    </a:lnTo>
                    <a:lnTo>
                      <a:pt x="253" y="678"/>
                    </a:lnTo>
                    <a:lnTo>
                      <a:pt x="250" y="675"/>
                    </a:lnTo>
                    <a:lnTo>
                      <a:pt x="245" y="670"/>
                    </a:lnTo>
                    <a:lnTo>
                      <a:pt x="241" y="666"/>
                    </a:lnTo>
                    <a:lnTo>
                      <a:pt x="238" y="662"/>
                    </a:lnTo>
                    <a:lnTo>
                      <a:pt x="231" y="661"/>
                    </a:lnTo>
                    <a:lnTo>
                      <a:pt x="226" y="658"/>
                    </a:lnTo>
                    <a:lnTo>
                      <a:pt x="223" y="651"/>
                    </a:lnTo>
                    <a:lnTo>
                      <a:pt x="220" y="645"/>
                    </a:lnTo>
                    <a:lnTo>
                      <a:pt x="219" y="642"/>
                    </a:lnTo>
                    <a:lnTo>
                      <a:pt x="217" y="640"/>
                    </a:lnTo>
                    <a:lnTo>
                      <a:pt x="215" y="636"/>
                    </a:lnTo>
                    <a:lnTo>
                      <a:pt x="215" y="634"/>
                    </a:lnTo>
                    <a:lnTo>
                      <a:pt x="215" y="629"/>
                    </a:lnTo>
                    <a:lnTo>
                      <a:pt x="217" y="621"/>
                    </a:lnTo>
                    <a:lnTo>
                      <a:pt x="219" y="615"/>
                    </a:lnTo>
                    <a:lnTo>
                      <a:pt x="222" y="610"/>
                    </a:lnTo>
                    <a:lnTo>
                      <a:pt x="225" y="604"/>
                    </a:lnTo>
                    <a:lnTo>
                      <a:pt x="228" y="601"/>
                    </a:lnTo>
                    <a:lnTo>
                      <a:pt x="230" y="599"/>
                    </a:lnTo>
                    <a:lnTo>
                      <a:pt x="233" y="593"/>
                    </a:lnTo>
                    <a:lnTo>
                      <a:pt x="236" y="590"/>
                    </a:lnTo>
                    <a:lnTo>
                      <a:pt x="238" y="590"/>
                    </a:lnTo>
                    <a:lnTo>
                      <a:pt x="239" y="588"/>
                    </a:lnTo>
                    <a:lnTo>
                      <a:pt x="241" y="586"/>
                    </a:lnTo>
                    <a:lnTo>
                      <a:pt x="242" y="583"/>
                    </a:lnTo>
                    <a:lnTo>
                      <a:pt x="239" y="580"/>
                    </a:lnTo>
                    <a:lnTo>
                      <a:pt x="234" y="577"/>
                    </a:lnTo>
                    <a:lnTo>
                      <a:pt x="228" y="577"/>
                    </a:lnTo>
                    <a:lnTo>
                      <a:pt x="223" y="575"/>
                    </a:lnTo>
                    <a:lnTo>
                      <a:pt x="222" y="572"/>
                    </a:lnTo>
                    <a:lnTo>
                      <a:pt x="223" y="567"/>
                    </a:lnTo>
                    <a:lnTo>
                      <a:pt x="228" y="566"/>
                    </a:lnTo>
                    <a:lnTo>
                      <a:pt x="234" y="564"/>
                    </a:lnTo>
                    <a:lnTo>
                      <a:pt x="239" y="561"/>
                    </a:lnTo>
                    <a:lnTo>
                      <a:pt x="241" y="558"/>
                    </a:lnTo>
                    <a:lnTo>
                      <a:pt x="245" y="556"/>
                    </a:lnTo>
                    <a:lnTo>
                      <a:pt x="250" y="555"/>
                    </a:lnTo>
                    <a:lnTo>
                      <a:pt x="253" y="553"/>
                    </a:lnTo>
                    <a:lnTo>
                      <a:pt x="258" y="552"/>
                    </a:lnTo>
                    <a:lnTo>
                      <a:pt x="264" y="548"/>
                    </a:lnTo>
                    <a:lnTo>
                      <a:pt x="269" y="547"/>
                    </a:lnTo>
                    <a:lnTo>
                      <a:pt x="277" y="545"/>
                    </a:lnTo>
                    <a:lnTo>
                      <a:pt x="280" y="542"/>
                    </a:lnTo>
                    <a:lnTo>
                      <a:pt x="280" y="537"/>
                    </a:lnTo>
                    <a:lnTo>
                      <a:pt x="274" y="536"/>
                    </a:lnTo>
                    <a:lnTo>
                      <a:pt x="268" y="534"/>
                    </a:lnTo>
                    <a:lnTo>
                      <a:pt x="260" y="534"/>
                    </a:lnTo>
                    <a:lnTo>
                      <a:pt x="253" y="533"/>
                    </a:lnTo>
                    <a:lnTo>
                      <a:pt x="247" y="531"/>
                    </a:lnTo>
                    <a:lnTo>
                      <a:pt x="242" y="531"/>
                    </a:lnTo>
                    <a:lnTo>
                      <a:pt x="241" y="531"/>
                    </a:lnTo>
                    <a:lnTo>
                      <a:pt x="234" y="531"/>
                    </a:lnTo>
                    <a:lnTo>
                      <a:pt x="228" y="534"/>
                    </a:lnTo>
                    <a:lnTo>
                      <a:pt x="226" y="534"/>
                    </a:lnTo>
                    <a:lnTo>
                      <a:pt x="225" y="534"/>
                    </a:lnTo>
                    <a:lnTo>
                      <a:pt x="220" y="536"/>
                    </a:lnTo>
                    <a:lnTo>
                      <a:pt x="214" y="536"/>
                    </a:lnTo>
                    <a:lnTo>
                      <a:pt x="203" y="536"/>
                    </a:lnTo>
                    <a:lnTo>
                      <a:pt x="198" y="529"/>
                    </a:lnTo>
                    <a:lnTo>
                      <a:pt x="195" y="523"/>
                    </a:lnTo>
                    <a:lnTo>
                      <a:pt x="193" y="517"/>
                    </a:lnTo>
                    <a:lnTo>
                      <a:pt x="188" y="510"/>
                    </a:lnTo>
                    <a:lnTo>
                      <a:pt x="182" y="509"/>
                    </a:lnTo>
                    <a:lnTo>
                      <a:pt x="176" y="509"/>
                    </a:lnTo>
                    <a:lnTo>
                      <a:pt x="168" y="507"/>
                    </a:lnTo>
                    <a:lnTo>
                      <a:pt x="161" y="506"/>
                    </a:lnTo>
                    <a:lnTo>
                      <a:pt x="158" y="504"/>
                    </a:lnTo>
                    <a:lnTo>
                      <a:pt x="155" y="501"/>
                    </a:lnTo>
                    <a:lnTo>
                      <a:pt x="152" y="496"/>
                    </a:lnTo>
                    <a:lnTo>
                      <a:pt x="149" y="490"/>
                    </a:lnTo>
                    <a:lnTo>
                      <a:pt x="146" y="487"/>
                    </a:lnTo>
                    <a:lnTo>
                      <a:pt x="142" y="482"/>
                    </a:lnTo>
                    <a:lnTo>
                      <a:pt x="139" y="479"/>
                    </a:lnTo>
                    <a:lnTo>
                      <a:pt x="133" y="474"/>
                    </a:lnTo>
                    <a:lnTo>
                      <a:pt x="128" y="471"/>
                    </a:lnTo>
                    <a:lnTo>
                      <a:pt x="122" y="469"/>
                    </a:lnTo>
                    <a:lnTo>
                      <a:pt x="117" y="468"/>
                    </a:lnTo>
                    <a:lnTo>
                      <a:pt x="111" y="464"/>
                    </a:lnTo>
                    <a:lnTo>
                      <a:pt x="104" y="461"/>
                    </a:lnTo>
                    <a:lnTo>
                      <a:pt x="100" y="457"/>
                    </a:lnTo>
                    <a:lnTo>
                      <a:pt x="95" y="453"/>
                    </a:lnTo>
                    <a:lnTo>
                      <a:pt x="90" y="450"/>
                    </a:lnTo>
                    <a:lnTo>
                      <a:pt x="87" y="447"/>
                    </a:lnTo>
                    <a:lnTo>
                      <a:pt x="81" y="442"/>
                    </a:lnTo>
                    <a:lnTo>
                      <a:pt x="78" y="439"/>
                    </a:lnTo>
                    <a:lnTo>
                      <a:pt x="74" y="434"/>
                    </a:lnTo>
                    <a:lnTo>
                      <a:pt x="71" y="430"/>
                    </a:lnTo>
                    <a:lnTo>
                      <a:pt x="66" y="425"/>
                    </a:lnTo>
                    <a:lnTo>
                      <a:pt x="60" y="420"/>
                    </a:lnTo>
                    <a:lnTo>
                      <a:pt x="52" y="415"/>
                    </a:lnTo>
                    <a:lnTo>
                      <a:pt x="46" y="414"/>
                    </a:lnTo>
                    <a:lnTo>
                      <a:pt x="40" y="411"/>
                    </a:lnTo>
                    <a:lnTo>
                      <a:pt x="33" y="409"/>
                    </a:lnTo>
                    <a:lnTo>
                      <a:pt x="27" y="412"/>
                    </a:lnTo>
                    <a:lnTo>
                      <a:pt x="21" y="415"/>
                    </a:lnTo>
                    <a:lnTo>
                      <a:pt x="19" y="418"/>
                    </a:lnTo>
                    <a:lnTo>
                      <a:pt x="17" y="422"/>
                    </a:lnTo>
                    <a:lnTo>
                      <a:pt x="13" y="425"/>
                    </a:lnTo>
                    <a:lnTo>
                      <a:pt x="9" y="425"/>
                    </a:lnTo>
                    <a:lnTo>
                      <a:pt x="6" y="425"/>
                    </a:lnTo>
                    <a:lnTo>
                      <a:pt x="3" y="420"/>
                    </a:lnTo>
                    <a:lnTo>
                      <a:pt x="2" y="417"/>
                    </a:lnTo>
                    <a:lnTo>
                      <a:pt x="0" y="417"/>
                    </a:lnTo>
                    <a:lnTo>
                      <a:pt x="0" y="415"/>
                    </a:lnTo>
                    <a:lnTo>
                      <a:pt x="3" y="415"/>
                    </a:lnTo>
                    <a:lnTo>
                      <a:pt x="3" y="414"/>
                    </a:lnTo>
                    <a:lnTo>
                      <a:pt x="3" y="412"/>
                    </a:lnTo>
                    <a:lnTo>
                      <a:pt x="3" y="409"/>
                    </a:lnTo>
                    <a:lnTo>
                      <a:pt x="5" y="406"/>
                    </a:lnTo>
                    <a:lnTo>
                      <a:pt x="5" y="393"/>
                    </a:lnTo>
                    <a:lnTo>
                      <a:pt x="5" y="387"/>
                    </a:lnTo>
                    <a:lnTo>
                      <a:pt x="5" y="384"/>
                    </a:lnTo>
                    <a:lnTo>
                      <a:pt x="5" y="380"/>
                    </a:lnTo>
                    <a:lnTo>
                      <a:pt x="5" y="374"/>
                    </a:lnTo>
                    <a:lnTo>
                      <a:pt x="5" y="369"/>
                    </a:lnTo>
                    <a:lnTo>
                      <a:pt x="5" y="368"/>
                    </a:lnTo>
                    <a:lnTo>
                      <a:pt x="5" y="361"/>
                    </a:lnTo>
                    <a:lnTo>
                      <a:pt x="3" y="354"/>
                    </a:lnTo>
                    <a:lnTo>
                      <a:pt x="3" y="350"/>
                    </a:lnTo>
                    <a:lnTo>
                      <a:pt x="3" y="347"/>
                    </a:lnTo>
                    <a:lnTo>
                      <a:pt x="5" y="323"/>
                    </a:lnTo>
                    <a:lnTo>
                      <a:pt x="5" y="320"/>
                    </a:lnTo>
                    <a:lnTo>
                      <a:pt x="5" y="312"/>
                    </a:lnTo>
                    <a:lnTo>
                      <a:pt x="5" y="308"/>
                    </a:lnTo>
                    <a:lnTo>
                      <a:pt x="5" y="304"/>
                    </a:lnTo>
                    <a:lnTo>
                      <a:pt x="5" y="303"/>
                    </a:lnTo>
                    <a:lnTo>
                      <a:pt x="3" y="290"/>
                    </a:lnTo>
                    <a:lnTo>
                      <a:pt x="3" y="285"/>
                    </a:lnTo>
                    <a:lnTo>
                      <a:pt x="3" y="284"/>
                    </a:lnTo>
                    <a:lnTo>
                      <a:pt x="3" y="281"/>
                    </a:lnTo>
                    <a:lnTo>
                      <a:pt x="3" y="279"/>
                    </a:lnTo>
                    <a:lnTo>
                      <a:pt x="3" y="277"/>
                    </a:lnTo>
                    <a:lnTo>
                      <a:pt x="3" y="276"/>
                    </a:lnTo>
                    <a:lnTo>
                      <a:pt x="3" y="263"/>
                    </a:lnTo>
                    <a:lnTo>
                      <a:pt x="3" y="262"/>
                    </a:lnTo>
                    <a:lnTo>
                      <a:pt x="2" y="260"/>
                    </a:lnTo>
                    <a:lnTo>
                      <a:pt x="2" y="249"/>
                    </a:lnTo>
                    <a:lnTo>
                      <a:pt x="0" y="246"/>
                    </a:lnTo>
                    <a:lnTo>
                      <a:pt x="0" y="239"/>
                    </a:lnTo>
                    <a:lnTo>
                      <a:pt x="0" y="236"/>
                    </a:lnTo>
                    <a:lnTo>
                      <a:pt x="2" y="236"/>
                    </a:lnTo>
                    <a:lnTo>
                      <a:pt x="2" y="238"/>
                    </a:lnTo>
                    <a:lnTo>
                      <a:pt x="3" y="238"/>
                    </a:lnTo>
                    <a:lnTo>
                      <a:pt x="3" y="239"/>
                    </a:lnTo>
                    <a:lnTo>
                      <a:pt x="5" y="239"/>
                    </a:lnTo>
                    <a:lnTo>
                      <a:pt x="6" y="239"/>
                    </a:lnTo>
                    <a:lnTo>
                      <a:pt x="8" y="239"/>
                    </a:lnTo>
                    <a:lnTo>
                      <a:pt x="9" y="239"/>
                    </a:lnTo>
                    <a:lnTo>
                      <a:pt x="11" y="239"/>
                    </a:lnTo>
                    <a:lnTo>
                      <a:pt x="13" y="239"/>
                    </a:lnTo>
                    <a:lnTo>
                      <a:pt x="13" y="241"/>
                    </a:lnTo>
                    <a:lnTo>
                      <a:pt x="14" y="241"/>
                    </a:lnTo>
                    <a:lnTo>
                      <a:pt x="16" y="241"/>
                    </a:lnTo>
                    <a:lnTo>
                      <a:pt x="17" y="241"/>
                    </a:lnTo>
                    <a:lnTo>
                      <a:pt x="19" y="241"/>
                    </a:lnTo>
                    <a:lnTo>
                      <a:pt x="21" y="241"/>
                    </a:lnTo>
                    <a:lnTo>
                      <a:pt x="22" y="241"/>
                    </a:lnTo>
                    <a:lnTo>
                      <a:pt x="24" y="241"/>
                    </a:lnTo>
                    <a:lnTo>
                      <a:pt x="25" y="241"/>
                    </a:lnTo>
                    <a:lnTo>
                      <a:pt x="25" y="239"/>
                    </a:lnTo>
                    <a:lnTo>
                      <a:pt x="27" y="239"/>
                    </a:lnTo>
                    <a:lnTo>
                      <a:pt x="27" y="241"/>
                    </a:lnTo>
                    <a:lnTo>
                      <a:pt x="28" y="241"/>
                    </a:lnTo>
                    <a:lnTo>
                      <a:pt x="30" y="241"/>
                    </a:lnTo>
                    <a:lnTo>
                      <a:pt x="32" y="241"/>
                    </a:lnTo>
                    <a:lnTo>
                      <a:pt x="33" y="241"/>
                    </a:lnTo>
                    <a:lnTo>
                      <a:pt x="33" y="243"/>
                    </a:lnTo>
                    <a:lnTo>
                      <a:pt x="35" y="244"/>
                    </a:lnTo>
                    <a:lnTo>
                      <a:pt x="36" y="244"/>
                    </a:lnTo>
                    <a:lnTo>
                      <a:pt x="38" y="244"/>
                    </a:lnTo>
                    <a:lnTo>
                      <a:pt x="38" y="243"/>
                    </a:lnTo>
                    <a:lnTo>
                      <a:pt x="40" y="243"/>
                    </a:lnTo>
                    <a:lnTo>
                      <a:pt x="41" y="243"/>
                    </a:lnTo>
                    <a:lnTo>
                      <a:pt x="43" y="243"/>
                    </a:lnTo>
                    <a:lnTo>
                      <a:pt x="44" y="243"/>
                    </a:lnTo>
                    <a:lnTo>
                      <a:pt x="46" y="244"/>
                    </a:lnTo>
                    <a:lnTo>
                      <a:pt x="47" y="244"/>
                    </a:lnTo>
                    <a:lnTo>
                      <a:pt x="49" y="244"/>
                    </a:lnTo>
                    <a:lnTo>
                      <a:pt x="51" y="244"/>
                    </a:lnTo>
                    <a:lnTo>
                      <a:pt x="52" y="244"/>
                    </a:lnTo>
                    <a:lnTo>
                      <a:pt x="54" y="244"/>
                    </a:lnTo>
                    <a:lnTo>
                      <a:pt x="55" y="246"/>
                    </a:lnTo>
                    <a:lnTo>
                      <a:pt x="57" y="246"/>
                    </a:lnTo>
                    <a:lnTo>
                      <a:pt x="59" y="246"/>
                    </a:lnTo>
                    <a:lnTo>
                      <a:pt x="59" y="244"/>
                    </a:lnTo>
                    <a:lnTo>
                      <a:pt x="60" y="244"/>
                    </a:lnTo>
                    <a:lnTo>
                      <a:pt x="62" y="244"/>
                    </a:lnTo>
                    <a:lnTo>
                      <a:pt x="63" y="244"/>
                    </a:lnTo>
                    <a:lnTo>
                      <a:pt x="65" y="244"/>
                    </a:lnTo>
                    <a:lnTo>
                      <a:pt x="65" y="243"/>
                    </a:lnTo>
                    <a:lnTo>
                      <a:pt x="66" y="243"/>
                    </a:lnTo>
                    <a:lnTo>
                      <a:pt x="68" y="241"/>
                    </a:lnTo>
                    <a:lnTo>
                      <a:pt x="68" y="239"/>
                    </a:lnTo>
                    <a:lnTo>
                      <a:pt x="68" y="238"/>
                    </a:lnTo>
                    <a:lnTo>
                      <a:pt x="68" y="236"/>
                    </a:lnTo>
                    <a:lnTo>
                      <a:pt x="70" y="236"/>
                    </a:lnTo>
                    <a:lnTo>
                      <a:pt x="71" y="235"/>
                    </a:lnTo>
                    <a:lnTo>
                      <a:pt x="73" y="235"/>
                    </a:lnTo>
                    <a:lnTo>
                      <a:pt x="73" y="233"/>
                    </a:lnTo>
                    <a:lnTo>
                      <a:pt x="73" y="232"/>
                    </a:lnTo>
                    <a:lnTo>
                      <a:pt x="74" y="232"/>
                    </a:lnTo>
                    <a:lnTo>
                      <a:pt x="74" y="230"/>
                    </a:lnTo>
                    <a:lnTo>
                      <a:pt x="76" y="230"/>
                    </a:lnTo>
                    <a:lnTo>
                      <a:pt x="76" y="228"/>
                    </a:lnTo>
                    <a:lnTo>
                      <a:pt x="76" y="227"/>
                    </a:lnTo>
                    <a:lnTo>
                      <a:pt x="76" y="225"/>
                    </a:lnTo>
                    <a:lnTo>
                      <a:pt x="78" y="225"/>
                    </a:lnTo>
                    <a:lnTo>
                      <a:pt x="78" y="224"/>
                    </a:lnTo>
                    <a:lnTo>
                      <a:pt x="79" y="222"/>
                    </a:lnTo>
                    <a:lnTo>
                      <a:pt x="79" y="220"/>
                    </a:lnTo>
                    <a:lnTo>
                      <a:pt x="79" y="219"/>
                    </a:lnTo>
                    <a:lnTo>
                      <a:pt x="81" y="217"/>
                    </a:lnTo>
                    <a:lnTo>
                      <a:pt x="81" y="216"/>
                    </a:lnTo>
                    <a:lnTo>
                      <a:pt x="81" y="214"/>
                    </a:lnTo>
                    <a:lnTo>
                      <a:pt x="81" y="213"/>
                    </a:lnTo>
                    <a:lnTo>
                      <a:pt x="81" y="211"/>
                    </a:lnTo>
                    <a:lnTo>
                      <a:pt x="82" y="211"/>
                    </a:lnTo>
                    <a:lnTo>
                      <a:pt x="82" y="209"/>
                    </a:lnTo>
                    <a:lnTo>
                      <a:pt x="84" y="209"/>
                    </a:lnTo>
                    <a:lnTo>
                      <a:pt x="84" y="208"/>
                    </a:lnTo>
                    <a:lnTo>
                      <a:pt x="84" y="206"/>
                    </a:lnTo>
                    <a:lnTo>
                      <a:pt x="82" y="205"/>
                    </a:lnTo>
                    <a:lnTo>
                      <a:pt x="84" y="203"/>
                    </a:lnTo>
                    <a:lnTo>
                      <a:pt x="84" y="201"/>
                    </a:lnTo>
                    <a:lnTo>
                      <a:pt x="84" y="200"/>
                    </a:lnTo>
                    <a:lnTo>
                      <a:pt x="82" y="198"/>
                    </a:lnTo>
                    <a:lnTo>
                      <a:pt x="84" y="197"/>
                    </a:lnTo>
                    <a:lnTo>
                      <a:pt x="84" y="195"/>
                    </a:lnTo>
                    <a:lnTo>
                      <a:pt x="82" y="193"/>
                    </a:lnTo>
                    <a:lnTo>
                      <a:pt x="82" y="192"/>
                    </a:lnTo>
                    <a:lnTo>
                      <a:pt x="82" y="190"/>
                    </a:lnTo>
                    <a:lnTo>
                      <a:pt x="82" y="189"/>
                    </a:lnTo>
                    <a:lnTo>
                      <a:pt x="82" y="187"/>
                    </a:lnTo>
                    <a:lnTo>
                      <a:pt x="84" y="187"/>
                    </a:lnTo>
                    <a:lnTo>
                      <a:pt x="84" y="189"/>
                    </a:lnTo>
                    <a:lnTo>
                      <a:pt x="85" y="189"/>
                    </a:lnTo>
                    <a:lnTo>
                      <a:pt x="87" y="190"/>
                    </a:lnTo>
                    <a:lnTo>
                      <a:pt x="89" y="190"/>
                    </a:lnTo>
                    <a:lnTo>
                      <a:pt x="90" y="192"/>
                    </a:lnTo>
                    <a:lnTo>
                      <a:pt x="92" y="192"/>
                    </a:lnTo>
                    <a:lnTo>
                      <a:pt x="92" y="190"/>
                    </a:lnTo>
                    <a:lnTo>
                      <a:pt x="93" y="190"/>
                    </a:lnTo>
                    <a:lnTo>
                      <a:pt x="93" y="189"/>
                    </a:lnTo>
                    <a:lnTo>
                      <a:pt x="93" y="187"/>
                    </a:lnTo>
                    <a:lnTo>
                      <a:pt x="95" y="187"/>
                    </a:lnTo>
                    <a:lnTo>
                      <a:pt x="95" y="186"/>
                    </a:lnTo>
                    <a:lnTo>
                      <a:pt x="97" y="184"/>
                    </a:lnTo>
                    <a:lnTo>
                      <a:pt x="98" y="184"/>
                    </a:lnTo>
                    <a:lnTo>
                      <a:pt x="100" y="184"/>
                    </a:lnTo>
                    <a:lnTo>
                      <a:pt x="101" y="184"/>
                    </a:lnTo>
                    <a:lnTo>
                      <a:pt x="103" y="182"/>
                    </a:lnTo>
                    <a:lnTo>
                      <a:pt x="103" y="181"/>
                    </a:lnTo>
                    <a:lnTo>
                      <a:pt x="101" y="181"/>
                    </a:lnTo>
                    <a:lnTo>
                      <a:pt x="101" y="179"/>
                    </a:lnTo>
                    <a:lnTo>
                      <a:pt x="101" y="178"/>
                    </a:lnTo>
                    <a:lnTo>
                      <a:pt x="100" y="178"/>
                    </a:lnTo>
                    <a:lnTo>
                      <a:pt x="100" y="176"/>
                    </a:lnTo>
                    <a:lnTo>
                      <a:pt x="98" y="176"/>
                    </a:lnTo>
                    <a:lnTo>
                      <a:pt x="98" y="174"/>
                    </a:lnTo>
                    <a:lnTo>
                      <a:pt x="97" y="176"/>
                    </a:lnTo>
                    <a:lnTo>
                      <a:pt x="97" y="178"/>
                    </a:lnTo>
                    <a:lnTo>
                      <a:pt x="95" y="179"/>
                    </a:lnTo>
                    <a:lnTo>
                      <a:pt x="93" y="179"/>
                    </a:lnTo>
                    <a:lnTo>
                      <a:pt x="92" y="179"/>
                    </a:lnTo>
                    <a:lnTo>
                      <a:pt x="90" y="179"/>
                    </a:lnTo>
                    <a:lnTo>
                      <a:pt x="89" y="179"/>
                    </a:lnTo>
                    <a:lnTo>
                      <a:pt x="87" y="179"/>
                    </a:lnTo>
                    <a:lnTo>
                      <a:pt x="87" y="178"/>
                    </a:lnTo>
                    <a:lnTo>
                      <a:pt x="85" y="178"/>
                    </a:lnTo>
                    <a:lnTo>
                      <a:pt x="84" y="178"/>
                    </a:lnTo>
                    <a:lnTo>
                      <a:pt x="82" y="178"/>
                    </a:lnTo>
                    <a:lnTo>
                      <a:pt x="84" y="178"/>
                    </a:lnTo>
                    <a:lnTo>
                      <a:pt x="84" y="176"/>
                    </a:lnTo>
                    <a:lnTo>
                      <a:pt x="84" y="174"/>
                    </a:lnTo>
                    <a:lnTo>
                      <a:pt x="85" y="174"/>
                    </a:lnTo>
                    <a:lnTo>
                      <a:pt x="85" y="173"/>
                    </a:lnTo>
                    <a:lnTo>
                      <a:pt x="87" y="171"/>
                    </a:lnTo>
                    <a:lnTo>
                      <a:pt x="85" y="171"/>
                    </a:lnTo>
                    <a:lnTo>
                      <a:pt x="85" y="170"/>
                    </a:lnTo>
                    <a:lnTo>
                      <a:pt x="84" y="170"/>
                    </a:lnTo>
                    <a:lnTo>
                      <a:pt x="82" y="170"/>
                    </a:lnTo>
                    <a:lnTo>
                      <a:pt x="81" y="168"/>
                    </a:lnTo>
                    <a:lnTo>
                      <a:pt x="79" y="168"/>
                    </a:lnTo>
                    <a:lnTo>
                      <a:pt x="78" y="168"/>
                    </a:lnTo>
                    <a:lnTo>
                      <a:pt x="76" y="168"/>
                    </a:lnTo>
                    <a:lnTo>
                      <a:pt x="74" y="168"/>
                    </a:lnTo>
                    <a:lnTo>
                      <a:pt x="74" y="170"/>
                    </a:lnTo>
                    <a:lnTo>
                      <a:pt x="74" y="168"/>
                    </a:lnTo>
                    <a:lnTo>
                      <a:pt x="73" y="168"/>
                    </a:lnTo>
                    <a:lnTo>
                      <a:pt x="74" y="168"/>
                    </a:lnTo>
                    <a:lnTo>
                      <a:pt x="74" y="167"/>
                    </a:lnTo>
                    <a:lnTo>
                      <a:pt x="73" y="167"/>
                    </a:lnTo>
                    <a:lnTo>
                      <a:pt x="73" y="165"/>
                    </a:lnTo>
                    <a:lnTo>
                      <a:pt x="74" y="165"/>
                    </a:lnTo>
                    <a:lnTo>
                      <a:pt x="74" y="163"/>
                    </a:lnTo>
                    <a:lnTo>
                      <a:pt x="74" y="162"/>
                    </a:lnTo>
                    <a:lnTo>
                      <a:pt x="74" y="160"/>
                    </a:lnTo>
                    <a:lnTo>
                      <a:pt x="74" y="159"/>
                    </a:lnTo>
                    <a:lnTo>
                      <a:pt x="76" y="159"/>
                    </a:lnTo>
                    <a:lnTo>
                      <a:pt x="76" y="157"/>
                    </a:lnTo>
                    <a:lnTo>
                      <a:pt x="76" y="159"/>
                    </a:lnTo>
                    <a:lnTo>
                      <a:pt x="78" y="159"/>
                    </a:lnTo>
                    <a:lnTo>
                      <a:pt x="79" y="159"/>
                    </a:lnTo>
                    <a:lnTo>
                      <a:pt x="81" y="159"/>
                    </a:lnTo>
                    <a:lnTo>
                      <a:pt x="82" y="159"/>
                    </a:lnTo>
                    <a:lnTo>
                      <a:pt x="84" y="160"/>
                    </a:lnTo>
                    <a:lnTo>
                      <a:pt x="85" y="160"/>
                    </a:lnTo>
                    <a:lnTo>
                      <a:pt x="87" y="160"/>
                    </a:lnTo>
                    <a:lnTo>
                      <a:pt x="89" y="162"/>
                    </a:lnTo>
                    <a:lnTo>
                      <a:pt x="90" y="162"/>
                    </a:lnTo>
                    <a:lnTo>
                      <a:pt x="90" y="163"/>
                    </a:lnTo>
                    <a:lnTo>
                      <a:pt x="92" y="163"/>
                    </a:lnTo>
                    <a:lnTo>
                      <a:pt x="92" y="165"/>
                    </a:lnTo>
                    <a:lnTo>
                      <a:pt x="92" y="163"/>
                    </a:lnTo>
                    <a:lnTo>
                      <a:pt x="92" y="162"/>
                    </a:lnTo>
                    <a:lnTo>
                      <a:pt x="92" y="160"/>
                    </a:lnTo>
                    <a:lnTo>
                      <a:pt x="92" y="159"/>
                    </a:lnTo>
                    <a:lnTo>
                      <a:pt x="90" y="159"/>
                    </a:lnTo>
                    <a:lnTo>
                      <a:pt x="90" y="157"/>
                    </a:lnTo>
                    <a:lnTo>
                      <a:pt x="90" y="155"/>
                    </a:lnTo>
                    <a:lnTo>
                      <a:pt x="90" y="154"/>
                    </a:lnTo>
                    <a:lnTo>
                      <a:pt x="92" y="154"/>
                    </a:lnTo>
                    <a:lnTo>
                      <a:pt x="92" y="152"/>
                    </a:lnTo>
                    <a:lnTo>
                      <a:pt x="90" y="152"/>
                    </a:lnTo>
                    <a:lnTo>
                      <a:pt x="92" y="151"/>
                    </a:lnTo>
                    <a:lnTo>
                      <a:pt x="92" y="152"/>
                    </a:lnTo>
                    <a:lnTo>
                      <a:pt x="93" y="152"/>
                    </a:lnTo>
                    <a:lnTo>
                      <a:pt x="93" y="151"/>
                    </a:lnTo>
                    <a:lnTo>
                      <a:pt x="95" y="151"/>
                    </a:lnTo>
                    <a:lnTo>
                      <a:pt x="97" y="151"/>
                    </a:lnTo>
                    <a:lnTo>
                      <a:pt x="98" y="151"/>
                    </a:lnTo>
                    <a:lnTo>
                      <a:pt x="100" y="152"/>
                    </a:lnTo>
                    <a:lnTo>
                      <a:pt x="100" y="154"/>
                    </a:lnTo>
                    <a:lnTo>
                      <a:pt x="101" y="154"/>
                    </a:lnTo>
                    <a:lnTo>
                      <a:pt x="103" y="154"/>
                    </a:lnTo>
                    <a:lnTo>
                      <a:pt x="104" y="154"/>
                    </a:lnTo>
                    <a:lnTo>
                      <a:pt x="106" y="154"/>
                    </a:lnTo>
                    <a:lnTo>
                      <a:pt x="108" y="154"/>
                    </a:lnTo>
                    <a:lnTo>
                      <a:pt x="108" y="152"/>
                    </a:lnTo>
                    <a:lnTo>
                      <a:pt x="108" y="151"/>
                    </a:lnTo>
                    <a:lnTo>
                      <a:pt x="106" y="149"/>
                    </a:lnTo>
                    <a:lnTo>
                      <a:pt x="106" y="148"/>
                    </a:lnTo>
                    <a:lnTo>
                      <a:pt x="108" y="148"/>
                    </a:lnTo>
                    <a:lnTo>
                      <a:pt x="109" y="148"/>
                    </a:lnTo>
                    <a:lnTo>
                      <a:pt x="109" y="146"/>
                    </a:lnTo>
                    <a:lnTo>
                      <a:pt x="111" y="146"/>
                    </a:lnTo>
                    <a:lnTo>
                      <a:pt x="111" y="144"/>
                    </a:lnTo>
                    <a:lnTo>
                      <a:pt x="111" y="143"/>
                    </a:lnTo>
                    <a:lnTo>
                      <a:pt x="111" y="141"/>
                    </a:lnTo>
                    <a:lnTo>
                      <a:pt x="111" y="140"/>
                    </a:lnTo>
                    <a:lnTo>
                      <a:pt x="111" y="138"/>
                    </a:lnTo>
                    <a:lnTo>
                      <a:pt x="111" y="136"/>
                    </a:lnTo>
                    <a:lnTo>
                      <a:pt x="111" y="135"/>
                    </a:lnTo>
                    <a:lnTo>
                      <a:pt x="109" y="133"/>
                    </a:lnTo>
                    <a:lnTo>
                      <a:pt x="108" y="133"/>
                    </a:lnTo>
                    <a:lnTo>
                      <a:pt x="108" y="132"/>
                    </a:lnTo>
                    <a:lnTo>
                      <a:pt x="108" y="130"/>
                    </a:lnTo>
                    <a:lnTo>
                      <a:pt x="106" y="130"/>
                    </a:lnTo>
                    <a:lnTo>
                      <a:pt x="106" y="129"/>
                    </a:lnTo>
                    <a:lnTo>
                      <a:pt x="104" y="129"/>
                    </a:lnTo>
                    <a:lnTo>
                      <a:pt x="103" y="129"/>
                    </a:lnTo>
                    <a:lnTo>
                      <a:pt x="103" y="127"/>
                    </a:lnTo>
                    <a:lnTo>
                      <a:pt x="100" y="127"/>
                    </a:lnTo>
                    <a:lnTo>
                      <a:pt x="100" y="125"/>
                    </a:lnTo>
                    <a:lnTo>
                      <a:pt x="98" y="125"/>
                    </a:lnTo>
                    <a:lnTo>
                      <a:pt x="97" y="125"/>
                    </a:lnTo>
                    <a:lnTo>
                      <a:pt x="95" y="125"/>
                    </a:lnTo>
                    <a:lnTo>
                      <a:pt x="95" y="124"/>
                    </a:lnTo>
                    <a:lnTo>
                      <a:pt x="93" y="124"/>
                    </a:lnTo>
                    <a:lnTo>
                      <a:pt x="93" y="122"/>
                    </a:lnTo>
                    <a:lnTo>
                      <a:pt x="93" y="121"/>
                    </a:lnTo>
                    <a:lnTo>
                      <a:pt x="93" y="119"/>
                    </a:lnTo>
                    <a:lnTo>
                      <a:pt x="93" y="117"/>
                    </a:lnTo>
                    <a:lnTo>
                      <a:pt x="93" y="116"/>
                    </a:lnTo>
                    <a:lnTo>
                      <a:pt x="93" y="114"/>
                    </a:lnTo>
                    <a:lnTo>
                      <a:pt x="92" y="114"/>
                    </a:lnTo>
                    <a:lnTo>
                      <a:pt x="90" y="114"/>
                    </a:lnTo>
                    <a:lnTo>
                      <a:pt x="89" y="114"/>
                    </a:lnTo>
                    <a:lnTo>
                      <a:pt x="89" y="113"/>
                    </a:lnTo>
                    <a:lnTo>
                      <a:pt x="87" y="113"/>
                    </a:lnTo>
                    <a:lnTo>
                      <a:pt x="87" y="111"/>
                    </a:lnTo>
                    <a:lnTo>
                      <a:pt x="87" y="110"/>
                    </a:lnTo>
                    <a:lnTo>
                      <a:pt x="87" y="108"/>
                    </a:lnTo>
                    <a:lnTo>
                      <a:pt x="85" y="108"/>
                    </a:lnTo>
                    <a:lnTo>
                      <a:pt x="85" y="106"/>
                    </a:lnTo>
                    <a:lnTo>
                      <a:pt x="85" y="105"/>
                    </a:lnTo>
                    <a:lnTo>
                      <a:pt x="85" y="103"/>
                    </a:lnTo>
                    <a:lnTo>
                      <a:pt x="84" y="103"/>
                    </a:lnTo>
                    <a:lnTo>
                      <a:pt x="84" y="102"/>
                    </a:lnTo>
                    <a:lnTo>
                      <a:pt x="82" y="102"/>
                    </a:lnTo>
                    <a:lnTo>
                      <a:pt x="82" y="100"/>
                    </a:lnTo>
                    <a:lnTo>
                      <a:pt x="84" y="100"/>
                    </a:lnTo>
                    <a:lnTo>
                      <a:pt x="84" y="98"/>
                    </a:lnTo>
                    <a:lnTo>
                      <a:pt x="85" y="98"/>
                    </a:lnTo>
                    <a:lnTo>
                      <a:pt x="87" y="98"/>
                    </a:lnTo>
                    <a:lnTo>
                      <a:pt x="89" y="98"/>
                    </a:lnTo>
                    <a:lnTo>
                      <a:pt x="90" y="100"/>
                    </a:lnTo>
                    <a:lnTo>
                      <a:pt x="90" y="102"/>
                    </a:lnTo>
                    <a:lnTo>
                      <a:pt x="92" y="102"/>
                    </a:lnTo>
                    <a:lnTo>
                      <a:pt x="93" y="102"/>
                    </a:lnTo>
                    <a:lnTo>
                      <a:pt x="93" y="103"/>
                    </a:lnTo>
                    <a:lnTo>
                      <a:pt x="95" y="103"/>
                    </a:lnTo>
                    <a:lnTo>
                      <a:pt x="97" y="103"/>
                    </a:lnTo>
                    <a:lnTo>
                      <a:pt x="98" y="103"/>
                    </a:lnTo>
                    <a:lnTo>
                      <a:pt x="100" y="103"/>
                    </a:lnTo>
                    <a:lnTo>
                      <a:pt x="100" y="105"/>
                    </a:lnTo>
                    <a:lnTo>
                      <a:pt x="101" y="105"/>
                    </a:lnTo>
                    <a:lnTo>
                      <a:pt x="101" y="106"/>
                    </a:lnTo>
                    <a:lnTo>
                      <a:pt x="103" y="106"/>
                    </a:lnTo>
                    <a:lnTo>
                      <a:pt x="103" y="105"/>
                    </a:lnTo>
                    <a:lnTo>
                      <a:pt x="104" y="105"/>
                    </a:lnTo>
                    <a:lnTo>
                      <a:pt x="106" y="105"/>
                    </a:lnTo>
                    <a:lnTo>
                      <a:pt x="108" y="105"/>
                    </a:lnTo>
                    <a:lnTo>
                      <a:pt x="109" y="106"/>
                    </a:lnTo>
                    <a:lnTo>
                      <a:pt x="111" y="106"/>
                    </a:lnTo>
                    <a:lnTo>
                      <a:pt x="111" y="105"/>
                    </a:lnTo>
                    <a:lnTo>
                      <a:pt x="112" y="105"/>
                    </a:lnTo>
                    <a:lnTo>
                      <a:pt x="112" y="106"/>
                    </a:lnTo>
                    <a:lnTo>
                      <a:pt x="114" y="105"/>
                    </a:lnTo>
                    <a:lnTo>
                      <a:pt x="116" y="105"/>
                    </a:lnTo>
                    <a:lnTo>
                      <a:pt x="116" y="103"/>
                    </a:lnTo>
                    <a:lnTo>
                      <a:pt x="116" y="105"/>
                    </a:lnTo>
                    <a:lnTo>
                      <a:pt x="117" y="105"/>
                    </a:lnTo>
                    <a:lnTo>
                      <a:pt x="117" y="103"/>
                    </a:lnTo>
                    <a:lnTo>
                      <a:pt x="119" y="103"/>
                    </a:lnTo>
                    <a:lnTo>
                      <a:pt x="119" y="105"/>
                    </a:lnTo>
                    <a:lnTo>
                      <a:pt x="120" y="105"/>
                    </a:lnTo>
                    <a:lnTo>
                      <a:pt x="120" y="103"/>
                    </a:lnTo>
                    <a:lnTo>
                      <a:pt x="122" y="103"/>
                    </a:lnTo>
                    <a:lnTo>
                      <a:pt x="123" y="102"/>
                    </a:lnTo>
                    <a:lnTo>
                      <a:pt x="123" y="103"/>
                    </a:lnTo>
                    <a:lnTo>
                      <a:pt x="123" y="102"/>
                    </a:lnTo>
                    <a:lnTo>
                      <a:pt x="125" y="102"/>
                    </a:lnTo>
                    <a:lnTo>
                      <a:pt x="125" y="103"/>
                    </a:lnTo>
                    <a:lnTo>
                      <a:pt x="127" y="103"/>
                    </a:lnTo>
                    <a:lnTo>
                      <a:pt x="127" y="105"/>
                    </a:lnTo>
                    <a:lnTo>
                      <a:pt x="128" y="105"/>
                    </a:lnTo>
                    <a:lnTo>
                      <a:pt x="128" y="106"/>
                    </a:lnTo>
                    <a:lnTo>
                      <a:pt x="130" y="108"/>
                    </a:lnTo>
                    <a:lnTo>
                      <a:pt x="131" y="110"/>
                    </a:lnTo>
                    <a:lnTo>
                      <a:pt x="133" y="110"/>
                    </a:lnTo>
                    <a:lnTo>
                      <a:pt x="133" y="111"/>
                    </a:lnTo>
                    <a:lnTo>
                      <a:pt x="135" y="111"/>
                    </a:lnTo>
                    <a:lnTo>
                      <a:pt x="136" y="113"/>
                    </a:lnTo>
                    <a:lnTo>
                      <a:pt x="138" y="113"/>
                    </a:lnTo>
                    <a:lnTo>
                      <a:pt x="138" y="114"/>
                    </a:lnTo>
                    <a:lnTo>
                      <a:pt x="139" y="114"/>
                    </a:lnTo>
                    <a:lnTo>
                      <a:pt x="139" y="116"/>
                    </a:lnTo>
                    <a:lnTo>
                      <a:pt x="141" y="116"/>
                    </a:lnTo>
                    <a:lnTo>
                      <a:pt x="142" y="116"/>
                    </a:lnTo>
                    <a:lnTo>
                      <a:pt x="142" y="117"/>
                    </a:lnTo>
                    <a:lnTo>
                      <a:pt x="144" y="119"/>
                    </a:lnTo>
                    <a:lnTo>
                      <a:pt x="146" y="119"/>
                    </a:lnTo>
                    <a:lnTo>
                      <a:pt x="147" y="121"/>
                    </a:lnTo>
                    <a:lnTo>
                      <a:pt x="149" y="121"/>
                    </a:lnTo>
                    <a:lnTo>
                      <a:pt x="150" y="121"/>
                    </a:lnTo>
                    <a:lnTo>
                      <a:pt x="150" y="122"/>
                    </a:lnTo>
                    <a:lnTo>
                      <a:pt x="152" y="122"/>
                    </a:lnTo>
                    <a:lnTo>
                      <a:pt x="154" y="122"/>
                    </a:lnTo>
                    <a:lnTo>
                      <a:pt x="154" y="124"/>
                    </a:lnTo>
                    <a:lnTo>
                      <a:pt x="155" y="125"/>
                    </a:lnTo>
                    <a:lnTo>
                      <a:pt x="157" y="125"/>
                    </a:lnTo>
                    <a:lnTo>
                      <a:pt x="158" y="125"/>
                    </a:lnTo>
                    <a:lnTo>
                      <a:pt x="160" y="125"/>
                    </a:lnTo>
                    <a:lnTo>
                      <a:pt x="161" y="125"/>
                    </a:lnTo>
                    <a:lnTo>
                      <a:pt x="163" y="125"/>
                    </a:lnTo>
                    <a:lnTo>
                      <a:pt x="165" y="125"/>
                    </a:lnTo>
                    <a:lnTo>
                      <a:pt x="165" y="127"/>
                    </a:lnTo>
                    <a:lnTo>
                      <a:pt x="166" y="127"/>
                    </a:lnTo>
                    <a:lnTo>
                      <a:pt x="168" y="127"/>
                    </a:lnTo>
                    <a:lnTo>
                      <a:pt x="169" y="127"/>
                    </a:lnTo>
                    <a:lnTo>
                      <a:pt x="171" y="127"/>
                    </a:lnTo>
                    <a:lnTo>
                      <a:pt x="173" y="127"/>
                    </a:lnTo>
                    <a:lnTo>
                      <a:pt x="173" y="129"/>
                    </a:lnTo>
                    <a:lnTo>
                      <a:pt x="174" y="129"/>
                    </a:lnTo>
                    <a:lnTo>
                      <a:pt x="174" y="130"/>
                    </a:lnTo>
                    <a:lnTo>
                      <a:pt x="174" y="132"/>
                    </a:lnTo>
                    <a:lnTo>
                      <a:pt x="176" y="132"/>
                    </a:lnTo>
                    <a:lnTo>
                      <a:pt x="176" y="133"/>
                    </a:lnTo>
                    <a:lnTo>
                      <a:pt x="177" y="133"/>
                    </a:lnTo>
                    <a:lnTo>
                      <a:pt x="179" y="133"/>
                    </a:lnTo>
                    <a:lnTo>
                      <a:pt x="179" y="135"/>
                    </a:lnTo>
                    <a:lnTo>
                      <a:pt x="181" y="135"/>
                    </a:lnTo>
                    <a:lnTo>
                      <a:pt x="182" y="135"/>
                    </a:lnTo>
                    <a:lnTo>
                      <a:pt x="184" y="135"/>
                    </a:lnTo>
                    <a:lnTo>
                      <a:pt x="184" y="133"/>
                    </a:lnTo>
                    <a:lnTo>
                      <a:pt x="185" y="133"/>
                    </a:lnTo>
                    <a:lnTo>
                      <a:pt x="187" y="133"/>
                    </a:lnTo>
                    <a:lnTo>
                      <a:pt x="188" y="132"/>
                    </a:lnTo>
                    <a:lnTo>
                      <a:pt x="190" y="132"/>
                    </a:lnTo>
                    <a:lnTo>
                      <a:pt x="190" y="130"/>
                    </a:lnTo>
                    <a:lnTo>
                      <a:pt x="192" y="130"/>
                    </a:lnTo>
                    <a:lnTo>
                      <a:pt x="193" y="129"/>
                    </a:lnTo>
                    <a:lnTo>
                      <a:pt x="195" y="129"/>
                    </a:lnTo>
                    <a:lnTo>
                      <a:pt x="195" y="127"/>
                    </a:lnTo>
                    <a:lnTo>
                      <a:pt x="196" y="127"/>
                    </a:lnTo>
                    <a:lnTo>
                      <a:pt x="196" y="125"/>
                    </a:lnTo>
                    <a:lnTo>
                      <a:pt x="196" y="124"/>
                    </a:lnTo>
                    <a:lnTo>
                      <a:pt x="196" y="122"/>
                    </a:lnTo>
                    <a:lnTo>
                      <a:pt x="196" y="121"/>
                    </a:lnTo>
                    <a:lnTo>
                      <a:pt x="195" y="121"/>
                    </a:lnTo>
                    <a:lnTo>
                      <a:pt x="193" y="121"/>
                    </a:lnTo>
                    <a:lnTo>
                      <a:pt x="193" y="119"/>
                    </a:lnTo>
                    <a:lnTo>
                      <a:pt x="193" y="117"/>
                    </a:lnTo>
                    <a:lnTo>
                      <a:pt x="195" y="116"/>
                    </a:lnTo>
                    <a:lnTo>
                      <a:pt x="196" y="116"/>
                    </a:lnTo>
                    <a:lnTo>
                      <a:pt x="196" y="114"/>
                    </a:lnTo>
                    <a:lnTo>
                      <a:pt x="198" y="114"/>
                    </a:lnTo>
                    <a:lnTo>
                      <a:pt x="198" y="113"/>
                    </a:lnTo>
                    <a:lnTo>
                      <a:pt x="200" y="113"/>
                    </a:lnTo>
                    <a:lnTo>
                      <a:pt x="200" y="111"/>
                    </a:lnTo>
                    <a:lnTo>
                      <a:pt x="200" y="110"/>
                    </a:lnTo>
                    <a:lnTo>
                      <a:pt x="198" y="110"/>
                    </a:lnTo>
                    <a:lnTo>
                      <a:pt x="198" y="108"/>
                    </a:lnTo>
                    <a:lnTo>
                      <a:pt x="196" y="108"/>
                    </a:lnTo>
                    <a:lnTo>
                      <a:pt x="196" y="106"/>
                    </a:lnTo>
                    <a:lnTo>
                      <a:pt x="198" y="106"/>
                    </a:lnTo>
                    <a:lnTo>
                      <a:pt x="198" y="105"/>
                    </a:lnTo>
                    <a:lnTo>
                      <a:pt x="198" y="103"/>
                    </a:lnTo>
                    <a:lnTo>
                      <a:pt x="198" y="102"/>
                    </a:lnTo>
                    <a:lnTo>
                      <a:pt x="198" y="100"/>
                    </a:lnTo>
                    <a:lnTo>
                      <a:pt x="196" y="100"/>
                    </a:lnTo>
                    <a:lnTo>
                      <a:pt x="196" y="98"/>
                    </a:lnTo>
                    <a:lnTo>
                      <a:pt x="196" y="97"/>
                    </a:lnTo>
                    <a:lnTo>
                      <a:pt x="196" y="95"/>
                    </a:lnTo>
                    <a:lnTo>
                      <a:pt x="196" y="94"/>
                    </a:lnTo>
                    <a:lnTo>
                      <a:pt x="196" y="92"/>
                    </a:lnTo>
                    <a:lnTo>
                      <a:pt x="198" y="90"/>
                    </a:lnTo>
                    <a:lnTo>
                      <a:pt x="198" y="89"/>
                    </a:lnTo>
                    <a:lnTo>
                      <a:pt x="198" y="87"/>
                    </a:lnTo>
                    <a:lnTo>
                      <a:pt x="198" y="86"/>
                    </a:lnTo>
                    <a:lnTo>
                      <a:pt x="198" y="84"/>
                    </a:lnTo>
                    <a:lnTo>
                      <a:pt x="196" y="84"/>
                    </a:lnTo>
                    <a:lnTo>
                      <a:pt x="196" y="83"/>
                    </a:lnTo>
                    <a:lnTo>
                      <a:pt x="195" y="83"/>
                    </a:lnTo>
                    <a:lnTo>
                      <a:pt x="195" y="81"/>
                    </a:lnTo>
                    <a:lnTo>
                      <a:pt x="193" y="81"/>
                    </a:lnTo>
                    <a:lnTo>
                      <a:pt x="193" y="79"/>
                    </a:lnTo>
                    <a:lnTo>
                      <a:pt x="195" y="79"/>
                    </a:lnTo>
                    <a:lnTo>
                      <a:pt x="196" y="79"/>
                    </a:lnTo>
                    <a:lnTo>
                      <a:pt x="198" y="79"/>
                    </a:lnTo>
                    <a:lnTo>
                      <a:pt x="198" y="78"/>
                    </a:lnTo>
                    <a:lnTo>
                      <a:pt x="200" y="78"/>
                    </a:lnTo>
                    <a:lnTo>
                      <a:pt x="200" y="76"/>
                    </a:lnTo>
                    <a:lnTo>
                      <a:pt x="198" y="76"/>
                    </a:lnTo>
                    <a:lnTo>
                      <a:pt x="198" y="75"/>
                    </a:lnTo>
                    <a:lnTo>
                      <a:pt x="198" y="73"/>
                    </a:lnTo>
                    <a:lnTo>
                      <a:pt x="198" y="71"/>
                    </a:lnTo>
                    <a:lnTo>
                      <a:pt x="196" y="71"/>
                    </a:lnTo>
                    <a:lnTo>
                      <a:pt x="195" y="71"/>
                    </a:lnTo>
                    <a:lnTo>
                      <a:pt x="195" y="70"/>
                    </a:lnTo>
                    <a:lnTo>
                      <a:pt x="195" y="68"/>
                    </a:lnTo>
                    <a:lnTo>
                      <a:pt x="196" y="68"/>
                    </a:lnTo>
                    <a:lnTo>
                      <a:pt x="198" y="67"/>
                    </a:lnTo>
                    <a:lnTo>
                      <a:pt x="200" y="67"/>
                    </a:lnTo>
                    <a:lnTo>
                      <a:pt x="201" y="67"/>
                    </a:lnTo>
                    <a:lnTo>
                      <a:pt x="201" y="65"/>
                    </a:lnTo>
                    <a:lnTo>
                      <a:pt x="203" y="65"/>
                    </a:lnTo>
                    <a:lnTo>
                      <a:pt x="203" y="64"/>
                    </a:lnTo>
                    <a:lnTo>
                      <a:pt x="203" y="62"/>
                    </a:lnTo>
                    <a:lnTo>
                      <a:pt x="204" y="62"/>
                    </a:lnTo>
                    <a:lnTo>
                      <a:pt x="204" y="60"/>
                    </a:lnTo>
                    <a:lnTo>
                      <a:pt x="206" y="60"/>
                    </a:lnTo>
                    <a:lnTo>
                      <a:pt x="206" y="59"/>
                    </a:lnTo>
                    <a:lnTo>
                      <a:pt x="207" y="59"/>
                    </a:lnTo>
                    <a:lnTo>
                      <a:pt x="207" y="57"/>
                    </a:lnTo>
                    <a:lnTo>
                      <a:pt x="209" y="57"/>
                    </a:lnTo>
                    <a:lnTo>
                      <a:pt x="211" y="57"/>
                    </a:lnTo>
                    <a:lnTo>
                      <a:pt x="212" y="57"/>
                    </a:lnTo>
                    <a:lnTo>
                      <a:pt x="214" y="57"/>
                    </a:lnTo>
                    <a:lnTo>
                      <a:pt x="215" y="57"/>
                    </a:lnTo>
                    <a:lnTo>
                      <a:pt x="215" y="56"/>
                    </a:lnTo>
                    <a:lnTo>
                      <a:pt x="215" y="54"/>
                    </a:lnTo>
                    <a:lnTo>
                      <a:pt x="217" y="54"/>
                    </a:lnTo>
                    <a:lnTo>
                      <a:pt x="217" y="52"/>
                    </a:lnTo>
                    <a:lnTo>
                      <a:pt x="219" y="52"/>
                    </a:lnTo>
                    <a:lnTo>
                      <a:pt x="219" y="51"/>
                    </a:lnTo>
                    <a:lnTo>
                      <a:pt x="219" y="49"/>
                    </a:lnTo>
                    <a:lnTo>
                      <a:pt x="217" y="49"/>
                    </a:lnTo>
                    <a:lnTo>
                      <a:pt x="217" y="48"/>
                    </a:lnTo>
                    <a:lnTo>
                      <a:pt x="219" y="48"/>
                    </a:lnTo>
                    <a:lnTo>
                      <a:pt x="220" y="48"/>
                    </a:lnTo>
                    <a:lnTo>
                      <a:pt x="222" y="48"/>
                    </a:lnTo>
                    <a:lnTo>
                      <a:pt x="222" y="46"/>
                    </a:lnTo>
                    <a:lnTo>
                      <a:pt x="222" y="45"/>
                    </a:lnTo>
                    <a:lnTo>
                      <a:pt x="223" y="45"/>
                    </a:lnTo>
                    <a:lnTo>
                      <a:pt x="223" y="43"/>
                    </a:lnTo>
                    <a:lnTo>
                      <a:pt x="225" y="41"/>
                    </a:lnTo>
                    <a:lnTo>
                      <a:pt x="223" y="41"/>
                    </a:lnTo>
                    <a:lnTo>
                      <a:pt x="223" y="40"/>
                    </a:lnTo>
                    <a:lnTo>
                      <a:pt x="223" y="38"/>
                    </a:lnTo>
                    <a:lnTo>
                      <a:pt x="223" y="37"/>
                    </a:lnTo>
                    <a:lnTo>
                      <a:pt x="222" y="37"/>
                    </a:lnTo>
                    <a:lnTo>
                      <a:pt x="220" y="37"/>
                    </a:lnTo>
                    <a:lnTo>
                      <a:pt x="219" y="37"/>
                    </a:lnTo>
                    <a:lnTo>
                      <a:pt x="219" y="35"/>
                    </a:lnTo>
                    <a:lnTo>
                      <a:pt x="217" y="35"/>
                    </a:lnTo>
                    <a:lnTo>
                      <a:pt x="217" y="33"/>
                    </a:lnTo>
                    <a:lnTo>
                      <a:pt x="217" y="32"/>
                    </a:lnTo>
                    <a:lnTo>
                      <a:pt x="217" y="30"/>
                    </a:lnTo>
                    <a:lnTo>
                      <a:pt x="219" y="30"/>
                    </a:lnTo>
                    <a:lnTo>
                      <a:pt x="220" y="30"/>
                    </a:lnTo>
                    <a:lnTo>
                      <a:pt x="220" y="29"/>
                    </a:lnTo>
                    <a:lnTo>
                      <a:pt x="222" y="29"/>
                    </a:lnTo>
                    <a:lnTo>
                      <a:pt x="222" y="27"/>
                    </a:lnTo>
                    <a:lnTo>
                      <a:pt x="222" y="26"/>
                    </a:lnTo>
                    <a:lnTo>
                      <a:pt x="223" y="24"/>
                    </a:lnTo>
                    <a:lnTo>
                      <a:pt x="223" y="22"/>
                    </a:lnTo>
                    <a:lnTo>
                      <a:pt x="225" y="21"/>
                    </a:lnTo>
                    <a:lnTo>
                      <a:pt x="225" y="19"/>
                    </a:lnTo>
                    <a:lnTo>
                      <a:pt x="226" y="19"/>
                    </a:lnTo>
                    <a:lnTo>
                      <a:pt x="226" y="18"/>
                    </a:lnTo>
                    <a:lnTo>
                      <a:pt x="228" y="16"/>
                    </a:lnTo>
                    <a:lnTo>
                      <a:pt x="228" y="14"/>
                    </a:lnTo>
                    <a:lnTo>
                      <a:pt x="226" y="14"/>
                    </a:lnTo>
                    <a:lnTo>
                      <a:pt x="226" y="13"/>
                    </a:lnTo>
                    <a:lnTo>
                      <a:pt x="225" y="13"/>
                    </a:lnTo>
                    <a:lnTo>
                      <a:pt x="225" y="11"/>
                    </a:lnTo>
                    <a:lnTo>
                      <a:pt x="223" y="11"/>
                    </a:lnTo>
                    <a:lnTo>
                      <a:pt x="223" y="10"/>
                    </a:lnTo>
                    <a:lnTo>
                      <a:pt x="222" y="10"/>
                    </a:lnTo>
                    <a:lnTo>
                      <a:pt x="220" y="10"/>
                    </a:lnTo>
                    <a:lnTo>
                      <a:pt x="220" y="8"/>
                    </a:lnTo>
                    <a:lnTo>
                      <a:pt x="219" y="8"/>
                    </a:lnTo>
                    <a:lnTo>
                      <a:pt x="219" y="7"/>
                    </a:lnTo>
                    <a:lnTo>
                      <a:pt x="217" y="5"/>
                    </a:lnTo>
                    <a:lnTo>
                      <a:pt x="219" y="5"/>
                    </a:lnTo>
                    <a:lnTo>
                      <a:pt x="219" y="3"/>
                    </a:lnTo>
                    <a:lnTo>
                      <a:pt x="217" y="3"/>
                    </a:lnTo>
                    <a:lnTo>
                      <a:pt x="217" y="2"/>
                    </a:lnTo>
                    <a:lnTo>
                      <a:pt x="215" y="2"/>
                    </a:lnTo>
                    <a:lnTo>
                      <a:pt x="215" y="0"/>
                    </a:lnTo>
                  </a:path>
                </a:pathLst>
              </a:custGeom>
              <a:noFill/>
              <a:ln w="476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32" name="Freeform 30"/>
              <p:cNvSpPr>
                <a:spLocks/>
              </p:cNvSpPr>
              <p:nvPr/>
            </p:nvSpPr>
            <p:spPr bwMode="auto">
              <a:xfrm>
                <a:off x="1984" y="1983"/>
                <a:ext cx="469" cy="352"/>
              </a:xfrm>
              <a:custGeom>
                <a:avLst/>
                <a:gdLst>
                  <a:gd name="T0" fmla="*/ 11 w 469"/>
                  <a:gd name="T1" fmla="*/ 84 h 352"/>
                  <a:gd name="T2" fmla="*/ 29 w 469"/>
                  <a:gd name="T3" fmla="*/ 84 h 352"/>
                  <a:gd name="T4" fmla="*/ 46 w 469"/>
                  <a:gd name="T5" fmla="*/ 84 h 352"/>
                  <a:gd name="T6" fmla="*/ 45 w 469"/>
                  <a:gd name="T7" fmla="*/ 102 h 352"/>
                  <a:gd name="T8" fmla="*/ 57 w 469"/>
                  <a:gd name="T9" fmla="*/ 115 h 352"/>
                  <a:gd name="T10" fmla="*/ 75 w 469"/>
                  <a:gd name="T11" fmla="*/ 102 h 352"/>
                  <a:gd name="T12" fmla="*/ 102 w 469"/>
                  <a:gd name="T13" fmla="*/ 115 h 352"/>
                  <a:gd name="T14" fmla="*/ 118 w 469"/>
                  <a:gd name="T15" fmla="*/ 115 h 352"/>
                  <a:gd name="T16" fmla="*/ 130 w 469"/>
                  <a:gd name="T17" fmla="*/ 124 h 352"/>
                  <a:gd name="T18" fmla="*/ 145 w 469"/>
                  <a:gd name="T19" fmla="*/ 134 h 352"/>
                  <a:gd name="T20" fmla="*/ 154 w 469"/>
                  <a:gd name="T21" fmla="*/ 138 h 352"/>
                  <a:gd name="T22" fmla="*/ 143 w 469"/>
                  <a:gd name="T23" fmla="*/ 146 h 352"/>
                  <a:gd name="T24" fmla="*/ 149 w 469"/>
                  <a:gd name="T25" fmla="*/ 160 h 352"/>
                  <a:gd name="T26" fmla="*/ 149 w 469"/>
                  <a:gd name="T27" fmla="*/ 175 h 352"/>
                  <a:gd name="T28" fmla="*/ 171 w 469"/>
                  <a:gd name="T29" fmla="*/ 176 h 352"/>
                  <a:gd name="T30" fmla="*/ 187 w 469"/>
                  <a:gd name="T31" fmla="*/ 184 h 352"/>
                  <a:gd name="T32" fmla="*/ 203 w 469"/>
                  <a:gd name="T33" fmla="*/ 186 h 352"/>
                  <a:gd name="T34" fmla="*/ 217 w 469"/>
                  <a:gd name="T35" fmla="*/ 197 h 352"/>
                  <a:gd name="T36" fmla="*/ 228 w 469"/>
                  <a:gd name="T37" fmla="*/ 205 h 352"/>
                  <a:gd name="T38" fmla="*/ 233 w 469"/>
                  <a:gd name="T39" fmla="*/ 227 h 352"/>
                  <a:gd name="T40" fmla="*/ 249 w 469"/>
                  <a:gd name="T41" fmla="*/ 243 h 352"/>
                  <a:gd name="T42" fmla="*/ 265 w 469"/>
                  <a:gd name="T43" fmla="*/ 248 h 352"/>
                  <a:gd name="T44" fmla="*/ 266 w 469"/>
                  <a:gd name="T45" fmla="*/ 260 h 352"/>
                  <a:gd name="T46" fmla="*/ 260 w 469"/>
                  <a:gd name="T47" fmla="*/ 279 h 352"/>
                  <a:gd name="T48" fmla="*/ 273 w 469"/>
                  <a:gd name="T49" fmla="*/ 292 h 352"/>
                  <a:gd name="T50" fmla="*/ 289 w 469"/>
                  <a:gd name="T51" fmla="*/ 287 h 352"/>
                  <a:gd name="T52" fmla="*/ 306 w 469"/>
                  <a:gd name="T53" fmla="*/ 294 h 352"/>
                  <a:gd name="T54" fmla="*/ 320 w 469"/>
                  <a:gd name="T55" fmla="*/ 308 h 352"/>
                  <a:gd name="T56" fmla="*/ 335 w 469"/>
                  <a:gd name="T57" fmla="*/ 317 h 352"/>
                  <a:gd name="T58" fmla="*/ 346 w 469"/>
                  <a:gd name="T59" fmla="*/ 330 h 352"/>
                  <a:gd name="T60" fmla="*/ 354 w 469"/>
                  <a:gd name="T61" fmla="*/ 352 h 352"/>
                  <a:gd name="T62" fmla="*/ 369 w 469"/>
                  <a:gd name="T63" fmla="*/ 341 h 352"/>
                  <a:gd name="T64" fmla="*/ 388 w 469"/>
                  <a:gd name="T65" fmla="*/ 335 h 352"/>
                  <a:gd name="T66" fmla="*/ 395 w 469"/>
                  <a:gd name="T67" fmla="*/ 321 h 352"/>
                  <a:gd name="T68" fmla="*/ 393 w 469"/>
                  <a:gd name="T69" fmla="*/ 303 h 352"/>
                  <a:gd name="T70" fmla="*/ 381 w 469"/>
                  <a:gd name="T71" fmla="*/ 302 h 352"/>
                  <a:gd name="T72" fmla="*/ 387 w 469"/>
                  <a:gd name="T73" fmla="*/ 289 h 352"/>
                  <a:gd name="T74" fmla="*/ 403 w 469"/>
                  <a:gd name="T75" fmla="*/ 284 h 352"/>
                  <a:gd name="T76" fmla="*/ 423 w 469"/>
                  <a:gd name="T77" fmla="*/ 287 h 352"/>
                  <a:gd name="T78" fmla="*/ 425 w 469"/>
                  <a:gd name="T79" fmla="*/ 279 h 352"/>
                  <a:gd name="T80" fmla="*/ 423 w 469"/>
                  <a:gd name="T81" fmla="*/ 263 h 352"/>
                  <a:gd name="T82" fmla="*/ 422 w 469"/>
                  <a:gd name="T83" fmla="*/ 248 h 352"/>
                  <a:gd name="T84" fmla="*/ 422 w 469"/>
                  <a:gd name="T85" fmla="*/ 229 h 352"/>
                  <a:gd name="T86" fmla="*/ 407 w 469"/>
                  <a:gd name="T87" fmla="*/ 219 h 352"/>
                  <a:gd name="T88" fmla="*/ 392 w 469"/>
                  <a:gd name="T89" fmla="*/ 214 h 352"/>
                  <a:gd name="T90" fmla="*/ 381 w 469"/>
                  <a:gd name="T91" fmla="*/ 200 h 352"/>
                  <a:gd name="T92" fmla="*/ 369 w 469"/>
                  <a:gd name="T93" fmla="*/ 184 h 352"/>
                  <a:gd name="T94" fmla="*/ 374 w 469"/>
                  <a:gd name="T95" fmla="*/ 172 h 352"/>
                  <a:gd name="T96" fmla="*/ 377 w 469"/>
                  <a:gd name="T97" fmla="*/ 159 h 352"/>
                  <a:gd name="T98" fmla="*/ 366 w 469"/>
                  <a:gd name="T99" fmla="*/ 148 h 352"/>
                  <a:gd name="T100" fmla="*/ 373 w 469"/>
                  <a:gd name="T101" fmla="*/ 134 h 352"/>
                  <a:gd name="T102" fmla="*/ 366 w 469"/>
                  <a:gd name="T103" fmla="*/ 116 h 352"/>
                  <a:gd name="T104" fmla="*/ 373 w 469"/>
                  <a:gd name="T105" fmla="*/ 78 h 352"/>
                  <a:gd name="T106" fmla="*/ 396 w 469"/>
                  <a:gd name="T107" fmla="*/ 75 h 352"/>
                  <a:gd name="T108" fmla="*/ 411 w 469"/>
                  <a:gd name="T109" fmla="*/ 70 h 352"/>
                  <a:gd name="T110" fmla="*/ 426 w 469"/>
                  <a:gd name="T111" fmla="*/ 62 h 352"/>
                  <a:gd name="T112" fmla="*/ 433 w 469"/>
                  <a:gd name="T113" fmla="*/ 48 h 352"/>
                  <a:gd name="T114" fmla="*/ 439 w 469"/>
                  <a:gd name="T115" fmla="*/ 31 h 352"/>
                  <a:gd name="T116" fmla="*/ 453 w 469"/>
                  <a:gd name="T117" fmla="*/ 18 h 352"/>
                  <a:gd name="T118" fmla="*/ 466 w 469"/>
                  <a:gd name="T119" fmla="*/ 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69" h="352">
                    <a:moveTo>
                      <a:pt x="0" y="89"/>
                    </a:moveTo>
                    <a:lnTo>
                      <a:pt x="2" y="88"/>
                    </a:lnTo>
                    <a:lnTo>
                      <a:pt x="2" y="89"/>
                    </a:lnTo>
                    <a:lnTo>
                      <a:pt x="4" y="89"/>
                    </a:lnTo>
                    <a:lnTo>
                      <a:pt x="4" y="88"/>
                    </a:lnTo>
                    <a:lnTo>
                      <a:pt x="5" y="88"/>
                    </a:lnTo>
                    <a:lnTo>
                      <a:pt x="5" y="86"/>
                    </a:lnTo>
                    <a:lnTo>
                      <a:pt x="5" y="84"/>
                    </a:lnTo>
                    <a:lnTo>
                      <a:pt x="4" y="84"/>
                    </a:lnTo>
                    <a:lnTo>
                      <a:pt x="4" y="83"/>
                    </a:lnTo>
                    <a:lnTo>
                      <a:pt x="5" y="81"/>
                    </a:lnTo>
                    <a:lnTo>
                      <a:pt x="7" y="81"/>
                    </a:lnTo>
                    <a:lnTo>
                      <a:pt x="8" y="81"/>
                    </a:lnTo>
                    <a:lnTo>
                      <a:pt x="8" y="83"/>
                    </a:lnTo>
                    <a:lnTo>
                      <a:pt x="10" y="83"/>
                    </a:lnTo>
                    <a:lnTo>
                      <a:pt x="11" y="83"/>
                    </a:lnTo>
                    <a:lnTo>
                      <a:pt x="11" y="84"/>
                    </a:lnTo>
                    <a:lnTo>
                      <a:pt x="13" y="86"/>
                    </a:lnTo>
                    <a:lnTo>
                      <a:pt x="15" y="86"/>
                    </a:lnTo>
                    <a:lnTo>
                      <a:pt x="15" y="88"/>
                    </a:lnTo>
                    <a:lnTo>
                      <a:pt x="16" y="88"/>
                    </a:lnTo>
                    <a:lnTo>
                      <a:pt x="18" y="89"/>
                    </a:lnTo>
                    <a:lnTo>
                      <a:pt x="19" y="89"/>
                    </a:lnTo>
                    <a:lnTo>
                      <a:pt x="19" y="91"/>
                    </a:lnTo>
                    <a:lnTo>
                      <a:pt x="21" y="91"/>
                    </a:lnTo>
                    <a:lnTo>
                      <a:pt x="23" y="91"/>
                    </a:lnTo>
                    <a:lnTo>
                      <a:pt x="24" y="91"/>
                    </a:lnTo>
                    <a:lnTo>
                      <a:pt x="26" y="91"/>
                    </a:lnTo>
                    <a:lnTo>
                      <a:pt x="27" y="91"/>
                    </a:lnTo>
                    <a:lnTo>
                      <a:pt x="27" y="89"/>
                    </a:lnTo>
                    <a:lnTo>
                      <a:pt x="27" y="88"/>
                    </a:lnTo>
                    <a:lnTo>
                      <a:pt x="29" y="88"/>
                    </a:lnTo>
                    <a:lnTo>
                      <a:pt x="29" y="86"/>
                    </a:lnTo>
                    <a:lnTo>
                      <a:pt x="29" y="84"/>
                    </a:lnTo>
                    <a:lnTo>
                      <a:pt x="29" y="83"/>
                    </a:lnTo>
                    <a:lnTo>
                      <a:pt x="29" y="81"/>
                    </a:lnTo>
                    <a:lnTo>
                      <a:pt x="30" y="81"/>
                    </a:lnTo>
                    <a:lnTo>
                      <a:pt x="30" y="80"/>
                    </a:lnTo>
                    <a:lnTo>
                      <a:pt x="32" y="80"/>
                    </a:lnTo>
                    <a:lnTo>
                      <a:pt x="32" y="81"/>
                    </a:lnTo>
                    <a:lnTo>
                      <a:pt x="34" y="81"/>
                    </a:lnTo>
                    <a:lnTo>
                      <a:pt x="35" y="81"/>
                    </a:lnTo>
                    <a:lnTo>
                      <a:pt x="35" y="83"/>
                    </a:lnTo>
                    <a:lnTo>
                      <a:pt x="37" y="83"/>
                    </a:lnTo>
                    <a:lnTo>
                      <a:pt x="38" y="83"/>
                    </a:lnTo>
                    <a:lnTo>
                      <a:pt x="40" y="83"/>
                    </a:lnTo>
                    <a:lnTo>
                      <a:pt x="42" y="83"/>
                    </a:lnTo>
                    <a:lnTo>
                      <a:pt x="43" y="83"/>
                    </a:lnTo>
                    <a:lnTo>
                      <a:pt x="45" y="83"/>
                    </a:lnTo>
                    <a:lnTo>
                      <a:pt x="46" y="83"/>
                    </a:lnTo>
                    <a:lnTo>
                      <a:pt x="46" y="84"/>
                    </a:lnTo>
                    <a:lnTo>
                      <a:pt x="48" y="84"/>
                    </a:lnTo>
                    <a:lnTo>
                      <a:pt x="48" y="86"/>
                    </a:lnTo>
                    <a:lnTo>
                      <a:pt x="46" y="86"/>
                    </a:lnTo>
                    <a:lnTo>
                      <a:pt x="48" y="86"/>
                    </a:lnTo>
                    <a:lnTo>
                      <a:pt x="48" y="88"/>
                    </a:lnTo>
                    <a:lnTo>
                      <a:pt x="46" y="88"/>
                    </a:lnTo>
                    <a:lnTo>
                      <a:pt x="46" y="89"/>
                    </a:lnTo>
                    <a:lnTo>
                      <a:pt x="46" y="91"/>
                    </a:lnTo>
                    <a:lnTo>
                      <a:pt x="46" y="92"/>
                    </a:lnTo>
                    <a:lnTo>
                      <a:pt x="46" y="94"/>
                    </a:lnTo>
                    <a:lnTo>
                      <a:pt x="46" y="96"/>
                    </a:lnTo>
                    <a:lnTo>
                      <a:pt x="46" y="97"/>
                    </a:lnTo>
                    <a:lnTo>
                      <a:pt x="48" y="99"/>
                    </a:lnTo>
                    <a:lnTo>
                      <a:pt x="46" y="99"/>
                    </a:lnTo>
                    <a:lnTo>
                      <a:pt x="46" y="100"/>
                    </a:lnTo>
                    <a:lnTo>
                      <a:pt x="46" y="102"/>
                    </a:lnTo>
                    <a:lnTo>
                      <a:pt x="45" y="102"/>
                    </a:lnTo>
                    <a:lnTo>
                      <a:pt x="45" y="103"/>
                    </a:lnTo>
                    <a:lnTo>
                      <a:pt x="45" y="105"/>
                    </a:lnTo>
                    <a:lnTo>
                      <a:pt x="45" y="107"/>
                    </a:lnTo>
                    <a:lnTo>
                      <a:pt x="45" y="108"/>
                    </a:lnTo>
                    <a:lnTo>
                      <a:pt x="46" y="110"/>
                    </a:lnTo>
                    <a:lnTo>
                      <a:pt x="45" y="110"/>
                    </a:lnTo>
                    <a:lnTo>
                      <a:pt x="46" y="110"/>
                    </a:lnTo>
                    <a:lnTo>
                      <a:pt x="48" y="110"/>
                    </a:lnTo>
                    <a:lnTo>
                      <a:pt x="48" y="111"/>
                    </a:lnTo>
                    <a:lnTo>
                      <a:pt x="49" y="111"/>
                    </a:lnTo>
                    <a:lnTo>
                      <a:pt x="49" y="113"/>
                    </a:lnTo>
                    <a:lnTo>
                      <a:pt x="51" y="113"/>
                    </a:lnTo>
                    <a:lnTo>
                      <a:pt x="53" y="113"/>
                    </a:lnTo>
                    <a:lnTo>
                      <a:pt x="54" y="113"/>
                    </a:lnTo>
                    <a:lnTo>
                      <a:pt x="56" y="113"/>
                    </a:lnTo>
                    <a:lnTo>
                      <a:pt x="57" y="113"/>
                    </a:lnTo>
                    <a:lnTo>
                      <a:pt x="57" y="115"/>
                    </a:lnTo>
                    <a:lnTo>
                      <a:pt x="59" y="115"/>
                    </a:lnTo>
                    <a:lnTo>
                      <a:pt x="61" y="115"/>
                    </a:lnTo>
                    <a:lnTo>
                      <a:pt x="61" y="113"/>
                    </a:lnTo>
                    <a:lnTo>
                      <a:pt x="62" y="113"/>
                    </a:lnTo>
                    <a:lnTo>
                      <a:pt x="62" y="111"/>
                    </a:lnTo>
                    <a:lnTo>
                      <a:pt x="64" y="111"/>
                    </a:lnTo>
                    <a:lnTo>
                      <a:pt x="64" y="110"/>
                    </a:lnTo>
                    <a:lnTo>
                      <a:pt x="65" y="107"/>
                    </a:lnTo>
                    <a:lnTo>
                      <a:pt x="65" y="105"/>
                    </a:lnTo>
                    <a:lnTo>
                      <a:pt x="67" y="105"/>
                    </a:lnTo>
                    <a:lnTo>
                      <a:pt x="68" y="105"/>
                    </a:lnTo>
                    <a:lnTo>
                      <a:pt x="70" y="105"/>
                    </a:lnTo>
                    <a:lnTo>
                      <a:pt x="72" y="105"/>
                    </a:lnTo>
                    <a:lnTo>
                      <a:pt x="72" y="103"/>
                    </a:lnTo>
                    <a:lnTo>
                      <a:pt x="73" y="103"/>
                    </a:lnTo>
                    <a:lnTo>
                      <a:pt x="75" y="103"/>
                    </a:lnTo>
                    <a:lnTo>
                      <a:pt x="75" y="102"/>
                    </a:lnTo>
                    <a:lnTo>
                      <a:pt x="87" y="103"/>
                    </a:lnTo>
                    <a:lnTo>
                      <a:pt x="87" y="105"/>
                    </a:lnTo>
                    <a:lnTo>
                      <a:pt x="87" y="107"/>
                    </a:lnTo>
                    <a:lnTo>
                      <a:pt x="89" y="107"/>
                    </a:lnTo>
                    <a:lnTo>
                      <a:pt x="89" y="108"/>
                    </a:lnTo>
                    <a:lnTo>
                      <a:pt x="89" y="110"/>
                    </a:lnTo>
                    <a:lnTo>
                      <a:pt x="91" y="110"/>
                    </a:lnTo>
                    <a:lnTo>
                      <a:pt x="91" y="111"/>
                    </a:lnTo>
                    <a:lnTo>
                      <a:pt x="92" y="111"/>
                    </a:lnTo>
                    <a:lnTo>
                      <a:pt x="92" y="113"/>
                    </a:lnTo>
                    <a:lnTo>
                      <a:pt x="94" y="113"/>
                    </a:lnTo>
                    <a:lnTo>
                      <a:pt x="94" y="115"/>
                    </a:lnTo>
                    <a:lnTo>
                      <a:pt x="95" y="115"/>
                    </a:lnTo>
                    <a:lnTo>
                      <a:pt x="97" y="115"/>
                    </a:lnTo>
                    <a:lnTo>
                      <a:pt x="99" y="115"/>
                    </a:lnTo>
                    <a:lnTo>
                      <a:pt x="100" y="115"/>
                    </a:lnTo>
                    <a:lnTo>
                      <a:pt x="102" y="115"/>
                    </a:lnTo>
                    <a:lnTo>
                      <a:pt x="103" y="115"/>
                    </a:lnTo>
                    <a:lnTo>
                      <a:pt x="103" y="116"/>
                    </a:lnTo>
                    <a:lnTo>
                      <a:pt x="105" y="115"/>
                    </a:lnTo>
                    <a:lnTo>
                      <a:pt x="105" y="113"/>
                    </a:lnTo>
                    <a:lnTo>
                      <a:pt x="106" y="113"/>
                    </a:lnTo>
                    <a:lnTo>
                      <a:pt x="108" y="113"/>
                    </a:lnTo>
                    <a:lnTo>
                      <a:pt x="108" y="111"/>
                    </a:lnTo>
                    <a:lnTo>
                      <a:pt x="110" y="111"/>
                    </a:lnTo>
                    <a:lnTo>
                      <a:pt x="110" y="110"/>
                    </a:lnTo>
                    <a:lnTo>
                      <a:pt x="111" y="110"/>
                    </a:lnTo>
                    <a:lnTo>
                      <a:pt x="111" y="111"/>
                    </a:lnTo>
                    <a:lnTo>
                      <a:pt x="113" y="111"/>
                    </a:lnTo>
                    <a:lnTo>
                      <a:pt x="114" y="111"/>
                    </a:lnTo>
                    <a:lnTo>
                      <a:pt x="114" y="113"/>
                    </a:lnTo>
                    <a:lnTo>
                      <a:pt x="116" y="113"/>
                    </a:lnTo>
                    <a:lnTo>
                      <a:pt x="118" y="113"/>
                    </a:lnTo>
                    <a:lnTo>
                      <a:pt x="118" y="115"/>
                    </a:lnTo>
                    <a:lnTo>
                      <a:pt x="119" y="115"/>
                    </a:lnTo>
                    <a:lnTo>
                      <a:pt x="119" y="116"/>
                    </a:lnTo>
                    <a:lnTo>
                      <a:pt x="121" y="116"/>
                    </a:lnTo>
                    <a:lnTo>
                      <a:pt x="121" y="118"/>
                    </a:lnTo>
                    <a:lnTo>
                      <a:pt x="122" y="118"/>
                    </a:lnTo>
                    <a:lnTo>
                      <a:pt x="122" y="119"/>
                    </a:lnTo>
                    <a:lnTo>
                      <a:pt x="124" y="119"/>
                    </a:lnTo>
                    <a:lnTo>
                      <a:pt x="124" y="121"/>
                    </a:lnTo>
                    <a:lnTo>
                      <a:pt x="125" y="119"/>
                    </a:lnTo>
                    <a:lnTo>
                      <a:pt x="125" y="121"/>
                    </a:lnTo>
                    <a:lnTo>
                      <a:pt x="127" y="121"/>
                    </a:lnTo>
                    <a:lnTo>
                      <a:pt x="129" y="121"/>
                    </a:lnTo>
                    <a:lnTo>
                      <a:pt x="130" y="121"/>
                    </a:lnTo>
                    <a:lnTo>
                      <a:pt x="130" y="122"/>
                    </a:lnTo>
                    <a:lnTo>
                      <a:pt x="130" y="124"/>
                    </a:lnTo>
                    <a:lnTo>
                      <a:pt x="132" y="124"/>
                    </a:lnTo>
                    <a:lnTo>
                      <a:pt x="130" y="124"/>
                    </a:lnTo>
                    <a:lnTo>
                      <a:pt x="130" y="126"/>
                    </a:lnTo>
                    <a:lnTo>
                      <a:pt x="132" y="126"/>
                    </a:lnTo>
                    <a:lnTo>
                      <a:pt x="132" y="127"/>
                    </a:lnTo>
                    <a:lnTo>
                      <a:pt x="133" y="127"/>
                    </a:lnTo>
                    <a:lnTo>
                      <a:pt x="133" y="129"/>
                    </a:lnTo>
                    <a:lnTo>
                      <a:pt x="135" y="129"/>
                    </a:lnTo>
                    <a:lnTo>
                      <a:pt x="135" y="130"/>
                    </a:lnTo>
                    <a:lnTo>
                      <a:pt x="137" y="130"/>
                    </a:lnTo>
                    <a:lnTo>
                      <a:pt x="137" y="132"/>
                    </a:lnTo>
                    <a:lnTo>
                      <a:pt x="138" y="132"/>
                    </a:lnTo>
                    <a:lnTo>
                      <a:pt x="138" y="134"/>
                    </a:lnTo>
                    <a:lnTo>
                      <a:pt x="140" y="134"/>
                    </a:lnTo>
                    <a:lnTo>
                      <a:pt x="140" y="135"/>
                    </a:lnTo>
                    <a:lnTo>
                      <a:pt x="141" y="135"/>
                    </a:lnTo>
                    <a:lnTo>
                      <a:pt x="143" y="135"/>
                    </a:lnTo>
                    <a:lnTo>
                      <a:pt x="143" y="134"/>
                    </a:lnTo>
                    <a:lnTo>
                      <a:pt x="145" y="134"/>
                    </a:lnTo>
                    <a:lnTo>
                      <a:pt x="146" y="134"/>
                    </a:lnTo>
                    <a:lnTo>
                      <a:pt x="146" y="132"/>
                    </a:lnTo>
                    <a:lnTo>
                      <a:pt x="148" y="132"/>
                    </a:lnTo>
                    <a:lnTo>
                      <a:pt x="148" y="130"/>
                    </a:lnTo>
                    <a:lnTo>
                      <a:pt x="149" y="130"/>
                    </a:lnTo>
                    <a:lnTo>
                      <a:pt x="151" y="130"/>
                    </a:lnTo>
                    <a:lnTo>
                      <a:pt x="152" y="130"/>
                    </a:lnTo>
                    <a:lnTo>
                      <a:pt x="152" y="132"/>
                    </a:lnTo>
                    <a:lnTo>
                      <a:pt x="154" y="132"/>
                    </a:lnTo>
                    <a:lnTo>
                      <a:pt x="154" y="134"/>
                    </a:lnTo>
                    <a:lnTo>
                      <a:pt x="156" y="134"/>
                    </a:lnTo>
                    <a:lnTo>
                      <a:pt x="156" y="132"/>
                    </a:lnTo>
                    <a:lnTo>
                      <a:pt x="156" y="134"/>
                    </a:lnTo>
                    <a:lnTo>
                      <a:pt x="156" y="135"/>
                    </a:lnTo>
                    <a:lnTo>
                      <a:pt x="154" y="135"/>
                    </a:lnTo>
                    <a:lnTo>
                      <a:pt x="154" y="137"/>
                    </a:lnTo>
                    <a:lnTo>
                      <a:pt x="154" y="138"/>
                    </a:lnTo>
                    <a:lnTo>
                      <a:pt x="154" y="140"/>
                    </a:lnTo>
                    <a:lnTo>
                      <a:pt x="152" y="140"/>
                    </a:lnTo>
                    <a:lnTo>
                      <a:pt x="152" y="141"/>
                    </a:lnTo>
                    <a:lnTo>
                      <a:pt x="151" y="141"/>
                    </a:lnTo>
                    <a:lnTo>
                      <a:pt x="149" y="141"/>
                    </a:lnTo>
                    <a:lnTo>
                      <a:pt x="148" y="141"/>
                    </a:lnTo>
                    <a:lnTo>
                      <a:pt x="146" y="141"/>
                    </a:lnTo>
                    <a:lnTo>
                      <a:pt x="146" y="140"/>
                    </a:lnTo>
                    <a:lnTo>
                      <a:pt x="145" y="140"/>
                    </a:lnTo>
                    <a:lnTo>
                      <a:pt x="143" y="140"/>
                    </a:lnTo>
                    <a:lnTo>
                      <a:pt x="141" y="140"/>
                    </a:lnTo>
                    <a:lnTo>
                      <a:pt x="140" y="140"/>
                    </a:lnTo>
                    <a:lnTo>
                      <a:pt x="141" y="140"/>
                    </a:lnTo>
                    <a:lnTo>
                      <a:pt x="141" y="141"/>
                    </a:lnTo>
                    <a:lnTo>
                      <a:pt x="141" y="143"/>
                    </a:lnTo>
                    <a:lnTo>
                      <a:pt x="143" y="145"/>
                    </a:lnTo>
                    <a:lnTo>
                      <a:pt x="143" y="146"/>
                    </a:lnTo>
                    <a:lnTo>
                      <a:pt x="143" y="148"/>
                    </a:lnTo>
                    <a:lnTo>
                      <a:pt x="145" y="148"/>
                    </a:lnTo>
                    <a:lnTo>
                      <a:pt x="146" y="149"/>
                    </a:lnTo>
                    <a:lnTo>
                      <a:pt x="148" y="149"/>
                    </a:lnTo>
                    <a:lnTo>
                      <a:pt x="148" y="151"/>
                    </a:lnTo>
                    <a:lnTo>
                      <a:pt x="148" y="153"/>
                    </a:lnTo>
                    <a:lnTo>
                      <a:pt x="148" y="154"/>
                    </a:lnTo>
                    <a:lnTo>
                      <a:pt x="149" y="154"/>
                    </a:lnTo>
                    <a:lnTo>
                      <a:pt x="149" y="156"/>
                    </a:lnTo>
                    <a:lnTo>
                      <a:pt x="151" y="156"/>
                    </a:lnTo>
                    <a:lnTo>
                      <a:pt x="149" y="156"/>
                    </a:lnTo>
                    <a:lnTo>
                      <a:pt x="148" y="157"/>
                    </a:lnTo>
                    <a:lnTo>
                      <a:pt x="146" y="157"/>
                    </a:lnTo>
                    <a:lnTo>
                      <a:pt x="148" y="157"/>
                    </a:lnTo>
                    <a:lnTo>
                      <a:pt x="148" y="159"/>
                    </a:lnTo>
                    <a:lnTo>
                      <a:pt x="149" y="159"/>
                    </a:lnTo>
                    <a:lnTo>
                      <a:pt x="149" y="160"/>
                    </a:lnTo>
                    <a:lnTo>
                      <a:pt x="151" y="160"/>
                    </a:lnTo>
                    <a:lnTo>
                      <a:pt x="151" y="162"/>
                    </a:lnTo>
                    <a:lnTo>
                      <a:pt x="151" y="164"/>
                    </a:lnTo>
                    <a:lnTo>
                      <a:pt x="152" y="164"/>
                    </a:lnTo>
                    <a:lnTo>
                      <a:pt x="152" y="165"/>
                    </a:lnTo>
                    <a:lnTo>
                      <a:pt x="152" y="167"/>
                    </a:lnTo>
                    <a:lnTo>
                      <a:pt x="152" y="168"/>
                    </a:lnTo>
                    <a:lnTo>
                      <a:pt x="151" y="170"/>
                    </a:lnTo>
                    <a:lnTo>
                      <a:pt x="149" y="170"/>
                    </a:lnTo>
                    <a:lnTo>
                      <a:pt x="148" y="170"/>
                    </a:lnTo>
                    <a:lnTo>
                      <a:pt x="146" y="172"/>
                    </a:lnTo>
                    <a:lnTo>
                      <a:pt x="145" y="172"/>
                    </a:lnTo>
                    <a:lnTo>
                      <a:pt x="146" y="172"/>
                    </a:lnTo>
                    <a:lnTo>
                      <a:pt x="146" y="173"/>
                    </a:lnTo>
                    <a:lnTo>
                      <a:pt x="148" y="173"/>
                    </a:lnTo>
                    <a:lnTo>
                      <a:pt x="148" y="175"/>
                    </a:lnTo>
                    <a:lnTo>
                      <a:pt x="149" y="175"/>
                    </a:lnTo>
                    <a:lnTo>
                      <a:pt x="151" y="175"/>
                    </a:lnTo>
                    <a:lnTo>
                      <a:pt x="152" y="175"/>
                    </a:lnTo>
                    <a:lnTo>
                      <a:pt x="154" y="175"/>
                    </a:lnTo>
                    <a:lnTo>
                      <a:pt x="156" y="175"/>
                    </a:lnTo>
                    <a:lnTo>
                      <a:pt x="157" y="175"/>
                    </a:lnTo>
                    <a:lnTo>
                      <a:pt x="157" y="176"/>
                    </a:lnTo>
                    <a:lnTo>
                      <a:pt x="159" y="176"/>
                    </a:lnTo>
                    <a:lnTo>
                      <a:pt x="160" y="176"/>
                    </a:lnTo>
                    <a:lnTo>
                      <a:pt x="162" y="176"/>
                    </a:lnTo>
                    <a:lnTo>
                      <a:pt x="164" y="176"/>
                    </a:lnTo>
                    <a:lnTo>
                      <a:pt x="165" y="175"/>
                    </a:lnTo>
                    <a:lnTo>
                      <a:pt x="167" y="176"/>
                    </a:lnTo>
                    <a:lnTo>
                      <a:pt x="168" y="176"/>
                    </a:lnTo>
                    <a:lnTo>
                      <a:pt x="168" y="175"/>
                    </a:lnTo>
                    <a:lnTo>
                      <a:pt x="170" y="175"/>
                    </a:lnTo>
                    <a:lnTo>
                      <a:pt x="170" y="176"/>
                    </a:lnTo>
                    <a:lnTo>
                      <a:pt x="171" y="176"/>
                    </a:lnTo>
                    <a:lnTo>
                      <a:pt x="173" y="176"/>
                    </a:lnTo>
                    <a:lnTo>
                      <a:pt x="173" y="178"/>
                    </a:lnTo>
                    <a:lnTo>
                      <a:pt x="173" y="179"/>
                    </a:lnTo>
                    <a:lnTo>
                      <a:pt x="175" y="181"/>
                    </a:lnTo>
                    <a:lnTo>
                      <a:pt x="176" y="181"/>
                    </a:lnTo>
                    <a:lnTo>
                      <a:pt x="178" y="181"/>
                    </a:lnTo>
                    <a:lnTo>
                      <a:pt x="178" y="183"/>
                    </a:lnTo>
                    <a:lnTo>
                      <a:pt x="179" y="183"/>
                    </a:lnTo>
                    <a:lnTo>
                      <a:pt x="181" y="184"/>
                    </a:lnTo>
                    <a:lnTo>
                      <a:pt x="183" y="184"/>
                    </a:lnTo>
                    <a:lnTo>
                      <a:pt x="183" y="183"/>
                    </a:lnTo>
                    <a:lnTo>
                      <a:pt x="183" y="181"/>
                    </a:lnTo>
                    <a:lnTo>
                      <a:pt x="184" y="181"/>
                    </a:lnTo>
                    <a:lnTo>
                      <a:pt x="184" y="183"/>
                    </a:lnTo>
                    <a:lnTo>
                      <a:pt x="186" y="183"/>
                    </a:lnTo>
                    <a:lnTo>
                      <a:pt x="187" y="183"/>
                    </a:lnTo>
                    <a:lnTo>
                      <a:pt x="187" y="184"/>
                    </a:lnTo>
                    <a:lnTo>
                      <a:pt x="189" y="184"/>
                    </a:lnTo>
                    <a:lnTo>
                      <a:pt x="190" y="186"/>
                    </a:lnTo>
                    <a:lnTo>
                      <a:pt x="192" y="186"/>
                    </a:lnTo>
                    <a:lnTo>
                      <a:pt x="194" y="186"/>
                    </a:lnTo>
                    <a:lnTo>
                      <a:pt x="194" y="184"/>
                    </a:lnTo>
                    <a:lnTo>
                      <a:pt x="195" y="184"/>
                    </a:lnTo>
                    <a:lnTo>
                      <a:pt x="195" y="183"/>
                    </a:lnTo>
                    <a:lnTo>
                      <a:pt x="195" y="181"/>
                    </a:lnTo>
                    <a:lnTo>
                      <a:pt x="197" y="181"/>
                    </a:lnTo>
                    <a:lnTo>
                      <a:pt x="198" y="181"/>
                    </a:lnTo>
                    <a:lnTo>
                      <a:pt x="200" y="181"/>
                    </a:lnTo>
                    <a:lnTo>
                      <a:pt x="202" y="181"/>
                    </a:lnTo>
                    <a:lnTo>
                      <a:pt x="203" y="183"/>
                    </a:lnTo>
                    <a:lnTo>
                      <a:pt x="205" y="183"/>
                    </a:lnTo>
                    <a:lnTo>
                      <a:pt x="205" y="184"/>
                    </a:lnTo>
                    <a:lnTo>
                      <a:pt x="203" y="184"/>
                    </a:lnTo>
                    <a:lnTo>
                      <a:pt x="203" y="186"/>
                    </a:lnTo>
                    <a:lnTo>
                      <a:pt x="205" y="186"/>
                    </a:lnTo>
                    <a:lnTo>
                      <a:pt x="206" y="186"/>
                    </a:lnTo>
                    <a:lnTo>
                      <a:pt x="206" y="187"/>
                    </a:lnTo>
                    <a:lnTo>
                      <a:pt x="206" y="189"/>
                    </a:lnTo>
                    <a:lnTo>
                      <a:pt x="206" y="191"/>
                    </a:lnTo>
                    <a:lnTo>
                      <a:pt x="208" y="191"/>
                    </a:lnTo>
                    <a:lnTo>
                      <a:pt x="209" y="191"/>
                    </a:lnTo>
                    <a:lnTo>
                      <a:pt x="209" y="192"/>
                    </a:lnTo>
                    <a:lnTo>
                      <a:pt x="211" y="192"/>
                    </a:lnTo>
                    <a:lnTo>
                      <a:pt x="213" y="192"/>
                    </a:lnTo>
                    <a:lnTo>
                      <a:pt x="213" y="194"/>
                    </a:lnTo>
                    <a:lnTo>
                      <a:pt x="214" y="194"/>
                    </a:lnTo>
                    <a:lnTo>
                      <a:pt x="213" y="195"/>
                    </a:lnTo>
                    <a:lnTo>
                      <a:pt x="213" y="197"/>
                    </a:lnTo>
                    <a:lnTo>
                      <a:pt x="214" y="197"/>
                    </a:lnTo>
                    <a:lnTo>
                      <a:pt x="216" y="197"/>
                    </a:lnTo>
                    <a:lnTo>
                      <a:pt x="217" y="197"/>
                    </a:lnTo>
                    <a:lnTo>
                      <a:pt x="219" y="197"/>
                    </a:lnTo>
                    <a:lnTo>
                      <a:pt x="221" y="197"/>
                    </a:lnTo>
                    <a:lnTo>
                      <a:pt x="221" y="195"/>
                    </a:lnTo>
                    <a:lnTo>
                      <a:pt x="222" y="194"/>
                    </a:lnTo>
                    <a:lnTo>
                      <a:pt x="224" y="194"/>
                    </a:lnTo>
                    <a:lnTo>
                      <a:pt x="225" y="194"/>
                    </a:lnTo>
                    <a:lnTo>
                      <a:pt x="227" y="194"/>
                    </a:lnTo>
                    <a:lnTo>
                      <a:pt x="228" y="194"/>
                    </a:lnTo>
                    <a:lnTo>
                      <a:pt x="228" y="195"/>
                    </a:lnTo>
                    <a:lnTo>
                      <a:pt x="228" y="197"/>
                    </a:lnTo>
                    <a:lnTo>
                      <a:pt x="230" y="197"/>
                    </a:lnTo>
                    <a:lnTo>
                      <a:pt x="230" y="199"/>
                    </a:lnTo>
                    <a:lnTo>
                      <a:pt x="230" y="200"/>
                    </a:lnTo>
                    <a:lnTo>
                      <a:pt x="230" y="202"/>
                    </a:lnTo>
                    <a:lnTo>
                      <a:pt x="228" y="202"/>
                    </a:lnTo>
                    <a:lnTo>
                      <a:pt x="228" y="203"/>
                    </a:lnTo>
                    <a:lnTo>
                      <a:pt x="228" y="205"/>
                    </a:lnTo>
                    <a:lnTo>
                      <a:pt x="230" y="205"/>
                    </a:lnTo>
                    <a:lnTo>
                      <a:pt x="230" y="206"/>
                    </a:lnTo>
                    <a:lnTo>
                      <a:pt x="230" y="208"/>
                    </a:lnTo>
                    <a:lnTo>
                      <a:pt x="230" y="210"/>
                    </a:lnTo>
                    <a:lnTo>
                      <a:pt x="230" y="211"/>
                    </a:lnTo>
                    <a:lnTo>
                      <a:pt x="232" y="211"/>
                    </a:lnTo>
                    <a:lnTo>
                      <a:pt x="232" y="213"/>
                    </a:lnTo>
                    <a:lnTo>
                      <a:pt x="233" y="213"/>
                    </a:lnTo>
                    <a:lnTo>
                      <a:pt x="233" y="214"/>
                    </a:lnTo>
                    <a:lnTo>
                      <a:pt x="233" y="216"/>
                    </a:lnTo>
                    <a:lnTo>
                      <a:pt x="233" y="218"/>
                    </a:lnTo>
                    <a:lnTo>
                      <a:pt x="233" y="219"/>
                    </a:lnTo>
                    <a:lnTo>
                      <a:pt x="233" y="221"/>
                    </a:lnTo>
                    <a:lnTo>
                      <a:pt x="233" y="222"/>
                    </a:lnTo>
                    <a:lnTo>
                      <a:pt x="233" y="224"/>
                    </a:lnTo>
                    <a:lnTo>
                      <a:pt x="233" y="225"/>
                    </a:lnTo>
                    <a:lnTo>
                      <a:pt x="233" y="227"/>
                    </a:lnTo>
                    <a:lnTo>
                      <a:pt x="233" y="229"/>
                    </a:lnTo>
                    <a:lnTo>
                      <a:pt x="233" y="230"/>
                    </a:lnTo>
                    <a:lnTo>
                      <a:pt x="235" y="232"/>
                    </a:lnTo>
                    <a:lnTo>
                      <a:pt x="236" y="232"/>
                    </a:lnTo>
                    <a:lnTo>
                      <a:pt x="238" y="232"/>
                    </a:lnTo>
                    <a:lnTo>
                      <a:pt x="240" y="232"/>
                    </a:lnTo>
                    <a:lnTo>
                      <a:pt x="240" y="233"/>
                    </a:lnTo>
                    <a:lnTo>
                      <a:pt x="241" y="233"/>
                    </a:lnTo>
                    <a:lnTo>
                      <a:pt x="241" y="235"/>
                    </a:lnTo>
                    <a:lnTo>
                      <a:pt x="243" y="237"/>
                    </a:lnTo>
                    <a:lnTo>
                      <a:pt x="244" y="237"/>
                    </a:lnTo>
                    <a:lnTo>
                      <a:pt x="244" y="238"/>
                    </a:lnTo>
                    <a:lnTo>
                      <a:pt x="246" y="238"/>
                    </a:lnTo>
                    <a:lnTo>
                      <a:pt x="246" y="240"/>
                    </a:lnTo>
                    <a:lnTo>
                      <a:pt x="247" y="241"/>
                    </a:lnTo>
                    <a:lnTo>
                      <a:pt x="249" y="241"/>
                    </a:lnTo>
                    <a:lnTo>
                      <a:pt x="249" y="243"/>
                    </a:lnTo>
                    <a:lnTo>
                      <a:pt x="251" y="243"/>
                    </a:lnTo>
                    <a:lnTo>
                      <a:pt x="252" y="243"/>
                    </a:lnTo>
                    <a:lnTo>
                      <a:pt x="252" y="241"/>
                    </a:lnTo>
                    <a:lnTo>
                      <a:pt x="254" y="241"/>
                    </a:lnTo>
                    <a:lnTo>
                      <a:pt x="255" y="241"/>
                    </a:lnTo>
                    <a:lnTo>
                      <a:pt x="255" y="243"/>
                    </a:lnTo>
                    <a:lnTo>
                      <a:pt x="257" y="243"/>
                    </a:lnTo>
                    <a:lnTo>
                      <a:pt x="257" y="241"/>
                    </a:lnTo>
                    <a:lnTo>
                      <a:pt x="259" y="241"/>
                    </a:lnTo>
                    <a:lnTo>
                      <a:pt x="260" y="241"/>
                    </a:lnTo>
                    <a:lnTo>
                      <a:pt x="260" y="243"/>
                    </a:lnTo>
                    <a:lnTo>
                      <a:pt x="260" y="244"/>
                    </a:lnTo>
                    <a:lnTo>
                      <a:pt x="262" y="244"/>
                    </a:lnTo>
                    <a:lnTo>
                      <a:pt x="263" y="244"/>
                    </a:lnTo>
                    <a:lnTo>
                      <a:pt x="263" y="246"/>
                    </a:lnTo>
                    <a:lnTo>
                      <a:pt x="265" y="246"/>
                    </a:lnTo>
                    <a:lnTo>
                      <a:pt x="265" y="248"/>
                    </a:lnTo>
                    <a:lnTo>
                      <a:pt x="265" y="249"/>
                    </a:lnTo>
                    <a:lnTo>
                      <a:pt x="265" y="251"/>
                    </a:lnTo>
                    <a:lnTo>
                      <a:pt x="266" y="251"/>
                    </a:lnTo>
                    <a:lnTo>
                      <a:pt x="266" y="252"/>
                    </a:lnTo>
                    <a:lnTo>
                      <a:pt x="266" y="254"/>
                    </a:lnTo>
                    <a:lnTo>
                      <a:pt x="268" y="254"/>
                    </a:lnTo>
                    <a:lnTo>
                      <a:pt x="268" y="256"/>
                    </a:lnTo>
                    <a:lnTo>
                      <a:pt x="270" y="256"/>
                    </a:lnTo>
                    <a:lnTo>
                      <a:pt x="270" y="257"/>
                    </a:lnTo>
                    <a:lnTo>
                      <a:pt x="268" y="257"/>
                    </a:lnTo>
                    <a:lnTo>
                      <a:pt x="268" y="259"/>
                    </a:lnTo>
                    <a:lnTo>
                      <a:pt x="270" y="259"/>
                    </a:lnTo>
                    <a:lnTo>
                      <a:pt x="270" y="260"/>
                    </a:lnTo>
                    <a:lnTo>
                      <a:pt x="268" y="260"/>
                    </a:lnTo>
                    <a:lnTo>
                      <a:pt x="266" y="260"/>
                    </a:lnTo>
                    <a:lnTo>
                      <a:pt x="266" y="262"/>
                    </a:lnTo>
                    <a:lnTo>
                      <a:pt x="266" y="260"/>
                    </a:lnTo>
                    <a:lnTo>
                      <a:pt x="265" y="260"/>
                    </a:lnTo>
                    <a:lnTo>
                      <a:pt x="263" y="260"/>
                    </a:lnTo>
                    <a:lnTo>
                      <a:pt x="263" y="262"/>
                    </a:lnTo>
                    <a:lnTo>
                      <a:pt x="262" y="262"/>
                    </a:lnTo>
                    <a:lnTo>
                      <a:pt x="262" y="263"/>
                    </a:lnTo>
                    <a:lnTo>
                      <a:pt x="260" y="263"/>
                    </a:lnTo>
                    <a:lnTo>
                      <a:pt x="260" y="265"/>
                    </a:lnTo>
                    <a:lnTo>
                      <a:pt x="260" y="267"/>
                    </a:lnTo>
                    <a:lnTo>
                      <a:pt x="260" y="268"/>
                    </a:lnTo>
                    <a:lnTo>
                      <a:pt x="262" y="270"/>
                    </a:lnTo>
                    <a:lnTo>
                      <a:pt x="262" y="271"/>
                    </a:lnTo>
                    <a:lnTo>
                      <a:pt x="262" y="273"/>
                    </a:lnTo>
                    <a:lnTo>
                      <a:pt x="262" y="275"/>
                    </a:lnTo>
                    <a:lnTo>
                      <a:pt x="260" y="275"/>
                    </a:lnTo>
                    <a:lnTo>
                      <a:pt x="260" y="276"/>
                    </a:lnTo>
                    <a:lnTo>
                      <a:pt x="260" y="278"/>
                    </a:lnTo>
                    <a:lnTo>
                      <a:pt x="260" y="279"/>
                    </a:lnTo>
                    <a:lnTo>
                      <a:pt x="259" y="279"/>
                    </a:lnTo>
                    <a:lnTo>
                      <a:pt x="259" y="281"/>
                    </a:lnTo>
                    <a:lnTo>
                      <a:pt x="259" y="282"/>
                    </a:lnTo>
                    <a:lnTo>
                      <a:pt x="259" y="284"/>
                    </a:lnTo>
                    <a:lnTo>
                      <a:pt x="259" y="286"/>
                    </a:lnTo>
                    <a:lnTo>
                      <a:pt x="259" y="287"/>
                    </a:lnTo>
                    <a:lnTo>
                      <a:pt x="260" y="289"/>
                    </a:lnTo>
                    <a:lnTo>
                      <a:pt x="260" y="287"/>
                    </a:lnTo>
                    <a:lnTo>
                      <a:pt x="262" y="289"/>
                    </a:lnTo>
                    <a:lnTo>
                      <a:pt x="263" y="289"/>
                    </a:lnTo>
                    <a:lnTo>
                      <a:pt x="263" y="290"/>
                    </a:lnTo>
                    <a:lnTo>
                      <a:pt x="265" y="290"/>
                    </a:lnTo>
                    <a:lnTo>
                      <a:pt x="266" y="290"/>
                    </a:lnTo>
                    <a:lnTo>
                      <a:pt x="268" y="290"/>
                    </a:lnTo>
                    <a:lnTo>
                      <a:pt x="270" y="292"/>
                    </a:lnTo>
                    <a:lnTo>
                      <a:pt x="271" y="292"/>
                    </a:lnTo>
                    <a:lnTo>
                      <a:pt x="273" y="292"/>
                    </a:lnTo>
                    <a:lnTo>
                      <a:pt x="274" y="292"/>
                    </a:lnTo>
                    <a:lnTo>
                      <a:pt x="274" y="290"/>
                    </a:lnTo>
                    <a:lnTo>
                      <a:pt x="274" y="289"/>
                    </a:lnTo>
                    <a:lnTo>
                      <a:pt x="276" y="289"/>
                    </a:lnTo>
                    <a:lnTo>
                      <a:pt x="278" y="290"/>
                    </a:lnTo>
                    <a:lnTo>
                      <a:pt x="279" y="290"/>
                    </a:lnTo>
                    <a:lnTo>
                      <a:pt x="281" y="290"/>
                    </a:lnTo>
                    <a:lnTo>
                      <a:pt x="281" y="289"/>
                    </a:lnTo>
                    <a:lnTo>
                      <a:pt x="282" y="289"/>
                    </a:lnTo>
                    <a:lnTo>
                      <a:pt x="282" y="290"/>
                    </a:lnTo>
                    <a:lnTo>
                      <a:pt x="282" y="289"/>
                    </a:lnTo>
                    <a:lnTo>
                      <a:pt x="284" y="289"/>
                    </a:lnTo>
                    <a:lnTo>
                      <a:pt x="284" y="287"/>
                    </a:lnTo>
                    <a:lnTo>
                      <a:pt x="284" y="286"/>
                    </a:lnTo>
                    <a:lnTo>
                      <a:pt x="285" y="287"/>
                    </a:lnTo>
                    <a:lnTo>
                      <a:pt x="287" y="287"/>
                    </a:lnTo>
                    <a:lnTo>
                      <a:pt x="289" y="287"/>
                    </a:lnTo>
                    <a:lnTo>
                      <a:pt x="290" y="287"/>
                    </a:lnTo>
                    <a:lnTo>
                      <a:pt x="292" y="287"/>
                    </a:lnTo>
                    <a:lnTo>
                      <a:pt x="293" y="287"/>
                    </a:lnTo>
                    <a:lnTo>
                      <a:pt x="295" y="287"/>
                    </a:lnTo>
                    <a:lnTo>
                      <a:pt x="297" y="287"/>
                    </a:lnTo>
                    <a:lnTo>
                      <a:pt x="298" y="287"/>
                    </a:lnTo>
                    <a:lnTo>
                      <a:pt x="300" y="287"/>
                    </a:lnTo>
                    <a:lnTo>
                      <a:pt x="301" y="287"/>
                    </a:lnTo>
                    <a:lnTo>
                      <a:pt x="303" y="287"/>
                    </a:lnTo>
                    <a:lnTo>
                      <a:pt x="304" y="287"/>
                    </a:lnTo>
                    <a:lnTo>
                      <a:pt x="306" y="286"/>
                    </a:lnTo>
                    <a:lnTo>
                      <a:pt x="306" y="287"/>
                    </a:lnTo>
                    <a:lnTo>
                      <a:pt x="306" y="289"/>
                    </a:lnTo>
                    <a:lnTo>
                      <a:pt x="308" y="289"/>
                    </a:lnTo>
                    <a:lnTo>
                      <a:pt x="308" y="290"/>
                    </a:lnTo>
                    <a:lnTo>
                      <a:pt x="308" y="292"/>
                    </a:lnTo>
                    <a:lnTo>
                      <a:pt x="306" y="294"/>
                    </a:lnTo>
                    <a:lnTo>
                      <a:pt x="306" y="295"/>
                    </a:lnTo>
                    <a:lnTo>
                      <a:pt x="306" y="297"/>
                    </a:lnTo>
                    <a:lnTo>
                      <a:pt x="308" y="297"/>
                    </a:lnTo>
                    <a:lnTo>
                      <a:pt x="308" y="298"/>
                    </a:lnTo>
                    <a:lnTo>
                      <a:pt x="309" y="298"/>
                    </a:lnTo>
                    <a:lnTo>
                      <a:pt x="311" y="298"/>
                    </a:lnTo>
                    <a:lnTo>
                      <a:pt x="312" y="298"/>
                    </a:lnTo>
                    <a:lnTo>
                      <a:pt x="316" y="298"/>
                    </a:lnTo>
                    <a:lnTo>
                      <a:pt x="317" y="298"/>
                    </a:lnTo>
                    <a:lnTo>
                      <a:pt x="319" y="298"/>
                    </a:lnTo>
                    <a:lnTo>
                      <a:pt x="319" y="300"/>
                    </a:lnTo>
                    <a:lnTo>
                      <a:pt x="319" y="302"/>
                    </a:lnTo>
                    <a:lnTo>
                      <a:pt x="319" y="303"/>
                    </a:lnTo>
                    <a:lnTo>
                      <a:pt x="319" y="305"/>
                    </a:lnTo>
                    <a:lnTo>
                      <a:pt x="320" y="305"/>
                    </a:lnTo>
                    <a:lnTo>
                      <a:pt x="320" y="306"/>
                    </a:lnTo>
                    <a:lnTo>
                      <a:pt x="320" y="308"/>
                    </a:lnTo>
                    <a:lnTo>
                      <a:pt x="320" y="309"/>
                    </a:lnTo>
                    <a:lnTo>
                      <a:pt x="320" y="311"/>
                    </a:lnTo>
                    <a:lnTo>
                      <a:pt x="322" y="311"/>
                    </a:lnTo>
                    <a:lnTo>
                      <a:pt x="323" y="311"/>
                    </a:lnTo>
                    <a:lnTo>
                      <a:pt x="323" y="313"/>
                    </a:lnTo>
                    <a:lnTo>
                      <a:pt x="325" y="313"/>
                    </a:lnTo>
                    <a:lnTo>
                      <a:pt x="327" y="313"/>
                    </a:lnTo>
                    <a:lnTo>
                      <a:pt x="327" y="314"/>
                    </a:lnTo>
                    <a:lnTo>
                      <a:pt x="328" y="314"/>
                    </a:lnTo>
                    <a:lnTo>
                      <a:pt x="328" y="316"/>
                    </a:lnTo>
                    <a:lnTo>
                      <a:pt x="330" y="316"/>
                    </a:lnTo>
                    <a:lnTo>
                      <a:pt x="330" y="317"/>
                    </a:lnTo>
                    <a:lnTo>
                      <a:pt x="331" y="317"/>
                    </a:lnTo>
                    <a:lnTo>
                      <a:pt x="331" y="319"/>
                    </a:lnTo>
                    <a:lnTo>
                      <a:pt x="333" y="319"/>
                    </a:lnTo>
                    <a:lnTo>
                      <a:pt x="333" y="317"/>
                    </a:lnTo>
                    <a:lnTo>
                      <a:pt x="335" y="317"/>
                    </a:lnTo>
                    <a:lnTo>
                      <a:pt x="335" y="319"/>
                    </a:lnTo>
                    <a:lnTo>
                      <a:pt x="336" y="319"/>
                    </a:lnTo>
                    <a:lnTo>
                      <a:pt x="336" y="317"/>
                    </a:lnTo>
                    <a:lnTo>
                      <a:pt x="338" y="317"/>
                    </a:lnTo>
                    <a:lnTo>
                      <a:pt x="339" y="317"/>
                    </a:lnTo>
                    <a:lnTo>
                      <a:pt x="341" y="317"/>
                    </a:lnTo>
                    <a:lnTo>
                      <a:pt x="341" y="319"/>
                    </a:lnTo>
                    <a:lnTo>
                      <a:pt x="343" y="319"/>
                    </a:lnTo>
                    <a:lnTo>
                      <a:pt x="343" y="321"/>
                    </a:lnTo>
                    <a:lnTo>
                      <a:pt x="344" y="321"/>
                    </a:lnTo>
                    <a:lnTo>
                      <a:pt x="344" y="322"/>
                    </a:lnTo>
                    <a:lnTo>
                      <a:pt x="344" y="324"/>
                    </a:lnTo>
                    <a:lnTo>
                      <a:pt x="346" y="324"/>
                    </a:lnTo>
                    <a:lnTo>
                      <a:pt x="346" y="325"/>
                    </a:lnTo>
                    <a:lnTo>
                      <a:pt x="346" y="327"/>
                    </a:lnTo>
                    <a:lnTo>
                      <a:pt x="346" y="328"/>
                    </a:lnTo>
                    <a:lnTo>
                      <a:pt x="346" y="330"/>
                    </a:lnTo>
                    <a:lnTo>
                      <a:pt x="346" y="332"/>
                    </a:lnTo>
                    <a:lnTo>
                      <a:pt x="346" y="333"/>
                    </a:lnTo>
                    <a:lnTo>
                      <a:pt x="347" y="333"/>
                    </a:lnTo>
                    <a:lnTo>
                      <a:pt x="347" y="335"/>
                    </a:lnTo>
                    <a:lnTo>
                      <a:pt x="347" y="336"/>
                    </a:lnTo>
                    <a:lnTo>
                      <a:pt x="347" y="338"/>
                    </a:lnTo>
                    <a:lnTo>
                      <a:pt x="347" y="340"/>
                    </a:lnTo>
                    <a:lnTo>
                      <a:pt x="349" y="341"/>
                    </a:lnTo>
                    <a:lnTo>
                      <a:pt x="349" y="343"/>
                    </a:lnTo>
                    <a:lnTo>
                      <a:pt x="350" y="344"/>
                    </a:lnTo>
                    <a:lnTo>
                      <a:pt x="350" y="346"/>
                    </a:lnTo>
                    <a:lnTo>
                      <a:pt x="350" y="347"/>
                    </a:lnTo>
                    <a:lnTo>
                      <a:pt x="352" y="347"/>
                    </a:lnTo>
                    <a:lnTo>
                      <a:pt x="352" y="349"/>
                    </a:lnTo>
                    <a:lnTo>
                      <a:pt x="352" y="351"/>
                    </a:lnTo>
                    <a:lnTo>
                      <a:pt x="352" y="352"/>
                    </a:lnTo>
                    <a:lnTo>
                      <a:pt x="354" y="352"/>
                    </a:lnTo>
                    <a:lnTo>
                      <a:pt x="355" y="352"/>
                    </a:lnTo>
                    <a:lnTo>
                      <a:pt x="357" y="351"/>
                    </a:lnTo>
                    <a:lnTo>
                      <a:pt x="358" y="351"/>
                    </a:lnTo>
                    <a:lnTo>
                      <a:pt x="360" y="351"/>
                    </a:lnTo>
                    <a:lnTo>
                      <a:pt x="362" y="351"/>
                    </a:lnTo>
                    <a:lnTo>
                      <a:pt x="363" y="351"/>
                    </a:lnTo>
                    <a:lnTo>
                      <a:pt x="365" y="351"/>
                    </a:lnTo>
                    <a:lnTo>
                      <a:pt x="366" y="351"/>
                    </a:lnTo>
                    <a:lnTo>
                      <a:pt x="366" y="349"/>
                    </a:lnTo>
                    <a:lnTo>
                      <a:pt x="368" y="349"/>
                    </a:lnTo>
                    <a:lnTo>
                      <a:pt x="369" y="349"/>
                    </a:lnTo>
                    <a:lnTo>
                      <a:pt x="369" y="347"/>
                    </a:lnTo>
                    <a:lnTo>
                      <a:pt x="369" y="346"/>
                    </a:lnTo>
                    <a:lnTo>
                      <a:pt x="371" y="344"/>
                    </a:lnTo>
                    <a:lnTo>
                      <a:pt x="371" y="343"/>
                    </a:lnTo>
                    <a:lnTo>
                      <a:pt x="371" y="341"/>
                    </a:lnTo>
                    <a:lnTo>
                      <a:pt x="369" y="341"/>
                    </a:lnTo>
                    <a:lnTo>
                      <a:pt x="371" y="341"/>
                    </a:lnTo>
                    <a:lnTo>
                      <a:pt x="373" y="341"/>
                    </a:lnTo>
                    <a:lnTo>
                      <a:pt x="374" y="341"/>
                    </a:lnTo>
                    <a:lnTo>
                      <a:pt x="376" y="341"/>
                    </a:lnTo>
                    <a:lnTo>
                      <a:pt x="377" y="341"/>
                    </a:lnTo>
                    <a:lnTo>
                      <a:pt x="379" y="341"/>
                    </a:lnTo>
                    <a:lnTo>
                      <a:pt x="381" y="340"/>
                    </a:lnTo>
                    <a:lnTo>
                      <a:pt x="382" y="340"/>
                    </a:lnTo>
                    <a:lnTo>
                      <a:pt x="384" y="340"/>
                    </a:lnTo>
                    <a:lnTo>
                      <a:pt x="385" y="340"/>
                    </a:lnTo>
                    <a:lnTo>
                      <a:pt x="387" y="340"/>
                    </a:lnTo>
                    <a:lnTo>
                      <a:pt x="387" y="338"/>
                    </a:lnTo>
                    <a:lnTo>
                      <a:pt x="388" y="338"/>
                    </a:lnTo>
                    <a:lnTo>
                      <a:pt x="390" y="338"/>
                    </a:lnTo>
                    <a:lnTo>
                      <a:pt x="390" y="336"/>
                    </a:lnTo>
                    <a:lnTo>
                      <a:pt x="388" y="336"/>
                    </a:lnTo>
                    <a:lnTo>
                      <a:pt x="388" y="335"/>
                    </a:lnTo>
                    <a:lnTo>
                      <a:pt x="388" y="333"/>
                    </a:lnTo>
                    <a:lnTo>
                      <a:pt x="388" y="332"/>
                    </a:lnTo>
                    <a:lnTo>
                      <a:pt x="387" y="330"/>
                    </a:lnTo>
                    <a:lnTo>
                      <a:pt x="385" y="330"/>
                    </a:lnTo>
                    <a:lnTo>
                      <a:pt x="387" y="328"/>
                    </a:lnTo>
                    <a:lnTo>
                      <a:pt x="387" y="327"/>
                    </a:lnTo>
                    <a:lnTo>
                      <a:pt x="388" y="327"/>
                    </a:lnTo>
                    <a:lnTo>
                      <a:pt x="390" y="325"/>
                    </a:lnTo>
                    <a:lnTo>
                      <a:pt x="390" y="324"/>
                    </a:lnTo>
                    <a:lnTo>
                      <a:pt x="392" y="322"/>
                    </a:lnTo>
                    <a:lnTo>
                      <a:pt x="390" y="322"/>
                    </a:lnTo>
                    <a:lnTo>
                      <a:pt x="390" y="321"/>
                    </a:lnTo>
                    <a:lnTo>
                      <a:pt x="392" y="321"/>
                    </a:lnTo>
                    <a:lnTo>
                      <a:pt x="392" y="322"/>
                    </a:lnTo>
                    <a:lnTo>
                      <a:pt x="393" y="322"/>
                    </a:lnTo>
                    <a:lnTo>
                      <a:pt x="395" y="322"/>
                    </a:lnTo>
                    <a:lnTo>
                      <a:pt x="395" y="321"/>
                    </a:lnTo>
                    <a:lnTo>
                      <a:pt x="396" y="319"/>
                    </a:lnTo>
                    <a:lnTo>
                      <a:pt x="396" y="317"/>
                    </a:lnTo>
                    <a:lnTo>
                      <a:pt x="396" y="316"/>
                    </a:lnTo>
                    <a:lnTo>
                      <a:pt x="396" y="314"/>
                    </a:lnTo>
                    <a:lnTo>
                      <a:pt x="396" y="313"/>
                    </a:lnTo>
                    <a:lnTo>
                      <a:pt x="398" y="313"/>
                    </a:lnTo>
                    <a:lnTo>
                      <a:pt x="398" y="311"/>
                    </a:lnTo>
                    <a:lnTo>
                      <a:pt x="398" y="309"/>
                    </a:lnTo>
                    <a:lnTo>
                      <a:pt x="396" y="309"/>
                    </a:lnTo>
                    <a:lnTo>
                      <a:pt x="396" y="311"/>
                    </a:lnTo>
                    <a:lnTo>
                      <a:pt x="395" y="311"/>
                    </a:lnTo>
                    <a:lnTo>
                      <a:pt x="395" y="309"/>
                    </a:lnTo>
                    <a:lnTo>
                      <a:pt x="393" y="309"/>
                    </a:lnTo>
                    <a:lnTo>
                      <a:pt x="393" y="308"/>
                    </a:lnTo>
                    <a:lnTo>
                      <a:pt x="393" y="306"/>
                    </a:lnTo>
                    <a:lnTo>
                      <a:pt x="393" y="305"/>
                    </a:lnTo>
                    <a:lnTo>
                      <a:pt x="393" y="303"/>
                    </a:lnTo>
                    <a:lnTo>
                      <a:pt x="395" y="303"/>
                    </a:lnTo>
                    <a:lnTo>
                      <a:pt x="393" y="303"/>
                    </a:lnTo>
                    <a:lnTo>
                      <a:pt x="393" y="302"/>
                    </a:lnTo>
                    <a:lnTo>
                      <a:pt x="392" y="302"/>
                    </a:lnTo>
                    <a:lnTo>
                      <a:pt x="390" y="302"/>
                    </a:lnTo>
                    <a:lnTo>
                      <a:pt x="390" y="303"/>
                    </a:lnTo>
                    <a:lnTo>
                      <a:pt x="388" y="303"/>
                    </a:lnTo>
                    <a:lnTo>
                      <a:pt x="388" y="305"/>
                    </a:lnTo>
                    <a:lnTo>
                      <a:pt x="387" y="305"/>
                    </a:lnTo>
                    <a:lnTo>
                      <a:pt x="385" y="305"/>
                    </a:lnTo>
                    <a:lnTo>
                      <a:pt x="385" y="306"/>
                    </a:lnTo>
                    <a:lnTo>
                      <a:pt x="385" y="305"/>
                    </a:lnTo>
                    <a:lnTo>
                      <a:pt x="384" y="305"/>
                    </a:lnTo>
                    <a:lnTo>
                      <a:pt x="384" y="303"/>
                    </a:lnTo>
                    <a:lnTo>
                      <a:pt x="382" y="303"/>
                    </a:lnTo>
                    <a:lnTo>
                      <a:pt x="382" y="302"/>
                    </a:lnTo>
                    <a:lnTo>
                      <a:pt x="381" y="302"/>
                    </a:lnTo>
                    <a:lnTo>
                      <a:pt x="381" y="300"/>
                    </a:lnTo>
                    <a:lnTo>
                      <a:pt x="379" y="300"/>
                    </a:lnTo>
                    <a:lnTo>
                      <a:pt x="379" y="298"/>
                    </a:lnTo>
                    <a:lnTo>
                      <a:pt x="377" y="298"/>
                    </a:lnTo>
                    <a:lnTo>
                      <a:pt x="377" y="297"/>
                    </a:lnTo>
                    <a:lnTo>
                      <a:pt x="376" y="297"/>
                    </a:lnTo>
                    <a:lnTo>
                      <a:pt x="376" y="295"/>
                    </a:lnTo>
                    <a:lnTo>
                      <a:pt x="377" y="294"/>
                    </a:lnTo>
                    <a:lnTo>
                      <a:pt x="377" y="292"/>
                    </a:lnTo>
                    <a:lnTo>
                      <a:pt x="377" y="290"/>
                    </a:lnTo>
                    <a:lnTo>
                      <a:pt x="379" y="290"/>
                    </a:lnTo>
                    <a:lnTo>
                      <a:pt x="381" y="290"/>
                    </a:lnTo>
                    <a:lnTo>
                      <a:pt x="382" y="290"/>
                    </a:lnTo>
                    <a:lnTo>
                      <a:pt x="384" y="290"/>
                    </a:lnTo>
                    <a:lnTo>
                      <a:pt x="385" y="290"/>
                    </a:lnTo>
                    <a:lnTo>
                      <a:pt x="385" y="289"/>
                    </a:lnTo>
                    <a:lnTo>
                      <a:pt x="387" y="289"/>
                    </a:lnTo>
                    <a:lnTo>
                      <a:pt x="387" y="287"/>
                    </a:lnTo>
                    <a:lnTo>
                      <a:pt x="387" y="286"/>
                    </a:lnTo>
                    <a:lnTo>
                      <a:pt x="387" y="284"/>
                    </a:lnTo>
                    <a:lnTo>
                      <a:pt x="387" y="282"/>
                    </a:lnTo>
                    <a:lnTo>
                      <a:pt x="388" y="282"/>
                    </a:lnTo>
                    <a:lnTo>
                      <a:pt x="388" y="281"/>
                    </a:lnTo>
                    <a:lnTo>
                      <a:pt x="390" y="279"/>
                    </a:lnTo>
                    <a:lnTo>
                      <a:pt x="392" y="279"/>
                    </a:lnTo>
                    <a:lnTo>
                      <a:pt x="393" y="279"/>
                    </a:lnTo>
                    <a:lnTo>
                      <a:pt x="393" y="278"/>
                    </a:lnTo>
                    <a:lnTo>
                      <a:pt x="395" y="278"/>
                    </a:lnTo>
                    <a:lnTo>
                      <a:pt x="396" y="278"/>
                    </a:lnTo>
                    <a:lnTo>
                      <a:pt x="398" y="281"/>
                    </a:lnTo>
                    <a:lnTo>
                      <a:pt x="400" y="282"/>
                    </a:lnTo>
                    <a:lnTo>
                      <a:pt x="401" y="282"/>
                    </a:lnTo>
                    <a:lnTo>
                      <a:pt x="401" y="284"/>
                    </a:lnTo>
                    <a:lnTo>
                      <a:pt x="403" y="284"/>
                    </a:lnTo>
                    <a:lnTo>
                      <a:pt x="404" y="284"/>
                    </a:lnTo>
                    <a:lnTo>
                      <a:pt x="406" y="284"/>
                    </a:lnTo>
                    <a:lnTo>
                      <a:pt x="407" y="284"/>
                    </a:lnTo>
                    <a:lnTo>
                      <a:pt x="409" y="284"/>
                    </a:lnTo>
                    <a:lnTo>
                      <a:pt x="411" y="284"/>
                    </a:lnTo>
                    <a:lnTo>
                      <a:pt x="412" y="284"/>
                    </a:lnTo>
                    <a:lnTo>
                      <a:pt x="412" y="286"/>
                    </a:lnTo>
                    <a:lnTo>
                      <a:pt x="414" y="286"/>
                    </a:lnTo>
                    <a:lnTo>
                      <a:pt x="415" y="286"/>
                    </a:lnTo>
                    <a:lnTo>
                      <a:pt x="417" y="286"/>
                    </a:lnTo>
                    <a:lnTo>
                      <a:pt x="419" y="286"/>
                    </a:lnTo>
                    <a:lnTo>
                      <a:pt x="419" y="287"/>
                    </a:lnTo>
                    <a:lnTo>
                      <a:pt x="419" y="289"/>
                    </a:lnTo>
                    <a:lnTo>
                      <a:pt x="420" y="289"/>
                    </a:lnTo>
                    <a:lnTo>
                      <a:pt x="420" y="287"/>
                    </a:lnTo>
                    <a:lnTo>
                      <a:pt x="422" y="287"/>
                    </a:lnTo>
                    <a:lnTo>
                      <a:pt x="423" y="287"/>
                    </a:lnTo>
                    <a:lnTo>
                      <a:pt x="425" y="286"/>
                    </a:lnTo>
                    <a:lnTo>
                      <a:pt x="423" y="286"/>
                    </a:lnTo>
                    <a:lnTo>
                      <a:pt x="425" y="286"/>
                    </a:lnTo>
                    <a:lnTo>
                      <a:pt x="425" y="284"/>
                    </a:lnTo>
                    <a:lnTo>
                      <a:pt x="423" y="284"/>
                    </a:lnTo>
                    <a:lnTo>
                      <a:pt x="423" y="282"/>
                    </a:lnTo>
                    <a:lnTo>
                      <a:pt x="422" y="282"/>
                    </a:lnTo>
                    <a:lnTo>
                      <a:pt x="422" y="281"/>
                    </a:lnTo>
                    <a:lnTo>
                      <a:pt x="423" y="281"/>
                    </a:lnTo>
                    <a:lnTo>
                      <a:pt x="423" y="282"/>
                    </a:lnTo>
                    <a:lnTo>
                      <a:pt x="423" y="281"/>
                    </a:lnTo>
                    <a:lnTo>
                      <a:pt x="425" y="281"/>
                    </a:lnTo>
                    <a:lnTo>
                      <a:pt x="425" y="282"/>
                    </a:lnTo>
                    <a:lnTo>
                      <a:pt x="425" y="281"/>
                    </a:lnTo>
                    <a:lnTo>
                      <a:pt x="426" y="281"/>
                    </a:lnTo>
                    <a:lnTo>
                      <a:pt x="425" y="281"/>
                    </a:lnTo>
                    <a:lnTo>
                      <a:pt x="425" y="279"/>
                    </a:lnTo>
                    <a:lnTo>
                      <a:pt x="426" y="279"/>
                    </a:lnTo>
                    <a:lnTo>
                      <a:pt x="426" y="278"/>
                    </a:lnTo>
                    <a:lnTo>
                      <a:pt x="428" y="278"/>
                    </a:lnTo>
                    <a:lnTo>
                      <a:pt x="430" y="278"/>
                    </a:lnTo>
                    <a:lnTo>
                      <a:pt x="430" y="276"/>
                    </a:lnTo>
                    <a:lnTo>
                      <a:pt x="428" y="276"/>
                    </a:lnTo>
                    <a:lnTo>
                      <a:pt x="428" y="275"/>
                    </a:lnTo>
                    <a:lnTo>
                      <a:pt x="428" y="273"/>
                    </a:lnTo>
                    <a:lnTo>
                      <a:pt x="426" y="273"/>
                    </a:lnTo>
                    <a:lnTo>
                      <a:pt x="426" y="271"/>
                    </a:lnTo>
                    <a:lnTo>
                      <a:pt x="425" y="271"/>
                    </a:lnTo>
                    <a:lnTo>
                      <a:pt x="425" y="270"/>
                    </a:lnTo>
                    <a:lnTo>
                      <a:pt x="425" y="268"/>
                    </a:lnTo>
                    <a:lnTo>
                      <a:pt x="425" y="267"/>
                    </a:lnTo>
                    <a:lnTo>
                      <a:pt x="425" y="265"/>
                    </a:lnTo>
                    <a:lnTo>
                      <a:pt x="425" y="263"/>
                    </a:lnTo>
                    <a:lnTo>
                      <a:pt x="423" y="263"/>
                    </a:lnTo>
                    <a:lnTo>
                      <a:pt x="423" y="262"/>
                    </a:lnTo>
                    <a:lnTo>
                      <a:pt x="425" y="262"/>
                    </a:lnTo>
                    <a:lnTo>
                      <a:pt x="425" y="260"/>
                    </a:lnTo>
                    <a:lnTo>
                      <a:pt x="423" y="260"/>
                    </a:lnTo>
                    <a:lnTo>
                      <a:pt x="425" y="259"/>
                    </a:lnTo>
                    <a:lnTo>
                      <a:pt x="423" y="259"/>
                    </a:lnTo>
                    <a:lnTo>
                      <a:pt x="423" y="257"/>
                    </a:lnTo>
                    <a:lnTo>
                      <a:pt x="423" y="256"/>
                    </a:lnTo>
                    <a:lnTo>
                      <a:pt x="422" y="256"/>
                    </a:lnTo>
                    <a:lnTo>
                      <a:pt x="422" y="254"/>
                    </a:lnTo>
                    <a:lnTo>
                      <a:pt x="423" y="254"/>
                    </a:lnTo>
                    <a:lnTo>
                      <a:pt x="422" y="254"/>
                    </a:lnTo>
                    <a:lnTo>
                      <a:pt x="422" y="252"/>
                    </a:lnTo>
                    <a:lnTo>
                      <a:pt x="420" y="252"/>
                    </a:lnTo>
                    <a:lnTo>
                      <a:pt x="420" y="251"/>
                    </a:lnTo>
                    <a:lnTo>
                      <a:pt x="420" y="249"/>
                    </a:lnTo>
                    <a:lnTo>
                      <a:pt x="422" y="248"/>
                    </a:lnTo>
                    <a:lnTo>
                      <a:pt x="422" y="246"/>
                    </a:lnTo>
                    <a:lnTo>
                      <a:pt x="423" y="246"/>
                    </a:lnTo>
                    <a:lnTo>
                      <a:pt x="423" y="244"/>
                    </a:lnTo>
                    <a:lnTo>
                      <a:pt x="423" y="243"/>
                    </a:lnTo>
                    <a:lnTo>
                      <a:pt x="423" y="241"/>
                    </a:lnTo>
                    <a:lnTo>
                      <a:pt x="423" y="240"/>
                    </a:lnTo>
                    <a:lnTo>
                      <a:pt x="425" y="240"/>
                    </a:lnTo>
                    <a:lnTo>
                      <a:pt x="425" y="238"/>
                    </a:lnTo>
                    <a:lnTo>
                      <a:pt x="426" y="238"/>
                    </a:lnTo>
                    <a:lnTo>
                      <a:pt x="426" y="237"/>
                    </a:lnTo>
                    <a:lnTo>
                      <a:pt x="426" y="235"/>
                    </a:lnTo>
                    <a:lnTo>
                      <a:pt x="426" y="233"/>
                    </a:lnTo>
                    <a:lnTo>
                      <a:pt x="425" y="233"/>
                    </a:lnTo>
                    <a:lnTo>
                      <a:pt x="425" y="232"/>
                    </a:lnTo>
                    <a:lnTo>
                      <a:pt x="423" y="230"/>
                    </a:lnTo>
                    <a:lnTo>
                      <a:pt x="423" y="229"/>
                    </a:lnTo>
                    <a:lnTo>
                      <a:pt x="422" y="229"/>
                    </a:lnTo>
                    <a:lnTo>
                      <a:pt x="422" y="227"/>
                    </a:lnTo>
                    <a:lnTo>
                      <a:pt x="420" y="227"/>
                    </a:lnTo>
                    <a:lnTo>
                      <a:pt x="419" y="227"/>
                    </a:lnTo>
                    <a:lnTo>
                      <a:pt x="419" y="225"/>
                    </a:lnTo>
                    <a:lnTo>
                      <a:pt x="417" y="225"/>
                    </a:lnTo>
                    <a:lnTo>
                      <a:pt x="417" y="224"/>
                    </a:lnTo>
                    <a:lnTo>
                      <a:pt x="415" y="224"/>
                    </a:lnTo>
                    <a:lnTo>
                      <a:pt x="415" y="222"/>
                    </a:lnTo>
                    <a:lnTo>
                      <a:pt x="414" y="222"/>
                    </a:lnTo>
                    <a:lnTo>
                      <a:pt x="414" y="221"/>
                    </a:lnTo>
                    <a:lnTo>
                      <a:pt x="412" y="221"/>
                    </a:lnTo>
                    <a:lnTo>
                      <a:pt x="412" y="219"/>
                    </a:lnTo>
                    <a:lnTo>
                      <a:pt x="411" y="219"/>
                    </a:lnTo>
                    <a:lnTo>
                      <a:pt x="411" y="221"/>
                    </a:lnTo>
                    <a:lnTo>
                      <a:pt x="409" y="221"/>
                    </a:lnTo>
                    <a:lnTo>
                      <a:pt x="407" y="221"/>
                    </a:lnTo>
                    <a:lnTo>
                      <a:pt x="407" y="219"/>
                    </a:lnTo>
                    <a:lnTo>
                      <a:pt x="406" y="219"/>
                    </a:lnTo>
                    <a:lnTo>
                      <a:pt x="404" y="219"/>
                    </a:lnTo>
                    <a:lnTo>
                      <a:pt x="404" y="218"/>
                    </a:lnTo>
                    <a:lnTo>
                      <a:pt x="404" y="219"/>
                    </a:lnTo>
                    <a:lnTo>
                      <a:pt x="403" y="219"/>
                    </a:lnTo>
                    <a:lnTo>
                      <a:pt x="403" y="221"/>
                    </a:lnTo>
                    <a:lnTo>
                      <a:pt x="401" y="221"/>
                    </a:lnTo>
                    <a:lnTo>
                      <a:pt x="400" y="221"/>
                    </a:lnTo>
                    <a:lnTo>
                      <a:pt x="398" y="221"/>
                    </a:lnTo>
                    <a:lnTo>
                      <a:pt x="398" y="219"/>
                    </a:lnTo>
                    <a:lnTo>
                      <a:pt x="396" y="219"/>
                    </a:lnTo>
                    <a:lnTo>
                      <a:pt x="396" y="218"/>
                    </a:lnTo>
                    <a:lnTo>
                      <a:pt x="395" y="218"/>
                    </a:lnTo>
                    <a:lnTo>
                      <a:pt x="395" y="216"/>
                    </a:lnTo>
                    <a:lnTo>
                      <a:pt x="393" y="216"/>
                    </a:lnTo>
                    <a:lnTo>
                      <a:pt x="392" y="216"/>
                    </a:lnTo>
                    <a:lnTo>
                      <a:pt x="392" y="214"/>
                    </a:lnTo>
                    <a:lnTo>
                      <a:pt x="390" y="214"/>
                    </a:lnTo>
                    <a:lnTo>
                      <a:pt x="390" y="213"/>
                    </a:lnTo>
                    <a:lnTo>
                      <a:pt x="390" y="211"/>
                    </a:lnTo>
                    <a:lnTo>
                      <a:pt x="388" y="211"/>
                    </a:lnTo>
                    <a:lnTo>
                      <a:pt x="388" y="210"/>
                    </a:lnTo>
                    <a:lnTo>
                      <a:pt x="387" y="210"/>
                    </a:lnTo>
                    <a:lnTo>
                      <a:pt x="388" y="208"/>
                    </a:lnTo>
                    <a:lnTo>
                      <a:pt x="387" y="208"/>
                    </a:lnTo>
                    <a:lnTo>
                      <a:pt x="387" y="206"/>
                    </a:lnTo>
                    <a:lnTo>
                      <a:pt x="387" y="205"/>
                    </a:lnTo>
                    <a:lnTo>
                      <a:pt x="385" y="205"/>
                    </a:lnTo>
                    <a:lnTo>
                      <a:pt x="385" y="203"/>
                    </a:lnTo>
                    <a:lnTo>
                      <a:pt x="384" y="203"/>
                    </a:lnTo>
                    <a:lnTo>
                      <a:pt x="382" y="203"/>
                    </a:lnTo>
                    <a:lnTo>
                      <a:pt x="382" y="202"/>
                    </a:lnTo>
                    <a:lnTo>
                      <a:pt x="381" y="202"/>
                    </a:lnTo>
                    <a:lnTo>
                      <a:pt x="381" y="200"/>
                    </a:lnTo>
                    <a:lnTo>
                      <a:pt x="379" y="200"/>
                    </a:lnTo>
                    <a:lnTo>
                      <a:pt x="379" y="199"/>
                    </a:lnTo>
                    <a:lnTo>
                      <a:pt x="377" y="199"/>
                    </a:lnTo>
                    <a:lnTo>
                      <a:pt x="376" y="199"/>
                    </a:lnTo>
                    <a:lnTo>
                      <a:pt x="374" y="197"/>
                    </a:lnTo>
                    <a:lnTo>
                      <a:pt x="373" y="197"/>
                    </a:lnTo>
                    <a:lnTo>
                      <a:pt x="373" y="195"/>
                    </a:lnTo>
                    <a:lnTo>
                      <a:pt x="373" y="194"/>
                    </a:lnTo>
                    <a:lnTo>
                      <a:pt x="374" y="194"/>
                    </a:lnTo>
                    <a:lnTo>
                      <a:pt x="374" y="192"/>
                    </a:lnTo>
                    <a:lnTo>
                      <a:pt x="374" y="191"/>
                    </a:lnTo>
                    <a:lnTo>
                      <a:pt x="374" y="189"/>
                    </a:lnTo>
                    <a:lnTo>
                      <a:pt x="373" y="189"/>
                    </a:lnTo>
                    <a:lnTo>
                      <a:pt x="373" y="187"/>
                    </a:lnTo>
                    <a:lnTo>
                      <a:pt x="371" y="186"/>
                    </a:lnTo>
                    <a:lnTo>
                      <a:pt x="369" y="186"/>
                    </a:lnTo>
                    <a:lnTo>
                      <a:pt x="369" y="184"/>
                    </a:lnTo>
                    <a:lnTo>
                      <a:pt x="368" y="184"/>
                    </a:lnTo>
                    <a:lnTo>
                      <a:pt x="366" y="184"/>
                    </a:lnTo>
                    <a:lnTo>
                      <a:pt x="366" y="186"/>
                    </a:lnTo>
                    <a:lnTo>
                      <a:pt x="366" y="184"/>
                    </a:lnTo>
                    <a:lnTo>
                      <a:pt x="368" y="184"/>
                    </a:lnTo>
                    <a:lnTo>
                      <a:pt x="369" y="184"/>
                    </a:lnTo>
                    <a:lnTo>
                      <a:pt x="369" y="183"/>
                    </a:lnTo>
                    <a:lnTo>
                      <a:pt x="371" y="183"/>
                    </a:lnTo>
                    <a:lnTo>
                      <a:pt x="371" y="181"/>
                    </a:lnTo>
                    <a:lnTo>
                      <a:pt x="373" y="179"/>
                    </a:lnTo>
                    <a:lnTo>
                      <a:pt x="374" y="179"/>
                    </a:lnTo>
                    <a:lnTo>
                      <a:pt x="374" y="178"/>
                    </a:lnTo>
                    <a:lnTo>
                      <a:pt x="374" y="176"/>
                    </a:lnTo>
                    <a:lnTo>
                      <a:pt x="376" y="176"/>
                    </a:lnTo>
                    <a:lnTo>
                      <a:pt x="376" y="175"/>
                    </a:lnTo>
                    <a:lnTo>
                      <a:pt x="374" y="173"/>
                    </a:lnTo>
                    <a:lnTo>
                      <a:pt x="374" y="172"/>
                    </a:lnTo>
                    <a:lnTo>
                      <a:pt x="374" y="170"/>
                    </a:lnTo>
                    <a:lnTo>
                      <a:pt x="373" y="168"/>
                    </a:lnTo>
                    <a:lnTo>
                      <a:pt x="373" y="167"/>
                    </a:lnTo>
                    <a:lnTo>
                      <a:pt x="373" y="165"/>
                    </a:lnTo>
                    <a:lnTo>
                      <a:pt x="371" y="165"/>
                    </a:lnTo>
                    <a:lnTo>
                      <a:pt x="371" y="164"/>
                    </a:lnTo>
                    <a:lnTo>
                      <a:pt x="369" y="162"/>
                    </a:lnTo>
                    <a:lnTo>
                      <a:pt x="369" y="160"/>
                    </a:lnTo>
                    <a:lnTo>
                      <a:pt x="369" y="159"/>
                    </a:lnTo>
                    <a:lnTo>
                      <a:pt x="369" y="157"/>
                    </a:lnTo>
                    <a:lnTo>
                      <a:pt x="369" y="159"/>
                    </a:lnTo>
                    <a:lnTo>
                      <a:pt x="371" y="159"/>
                    </a:lnTo>
                    <a:lnTo>
                      <a:pt x="371" y="157"/>
                    </a:lnTo>
                    <a:lnTo>
                      <a:pt x="373" y="157"/>
                    </a:lnTo>
                    <a:lnTo>
                      <a:pt x="374" y="159"/>
                    </a:lnTo>
                    <a:lnTo>
                      <a:pt x="376" y="159"/>
                    </a:lnTo>
                    <a:lnTo>
                      <a:pt x="377" y="159"/>
                    </a:lnTo>
                    <a:lnTo>
                      <a:pt x="377" y="160"/>
                    </a:lnTo>
                    <a:lnTo>
                      <a:pt x="379" y="160"/>
                    </a:lnTo>
                    <a:lnTo>
                      <a:pt x="381" y="160"/>
                    </a:lnTo>
                    <a:lnTo>
                      <a:pt x="381" y="159"/>
                    </a:lnTo>
                    <a:lnTo>
                      <a:pt x="382" y="157"/>
                    </a:lnTo>
                    <a:lnTo>
                      <a:pt x="381" y="156"/>
                    </a:lnTo>
                    <a:lnTo>
                      <a:pt x="381" y="154"/>
                    </a:lnTo>
                    <a:lnTo>
                      <a:pt x="379" y="153"/>
                    </a:lnTo>
                    <a:lnTo>
                      <a:pt x="377" y="153"/>
                    </a:lnTo>
                    <a:lnTo>
                      <a:pt x="377" y="151"/>
                    </a:lnTo>
                    <a:lnTo>
                      <a:pt x="376" y="149"/>
                    </a:lnTo>
                    <a:lnTo>
                      <a:pt x="374" y="149"/>
                    </a:lnTo>
                    <a:lnTo>
                      <a:pt x="373" y="149"/>
                    </a:lnTo>
                    <a:lnTo>
                      <a:pt x="371" y="149"/>
                    </a:lnTo>
                    <a:lnTo>
                      <a:pt x="369" y="149"/>
                    </a:lnTo>
                    <a:lnTo>
                      <a:pt x="368" y="149"/>
                    </a:lnTo>
                    <a:lnTo>
                      <a:pt x="366" y="148"/>
                    </a:lnTo>
                    <a:lnTo>
                      <a:pt x="366" y="146"/>
                    </a:lnTo>
                    <a:lnTo>
                      <a:pt x="366" y="145"/>
                    </a:lnTo>
                    <a:lnTo>
                      <a:pt x="366" y="143"/>
                    </a:lnTo>
                    <a:lnTo>
                      <a:pt x="368" y="143"/>
                    </a:lnTo>
                    <a:lnTo>
                      <a:pt x="368" y="141"/>
                    </a:lnTo>
                    <a:lnTo>
                      <a:pt x="368" y="140"/>
                    </a:lnTo>
                    <a:lnTo>
                      <a:pt x="368" y="138"/>
                    </a:lnTo>
                    <a:lnTo>
                      <a:pt x="366" y="138"/>
                    </a:lnTo>
                    <a:lnTo>
                      <a:pt x="366" y="137"/>
                    </a:lnTo>
                    <a:lnTo>
                      <a:pt x="366" y="135"/>
                    </a:lnTo>
                    <a:lnTo>
                      <a:pt x="368" y="135"/>
                    </a:lnTo>
                    <a:lnTo>
                      <a:pt x="369" y="135"/>
                    </a:lnTo>
                    <a:lnTo>
                      <a:pt x="371" y="135"/>
                    </a:lnTo>
                    <a:lnTo>
                      <a:pt x="371" y="137"/>
                    </a:lnTo>
                    <a:lnTo>
                      <a:pt x="373" y="137"/>
                    </a:lnTo>
                    <a:lnTo>
                      <a:pt x="373" y="135"/>
                    </a:lnTo>
                    <a:lnTo>
                      <a:pt x="373" y="134"/>
                    </a:lnTo>
                    <a:lnTo>
                      <a:pt x="371" y="134"/>
                    </a:lnTo>
                    <a:lnTo>
                      <a:pt x="371" y="132"/>
                    </a:lnTo>
                    <a:lnTo>
                      <a:pt x="369" y="130"/>
                    </a:lnTo>
                    <a:lnTo>
                      <a:pt x="369" y="129"/>
                    </a:lnTo>
                    <a:lnTo>
                      <a:pt x="368" y="129"/>
                    </a:lnTo>
                    <a:lnTo>
                      <a:pt x="368" y="127"/>
                    </a:lnTo>
                    <a:lnTo>
                      <a:pt x="368" y="126"/>
                    </a:lnTo>
                    <a:lnTo>
                      <a:pt x="368" y="124"/>
                    </a:lnTo>
                    <a:lnTo>
                      <a:pt x="368" y="122"/>
                    </a:lnTo>
                    <a:lnTo>
                      <a:pt x="368" y="121"/>
                    </a:lnTo>
                    <a:lnTo>
                      <a:pt x="366" y="121"/>
                    </a:lnTo>
                    <a:lnTo>
                      <a:pt x="368" y="121"/>
                    </a:lnTo>
                    <a:lnTo>
                      <a:pt x="366" y="121"/>
                    </a:lnTo>
                    <a:lnTo>
                      <a:pt x="366" y="119"/>
                    </a:lnTo>
                    <a:lnTo>
                      <a:pt x="368" y="119"/>
                    </a:lnTo>
                    <a:lnTo>
                      <a:pt x="366" y="118"/>
                    </a:lnTo>
                    <a:lnTo>
                      <a:pt x="366" y="116"/>
                    </a:lnTo>
                    <a:lnTo>
                      <a:pt x="366" y="110"/>
                    </a:lnTo>
                    <a:lnTo>
                      <a:pt x="368" y="108"/>
                    </a:lnTo>
                    <a:lnTo>
                      <a:pt x="368" y="107"/>
                    </a:lnTo>
                    <a:lnTo>
                      <a:pt x="368" y="105"/>
                    </a:lnTo>
                    <a:lnTo>
                      <a:pt x="366" y="105"/>
                    </a:lnTo>
                    <a:lnTo>
                      <a:pt x="366" y="103"/>
                    </a:lnTo>
                    <a:lnTo>
                      <a:pt x="368" y="103"/>
                    </a:lnTo>
                    <a:lnTo>
                      <a:pt x="366" y="100"/>
                    </a:lnTo>
                    <a:lnTo>
                      <a:pt x="368" y="97"/>
                    </a:lnTo>
                    <a:lnTo>
                      <a:pt x="366" y="92"/>
                    </a:lnTo>
                    <a:lnTo>
                      <a:pt x="366" y="88"/>
                    </a:lnTo>
                    <a:lnTo>
                      <a:pt x="371" y="86"/>
                    </a:lnTo>
                    <a:lnTo>
                      <a:pt x="371" y="84"/>
                    </a:lnTo>
                    <a:lnTo>
                      <a:pt x="371" y="83"/>
                    </a:lnTo>
                    <a:lnTo>
                      <a:pt x="371" y="80"/>
                    </a:lnTo>
                    <a:lnTo>
                      <a:pt x="371" y="78"/>
                    </a:lnTo>
                    <a:lnTo>
                      <a:pt x="373" y="78"/>
                    </a:lnTo>
                    <a:lnTo>
                      <a:pt x="373" y="80"/>
                    </a:lnTo>
                    <a:lnTo>
                      <a:pt x="374" y="80"/>
                    </a:lnTo>
                    <a:lnTo>
                      <a:pt x="374" y="81"/>
                    </a:lnTo>
                    <a:lnTo>
                      <a:pt x="376" y="81"/>
                    </a:lnTo>
                    <a:lnTo>
                      <a:pt x="377" y="81"/>
                    </a:lnTo>
                    <a:lnTo>
                      <a:pt x="377" y="83"/>
                    </a:lnTo>
                    <a:lnTo>
                      <a:pt x="381" y="81"/>
                    </a:lnTo>
                    <a:lnTo>
                      <a:pt x="387" y="81"/>
                    </a:lnTo>
                    <a:lnTo>
                      <a:pt x="390" y="81"/>
                    </a:lnTo>
                    <a:lnTo>
                      <a:pt x="390" y="80"/>
                    </a:lnTo>
                    <a:lnTo>
                      <a:pt x="392" y="80"/>
                    </a:lnTo>
                    <a:lnTo>
                      <a:pt x="392" y="78"/>
                    </a:lnTo>
                    <a:lnTo>
                      <a:pt x="392" y="77"/>
                    </a:lnTo>
                    <a:lnTo>
                      <a:pt x="393" y="77"/>
                    </a:lnTo>
                    <a:lnTo>
                      <a:pt x="395" y="77"/>
                    </a:lnTo>
                    <a:lnTo>
                      <a:pt x="395" y="75"/>
                    </a:lnTo>
                    <a:lnTo>
                      <a:pt x="396" y="75"/>
                    </a:lnTo>
                    <a:lnTo>
                      <a:pt x="396" y="77"/>
                    </a:lnTo>
                    <a:lnTo>
                      <a:pt x="396" y="75"/>
                    </a:lnTo>
                    <a:lnTo>
                      <a:pt x="398" y="75"/>
                    </a:lnTo>
                    <a:lnTo>
                      <a:pt x="400" y="75"/>
                    </a:lnTo>
                    <a:lnTo>
                      <a:pt x="400" y="73"/>
                    </a:lnTo>
                    <a:lnTo>
                      <a:pt x="401" y="73"/>
                    </a:lnTo>
                    <a:lnTo>
                      <a:pt x="403" y="73"/>
                    </a:lnTo>
                    <a:lnTo>
                      <a:pt x="404" y="73"/>
                    </a:lnTo>
                    <a:lnTo>
                      <a:pt x="404" y="72"/>
                    </a:lnTo>
                    <a:lnTo>
                      <a:pt x="404" y="73"/>
                    </a:lnTo>
                    <a:lnTo>
                      <a:pt x="406" y="73"/>
                    </a:lnTo>
                    <a:lnTo>
                      <a:pt x="407" y="73"/>
                    </a:lnTo>
                    <a:lnTo>
                      <a:pt x="407" y="75"/>
                    </a:lnTo>
                    <a:lnTo>
                      <a:pt x="409" y="73"/>
                    </a:lnTo>
                    <a:lnTo>
                      <a:pt x="409" y="72"/>
                    </a:lnTo>
                    <a:lnTo>
                      <a:pt x="409" y="70"/>
                    </a:lnTo>
                    <a:lnTo>
                      <a:pt x="411" y="70"/>
                    </a:lnTo>
                    <a:lnTo>
                      <a:pt x="412" y="70"/>
                    </a:lnTo>
                    <a:lnTo>
                      <a:pt x="414" y="70"/>
                    </a:lnTo>
                    <a:lnTo>
                      <a:pt x="415" y="70"/>
                    </a:lnTo>
                    <a:lnTo>
                      <a:pt x="417" y="70"/>
                    </a:lnTo>
                    <a:lnTo>
                      <a:pt x="419" y="70"/>
                    </a:lnTo>
                    <a:lnTo>
                      <a:pt x="419" y="72"/>
                    </a:lnTo>
                    <a:lnTo>
                      <a:pt x="420" y="72"/>
                    </a:lnTo>
                    <a:lnTo>
                      <a:pt x="422" y="70"/>
                    </a:lnTo>
                    <a:lnTo>
                      <a:pt x="423" y="70"/>
                    </a:lnTo>
                    <a:lnTo>
                      <a:pt x="423" y="69"/>
                    </a:lnTo>
                    <a:lnTo>
                      <a:pt x="423" y="67"/>
                    </a:lnTo>
                    <a:lnTo>
                      <a:pt x="425" y="67"/>
                    </a:lnTo>
                    <a:lnTo>
                      <a:pt x="425" y="65"/>
                    </a:lnTo>
                    <a:lnTo>
                      <a:pt x="426" y="65"/>
                    </a:lnTo>
                    <a:lnTo>
                      <a:pt x="426" y="64"/>
                    </a:lnTo>
                    <a:lnTo>
                      <a:pt x="428" y="62"/>
                    </a:lnTo>
                    <a:lnTo>
                      <a:pt x="426" y="62"/>
                    </a:lnTo>
                    <a:lnTo>
                      <a:pt x="426" y="61"/>
                    </a:lnTo>
                    <a:lnTo>
                      <a:pt x="426" y="59"/>
                    </a:lnTo>
                    <a:lnTo>
                      <a:pt x="426" y="61"/>
                    </a:lnTo>
                    <a:lnTo>
                      <a:pt x="428" y="61"/>
                    </a:lnTo>
                    <a:lnTo>
                      <a:pt x="428" y="59"/>
                    </a:lnTo>
                    <a:lnTo>
                      <a:pt x="428" y="57"/>
                    </a:lnTo>
                    <a:lnTo>
                      <a:pt x="428" y="56"/>
                    </a:lnTo>
                    <a:lnTo>
                      <a:pt x="428" y="54"/>
                    </a:lnTo>
                    <a:lnTo>
                      <a:pt x="430" y="54"/>
                    </a:lnTo>
                    <a:lnTo>
                      <a:pt x="431" y="54"/>
                    </a:lnTo>
                    <a:lnTo>
                      <a:pt x="433" y="54"/>
                    </a:lnTo>
                    <a:lnTo>
                      <a:pt x="434" y="54"/>
                    </a:lnTo>
                    <a:lnTo>
                      <a:pt x="434" y="53"/>
                    </a:lnTo>
                    <a:lnTo>
                      <a:pt x="434" y="51"/>
                    </a:lnTo>
                    <a:lnTo>
                      <a:pt x="434" y="50"/>
                    </a:lnTo>
                    <a:lnTo>
                      <a:pt x="433" y="50"/>
                    </a:lnTo>
                    <a:lnTo>
                      <a:pt x="433" y="48"/>
                    </a:lnTo>
                    <a:lnTo>
                      <a:pt x="433" y="46"/>
                    </a:lnTo>
                    <a:lnTo>
                      <a:pt x="433" y="45"/>
                    </a:lnTo>
                    <a:lnTo>
                      <a:pt x="431" y="45"/>
                    </a:lnTo>
                    <a:lnTo>
                      <a:pt x="431" y="43"/>
                    </a:lnTo>
                    <a:lnTo>
                      <a:pt x="431" y="42"/>
                    </a:lnTo>
                    <a:lnTo>
                      <a:pt x="433" y="42"/>
                    </a:lnTo>
                    <a:lnTo>
                      <a:pt x="434" y="42"/>
                    </a:lnTo>
                    <a:lnTo>
                      <a:pt x="434" y="40"/>
                    </a:lnTo>
                    <a:lnTo>
                      <a:pt x="436" y="40"/>
                    </a:lnTo>
                    <a:lnTo>
                      <a:pt x="436" y="38"/>
                    </a:lnTo>
                    <a:lnTo>
                      <a:pt x="438" y="38"/>
                    </a:lnTo>
                    <a:lnTo>
                      <a:pt x="439" y="38"/>
                    </a:lnTo>
                    <a:lnTo>
                      <a:pt x="439" y="37"/>
                    </a:lnTo>
                    <a:lnTo>
                      <a:pt x="439" y="35"/>
                    </a:lnTo>
                    <a:lnTo>
                      <a:pt x="439" y="34"/>
                    </a:lnTo>
                    <a:lnTo>
                      <a:pt x="439" y="32"/>
                    </a:lnTo>
                    <a:lnTo>
                      <a:pt x="439" y="31"/>
                    </a:lnTo>
                    <a:lnTo>
                      <a:pt x="441" y="31"/>
                    </a:lnTo>
                    <a:lnTo>
                      <a:pt x="442" y="31"/>
                    </a:lnTo>
                    <a:lnTo>
                      <a:pt x="444" y="31"/>
                    </a:lnTo>
                    <a:lnTo>
                      <a:pt x="445" y="31"/>
                    </a:lnTo>
                    <a:lnTo>
                      <a:pt x="445" y="29"/>
                    </a:lnTo>
                    <a:lnTo>
                      <a:pt x="445" y="27"/>
                    </a:lnTo>
                    <a:lnTo>
                      <a:pt x="447" y="27"/>
                    </a:lnTo>
                    <a:lnTo>
                      <a:pt x="447" y="26"/>
                    </a:lnTo>
                    <a:lnTo>
                      <a:pt x="447" y="24"/>
                    </a:lnTo>
                    <a:lnTo>
                      <a:pt x="447" y="23"/>
                    </a:lnTo>
                    <a:lnTo>
                      <a:pt x="447" y="21"/>
                    </a:lnTo>
                    <a:lnTo>
                      <a:pt x="449" y="21"/>
                    </a:lnTo>
                    <a:lnTo>
                      <a:pt x="449" y="19"/>
                    </a:lnTo>
                    <a:lnTo>
                      <a:pt x="450" y="19"/>
                    </a:lnTo>
                    <a:lnTo>
                      <a:pt x="452" y="19"/>
                    </a:lnTo>
                    <a:lnTo>
                      <a:pt x="452" y="18"/>
                    </a:lnTo>
                    <a:lnTo>
                      <a:pt x="453" y="18"/>
                    </a:lnTo>
                    <a:lnTo>
                      <a:pt x="453" y="16"/>
                    </a:lnTo>
                    <a:lnTo>
                      <a:pt x="455" y="16"/>
                    </a:lnTo>
                    <a:lnTo>
                      <a:pt x="455" y="15"/>
                    </a:lnTo>
                    <a:lnTo>
                      <a:pt x="457" y="15"/>
                    </a:lnTo>
                    <a:lnTo>
                      <a:pt x="457" y="13"/>
                    </a:lnTo>
                    <a:lnTo>
                      <a:pt x="458" y="13"/>
                    </a:lnTo>
                    <a:lnTo>
                      <a:pt x="458" y="12"/>
                    </a:lnTo>
                    <a:lnTo>
                      <a:pt x="458" y="10"/>
                    </a:lnTo>
                    <a:lnTo>
                      <a:pt x="460" y="10"/>
                    </a:lnTo>
                    <a:lnTo>
                      <a:pt x="460" y="8"/>
                    </a:lnTo>
                    <a:lnTo>
                      <a:pt x="461" y="8"/>
                    </a:lnTo>
                    <a:lnTo>
                      <a:pt x="461" y="7"/>
                    </a:lnTo>
                    <a:lnTo>
                      <a:pt x="463" y="7"/>
                    </a:lnTo>
                    <a:lnTo>
                      <a:pt x="463" y="5"/>
                    </a:lnTo>
                    <a:lnTo>
                      <a:pt x="464" y="5"/>
                    </a:lnTo>
                    <a:lnTo>
                      <a:pt x="464" y="4"/>
                    </a:lnTo>
                    <a:lnTo>
                      <a:pt x="466" y="4"/>
                    </a:lnTo>
                    <a:lnTo>
                      <a:pt x="466" y="2"/>
                    </a:lnTo>
                    <a:lnTo>
                      <a:pt x="468" y="2"/>
                    </a:lnTo>
                    <a:lnTo>
                      <a:pt x="468" y="0"/>
                    </a:lnTo>
                    <a:lnTo>
                      <a:pt x="469" y="0"/>
                    </a:lnTo>
                  </a:path>
                </a:pathLst>
              </a:custGeom>
              <a:noFill/>
              <a:ln w="476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33" name="Freeform 31"/>
              <p:cNvSpPr>
                <a:spLocks/>
              </p:cNvSpPr>
              <p:nvPr/>
            </p:nvSpPr>
            <p:spPr bwMode="auto">
              <a:xfrm>
                <a:off x="2453" y="1963"/>
                <a:ext cx="656" cy="160"/>
              </a:xfrm>
              <a:custGeom>
                <a:avLst/>
                <a:gdLst>
                  <a:gd name="T0" fmla="*/ 13 w 656"/>
                  <a:gd name="T1" fmla="*/ 16 h 160"/>
                  <a:gd name="T2" fmla="*/ 27 w 656"/>
                  <a:gd name="T3" fmla="*/ 16 h 160"/>
                  <a:gd name="T4" fmla="*/ 24 w 656"/>
                  <a:gd name="T5" fmla="*/ 28 h 160"/>
                  <a:gd name="T6" fmla="*/ 19 w 656"/>
                  <a:gd name="T7" fmla="*/ 39 h 160"/>
                  <a:gd name="T8" fmla="*/ 24 w 656"/>
                  <a:gd name="T9" fmla="*/ 51 h 160"/>
                  <a:gd name="T10" fmla="*/ 43 w 656"/>
                  <a:gd name="T11" fmla="*/ 52 h 160"/>
                  <a:gd name="T12" fmla="*/ 49 w 656"/>
                  <a:gd name="T13" fmla="*/ 38 h 160"/>
                  <a:gd name="T14" fmla="*/ 64 w 656"/>
                  <a:gd name="T15" fmla="*/ 32 h 160"/>
                  <a:gd name="T16" fmla="*/ 73 w 656"/>
                  <a:gd name="T17" fmla="*/ 22 h 160"/>
                  <a:gd name="T18" fmla="*/ 89 w 656"/>
                  <a:gd name="T19" fmla="*/ 28 h 160"/>
                  <a:gd name="T20" fmla="*/ 103 w 656"/>
                  <a:gd name="T21" fmla="*/ 36 h 160"/>
                  <a:gd name="T22" fmla="*/ 113 w 656"/>
                  <a:gd name="T23" fmla="*/ 47 h 160"/>
                  <a:gd name="T24" fmla="*/ 124 w 656"/>
                  <a:gd name="T25" fmla="*/ 52 h 160"/>
                  <a:gd name="T26" fmla="*/ 133 w 656"/>
                  <a:gd name="T27" fmla="*/ 52 h 160"/>
                  <a:gd name="T28" fmla="*/ 146 w 656"/>
                  <a:gd name="T29" fmla="*/ 44 h 160"/>
                  <a:gd name="T30" fmla="*/ 149 w 656"/>
                  <a:gd name="T31" fmla="*/ 55 h 160"/>
                  <a:gd name="T32" fmla="*/ 159 w 656"/>
                  <a:gd name="T33" fmla="*/ 47 h 160"/>
                  <a:gd name="T34" fmla="*/ 163 w 656"/>
                  <a:gd name="T35" fmla="*/ 36 h 160"/>
                  <a:gd name="T36" fmla="*/ 173 w 656"/>
                  <a:gd name="T37" fmla="*/ 32 h 160"/>
                  <a:gd name="T38" fmla="*/ 186 w 656"/>
                  <a:gd name="T39" fmla="*/ 39 h 160"/>
                  <a:gd name="T40" fmla="*/ 206 w 656"/>
                  <a:gd name="T41" fmla="*/ 41 h 160"/>
                  <a:gd name="T42" fmla="*/ 209 w 656"/>
                  <a:gd name="T43" fmla="*/ 57 h 160"/>
                  <a:gd name="T44" fmla="*/ 208 w 656"/>
                  <a:gd name="T45" fmla="*/ 70 h 160"/>
                  <a:gd name="T46" fmla="*/ 214 w 656"/>
                  <a:gd name="T47" fmla="*/ 85 h 160"/>
                  <a:gd name="T48" fmla="*/ 231 w 656"/>
                  <a:gd name="T49" fmla="*/ 90 h 160"/>
                  <a:gd name="T50" fmla="*/ 241 w 656"/>
                  <a:gd name="T51" fmla="*/ 101 h 160"/>
                  <a:gd name="T52" fmla="*/ 254 w 656"/>
                  <a:gd name="T53" fmla="*/ 111 h 160"/>
                  <a:gd name="T54" fmla="*/ 265 w 656"/>
                  <a:gd name="T55" fmla="*/ 100 h 160"/>
                  <a:gd name="T56" fmla="*/ 281 w 656"/>
                  <a:gd name="T57" fmla="*/ 106 h 160"/>
                  <a:gd name="T58" fmla="*/ 298 w 656"/>
                  <a:gd name="T59" fmla="*/ 112 h 160"/>
                  <a:gd name="T60" fmla="*/ 314 w 656"/>
                  <a:gd name="T61" fmla="*/ 119 h 160"/>
                  <a:gd name="T62" fmla="*/ 325 w 656"/>
                  <a:gd name="T63" fmla="*/ 130 h 160"/>
                  <a:gd name="T64" fmla="*/ 334 w 656"/>
                  <a:gd name="T65" fmla="*/ 142 h 160"/>
                  <a:gd name="T66" fmla="*/ 347 w 656"/>
                  <a:gd name="T67" fmla="*/ 152 h 160"/>
                  <a:gd name="T68" fmla="*/ 357 w 656"/>
                  <a:gd name="T69" fmla="*/ 160 h 160"/>
                  <a:gd name="T70" fmla="*/ 372 w 656"/>
                  <a:gd name="T71" fmla="*/ 157 h 160"/>
                  <a:gd name="T72" fmla="*/ 382 w 656"/>
                  <a:gd name="T73" fmla="*/ 154 h 160"/>
                  <a:gd name="T74" fmla="*/ 398 w 656"/>
                  <a:gd name="T75" fmla="*/ 146 h 160"/>
                  <a:gd name="T76" fmla="*/ 407 w 656"/>
                  <a:gd name="T77" fmla="*/ 139 h 160"/>
                  <a:gd name="T78" fmla="*/ 422 w 656"/>
                  <a:gd name="T79" fmla="*/ 135 h 160"/>
                  <a:gd name="T80" fmla="*/ 430 w 656"/>
                  <a:gd name="T81" fmla="*/ 130 h 160"/>
                  <a:gd name="T82" fmla="*/ 445 w 656"/>
                  <a:gd name="T83" fmla="*/ 128 h 160"/>
                  <a:gd name="T84" fmla="*/ 460 w 656"/>
                  <a:gd name="T85" fmla="*/ 122 h 160"/>
                  <a:gd name="T86" fmla="*/ 469 w 656"/>
                  <a:gd name="T87" fmla="*/ 112 h 160"/>
                  <a:gd name="T88" fmla="*/ 480 w 656"/>
                  <a:gd name="T89" fmla="*/ 109 h 160"/>
                  <a:gd name="T90" fmla="*/ 491 w 656"/>
                  <a:gd name="T91" fmla="*/ 103 h 160"/>
                  <a:gd name="T92" fmla="*/ 504 w 656"/>
                  <a:gd name="T93" fmla="*/ 92 h 160"/>
                  <a:gd name="T94" fmla="*/ 515 w 656"/>
                  <a:gd name="T95" fmla="*/ 82 h 160"/>
                  <a:gd name="T96" fmla="*/ 529 w 656"/>
                  <a:gd name="T97" fmla="*/ 87 h 160"/>
                  <a:gd name="T98" fmla="*/ 540 w 656"/>
                  <a:gd name="T99" fmla="*/ 81 h 160"/>
                  <a:gd name="T100" fmla="*/ 545 w 656"/>
                  <a:gd name="T101" fmla="*/ 66 h 160"/>
                  <a:gd name="T102" fmla="*/ 559 w 656"/>
                  <a:gd name="T103" fmla="*/ 71 h 160"/>
                  <a:gd name="T104" fmla="*/ 570 w 656"/>
                  <a:gd name="T105" fmla="*/ 62 h 160"/>
                  <a:gd name="T106" fmla="*/ 570 w 656"/>
                  <a:gd name="T107" fmla="*/ 47 h 160"/>
                  <a:gd name="T108" fmla="*/ 580 w 656"/>
                  <a:gd name="T109" fmla="*/ 36 h 160"/>
                  <a:gd name="T110" fmla="*/ 583 w 656"/>
                  <a:gd name="T111" fmla="*/ 25 h 160"/>
                  <a:gd name="T112" fmla="*/ 586 w 656"/>
                  <a:gd name="T113" fmla="*/ 11 h 160"/>
                  <a:gd name="T114" fmla="*/ 596 w 656"/>
                  <a:gd name="T115" fmla="*/ 6 h 160"/>
                  <a:gd name="T116" fmla="*/ 615 w 656"/>
                  <a:gd name="T117" fmla="*/ 3 h 160"/>
                  <a:gd name="T118" fmla="*/ 632 w 656"/>
                  <a:gd name="T119" fmla="*/ 1 h 160"/>
                  <a:gd name="T120" fmla="*/ 645 w 656"/>
                  <a:gd name="T121" fmla="*/ 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56" h="160">
                    <a:moveTo>
                      <a:pt x="0" y="20"/>
                    </a:moveTo>
                    <a:lnTo>
                      <a:pt x="0" y="19"/>
                    </a:lnTo>
                    <a:lnTo>
                      <a:pt x="2" y="19"/>
                    </a:lnTo>
                    <a:lnTo>
                      <a:pt x="2" y="17"/>
                    </a:lnTo>
                    <a:lnTo>
                      <a:pt x="3" y="17"/>
                    </a:lnTo>
                    <a:lnTo>
                      <a:pt x="5" y="16"/>
                    </a:lnTo>
                    <a:lnTo>
                      <a:pt x="7" y="16"/>
                    </a:lnTo>
                    <a:lnTo>
                      <a:pt x="7" y="14"/>
                    </a:lnTo>
                    <a:lnTo>
                      <a:pt x="8" y="14"/>
                    </a:lnTo>
                    <a:lnTo>
                      <a:pt x="10" y="14"/>
                    </a:lnTo>
                    <a:lnTo>
                      <a:pt x="11" y="14"/>
                    </a:lnTo>
                    <a:lnTo>
                      <a:pt x="13" y="14"/>
                    </a:lnTo>
                    <a:lnTo>
                      <a:pt x="13" y="16"/>
                    </a:lnTo>
                    <a:lnTo>
                      <a:pt x="14" y="16"/>
                    </a:lnTo>
                    <a:lnTo>
                      <a:pt x="16" y="16"/>
                    </a:lnTo>
                    <a:lnTo>
                      <a:pt x="18" y="16"/>
                    </a:lnTo>
                    <a:lnTo>
                      <a:pt x="19" y="16"/>
                    </a:lnTo>
                    <a:lnTo>
                      <a:pt x="21" y="16"/>
                    </a:lnTo>
                    <a:lnTo>
                      <a:pt x="21" y="14"/>
                    </a:lnTo>
                    <a:lnTo>
                      <a:pt x="22" y="14"/>
                    </a:lnTo>
                    <a:lnTo>
                      <a:pt x="24" y="14"/>
                    </a:lnTo>
                    <a:lnTo>
                      <a:pt x="26" y="14"/>
                    </a:lnTo>
                    <a:lnTo>
                      <a:pt x="27" y="14"/>
                    </a:lnTo>
                    <a:lnTo>
                      <a:pt x="26" y="14"/>
                    </a:lnTo>
                    <a:lnTo>
                      <a:pt x="26" y="16"/>
                    </a:lnTo>
                    <a:lnTo>
                      <a:pt x="27" y="16"/>
                    </a:lnTo>
                    <a:lnTo>
                      <a:pt x="27" y="17"/>
                    </a:lnTo>
                    <a:lnTo>
                      <a:pt x="27" y="19"/>
                    </a:lnTo>
                    <a:lnTo>
                      <a:pt x="26" y="20"/>
                    </a:lnTo>
                    <a:lnTo>
                      <a:pt x="26" y="22"/>
                    </a:lnTo>
                    <a:lnTo>
                      <a:pt x="27" y="22"/>
                    </a:lnTo>
                    <a:lnTo>
                      <a:pt x="26" y="22"/>
                    </a:lnTo>
                    <a:lnTo>
                      <a:pt x="27" y="24"/>
                    </a:lnTo>
                    <a:lnTo>
                      <a:pt x="27" y="25"/>
                    </a:lnTo>
                    <a:lnTo>
                      <a:pt x="27" y="27"/>
                    </a:lnTo>
                    <a:lnTo>
                      <a:pt x="26" y="25"/>
                    </a:lnTo>
                    <a:lnTo>
                      <a:pt x="26" y="27"/>
                    </a:lnTo>
                    <a:lnTo>
                      <a:pt x="24" y="27"/>
                    </a:lnTo>
                    <a:lnTo>
                      <a:pt x="24" y="28"/>
                    </a:lnTo>
                    <a:lnTo>
                      <a:pt x="22" y="28"/>
                    </a:lnTo>
                    <a:lnTo>
                      <a:pt x="24" y="28"/>
                    </a:lnTo>
                    <a:lnTo>
                      <a:pt x="24" y="30"/>
                    </a:lnTo>
                    <a:lnTo>
                      <a:pt x="24" y="32"/>
                    </a:lnTo>
                    <a:lnTo>
                      <a:pt x="22" y="32"/>
                    </a:lnTo>
                    <a:lnTo>
                      <a:pt x="22" y="33"/>
                    </a:lnTo>
                    <a:lnTo>
                      <a:pt x="21" y="33"/>
                    </a:lnTo>
                    <a:lnTo>
                      <a:pt x="22" y="33"/>
                    </a:lnTo>
                    <a:lnTo>
                      <a:pt x="21" y="35"/>
                    </a:lnTo>
                    <a:lnTo>
                      <a:pt x="21" y="36"/>
                    </a:lnTo>
                    <a:lnTo>
                      <a:pt x="19" y="36"/>
                    </a:lnTo>
                    <a:lnTo>
                      <a:pt x="19" y="38"/>
                    </a:lnTo>
                    <a:lnTo>
                      <a:pt x="19" y="39"/>
                    </a:lnTo>
                    <a:lnTo>
                      <a:pt x="21" y="41"/>
                    </a:lnTo>
                    <a:lnTo>
                      <a:pt x="21" y="43"/>
                    </a:lnTo>
                    <a:lnTo>
                      <a:pt x="21" y="44"/>
                    </a:lnTo>
                    <a:lnTo>
                      <a:pt x="21" y="46"/>
                    </a:lnTo>
                    <a:lnTo>
                      <a:pt x="19" y="46"/>
                    </a:lnTo>
                    <a:lnTo>
                      <a:pt x="19" y="47"/>
                    </a:lnTo>
                    <a:lnTo>
                      <a:pt x="19" y="49"/>
                    </a:lnTo>
                    <a:lnTo>
                      <a:pt x="19" y="47"/>
                    </a:lnTo>
                    <a:lnTo>
                      <a:pt x="19" y="49"/>
                    </a:lnTo>
                    <a:lnTo>
                      <a:pt x="21" y="49"/>
                    </a:lnTo>
                    <a:lnTo>
                      <a:pt x="22" y="49"/>
                    </a:lnTo>
                    <a:lnTo>
                      <a:pt x="24" y="49"/>
                    </a:lnTo>
                    <a:lnTo>
                      <a:pt x="24" y="51"/>
                    </a:lnTo>
                    <a:lnTo>
                      <a:pt x="26" y="51"/>
                    </a:lnTo>
                    <a:lnTo>
                      <a:pt x="26" y="52"/>
                    </a:lnTo>
                    <a:lnTo>
                      <a:pt x="27" y="52"/>
                    </a:lnTo>
                    <a:lnTo>
                      <a:pt x="29" y="52"/>
                    </a:lnTo>
                    <a:lnTo>
                      <a:pt x="30" y="54"/>
                    </a:lnTo>
                    <a:lnTo>
                      <a:pt x="32" y="54"/>
                    </a:lnTo>
                    <a:lnTo>
                      <a:pt x="33" y="54"/>
                    </a:lnTo>
                    <a:lnTo>
                      <a:pt x="35" y="54"/>
                    </a:lnTo>
                    <a:lnTo>
                      <a:pt x="37" y="52"/>
                    </a:lnTo>
                    <a:lnTo>
                      <a:pt x="38" y="52"/>
                    </a:lnTo>
                    <a:lnTo>
                      <a:pt x="40" y="52"/>
                    </a:lnTo>
                    <a:lnTo>
                      <a:pt x="41" y="52"/>
                    </a:lnTo>
                    <a:lnTo>
                      <a:pt x="43" y="52"/>
                    </a:lnTo>
                    <a:lnTo>
                      <a:pt x="45" y="52"/>
                    </a:lnTo>
                    <a:lnTo>
                      <a:pt x="45" y="51"/>
                    </a:lnTo>
                    <a:lnTo>
                      <a:pt x="46" y="51"/>
                    </a:lnTo>
                    <a:lnTo>
                      <a:pt x="46" y="49"/>
                    </a:lnTo>
                    <a:lnTo>
                      <a:pt x="46" y="47"/>
                    </a:lnTo>
                    <a:lnTo>
                      <a:pt x="46" y="46"/>
                    </a:lnTo>
                    <a:lnTo>
                      <a:pt x="46" y="44"/>
                    </a:lnTo>
                    <a:lnTo>
                      <a:pt x="46" y="43"/>
                    </a:lnTo>
                    <a:lnTo>
                      <a:pt x="46" y="41"/>
                    </a:lnTo>
                    <a:lnTo>
                      <a:pt x="46" y="39"/>
                    </a:lnTo>
                    <a:lnTo>
                      <a:pt x="48" y="39"/>
                    </a:lnTo>
                    <a:lnTo>
                      <a:pt x="48" y="38"/>
                    </a:lnTo>
                    <a:lnTo>
                      <a:pt x="49" y="38"/>
                    </a:lnTo>
                    <a:lnTo>
                      <a:pt x="51" y="38"/>
                    </a:lnTo>
                    <a:lnTo>
                      <a:pt x="53" y="38"/>
                    </a:lnTo>
                    <a:lnTo>
                      <a:pt x="53" y="36"/>
                    </a:lnTo>
                    <a:lnTo>
                      <a:pt x="54" y="36"/>
                    </a:lnTo>
                    <a:lnTo>
                      <a:pt x="54" y="35"/>
                    </a:lnTo>
                    <a:lnTo>
                      <a:pt x="56" y="35"/>
                    </a:lnTo>
                    <a:lnTo>
                      <a:pt x="57" y="35"/>
                    </a:lnTo>
                    <a:lnTo>
                      <a:pt x="57" y="33"/>
                    </a:lnTo>
                    <a:lnTo>
                      <a:pt x="59" y="33"/>
                    </a:lnTo>
                    <a:lnTo>
                      <a:pt x="60" y="33"/>
                    </a:lnTo>
                    <a:lnTo>
                      <a:pt x="60" y="32"/>
                    </a:lnTo>
                    <a:lnTo>
                      <a:pt x="62" y="32"/>
                    </a:lnTo>
                    <a:lnTo>
                      <a:pt x="64" y="32"/>
                    </a:lnTo>
                    <a:lnTo>
                      <a:pt x="64" y="30"/>
                    </a:lnTo>
                    <a:lnTo>
                      <a:pt x="65" y="30"/>
                    </a:lnTo>
                    <a:lnTo>
                      <a:pt x="67" y="30"/>
                    </a:lnTo>
                    <a:lnTo>
                      <a:pt x="67" y="28"/>
                    </a:lnTo>
                    <a:lnTo>
                      <a:pt x="68" y="28"/>
                    </a:lnTo>
                    <a:lnTo>
                      <a:pt x="70" y="28"/>
                    </a:lnTo>
                    <a:lnTo>
                      <a:pt x="68" y="27"/>
                    </a:lnTo>
                    <a:lnTo>
                      <a:pt x="68" y="25"/>
                    </a:lnTo>
                    <a:lnTo>
                      <a:pt x="70" y="25"/>
                    </a:lnTo>
                    <a:lnTo>
                      <a:pt x="70" y="24"/>
                    </a:lnTo>
                    <a:lnTo>
                      <a:pt x="72" y="24"/>
                    </a:lnTo>
                    <a:lnTo>
                      <a:pt x="73" y="24"/>
                    </a:lnTo>
                    <a:lnTo>
                      <a:pt x="73" y="22"/>
                    </a:lnTo>
                    <a:lnTo>
                      <a:pt x="75" y="22"/>
                    </a:lnTo>
                    <a:lnTo>
                      <a:pt x="76" y="22"/>
                    </a:lnTo>
                    <a:lnTo>
                      <a:pt x="78" y="22"/>
                    </a:lnTo>
                    <a:lnTo>
                      <a:pt x="79" y="22"/>
                    </a:lnTo>
                    <a:lnTo>
                      <a:pt x="81" y="22"/>
                    </a:lnTo>
                    <a:lnTo>
                      <a:pt x="83" y="22"/>
                    </a:lnTo>
                    <a:lnTo>
                      <a:pt x="83" y="24"/>
                    </a:lnTo>
                    <a:lnTo>
                      <a:pt x="84" y="24"/>
                    </a:lnTo>
                    <a:lnTo>
                      <a:pt x="84" y="25"/>
                    </a:lnTo>
                    <a:lnTo>
                      <a:pt x="86" y="25"/>
                    </a:lnTo>
                    <a:lnTo>
                      <a:pt x="86" y="27"/>
                    </a:lnTo>
                    <a:lnTo>
                      <a:pt x="87" y="27"/>
                    </a:lnTo>
                    <a:lnTo>
                      <a:pt x="89" y="28"/>
                    </a:lnTo>
                    <a:lnTo>
                      <a:pt x="91" y="28"/>
                    </a:lnTo>
                    <a:lnTo>
                      <a:pt x="91" y="30"/>
                    </a:lnTo>
                    <a:lnTo>
                      <a:pt x="92" y="30"/>
                    </a:lnTo>
                    <a:lnTo>
                      <a:pt x="94" y="32"/>
                    </a:lnTo>
                    <a:lnTo>
                      <a:pt x="95" y="32"/>
                    </a:lnTo>
                    <a:lnTo>
                      <a:pt x="97" y="32"/>
                    </a:lnTo>
                    <a:lnTo>
                      <a:pt x="97" y="33"/>
                    </a:lnTo>
                    <a:lnTo>
                      <a:pt x="98" y="33"/>
                    </a:lnTo>
                    <a:lnTo>
                      <a:pt x="100" y="33"/>
                    </a:lnTo>
                    <a:lnTo>
                      <a:pt x="100" y="35"/>
                    </a:lnTo>
                    <a:lnTo>
                      <a:pt x="102" y="35"/>
                    </a:lnTo>
                    <a:lnTo>
                      <a:pt x="103" y="35"/>
                    </a:lnTo>
                    <a:lnTo>
                      <a:pt x="103" y="36"/>
                    </a:lnTo>
                    <a:lnTo>
                      <a:pt x="105" y="36"/>
                    </a:lnTo>
                    <a:lnTo>
                      <a:pt x="106" y="36"/>
                    </a:lnTo>
                    <a:lnTo>
                      <a:pt x="106" y="38"/>
                    </a:lnTo>
                    <a:lnTo>
                      <a:pt x="108" y="38"/>
                    </a:lnTo>
                    <a:lnTo>
                      <a:pt x="110" y="39"/>
                    </a:lnTo>
                    <a:lnTo>
                      <a:pt x="111" y="39"/>
                    </a:lnTo>
                    <a:lnTo>
                      <a:pt x="113" y="39"/>
                    </a:lnTo>
                    <a:lnTo>
                      <a:pt x="114" y="41"/>
                    </a:lnTo>
                    <a:lnTo>
                      <a:pt x="114" y="43"/>
                    </a:lnTo>
                    <a:lnTo>
                      <a:pt x="114" y="44"/>
                    </a:lnTo>
                    <a:lnTo>
                      <a:pt x="114" y="46"/>
                    </a:lnTo>
                    <a:lnTo>
                      <a:pt x="114" y="47"/>
                    </a:lnTo>
                    <a:lnTo>
                      <a:pt x="113" y="47"/>
                    </a:lnTo>
                    <a:lnTo>
                      <a:pt x="113" y="49"/>
                    </a:lnTo>
                    <a:lnTo>
                      <a:pt x="113" y="51"/>
                    </a:lnTo>
                    <a:lnTo>
                      <a:pt x="113" y="52"/>
                    </a:lnTo>
                    <a:lnTo>
                      <a:pt x="114" y="52"/>
                    </a:lnTo>
                    <a:lnTo>
                      <a:pt x="116" y="52"/>
                    </a:lnTo>
                    <a:lnTo>
                      <a:pt x="116" y="54"/>
                    </a:lnTo>
                    <a:lnTo>
                      <a:pt x="117" y="54"/>
                    </a:lnTo>
                    <a:lnTo>
                      <a:pt x="119" y="54"/>
                    </a:lnTo>
                    <a:lnTo>
                      <a:pt x="119" y="52"/>
                    </a:lnTo>
                    <a:lnTo>
                      <a:pt x="121" y="52"/>
                    </a:lnTo>
                    <a:lnTo>
                      <a:pt x="121" y="54"/>
                    </a:lnTo>
                    <a:lnTo>
                      <a:pt x="122" y="52"/>
                    </a:lnTo>
                    <a:lnTo>
                      <a:pt x="124" y="52"/>
                    </a:lnTo>
                    <a:lnTo>
                      <a:pt x="125" y="52"/>
                    </a:lnTo>
                    <a:lnTo>
                      <a:pt x="127" y="52"/>
                    </a:lnTo>
                    <a:lnTo>
                      <a:pt x="127" y="51"/>
                    </a:lnTo>
                    <a:lnTo>
                      <a:pt x="129" y="51"/>
                    </a:lnTo>
                    <a:lnTo>
                      <a:pt x="129" y="49"/>
                    </a:lnTo>
                    <a:lnTo>
                      <a:pt x="130" y="49"/>
                    </a:lnTo>
                    <a:lnTo>
                      <a:pt x="130" y="47"/>
                    </a:lnTo>
                    <a:lnTo>
                      <a:pt x="132" y="47"/>
                    </a:lnTo>
                    <a:lnTo>
                      <a:pt x="132" y="49"/>
                    </a:lnTo>
                    <a:lnTo>
                      <a:pt x="132" y="51"/>
                    </a:lnTo>
                    <a:lnTo>
                      <a:pt x="133" y="52"/>
                    </a:lnTo>
                    <a:lnTo>
                      <a:pt x="132" y="52"/>
                    </a:lnTo>
                    <a:lnTo>
                      <a:pt x="133" y="52"/>
                    </a:lnTo>
                    <a:lnTo>
                      <a:pt x="133" y="51"/>
                    </a:lnTo>
                    <a:lnTo>
                      <a:pt x="135" y="51"/>
                    </a:lnTo>
                    <a:lnTo>
                      <a:pt x="135" y="49"/>
                    </a:lnTo>
                    <a:lnTo>
                      <a:pt x="135" y="47"/>
                    </a:lnTo>
                    <a:lnTo>
                      <a:pt x="136" y="47"/>
                    </a:lnTo>
                    <a:lnTo>
                      <a:pt x="136" y="46"/>
                    </a:lnTo>
                    <a:lnTo>
                      <a:pt x="138" y="46"/>
                    </a:lnTo>
                    <a:lnTo>
                      <a:pt x="140" y="46"/>
                    </a:lnTo>
                    <a:lnTo>
                      <a:pt x="140" y="44"/>
                    </a:lnTo>
                    <a:lnTo>
                      <a:pt x="141" y="44"/>
                    </a:lnTo>
                    <a:lnTo>
                      <a:pt x="143" y="44"/>
                    </a:lnTo>
                    <a:lnTo>
                      <a:pt x="144" y="44"/>
                    </a:lnTo>
                    <a:lnTo>
                      <a:pt x="146" y="44"/>
                    </a:lnTo>
                    <a:lnTo>
                      <a:pt x="146" y="46"/>
                    </a:lnTo>
                    <a:lnTo>
                      <a:pt x="144" y="46"/>
                    </a:lnTo>
                    <a:lnTo>
                      <a:pt x="146" y="46"/>
                    </a:lnTo>
                    <a:lnTo>
                      <a:pt x="146" y="47"/>
                    </a:lnTo>
                    <a:lnTo>
                      <a:pt x="146" y="49"/>
                    </a:lnTo>
                    <a:lnTo>
                      <a:pt x="146" y="51"/>
                    </a:lnTo>
                    <a:lnTo>
                      <a:pt x="148" y="51"/>
                    </a:lnTo>
                    <a:lnTo>
                      <a:pt x="148" y="52"/>
                    </a:lnTo>
                    <a:lnTo>
                      <a:pt x="148" y="54"/>
                    </a:lnTo>
                    <a:lnTo>
                      <a:pt x="148" y="55"/>
                    </a:lnTo>
                    <a:lnTo>
                      <a:pt x="148" y="57"/>
                    </a:lnTo>
                    <a:lnTo>
                      <a:pt x="149" y="57"/>
                    </a:lnTo>
                    <a:lnTo>
                      <a:pt x="149" y="55"/>
                    </a:lnTo>
                    <a:lnTo>
                      <a:pt x="151" y="55"/>
                    </a:lnTo>
                    <a:lnTo>
                      <a:pt x="151" y="54"/>
                    </a:lnTo>
                    <a:lnTo>
                      <a:pt x="151" y="55"/>
                    </a:lnTo>
                    <a:lnTo>
                      <a:pt x="152" y="55"/>
                    </a:lnTo>
                    <a:lnTo>
                      <a:pt x="152" y="54"/>
                    </a:lnTo>
                    <a:lnTo>
                      <a:pt x="152" y="52"/>
                    </a:lnTo>
                    <a:lnTo>
                      <a:pt x="154" y="52"/>
                    </a:lnTo>
                    <a:lnTo>
                      <a:pt x="154" y="51"/>
                    </a:lnTo>
                    <a:lnTo>
                      <a:pt x="155" y="51"/>
                    </a:lnTo>
                    <a:lnTo>
                      <a:pt x="157" y="51"/>
                    </a:lnTo>
                    <a:lnTo>
                      <a:pt x="157" y="49"/>
                    </a:lnTo>
                    <a:lnTo>
                      <a:pt x="157" y="47"/>
                    </a:lnTo>
                    <a:lnTo>
                      <a:pt x="159" y="47"/>
                    </a:lnTo>
                    <a:lnTo>
                      <a:pt x="159" y="46"/>
                    </a:lnTo>
                    <a:lnTo>
                      <a:pt x="159" y="44"/>
                    </a:lnTo>
                    <a:lnTo>
                      <a:pt x="159" y="43"/>
                    </a:lnTo>
                    <a:lnTo>
                      <a:pt x="160" y="43"/>
                    </a:lnTo>
                    <a:lnTo>
                      <a:pt x="160" y="44"/>
                    </a:lnTo>
                    <a:lnTo>
                      <a:pt x="160" y="43"/>
                    </a:lnTo>
                    <a:lnTo>
                      <a:pt x="160" y="41"/>
                    </a:lnTo>
                    <a:lnTo>
                      <a:pt x="159" y="41"/>
                    </a:lnTo>
                    <a:lnTo>
                      <a:pt x="159" y="39"/>
                    </a:lnTo>
                    <a:lnTo>
                      <a:pt x="160" y="39"/>
                    </a:lnTo>
                    <a:lnTo>
                      <a:pt x="160" y="38"/>
                    </a:lnTo>
                    <a:lnTo>
                      <a:pt x="162" y="38"/>
                    </a:lnTo>
                    <a:lnTo>
                      <a:pt x="163" y="36"/>
                    </a:lnTo>
                    <a:lnTo>
                      <a:pt x="163" y="35"/>
                    </a:lnTo>
                    <a:lnTo>
                      <a:pt x="163" y="33"/>
                    </a:lnTo>
                    <a:lnTo>
                      <a:pt x="163" y="32"/>
                    </a:lnTo>
                    <a:lnTo>
                      <a:pt x="165" y="32"/>
                    </a:lnTo>
                    <a:lnTo>
                      <a:pt x="163" y="32"/>
                    </a:lnTo>
                    <a:lnTo>
                      <a:pt x="163" y="30"/>
                    </a:lnTo>
                    <a:lnTo>
                      <a:pt x="165" y="30"/>
                    </a:lnTo>
                    <a:lnTo>
                      <a:pt x="167" y="30"/>
                    </a:lnTo>
                    <a:lnTo>
                      <a:pt x="168" y="30"/>
                    </a:lnTo>
                    <a:lnTo>
                      <a:pt x="170" y="30"/>
                    </a:lnTo>
                    <a:lnTo>
                      <a:pt x="171" y="30"/>
                    </a:lnTo>
                    <a:lnTo>
                      <a:pt x="173" y="30"/>
                    </a:lnTo>
                    <a:lnTo>
                      <a:pt x="173" y="32"/>
                    </a:lnTo>
                    <a:lnTo>
                      <a:pt x="174" y="32"/>
                    </a:lnTo>
                    <a:lnTo>
                      <a:pt x="174" y="33"/>
                    </a:lnTo>
                    <a:lnTo>
                      <a:pt x="176" y="33"/>
                    </a:lnTo>
                    <a:lnTo>
                      <a:pt x="176" y="35"/>
                    </a:lnTo>
                    <a:lnTo>
                      <a:pt x="178" y="35"/>
                    </a:lnTo>
                    <a:lnTo>
                      <a:pt x="178" y="36"/>
                    </a:lnTo>
                    <a:lnTo>
                      <a:pt x="179" y="36"/>
                    </a:lnTo>
                    <a:lnTo>
                      <a:pt x="181" y="36"/>
                    </a:lnTo>
                    <a:lnTo>
                      <a:pt x="181" y="38"/>
                    </a:lnTo>
                    <a:lnTo>
                      <a:pt x="182" y="38"/>
                    </a:lnTo>
                    <a:lnTo>
                      <a:pt x="184" y="38"/>
                    </a:lnTo>
                    <a:lnTo>
                      <a:pt x="186" y="38"/>
                    </a:lnTo>
                    <a:lnTo>
                      <a:pt x="186" y="39"/>
                    </a:lnTo>
                    <a:lnTo>
                      <a:pt x="187" y="39"/>
                    </a:lnTo>
                    <a:lnTo>
                      <a:pt x="189" y="39"/>
                    </a:lnTo>
                    <a:lnTo>
                      <a:pt x="190" y="39"/>
                    </a:lnTo>
                    <a:lnTo>
                      <a:pt x="192" y="41"/>
                    </a:lnTo>
                    <a:lnTo>
                      <a:pt x="193" y="41"/>
                    </a:lnTo>
                    <a:lnTo>
                      <a:pt x="195" y="41"/>
                    </a:lnTo>
                    <a:lnTo>
                      <a:pt x="197" y="41"/>
                    </a:lnTo>
                    <a:lnTo>
                      <a:pt x="198" y="41"/>
                    </a:lnTo>
                    <a:lnTo>
                      <a:pt x="200" y="41"/>
                    </a:lnTo>
                    <a:lnTo>
                      <a:pt x="201" y="41"/>
                    </a:lnTo>
                    <a:lnTo>
                      <a:pt x="203" y="41"/>
                    </a:lnTo>
                    <a:lnTo>
                      <a:pt x="205" y="41"/>
                    </a:lnTo>
                    <a:lnTo>
                      <a:pt x="206" y="41"/>
                    </a:lnTo>
                    <a:lnTo>
                      <a:pt x="208" y="43"/>
                    </a:lnTo>
                    <a:lnTo>
                      <a:pt x="209" y="43"/>
                    </a:lnTo>
                    <a:lnTo>
                      <a:pt x="209" y="44"/>
                    </a:lnTo>
                    <a:lnTo>
                      <a:pt x="211" y="44"/>
                    </a:lnTo>
                    <a:lnTo>
                      <a:pt x="212" y="46"/>
                    </a:lnTo>
                    <a:lnTo>
                      <a:pt x="212" y="47"/>
                    </a:lnTo>
                    <a:lnTo>
                      <a:pt x="212" y="49"/>
                    </a:lnTo>
                    <a:lnTo>
                      <a:pt x="212" y="51"/>
                    </a:lnTo>
                    <a:lnTo>
                      <a:pt x="211" y="52"/>
                    </a:lnTo>
                    <a:lnTo>
                      <a:pt x="211" y="54"/>
                    </a:lnTo>
                    <a:lnTo>
                      <a:pt x="209" y="54"/>
                    </a:lnTo>
                    <a:lnTo>
                      <a:pt x="209" y="55"/>
                    </a:lnTo>
                    <a:lnTo>
                      <a:pt x="209" y="57"/>
                    </a:lnTo>
                    <a:lnTo>
                      <a:pt x="208" y="57"/>
                    </a:lnTo>
                    <a:lnTo>
                      <a:pt x="208" y="58"/>
                    </a:lnTo>
                    <a:lnTo>
                      <a:pt x="206" y="58"/>
                    </a:lnTo>
                    <a:lnTo>
                      <a:pt x="206" y="60"/>
                    </a:lnTo>
                    <a:lnTo>
                      <a:pt x="206" y="62"/>
                    </a:lnTo>
                    <a:lnTo>
                      <a:pt x="205" y="62"/>
                    </a:lnTo>
                    <a:lnTo>
                      <a:pt x="203" y="63"/>
                    </a:lnTo>
                    <a:lnTo>
                      <a:pt x="203" y="65"/>
                    </a:lnTo>
                    <a:lnTo>
                      <a:pt x="205" y="66"/>
                    </a:lnTo>
                    <a:lnTo>
                      <a:pt x="205" y="68"/>
                    </a:lnTo>
                    <a:lnTo>
                      <a:pt x="206" y="68"/>
                    </a:lnTo>
                    <a:lnTo>
                      <a:pt x="206" y="70"/>
                    </a:lnTo>
                    <a:lnTo>
                      <a:pt x="208" y="70"/>
                    </a:lnTo>
                    <a:lnTo>
                      <a:pt x="208" y="71"/>
                    </a:lnTo>
                    <a:lnTo>
                      <a:pt x="208" y="73"/>
                    </a:lnTo>
                    <a:lnTo>
                      <a:pt x="208" y="74"/>
                    </a:lnTo>
                    <a:lnTo>
                      <a:pt x="209" y="76"/>
                    </a:lnTo>
                    <a:lnTo>
                      <a:pt x="209" y="77"/>
                    </a:lnTo>
                    <a:lnTo>
                      <a:pt x="209" y="79"/>
                    </a:lnTo>
                    <a:lnTo>
                      <a:pt x="211" y="79"/>
                    </a:lnTo>
                    <a:lnTo>
                      <a:pt x="211" y="81"/>
                    </a:lnTo>
                    <a:lnTo>
                      <a:pt x="211" y="82"/>
                    </a:lnTo>
                    <a:lnTo>
                      <a:pt x="212" y="82"/>
                    </a:lnTo>
                    <a:lnTo>
                      <a:pt x="212" y="84"/>
                    </a:lnTo>
                    <a:lnTo>
                      <a:pt x="214" y="84"/>
                    </a:lnTo>
                    <a:lnTo>
                      <a:pt x="214" y="85"/>
                    </a:lnTo>
                    <a:lnTo>
                      <a:pt x="216" y="85"/>
                    </a:lnTo>
                    <a:lnTo>
                      <a:pt x="216" y="87"/>
                    </a:lnTo>
                    <a:lnTo>
                      <a:pt x="217" y="87"/>
                    </a:lnTo>
                    <a:lnTo>
                      <a:pt x="217" y="89"/>
                    </a:lnTo>
                    <a:lnTo>
                      <a:pt x="219" y="89"/>
                    </a:lnTo>
                    <a:lnTo>
                      <a:pt x="220" y="89"/>
                    </a:lnTo>
                    <a:lnTo>
                      <a:pt x="222" y="90"/>
                    </a:lnTo>
                    <a:lnTo>
                      <a:pt x="224" y="90"/>
                    </a:lnTo>
                    <a:lnTo>
                      <a:pt x="225" y="90"/>
                    </a:lnTo>
                    <a:lnTo>
                      <a:pt x="227" y="90"/>
                    </a:lnTo>
                    <a:lnTo>
                      <a:pt x="228" y="90"/>
                    </a:lnTo>
                    <a:lnTo>
                      <a:pt x="230" y="90"/>
                    </a:lnTo>
                    <a:lnTo>
                      <a:pt x="231" y="90"/>
                    </a:lnTo>
                    <a:lnTo>
                      <a:pt x="233" y="90"/>
                    </a:lnTo>
                    <a:lnTo>
                      <a:pt x="233" y="92"/>
                    </a:lnTo>
                    <a:lnTo>
                      <a:pt x="235" y="92"/>
                    </a:lnTo>
                    <a:lnTo>
                      <a:pt x="235" y="93"/>
                    </a:lnTo>
                    <a:lnTo>
                      <a:pt x="236" y="93"/>
                    </a:lnTo>
                    <a:lnTo>
                      <a:pt x="238" y="93"/>
                    </a:lnTo>
                    <a:lnTo>
                      <a:pt x="238" y="95"/>
                    </a:lnTo>
                    <a:lnTo>
                      <a:pt x="239" y="95"/>
                    </a:lnTo>
                    <a:lnTo>
                      <a:pt x="239" y="97"/>
                    </a:lnTo>
                    <a:lnTo>
                      <a:pt x="241" y="97"/>
                    </a:lnTo>
                    <a:lnTo>
                      <a:pt x="241" y="98"/>
                    </a:lnTo>
                    <a:lnTo>
                      <a:pt x="241" y="100"/>
                    </a:lnTo>
                    <a:lnTo>
                      <a:pt x="241" y="101"/>
                    </a:lnTo>
                    <a:lnTo>
                      <a:pt x="243" y="101"/>
                    </a:lnTo>
                    <a:lnTo>
                      <a:pt x="243" y="103"/>
                    </a:lnTo>
                    <a:lnTo>
                      <a:pt x="243" y="104"/>
                    </a:lnTo>
                    <a:lnTo>
                      <a:pt x="244" y="104"/>
                    </a:lnTo>
                    <a:lnTo>
                      <a:pt x="244" y="106"/>
                    </a:lnTo>
                    <a:lnTo>
                      <a:pt x="246" y="106"/>
                    </a:lnTo>
                    <a:lnTo>
                      <a:pt x="247" y="108"/>
                    </a:lnTo>
                    <a:lnTo>
                      <a:pt x="247" y="109"/>
                    </a:lnTo>
                    <a:lnTo>
                      <a:pt x="249" y="109"/>
                    </a:lnTo>
                    <a:lnTo>
                      <a:pt x="249" y="111"/>
                    </a:lnTo>
                    <a:lnTo>
                      <a:pt x="251" y="111"/>
                    </a:lnTo>
                    <a:lnTo>
                      <a:pt x="252" y="111"/>
                    </a:lnTo>
                    <a:lnTo>
                      <a:pt x="254" y="111"/>
                    </a:lnTo>
                    <a:lnTo>
                      <a:pt x="255" y="111"/>
                    </a:lnTo>
                    <a:lnTo>
                      <a:pt x="255" y="109"/>
                    </a:lnTo>
                    <a:lnTo>
                      <a:pt x="257" y="109"/>
                    </a:lnTo>
                    <a:lnTo>
                      <a:pt x="257" y="108"/>
                    </a:lnTo>
                    <a:lnTo>
                      <a:pt x="257" y="106"/>
                    </a:lnTo>
                    <a:lnTo>
                      <a:pt x="257" y="104"/>
                    </a:lnTo>
                    <a:lnTo>
                      <a:pt x="258" y="103"/>
                    </a:lnTo>
                    <a:lnTo>
                      <a:pt x="258" y="101"/>
                    </a:lnTo>
                    <a:lnTo>
                      <a:pt x="260" y="100"/>
                    </a:lnTo>
                    <a:lnTo>
                      <a:pt x="262" y="100"/>
                    </a:lnTo>
                    <a:lnTo>
                      <a:pt x="263" y="101"/>
                    </a:lnTo>
                    <a:lnTo>
                      <a:pt x="265" y="101"/>
                    </a:lnTo>
                    <a:lnTo>
                      <a:pt x="265" y="100"/>
                    </a:lnTo>
                    <a:lnTo>
                      <a:pt x="266" y="100"/>
                    </a:lnTo>
                    <a:lnTo>
                      <a:pt x="268" y="100"/>
                    </a:lnTo>
                    <a:lnTo>
                      <a:pt x="270" y="100"/>
                    </a:lnTo>
                    <a:lnTo>
                      <a:pt x="271" y="100"/>
                    </a:lnTo>
                    <a:lnTo>
                      <a:pt x="273" y="100"/>
                    </a:lnTo>
                    <a:lnTo>
                      <a:pt x="273" y="101"/>
                    </a:lnTo>
                    <a:lnTo>
                      <a:pt x="274" y="101"/>
                    </a:lnTo>
                    <a:lnTo>
                      <a:pt x="276" y="101"/>
                    </a:lnTo>
                    <a:lnTo>
                      <a:pt x="276" y="103"/>
                    </a:lnTo>
                    <a:lnTo>
                      <a:pt x="277" y="103"/>
                    </a:lnTo>
                    <a:lnTo>
                      <a:pt x="279" y="104"/>
                    </a:lnTo>
                    <a:lnTo>
                      <a:pt x="281" y="104"/>
                    </a:lnTo>
                    <a:lnTo>
                      <a:pt x="281" y="106"/>
                    </a:lnTo>
                    <a:lnTo>
                      <a:pt x="282" y="108"/>
                    </a:lnTo>
                    <a:lnTo>
                      <a:pt x="284" y="109"/>
                    </a:lnTo>
                    <a:lnTo>
                      <a:pt x="285" y="109"/>
                    </a:lnTo>
                    <a:lnTo>
                      <a:pt x="287" y="109"/>
                    </a:lnTo>
                    <a:lnTo>
                      <a:pt x="289" y="109"/>
                    </a:lnTo>
                    <a:lnTo>
                      <a:pt x="290" y="109"/>
                    </a:lnTo>
                    <a:lnTo>
                      <a:pt x="292" y="109"/>
                    </a:lnTo>
                    <a:lnTo>
                      <a:pt x="293" y="109"/>
                    </a:lnTo>
                    <a:lnTo>
                      <a:pt x="293" y="111"/>
                    </a:lnTo>
                    <a:lnTo>
                      <a:pt x="295" y="111"/>
                    </a:lnTo>
                    <a:lnTo>
                      <a:pt x="295" y="112"/>
                    </a:lnTo>
                    <a:lnTo>
                      <a:pt x="296" y="112"/>
                    </a:lnTo>
                    <a:lnTo>
                      <a:pt x="298" y="112"/>
                    </a:lnTo>
                    <a:lnTo>
                      <a:pt x="300" y="112"/>
                    </a:lnTo>
                    <a:lnTo>
                      <a:pt x="301" y="114"/>
                    </a:lnTo>
                    <a:lnTo>
                      <a:pt x="303" y="114"/>
                    </a:lnTo>
                    <a:lnTo>
                      <a:pt x="303" y="112"/>
                    </a:lnTo>
                    <a:lnTo>
                      <a:pt x="304" y="112"/>
                    </a:lnTo>
                    <a:lnTo>
                      <a:pt x="306" y="112"/>
                    </a:lnTo>
                    <a:lnTo>
                      <a:pt x="308" y="112"/>
                    </a:lnTo>
                    <a:lnTo>
                      <a:pt x="308" y="114"/>
                    </a:lnTo>
                    <a:lnTo>
                      <a:pt x="309" y="114"/>
                    </a:lnTo>
                    <a:lnTo>
                      <a:pt x="311" y="116"/>
                    </a:lnTo>
                    <a:lnTo>
                      <a:pt x="312" y="117"/>
                    </a:lnTo>
                    <a:lnTo>
                      <a:pt x="312" y="119"/>
                    </a:lnTo>
                    <a:lnTo>
                      <a:pt x="314" y="119"/>
                    </a:lnTo>
                    <a:lnTo>
                      <a:pt x="314" y="120"/>
                    </a:lnTo>
                    <a:lnTo>
                      <a:pt x="315" y="120"/>
                    </a:lnTo>
                    <a:lnTo>
                      <a:pt x="315" y="122"/>
                    </a:lnTo>
                    <a:lnTo>
                      <a:pt x="315" y="123"/>
                    </a:lnTo>
                    <a:lnTo>
                      <a:pt x="315" y="125"/>
                    </a:lnTo>
                    <a:lnTo>
                      <a:pt x="317" y="125"/>
                    </a:lnTo>
                    <a:lnTo>
                      <a:pt x="317" y="127"/>
                    </a:lnTo>
                    <a:lnTo>
                      <a:pt x="319" y="127"/>
                    </a:lnTo>
                    <a:lnTo>
                      <a:pt x="319" y="128"/>
                    </a:lnTo>
                    <a:lnTo>
                      <a:pt x="320" y="128"/>
                    </a:lnTo>
                    <a:lnTo>
                      <a:pt x="322" y="130"/>
                    </a:lnTo>
                    <a:lnTo>
                      <a:pt x="323" y="130"/>
                    </a:lnTo>
                    <a:lnTo>
                      <a:pt x="325" y="130"/>
                    </a:lnTo>
                    <a:lnTo>
                      <a:pt x="327" y="130"/>
                    </a:lnTo>
                    <a:lnTo>
                      <a:pt x="327" y="131"/>
                    </a:lnTo>
                    <a:lnTo>
                      <a:pt x="327" y="133"/>
                    </a:lnTo>
                    <a:lnTo>
                      <a:pt x="327" y="135"/>
                    </a:lnTo>
                    <a:lnTo>
                      <a:pt x="327" y="136"/>
                    </a:lnTo>
                    <a:lnTo>
                      <a:pt x="328" y="136"/>
                    </a:lnTo>
                    <a:lnTo>
                      <a:pt x="330" y="136"/>
                    </a:lnTo>
                    <a:lnTo>
                      <a:pt x="330" y="138"/>
                    </a:lnTo>
                    <a:lnTo>
                      <a:pt x="331" y="138"/>
                    </a:lnTo>
                    <a:lnTo>
                      <a:pt x="333" y="139"/>
                    </a:lnTo>
                    <a:lnTo>
                      <a:pt x="334" y="139"/>
                    </a:lnTo>
                    <a:lnTo>
                      <a:pt x="334" y="141"/>
                    </a:lnTo>
                    <a:lnTo>
                      <a:pt x="334" y="142"/>
                    </a:lnTo>
                    <a:lnTo>
                      <a:pt x="334" y="144"/>
                    </a:lnTo>
                    <a:lnTo>
                      <a:pt x="336" y="144"/>
                    </a:lnTo>
                    <a:lnTo>
                      <a:pt x="336" y="146"/>
                    </a:lnTo>
                    <a:lnTo>
                      <a:pt x="338" y="146"/>
                    </a:lnTo>
                    <a:lnTo>
                      <a:pt x="339" y="146"/>
                    </a:lnTo>
                    <a:lnTo>
                      <a:pt x="341" y="146"/>
                    </a:lnTo>
                    <a:lnTo>
                      <a:pt x="341" y="147"/>
                    </a:lnTo>
                    <a:lnTo>
                      <a:pt x="342" y="147"/>
                    </a:lnTo>
                    <a:lnTo>
                      <a:pt x="342" y="149"/>
                    </a:lnTo>
                    <a:lnTo>
                      <a:pt x="344" y="149"/>
                    </a:lnTo>
                    <a:lnTo>
                      <a:pt x="344" y="150"/>
                    </a:lnTo>
                    <a:lnTo>
                      <a:pt x="346" y="152"/>
                    </a:lnTo>
                    <a:lnTo>
                      <a:pt x="347" y="152"/>
                    </a:lnTo>
                    <a:lnTo>
                      <a:pt x="347" y="154"/>
                    </a:lnTo>
                    <a:lnTo>
                      <a:pt x="349" y="154"/>
                    </a:lnTo>
                    <a:lnTo>
                      <a:pt x="350" y="154"/>
                    </a:lnTo>
                    <a:lnTo>
                      <a:pt x="352" y="152"/>
                    </a:lnTo>
                    <a:lnTo>
                      <a:pt x="352" y="154"/>
                    </a:lnTo>
                    <a:lnTo>
                      <a:pt x="352" y="152"/>
                    </a:lnTo>
                    <a:lnTo>
                      <a:pt x="352" y="154"/>
                    </a:lnTo>
                    <a:lnTo>
                      <a:pt x="353" y="154"/>
                    </a:lnTo>
                    <a:lnTo>
                      <a:pt x="355" y="155"/>
                    </a:lnTo>
                    <a:lnTo>
                      <a:pt x="355" y="157"/>
                    </a:lnTo>
                    <a:lnTo>
                      <a:pt x="357" y="157"/>
                    </a:lnTo>
                    <a:lnTo>
                      <a:pt x="357" y="158"/>
                    </a:lnTo>
                    <a:lnTo>
                      <a:pt x="357" y="160"/>
                    </a:lnTo>
                    <a:lnTo>
                      <a:pt x="358" y="160"/>
                    </a:lnTo>
                    <a:lnTo>
                      <a:pt x="360" y="160"/>
                    </a:lnTo>
                    <a:lnTo>
                      <a:pt x="361" y="158"/>
                    </a:lnTo>
                    <a:lnTo>
                      <a:pt x="363" y="158"/>
                    </a:lnTo>
                    <a:lnTo>
                      <a:pt x="365" y="158"/>
                    </a:lnTo>
                    <a:lnTo>
                      <a:pt x="366" y="158"/>
                    </a:lnTo>
                    <a:lnTo>
                      <a:pt x="368" y="158"/>
                    </a:lnTo>
                    <a:lnTo>
                      <a:pt x="369" y="158"/>
                    </a:lnTo>
                    <a:lnTo>
                      <a:pt x="369" y="160"/>
                    </a:lnTo>
                    <a:lnTo>
                      <a:pt x="371" y="160"/>
                    </a:lnTo>
                    <a:lnTo>
                      <a:pt x="371" y="158"/>
                    </a:lnTo>
                    <a:lnTo>
                      <a:pt x="372" y="158"/>
                    </a:lnTo>
                    <a:lnTo>
                      <a:pt x="372" y="157"/>
                    </a:lnTo>
                    <a:lnTo>
                      <a:pt x="372" y="155"/>
                    </a:lnTo>
                    <a:lnTo>
                      <a:pt x="372" y="154"/>
                    </a:lnTo>
                    <a:lnTo>
                      <a:pt x="374" y="154"/>
                    </a:lnTo>
                    <a:lnTo>
                      <a:pt x="374" y="155"/>
                    </a:lnTo>
                    <a:lnTo>
                      <a:pt x="376" y="155"/>
                    </a:lnTo>
                    <a:lnTo>
                      <a:pt x="377" y="157"/>
                    </a:lnTo>
                    <a:lnTo>
                      <a:pt x="379" y="157"/>
                    </a:lnTo>
                    <a:lnTo>
                      <a:pt x="379" y="155"/>
                    </a:lnTo>
                    <a:lnTo>
                      <a:pt x="380" y="155"/>
                    </a:lnTo>
                    <a:lnTo>
                      <a:pt x="380" y="154"/>
                    </a:lnTo>
                    <a:lnTo>
                      <a:pt x="380" y="155"/>
                    </a:lnTo>
                    <a:lnTo>
                      <a:pt x="382" y="155"/>
                    </a:lnTo>
                    <a:lnTo>
                      <a:pt x="382" y="154"/>
                    </a:lnTo>
                    <a:lnTo>
                      <a:pt x="384" y="154"/>
                    </a:lnTo>
                    <a:lnTo>
                      <a:pt x="385" y="154"/>
                    </a:lnTo>
                    <a:lnTo>
                      <a:pt x="387" y="154"/>
                    </a:lnTo>
                    <a:lnTo>
                      <a:pt x="388" y="154"/>
                    </a:lnTo>
                    <a:lnTo>
                      <a:pt x="388" y="152"/>
                    </a:lnTo>
                    <a:lnTo>
                      <a:pt x="390" y="152"/>
                    </a:lnTo>
                    <a:lnTo>
                      <a:pt x="391" y="152"/>
                    </a:lnTo>
                    <a:lnTo>
                      <a:pt x="393" y="152"/>
                    </a:lnTo>
                    <a:lnTo>
                      <a:pt x="393" y="150"/>
                    </a:lnTo>
                    <a:lnTo>
                      <a:pt x="395" y="150"/>
                    </a:lnTo>
                    <a:lnTo>
                      <a:pt x="395" y="149"/>
                    </a:lnTo>
                    <a:lnTo>
                      <a:pt x="396" y="147"/>
                    </a:lnTo>
                    <a:lnTo>
                      <a:pt x="398" y="146"/>
                    </a:lnTo>
                    <a:lnTo>
                      <a:pt x="399" y="146"/>
                    </a:lnTo>
                    <a:lnTo>
                      <a:pt x="399" y="144"/>
                    </a:lnTo>
                    <a:lnTo>
                      <a:pt x="399" y="142"/>
                    </a:lnTo>
                    <a:lnTo>
                      <a:pt x="401" y="142"/>
                    </a:lnTo>
                    <a:lnTo>
                      <a:pt x="403" y="142"/>
                    </a:lnTo>
                    <a:lnTo>
                      <a:pt x="403" y="144"/>
                    </a:lnTo>
                    <a:lnTo>
                      <a:pt x="404" y="144"/>
                    </a:lnTo>
                    <a:lnTo>
                      <a:pt x="404" y="142"/>
                    </a:lnTo>
                    <a:lnTo>
                      <a:pt x="404" y="141"/>
                    </a:lnTo>
                    <a:lnTo>
                      <a:pt x="404" y="139"/>
                    </a:lnTo>
                    <a:lnTo>
                      <a:pt x="406" y="139"/>
                    </a:lnTo>
                    <a:lnTo>
                      <a:pt x="406" y="138"/>
                    </a:lnTo>
                    <a:lnTo>
                      <a:pt x="407" y="139"/>
                    </a:lnTo>
                    <a:lnTo>
                      <a:pt x="409" y="139"/>
                    </a:lnTo>
                    <a:lnTo>
                      <a:pt x="409" y="138"/>
                    </a:lnTo>
                    <a:lnTo>
                      <a:pt x="410" y="138"/>
                    </a:lnTo>
                    <a:lnTo>
                      <a:pt x="410" y="136"/>
                    </a:lnTo>
                    <a:lnTo>
                      <a:pt x="412" y="136"/>
                    </a:lnTo>
                    <a:lnTo>
                      <a:pt x="414" y="135"/>
                    </a:lnTo>
                    <a:lnTo>
                      <a:pt x="415" y="135"/>
                    </a:lnTo>
                    <a:lnTo>
                      <a:pt x="415" y="133"/>
                    </a:lnTo>
                    <a:lnTo>
                      <a:pt x="417" y="133"/>
                    </a:lnTo>
                    <a:lnTo>
                      <a:pt x="418" y="133"/>
                    </a:lnTo>
                    <a:lnTo>
                      <a:pt x="420" y="133"/>
                    </a:lnTo>
                    <a:lnTo>
                      <a:pt x="420" y="135"/>
                    </a:lnTo>
                    <a:lnTo>
                      <a:pt x="422" y="135"/>
                    </a:lnTo>
                    <a:lnTo>
                      <a:pt x="422" y="136"/>
                    </a:lnTo>
                    <a:lnTo>
                      <a:pt x="423" y="136"/>
                    </a:lnTo>
                    <a:lnTo>
                      <a:pt x="423" y="138"/>
                    </a:lnTo>
                    <a:lnTo>
                      <a:pt x="425" y="138"/>
                    </a:lnTo>
                    <a:lnTo>
                      <a:pt x="426" y="138"/>
                    </a:lnTo>
                    <a:lnTo>
                      <a:pt x="428" y="136"/>
                    </a:lnTo>
                    <a:lnTo>
                      <a:pt x="428" y="135"/>
                    </a:lnTo>
                    <a:lnTo>
                      <a:pt x="426" y="135"/>
                    </a:lnTo>
                    <a:lnTo>
                      <a:pt x="426" y="133"/>
                    </a:lnTo>
                    <a:lnTo>
                      <a:pt x="426" y="131"/>
                    </a:lnTo>
                    <a:lnTo>
                      <a:pt x="426" y="130"/>
                    </a:lnTo>
                    <a:lnTo>
                      <a:pt x="428" y="130"/>
                    </a:lnTo>
                    <a:lnTo>
                      <a:pt x="430" y="130"/>
                    </a:lnTo>
                    <a:lnTo>
                      <a:pt x="431" y="130"/>
                    </a:lnTo>
                    <a:lnTo>
                      <a:pt x="431" y="131"/>
                    </a:lnTo>
                    <a:lnTo>
                      <a:pt x="433" y="131"/>
                    </a:lnTo>
                    <a:lnTo>
                      <a:pt x="434" y="131"/>
                    </a:lnTo>
                    <a:lnTo>
                      <a:pt x="434" y="130"/>
                    </a:lnTo>
                    <a:lnTo>
                      <a:pt x="436" y="130"/>
                    </a:lnTo>
                    <a:lnTo>
                      <a:pt x="437" y="130"/>
                    </a:lnTo>
                    <a:lnTo>
                      <a:pt x="437" y="128"/>
                    </a:lnTo>
                    <a:lnTo>
                      <a:pt x="439" y="128"/>
                    </a:lnTo>
                    <a:lnTo>
                      <a:pt x="441" y="128"/>
                    </a:lnTo>
                    <a:lnTo>
                      <a:pt x="442" y="128"/>
                    </a:lnTo>
                    <a:lnTo>
                      <a:pt x="444" y="128"/>
                    </a:lnTo>
                    <a:lnTo>
                      <a:pt x="445" y="128"/>
                    </a:lnTo>
                    <a:lnTo>
                      <a:pt x="445" y="127"/>
                    </a:lnTo>
                    <a:lnTo>
                      <a:pt x="445" y="125"/>
                    </a:lnTo>
                    <a:lnTo>
                      <a:pt x="447" y="125"/>
                    </a:lnTo>
                    <a:lnTo>
                      <a:pt x="447" y="123"/>
                    </a:lnTo>
                    <a:lnTo>
                      <a:pt x="449" y="123"/>
                    </a:lnTo>
                    <a:lnTo>
                      <a:pt x="450" y="123"/>
                    </a:lnTo>
                    <a:lnTo>
                      <a:pt x="450" y="122"/>
                    </a:lnTo>
                    <a:lnTo>
                      <a:pt x="452" y="122"/>
                    </a:lnTo>
                    <a:lnTo>
                      <a:pt x="453" y="122"/>
                    </a:lnTo>
                    <a:lnTo>
                      <a:pt x="455" y="122"/>
                    </a:lnTo>
                    <a:lnTo>
                      <a:pt x="456" y="122"/>
                    </a:lnTo>
                    <a:lnTo>
                      <a:pt x="458" y="122"/>
                    </a:lnTo>
                    <a:lnTo>
                      <a:pt x="460" y="122"/>
                    </a:lnTo>
                    <a:lnTo>
                      <a:pt x="460" y="120"/>
                    </a:lnTo>
                    <a:lnTo>
                      <a:pt x="460" y="119"/>
                    </a:lnTo>
                    <a:lnTo>
                      <a:pt x="460" y="117"/>
                    </a:lnTo>
                    <a:lnTo>
                      <a:pt x="461" y="117"/>
                    </a:lnTo>
                    <a:lnTo>
                      <a:pt x="461" y="119"/>
                    </a:lnTo>
                    <a:lnTo>
                      <a:pt x="463" y="119"/>
                    </a:lnTo>
                    <a:lnTo>
                      <a:pt x="464" y="119"/>
                    </a:lnTo>
                    <a:lnTo>
                      <a:pt x="464" y="117"/>
                    </a:lnTo>
                    <a:lnTo>
                      <a:pt x="464" y="116"/>
                    </a:lnTo>
                    <a:lnTo>
                      <a:pt x="464" y="114"/>
                    </a:lnTo>
                    <a:lnTo>
                      <a:pt x="466" y="112"/>
                    </a:lnTo>
                    <a:lnTo>
                      <a:pt x="468" y="112"/>
                    </a:lnTo>
                    <a:lnTo>
                      <a:pt x="469" y="112"/>
                    </a:lnTo>
                    <a:lnTo>
                      <a:pt x="471" y="112"/>
                    </a:lnTo>
                    <a:lnTo>
                      <a:pt x="471" y="111"/>
                    </a:lnTo>
                    <a:lnTo>
                      <a:pt x="469" y="111"/>
                    </a:lnTo>
                    <a:lnTo>
                      <a:pt x="469" y="109"/>
                    </a:lnTo>
                    <a:lnTo>
                      <a:pt x="469" y="108"/>
                    </a:lnTo>
                    <a:lnTo>
                      <a:pt x="471" y="108"/>
                    </a:lnTo>
                    <a:lnTo>
                      <a:pt x="472" y="108"/>
                    </a:lnTo>
                    <a:lnTo>
                      <a:pt x="474" y="108"/>
                    </a:lnTo>
                    <a:lnTo>
                      <a:pt x="475" y="108"/>
                    </a:lnTo>
                    <a:lnTo>
                      <a:pt x="477" y="108"/>
                    </a:lnTo>
                    <a:lnTo>
                      <a:pt x="479" y="108"/>
                    </a:lnTo>
                    <a:lnTo>
                      <a:pt x="479" y="109"/>
                    </a:lnTo>
                    <a:lnTo>
                      <a:pt x="480" y="109"/>
                    </a:lnTo>
                    <a:lnTo>
                      <a:pt x="480" y="108"/>
                    </a:lnTo>
                    <a:lnTo>
                      <a:pt x="480" y="106"/>
                    </a:lnTo>
                    <a:lnTo>
                      <a:pt x="480" y="104"/>
                    </a:lnTo>
                    <a:lnTo>
                      <a:pt x="482" y="103"/>
                    </a:lnTo>
                    <a:lnTo>
                      <a:pt x="482" y="101"/>
                    </a:lnTo>
                    <a:lnTo>
                      <a:pt x="483" y="100"/>
                    </a:lnTo>
                    <a:lnTo>
                      <a:pt x="485" y="100"/>
                    </a:lnTo>
                    <a:lnTo>
                      <a:pt x="487" y="100"/>
                    </a:lnTo>
                    <a:lnTo>
                      <a:pt x="488" y="100"/>
                    </a:lnTo>
                    <a:lnTo>
                      <a:pt x="488" y="101"/>
                    </a:lnTo>
                    <a:lnTo>
                      <a:pt x="488" y="103"/>
                    </a:lnTo>
                    <a:lnTo>
                      <a:pt x="490" y="103"/>
                    </a:lnTo>
                    <a:lnTo>
                      <a:pt x="491" y="103"/>
                    </a:lnTo>
                    <a:lnTo>
                      <a:pt x="491" y="101"/>
                    </a:lnTo>
                    <a:lnTo>
                      <a:pt x="493" y="100"/>
                    </a:lnTo>
                    <a:lnTo>
                      <a:pt x="494" y="100"/>
                    </a:lnTo>
                    <a:lnTo>
                      <a:pt x="496" y="98"/>
                    </a:lnTo>
                    <a:lnTo>
                      <a:pt x="496" y="97"/>
                    </a:lnTo>
                    <a:lnTo>
                      <a:pt x="496" y="95"/>
                    </a:lnTo>
                    <a:lnTo>
                      <a:pt x="498" y="95"/>
                    </a:lnTo>
                    <a:lnTo>
                      <a:pt x="499" y="95"/>
                    </a:lnTo>
                    <a:lnTo>
                      <a:pt x="499" y="93"/>
                    </a:lnTo>
                    <a:lnTo>
                      <a:pt x="501" y="93"/>
                    </a:lnTo>
                    <a:lnTo>
                      <a:pt x="501" y="92"/>
                    </a:lnTo>
                    <a:lnTo>
                      <a:pt x="502" y="92"/>
                    </a:lnTo>
                    <a:lnTo>
                      <a:pt x="504" y="92"/>
                    </a:lnTo>
                    <a:lnTo>
                      <a:pt x="504" y="90"/>
                    </a:lnTo>
                    <a:lnTo>
                      <a:pt x="506" y="90"/>
                    </a:lnTo>
                    <a:lnTo>
                      <a:pt x="506" y="89"/>
                    </a:lnTo>
                    <a:lnTo>
                      <a:pt x="507" y="89"/>
                    </a:lnTo>
                    <a:lnTo>
                      <a:pt x="509" y="89"/>
                    </a:lnTo>
                    <a:lnTo>
                      <a:pt x="509" y="87"/>
                    </a:lnTo>
                    <a:lnTo>
                      <a:pt x="510" y="87"/>
                    </a:lnTo>
                    <a:lnTo>
                      <a:pt x="510" y="85"/>
                    </a:lnTo>
                    <a:lnTo>
                      <a:pt x="512" y="85"/>
                    </a:lnTo>
                    <a:lnTo>
                      <a:pt x="513" y="85"/>
                    </a:lnTo>
                    <a:lnTo>
                      <a:pt x="513" y="84"/>
                    </a:lnTo>
                    <a:lnTo>
                      <a:pt x="515" y="84"/>
                    </a:lnTo>
                    <a:lnTo>
                      <a:pt x="515" y="82"/>
                    </a:lnTo>
                    <a:lnTo>
                      <a:pt x="517" y="82"/>
                    </a:lnTo>
                    <a:lnTo>
                      <a:pt x="518" y="82"/>
                    </a:lnTo>
                    <a:lnTo>
                      <a:pt x="518" y="84"/>
                    </a:lnTo>
                    <a:lnTo>
                      <a:pt x="520" y="84"/>
                    </a:lnTo>
                    <a:lnTo>
                      <a:pt x="520" y="85"/>
                    </a:lnTo>
                    <a:lnTo>
                      <a:pt x="520" y="87"/>
                    </a:lnTo>
                    <a:lnTo>
                      <a:pt x="521" y="87"/>
                    </a:lnTo>
                    <a:lnTo>
                      <a:pt x="523" y="87"/>
                    </a:lnTo>
                    <a:lnTo>
                      <a:pt x="525" y="87"/>
                    </a:lnTo>
                    <a:lnTo>
                      <a:pt x="525" y="85"/>
                    </a:lnTo>
                    <a:lnTo>
                      <a:pt x="526" y="85"/>
                    </a:lnTo>
                    <a:lnTo>
                      <a:pt x="528" y="85"/>
                    </a:lnTo>
                    <a:lnTo>
                      <a:pt x="529" y="87"/>
                    </a:lnTo>
                    <a:lnTo>
                      <a:pt x="531" y="87"/>
                    </a:lnTo>
                    <a:lnTo>
                      <a:pt x="532" y="87"/>
                    </a:lnTo>
                    <a:lnTo>
                      <a:pt x="534" y="87"/>
                    </a:lnTo>
                    <a:lnTo>
                      <a:pt x="534" y="85"/>
                    </a:lnTo>
                    <a:lnTo>
                      <a:pt x="534" y="84"/>
                    </a:lnTo>
                    <a:lnTo>
                      <a:pt x="534" y="82"/>
                    </a:lnTo>
                    <a:lnTo>
                      <a:pt x="536" y="82"/>
                    </a:lnTo>
                    <a:lnTo>
                      <a:pt x="536" y="81"/>
                    </a:lnTo>
                    <a:lnTo>
                      <a:pt x="537" y="81"/>
                    </a:lnTo>
                    <a:lnTo>
                      <a:pt x="539" y="81"/>
                    </a:lnTo>
                    <a:lnTo>
                      <a:pt x="539" y="82"/>
                    </a:lnTo>
                    <a:lnTo>
                      <a:pt x="540" y="82"/>
                    </a:lnTo>
                    <a:lnTo>
                      <a:pt x="540" y="81"/>
                    </a:lnTo>
                    <a:lnTo>
                      <a:pt x="542" y="81"/>
                    </a:lnTo>
                    <a:lnTo>
                      <a:pt x="542" y="79"/>
                    </a:lnTo>
                    <a:lnTo>
                      <a:pt x="540" y="77"/>
                    </a:lnTo>
                    <a:lnTo>
                      <a:pt x="540" y="76"/>
                    </a:lnTo>
                    <a:lnTo>
                      <a:pt x="540" y="74"/>
                    </a:lnTo>
                    <a:lnTo>
                      <a:pt x="542" y="74"/>
                    </a:lnTo>
                    <a:lnTo>
                      <a:pt x="542" y="73"/>
                    </a:lnTo>
                    <a:lnTo>
                      <a:pt x="542" y="71"/>
                    </a:lnTo>
                    <a:lnTo>
                      <a:pt x="544" y="71"/>
                    </a:lnTo>
                    <a:lnTo>
                      <a:pt x="544" y="70"/>
                    </a:lnTo>
                    <a:lnTo>
                      <a:pt x="544" y="68"/>
                    </a:lnTo>
                    <a:lnTo>
                      <a:pt x="545" y="68"/>
                    </a:lnTo>
                    <a:lnTo>
                      <a:pt x="545" y="66"/>
                    </a:lnTo>
                    <a:lnTo>
                      <a:pt x="547" y="66"/>
                    </a:lnTo>
                    <a:lnTo>
                      <a:pt x="548" y="66"/>
                    </a:lnTo>
                    <a:lnTo>
                      <a:pt x="550" y="66"/>
                    </a:lnTo>
                    <a:lnTo>
                      <a:pt x="550" y="68"/>
                    </a:lnTo>
                    <a:lnTo>
                      <a:pt x="550" y="70"/>
                    </a:lnTo>
                    <a:lnTo>
                      <a:pt x="550" y="71"/>
                    </a:lnTo>
                    <a:lnTo>
                      <a:pt x="551" y="71"/>
                    </a:lnTo>
                    <a:lnTo>
                      <a:pt x="553" y="71"/>
                    </a:lnTo>
                    <a:lnTo>
                      <a:pt x="553" y="73"/>
                    </a:lnTo>
                    <a:lnTo>
                      <a:pt x="555" y="73"/>
                    </a:lnTo>
                    <a:lnTo>
                      <a:pt x="556" y="73"/>
                    </a:lnTo>
                    <a:lnTo>
                      <a:pt x="556" y="71"/>
                    </a:lnTo>
                    <a:lnTo>
                      <a:pt x="559" y="71"/>
                    </a:lnTo>
                    <a:lnTo>
                      <a:pt x="561" y="71"/>
                    </a:lnTo>
                    <a:lnTo>
                      <a:pt x="563" y="71"/>
                    </a:lnTo>
                    <a:lnTo>
                      <a:pt x="563" y="70"/>
                    </a:lnTo>
                    <a:lnTo>
                      <a:pt x="563" y="68"/>
                    </a:lnTo>
                    <a:lnTo>
                      <a:pt x="564" y="68"/>
                    </a:lnTo>
                    <a:lnTo>
                      <a:pt x="564" y="66"/>
                    </a:lnTo>
                    <a:lnTo>
                      <a:pt x="566" y="66"/>
                    </a:lnTo>
                    <a:lnTo>
                      <a:pt x="566" y="65"/>
                    </a:lnTo>
                    <a:lnTo>
                      <a:pt x="567" y="65"/>
                    </a:lnTo>
                    <a:lnTo>
                      <a:pt x="569" y="65"/>
                    </a:lnTo>
                    <a:lnTo>
                      <a:pt x="569" y="63"/>
                    </a:lnTo>
                    <a:lnTo>
                      <a:pt x="570" y="63"/>
                    </a:lnTo>
                    <a:lnTo>
                      <a:pt x="570" y="62"/>
                    </a:lnTo>
                    <a:lnTo>
                      <a:pt x="569" y="60"/>
                    </a:lnTo>
                    <a:lnTo>
                      <a:pt x="569" y="58"/>
                    </a:lnTo>
                    <a:lnTo>
                      <a:pt x="570" y="58"/>
                    </a:lnTo>
                    <a:lnTo>
                      <a:pt x="572" y="57"/>
                    </a:lnTo>
                    <a:lnTo>
                      <a:pt x="570" y="55"/>
                    </a:lnTo>
                    <a:lnTo>
                      <a:pt x="570" y="54"/>
                    </a:lnTo>
                    <a:lnTo>
                      <a:pt x="569" y="52"/>
                    </a:lnTo>
                    <a:lnTo>
                      <a:pt x="569" y="51"/>
                    </a:lnTo>
                    <a:lnTo>
                      <a:pt x="567" y="51"/>
                    </a:lnTo>
                    <a:lnTo>
                      <a:pt x="567" y="49"/>
                    </a:lnTo>
                    <a:lnTo>
                      <a:pt x="569" y="49"/>
                    </a:lnTo>
                    <a:lnTo>
                      <a:pt x="569" y="47"/>
                    </a:lnTo>
                    <a:lnTo>
                      <a:pt x="570" y="47"/>
                    </a:lnTo>
                    <a:lnTo>
                      <a:pt x="570" y="46"/>
                    </a:lnTo>
                    <a:lnTo>
                      <a:pt x="572" y="46"/>
                    </a:lnTo>
                    <a:lnTo>
                      <a:pt x="572" y="44"/>
                    </a:lnTo>
                    <a:lnTo>
                      <a:pt x="574" y="44"/>
                    </a:lnTo>
                    <a:lnTo>
                      <a:pt x="575" y="44"/>
                    </a:lnTo>
                    <a:lnTo>
                      <a:pt x="575" y="43"/>
                    </a:lnTo>
                    <a:lnTo>
                      <a:pt x="577" y="43"/>
                    </a:lnTo>
                    <a:lnTo>
                      <a:pt x="578" y="43"/>
                    </a:lnTo>
                    <a:lnTo>
                      <a:pt x="578" y="41"/>
                    </a:lnTo>
                    <a:lnTo>
                      <a:pt x="578" y="39"/>
                    </a:lnTo>
                    <a:lnTo>
                      <a:pt x="578" y="38"/>
                    </a:lnTo>
                    <a:lnTo>
                      <a:pt x="578" y="36"/>
                    </a:lnTo>
                    <a:lnTo>
                      <a:pt x="580" y="36"/>
                    </a:lnTo>
                    <a:lnTo>
                      <a:pt x="580" y="35"/>
                    </a:lnTo>
                    <a:lnTo>
                      <a:pt x="582" y="35"/>
                    </a:lnTo>
                    <a:lnTo>
                      <a:pt x="582" y="33"/>
                    </a:lnTo>
                    <a:lnTo>
                      <a:pt x="580" y="33"/>
                    </a:lnTo>
                    <a:lnTo>
                      <a:pt x="580" y="32"/>
                    </a:lnTo>
                    <a:lnTo>
                      <a:pt x="580" y="30"/>
                    </a:lnTo>
                    <a:lnTo>
                      <a:pt x="580" y="28"/>
                    </a:lnTo>
                    <a:lnTo>
                      <a:pt x="582" y="28"/>
                    </a:lnTo>
                    <a:lnTo>
                      <a:pt x="583" y="28"/>
                    </a:lnTo>
                    <a:lnTo>
                      <a:pt x="585" y="28"/>
                    </a:lnTo>
                    <a:lnTo>
                      <a:pt x="585" y="27"/>
                    </a:lnTo>
                    <a:lnTo>
                      <a:pt x="583" y="27"/>
                    </a:lnTo>
                    <a:lnTo>
                      <a:pt x="583" y="25"/>
                    </a:lnTo>
                    <a:lnTo>
                      <a:pt x="582" y="25"/>
                    </a:lnTo>
                    <a:lnTo>
                      <a:pt x="582" y="24"/>
                    </a:lnTo>
                    <a:lnTo>
                      <a:pt x="582" y="22"/>
                    </a:lnTo>
                    <a:lnTo>
                      <a:pt x="583" y="22"/>
                    </a:lnTo>
                    <a:lnTo>
                      <a:pt x="585" y="22"/>
                    </a:lnTo>
                    <a:lnTo>
                      <a:pt x="585" y="20"/>
                    </a:lnTo>
                    <a:lnTo>
                      <a:pt x="585" y="19"/>
                    </a:lnTo>
                    <a:lnTo>
                      <a:pt x="585" y="17"/>
                    </a:lnTo>
                    <a:lnTo>
                      <a:pt x="585" y="16"/>
                    </a:lnTo>
                    <a:lnTo>
                      <a:pt x="585" y="14"/>
                    </a:lnTo>
                    <a:lnTo>
                      <a:pt x="586" y="14"/>
                    </a:lnTo>
                    <a:lnTo>
                      <a:pt x="586" y="13"/>
                    </a:lnTo>
                    <a:lnTo>
                      <a:pt x="586" y="11"/>
                    </a:lnTo>
                    <a:lnTo>
                      <a:pt x="585" y="9"/>
                    </a:lnTo>
                    <a:lnTo>
                      <a:pt x="585" y="8"/>
                    </a:lnTo>
                    <a:lnTo>
                      <a:pt x="585" y="6"/>
                    </a:lnTo>
                    <a:lnTo>
                      <a:pt x="586" y="6"/>
                    </a:lnTo>
                    <a:lnTo>
                      <a:pt x="588" y="6"/>
                    </a:lnTo>
                    <a:lnTo>
                      <a:pt x="588" y="8"/>
                    </a:lnTo>
                    <a:lnTo>
                      <a:pt x="589" y="8"/>
                    </a:lnTo>
                    <a:lnTo>
                      <a:pt x="589" y="6"/>
                    </a:lnTo>
                    <a:lnTo>
                      <a:pt x="591" y="6"/>
                    </a:lnTo>
                    <a:lnTo>
                      <a:pt x="593" y="8"/>
                    </a:lnTo>
                    <a:lnTo>
                      <a:pt x="593" y="6"/>
                    </a:lnTo>
                    <a:lnTo>
                      <a:pt x="594" y="6"/>
                    </a:lnTo>
                    <a:lnTo>
                      <a:pt x="596" y="6"/>
                    </a:lnTo>
                    <a:lnTo>
                      <a:pt x="597" y="6"/>
                    </a:lnTo>
                    <a:lnTo>
                      <a:pt x="599" y="6"/>
                    </a:lnTo>
                    <a:lnTo>
                      <a:pt x="601" y="6"/>
                    </a:lnTo>
                    <a:lnTo>
                      <a:pt x="602" y="6"/>
                    </a:lnTo>
                    <a:lnTo>
                      <a:pt x="602" y="5"/>
                    </a:lnTo>
                    <a:lnTo>
                      <a:pt x="604" y="5"/>
                    </a:lnTo>
                    <a:lnTo>
                      <a:pt x="605" y="5"/>
                    </a:lnTo>
                    <a:lnTo>
                      <a:pt x="607" y="5"/>
                    </a:lnTo>
                    <a:lnTo>
                      <a:pt x="608" y="3"/>
                    </a:lnTo>
                    <a:lnTo>
                      <a:pt x="610" y="3"/>
                    </a:lnTo>
                    <a:lnTo>
                      <a:pt x="612" y="3"/>
                    </a:lnTo>
                    <a:lnTo>
                      <a:pt x="613" y="3"/>
                    </a:lnTo>
                    <a:lnTo>
                      <a:pt x="615" y="3"/>
                    </a:lnTo>
                    <a:lnTo>
                      <a:pt x="616" y="3"/>
                    </a:lnTo>
                    <a:lnTo>
                      <a:pt x="618" y="3"/>
                    </a:lnTo>
                    <a:lnTo>
                      <a:pt x="618" y="5"/>
                    </a:lnTo>
                    <a:lnTo>
                      <a:pt x="618" y="3"/>
                    </a:lnTo>
                    <a:lnTo>
                      <a:pt x="620" y="3"/>
                    </a:lnTo>
                    <a:lnTo>
                      <a:pt x="621" y="3"/>
                    </a:lnTo>
                    <a:lnTo>
                      <a:pt x="623" y="3"/>
                    </a:lnTo>
                    <a:lnTo>
                      <a:pt x="624" y="3"/>
                    </a:lnTo>
                    <a:lnTo>
                      <a:pt x="626" y="3"/>
                    </a:lnTo>
                    <a:lnTo>
                      <a:pt x="628" y="3"/>
                    </a:lnTo>
                    <a:lnTo>
                      <a:pt x="629" y="1"/>
                    </a:lnTo>
                    <a:lnTo>
                      <a:pt x="631" y="1"/>
                    </a:lnTo>
                    <a:lnTo>
                      <a:pt x="632" y="1"/>
                    </a:lnTo>
                    <a:lnTo>
                      <a:pt x="634" y="3"/>
                    </a:lnTo>
                    <a:lnTo>
                      <a:pt x="635" y="3"/>
                    </a:lnTo>
                    <a:lnTo>
                      <a:pt x="637" y="3"/>
                    </a:lnTo>
                    <a:lnTo>
                      <a:pt x="637" y="5"/>
                    </a:lnTo>
                    <a:lnTo>
                      <a:pt x="637" y="3"/>
                    </a:lnTo>
                    <a:lnTo>
                      <a:pt x="639" y="3"/>
                    </a:lnTo>
                    <a:lnTo>
                      <a:pt x="639" y="5"/>
                    </a:lnTo>
                    <a:lnTo>
                      <a:pt x="640" y="5"/>
                    </a:lnTo>
                    <a:lnTo>
                      <a:pt x="642" y="3"/>
                    </a:lnTo>
                    <a:lnTo>
                      <a:pt x="643" y="3"/>
                    </a:lnTo>
                    <a:lnTo>
                      <a:pt x="643" y="1"/>
                    </a:lnTo>
                    <a:lnTo>
                      <a:pt x="645" y="1"/>
                    </a:lnTo>
                    <a:lnTo>
                      <a:pt x="645" y="3"/>
                    </a:lnTo>
                    <a:lnTo>
                      <a:pt x="647" y="3"/>
                    </a:lnTo>
                    <a:lnTo>
                      <a:pt x="648" y="3"/>
                    </a:lnTo>
                    <a:lnTo>
                      <a:pt x="650" y="3"/>
                    </a:lnTo>
                    <a:lnTo>
                      <a:pt x="650" y="1"/>
                    </a:lnTo>
                    <a:lnTo>
                      <a:pt x="651" y="1"/>
                    </a:lnTo>
                    <a:lnTo>
                      <a:pt x="653" y="1"/>
                    </a:lnTo>
                    <a:lnTo>
                      <a:pt x="653" y="0"/>
                    </a:lnTo>
                    <a:lnTo>
                      <a:pt x="654" y="0"/>
                    </a:lnTo>
                    <a:lnTo>
                      <a:pt x="656" y="0"/>
                    </a:lnTo>
                  </a:path>
                </a:pathLst>
              </a:custGeom>
              <a:noFill/>
              <a:ln w="476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34" name="Freeform 32"/>
              <p:cNvSpPr>
                <a:spLocks/>
              </p:cNvSpPr>
              <p:nvPr/>
            </p:nvSpPr>
            <p:spPr bwMode="auto">
              <a:xfrm>
                <a:off x="2425" y="2215"/>
                <a:ext cx="35" cy="54"/>
              </a:xfrm>
              <a:custGeom>
                <a:avLst/>
                <a:gdLst>
                  <a:gd name="T0" fmla="*/ 20 w 35"/>
                  <a:gd name="T1" fmla="*/ 0 h 54"/>
                  <a:gd name="T2" fmla="*/ 17 w 35"/>
                  <a:gd name="T3" fmla="*/ 0 h 54"/>
                  <a:gd name="T4" fmla="*/ 14 w 35"/>
                  <a:gd name="T5" fmla="*/ 1 h 54"/>
                  <a:gd name="T6" fmla="*/ 12 w 35"/>
                  <a:gd name="T7" fmla="*/ 3 h 54"/>
                  <a:gd name="T8" fmla="*/ 11 w 35"/>
                  <a:gd name="T9" fmla="*/ 5 h 54"/>
                  <a:gd name="T10" fmla="*/ 8 w 35"/>
                  <a:gd name="T11" fmla="*/ 6 h 54"/>
                  <a:gd name="T12" fmla="*/ 4 w 35"/>
                  <a:gd name="T13" fmla="*/ 6 h 54"/>
                  <a:gd name="T14" fmla="*/ 4 w 35"/>
                  <a:gd name="T15" fmla="*/ 9 h 54"/>
                  <a:gd name="T16" fmla="*/ 3 w 35"/>
                  <a:gd name="T17" fmla="*/ 11 h 54"/>
                  <a:gd name="T18" fmla="*/ 1 w 35"/>
                  <a:gd name="T19" fmla="*/ 12 h 54"/>
                  <a:gd name="T20" fmla="*/ 3 w 35"/>
                  <a:gd name="T21" fmla="*/ 14 h 54"/>
                  <a:gd name="T22" fmla="*/ 1 w 35"/>
                  <a:gd name="T23" fmla="*/ 16 h 54"/>
                  <a:gd name="T24" fmla="*/ 1 w 35"/>
                  <a:gd name="T25" fmla="*/ 19 h 54"/>
                  <a:gd name="T26" fmla="*/ 0 w 35"/>
                  <a:gd name="T27" fmla="*/ 20 h 54"/>
                  <a:gd name="T28" fmla="*/ 1 w 35"/>
                  <a:gd name="T29" fmla="*/ 22 h 54"/>
                  <a:gd name="T30" fmla="*/ 0 w 35"/>
                  <a:gd name="T31" fmla="*/ 24 h 54"/>
                  <a:gd name="T32" fmla="*/ 0 w 35"/>
                  <a:gd name="T33" fmla="*/ 27 h 54"/>
                  <a:gd name="T34" fmla="*/ 1 w 35"/>
                  <a:gd name="T35" fmla="*/ 30 h 54"/>
                  <a:gd name="T36" fmla="*/ 1 w 35"/>
                  <a:gd name="T37" fmla="*/ 33 h 54"/>
                  <a:gd name="T38" fmla="*/ 1 w 35"/>
                  <a:gd name="T39" fmla="*/ 36 h 54"/>
                  <a:gd name="T40" fmla="*/ 3 w 35"/>
                  <a:gd name="T41" fmla="*/ 38 h 54"/>
                  <a:gd name="T42" fmla="*/ 3 w 35"/>
                  <a:gd name="T43" fmla="*/ 41 h 54"/>
                  <a:gd name="T44" fmla="*/ 4 w 35"/>
                  <a:gd name="T45" fmla="*/ 43 h 54"/>
                  <a:gd name="T46" fmla="*/ 4 w 35"/>
                  <a:gd name="T47" fmla="*/ 46 h 54"/>
                  <a:gd name="T48" fmla="*/ 6 w 35"/>
                  <a:gd name="T49" fmla="*/ 47 h 54"/>
                  <a:gd name="T50" fmla="*/ 6 w 35"/>
                  <a:gd name="T51" fmla="*/ 50 h 54"/>
                  <a:gd name="T52" fmla="*/ 8 w 35"/>
                  <a:gd name="T53" fmla="*/ 52 h 54"/>
                  <a:gd name="T54" fmla="*/ 9 w 35"/>
                  <a:gd name="T55" fmla="*/ 54 h 54"/>
                  <a:gd name="T56" fmla="*/ 11 w 35"/>
                  <a:gd name="T57" fmla="*/ 52 h 54"/>
                  <a:gd name="T58" fmla="*/ 12 w 35"/>
                  <a:gd name="T59" fmla="*/ 49 h 54"/>
                  <a:gd name="T60" fmla="*/ 14 w 35"/>
                  <a:gd name="T61" fmla="*/ 47 h 54"/>
                  <a:gd name="T62" fmla="*/ 16 w 35"/>
                  <a:gd name="T63" fmla="*/ 46 h 54"/>
                  <a:gd name="T64" fmla="*/ 17 w 35"/>
                  <a:gd name="T65" fmla="*/ 44 h 54"/>
                  <a:gd name="T66" fmla="*/ 19 w 35"/>
                  <a:gd name="T67" fmla="*/ 46 h 54"/>
                  <a:gd name="T68" fmla="*/ 20 w 35"/>
                  <a:gd name="T69" fmla="*/ 47 h 54"/>
                  <a:gd name="T70" fmla="*/ 23 w 35"/>
                  <a:gd name="T71" fmla="*/ 47 h 54"/>
                  <a:gd name="T72" fmla="*/ 25 w 35"/>
                  <a:gd name="T73" fmla="*/ 46 h 54"/>
                  <a:gd name="T74" fmla="*/ 23 w 35"/>
                  <a:gd name="T75" fmla="*/ 44 h 54"/>
                  <a:gd name="T76" fmla="*/ 22 w 35"/>
                  <a:gd name="T77" fmla="*/ 43 h 54"/>
                  <a:gd name="T78" fmla="*/ 20 w 35"/>
                  <a:gd name="T79" fmla="*/ 41 h 54"/>
                  <a:gd name="T80" fmla="*/ 22 w 35"/>
                  <a:gd name="T81" fmla="*/ 38 h 54"/>
                  <a:gd name="T82" fmla="*/ 20 w 35"/>
                  <a:gd name="T83" fmla="*/ 36 h 54"/>
                  <a:gd name="T84" fmla="*/ 20 w 35"/>
                  <a:gd name="T85" fmla="*/ 33 h 54"/>
                  <a:gd name="T86" fmla="*/ 19 w 35"/>
                  <a:gd name="T87" fmla="*/ 31 h 54"/>
                  <a:gd name="T88" fmla="*/ 17 w 35"/>
                  <a:gd name="T89" fmla="*/ 30 h 54"/>
                  <a:gd name="T90" fmla="*/ 16 w 35"/>
                  <a:gd name="T91" fmla="*/ 27 h 54"/>
                  <a:gd name="T92" fmla="*/ 17 w 35"/>
                  <a:gd name="T93" fmla="*/ 25 h 54"/>
                  <a:gd name="T94" fmla="*/ 20 w 35"/>
                  <a:gd name="T95" fmla="*/ 22 h 54"/>
                  <a:gd name="T96" fmla="*/ 23 w 35"/>
                  <a:gd name="T97" fmla="*/ 22 h 54"/>
                  <a:gd name="T98" fmla="*/ 27 w 35"/>
                  <a:gd name="T99" fmla="*/ 22 h 54"/>
                  <a:gd name="T100" fmla="*/ 28 w 35"/>
                  <a:gd name="T101" fmla="*/ 20 h 54"/>
                  <a:gd name="T102" fmla="*/ 30 w 35"/>
                  <a:gd name="T103" fmla="*/ 17 h 54"/>
                  <a:gd name="T104" fmla="*/ 31 w 35"/>
                  <a:gd name="T105" fmla="*/ 16 h 54"/>
                  <a:gd name="T106" fmla="*/ 35 w 35"/>
                  <a:gd name="T107" fmla="*/ 16 h 54"/>
                  <a:gd name="T108" fmla="*/ 35 w 35"/>
                  <a:gd name="T109" fmla="*/ 12 h 54"/>
                  <a:gd name="T110" fmla="*/ 35 w 35"/>
                  <a:gd name="T111" fmla="*/ 9 h 54"/>
                  <a:gd name="T112" fmla="*/ 33 w 35"/>
                  <a:gd name="T113" fmla="*/ 8 h 54"/>
                  <a:gd name="T114" fmla="*/ 30 w 35"/>
                  <a:gd name="T115" fmla="*/ 8 h 54"/>
                  <a:gd name="T116" fmla="*/ 28 w 35"/>
                  <a:gd name="T117" fmla="*/ 6 h 54"/>
                  <a:gd name="T118" fmla="*/ 27 w 35"/>
                  <a:gd name="T119" fmla="*/ 3 h 54"/>
                  <a:gd name="T120" fmla="*/ 23 w 35"/>
                  <a:gd name="T121" fmla="*/ 1 h 54"/>
                  <a:gd name="T122" fmla="*/ 22 w 35"/>
                  <a:gd name="T12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5" h="54">
                    <a:moveTo>
                      <a:pt x="22" y="0"/>
                    </a:moveTo>
                    <a:lnTo>
                      <a:pt x="20" y="0"/>
                    </a:lnTo>
                    <a:lnTo>
                      <a:pt x="19" y="0"/>
                    </a:lnTo>
                    <a:lnTo>
                      <a:pt x="17" y="0"/>
                    </a:lnTo>
                    <a:lnTo>
                      <a:pt x="16" y="1"/>
                    </a:lnTo>
                    <a:lnTo>
                      <a:pt x="14" y="1"/>
                    </a:lnTo>
                    <a:lnTo>
                      <a:pt x="14" y="3"/>
                    </a:lnTo>
                    <a:lnTo>
                      <a:pt x="12" y="3"/>
                    </a:lnTo>
                    <a:lnTo>
                      <a:pt x="12" y="5"/>
                    </a:lnTo>
                    <a:lnTo>
                      <a:pt x="11" y="5"/>
                    </a:lnTo>
                    <a:lnTo>
                      <a:pt x="9" y="5"/>
                    </a:lnTo>
                    <a:lnTo>
                      <a:pt x="8" y="6"/>
                    </a:lnTo>
                    <a:lnTo>
                      <a:pt x="6" y="6"/>
                    </a:lnTo>
                    <a:lnTo>
                      <a:pt x="4" y="6"/>
                    </a:lnTo>
                    <a:lnTo>
                      <a:pt x="4" y="8"/>
                    </a:lnTo>
                    <a:lnTo>
                      <a:pt x="4" y="9"/>
                    </a:lnTo>
                    <a:lnTo>
                      <a:pt x="3" y="9"/>
                    </a:lnTo>
                    <a:lnTo>
                      <a:pt x="3" y="11"/>
                    </a:lnTo>
                    <a:lnTo>
                      <a:pt x="3" y="12"/>
                    </a:lnTo>
                    <a:lnTo>
                      <a:pt x="1" y="12"/>
                    </a:lnTo>
                    <a:lnTo>
                      <a:pt x="1" y="14"/>
                    </a:lnTo>
                    <a:lnTo>
                      <a:pt x="3" y="14"/>
                    </a:lnTo>
                    <a:lnTo>
                      <a:pt x="1" y="14"/>
                    </a:lnTo>
                    <a:lnTo>
                      <a:pt x="1" y="16"/>
                    </a:lnTo>
                    <a:lnTo>
                      <a:pt x="1" y="17"/>
                    </a:lnTo>
                    <a:lnTo>
                      <a:pt x="1" y="19"/>
                    </a:lnTo>
                    <a:lnTo>
                      <a:pt x="1" y="20"/>
                    </a:lnTo>
                    <a:lnTo>
                      <a:pt x="0" y="20"/>
                    </a:lnTo>
                    <a:lnTo>
                      <a:pt x="0" y="22"/>
                    </a:lnTo>
                    <a:lnTo>
                      <a:pt x="1" y="22"/>
                    </a:lnTo>
                    <a:lnTo>
                      <a:pt x="1" y="24"/>
                    </a:lnTo>
                    <a:lnTo>
                      <a:pt x="0" y="24"/>
                    </a:lnTo>
                    <a:lnTo>
                      <a:pt x="0" y="25"/>
                    </a:lnTo>
                    <a:lnTo>
                      <a:pt x="0" y="27"/>
                    </a:lnTo>
                    <a:lnTo>
                      <a:pt x="0" y="28"/>
                    </a:lnTo>
                    <a:lnTo>
                      <a:pt x="1" y="30"/>
                    </a:lnTo>
                    <a:lnTo>
                      <a:pt x="1" y="31"/>
                    </a:lnTo>
                    <a:lnTo>
                      <a:pt x="1" y="33"/>
                    </a:lnTo>
                    <a:lnTo>
                      <a:pt x="1" y="35"/>
                    </a:lnTo>
                    <a:lnTo>
                      <a:pt x="1" y="36"/>
                    </a:lnTo>
                    <a:lnTo>
                      <a:pt x="1" y="38"/>
                    </a:lnTo>
                    <a:lnTo>
                      <a:pt x="3" y="38"/>
                    </a:lnTo>
                    <a:lnTo>
                      <a:pt x="3" y="39"/>
                    </a:lnTo>
                    <a:lnTo>
                      <a:pt x="3" y="41"/>
                    </a:lnTo>
                    <a:lnTo>
                      <a:pt x="3" y="43"/>
                    </a:lnTo>
                    <a:lnTo>
                      <a:pt x="4" y="43"/>
                    </a:lnTo>
                    <a:lnTo>
                      <a:pt x="4" y="44"/>
                    </a:lnTo>
                    <a:lnTo>
                      <a:pt x="4" y="46"/>
                    </a:lnTo>
                    <a:lnTo>
                      <a:pt x="4" y="47"/>
                    </a:lnTo>
                    <a:lnTo>
                      <a:pt x="6" y="47"/>
                    </a:lnTo>
                    <a:lnTo>
                      <a:pt x="6" y="49"/>
                    </a:lnTo>
                    <a:lnTo>
                      <a:pt x="6" y="50"/>
                    </a:lnTo>
                    <a:lnTo>
                      <a:pt x="8" y="50"/>
                    </a:lnTo>
                    <a:lnTo>
                      <a:pt x="8" y="52"/>
                    </a:lnTo>
                    <a:lnTo>
                      <a:pt x="9" y="52"/>
                    </a:lnTo>
                    <a:lnTo>
                      <a:pt x="9" y="54"/>
                    </a:lnTo>
                    <a:lnTo>
                      <a:pt x="11" y="54"/>
                    </a:lnTo>
                    <a:lnTo>
                      <a:pt x="11" y="52"/>
                    </a:lnTo>
                    <a:lnTo>
                      <a:pt x="11" y="50"/>
                    </a:lnTo>
                    <a:lnTo>
                      <a:pt x="12" y="49"/>
                    </a:lnTo>
                    <a:lnTo>
                      <a:pt x="12" y="47"/>
                    </a:lnTo>
                    <a:lnTo>
                      <a:pt x="14" y="47"/>
                    </a:lnTo>
                    <a:lnTo>
                      <a:pt x="14" y="46"/>
                    </a:lnTo>
                    <a:lnTo>
                      <a:pt x="16" y="46"/>
                    </a:lnTo>
                    <a:lnTo>
                      <a:pt x="17" y="46"/>
                    </a:lnTo>
                    <a:lnTo>
                      <a:pt x="17" y="44"/>
                    </a:lnTo>
                    <a:lnTo>
                      <a:pt x="19" y="44"/>
                    </a:lnTo>
                    <a:lnTo>
                      <a:pt x="19" y="46"/>
                    </a:lnTo>
                    <a:lnTo>
                      <a:pt x="19" y="47"/>
                    </a:lnTo>
                    <a:lnTo>
                      <a:pt x="20" y="47"/>
                    </a:lnTo>
                    <a:lnTo>
                      <a:pt x="22" y="47"/>
                    </a:lnTo>
                    <a:lnTo>
                      <a:pt x="23" y="47"/>
                    </a:lnTo>
                    <a:lnTo>
                      <a:pt x="25" y="47"/>
                    </a:lnTo>
                    <a:lnTo>
                      <a:pt x="25" y="46"/>
                    </a:lnTo>
                    <a:lnTo>
                      <a:pt x="25" y="44"/>
                    </a:lnTo>
                    <a:lnTo>
                      <a:pt x="23" y="44"/>
                    </a:lnTo>
                    <a:lnTo>
                      <a:pt x="22" y="44"/>
                    </a:lnTo>
                    <a:lnTo>
                      <a:pt x="22" y="43"/>
                    </a:lnTo>
                    <a:lnTo>
                      <a:pt x="22" y="41"/>
                    </a:lnTo>
                    <a:lnTo>
                      <a:pt x="20" y="41"/>
                    </a:lnTo>
                    <a:lnTo>
                      <a:pt x="22" y="39"/>
                    </a:lnTo>
                    <a:lnTo>
                      <a:pt x="22" y="38"/>
                    </a:lnTo>
                    <a:lnTo>
                      <a:pt x="22" y="36"/>
                    </a:lnTo>
                    <a:lnTo>
                      <a:pt x="20" y="36"/>
                    </a:lnTo>
                    <a:lnTo>
                      <a:pt x="20" y="35"/>
                    </a:lnTo>
                    <a:lnTo>
                      <a:pt x="20" y="33"/>
                    </a:lnTo>
                    <a:lnTo>
                      <a:pt x="20" y="31"/>
                    </a:lnTo>
                    <a:lnTo>
                      <a:pt x="19" y="31"/>
                    </a:lnTo>
                    <a:lnTo>
                      <a:pt x="17" y="31"/>
                    </a:lnTo>
                    <a:lnTo>
                      <a:pt x="17" y="30"/>
                    </a:lnTo>
                    <a:lnTo>
                      <a:pt x="16" y="28"/>
                    </a:lnTo>
                    <a:lnTo>
                      <a:pt x="16" y="27"/>
                    </a:lnTo>
                    <a:lnTo>
                      <a:pt x="17" y="27"/>
                    </a:lnTo>
                    <a:lnTo>
                      <a:pt x="17" y="25"/>
                    </a:lnTo>
                    <a:lnTo>
                      <a:pt x="19" y="24"/>
                    </a:lnTo>
                    <a:lnTo>
                      <a:pt x="20" y="22"/>
                    </a:lnTo>
                    <a:lnTo>
                      <a:pt x="22" y="22"/>
                    </a:lnTo>
                    <a:lnTo>
                      <a:pt x="23" y="22"/>
                    </a:lnTo>
                    <a:lnTo>
                      <a:pt x="25" y="22"/>
                    </a:lnTo>
                    <a:lnTo>
                      <a:pt x="27" y="22"/>
                    </a:lnTo>
                    <a:lnTo>
                      <a:pt x="27" y="20"/>
                    </a:lnTo>
                    <a:lnTo>
                      <a:pt x="28" y="20"/>
                    </a:lnTo>
                    <a:lnTo>
                      <a:pt x="30" y="19"/>
                    </a:lnTo>
                    <a:lnTo>
                      <a:pt x="30" y="17"/>
                    </a:lnTo>
                    <a:lnTo>
                      <a:pt x="30" y="16"/>
                    </a:lnTo>
                    <a:lnTo>
                      <a:pt x="31" y="16"/>
                    </a:lnTo>
                    <a:lnTo>
                      <a:pt x="33" y="16"/>
                    </a:lnTo>
                    <a:lnTo>
                      <a:pt x="35" y="16"/>
                    </a:lnTo>
                    <a:lnTo>
                      <a:pt x="35" y="14"/>
                    </a:lnTo>
                    <a:lnTo>
                      <a:pt x="35" y="12"/>
                    </a:lnTo>
                    <a:lnTo>
                      <a:pt x="35" y="11"/>
                    </a:lnTo>
                    <a:lnTo>
                      <a:pt x="35" y="9"/>
                    </a:lnTo>
                    <a:lnTo>
                      <a:pt x="35" y="8"/>
                    </a:lnTo>
                    <a:lnTo>
                      <a:pt x="33" y="8"/>
                    </a:lnTo>
                    <a:lnTo>
                      <a:pt x="31" y="8"/>
                    </a:lnTo>
                    <a:lnTo>
                      <a:pt x="30" y="8"/>
                    </a:lnTo>
                    <a:lnTo>
                      <a:pt x="30" y="6"/>
                    </a:lnTo>
                    <a:lnTo>
                      <a:pt x="28" y="6"/>
                    </a:lnTo>
                    <a:lnTo>
                      <a:pt x="28" y="5"/>
                    </a:lnTo>
                    <a:lnTo>
                      <a:pt x="27" y="3"/>
                    </a:lnTo>
                    <a:lnTo>
                      <a:pt x="25" y="1"/>
                    </a:lnTo>
                    <a:lnTo>
                      <a:pt x="23" y="1"/>
                    </a:lnTo>
                    <a:lnTo>
                      <a:pt x="23" y="0"/>
                    </a:lnTo>
                    <a:lnTo>
                      <a:pt x="22" y="0"/>
                    </a:lnTo>
                  </a:path>
                </a:pathLst>
              </a:custGeom>
              <a:noFill/>
              <a:ln w="476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35" name="Freeform 33"/>
              <p:cNvSpPr>
                <a:spLocks/>
              </p:cNvSpPr>
              <p:nvPr/>
            </p:nvSpPr>
            <p:spPr bwMode="auto">
              <a:xfrm>
                <a:off x="3090" y="2340"/>
                <a:ext cx="74" cy="78"/>
              </a:xfrm>
              <a:custGeom>
                <a:avLst/>
                <a:gdLst>
                  <a:gd name="T0" fmla="*/ 19 w 74"/>
                  <a:gd name="T1" fmla="*/ 5 h 78"/>
                  <a:gd name="T2" fmla="*/ 16 w 74"/>
                  <a:gd name="T3" fmla="*/ 5 h 78"/>
                  <a:gd name="T4" fmla="*/ 11 w 74"/>
                  <a:gd name="T5" fmla="*/ 6 h 78"/>
                  <a:gd name="T6" fmla="*/ 10 w 74"/>
                  <a:gd name="T7" fmla="*/ 11 h 78"/>
                  <a:gd name="T8" fmla="*/ 8 w 74"/>
                  <a:gd name="T9" fmla="*/ 16 h 78"/>
                  <a:gd name="T10" fmla="*/ 5 w 74"/>
                  <a:gd name="T11" fmla="*/ 19 h 78"/>
                  <a:gd name="T12" fmla="*/ 2 w 74"/>
                  <a:gd name="T13" fmla="*/ 24 h 78"/>
                  <a:gd name="T14" fmla="*/ 0 w 74"/>
                  <a:gd name="T15" fmla="*/ 28 h 78"/>
                  <a:gd name="T16" fmla="*/ 2 w 74"/>
                  <a:gd name="T17" fmla="*/ 33 h 78"/>
                  <a:gd name="T18" fmla="*/ 2 w 74"/>
                  <a:gd name="T19" fmla="*/ 36 h 78"/>
                  <a:gd name="T20" fmla="*/ 5 w 74"/>
                  <a:gd name="T21" fmla="*/ 40 h 78"/>
                  <a:gd name="T22" fmla="*/ 8 w 74"/>
                  <a:gd name="T23" fmla="*/ 43 h 78"/>
                  <a:gd name="T24" fmla="*/ 6 w 74"/>
                  <a:gd name="T25" fmla="*/ 49 h 78"/>
                  <a:gd name="T26" fmla="*/ 8 w 74"/>
                  <a:gd name="T27" fmla="*/ 54 h 78"/>
                  <a:gd name="T28" fmla="*/ 13 w 74"/>
                  <a:gd name="T29" fmla="*/ 57 h 78"/>
                  <a:gd name="T30" fmla="*/ 17 w 74"/>
                  <a:gd name="T31" fmla="*/ 59 h 78"/>
                  <a:gd name="T32" fmla="*/ 21 w 74"/>
                  <a:gd name="T33" fmla="*/ 60 h 78"/>
                  <a:gd name="T34" fmla="*/ 25 w 74"/>
                  <a:gd name="T35" fmla="*/ 62 h 78"/>
                  <a:gd name="T36" fmla="*/ 27 w 74"/>
                  <a:gd name="T37" fmla="*/ 65 h 78"/>
                  <a:gd name="T38" fmla="*/ 30 w 74"/>
                  <a:gd name="T39" fmla="*/ 68 h 78"/>
                  <a:gd name="T40" fmla="*/ 35 w 74"/>
                  <a:gd name="T41" fmla="*/ 71 h 78"/>
                  <a:gd name="T42" fmla="*/ 36 w 74"/>
                  <a:gd name="T43" fmla="*/ 76 h 78"/>
                  <a:gd name="T44" fmla="*/ 43 w 74"/>
                  <a:gd name="T45" fmla="*/ 76 h 78"/>
                  <a:gd name="T46" fmla="*/ 46 w 74"/>
                  <a:gd name="T47" fmla="*/ 76 h 78"/>
                  <a:gd name="T48" fmla="*/ 51 w 74"/>
                  <a:gd name="T49" fmla="*/ 71 h 78"/>
                  <a:gd name="T50" fmla="*/ 52 w 74"/>
                  <a:gd name="T51" fmla="*/ 67 h 78"/>
                  <a:gd name="T52" fmla="*/ 60 w 74"/>
                  <a:gd name="T53" fmla="*/ 65 h 78"/>
                  <a:gd name="T54" fmla="*/ 63 w 74"/>
                  <a:gd name="T55" fmla="*/ 65 h 78"/>
                  <a:gd name="T56" fmla="*/ 63 w 74"/>
                  <a:gd name="T57" fmla="*/ 59 h 78"/>
                  <a:gd name="T58" fmla="*/ 60 w 74"/>
                  <a:gd name="T59" fmla="*/ 54 h 78"/>
                  <a:gd name="T60" fmla="*/ 59 w 74"/>
                  <a:gd name="T61" fmla="*/ 46 h 78"/>
                  <a:gd name="T62" fmla="*/ 63 w 74"/>
                  <a:gd name="T63" fmla="*/ 46 h 78"/>
                  <a:gd name="T64" fmla="*/ 68 w 74"/>
                  <a:gd name="T65" fmla="*/ 47 h 78"/>
                  <a:gd name="T66" fmla="*/ 70 w 74"/>
                  <a:gd name="T67" fmla="*/ 43 h 78"/>
                  <a:gd name="T68" fmla="*/ 71 w 74"/>
                  <a:gd name="T69" fmla="*/ 40 h 78"/>
                  <a:gd name="T70" fmla="*/ 74 w 74"/>
                  <a:gd name="T71" fmla="*/ 35 h 78"/>
                  <a:gd name="T72" fmla="*/ 73 w 74"/>
                  <a:gd name="T73" fmla="*/ 30 h 78"/>
                  <a:gd name="T74" fmla="*/ 73 w 74"/>
                  <a:gd name="T75" fmla="*/ 25 h 78"/>
                  <a:gd name="T76" fmla="*/ 70 w 74"/>
                  <a:gd name="T77" fmla="*/ 21 h 78"/>
                  <a:gd name="T78" fmla="*/ 68 w 74"/>
                  <a:gd name="T79" fmla="*/ 14 h 78"/>
                  <a:gd name="T80" fmla="*/ 67 w 74"/>
                  <a:gd name="T81" fmla="*/ 8 h 78"/>
                  <a:gd name="T82" fmla="*/ 63 w 74"/>
                  <a:gd name="T83" fmla="*/ 3 h 78"/>
                  <a:gd name="T84" fmla="*/ 59 w 74"/>
                  <a:gd name="T85" fmla="*/ 5 h 78"/>
                  <a:gd name="T86" fmla="*/ 52 w 74"/>
                  <a:gd name="T87" fmla="*/ 6 h 78"/>
                  <a:gd name="T88" fmla="*/ 49 w 74"/>
                  <a:gd name="T89" fmla="*/ 5 h 78"/>
                  <a:gd name="T90" fmla="*/ 48 w 74"/>
                  <a:gd name="T91" fmla="*/ 0 h 78"/>
                  <a:gd name="T92" fmla="*/ 44 w 74"/>
                  <a:gd name="T93" fmla="*/ 3 h 78"/>
                  <a:gd name="T94" fmla="*/ 40 w 74"/>
                  <a:gd name="T95" fmla="*/ 6 h 78"/>
                  <a:gd name="T96" fmla="*/ 36 w 74"/>
                  <a:gd name="T97" fmla="*/ 2 h 78"/>
                  <a:gd name="T98" fmla="*/ 32 w 74"/>
                  <a:gd name="T99" fmla="*/ 0 h 78"/>
                  <a:gd name="T100" fmla="*/ 29 w 74"/>
                  <a:gd name="T101" fmla="*/ 3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4" h="78">
                    <a:moveTo>
                      <a:pt x="25" y="3"/>
                    </a:moveTo>
                    <a:lnTo>
                      <a:pt x="22" y="3"/>
                    </a:lnTo>
                    <a:lnTo>
                      <a:pt x="21" y="5"/>
                    </a:lnTo>
                    <a:lnTo>
                      <a:pt x="19" y="5"/>
                    </a:lnTo>
                    <a:lnTo>
                      <a:pt x="19" y="3"/>
                    </a:lnTo>
                    <a:lnTo>
                      <a:pt x="17" y="3"/>
                    </a:lnTo>
                    <a:lnTo>
                      <a:pt x="16" y="3"/>
                    </a:lnTo>
                    <a:lnTo>
                      <a:pt x="16" y="5"/>
                    </a:lnTo>
                    <a:lnTo>
                      <a:pt x="14" y="5"/>
                    </a:lnTo>
                    <a:lnTo>
                      <a:pt x="13" y="5"/>
                    </a:lnTo>
                    <a:lnTo>
                      <a:pt x="13" y="6"/>
                    </a:lnTo>
                    <a:lnTo>
                      <a:pt x="11" y="6"/>
                    </a:lnTo>
                    <a:lnTo>
                      <a:pt x="11" y="8"/>
                    </a:lnTo>
                    <a:lnTo>
                      <a:pt x="10" y="8"/>
                    </a:lnTo>
                    <a:lnTo>
                      <a:pt x="10" y="9"/>
                    </a:lnTo>
                    <a:lnTo>
                      <a:pt x="10" y="11"/>
                    </a:lnTo>
                    <a:lnTo>
                      <a:pt x="10" y="13"/>
                    </a:lnTo>
                    <a:lnTo>
                      <a:pt x="10" y="14"/>
                    </a:lnTo>
                    <a:lnTo>
                      <a:pt x="8" y="14"/>
                    </a:lnTo>
                    <a:lnTo>
                      <a:pt x="8" y="16"/>
                    </a:lnTo>
                    <a:lnTo>
                      <a:pt x="6" y="16"/>
                    </a:lnTo>
                    <a:lnTo>
                      <a:pt x="6" y="17"/>
                    </a:lnTo>
                    <a:lnTo>
                      <a:pt x="6" y="19"/>
                    </a:lnTo>
                    <a:lnTo>
                      <a:pt x="5" y="19"/>
                    </a:lnTo>
                    <a:lnTo>
                      <a:pt x="5" y="21"/>
                    </a:lnTo>
                    <a:lnTo>
                      <a:pt x="5" y="22"/>
                    </a:lnTo>
                    <a:lnTo>
                      <a:pt x="3" y="24"/>
                    </a:lnTo>
                    <a:lnTo>
                      <a:pt x="2" y="24"/>
                    </a:lnTo>
                    <a:lnTo>
                      <a:pt x="0" y="24"/>
                    </a:lnTo>
                    <a:lnTo>
                      <a:pt x="0" y="25"/>
                    </a:lnTo>
                    <a:lnTo>
                      <a:pt x="0" y="27"/>
                    </a:lnTo>
                    <a:lnTo>
                      <a:pt x="0" y="28"/>
                    </a:lnTo>
                    <a:lnTo>
                      <a:pt x="0" y="30"/>
                    </a:lnTo>
                    <a:lnTo>
                      <a:pt x="2" y="30"/>
                    </a:lnTo>
                    <a:lnTo>
                      <a:pt x="2" y="32"/>
                    </a:lnTo>
                    <a:lnTo>
                      <a:pt x="2" y="33"/>
                    </a:lnTo>
                    <a:lnTo>
                      <a:pt x="0" y="33"/>
                    </a:lnTo>
                    <a:lnTo>
                      <a:pt x="0" y="35"/>
                    </a:lnTo>
                    <a:lnTo>
                      <a:pt x="2" y="35"/>
                    </a:lnTo>
                    <a:lnTo>
                      <a:pt x="2" y="36"/>
                    </a:lnTo>
                    <a:lnTo>
                      <a:pt x="3" y="36"/>
                    </a:lnTo>
                    <a:lnTo>
                      <a:pt x="3" y="38"/>
                    </a:lnTo>
                    <a:lnTo>
                      <a:pt x="5" y="38"/>
                    </a:lnTo>
                    <a:lnTo>
                      <a:pt x="5" y="40"/>
                    </a:lnTo>
                    <a:lnTo>
                      <a:pt x="5" y="41"/>
                    </a:lnTo>
                    <a:lnTo>
                      <a:pt x="6" y="41"/>
                    </a:lnTo>
                    <a:lnTo>
                      <a:pt x="6" y="43"/>
                    </a:lnTo>
                    <a:lnTo>
                      <a:pt x="8" y="43"/>
                    </a:lnTo>
                    <a:lnTo>
                      <a:pt x="8" y="44"/>
                    </a:lnTo>
                    <a:lnTo>
                      <a:pt x="8" y="46"/>
                    </a:lnTo>
                    <a:lnTo>
                      <a:pt x="8" y="47"/>
                    </a:lnTo>
                    <a:lnTo>
                      <a:pt x="6" y="49"/>
                    </a:lnTo>
                    <a:lnTo>
                      <a:pt x="6" y="51"/>
                    </a:lnTo>
                    <a:lnTo>
                      <a:pt x="6" y="52"/>
                    </a:lnTo>
                    <a:lnTo>
                      <a:pt x="8" y="52"/>
                    </a:lnTo>
                    <a:lnTo>
                      <a:pt x="8" y="54"/>
                    </a:lnTo>
                    <a:lnTo>
                      <a:pt x="10" y="54"/>
                    </a:lnTo>
                    <a:lnTo>
                      <a:pt x="11" y="54"/>
                    </a:lnTo>
                    <a:lnTo>
                      <a:pt x="13" y="55"/>
                    </a:lnTo>
                    <a:lnTo>
                      <a:pt x="13" y="57"/>
                    </a:lnTo>
                    <a:lnTo>
                      <a:pt x="14" y="57"/>
                    </a:lnTo>
                    <a:lnTo>
                      <a:pt x="14" y="59"/>
                    </a:lnTo>
                    <a:lnTo>
                      <a:pt x="16" y="59"/>
                    </a:lnTo>
                    <a:lnTo>
                      <a:pt x="17" y="59"/>
                    </a:lnTo>
                    <a:lnTo>
                      <a:pt x="17" y="57"/>
                    </a:lnTo>
                    <a:lnTo>
                      <a:pt x="19" y="57"/>
                    </a:lnTo>
                    <a:lnTo>
                      <a:pt x="21" y="59"/>
                    </a:lnTo>
                    <a:lnTo>
                      <a:pt x="21" y="60"/>
                    </a:lnTo>
                    <a:lnTo>
                      <a:pt x="22" y="60"/>
                    </a:lnTo>
                    <a:lnTo>
                      <a:pt x="22" y="62"/>
                    </a:lnTo>
                    <a:lnTo>
                      <a:pt x="24" y="62"/>
                    </a:lnTo>
                    <a:lnTo>
                      <a:pt x="25" y="62"/>
                    </a:lnTo>
                    <a:lnTo>
                      <a:pt x="27" y="62"/>
                    </a:lnTo>
                    <a:lnTo>
                      <a:pt x="25" y="62"/>
                    </a:lnTo>
                    <a:lnTo>
                      <a:pt x="25" y="63"/>
                    </a:lnTo>
                    <a:lnTo>
                      <a:pt x="27" y="65"/>
                    </a:lnTo>
                    <a:lnTo>
                      <a:pt x="27" y="67"/>
                    </a:lnTo>
                    <a:lnTo>
                      <a:pt x="29" y="67"/>
                    </a:lnTo>
                    <a:lnTo>
                      <a:pt x="29" y="68"/>
                    </a:lnTo>
                    <a:lnTo>
                      <a:pt x="30" y="68"/>
                    </a:lnTo>
                    <a:lnTo>
                      <a:pt x="30" y="70"/>
                    </a:lnTo>
                    <a:lnTo>
                      <a:pt x="32" y="71"/>
                    </a:lnTo>
                    <a:lnTo>
                      <a:pt x="33" y="71"/>
                    </a:lnTo>
                    <a:lnTo>
                      <a:pt x="35" y="71"/>
                    </a:lnTo>
                    <a:lnTo>
                      <a:pt x="35" y="73"/>
                    </a:lnTo>
                    <a:lnTo>
                      <a:pt x="36" y="73"/>
                    </a:lnTo>
                    <a:lnTo>
                      <a:pt x="36" y="74"/>
                    </a:lnTo>
                    <a:lnTo>
                      <a:pt x="36" y="76"/>
                    </a:lnTo>
                    <a:lnTo>
                      <a:pt x="38" y="76"/>
                    </a:lnTo>
                    <a:lnTo>
                      <a:pt x="40" y="76"/>
                    </a:lnTo>
                    <a:lnTo>
                      <a:pt x="41" y="76"/>
                    </a:lnTo>
                    <a:lnTo>
                      <a:pt x="43" y="76"/>
                    </a:lnTo>
                    <a:lnTo>
                      <a:pt x="43" y="78"/>
                    </a:lnTo>
                    <a:lnTo>
                      <a:pt x="44" y="78"/>
                    </a:lnTo>
                    <a:lnTo>
                      <a:pt x="46" y="78"/>
                    </a:lnTo>
                    <a:lnTo>
                      <a:pt x="46" y="76"/>
                    </a:lnTo>
                    <a:lnTo>
                      <a:pt x="48" y="76"/>
                    </a:lnTo>
                    <a:lnTo>
                      <a:pt x="48" y="74"/>
                    </a:lnTo>
                    <a:lnTo>
                      <a:pt x="49" y="74"/>
                    </a:lnTo>
                    <a:lnTo>
                      <a:pt x="51" y="71"/>
                    </a:lnTo>
                    <a:lnTo>
                      <a:pt x="51" y="70"/>
                    </a:lnTo>
                    <a:lnTo>
                      <a:pt x="51" y="67"/>
                    </a:lnTo>
                    <a:lnTo>
                      <a:pt x="51" y="65"/>
                    </a:lnTo>
                    <a:lnTo>
                      <a:pt x="52" y="67"/>
                    </a:lnTo>
                    <a:lnTo>
                      <a:pt x="55" y="67"/>
                    </a:lnTo>
                    <a:lnTo>
                      <a:pt x="57" y="67"/>
                    </a:lnTo>
                    <a:lnTo>
                      <a:pt x="59" y="65"/>
                    </a:lnTo>
                    <a:lnTo>
                      <a:pt x="60" y="65"/>
                    </a:lnTo>
                    <a:lnTo>
                      <a:pt x="62" y="65"/>
                    </a:lnTo>
                    <a:lnTo>
                      <a:pt x="62" y="67"/>
                    </a:lnTo>
                    <a:lnTo>
                      <a:pt x="63" y="67"/>
                    </a:lnTo>
                    <a:lnTo>
                      <a:pt x="63" y="65"/>
                    </a:lnTo>
                    <a:lnTo>
                      <a:pt x="63" y="63"/>
                    </a:lnTo>
                    <a:lnTo>
                      <a:pt x="63" y="62"/>
                    </a:lnTo>
                    <a:lnTo>
                      <a:pt x="63" y="60"/>
                    </a:lnTo>
                    <a:lnTo>
                      <a:pt x="63" y="59"/>
                    </a:lnTo>
                    <a:lnTo>
                      <a:pt x="63" y="57"/>
                    </a:lnTo>
                    <a:lnTo>
                      <a:pt x="62" y="57"/>
                    </a:lnTo>
                    <a:lnTo>
                      <a:pt x="62" y="55"/>
                    </a:lnTo>
                    <a:lnTo>
                      <a:pt x="60" y="54"/>
                    </a:lnTo>
                    <a:lnTo>
                      <a:pt x="60" y="52"/>
                    </a:lnTo>
                    <a:lnTo>
                      <a:pt x="59" y="51"/>
                    </a:lnTo>
                    <a:lnTo>
                      <a:pt x="59" y="47"/>
                    </a:lnTo>
                    <a:lnTo>
                      <a:pt x="59" y="46"/>
                    </a:lnTo>
                    <a:lnTo>
                      <a:pt x="59" y="44"/>
                    </a:lnTo>
                    <a:lnTo>
                      <a:pt x="60" y="44"/>
                    </a:lnTo>
                    <a:lnTo>
                      <a:pt x="62" y="44"/>
                    </a:lnTo>
                    <a:lnTo>
                      <a:pt x="63" y="46"/>
                    </a:lnTo>
                    <a:lnTo>
                      <a:pt x="65" y="46"/>
                    </a:lnTo>
                    <a:lnTo>
                      <a:pt x="67" y="46"/>
                    </a:lnTo>
                    <a:lnTo>
                      <a:pt x="68" y="46"/>
                    </a:lnTo>
                    <a:lnTo>
                      <a:pt x="68" y="47"/>
                    </a:lnTo>
                    <a:lnTo>
                      <a:pt x="70" y="47"/>
                    </a:lnTo>
                    <a:lnTo>
                      <a:pt x="71" y="46"/>
                    </a:lnTo>
                    <a:lnTo>
                      <a:pt x="70" y="44"/>
                    </a:lnTo>
                    <a:lnTo>
                      <a:pt x="70" y="43"/>
                    </a:lnTo>
                    <a:lnTo>
                      <a:pt x="70" y="41"/>
                    </a:lnTo>
                    <a:lnTo>
                      <a:pt x="71" y="40"/>
                    </a:lnTo>
                    <a:lnTo>
                      <a:pt x="71" y="41"/>
                    </a:lnTo>
                    <a:lnTo>
                      <a:pt x="71" y="40"/>
                    </a:lnTo>
                    <a:lnTo>
                      <a:pt x="73" y="40"/>
                    </a:lnTo>
                    <a:lnTo>
                      <a:pt x="73" y="38"/>
                    </a:lnTo>
                    <a:lnTo>
                      <a:pt x="73" y="36"/>
                    </a:lnTo>
                    <a:lnTo>
                      <a:pt x="74" y="35"/>
                    </a:lnTo>
                    <a:lnTo>
                      <a:pt x="73" y="35"/>
                    </a:lnTo>
                    <a:lnTo>
                      <a:pt x="73" y="33"/>
                    </a:lnTo>
                    <a:lnTo>
                      <a:pt x="73" y="32"/>
                    </a:lnTo>
                    <a:lnTo>
                      <a:pt x="73" y="30"/>
                    </a:lnTo>
                    <a:lnTo>
                      <a:pt x="73" y="28"/>
                    </a:lnTo>
                    <a:lnTo>
                      <a:pt x="74" y="28"/>
                    </a:lnTo>
                    <a:lnTo>
                      <a:pt x="74" y="27"/>
                    </a:lnTo>
                    <a:lnTo>
                      <a:pt x="73" y="25"/>
                    </a:lnTo>
                    <a:lnTo>
                      <a:pt x="73" y="24"/>
                    </a:lnTo>
                    <a:lnTo>
                      <a:pt x="71" y="24"/>
                    </a:lnTo>
                    <a:lnTo>
                      <a:pt x="71" y="22"/>
                    </a:lnTo>
                    <a:lnTo>
                      <a:pt x="70" y="21"/>
                    </a:lnTo>
                    <a:lnTo>
                      <a:pt x="71" y="19"/>
                    </a:lnTo>
                    <a:lnTo>
                      <a:pt x="70" y="17"/>
                    </a:lnTo>
                    <a:lnTo>
                      <a:pt x="70" y="16"/>
                    </a:lnTo>
                    <a:lnTo>
                      <a:pt x="68" y="14"/>
                    </a:lnTo>
                    <a:lnTo>
                      <a:pt x="67" y="13"/>
                    </a:lnTo>
                    <a:lnTo>
                      <a:pt x="67" y="11"/>
                    </a:lnTo>
                    <a:lnTo>
                      <a:pt x="67" y="9"/>
                    </a:lnTo>
                    <a:lnTo>
                      <a:pt x="67" y="8"/>
                    </a:lnTo>
                    <a:lnTo>
                      <a:pt x="67" y="6"/>
                    </a:lnTo>
                    <a:lnTo>
                      <a:pt x="65" y="5"/>
                    </a:lnTo>
                    <a:lnTo>
                      <a:pt x="65" y="3"/>
                    </a:lnTo>
                    <a:lnTo>
                      <a:pt x="63" y="3"/>
                    </a:lnTo>
                    <a:lnTo>
                      <a:pt x="62" y="3"/>
                    </a:lnTo>
                    <a:lnTo>
                      <a:pt x="62" y="5"/>
                    </a:lnTo>
                    <a:lnTo>
                      <a:pt x="60" y="5"/>
                    </a:lnTo>
                    <a:lnTo>
                      <a:pt x="59" y="5"/>
                    </a:lnTo>
                    <a:lnTo>
                      <a:pt x="57" y="5"/>
                    </a:lnTo>
                    <a:lnTo>
                      <a:pt x="55" y="5"/>
                    </a:lnTo>
                    <a:lnTo>
                      <a:pt x="52" y="5"/>
                    </a:lnTo>
                    <a:lnTo>
                      <a:pt x="52" y="6"/>
                    </a:lnTo>
                    <a:lnTo>
                      <a:pt x="51" y="5"/>
                    </a:lnTo>
                    <a:lnTo>
                      <a:pt x="51" y="6"/>
                    </a:lnTo>
                    <a:lnTo>
                      <a:pt x="49" y="6"/>
                    </a:lnTo>
                    <a:lnTo>
                      <a:pt x="49" y="5"/>
                    </a:lnTo>
                    <a:lnTo>
                      <a:pt x="49" y="3"/>
                    </a:lnTo>
                    <a:lnTo>
                      <a:pt x="48" y="3"/>
                    </a:lnTo>
                    <a:lnTo>
                      <a:pt x="48" y="2"/>
                    </a:lnTo>
                    <a:lnTo>
                      <a:pt x="48" y="0"/>
                    </a:lnTo>
                    <a:lnTo>
                      <a:pt x="46" y="0"/>
                    </a:lnTo>
                    <a:lnTo>
                      <a:pt x="46" y="2"/>
                    </a:lnTo>
                    <a:lnTo>
                      <a:pt x="44" y="2"/>
                    </a:lnTo>
                    <a:lnTo>
                      <a:pt x="44" y="3"/>
                    </a:lnTo>
                    <a:lnTo>
                      <a:pt x="43" y="3"/>
                    </a:lnTo>
                    <a:lnTo>
                      <a:pt x="41" y="5"/>
                    </a:lnTo>
                    <a:lnTo>
                      <a:pt x="41" y="6"/>
                    </a:lnTo>
                    <a:lnTo>
                      <a:pt x="40" y="6"/>
                    </a:lnTo>
                    <a:lnTo>
                      <a:pt x="38" y="5"/>
                    </a:lnTo>
                    <a:lnTo>
                      <a:pt x="38" y="3"/>
                    </a:lnTo>
                    <a:lnTo>
                      <a:pt x="36" y="3"/>
                    </a:lnTo>
                    <a:lnTo>
                      <a:pt x="36" y="2"/>
                    </a:lnTo>
                    <a:lnTo>
                      <a:pt x="36" y="0"/>
                    </a:lnTo>
                    <a:lnTo>
                      <a:pt x="35" y="0"/>
                    </a:lnTo>
                    <a:lnTo>
                      <a:pt x="33" y="0"/>
                    </a:lnTo>
                    <a:lnTo>
                      <a:pt x="32" y="0"/>
                    </a:lnTo>
                    <a:lnTo>
                      <a:pt x="32" y="2"/>
                    </a:lnTo>
                    <a:lnTo>
                      <a:pt x="30" y="2"/>
                    </a:lnTo>
                    <a:lnTo>
                      <a:pt x="29" y="2"/>
                    </a:lnTo>
                    <a:lnTo>
                      <a:pt x="29" y="3"/>
                    </a:lnTo>
                    <a:lnTo>
                      <a:pt x="27" y="3"/>
                    </a:lnTo>
                    <a:lnTo>
                      <a:pt x="25" y="3"/>
                    </a:lnTo>
                  </a:path>
                </a:pathLst>
              </a:custGeom>
              <a:noFill/>
              <a:ln w="476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36" name="Freeform 34"/>
              <p:cNvSpPr>
                <a:spLocks/>
              </p:cNvSpPr>
              <p:nvPr/>
            </p:nvSpPr>
            <p:spPr bwMode="auto">
              <a:xfrm>
                <a:off x="2317" y="2357"/>
                <a:ext cx="70" cy="73"/>
              </a:xfrm>
              <a:custGeom>
                <a:avLst/>
                <a:gdLst>
                  <a:gd name="T0" fmla="*/ 68 w 70"/>
                  <a:gd name="T1" fmla="*/ 56 h 73"/>
                  <a:gd name="T2" fmla="*/ 65 w 70"/>
                  <a:gd name="T3" fmla="*/ 53 h 73"/>
                  <a:gd name="T4" fmla="*/ 62 w 70"/>
                  <a:gd name="T5" fmla="*/ 50 h 73"/>
                  <a:gd name="T6" fmla="*/ 60 w 70"/>
                  <a:gd name="T7" fmla="*/ 48 h 73"/>
                  <a:gd name="T8" fmla="*/ 62 w 70"/>
                  <a:gd name="T9" fmla="*/ 43 h 73"/>
                  <a:gd name="T10" fmla="*/ 62 w 70"/>
                  <a:gd name="T11" fmla="*/ 37 h 73"/>
                  <a:gd name="T12" fmla="*/ 63 w 70"/>
                  <a:gd name="T13" fmla="*/ 32 h 73"/>
                  <a:gd name="T14" fmla="*/ 63 w 70"/>
                  <a:gd name="T15" fmla="*/ 26 h 73"/>
                  <a:gd name="T16" fmla="*/ 65 w 70"/>
                  <a:gd name="T17" fmla="*/ 21 h 73"/>
                  <a:gd name="T18" fmla="*/ 60 w 70"/>
                  <a:gd name="T19" fmla="*/ 23 h 73"/>
                  <a:gd name="T20" fmla="*/ 57 w 70"/>
                  <a:gd name="T21" fmla="*/ 23 h 73"/>
                  <a:gd name="T22" fmla="*/ 54 w 70"/>
                  <a:gd name="T23" fmla="*/ 19 h 73"/>
                  <a:gd name="T24" fmla="*/ 49 w 70"/>
                  <a:gd name="T25" fmla="*/ 18 h 73"/>
                  <a:gd name="T26" fmla="*/ 48 w 70"/>
                  <a:gd name="T27" fmla="*/ 13 h 73"/>
                  <a:gd name="T28" fmla="*/ 49 w 70"/>
                  <a:gd name="T29" fmla="*/ 11 h 73"/>
                  <a:gd name="T30" fmla="*/ 52 w 70"/>
                  <a:gd name="T31" fmla="*/ 8 h 73"/>
                  <a:gd name="T32" fmla="*/ 48 w 70"/>
                  <a:gd name="T33" fmla="*/ 7 h 73"/>
                  <a:gd name="T34" fmla="*/ 44 w 70"/>
                  <a:gd name="T35" fmla="*/ 4 h 73"/>
                  <a:gd name="T36" fmla="*/ 41 w 70"/>
                  <a:gd name="T37" fmla="*/ 4 h 73"/>
                  <a:gd name="T38" fmla="*/ 36 w 70"/>
                  <a:gd name="T39" fmla="*/ 4 h 73"/>
                  <a:gd name="T40" fmla="*/ 33 w 70"/>
                  <a:gd name="T41" fmla="*/ 4 h 73"/>
                  <a:gd name="T42" fmla="*/ 29 w 70"/>
                  <a:gd name="T43" fmla="*/ 4 h 73"/>
                  <a:gd name="T44" fmla="*/ 22 w 70"/>
                  <a:gd name="T45" fmla="*/ 4 h 73"/>
                  <a:gd name="T46" fmla="*/ 19 w 70"/>
                  <a:gd name="T47" fmla="*/ 0 h 73"/>
                  <a:gd name="T48" fmla="*/ 14 w 70"/>
                  <a:gd name="T49" fmla="*/ 2 h 73"/>
                  <a:gd name="T50" fmla="*/ 11 w 70"/>
                  <a:gd name="T51" fmla="*/ 4 h 73"/>
                  <a:gd name="T52" fmla="*/ 10 w 70"/>
                  <a:gd name="T53" fmla="*/ 8 h 73"/>
                  <a:gd name="T54" fmla="*/ 10 w 70"/>
                  <a:gd name="T55" fmla="*/ 15 h 73"/>
                  <a:gd name="T56" fmla="*/ 10 w 70"/>
                  <a:gd name="T57" fmla="*/ 18 h 73"/>
                  <a:gd name="T58" fmla="*/ 8 w 70"/>
                  <a:gd name="T59" fmla="*/ 19 h 73"/>
                  <a:gd name="T60" fmla="*/ 5 w 70"/>
                  <a:gd name="T61" fmla="*/ 23 h 73"/>
                  <a:gd name="T62" fmla="*/ 3 w 70"/>
                  <a:gd name="T63" fmla="*/ 26 h 73"/>
                  <a:gd name="T64" fmla="*/ 2 w 70"/>
                  <a:gd name="T65" fmla="*/ 30 h 73"/>
                  <a:gd name="T66" fmla="*/ 2 w 70"/>
                  <a:gd name="T67" fmla="*/ 34 h 73"/>
                  <a:gd name="T68" fmla="*/ 2 w 70"/>
                  <a:gd name="T69" fmla="*/ 37 h 73"/>
                  <a:gd name="T70" fmla="*/ 0 w 70"/>
                  <a:gd name="T71" fmla="*/ 38 h 73"/>
                  <a:gd name="T72" fmla="*/ 2 w 70"/>
                  <a:gd name="T73" fmla="*/ 42 h 73"/>
                  <a:gd name="T74" fmla="*/ 0 w 70"/>
                  <a:gd name="T75" fmla="*/ 46 h 73"/>
                  <a:gd name="T76" fmla="*/ 2 w 70"/>
                  <a:gd name="T77" fmla="*/ 53 h 73"/>
                  <a:gd name="T78" fmla="*/ 6 w 70"/>
                  <a:gd name="T79" fmla="*/ 54 h 73"/>
                  <a:gd name="T80" fmla="*/ 10 w 70"/>
                  <a:gd name="T81" fmla="*/ 54 h 73"/>
                  <a:gd name="T82" fmla="*/ 13 w 70"/>
                  <a:gd name="T83" fmla="*/ 54 h 73"/>
                  <a:gd name="T84" fmla="*/ 19 w 70"/>
                  <a:gd name="T85" fmla="*/ 53 h 73"/>
                  <a:gd name="T86" fmla="*/ 24 w 70"/>
                  <a:gd name="T87" fmla="*/ 53 h 73"/>
                  <a:gd name="T88" fmla="*/ 27 w 70"/>
                  <a:gd name="T89" fmla="*/ 56 h 73"/>
                  <a:gd name="T90" fmla="*/ 32 w 70"/>
                  <a:gd name="T91" fmla="*/ 57 h 73"/>
                  <a:gd name="T92" fmla="*/ 38 w 70"/>
                  <a:gd name="T93" fmla="*/ 57 h 73"/>
                  <a:gd name="T94" fmla="*/ 40 w 70"/>
                  <a:gd name="T95" fmla="*/ 53 h 73"/>
                  <a:gd name="T96" fmla="*/ 43 w 70"/>
                  <a:gd name="T97" fmla="*/ 50 h 73"/>
                  <a:gd name="T98" fmla="*/ 46 w 70"/>
                  <a:gd name="T99" fmla="*/ 48 h 73"/>
                  <a:gd name="T100" fmla="*/ 46 w 70"/>
                  <a:gd name="T101" fmla="*/ 51 h 73"/>
                  <a:gd name="T102" fmla="*/ 49 w 70"/>
                  <a:gd name="T103" fmla="*/ 54 h 73"/>
                  <a:gd name="T104" fmla="*/ 55 w 70"/>
                  <a:gd name="T105" fmla="*/ 56 h 73"/>
                  <a:gd name="T106" fmla="*/ 57 w 70"/>
                  <a:gd name="T107" fmla="*/ 62 h 73"/>
                  <a:gd name="T108" fmla="*/ 57 w 70"/>
                  <a:gd name="T109" fmla="*/ 69 h 73"/>
                  <a:gd name="T110" fmla="*/ 60 w 70"/>
                  <a:gd name="T111" fmla="*/ 72 h 73"/>
                  <a:gd name="T112" fmla="*/ 65 w 70"/>
                  <a:gd name="T113" fmla="*/ 73 h 73"/>
                  <a:gd name="T114" fmla="*/ 70 w 70"/>
                  <a:gd name="T115" fmla="*/ 72 h 73"/>
                  <a:gd name="T116" fmla="*/ 70 w 70"/>
                  <a:gd name="T117" fmla="*/ 69 h 73"/>
                  <a:gd name="T118" fmla="*/ 67 w 70"/>
                  <a:gd name="T119" fmla="*/ 65 h 73"/>
                  <a:gd name="T120" fmla="*/ 63 w 70"/>
                  <a:gd name="T121" fmla="*/ 62 h 73"/>
                  <a:gd name="T122" fmla="*/ 68 w 70"/>
                  <a:gd name="T123" fmla="*/ 61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 h="73">
                    <a:moveTo>
                      <a:pt x="70" y="59"/>
                    </a:moveTo>
                    <a:lnTo>
                      <a:pt x="70" y="57"/>
                    </a:lnTo>
                    <a:lnTo>
                      <a:pt x="68" y="57"/>
                    </a:lnTo>
                    <a:lnTo>
                      <a:pt x="68" y="56"/>
                    </a:lnTo>
                    <a:lnTo>
                      <a:pt x="68" y="54"/>
                    </a:lnTo>
                    <a:lnTo>
                      <a:pt x="67" y="54"/>
                    </a:lnTo>
                    <a:lnTo>
                      <a:pt x="67" y="53"/>
                    </a:lnTo>
                    <a:lnTo>
                      <a:pt x="65" y="53"/>
                    </a:lnTo>
                    <a:lnTo>
                      <a:pt x="65" y="51"/>
                    </a:lnTo>
                    <a:lnTo>
                      <a:pt x="65" y="50"/>
                    </a:lnTo>
                    <a:lnTo>
                      <a:pt x="63" y="50"/>
                    </a:lnTo>
                    <a:lnTo>
                      <a:pt x="62" y="50"/>
                    </a:lnTo>
                    <a:lnTo>
                      <a:pt x="62" y="51"/>
                    </a:lnTo>
                    <a:lnTo>
                      <a:pt x="62" y="50"/>
                    </a:lnTo>
                    <a:lnTo>
                      <a:pt x="60" y="50"/>
                    </a:lnTo>
                    <a:lnTo>
                      <a:pt x="60" y="48"/>
                    </a:lnTo>
                    <a:lnTo>
                      <a:pt x="60" y="46"/>
                    </a:lnTo>
                    <a:lnTo>
                      <a:pt x="60" y="45"/>
                    </a:lnTo>
                    <a:lnTo>
                      <a:pt x="60" y="43"/>
                    </a:lnTo>
                    <a:lnTo>
                      <a:pt x="62" y="43"/>
                    </a:lnTo>
                    <a:lnTo>
                      <a:pt x="62" y="42"/>
                    </a:lnTo>
                    <a:lnTo>
                      <a:pt x="62" y="40"/>
                    </a:lnTo>
                    <a:lnTo>
                      <a:pt x="62" y="38"/>
                    </a:lnTo>
                    <a:lnTo>
                      <a:pt x="62" y="37"/>
                    </a:lnTo>
                    <a:lnTo>
                      <a:pt x="62" y="35"/>
                    </a:lnTo>
                    <a:lnTo>
                      <a:pt x="62" y="34"/>
                    </a:lnTo>
                    <a:lnTo>
                      <a:pt x="62" y="32"/>
                    </a:lnTo>
                    <a:lnTo>
                      <a:pt x="63" y="32"/>
                    </a:lnTo>
                    <a:lnTo>
                      <a:pt x="63" y="30"/>
                    </a:lnTo>
                    <a:lnTo>
                      <a:pt x="63" y="29"/>
                    </a:lnTo>
                    <a:lnTo>
                      <a:pt x="63" y="27"/>
                    </a:lnTo>
                    <a:lnTo>
                      <a:pt x="63" y="26"/>
                    </a:lnTo>
                    <a:lnTo>
                      <a:pt x="63" y="24"/>
                    </a:lnTo>
                    <a:lnTo>
                      <a:pt x="63" y="23"/>
                    </a:lnTo>
                    <a:lnTo>
                      <a:pt x="63" y="21"/>
                    </a:lnTo>
                    <a:lnTo>
                      <a:pt x="65" y="21"/>
                    </a:lnTo>
                    <a:lnTo>
                      <a:pt x="63" y="21"/>
                    </a:lnTo>
                    <a:lnTo>
                      <a:pt x="62" y="21"/>
                    </a:lnTo>
                    <a:lnTo>
                      <a:pt x="62" y="23"/>
                    </a:lnTo>
                    <a:lnTo>
                      <a:pt x="60" y="23"/>
                    </a:lnTo>
                    <a:lnTo>
                      <a:pt x="60" y="24"/>
                    </a:lnTo>
                    <a:lnTo>
                      <a:pt x="59" y="24"/>
                    </a:lnTo>
                    <a:lnTo>
                      <a:pt x="59" y="23"/>
                    </a:lnTo>
                    <a:lnTo>
                      <a:pt x="57" y="23"/>
                    </a:lnTo>
                    <a:lnTo>
                      <a:pt x="57" y="21"/>
                    </a:lnTo>
                    <a:lnTo>
                      <a:pt x="55" y="21"/>
                    </a:lnTo>
                    <a:lnTo>
                      <a:pt x="55" y="19"/>
                    </a:lnTo>
                    <a:lnTo>
                      <a:pt x="54" y="19"/>
                    </a:lnTo>
                    <a:lnTo>
                      <a:pt x="52" y="19"/>
                    </a:lnTo>
                    <a:lnTo>
                      <a:pt x="52" y="18"/>
                    </a:lnTo>
                    <a:lnTo>
                      <a:pt x="51" y="18"/>
                    </a:lnTo>
                    <a:lnTo>
                      <a:pt x="49" y="18"/>
                    </a:lnTo>
                    <a:lnTo>
                      <a:pt x="49" y="16"/>
                    </a:lnTo>
                    <a:lnTo>
                      <a:pt x="48" y="15"/>
                    </a:lnTo>
                    <a:lnTo>
                      <a:pt x="46" y="13"/>
                    </a:lnTo>
                    <a:lnTo>
                      <a:pt x="48" y="13"/>
                    </a:lnTo>
                    <a:lnTo>
                      <a:pt x="48" y="11"/>
                    </a:lnTo>
                    <a:lnTo>
                      <a:pt x="48" y="13"/>
                    </a:lnTo>
                    <a:lnTo>
                      <a:pt x="48" y="11"/>
                    </a:lnTo>
                    <a:lnTo>
                      <a:pt x="49" y="11"/>
                    </a:lnTo>
                    <a:lnTo>
                      <a:pt x="51" y="11"/>
                    </a:lnTo>
                    <a:lnTo>
                      <a:pt x="51" y="10"/>
                    </a:lnTo>
                    <a:lnTo>
                      <a:pt x="52" y="10"/>
                    </a:lnTo>
                    <a:lnTo>
                      <a:pt x="52" y="8"/>
                    </a:lnTo>
                    <a:lnTo>
                      <a:pt x="51" y="8"/>
                    </a:lnTo>
                    <a:lnTo>
                      <a:pt x="51" y="7"/>
                    </a:lnTo>
                    <a:lnTo>
                      <a:pt x="49" y="7"/>
                    </a:lnTo>
                    <a:lnTo>
                      <a:pt x="48" y="7"/>
                    </a:lnTo>
                    <a:lnTo>
                      <a:pt x="46" y="7"/>
                    </a:lnTo>
                    <a:lnTo>
                      <a:pt x="46" y="5"/>
                    </a:lnTo>
                    <a:lnTo>
                      <a:pt x="44" y="5"/>
                    </a:lnTo>
                    <a:lnTo>
                      <a:pt x="44" y="4"/>
                    </a:lnTo>
                    <a:lnTo>
                      <a:pt x="44" y="5"/>
                    </a:lnTo>
                    <a:lnTo>
                      <a:pt x="43" y="5"/>
                    </a:lnTo>
                    <a:lnTo>
                      <a:pt x="43" y="4"/>
                    </a:lnTo>
                    <a:lnTo>
                      <a:pt x="41" y="4"/>
                    </a:lnTo>
                    <a:lnTo>
                      <a:pt x="40" y="4"/>
                    </a:lnTo>
                    <a:lnTo>
                      <a:pt x="38" y="4"/>
                    </a:lnTo>
                    <a:lnTo>
                      <a:pt x="36" y="5"/>
                    </a:lnTo>
                    <a:lnTo>
                      <a:pt x="36" y="4"/>
                    </a:lnTo>
                    <a:lnTo>
                      <a:pt x="35" y="4"/>
                    </a:lnTo>
                    <a:lnTo>
                      <a:pt x="33" y="4"/>
                    </a:lnTo>
                    <a:lnTo>
                      <a:pt x="33" y="5"/>
                    </a:lnTo>
                    <a:lnTo>
                      <a:pt x="33" y="4"/>
                    </a:lnTo>
                    <a:lnTo>
                      <a:pt x="32" y="5"/>
                    </a:lnTo>
                    <a:lnTo>
                      <a:pt x="30" y="5"/>
                    </a:lnTo>
                    <a:lnTo>
                      <a:pt x="29" y="5"/>
                    </a:lnTo>
                    <a:lnTo>
                      <a:pt x="29" y="4"/>
                    </a:lnTo>
                    <a:lnTo>
                      <a:pt x="27" y="4"/>
                    </a:lnTo>
                    <a:lnTo>
                      <a:pt x="25" y="4"/>
                    </a:lnTo>
                    <a:lnTo>
                      <a:pt x="24" y="4"/>
                    </a:lnTo>
                    <a:lnTo>
                      <a:pt x="22" y="4"/>
                    </a:lnTo>
                    <a:lnTo>
                      <a:pt x="21" y="4"/>
                    </a:lnTo>
                    <a:lnTo>
                      <a:pt x="21" y="2"/>
                    </a:lnTo>
                    <a:lnTo>
                      <a:pt x="19" y="2"/>
                    </a:lnTo>
                    <a:lnTo>
                      <a:pt x="19" y="0"/>
                    </a:lnTo>
                    <a:lnTo>
                      <a:pt x="17" y="0"/>
                    </a:lnTo>
                    <a:lnTo>
                      <a:pt x="17" y="2"/>
                    </a:lnTo>
                    <a:lnTo>
                      <a:pt x="16" y="2"/>
                    </a:lnTo>
                    <a:lnTo>
                      <a:pt x="14" y="2"/>
                    </a:lnTo>
                    <a:lnTo>
                      <a:pt x="13" y="2"/>
                    </a:lnTo>
                    <a:lnTo>
                      <a:pt x="11" y="0"/>
                    </a:lnTo>
                    <a:lnTo>
                      <a:pt x="11" y="2"/>
                    </a:lnTo>
                    <a:lnTo>
                      <a:pt x="11" y="4"/>
                    </a:lnTo>
                    <a:lnTo>
                      <a:pt x="11" y="5"/>
                    </a:lnTo>
                    <a:lnTo>
                      <a:pt x="11" y="7"/>
                    </a:lnTo>
                    <a:lnTo>
                      <a:pt x="11" y="8"/>
                    </a:lnTo>
                    <a:lnTo>
                      <a:pt x="10" y="8"/>
                    </a:lnTo>
                    <a:lnTo>
                      <a:pt x="10" y="10"/>
                    </a:lnTo>
                    <a:lnTo>
                      <a:pt x="8" y="11"/>
                    </a:lnTo>
                    <a:lnTo>
                      <a:pt x="10" y="13"/>
                    </a:lnTo>
                    <a:lnTo>
                      <a:pt x="10" y="15"/>
                    </a:lnTo>
                    <a:lnTo>
                      <a:pt x="10" y="16"/>
                    </a:lnTo>
                    <a:lnTo>
                      <a:pt x="8" y="16"/>
                    </a:lnTo>
                    <a:lnTo>
                      <a:pt x="10" y="16"/>
                    </a:lnTo>
                    <a:lnTo>
                      <a:pt x="10" y="18"/>
                    </a:lnTo>
                    <a:lnTo>
                      <a:pt x="10" y="19"/>
                    </a:lnTo>
                    <a:lnTo>
                      <a:pt x="8" y="19"/>
                    </a:lnTo>
                    <a:lnTo>
                      <a:pt x="8" y="21"/>
                    </a:lnTo>
                    <a:lnTo>
                      <a:pt x="8" y="19"/>
                    </a:lnTo>
                    <a:lnTo>
                      <a:pt x="6" y="19"/>
                    </a:lnTo>
                    <a:lnTo>
                      <a:pt x="6" y="21"/>
                    </a:lnTo>
                    <a:lnTo>
                      <a:pt x="6" y="23"/>
                    </a:lnTo>
                    <a:lnTo>
                      <a:pt x="5" y="23"/>
                    </a:lnTo>
                    <a:lnTo>
                      <a:pt x="5" y="24"/>
                    </a:lnTo>
                    <a:lnTo>
                      <a:pt x="5" y="26"/>
                    </a:lnTo>
                    <a:lnTo>
                      <a:pt x="3" y="24"/>
                    </a:lnTo>
                    <a:lnTo>
                      <a:pt x="3" y="26"/>
                    </a:lnTo>
                    <a:lnTo>
                      <a:pt x="3" y="27"/>
                    </a:lnTo>
                    <a:lnTo>
                      <a:pt x="3" y="29"/>
                    </a:lnTo>
                    <a:lnTo>
                      <a:pt x="2" y="29"/>
                    </a:lnTo>
                    <a:lnTo>
                      <a:pt x="2" y="30"/>
                    </a:lnTo>
                    <a:lnTo>
                      <a:pt x="0" y="30"/>
                    </a:lnTo>
                    <a:lnTo>
                      <a:pt x="0" y="32"/>
                    </a:lnTo>
                    <a:lnTo>
                      <a:pt x="2" y="32"/>
                    </a:lnTo>
                    <a:lnTo>
                      <a:pt x="2" y="34"/>
                    </a:lnTo>
                    <a:lnTo>
                      <a:pt x="0" y="34"/>
                    </a:lnTo>
                    <a:lnTo>
                      <a:pt x="0" y="35"/>
                    </a:lnTo>
                    <a:lnTo>
                      <a:pt x="2" y="35"/>
                    </a:lnTo>
                    <a:lnTo>
                      <a:pt x="2" y="37"/>
                    </a:lnTo>
                    <a:lnTo>
                      <a:pt x="0" y="37"/>
                    </a:lnTo>
                    <a:lnTo>
                      <a:pt x="2" y="37"/>
                    </a:lnTo>
                    <a:lnTo>
                      <a:pt x="2" y="38"/>
                    </a:lnTo>
                    <a:lnTo>
                      <a:pt x="0" y="38"/>
                    </a:lnTo>
                    <a:lnTo>
                      <a:pt x="0" y="40"/>
                    </a:lnTo>
                    <a:lnTo>
                      <a:pt x="2" y="40"/>
                    </a:lnTo>
                    <a:lnTo>
                      <a:pt x="0" y="40"/>
                    </a:lnTo>
                    <a:lnTo>
                      <a:pt x="2" y="42"/>
                    </a:lnTo>
                    <a:lnTo>
                      <a:pt x="2" y="43"/>
                    </a:lnTo>
                    <a:lnTo>
                      <a:pt x="2" y="45"/>
                    </a:lnTo>
                    <a:lnTo>
                      <a:pt x="2" y="46"/>
                    </a:lnTo>
                    <a:lnTo>
                      <a:pt x="0" y="46"/>
                    </a:lnTo>
                    <a:lnTo>
                      <a:pt x="0" y="48"/>
                    </a:lnTo>
                    <a:lnTo>
                      <a:pt x="2" y="50"/>
                    </a:lnTo>
                    <a:lnTo>
                      <a:pt x="2" y="51"/>
                    </a:lnTo>
                    <a:lnTo>
                      <a:pt x="2" y="53"/>
                    </a:lnTo>
                    <a:lnTo>
                      <a:pt x="3" y="53"/>
                    </a:lnTo>
                    <a:lnTo>
                      <a:pt x="3" y="54"/>
                    </a:lnTo>
                    <a:lnTo>
                      <a:pt x="5" y="54"/>
                    </a:lnTo>
                    <a:lnTo>
                      <a:pt x="6" y="54"/>
                    </a:lnTo>
                    <a:lnTo>
                      <a:pt x="6" y="56"/>
                    </a:lnTo>
                    <a:lnTo>
                      <a:pt x="8" y="56"/>
                    </a:lnTo>
                    <a:lnTo>
                      <a:pt x="10" y="56"/>
                    </a:lnTo>
                    <a:lnTo>
                      <a:pt x="10" y="54"/>
                    </a:lnTo>
                    <a:lnTo>
                      <a:pt x="8" y="54"/>
                    </a:lnTo>
                    <a:lnTo>
                      <a:pt x="10" y="54"/>
                    </a:lnTo>
                    <a:lnTo>
                      <a:pt x="11" y="54"/>
                    </a:lnTo>
                    <a:lnTo>
                      <a:pt x="13" y="54"/>
                    </a:lnTo>
                    <a:lnTo>
                      <a:pt x="14" y="54"/>
                    </a:lnTo>
                    <a:lnTo>
                      <a:pt x="16" y="54"/>
                    </a:lnTo>
                    <a:lnTo>
                      <a:pt x="17" y="54"/>
                    </a:lnTo>
                    <a:lnTo>
                      <a:pt x="19" y="53"/>
                    </a:lnTo>
                    <a:lnTo>
                      <a:pt x="21" y="54"/>
                    </a:lnTo>
                    <a:lnTo>
                      <a:pt x="22" y="54"/>
                    </a:lnTo>
                    <a:lnTo>
                      <a:pt x="22" y="53"/>
                    </a:lnTo>
                    <a:lnTo>
                      <a:pt x="24" y="53"/>
                    </a:lnTo>
                    <a:lnTo>
                      <a:pt x="25" y="53"/>
                    </a:lnTo>
                    <a:lnTo>
                      <a:pt x="25" y="54"/>
                    </a:lnTo>
                    <a:lnTo>
                      <a:pt x="25" y="56"/>
                    </a:lnTo>
                    <a:lnTo>
                      <a:pt x="27" y="56"/>
                    </a:lnTo>
                    <a:lnTo>
                      <a:pt x="27" y="57"/>
                    </a:lnTo>
                    <a:lnTo>
                      <a:pt x="29" y="57"/>
                    </a:lnTo>
                    <a:lnTo>
                      <a:pt x="30" y="57"/>
                    </a:lnTo>
                    <a:lnTo>
                      <a:pt x="32" y="57"/>
                    </a:lnTo>
                    <a:lnTo>
                      <a:pt x="33" y="57"/>
                    </a:lnTo>
                    <a:lnTo>
                      <a:pt x="35" y="57"/>
                    </a:lnTo>
                    <a:lnTo>
                      <a:pt x="36" y="57"/>
                    </a:lnTo>
                    <a:lnTo>
                      <a:pt x="38" y="57"/>
                    </a:lnTo>
                    <a:lnTo>
                      <a:pt x="38" y="56"/>
                    </a:lnTo>
                    <a:lnTo>
                      <a:pt x="38" y="54"/>
                    </a:lnTo>
                    <a:lnTo>
                      <a:pt x="38" y="53"/>
                    </a:lnTo>
                    <a:lnTo>
                      <a:pt x="40" y="53"/>
                    </a:lnTo>
                    <a:lnTo>
                      <a:pt x="40" y="51"/>
                    </a:lnTo>
                    <a:lnTo>
                      <a:pt x="40" y="50"/>
                    </a:lnTo>
                    <a:lnTo>
                      <a:pt x="41" y="50"/>
                    </a:lnTo>
                    <a:lnTo>
                      <a:pt x="43" y="50"/>
                    </a:lnTo>
                    <a:lnTo>
                      <a:pt x="44" y="50"/>
                    </a:lnTo>
                    <a:lnTo>
                      <a:pt x="44" y="48"/>
                    </a:lnTo>
                    <a:lnTo>
                      <a:pt x="44" y="46"/>
                    </a:lnTo>
                    <a:lnTo>
                      <a:pt x="46" y="48"/>
                    </a:lnTo>
                    <a:lnTo>
                      <a:pt x="48" y="48"/>
                    </a:lnTo>
                    <a:lnTo>
                      <a:pt x="48" y="50"/>
                    </a:lnTo>
                    <a:lnTo>
                      <a:pt x="46" y="50"/>
                    </a:lnTo>
                    <a:lnTo>
                      <a:pt x="46" y="51"/>
                    </a:lnTo>
                    <a:lnTo>
                      <a:pt x="48" y="51"/>
                    </a:lnTo>
                    <a:lnTo>
                      <a:pt x="48" y="53"/>
                    </a:lnTo>
                    <a:lnTo>
                      <a:pt x="49" y="53"/>
                    </a:lnTo>
                    <a:lnTo>
                      <a:pt x="49" y="54"/>
                    </a:lnTo>
                    <a:lnTo>
                      <a:pt x="51" y="54"/>
                    </a:lnTo>
                    <a:lnTo>
                      <a:pt x="52" y="56"/>
                    </a:lnTo>
                    <a:lnTo>
                      <a:pt x="54" y="56"/>
                    </a:lnTo>
                    <a:lnTo>
                      <a:pt x="55" y="56"/>
                    </a:lnTo>
                    <a:lnTo>
                      <a:pt x="57" y="57"/>
                    </a:lnTo>
                    <a:lnTo>
                      <a:pt x="57" y="59"/>
                    </a:lnTo>
                    <a:lnTo>
                      <a:pt x="57" y="61"/>
                    </a:lnTo>
                    <a:lnTo>
                      <a:pt x="57" y="62"/>
                    </a:lnTo>
                    <a:lnTo>
                      <a:pt x="57" y="64"/>
                    </a:lnTo>
                    <a:lnTo>
                      <a:pt x="57" y="65"/>
                    </a:lnTo>
                    <a:lnTo>
                      <a:pt x="57" y="67"/>
                    </a:lnTo>
                    <a:lnTo>
                      <a:pt x="57" y="69"/>
                    </a:lnTo>
                    <a:lnTo>
                      <a:pt x="59" y="69"/>
                    </a:lnTo>
                    <a:lnTo>
                      <a:pt x="59" y="70"/>
                    </a:lnTo>
                    <a:lnTo>
                      <a:pt x="60" y="70"/>
                    </a:lnTo>
                    <a:lnTo>
                      <a:pt x="60" y="72"/>
                    </a:lnTo>
                    <a:lnTo>
                      <a:pt x="62" y="72"/>
                    </a:lnTo>
                    <a:lnTo>
                      <a:pt x="63" y="72"/>
                    </a:lnTo>
                    <a:lnTo>
                      <a:pt x="65" y="72"/>
                    </a:lnTo>
                    <a:lnTo>
                      <a:pt x="65" y="73"/>
                    </a:lnTo>
                    <a:lnTo>
                      <a:pt x="67" y="73"/>
                    </a:lnTo>
                    <a:lnTo>
                      <a:pt x="68" y="73"/>
                    </a:lnTo>
                    <a:lnTo>
                      <a:pt x="70" y="73"/>
                    </a:lnTo>
                    <a:lnTo>
                      <a:pt x="70" y="72"/>
                    </a:lnTo>
                    <a:lnTo>
                      <a:pt x="68" y="72"/>
                    </a:lnTo>
                    <a:lnTo>
                      <a:pt x="68" y="70"/>
                    </a:lnTo>
                    <a:lnTo>
                      <a:pt x="70" y="70"/>
                    </a:lnTo>
                    <a:lnTo>
                      <a:pt x="70" y="69"/>
                    </a:lnTo>
                    <a:lnTo>
                      <a:pt x="68" y="69"/>
                    </a:lnTo>
                    <a:lnTo>
                      <a:pt x="68" y="67"/>
                    </a:lnTo>
                    <a:lnTo>
                      <a:pt x="67" y="67"/>
                    </a:lnTo>
                    <a:lnTo>
                      <a:pt x="67" y="65"/>
                    </a:lnTo>
                    <a:lnTo>
                      <a:pt x="65" y="65"/>
                    </a:lnTo>
                    <a:lnTo>
                      <a:pt x="65" y="64"/>
                    </a:lnTo>
                    <a:lnTo>
                      <a:pt x="63" y="64"/>
                    </a:lnTo>
                    <a:lnTo>
                      <a:pt x="63" y="62"/>
                    </a:lnTo>
                    <a:lnTo>
                      <a:pt x="65" y="62"/>
                    </a:lnTo>
                    <a:lnTo>
                      <a:pt x="67" y="62"/>
                    </a:lnTo>
                    <a:lnTo>
                      <a:pt x="67" y="61"/>
                    </a:lnTo>
                    <a:lnTo>
                      <a:pt x="68" y="61"/>
                    </a:lnTo>
                    <a:lnTo>
                      <a:pt x="70" y="59"/>
                    </a:lnTo>
                  </a:path>
                </a:pathLst>
              </a:custGeom>
              <a:noFill/>
              <a:ln w="476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37" name="Freeform 35"/>
              <p:cNvSpPr>
                <a:spLocks/>
              </p:cNvSpPr>
              <p:nvPr/>
            </p:nvSpPr>
            <p:spPr bwMode="auto">
              <a:xfrm>
                <a:off x="2384" y="2368"/>
                <a:ext cx="28" cy="21"/>
              </a:xfrm>
              <a:custGeom>
                <a:avLst/>
                <a:gdLst>
                  <a:gd name="T0" fmla="*/ 15 w 28"/>
                  <a:gd name="T1" fmla="*/ 0 h 21"/>
                  <a:gd name="T2" fmla="*/ 15 w 28"/>
                  <a:gd name="T3" fmla="*/ 2 h 21"/>
                  <a:gd name="T4" fmla="*/ 14 w 28"/>
                  <a:gd name="T5" fmla="*/ 2 h 21"/>
                  <a:gd name="T6" fmla="*/ 12 w 28"/>
                  <a:gd name="T7" fmla="*/ 2 h 21"/>
                  <a:gd name="T8" fmla="*/ 12 w 28"/>
                  <a:gd name="T9" fmla="*/ 4 h 21"/>
                  <a:gd name="T10" fmla="*/ 12 w 28"/>
                  <a:gd name="T11" fmla="*/ 5 h 21"/>
                  <a:gd name="T12" fmla="*/ 11 w 28"/>
                  <a:gd name="T13" fmla="*/ 5 h 21"/>
                  <a:gd name="T14" fmla="*/ 9 w 28"/>
                  <a:gd name="T15" fmla="*/ 5 h 21"/>
                  <a:gd name="T16" fmla="*/ 7 w 28"/>
                  <a:gd name="T17" fmla="*/ 5 h 21"/>
                  <a:gd name="T18" fmla="*/ 7 w 28"/>
                  <a:gd name="T19" fmla="*/ 7 h 21"/>
                  <a:gd name="T20" fmla="*/ 6 w 28"/>
                  <a:gd name="T21" fmla="*/ 7 h 21"/>
                  <a:gd name="T22" fmla="*/ 6 w 28"/>
                  <a:gd name="T23" fmla="*/ 8 h 21"/>
                  <a:gd name="T24" fmla="*/ 4 w 28"/>
                  <a:gd name="T25" fmla="*/ 8 h 21"/>
                  <a:gd name="T26" fmla="*/ 3 w 28"/>
                  <a:gd name="T27" fmla="*/ 8 h 21"/>
                  <a:gd name="T28" fmla="*/ 1 w 28"/>
                  <a:gd name="T29" fmla="*/ 10 h 21"/>
                  <a:gd name="T30" fmla="*/ 1 w 28"/>
                  <a:gd name="T31" fmla="*/ 12 h 21"/>
                  <a:gd name="T32" fmla="*/ 0 w 28"/>
                  <a:gd name="T33" fmla="*/ 12 h 21"/>
                  <a:gd name="T34" fmla="*/ 0 w 28"/>
                  <a:gd name="T35" fmla="*/ 13 h 21"/>
                  <a:gd name="T36" fmla="*/ 1 w 28"/>
                  <a:gd name="T37" fmla="*/ 13 h 21"/>
                  <a:gd name="T38" fmla="*/ 3 w 28"/>
                  <a:gd name="T39" fmla="*/ 15 h 21"/>
                  <a:gd name="T40" fmla="*/ 4 w 28"/>
                  <a:gd name="T41" fmla="*/ 15 h 21"/>
                  <a:gd name="T42" fmla="*/ 6 w 28"/>
                  <a:gd name="T43" fmla="*/ 15 h 21"/>
                  <a:gd name="T44" fmla="*/ 6 w 28"/>
                  <a:gd name="T45" fmla="*/ 16 h 21"/>
                  <a:gd name="T46" fmla="*/ 6 w 28"/>
                  <a:gd name="T47" fmla="*/ 18 h 21"/>
                  <a:gd name="T48" fmla="*/ 7 w 28"/>
                  <a:gd name="T49" fmla="*/ 18 h 21"/>
                  <a:gd name="T50" fmla="*/ 7 w 28"/>
                  <a:gd name="T51" fmla="*/ 19 h 21"/>
                  <a:gd name="T52" fmla="*/ 9 w 28"/>
                  <a:gd name="T53" fmla="*/ 19 h 21"/>
                  <a:gd name="T54" fmla="*/ 9 w 28"/>
                  <a:gd name="T55" fmla="*/ 21 h 21"/>
                  <a:gd name="T56" fmla="*/ 11 w 28"/>
                  <a:gd name="T57" fmla="*/ 21 h 21"/>
                  <a:gd name="T58" fmla="*/ 12 w 28"/>
                  <a:gd name="T59" fmla="*/ 21 h 21"/>
                  <a:gd name="T60" fmla="*/ 14 w 28"/>
                  <a:gd name="T61" fmla="*/ 21 h 21"/>
                  <a:gd name="T62" fmla="*/ 14 w 28"/>
                  <a:gd name="T63" fmla="*/ 19 h 21"/>
                  <a:gd name="T64" fmla="*/ 15 w 28"/>
                  <a:gd name="T65" fmla="*/ 19 h 21"/>
                  <a:gd name="T66" fmla="*/ 17 w 28"/>
                  <a:gd name="T67" fmla="*/ 19 h 21"/>
                  <a:gd name="T68" fmla="*/ 19 w 28"/>
                  <a:gd name="T69" fmla="*/ 19 h 21"/>
                  <a:gd name="T70" fmla="*/ 19 w 28"/>
                  <a:gd name="T71" fmla="*/ 18 h 21"/>
                  <a:gd name="T72" fmla="*/ 20 w 28"/>
                  <a:gd name="T73" fmla="*/ 18 h 21"/>
                  <a:gd name="T74" fmla="*/ 22 w 28"/>
                  <a:gd name="T75" fmla="*/ 18 h 21"/>
                  <a:gd name="T76" fmla="*/ 22 w 28"/>
                  <a:gd name="T77" fmla="*/ 16 h 21"/>
                  <a:gd name="T78" fmla="*/ 23 w 28"/>
                  <a:gd name="T79" fmla="*/ 16 h 21"/>
                  <a:gd name="T80" fmla="*/ 25 w 28"/>
                  <a:gd name="T81" fmla="*/ 16 h 21"/>
                  <a:gd name="T82" fmla="*/ 26 w 28"/>
                  <a:gd name="T83" fmla="*/ 16 h 21"/>
                  <a:gd name="T84" fmla="*/ 26 w 28"/>
                  <a:gd name="T85" fmla="*/ 15 h 21"/>
                  <a:gd name="T86" fmla="*/ 28 w 28"/>
                  <a:gd name="T87" fmla="*/ 15 h 21"/>
                  <a:gd name="T88" fmla="*/ 28 w 28"/>
                  <a:gd name="T89" fmla="*/ 13 h 21"/>
                  <a:gd name="T90" fmla="*/ 28 w 28"/>
                  <a:gd name="T91" fmla="*/ 12 h 21"/>
                  <a:gd name="T92" fmla="*/ 26 w 28"/>
                  <a:gd name="T93" fmla="*/ 12 h 21"/>
                  <a:gd name="T94" fmla="*/ 25 w 28"/>
                  <a:gd name="T95" fmla="*/ 12 h 21"/>
                  <a:gd name="T96" fmla="*/ 25 w 28"/>
                  <a:gd name="T97" fmla="*/ 10 h 21"/>
                  <a:gd name="T98" fmla="*/ 23 w 28"/>
                  <a:gd name="T99" fmla="*/ 10 h 21"/>
                  <a:gd name="T100" fmla="*/ 23 w 28"/>
                  <a:gd name="T101" fmla="*/ 8 h 21"/>
                  <a:gd name="T102" fmla="*/ 22 w 28"/>
                  <a:gd name="T103" fmla="*/ 8 h 21"/>
                  <a:gd name="T104" fmla="*/ 20 w 28"/>
                  <a:gd name="T105" fmla="*/ 8 h 21"/>
                  <a:gd name="T106" fmla="*/ 20 w 28"/>
                  <a:gd name="T107" fmla="*/ 7 h 21"/>
                  <a:gd name="T108" fmla="*/ 20 w 28"/>
                  <a:gd name="T109" fmla="*/ 5 h 21"/>
                  <a:gd name="T110" fmla="*/ 20 w 28"/>
                  <a:gd name="T111" fmla="*/ 4 h 21"/>
                  <a:gd name="T112" fmla="*/ 19 w 28"/>
                  <a:gd name="T113" fmla="*/ 4 h 21"/>
                  <a:gd name="T114" fmla="*/ 19 w 28"/>
                  <a:gd name="T115" fmla="*/ 2 h 21"/>
                  <a:gd name="T116" fmla="*/ 17 w 28"/>
                  <a:gd name="T117" fmla="*/ 2 h 21"/>
                  <a:gd name="T118" fmla="*/ 15 w 28"/>
                  <a:gd name="T1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 h="21">
                    <a:moveTo>
                      <a:pt x="15" y="0"/>
                    </a:moveTo>
                    <a:lnTo>
                      <a:pt x="15" y="2"/>
                    </a:lnTo>
                    <a:lnTo>
                      <a:pt x="14" y="2"/>
                    </a:lnTo>
                    <a:lnTo>
                      <a:pt x="12" y="2"/>
                    </a:lnTo>
                    <a:lnTo>
                      <a:pt x="12" y="4"/>
                    </a:lnTo>
                    <a:lnTo>
                      <a:pt x="12" y="5"/>
                    </a:lnTo>
                    <a:lnTo>
                      <a:pt x="11" y="5"/>
                    </a:lnTo>
                    <a:lnTo>
                      <a:pt x="9" y="5"/>
                    </a:lnTo>
                    <a:lnTo>
                      <a:pt x="7" y="5"/>
                    </a:lnTo>
                    <a:lnTo>
                      <a:pt x="7" y="7"/>
                    </a:lnTo>
                    <a:lnTo>
                      <a:pt x="6" y="7"/>
                    </a:lnTo>
                    <a:lnTo>
                      <a:pt x="6" y="8"/>
                    </a:lnTo>
                    <a:lnTo>
                      <a:pt x="4" y="8"/>
                    </a:lnTo>
                    <a:lnTo>
                      <a:pt x="3" y="8"/>
                    </a:lnTo>
                    <a:lnTo>
                      <a:pt x="1" y="10"/>
                    </a:lnTo>
                    <a:lnTo>
                      <a:pt x="1" y="12"/>
                    </a:lnTo>
                    <a:lnTo>
                      <a:pt x="0" y="12"/>
                    </a:lnTo>
                    <a:lnTo>
                      <a:pt x="0" y="13"/>
                    </a:lnTo>
                    <a:lnTo>
                      <a:pt x="1" y="13"/>
                    </a:lnTo>
                    <a:lnTo>
                      <a:pt x="3" y="15"/>
                    </a:lnTo>
                    <a:lnTo>
                      <a:pt x="4" y="15"/>
                    </a:lnTo>
                    <a:lnTo>
                      <a:pt x="6" y="15"/>
                    </a:lnTo>
                    <a:lnTo>
                      <a:pt x="6" y="16"/>
                    </a:lnTo>
                    <a:lnTo>
                      <a:pt x="6" y="18"/>
                    </a:lnTo>
                    <a:lnTo>
                      <a:pt x="7" y="18"/>
                    </a:lnTo>
                    <a:lnTo>
                      <a:pt x="7" y="19"/>
                    </a:lnTo>
                    <a:lnTo>
                      <a:pt x="9" y="19"/>
                    </a:lnTo>
                    <a:lnTo>
                      <a:pt x="9" y="21"/>
                    </a:lnTo>
                    <a:lnTo>
                      <a:pt x="11" y="21"/>
                    </a:lnTo>
                    <a:lnTo>
                      <a:pt x="12" y="21"/>
                    </a:lnTo>
                    <a:lnTo>
                      <a:pt x="14" y="21"/>
                    </a:lnTo>
                    <a:lnTo>
                      <a:pt x="14" y="19"/>
                    </a:lnTo>
                    <a:lnTo>
                      <a:pt x="15" y="19"/>
                    </a:lnTo>
                    <a:lnTo>
                      <a:pt x="17" y="19"/>
                    </a:lnTo>
                    <a:lnTo>
                      <a:pt x="19" y="19"/>
                    </a:lnTo>
                    <a:lnTo>
                      <a:pt x="19" y="18"/>
                    </a:lnTo>
                    <a:lnTo>
                      <a:pt x="20" y="18"/>
                    </a:lnTo>
                    <a:lnTo>
                      <a:pt x="22" y="18"/>
                    </a:lnTo>
                    <a:lnTo>
                      <a:pt x="22" y="16"/>
                    </a:lnTo>
                    <a:lnTo>
                      <a:pt x="23" y="16"/>
                    </a:lnTo>
                    <a:lnTo>
                      <a:pt x="25" y="16"/>
                    </a:lnTo>
                    <a:lnTo>
                      <a:pt x="26" y="16"/>
                    </a:lnTo>
                    <a:lnTo>
                      <a:pt x="26" y="15"/>
                    </a:lnTo>
                    <a:lnTo>
                      <a:pt x="28" y="15"/>
                    </a:lnTo>
                    <a:lnTo>
                      <a:pt x="28" y="13"/>
                    </a:lnTo>
                    <a:lnTo>
                      <a:pt x="28" y="12"/>
                    </a:lnTo>
                    <a:lnTo>
                      <a:pt x="26" y="12"/>
                    </a:lnTo>
                    <a:lnTo>
                      <a:pt x="25" y="12"/>
                    </a:lnTo>
                    <a:lnTo>
                      <a:pt x="25" y="10"/>
                    </a:lnTo>
                    <a:lnTo>
                      <a:pt x="23" y="10"/>
                    </a:lnTo>
                    <a:lnTo>
                      <a:pt x="23" y="8"/>
                    </a:lnTo>
                    <a:lnTo>
                      <a:pt x="22" y="8"/>
                    </a:lnTo>
                    <a:lnTo>
                      <a:pt x="20" y="8"/>
                    </a:lnTo>
                    <a:lnTo>
                      <a:pt x="20" y="7"/>
                    </a:lnTo>
                    <a:lnTo>
                      <a:pt x="20" y="5"/>
                    </a:lnTo>
                    <a:lnTo>
                      <a:pt x="20" y="4"/>
                    </a:lnTo>
                    <a:lnTo>
                      <a:pt x="19" y="4"/>
                    </a:lnTo>
                    <a:lnTo>
                      <a:pt x="19" y="2"/>
                    </a:lnTo>
                    <a:lnTo>
                      <a:pt x="17" y="2"/>
                    </a:lnTo>
                    <a:lnTo>
                      <a:pt x="15" y="0"/>
                    </a:lnTo>
                  </a:path>
                </a:pathLst>
              </a:custGeom>
              <a:noFill/>
              <a:ln w="476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38" name="Freeform 36"/>
              <p:cNvSpPr>
                <a:spLocks/>
              </p:cNvSpPr>
              <p:nvPr/>
            </p:nvSpPr>
            <p:spPr bwMode="auto">
              <a:xfrm>
                <a:off x="4083" y="2254"/>
                <a:ext cx="64" cy="59"/>
              </a:xfrm>
              <a:custGeom>
                <a:avLst/>
                <a:gdLst>
                  <a:gd name="T0" fmla="*/ 57 w 64"/>
                  <a:gd name="T1" fmla="*/ 2 h 59"/>
                  <a:gd name="T2" fmla="*/ 52 w 64"/>
                  <a:gd name="T3" fmla="*/ 0 h 59"/>
                  <a:gd name="T4" fmla="*/ 48 w 64"/>
                  <a:gd name="T5" fmla="*/ 4 h 59"/>
                  <a:gd name="T6" fmla="*/ 43 w 64"/>
                  <a:gd name="T7" fmla="*/ 5 h 59"/>
                  <a:gd name="T8" fmla="*/ 38 w 64"/>
                  <a:gd name="T9" fmla="*/ 8 h 59"/>
                  <a:gd name="T10" fmla="*/ 32 w 64"/>
                  <a:gd name="T11" fmla="*/ 8 h 59"/>
                  <a:gd name="T12" fmla="*/ 29 w 64"/>
                  <a:gd name="T13" fmla="*/ 4 h 59"/>
                  <a:gd name="T14" fmla="*/ 26 w 64"/>
                  <a:gd name="T15" fmla="*/ 0 h 59"/>
                  <a:gd name="T16" fmla="*/ 21 w 64"/>
                  <a:gd name="T17" fmla="*/ 0 h 59"/>
                  <a:gd name="T18" fmla="*/ 16 w 64"/>
                  <a:gd name="T19" fmla="*/ 5 h 59"/>
                  <a:gd name="T20" fmla="*/ 14 w 64"/>
                  <a:gd name="T21" fmla="*/ 7 h 59"/>
                  <a:gd name="T22" fmla="*/ 13 w 64"/>
                  <a:gd name="T23" fmla="*/ 11 h 59"/>
                  <a:gd name="T24" fmla="*/ 8 w 64"/>
                  <a:gd name="T25" fmla="*/ 18 h 59"/>
                  <a:gd name="T26" fmla="*/ 3 w 64"/>
                  <a:gd name="T27" fmla="*/ 24 h 59"/>
                  <a:gd name="T28" fmla="*/ 2 w 64"/>
                  <a:gd name="T29" fmla="*/ 31 h 59"/>
                  <a:gd name="T30" fmla="*/ 2 w 64"/>
                  <a:gd name="T31" fmla="*/ 35 h 59"/>
                  <a:gd name="T32" fmla="*/ 0 w 64"/>
                  <a:gd name="T33" fmla="*/ 40 h 59"/>
                  <a:gd name="T34" fmla="*/ 0 w 64"/>
                  <a:gd name="T35" fmla="*/ 45 h 59"/>
                  <a:gd name="T36" fmla="*/ 2 w 64"/>
                  <a:gd name="T37" fmla="*/ 48 h 59"/>
                  <a:gd name="T38" fmla="*/ 5 w 64"/>
                  <a:gd name="T39" fmla="*/ 50 h 59"/>
                  <a:gd name="T40" fmla="*/ 10 w 64"/>
                  <a:gd name="T41" fmla="*/ 48 h 59"/>
                  <a:gd name="T42" fmla="*/ 16 w 64"/>
                  <a:gd name="T43" fmla="*/ 46 h 59"/>
                  <a:gd name="T44" fmla="*/ 19 w 64"/>
                  <a:gd name="T45" fmla="*/ 46 h 59"/>
                  <a:gd name="T46" fmla="*/ 21 w 64"/>
                  <a:gd name="T47" fmla="*/ 48 h 59"/>
                  <a:gd name="T48" fmla="*/ 24 w 64"/>
                  <a:gd name="T49" fmla="*/ 51 h 59"/>
                  <a:gd name="T50" fmla="*/ 27 w 64"/>
                  <a:gd name="T51" fmla="*/ 53 h 59"/>
                  <a:gd name="T52" fmla="*/ 32 w 64"/>
                  <a:gd name="T53" fmla="*/ 53 h 59"/>
                  <a:gd name="T54" fmla="*/ 37 w 64"/>
                  <a:gd name="T55" fmla="*/ 50 h 59"/>
                  <a:gd name="T56" fmla="*/ 41 w 64"/>
                  <a:gd name="T57" fmla="*/ 50 h 59"/>
                  <a:gd name="T58" fmla="*/ 45 w 64"/>
                  <a:gd name="T59" fmla="*/ 51 h 59"/>
                  <a:gd name="T60" fmla="*/ 48 w 64"/>
                  <a:gd name="T61" fmla="*/ 56 h 59"/>
                  <a:gd name="T62" fmla="*/ 51 w 64"/>
                  <a:gd name="T63" fmla="*/ 59 h 59"/>
                  <a:gd name="T64" fmla="*/ 56 w 64"/>
                  <a:gd name="T65" fmla="*/ 59 h 59"/>
                  <a:gd name="T66" fmla="*/ 57 w 64"/>
                  <a:gd name="T67" fmla="*/ 57 h 59"/>
                  <a:gd name="T68" fmla="*/ 59 w 64"/>
                  <a:gd name="T69" fmla="*/ 57 h 59"/>
                  <a:gd name="T70" fmla="*/ 60 w 64"/>
                  <a:gd name="T71" fmla="*/ 56 h 59"/>
                  <a:gd name="T72" fmla="*/ 64 w 64"/>
                  <a:gd name="T73" fmla="*/ 51 h 59"/>
                  <a:gd name="T74" fmla="*/ 62 w 64"/>
                  <a:gd name="T75" fmla="*/ 46 h 59"/>
                  <a:gd name="T76" fmla="*/ 60 w 64"/>
                  <a:gd name="T77" fmla="*/ 43 h 59"/>
                  <a:gd name="T78" fmla="*/ 59 w 64"/>
                  <a:gd name="T79" fmla="*/ 40 h 59"/>
                  <a:gd name="T80" fmla="*/ 57 w 64"/>
                  <a:gd name="T81" fmla="*/ 37 h 59"/>
                  <a:gd name="T82" fmla="*/ 56 w 64"/>
                  <a:gd name="T83" fmla="*/ 35 h 59"/>
                  <a:gd name="T84" fmla="*/ 57 w 64"/>
                  <a:gd name="T85" fmla="*/ 31 h 59"/>
                  <a:gd name="T86" fmla="*/ 59 w 64"/>
                  <a:gd name="T87" fmla="*/ 26 h 59"/>
                  <a:gd name="T88" fmla="*/ 60 w 64"/>
                  <a:gd name="T89" fmla="*/ 23 h 59"/>
                  <a:gd name="T90" fmla="*/ 60 w 64"/>
                  <a:gd name="T91" fmla="*/ 19 h 59"/>
                  <a:gd name="T92" fmla="*/ 59 w 64"/>
                  <a:gd name="T93" fmla="*/ 16 h 59"/>
                  <a:gd name="T94" fmla="*/ 60 w 64"/>
                  <a:gd name="T95" fmla="*/ 11 h 59"/>
                  <a:gd name="T96" fmla="*/ 62 w 64"/>
                  <a:gd name="T97" fmla="*/ 8 h 59"/>
                  <a:gd name="T98" fmla="*/ 60 w 64"/>
                  <a:gd name="T99" fmla="*/ 7 h 59"/>
                  <a:gd name="T100" fmla="*/ 60 w 64"/>
                  <a:gd name="T101" fmla="*/ 5 h 59"/>
                  <a:gd name="T102" fmla="*/ 57 w 64"/>
                  <a:gd name="T103" fmla="*/ 2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4" h="59">
                    <a:moveTo>
                      <a:pt x="57" y="2"/>
                    </a:moveTo>
                    <a:lnTo>
                      <a:pt x="52" y="0"/>
                    </a:lnTo>
                    <a:lnTo>
                      <a:pt x="48" y="4"/>
                    </a:lnTo>
                    <a:lnTo>
                      <a:pt x="43" y="5"/>
                    </a:lnTo>
                    <a:lnTo>
                      <a:pt x="38" y="8"/>
                    </a:lnTo>
                    <a:lnTo>
                      <a:pt x="32" y="8"/>
                    </a:lnTo>
                    <a:lnTo>
                      <a:pt x="29" y="4"/>
                    </a:lnTo>
                    <a:lnTo>
                      <a:pt x="26" y="0"/>
                    </a:lnTo>
                    <a:lnTo>
                      <a:pt x="21" y="0"/>
                    </a:lnTo>
                    <a:lnTo>
                      <a:pt x="16" y="5"/>
                    </a:lnTo>
                    <a:lnTo>
                      <a:pt x="14" y="7"/>
                    </a:lnTo>
                    <a:lnTo>
                      <a:pt x="13" y="11"/>
                    </a:lnTo>
                    <a:lnTo>
                      <a:pt x="8" y="18"/>
                    </a:lnTo>
                    <a:lnTo>
                      <a:pt x="3" y="24"/>
                    </a:lnTo>
                    <a:lnTo>
                      <a:pt x="2" y="31"/>
                    </a:lnTo>
                    <a:lnTo>
                      <a:pt x="2" y="35"/>
                    </a:lnTo>
                    <a:lnTo>
                      <a:pt x="0" y="40"/>
                    </a:lnTo>
                    <a:lnTo>
                      <a:pt x="0" y="45"/>
                    </a:lnTo>
                    <a:lnTo>
                      <a:pt x="2" y="48"/>
                    </a:lnTo>
                    <a:lnTo>
                      <a:pt x="5" y="50"/>
                    </a:lnTo>
                    <a:lnTo>
                      <a:pt x="10" y="48"/>
                    </a:lnTo>
                    <a:lnTo>
                      <a:pt x="16" y="46"/>
                    </a:lnTo>
                    <a:lnTo>
                      <a:pt x="19" y="46"/>
                    </a:lnTo>
                    <a:lnTo>
                      <a:pt x="21" y="48"/>
                    </a:lnTo>
                    <a:lnTo>
                      <a:pt x="24" y="51"/>
                    </a:lnTo>
                    <a:lnTo>
                      <a:pt x="27" y="53"/>
                    </a:lnTo>
                    <a:lnTo>
                      <a:pt x="32" y="53"/>
                    </a:lnTo>
                    <a:lnTo>
                      <a:pt x="37" y="50"/>
                    </a:lnTo>
                    <a:lnTo>
                      <a:pt x="41" y="50"/>
                    </a:lnTo>
                    <a:lnTo>
                      <a:pt x="45" y="51"/>
                    </a:lnTo>
                    <a:lnTo>
                      <a:pt x="48" y="56"/>
                    </a:lnTo>
                    <a:lnTo>
                      <a:pt x="51" y="59"/>
                    </a:lnTo>
                    <a:lnTo>
                      <a:pt x="56" y="59"/>
                    </a:lnTo>
                    <a:lnTo>
                      <a:pt x="57" y="57"/>
                    </a:lnTo>
                    <a:lnTo>
                      <a:pt x="59" y="57"/>
                    </a:lnTo>
                    <a:lnTo>
                      <a:pt x="60" y="56"/>
                    </a:lnTo>
                    <a:lnTo>
                      <a:pt x="64" y="51"/>
                    </a:lnTo>
                    <a:lnTo>
                      <a:pt x="62" y="46"/>
                    </a:lnTo>
                    <a:lnTo>
                      <a:pt x="60" y="43"/>
                    </a:lnTo>
                    <a:lnTo>
                      <a:pt x="59" y="40"/>
                    </a:lnTo>
                    <a:lnTo>
                      <a:pt x="57" y="37"/>
                    </a:lnTo>
                    <a:lnTo>
                      <a:pt x="56" y="35"/>
                    </a:lnTo>
                    <a:lnTo>
                      <a:pt x="57" y="31"/>
                    </a:lnTo>
                    <a:lnTo>
                      <a:pt x="59" y="26"/>
                    </a:lnTo>
                    <a:lnTo>
                      <a:pt x="60" y="23"/>
                    </a:lnTo>
                    <a:lnTo>
                      <a:pt x="60" y="19"/>
                    </a:lnTo>
                    <a:lnTo>
                      <a:pt x="59" y="16"/>
                    </a:lnTo>
                    <a:lnTo>
                      <a:pt x="60" y="11"/>
                    </a:lnTo>
                    <a:lnTo>
                      <a:pt x="62" y="8"/>
                    </a:lnTo>
                    <a:lnTo>
                      <a:pt x="60" y="7"/>
                    </a:lnTo>
                    <a:lnTo>
                      <a:pt x="60" y="5"/>
                    </a:lnTo>
                    <a:lnTo>
                      <a:pt x="57" y="2"/>
                    </a:lnTo>
                  </a:path>
                </a:pathLst>
              </a:custGeom>
              <a:noFill/>
              <a:ln w="476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39" name="Freeform 37"/>
              <p:cNvSpPr>
                <a:spLocks/>
              </p:cNvSpPr>
              <p:nvPr/>
            </p:nvSpPr>
            <p:spPr bwMode="auto">
              <a:xfrm>
                <a:off x="3218" y="1757"/>
                <a:ext cx="2595" cy="2269"/>
              </a:xfrm>
              <a:custGeom>
                <a:avLst/>
                <a:gdLst>
                  <a:gd name="T0" fmla="*/ 1065 w 2595"/>
                  <a:gd name="T1" fmla="*/ 5 h 2269"/>
                  <a:gd name="T2" fmla="*/ 1077 w 2595"/>
                  <a:gd name="T3" fmla="*/ 28 h 2269"/>
                  <a:gd name="T4" fmla="*/ 1112 w 2595"/>
                  <a:gd name="T5" fmla="*/ 35 h 2269"/>
                  <a:gd name="T6" fmla="*/ 1058 w 2595"/>
                  <a:gd name="T7" fmla="*/ 130 h 2269"/>
                  <a:gd name="T8" fmla="*/ 1082 w 2595"/>
                  <a:gd name="T9" fmla="*/ 217 h 2269"/>
                  <a:gd name="T10" fmla="*/ 1158 w 2595"/>
                  <a:gd name="T11" fmla="*/ 331 h 2269"/>
                  <a:gd name="T12" fmla="*/ 1220 w 2595"/>
                  <a:gd name="T13" fmla="*/ 398 h 2269"/>
                  <a:gd name="T14" fmla="*/ 1271 w 2595"/>
                  <a:gd name="T15" fmla="*/ 482 h 2269"/>
                  <a:gd name="T16" fmla="*/ 1372 w 2595"/>
                  <a:gd name="T17" fmla="*/ 551 h 2269"/>
                  <a:gd name="T18" fmla="*/ 1526 w 2595"/>
                  <a:gd name="T19" fmla="*/ 642 h 2269"/>
                  <a:gd name="T20" fmla="*/ 1743 w 2595"/>
                  <a:gd name="T21" fmla="*/ 714 h 2269"/>
                  <a:gd name="T22" fmla="*/ 1965 w 2595"/>
                  <a:gd name="T23" fmla="*/ 787 h 2269"/>
                  <a:gd name="T24" fmla="*/ 2117 w 2595"/>
                  <a:gd name="T25" fmla="*/ 838 h 2269"/>
                  <a:gd name="T26" fmla="*/ 2307 w 2595"/>
                  <a:gd name="T27" fmla="*/ 903 h 2269"/>
                  <a:gd name="T28" fmla="*/ 2158 w 2595"/>
                  <a:gd name="T29" fmla="*/ 1351 h 2269"/>
                  <a:gd name="T30" fmla="*/ 1434 w 2595"/>
                  <a:gd name="T31" fmla="*/ 1790 h 2269"/>
                  <a:gd name="T32" fmla="*/ 1152 w 2595"/>
                  <a:gd name="T33" fmla="*/ 1904 h 2269"/>
                  <a:gd name="T34" fmla="*/ 1106 w 2595"/>
                  <a:gd name="T35" fmla="*/ 1982 h 2269"/>
                  <a:gd name="T36" fmla="*/ 1016 w 2595"/>
                  <a:gd name="T37" fmla="*/ 2009 h 2269"/>
                  <a:gd name="T38" fmla="*/ 867 w 2595"/>
                  <a:gd name="T39" fmla="*/ 2023 h 2269"/>
                  <a:gd name="T40" fmla="*/ 815 w 2595"/>
                  <a:gd name="T41" fmla="*/ 2083 h 2269"/>
                  <a:gd name="T42" fmla="*/ 769 w 2595"/>
                  <a:gd name="T43" fmla="*/ 2082 h 2269"/>
                  <a:gd name="T44" fmla="*/ 718 w 2595"/>
                  <a:gd name="T45" fmla="*/ 2085 h 2269"/>
                  <a:gd name="T46" fmla="*/ 667 w 2595"/>
                  <a:gd name="T47" fmla="*/ 2087 h 2269"/>
                  <a:gd name="T48" fmla="*/ 607 w 2595"/>
                  <a:gd name="T49" fmla="*/ 2093 h 2269"/>
                  <a:gd name="T50" fmla="*/ 574 w 2595"/>
                  <a:gd name="T51" fmla="*/ 2058 h 2269"/>
                  <a:gd name="T52" fmla="*/ 526 w 2595"/>
                  <a:gd name="T53" fmla="*/ 2022 h 2269"/>
                  <a:gd name="T54" fmla="*/ 472 w 2595"/>
                  <a:gd name="T55" fmla="*/ 1999 h 2269"/>
                  <a:gd name="T56" fmla="*/ 138 w 2595"/>
                  <a:gd name="T57" fmla="*/ 2236 h 2269"/>
                  <a:gd name="T58" fmla="*/ 95 w 2595"/>
                  <a:gd name="T59" fmla="*/ 2253 h 2269"/>
                  <a:gd name="T60" fmla="*/ 8 w 2595"/>
                  <a:gd name="T61" fmla="*/ 2212 h 2269"/>
                  <a:gd name="T62" fmla="*/ 165 w 2595"/>
                  <a:gd name="T63" fmla="*/ 1933 h 2269"/>
                  <a:gd name="T64" fmla="*/ 293 w 2595"/>
                  <a:gd name="T65" fmla="*/ 1671 h 2269"/>
                  <a:gd name="T66" fmla="*/ 507 w 2595"/>
                  <a:gd name="T67" fmla="*/ 1588 h 2269"/>
                  <a:gd name="T68" fmla="*/ 520 w 2595"/>
                  <a:gd name="T69" fmla="*/ 1402 h 2269"/>
                  <a:gd name="T70" fmla="*/ 661 w 2595"/>
                  <a:gd name="T71" fmla="*/ 1321 h 2269"/>
                  <a:gd name="T72" fmla="*/ 824 w 2595"/>
                  <a:gd name="T73" fmla="*/ 1328 h 2269"/>
                  <a:gd name="T74" fmla="*/ 889 w 2595"/>
                  <a:gd name="T75" fmla="*/ 1204 h 2269"/>
                  <a:gd name="T76" fmla="*/ 815 w 2595"/>
                  <a:gd name="T77" fmla="*/ 1058 h 2269"/>
                  <a:gd name="T78" fmla="*/ 838 w 2595"/>
                  <a:gd name="T79" fmla="*/ 836 h 2269"/>
                  <a:gd name="T80" fmla="*/ 1014 w 2595"/>
                  <a:gd name="T81" fmla="*/ 829 h 2269"/>
                  <a:gd name="T82" fmla="*/ 1111 w 2595"/>
                  <a:gd name="T83" fmla="*/ 778 h 2269"/>
                  <a:gd name="T84" fmla="*/ 1077 w 2595"/>
                  <a:gd name="T85" fmla="*/ 642 h 2269"/>
                  <a:gd name="T86" fmla="*/ 1019 w 2595"/>
                  <a:gd name="T87" fmla="*/ 548 h 2269"/>
                  <a:gd name="T88" fmla="*/ 960 w 2595"/>
                  <a:gd name="T89" fmla="*/ 445 h 2269"/>
                  <a:gd name="T90" fmla="*/ 821 w 2595"/>
                  <a:gd name="T91" fmla="*/ 412 h 2269"/>
                  <a:gd name="T92" fmla="*/ 708 w 2595"/>
                  <a:gd name="T93" fmla="*/ 469 h 2269"/>
                  <a:gd name="T94" fmla="*/ 613 w 2595"/>
                  <a:gd name="T95" fmla="*/ 475 h 2269"/>
                  <a:gd name="T96" fmla="*/ 495 w 2595"/>
                  <a:gd name="T97" fmla="*/ 497 h 2269"/>
                  <a:gd name="T98" fmla="*/ 468 w 2595"/>
                  <a:gd name="T99" fmla="*/ 480 h 2269"/>
                  <a:gd name="T100" fmla="*/ 559 w 2595"/>
                  <a:gd name="T101" fmla="*/ 329 h 2269"/>
                  <a:gd name="T102" fmla="*/ 577 w 2595"/>
                  <a:gd name="T103" fmla="*/ 161 h 2269"/>
                  <a:gd name="T104" fmla="*/ 658 w 2595"/>
                  <a:gd name="T105" fmla="*/ 38 h 2269"/>
                  <a:gd name="T106" fmla="*/ 794 w 2595"/>
                  <a:gd name="T107" fmla="*/ 38 h 2269"/>
                  <a:gd name="T108" fmla="*/ 834 w 2595"/>
                  <a:gd name="T109" fmla="*/ 52 h 2269"/>
                  <a:gd name="T110" fmla="*/ 868 w 2595"/>
                  <a:gd name="T111" fmla="*/ 47 h 2269"/>
                  <a:gd name="T112" fmla="*/ 891 w 2595"/>
                  <a:gd name="T113" fmla="*/ 35 h 2269"/>
                  <a:gd name="T114" fmla="*/ 925 w 2595"/>
                  <a:gd name="T115" fmla="*/ 36 h 2269"/>
                  <a:gd name="T116" fmla="*/ 955 w 2595"/>
                  <a:gd name="T117" fmla="*/ 28 h 2269"/>
                  <a:gd name="T118" fmla="*/ 989 w 2595"/>
                  <a:gd name="T119" fmla="*/ 20 h 2269"/>
                  <a:gd name="T120" fmla="*/ 1022 w 2595"/>
                  <a:gd name="T121" fmla="*/ 8 h 2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95" h="2269">
                    <a:moveTo>
                      <a:pt x="1039" y="5"/>
                    </a:moveTo>
                    <a:lnTo>
                      <a:pt x="1041" y="5"/>
                    </a:lnTo>
                    <a:lnTo>
                      <a:pt x="1043" y="6"/>
                    </a:lnTo>
                    <a:lnTo>
                      <a:pt x="1044" y="6"/>
                    </a:lnTo>
                    <a:lnTo>
                      <a:pt x="1046" y="8"/>
                    </a:lnTo>
                    <a:lnTo>
                      <a:pt x="1047" y="8"/>
                    </a:lnTo>
                    <a:lnTo>
                      <a:pt x="1047" y="9"/>
                    </a:lnTo>
                    <a:lnTo>
                      <a:pt x="1049" y="11"/>
                    </a:lnTo>
                    <a:lnTo>
                      <a:pt x="1051" y="11"/>
                    </a:lnTo>
                    <a:lnTo>
                      <a:pt x="1052" y="11"/>
                    </a:lnTo>
                    <a:lnTo>
                      <a:pt x="1052" y="9"/>
                    </a:lnTo>
                    <a:lnTo>
                      <a:pt x="1054" y="9"/>
                    </a:lnTo>
                    <a:lnTo>
                      <a:pt x="1055" y="9"/>
                    </a:lnTo>
                    <a:lnTo>
                      <a:pt x="1057" y="9"/>
                    </a:lnTo>
                    <a:lnTo>
                      <a:pt x="1058" y="8"/>
                    </a:lnTo>
                    <a:lnTo>
                      <a:pt x="1060" y="8"/>
                    </a:lnTo>
                    <a:lnTo>
                      <a:pt x="1062" y="8"/>
                    </a:lnTo>
                    <a:lnTo>
                      <a:pt x="1063" y="8"/>
                    </a:lnTo>
                    <a:lnTo>
                      <a:pt x="1065" y="8"/>
                    </a:lnTo>
                    <a:lnTo>
                      <a:pt x="1065" y="6"/>
                    </a:lnTo>
                    <a:lnTo>
                      <a:pt x="1065" y="5"/>
                    </a:lnTo>
                    <a:lnTo>
                      <a:pt x="1066" y="5"/>
                    </a:lnTo>
                    <a:lnTo>
                      <a:pt x="1068" y="5"/>
                    </a:lnTo>
                    <a:lnTo>
                      <a:pt x="1070" y="5"/>
                    </a:lnTo>
                    <a:lnTo>
                      <a:pt x="1070" y="6"/>
                    </a:lnTo>
                    <a:lnTo>
                      <a:pt x="1070" y="8"/>
                    </a:lnTo>
                    <a:lnTo>
                      <a:pt x="1070" y="9"/>
                    </a:lnTo>
                    <a:lnTo>
                      <a:pt x="1071" y="9"/>
                    </a:lnTo>
                    <a:lnTo>
                      <a:pt x="1071" y="11"/>
                    </a:lnTo>
                    <a:lnTo>
                      <a:pt x="1073" y="11"/>
                    </a:lnTo>
                    <a:lnTo>
                      <a:pt x="1073" y="13"/>
                    </a:lnTo>
                    <a:lnTo>
                      <a:pt x="1074" y="14"/>
                    </a:lnTo>
                    <a:lnTo>
                      <a:pt x="1076" y="17"/>
                    </a:lnTo>
                    <a:lnTo>
                      <a:pt x="1076" y="19"/>
                    </a:lnTo>
                    <a:lnTo>
                      <a:pt x="1076" y="20"/>
                    </a:lnTo>
                    <a:lnTo>
                      <a:pt x="1077" y="20"/>
                    </a:lnTo>
                    <a:lnTo>
                      <a:pt x="1077" y="22"/>
                    </a:lnTo>
                    <a:lnTo>
                      <a:pt x="1077" y="24"/>
                    </a:lnTo>
                    <a:lnTo>
                      <a:pt x="1076" y="24"/>
                    </a:lnTo>
                    <a:lnTo>
                      <a:pt x="1076" y="25"/>
                    </a:lnTo>
                    <a:lnTo>
                      <a:pt x="1077" y="27"/>
                    </a:lnTo>
                    <a:lnTo>
                      <a:pt x="1077" y="28"/>
                    </a:lnTo>
                    <a:lnTo>
                      <a:pt x="1079" y="32"/>
                    </a:lnTo>
                    <a:lnTo>
                      <a:pt x="1081" y="32"/>
                    </a:lnTo>
                    <a:lnTo>
                      <a:pt x="1082" y="32"/>
                    </a:lnTo>
                    <a:lnTo>
                      <a:pt x="1089" y="32"/>
                    </a:lnTo>
                    <a:lnTo>
                      <a:pt x="1090" y="32"/>
                    </a:lnTo>
                    <a:lnTo>
                      <a:pt x="1092" y="32"/>
                    </a:lnTo>
                    <a:lnTo>
                      <a:pt x="1092" y="33"/>
                    </a:lnTo>
                    <a:lnTo>
                      <a:pt x="1095" y="33"/>
                    </a:lnTo>
                    <a:lnTo>
                      <a:pt x="1096" y="33"/>
                    </a:lnTo>
                    <a:lnTo>
                      <a:pt x="1098" y="33"/>
                    </a:lnTo>
                    <a:lnTo>
                      <a:pt x="1100" y="35"/>
                    </a:lnTo>
                    <a:lnTo>
                      <a:pt x="1100" y="36"/>
                    </a:lnTo>
                    <a:lnTo>
                      <a:pt x="1101" y="36"/>
                    </a:lnTo>
                    <a:lnTo>
                      <a:pt x="1103" y="36"/>
                    </a:lnTo>
                    <a:lnTo>
                      <a:pt x="1104" y="35"/>
                    </a:lnTo>
                    <a:lnTo>
                      <a:pt x="1106" y="36"/>
                    </a:lnTo>
                    <a:lnTo>
                      <a:pt x="1108" y="36"/>
                    </a:lnTo>
                    <a:lnTo>
                      <a:pt x="1109" y="36"/>
                    </a:lnTo>
                    <a:lnTo>
                      <a:pt x="1111" y="36"/>
                    </a:lnTo>
                    <a:lnTo>
                      <a:pt x="1111" y="35"/>
                    </a:lnTo>
                    <a:lnTo>
                      <a:pt x="1112" y="35"/>
                    </a:lnTo>
                    <a:lnTo>
                      <a:pt x="1114" y="35"/>
                    </a:lnTo>
                    <a:lnTo>
                      <a:pt x="1115" y="35"/>
                    </a:lnTo>
                    <a:lnTo>
                      <a:pt x="1115" y="33"/>
                    </a:lnTo>
                    <a:lnTo>
                      <a:pt x="1123" y="32"/>
                    </a:lnTo>
                    <a:lnTo>
                      <a:pt x="1125" y="32"/>
                    </a:lnTo>
                    <a:lnTo>
                      <a:pt x="1128" y="32"/>
                    </a:lnTo>
                    <a:lnTo>
                      <a:pt x="1120" y="43"/>
                    </a:lnTo>
                    <a:lnTo>
                      <a:pt x="1117" y="47"/>
                    </a:lnTo>
                    <a:lnTo>
                      <a:pt x="1114" y="52"/>
                    </a:lnTo>
                    <a:lnTo>
                      <a:pt x="1106" y="62"/>
                    </a:lnTo>
                    <a:lnTo>
                      <a:pt x="1103" y="65"/>
                    </a:lnTo>
                    <a:lnTo>
                      <a:pt x="1101" y="68"/>
                    </a:lnTo>
                    <a:lnTo>
                      <a:pt x="1100" y="70"/>
                    </a:lnTo>
                    <a:lnTo>
                      <a:pt x="1098" y="74"/>
                    </a:lnTo>
                    <a:lnTo>
                      <a:pt x="1093" y="79"/>
                    </a:lnTo>
                    <a:lnTo>
                      <a:pt x="1084" y="92"/>
                    </a:lnTo>
                    <a:lnTo>
                      <a:pt x="1081" y="97"/>
                    </a:lnTo>
                    <a:lnTo>
                      <a:pt x="1077" y="100"/>
                    </a:lnTo>
                    <a:lnTo>
                      <a:pt x="1071" y="109"/>
                    </a:lnTo>
                    <a:lnTo>
                      <a:pt x="1063" y="122"/>
                    </a:lnTo>
                    <a:lnTo>
                      <a:pt x="1058" y="130"/>
                    </a:lnTo>
                    <a:lnTo>
                      <a:pt x="1057" y="130"/>
                    </a:lnTo>
                    <a:lnTo>
                      <a:pt x="1054" y="133"/>
                    </a:lnTo>
                    <a:lnTo>
                      <a:pt x="1051" y="136"/>
                    </a:lnTo>
                    <a:lnTo>
                      <a:pt x="1047" y="141"/>
                    </a:lnTo>
                    <a:lnTo>
                      <a:pt x="1047" y="142"/>
                    </a:lnTo>
                    <a:lnTo>
                      <a:pt x="1047" y="146"/>
                    </a:lnTo>
                    <a:lnTo>
                      <a:pt x="1049" y="152"/>
                    </a:lnTo>
                    <a:lnTo>
                      <a:pt x="1051" y="157"/>
                    </a:lnTo>
                    <a:lnTo>
                      <a:pt x="1052" y="160"/>
                    </a:lnTo>
                    <a:lnTo>
                      <a:pt x="1054" y="161"/>
                    </a:lnTo>
                    <a:lnTo>
                      <a:pt x="1057" y="165"/>
                    </a:lnTo>
                    <a:lnTo>
                      <a:pt x="1058" y="165"/>
                    </a:lnTo>
                    <a:lnTo>
                      <a:pt x="1062" y="166"/>
                    </a:lnTo>
                    <a:lnTo>
                      <a:pt x="1063" y="168"/>
                    </a:lnTo>
                    <a:lnTo>
                      <a:pt x="1066" y="169"/>
                    </a:lnTo>
                    <a:lnTo>
                      <a:pt x="1068" y="180"/>
                    </a:lnTo>
                    <a:lnTo>
                      <a:pt x="1068" y="182"/>
                    </a:lnTo>
                    <a:lnTo>
                      <a:pt x="1071" y="185"/>
                    </a:lnTo>
                    <a:lnTo>
                      <a:pt x="1079" y="201"/>
                    </a:lnTo>
                    <a:lnTo>
                      <a:pt x="1082" y="215"/>
                    </a:lnTo>
                    <a:lnTo>
                      <a:pt x="1082" y="217"/>
                    </a:lnTo>
                    <a:lnTo>
                      <a:pt x="1084" y="220"/>
                    </a:lnTo>
                    <a:lnTo>
                      <a:pt x="1085" y="225"/>
                    </a:lnTo>
                    <a:lnTo>
                      <a:pt x="1090" y="238"/>
                    </a:lnTo>
                    <a:lnTo>
                      <a:pt x="1093" y="242"/>
                    </a:lnTo>
                    <a:lnTo>
                      <a:pt x="1096" y="247"/>
                    </a:lnTo>
                    <a:lnTo>
                      <a:pt x="1096" y="249"/>
                    </a:lnTo>
                    <a:lnTo>
                      <a:pt x="1098" y="250"/>
                    </a:lnTo>
                    <a:lnTo>
                      <a:pt x="1100" y="253"/>
                    </a:lnTo>
                    <a:lnTo>
                      <a:pt x="1104" y="258"/>
                    </a:lnTo>
                    <a:lnTo>
                      <a:pt x="1109" y="263"/>
                    </a:lnTo>
                    <a:lnTo>
                      <a:pt x="1123" y="276"/>
                    </a:lnTo>
                    <a:lnTo>
                      <a:pt x="1133" y="285"/>
                    </a:lnTo>
                    <a:lnTo>
                      <a:pt x="1138" y="288"/>
                    </a:lnTo>
                    <a:lnTo>
                      <a:pt x="1139" y="290"/>
                    </a:lnTo>
                    <a:lnTo>
                      <a:pt x="1142" y="293"/>
                    </a:lnTo>
                    <a:lnTo>
                      <a:pt x="1144" y="296"/>
                    </a:lnTo>
                    <a:lnTo>
                      <a:pt x="1149" y="304"/>
                    </a:lnTo>
                    <a:lnTo>
                      <a:pt x="1150" y="310"/>
                    </a:lnTo>
                    <a:lnTo>
                      <a:pt x="1153" y="320"/>
                    </a:lnTo>
                    <a:lnTo>
                      <a:pt x="1158" y="329"/>
                    </a:lnTo>
                    <a:lnTo>
                      <a:pt x="1158" y="331"/>
                    </a:lnTo>
                    <a:lnTo>
                      <a:pt x="1161" y="339"/>
                    </a:lnTo>
                    <a:lnTo>
                      <a:pt x="1165" y="344"/>
                    </a:lnTo>
                    <a:lnTo>
                      <a:pt x="1165" y="345"/>
                    </a:lnTo>
                    <a:lnTo>
                      <a:pt x="1166" y="347"/>
                    </a:lnTo>
                    <a:lnTo>
                      <a:pt x="1169" y="350"/>
                    </a:lnTo>
                    <a:lnTo>
                      <a:pt x="1173" y="352"/>
                    </a:lnTo>
                    <a:lnTo>
                      <a:pt x="1177" y="353"/>
                    </a:lnTo>
                    <a:lnTo>
                      <a:pt x="1180" y="353"/>
                    </a:lnTo>
                    <a:lnTo>
                      <a:pt x="1182" y="350"/>
                    </a:lnTo>
                    <a:lnTo>
                      <a:pt x="1182" y="348"/>
                    </a:lnTo>
                    <a:lnTo>
                      <a:pt x="1184" y="348"/>
                    </a:lnTo>
                    <a:lnTo>
                      <a:pt x="1187" y="352"/>
                    </a:lnTo>
                    <a:lnTo>
                      <a:pt x="1188" y="352"/>
                    </a:lnTo>
                    <a:lnTo>
                      <a:pt x="1193" y="353"/>
                    </a:lnTo>
                    <a:lnTo>
                      <a:pt x="1206" y="361"/>
                    </a:lnTo>
                    <a:lnTo>
                      <a:pt x="1215" y="366"/>
                    </a:lnTo>
                    <a:lnTo>
                      <a:pt x="1217" y="374"/>
                    </a:lnTo>
                    <a:lnTo>
                      <a:pt x="1218" y="382"/>
                    </a:lnTo>
                    <a:lnTo>
                      <a:pt x="1218" y="386"/>
                    </a:lnTo>
                    <a:lnTo>
                      <a:pt x="1220" y="393"/>
                    </a:lnTo>
                    <a:lnTo>
                      <a:pt x="1220" y="398"/>
                    </a:lnTo>
                    <a:lnTo>
                      <a:pt x="1222" y="407"/>
                    </a:lnTo>
                    <a:lnTo>
                      <a:pt x="1223" y="410"/>
                    </a:lnTo>
                    <a:lnTo>
                      <a:pt x="1225" y="420"/>
                    </a:lnTo>
                    <a:lnTo>
                      <a:pt x="1225" y="423"/>
                    </a:lnTo>
                    <a:lnTo>
                      <a:pt x="1226" y="432"/>
                    </a:lnTo>
                    <a:lnTo>
                      <a:pt x="1230" y="434"/>
                    </a:lnTo>
                    <a:lnTo>
                      <a:pt x="1234" y="434"/>
                    </a:lnTo>
                    <a:lnTo>
                      <a:pt x="1239" y="436"/>
                    </a:lnTo>
                    <a:lnTo>
                      <a:pt x="1239" y="437"/>
                    </a:lnTo>
                    <a:lnTo>
                      <a:pt x="1242" y="439"/>
                    </a:lnTo>
                    <a:lnTo>
                      <a:pt x="1245" y="440"/>
                    </a:lnTo>
                    <a:lnTo>
                      <a:pt x="1249" y="444"/>
                    </a:lnTo>
                    <a:lnTo>
                      <a:pt x="1249" y="445"/>
                    </a:lnTo>
                    <a:lnTo>
                      <a:pt x="1256" y="450"/>
                    </a:lnTo>
                    <a:lnTo>
                      <a:pt x="1258" y="451"/>
                    </a:lnTo>
                    <a:lnTo>
                      <a:pt x="1260" y="456"/>
                    </a:lnTo>
                    <a:lnTo>
                      <a:pt x="1260" y="461"/>
                    </a:lnTo>
                    <a:lnTo>
                      <a:pt x="1261" y="464"/>
                    </a:lnTo>
                    <a:lnTo>
                      <a:pt x="1266" y="474"/>
                    </a:lnTo>
                    <a:lnTo>
                      <a:pt x="1269" y="482"/>
                    </a:lnTo>
                    <a:lnTo>
                      <a:pt x="1271" y="482"/>
                    </a:lnTo>
                    <a:lnTo>
                      <a:pt x="1277" y="489"/>
                    </a:lnTo>
                    <a:lnTo>
                      <a:pt x="1282" y="494"/>
                    </a:lnTo>
                    <a:lnTo>
                      <a:pt x="1283" y="494"/>
                    </a:lnTo>
                    <a:lnTo>
                      <a:pt x="1285" y="494"/>
                    </a:lnTo>
                    <a:lnTo>
                      <a:pt x="1291" y="499"/>
                    </a:lnTo>
                    <a:lnTo>
                      <a:pt x="1296" y="501"/>
                    </a:lnTo>
                    <a:lnTo>
                      <a:pt x="1304" y="502"/>
                    </a:lnTo>
                    <a:lnTo>
                      <a:pt x="1307" y="504"/>
                    </a:lnTo>
                    <a:lnTo>
                      <a:pt x="1313" y="505"/>
                    </a:lnTo>
                    <a:lnTo>
                      <a:pt x="1315" y="507"/>
                    </a:lnTo>
                    <a:lnTo>
                      <a:pt x="1317" y="507"/>
                    </a:lnTo>
                    <a:lnTo>
                      <a:pt x="1328" y="507"/>
                    </a:lnTo>
                    <a:lnTo>
                      <a:pt x="1331" y="508"/>
                    </a:lnTo>
                    <a:lnTo>
                      <a:pt x="1332" y="512"/>
                    </a:lnTo>
                    <a:lnTo>
                      <a:pt x="1334" y="512"/>
                    </a:lnTo>
                    <a:lnTo>
                      <a:pt x="1334" y="513"/>
                    </a:lnTo>
                    <a:lnTo>
                      <a:pt x="1342" y="520"/>
                    </a:lnTo>
                    <a:lnTo>
                      <a:pt x="1347" y="524"/>
                    </a:lnTo>
                    <a:lnTo>
                      <a:pt x="1363" y="542"/>
                    </a:lnTo>
                    <a:lnTo>
                      <a:pt x="1364" y="543"/>
                    </a:lnTo>
                    <a:lnTo>
                      <a:pt x="1372" y="551"/>
                    </a:lnTo>
                    <a:lnTo>
                      <a:pt x="1374" y="551"/>
                    </a:lnTo>
                    <a:lnTo>
                      <a:pt x="1375" y="554"/>
                    </a:lnTo>
                    <a:lnTo>
                      <a:pt x="1394" y="573"/>
                    </a:lnTo>
                    <a:lnTo>
                      <a:pt x="1397" y="578"/>
                    </a:lnTo>
                    <a:lnTo>
                      <a:pt x="1402" y="581"/>
                    </a:lnTo>
                    <a:lnTo>
                      <a:pt x="1423" y="604"/>
                    </a:lnTo>
                    <a:lnTo>
                      <a:pt x="1424" y="605"/>
                    </a:lnTo>
                    <a:lnTo>
                      <a:pt x="1426" y="607"/>
                    </a:lnTo>
                    <a:lnTo>
                      <a:pt x="1428" y="607"/>
                    </a:lnTo>
                    <a:lnTo>
                      <a:pt x="1428" y="608"/>
                    </a:lnTo>
                    <a:lnTo>
                      <a:pt x="1434" y="611"/>
                    </a:lnTo>
                    <a:lnTo>
                      <a:pt x="1442" y="615"/>
                    </a:lnTo>
                    <a:lnTo>
                      <a:pt x="1443" y="615"/>
                    </a:lnTo>
                    <a:lnTo>
                      <a:pt x="1462" y="623"/>
                    </a:lnTo>
                    <a:lnTo>
                      <a:pt x="1473" y="626"/>
                    </a:lnTo>
                    <a:lnTo>
                      <a:pt x="1485" y="629"/>
                    </a:lnTo>
                    <a:lnTo>
                      <a:pt x="1497" y="634"/>
                    </a:lnTo>
                    <a:lnTo>
                      <a:pt x="1500" y="634"/>
                    </a:lnTo>
                    <a:lnTo>
                      <a:pt x="1505" y="635"/>
                    </a:lnTo>
                    <a:lnTo>
                      <a:pt x="1510" y="637"/>
                    </a:lnTo>
                    <a:lnTo>
                      <a:pt x="1526" y="642"/>
                    </a:lnTo>
                    <a:lnTo>
                      <a:pt x="1532" y="645"/>
                    </a:lnTo>
                    <a:lnTo>
                      <a:pt x="1542" y="648"/>
                    </a:lnTo>
                    <a:lnTo>
                      <a:pt x="1561" y="654"/>
                    </a:lnTo>
                    <a:lnTo>
                      <a:pt x="1567" y="656"/>
                    </a:lnTo>
                    <a:lnTo>
                      <a:pt x="1578" y="659"/>
                    </a:lnTo>
                    <a:lnTo>
                      <a:pt x="1583" y="661"/>
                    </a:lnTo>
                    <a:lnTo>
                      <a:pt x="1584" y="662"/>
                    </a:lnTo>
                    <a:lnTo>
                      <a:pt x="1594" y="665"/>
                    </a:lnTo>
                    <a:lnTo>
                      <a:pt x="1603" y="669"/>
                    </a:lnTo>
                    <a:lnTo>
                      <a:pt x="1633" y="678"/>
                    </a:lnTo>
                    <a:lnTo>
                      <a:pt x="1638" y="680"/>
                    </a:lnTo>
                    <a:lnTo>
                      <a:pt x="1659" y="688"/>
                    </a:lnTo>
                    <a:lnTo>
                      <a:pt x="1664" y="689"/>
                    </a:lnTo>
                    <a:lnTo>
                      <a:pt x="1667" y="689"/>
                    </a:lnTo>
                    <a:lnTo>
                      <a:pt x="1675" y="692"/>
                    </a:lnTo>
                    <a:lnTo>
                      <a:pt x="1684" y="695"/>
                    </a:lnTo>
                    <a:lnTo>
                      <a:pt x="1708" y="703"/>
                    </a:lnTo>
                    <a:lnTo>
                      <a:pt x="1721" y="708"/>
                    </a:lnTo>
                    <a:lnTo>
                      <a:pt x="1724" y="708"/>
                    </a:lnTo>
                    <a:lnTo>
                      <a:pt x="1724" y="710"/>
                    </a:lnTo>
                    <a:lnTo>
                      <a:pt x="1743" y="714"/>
                    </a:lnTo>
                    <a:lnTo>
                      <a:pt x="1752" y="718"/>
                    </a:lnTo>
                    <a:lnTo>
                      <a:pt x="1759" y="721"/>
                    </a:lnTo>
                    <a:lnTo>
                      <a:pt x="1778" y="727"/>
                    </a:lnTo>
                    <a:lnTo>
                      <a:pt x="1793" y="732"/>
                    </a:lnTo>
                    <a:lnTo>
                      <a:pt x="1798" y="733"/>
                    </a:lnTo>
                    <a:lnTo>
                      <a:pt x="1801" y="735"/>
                    </a:lnTo>
                    <a:lnTo>
                      <a:pt x="1814" y="738"/>
                    </a:lnTo>
                    <a:lnTo>
                      <a:pt x="1849" y="749"/>
                    </a:lnTo>
                    <a:lnTo>
                      <a:pt x="1863" y="754"/>
                    </a:lnTo>
                    <a:lnTo>
                      <a:pt x="1868" y="756"/>
                    </a:lnTo>
                    <a:lnTo>
                      <a:pt x="1873" y="757"/>
                    </a:lnTo>
                    <a:lnTo>
                      <a:pt x="1877" y="759"/>
                    </a:lnTo>
                    <a:lnTo>
                      <a:pt x="1884" y="760"/>
                    </a:lnTo>
                    <a:lnTo>
                      <a:pt x="1901" y="767"/>
                    </a:lnTo>
                    <a:lnTo>
                      <a:pt x="1906" y="768"/>
                    </a:lnTo>
                    <a:lnTo>
                      <a:pt x="1915" y="772"/>
                    </a:lnTo>
                    <a:lnTo>
                      <a:pt x="1917" y="772"/>
                    </a:lnTo>
                    <a:lnTo>
                      <a:pt x="1919" y="773"/>
                    </a:lnTo>
                    <a:lnTo>
                      <a:pt x="1947" y="783"/>
                    </a:lnTo>
                    <a:lnTo>
                      <a:pt x="1953" y="784"/>
                    </a:lnTo>
                    <a:lnTo>
                      <a:pt x="1965" y="787"/>
                    </a:lnTo>
                    <a:lnTo>
                      <a:pt x="1985" y="795"/>
                    </a:lnTo>
                    <a:lnTo>
                      <a:pt x="1988" y="795"/>
                    </a:lnTo>
                    <a:lnTo>
                      <a:pt x="1990" y="797"/>
                    </a:lnTo>
                    <a:lnTo>
                      <a:pt x="1993" y="798"/>
                    </a:lnTo>
                    <a:lnTo>
                      <a:pt x="2025" y="808"/>
                    </a:lnTo>
                    <a:lnTo>
                      <a:pt x="2029" y="810"/>
                    </a:lnTo>
                    <a:lnTo>
                      <a:pt x="2033" y="810"/>
                    </a:lnTo>
                    <a:lnTo>
                      <a:pt x="2036" y="811"/>
                    </a:lnTo>
                    <a:lnTo>
                      <a:pt x="2041" y="813"/>
                    </a:lnTo>
                    <a:lnTo>
                      <a:pt x="2044" y="813"/>
                    </a:lnTo>
                    <a:lnTo>
                      <a:pt x="2048" y="816"/>
                    </a:lnTo>
                    <a:lnTo>
                      <a:pt x="2060" y="819"/>
                    </a:lnTo>
                    <a:lnTo>
                      <a:pt x="2071" y="822"/>
                    </a:lnTo>
                    <a:lnTo>
                      <a:pt x="2072" y="824"/>
                    </a:lnTo>
                    <a:lnTo>
                      <a:pt x="2077" y="825"/>
                    </a:lnTo>
                    <a:lnTo>
                      <a:pt x="2082" y="827"/>
                    </a:lnTo>
                    <a:lnTo>
                      <a:pt x="2085" y="827"/>
                    </a:lnTo>
                    <a:lnTo>
                      <a:pt x="2094" y="830"/>
                    </a:lnTo>
                    <a:lnTo>
                      <a:pt x="2101" y="833"/>
                    </a:lnTo>
                    <a:lnTo>
                      <a:pt x="2112" y="836"/>
                    </a:lnTo>
                    <a:lnTo>
                      <a:pt x="2117" y="838"/>
                    </a:lnTo>
                    <a:lnTo>
                      <a:pt x="2129" y="843"/>
                    </a:lnTo>
                    <a:lnTo>
                      <a:pt x="2147" y="848"/>
                    </a:lnTo>
                    <a:lnTo>
                      <a:pt x="2148" y="849"/>
                    </a:lnTo>
                    <a:lnTo>
                      <a:pt x="2155" y="851"/>
                    </a:lnTo>
                    <a:lnTo>
                      <a:pt x="2156" y="852"/>
                    </a:lnTo>
                    <a:lnTo>
                      <a:pt x="2164" y="854"/>
                    </a:lnTo>
                    <a:lnTo>
                      <a:pt x="2167" y="855"/>
                    </a:lnTo>
                    <a:lnTo>
                      <a:pt x="2185" y="860"/>
                    </a:lnTo>
                    <a:lnTo>
                      <a:pt x="2186" y="862"/>
                    </a:lnTo>
                    <a:lnTo>
                      <a:pt x="2194" y="865"/>
                    </a:lnTo>
                    <a:lnTo>
                      <a:pt x="2199" y="867"/>
                    </a:lnTo>
                    <a:lnTo>
                      <a:pt x="2212" y="870"/>
                    </a:lnTo>
                    <a:lnTo>
                      <a:pt x="2232" y="878"/>
                    </a:lnTo>
                    <a:lnTo>
                      <a:pt x="2234" y="878"/>
                    </a:lnTo>
                    <a:lnTo>
                      <a:pt x="2239" y="879"/>
                    </a:lnTo>
                    <a:lnTo>
                      <a:pt x="2269" y="890"/>
                    </a:lnTo>
                    <a:lnTo>
                      <a:pt x="2275" y="892"/>
                    </a:lnTo>
                    <a:lnTo>
                      <a:pt x="2283" y="895"/>
                    </a:lnTo>
                    <a:lnTo>
                      <a:pt x="2304" y="901"/>
                    </a:lnTo>
                    <a:lnTo>
                      <a:pt x="2304" y="903"/>
                    </a:lnTo>
                    <a:lnTo>
                      <a:pt x="2307" y="903"/>
                    </a:lnTo>
                    <a:lnTo>
                      <a:pt x="2310" y="903"/>
                    </a:lnTo>
                    <a:lnTo>
                      <a:pt x="2337" y="903"/>
                    </a:lnTo>
                    <a:lnTo>
                      <a:pt x="2365" y="903"/>
                    </a:lnTo>
                    <a:lnTo>
                      <a:pt x="2394" y="903"/>
                    </a:lnTo>
                    <a:lnTo>
                      <a:pt x="2424" y="903"/>
                    </a:lnTo>
                    <a:lnTo>
                      <a:pt x="2435" y="903"/>
                    </a:lnTo>
                    <a:lnTo>
                      <a:pt x="2452" y="903"/>
                    </a:lnTo>
                    <a:lnTo>
                      <a:pt x="2482" y="903"/>
                    </a:lnTo>
                    <a:lnTo>
                      <a:pt x="2511" y="903"/>
                    </a:lnTo>
                    <a:lnTo>
                      <a:pt x="2541" y="903"/>
                    </a:lnTo>
                    <a:lnTo>
                      <a:pt x="2570" y="903"/>
                    </a:lnTo>
                    <a:lnTo>
                      <a:pt x="2576" y="903"/>
                    </a:lnTo>
                    <a:lnTo>
                      <a:pt x="2582" y="903"/>
                    </a:lnTo>
                    <a:lnTo>
                      <a:pt x="2595" y="903"/>
                    </a:lnTo>
                    <a:lnTo>
                      <a:pt x="2470" y="1031"/>
                    </a:lnTo>
                    <a:lnTo>
                      <a:pt x="2406" y="1098"/>
                    </a:lnTo>
                    <a:lnTo>
                      <a:pt x="2272" y="1236"/>
                    </a:lnTo>
                    <a:lnTo>
                      <a:pt x="2253" y="1255"/>
                    </a:lnTo>
                    <a:lnTo>
                      <a:pt x="2248" y="1260"/>
                    </a:lnTo>
                    <a:lnTo>
                      <a:pt x="2172" y="1336"/>
                    </a:lnTo>
                    <a:lnTo>
                      <a:pt x="2158" y="1351"/>
                    </a:lnTo>
                    <a:lnTo>
                      <a:pt x="2151" y="1358"/>
                    </a:lnTo>
                    <a:lnTo>
                      <a:pt x="2069" y="1443"/>
                    </a:lnTo>
                    <a:lnTo>
                      <a:pt x="2001" y="1513"/>
                    </a:lnTo>
                    <a:lnTo>
                      <a:pt x="1988" y="1524"/>
                    </a:lnTo>
                    <a:lnTo>
                      <a:pt x="1946" y="1570"/>
                    </a:lnTo>
                    <a:lnTo>
                      <a:pt x="1904" y="1611"/>
                    </a:lnTo>
                    <a:lnTo>
                      <a:pt x="1879" y="1638"/>
                    </a:lnTo>
                    <a:lnTo>
                      <a:pt x="1748" y="1773"/>
                    </a:lnTo>
                    <a:lnTo>
                      <a:pt x="1746" y="1774"/>
                    </a:lnTo>
                    <a:lnTo>
                      <a:pt x="1741" y="1779"/>
                    </a:lnTo>
                    <a:lnTo>
                      <a:pt x="1728" y="1794"/>
                    </a:lnTo>
                    <a:lnTo>
                      <a:pt x="1724" y="1797"/>
                    </a:lnTo>
                    <a:lnTo>
                      <a:pt x="1724" y="1798"/>
                    </a:lnTo>
                    <a:lnTo>
                      <a:pt x="1722" y="1800"/>
                    </a:lnTo>
                    <a:lnTo>
                      <a:pt x="1717" y="1803"/>
                    </a:lnTo>
                    <a:lnTo>
                      <a:pt x="1706" y="1803"/>
                    </a:lnTo>
                    <a:lnTo>
                      <a:pt x="1603" y="1798"/>
                    </a:lnTo>
                    <a:lnTo>
                      <a:pt x="1502" y="1794"/>
                    </a:lnTo>
                    <a:lnTo>
                      <a:pt x="1440" y="1790"/>
                    </a:lnTo>
                    <a:lnTo>
                      <a:pt x="1435" y="1790"/>
                    </a:lnTo>
                    <a:lnTo>
                      <a:pt x="1434" y="1790"/>
                    </a:lnTo>
                    <a:lnTo>
                      <a:pt x="1377" y="1805"/>
                    </a:lnTo>
                    <a:lnTo>
                      <a:pt x="1332" y="1817"/>
                    </a:lnTo>
                    <a:lnTo>
                      <a:pt x="1298" y="1828"/>
                    </a:lnTo>
                    <a:lnTo>
                      <a:pt x="1277" y="1835"/>
                    </a:lnTo>
                    <a:lnTo>
                      <a:pt x="1274" y="1836"/>
                    </a:lnTo>
                    <a:lnTo>
                      <a:pt x="1271" y="1838"/>
                    </a:lnTo>
                    <a:lnTo>
                      <a:pt x="1266" y="1839"/>
                    </a:lnTo>
                    <a:lnTo>
                      <a:pt x="1264" y="1839"/>
                    </a:lnTo>
                    <a:lnTo>
                      <a:pt x="1263" y="1841"/>
                    </a:lnTo>
                    <a:lnTo>
                      <a:pt x="1239" y="1852"/>
                    </a:lnTo>
                    <a:lnTo>
                      <a:pt x="1234" y="1854"/>
                    </a:lnTo>
                    <a:lnTo>
                      <a:pt x="1234" y="1855"/>
                    </a:lnTo>
                    <a:lnTo>
                      <a:pt x="1222" y="1862"/>
                    </a:lnTo>
                    <a:lnTo>
                      <a:pt x="1209" y="1868"/>
                    </a:lnTo>
                    <a:lnTo>
                      <a:pt x="1193" y="1876"/>
                    </a:lnTo>
                    <a:lnTo>
                      <a:pt x="1188" y="1877"/>
                    </a:lnTo>
                    <a:lnTo>
                      <a:pt x="1187" y="1881"/>
                    </a:lnTo>
                    <a:lnTo>
                      <a:pt x="1176" y="1887"/>
                    </a:lnTo>
                    <a:lnTo>
                      <a:pt x="1173" y="1889"/>
                    </a:lnTo>
                    <a:lnTo>
                      <a:pt x="1163" y="1895"/>
                    </a:lnTo>
                    <a:lnTo>
                      <a:pt x="1152" y="1904"/>
                    </a:lnTo>
                    <a:lnTo>
                      <a:pt x="1150" y="1906"/>
                    </a:lnTo>
                    <a:lnTo>
                      <a:pt x="1150" y="1908"/>
                    </a:lnTo>
                    <a:lnTo>
                      <a:pt x="1149" y="1911"/>
                    </a:lnTo>
                    <a:lnTo>
                      <a:pt x="1147" y="1912"/>
                    </a:lnTo>
                    <a:lnTo>
                      <a:pt x="1147" y="1914"/>
                    </a:lnTo>
                    <a:lnTo>
                      <a:pt x="1146" y="1916"/>
                    </a:lnTo>
                    <a:lnTo>
                      <a:pt x="1146" y="1917"/>
                    </a:lnTo>
                    <a:lnTo>
                      <a:pt x="1146" y="1919"/>
                    </a:lnTo>
                    <a:lnTo>
                      <a:pt x="1144" y="1930"/>
                    </a:lnTo>
                    <a:lnTo>
                      <a:pt x="1142" y="1933"/>
                    </a:lnTo>
                    <a:lnTo>
                      <a:pt x="1142" y="1935"/>
                    </a:lnTo>
                    <a:lnTo>
                      <a:pt x="1141" y="1936"/>
                    </a:lnTo>
                    <a:lnTo>
                      <a:pt x="1139" y="1939"/>
                    </a:lnTo>
                    <a:lnTo>
                      <a:pt x="1136" y="1942"/>
                    </a:lnTo>
                    <a:lnTo>
                      <a:pt x="1134" y="1947"/>
                    </a:lnTo>
                    <a:lnTo>
                      <a:pt x="1131" y="1954"/>
                    </a:lnTo>
                    <a:lnTo>
                      <a:pt x="1125" y="1960"/>
                    </a:lnTo>
                    <a:lnTo>
                      <a:pt x="1122" y="1965"/>
                    </a:lnTo>
                    <a:lnTo>
                      <a:pt x="1119" y="1969"/>
                    </a:lnTo>
                    <a:lnTo>
                      <a:pt x="1109" y="1977"/>
                    </a:lnTo>
                    <a:lnTo>
                      <a:pt x="1106" y="1982"/>
                    </a:lnTo>
                    <a:lnTo>
                      <a:pt x="1104" y="1982"/>
                    </a:lnTo>
                    <a:lnTo>
                      <a:pt x="1100" y="1987"/>
                    </a:lnTo>
                    <a:lnTo>
                      <a:pt x="1095" y="1988"/>
                    </a:lnTo>
                    <a:lnTo>
                      <a:pt x="1092" y="1992"/>
                    </a:lnTo>
                    <a:lnTo>
                      <a:pt x="1089" y="1993"/>
                    </a:lnTo>
                    <a:lnTo>
                      <a:pt x="1087" y="1993"/>
                    </a:lnTo>
                    <a:lnTo>
                      <a:pt x="1073" y="1993"/>
                    </a:lnTo>
                    <a:lnTo>
                      <a:pt x="1071" y="1993"/>
                    </a:lnTo>
                    <a:lnTo>
                      <a:pt x="1066" y="1993"/>
                    </a:lnTo>
                    <a:lnTo>
                      <a:pt x="1063" y="1993"/>
                    </a:lnTo>
                    <a:lnTo>
                      <a:pt x="1060" y="1993"/>
                    </a:lnTo>
                    <a:lnTo>
                      <a:pt x="1058" y="1995"/>
                    </a:lnTo>
                    <a:lnTo>
                      <a:pt x="1055" y="1995"/>
                    </a:lnTo>
                    <a:lnTo>
                      <a:pt x="1052" y="1995"/>
                    </a:lnTo>
                    <a:lnTo>
                      <a:pt x="1051" y="1995"/>
                    </a:lnTo>
                    <a:lnTo>
                      <a:pt x="1047" y="1996"/>
                    </a:lnTo>
                    <a:lnTo>
                      <a:pt x="1044" y="1998"/>
                    </a:lnTo>
                    <a:lnTo>
                      <a:pt x="1035" y="2003"/>
                    </a:lnTo>
                    <a:lnTo>
                      <a:pt x="1022" y="2006"/>
                    </a:lnTo>
                    <a:lnTo>
                      <a:pt x="1019" y="2007"/>
                    </a:lnTo>
                    <a:lnTo>
                      <a:pt x="1016" y="2009"/>
                    </a:lnTo>
                    <a:lnTo>
                      <a:pt x="1013" y="2009"/>
                    </a:lnTo>
                    <a:lnTo>
                      <a:pt x="1009" y="2011"/>
                    </a:lnTo>
                    <a:lnTo>
                      <a:pt x="1006" y="2011"/>
                    </a:lnTo>
                    <a:lnTo>
                      <a:pt x="1001" y="2012"/>
                    </a:lnTo>
                    <a:lnTo>
                      <a:pt x="994" y="2012"/>
                    </a:lnTo>
                    <a:lnTo>
                      <a:pt x="990" y="2012"/>
                    </a:lnTo>
                    <a:lnTo>
                      <a:pt x="987" y="2012"/>
                    </a:lnTo>
                    <a:lnTo>
                      <a:pt x="978" y="2012"/>
                    </a:lnTo>
                    <a:lnTo>
                      <a:pt x="970" y="2014"/>
                    </a:lnTo>
                    <a:lnTo>
                      <a:pt x="965" y="2014"/>
                    </a:lnTo>
                    <a:lnTo>
                      <a:pt x="955" y="2015"/>
                    </a:lnTo>
                    <a:lnTo>
                      <a:pt x="940" y="2017"/>
                    </a:lnTo>
                    <a:lnTo>
                      <a:pt x="935" y="2017"/>
                    </a:lnTo>
                    <a:lnTo>
                      <a:pt x="922" y="2017"/>
                    </a:lnTo>
                    <a:lnTo>
                      <a:pt x="905" y="2018"/>
                    </a:lnTo>
                    <a:lnTo>
                      <a:pt x="889" y="2018"/>
                    </a:lnTo>
                    <a:lnTo>
                      <a:pt x="876" y="2018"/>
                    </a:lnTo>
                    <a:lnTo>
                      <a:pt x="873" y="2018"/>
                    </a:lnTo>
                    <a:lnTo>
                      <a:pt x="872" y="2020"/>
                    </a:lnTo>
                    <a:lnTo>
                      <a:pt x="868" y="2022"/>
                    </a:lnTo>
                    <a:lnTo>
                      <a:pt x="867" y="2023"/>
                    </a:lnTo>
                    <a:lnTo>
                      <a:pt x="865" y="2023"/>
                    </a:lnTo>
                    <a:lnTo>
                      <a:pt x="862" y="2026"/>
                    </a:lnTo>
                    <a:lnTo>
                      <a:pt x="860" y="2030"/>
                    </a:lnTo>
                    <a:lnTo>
                      <a:pt x="859" y="2033"/>
                    </a:lnTo>
                    <a:lnTo>
                      <a:pt x="851" y="2041"/>
                    </a:lnTo>
                    <a:lnTo>
                      <a:pt x="848" y="2044"/>
                    </a:lnTo>
                    <a:lnTo>
                      <a:pt x="841" y="2042"/>
                    </a:lnTo>
                    <a:lnTo>
                      <a:pt x="840" y="2047"/>
                    </a:lnTo>
                    <a:lnTo>
                      <a:pt x="838" y="2047"/>
                    </a:lnTo>
                    <a:lnTo>
                      <a:pt x="832" y="2055"/>
                    </a:lnTo>
                    <a:lnTo>
                      <a:pt x="832" y="2058"/>
                    </a:lnTo>
                    <a:lnTo>
                      <a:pt x="834" y="2063"/>
                    </a:lnTo>
                    <a:lnTo>
                      <a:pt x="832" y="2063"/>
                    </a:lnTo>
                    <a:lnTo>
                      <a:pt x="832" y="2066"/>
                    </a:lnTo>
                    <a:lnTo>
                      <a:pt x="827" y="2069"/>
                    </a:lnTo>
                    <a:lnTo>
                      <a:pt x="826" y="2071"/>
                    </a:lnTo>
                    <a:lnTo>
                      <a:pt x="826" y="2072"/>
                    </a:lnTo>
                    <a:lnTo>
                      <a:pt x="822" y="2074"/>
                    </a:lnTo>
                    <a:lnTo>
                      <a:pt x="821" y="2077"/>
                    </a:lnTo>
                    <a:lnTo>
                      <a:pt x="818" y="2079"/>
                    </a:lnTo>
                    <a:lnTo>
                      <a:pt x="815" y="2083"/>
                    </a:lnTo>
                    <a:lnTo>
                      <a:pt x="813" y="2083"/>
                    </a:lnTo>
                    <a:lnTo>
                      <a:pt x="810" y="2083"/>
                    </a:lnTo>
                    <a:lnTo>
                      <a:pt x="808" y="2085"/>
                    </a:lnTo>
                    <a:lnTo>
                      <a:pt x="803" y="2088"/>
                    </a:lnTo>
                    <a:lnTo>
                      <a:pt x="802" y="2088"/>
                    </a:lnTo>
                    <a:lnTo>
                      <a:pt x="799" y="2091"/>
                    </a:lnTo>
                    <a:lnTo>
                      <a:pt x="797" y="2091"/>
                    </a:lnTo>
                    <a:lnTo>
                      <a:pt x="792" y="2091"/>
                    </a:lnTo>
                    <a:lnTo>
                      <a:pt x="789" y="2090"/>
                    </a:lnTo>
                    <a:lnTo>
                      <a:pt x="788" y="2090"/>
                    </a:lnTo>
                    <a:lnTo>
                      <a:pt x="784" y="2088"/>
                    </a:lnTo>
                    <a:lnTo>
                      <a:pt x="783" y="2085"/>
                    </a:lnTo>
                    <a:lnTo>
                      <a:pt x="783" y="2083"/>
                    </a:lnTo>
                    <a:lnTo>
                      <a:pt x="781" y="2082"/>
                    </a:lnTo>
                    <a:lnTo>
                      <a:pt x="780" y="2082"/>
                    </a:lnTo>
                    <a:lnTo>
                      <a:pt x="778" y="2082"/>
                    </a:lnTo>
                    <a:lnTo>
                      <a:pt x="775" y="2083"/>
                    </a:lnTo>
                    <a:lnTo>
                      <a:pt x="773" y="2083"/>
                    </a:lnTo>
                    <a:lnTo>
                      <a:pt x="772" y="2083"/>
                    </a:lnTo>
                    <a:lnTo>
                      <a:pt x="770" y="2083"/>
                    </a:lnTo>
                    <a:lnTo>
                      <a:pt x="769" y="2082"/>
                    </a:lnTo>
                    <a:lnTo>
                      <a:pt x="767" y="2080"/>
                    </a:lnTo>
                    <a:lnTo>
                      <a:pt x="761" y="2079"/>
                    </a:lnTo>
                    <a:lnTo>
                      <a:pt x="757" y="2080"/>
                    </a:lnTo>
                    <a:lnTo>
                      <a:pt x="754" y="2082"/>
                    </a:lnTo>
                    <a:lnTo>
                      <a:pt x="753" y="2082"/>
                    </a:lnTo>
                    <a:lnTo>
                      <a:pt x="751" y="2083"/>
                    </a:lnTo>
                    <a:lnTo>
                      <a:pt x="750" y="2085"/>
                    </a:lnTo>
                    <a:lnTo>
                      <a:pt x="748" y="2087"/>
                    </a:lnTo>
                    <a:lnTo>
                      <a:pt x="743" y="2085"/>
                    </a:lnTo>
                    <a:lnTo>
                      <a:pt x="740" y="2085"/>
                    </a:lnTo>
                    <a:lnTo>
                      <a:pt x="738" y="2082"/>
                    </a:lnTo>
                    <a:lnTo>
                      <a:pt x="737" y="2080"/>
                    </a:lnTo>
                    <a:lnTo>
                      <a:pt x="735" y="2080"/>
                    </a:lnTo>
                    <a:lnTo>
                      <a:pt x="734" y="2080"/>
                    </a:lnTo>
                    <a:lnTo>
                      <a:pt x="734" y="2082"/>
                    </a:lnTo>
                    <a:lnTo>
                      <a:pt x="731" y="2083"/>
                    </a:lnTo>
                    <a:lnTo>
                      <a:pt x="726" y="2083"/>
                    </a:lnTo>
                    <a:lnTo>
                      <a:pt x="724" y="2083"/>
                    </a:lnTo>
                    <a:lnTo>
                      <a:pt x="721" y="2083"/>
                    </a:lnTo>
                    <a:lnTo>
                      <a:pt x="719" y="2085"/>
                    </a:lnTo>
                    <a:lnTo>
                      <a:pt x="718" y="2085"/>
                    </a:lnTo>
                    <a:lnTo>
                      <a:pt x="715" y="2082"/>
                    </a:lnTo>
                    <a:lnTo>
                      <a:pt x="713" y="2080"/>
                    </a:lnTo>
                    <a:lnTo>
                      <a:pt x="710" y="2082"/>
                    </a:lnTo>
                    <a:lnTo>
                      <a:pt x="708" y="2082"/>
                    </a:lnTo>
                    <a:lnTo>
                      <a:pt x="707" y="2083"/>
                    </a:lnTo>
                    <a:lnTo>
                      <a:pt x="705" y="2085"/>
                    </a:lnTo>
                    <a:lnTo>
                      <a:pt x="704" y="2087"/>
                    </a:lnTo>
                    <a:lnTo>
                      <a:pt x="702" y="2090"/>
                    </a:lnTo>
                    <a:lnTo>
                      <a:pt x="700" y="2088"/>
                    </a:lnTo>
                    <a:lnTo>
                      <a:pt x="697" y="2087"/>
                    </a:lnTo>
                    <a:lnTo>
                      <a:pt x="696" y="2087"/>
                    </a:lnTo>
                    <a:lnTo>
                      <a:pt x="693" y="2088"/>
                    </a:lnTo>
                    <a:lnTo>
                      <a:pt x="691" y="2088"/>
                    </a:lnTo>
                    <a:lnTo>
                      <a:pt x="686" y="2088"/>
                    </a:lnTo>
                    <a:lnTo>
                      <a:pt x="683" y="2088"/>
                    </a:lnTo>
                    <a:lnTo>
                      <a:pt x="680" y="2090"/>
                    </a:lnTo>
                    <a:lnTo>
                      <a:pt x="678" y="2090"/>
                    </a:lnTo>
                    <a:lnTo>
                      <a:pt x="675" y="2091"/>
                    </a:lnTo>
                    <a:lnTo>
                      <a:pt x="672" y="2090"/>
                    </a:lnTo>
                    <a:lnTo>
                      <a:pt x="669" y="2087"/>
                    </a:lnTo>
                    <a:lnTo>
                      <a:pt x="667" y="2087"/>
                    </a:lnTo>
                    <a:lnTo>
                      <a:pt x="664" y="2088"/>
                    </a:lnTo>
                    <a:lnTo>
                      <a:pt x="662" y="2090"/>
                    </a:lnTo>
                    <a:lnTo>
                      <a:pt x="659" y="2088"/>
                    </a:lnTo>
                    <a:lnTo>
                      <a:pt x="658" y="2088"/>
                    </a:lnTo>
                    <a:lnTo>
                      <a:pt x="656" y="2088"/>
                    </a:lnTo>
                    <a:lnTo>
                      <a:pt x="655" y="2090"/>
                    </a:lnTo>
                    <a:lnTo>
                      <a:pt x="651" y="2093"/>
                    </a:lnTo>
                    <a:lnTo>
                      <a:pt x="648" y="2093"/>
                    </a:lnTo>
                    <a:lnTo>
                      <a:pt x="645" y="2091"/>
                    </a:lnTo>
                    <a:lnTo>
                      <a:pt x="640" y="2090"/>
                    </a:lnTo>
                    <a:lnTo>
                      <a:pt x="637" y="2090"/>
                    </a:lnTo>
                    <a:lnTo>
                      <a:pt x="634" y="2090"/>
                    </a:lnTo>
                    <a:lnTo>
                      <a:pt x="631" y="2088"/>
                    </a:lnTo>
                    <a:lnTo>
                      <a:pt x="629" y="2088"/>
                    </a:lnTo>
                    <a:lnTo>
                      <a:pt x="626" y="2088"/>
                    </a:lnTo>
                    <a:lnTo>
                      <a:pt x="621" y="2088"/>
                    </a:lnTo>
                    <a:lnTo>
                      <a:pt x="617" y="2090"/>
                    </a:lnTo>
                    <a:lnTo>
                      <a:pt x="613" y="2093"/>
                    </a:lnTo>
                    <a:lnTo>
                      <a:pt x="612" y="2093"/>
                    </a:lnTo>
                    <a:lnTo>
                      <a:pt x="610" y="2095"/>
                    </a:lnTo>
                    <a:lnTo>
                      <a:pt x="607" y="2093"/>
                    </a:lnTo>
                    <a:lnTo>
                      <a:pt x="604" y="2090"/>
                    </a:lnTo>
                    <a:lnTo>
                      <a:pt x="602" y="2090"/>
                    </a:lnTo>
                    <a:lnTo>
                      <a:pt x="601" y="2090"/>
                    </a:lnTo>
                    <a:lnTo>
                      <a:pt x="599" y="2088"/>
                    </a:lnTo>
                    <a:lnTo>
                      <a:pt x="596" y="2087"/>
                    </a:lnTo>
                    <a:lnTo>
                      <a:pt x="594" y="2085"/>
                    </a:lnTo>
                    <a:lnTo>
                      <a:pt x="593" y="2083"/>
                    </a:lnTo>
                    <a:lnTo>
                      <a:pt x="591" y="2082"/>
                    </a:lnTo>
                    <a:lnTo>
                      <a:pt x="591" y="2080"/>
                    </a:lnTo>
                    <a:lnTo>
                      <a:pt x="590" y="2080"/>
                    </a:lnTo>
                    <a:lnTo>
                      <a:pt x="586" y="2079"/>
                    </a:lnTo>
                    <a:lnTo>
                      <a:pt x="585" y="2079"/>
                    </a:lnTo>
                    <a:lnTo>
                      <a:pt x="585" y="2077"/>
                    </a:lnTo>
                    <a:lnTo>
                      <a:pt x="585" y="2076"/>
                    </a:lnTo>
                    <a:lnTo>
                      <a:pt x="586" y="2074"/>
                    </a:lnTo>
                    <a:lnTo>
                      <a:pt x="585" y="2072"/>
                    </a:lnTo>
                    <a:lnTo>
                      <a:pt x="583" y="2069"/>
                    </a:lnTo>
                    <a:lnTo>
                      <a:pt x="583" y="2068"/>
                    </a:lnTo>
                    <a:lnTo>
                      <a:pt x="577" y="2064"/>
                    </a:lnTo>
                    <a:lnTo>
                      <a:pt x="575" y="2060"/>
                    </a:lnTo>
                    <a:lnTo>
                      <a:pt x="574" y="2058"/>
                    </a:lnTo>
                    <a:lnTo>
                      <a:pt x="572" y="2057"/>
                    </a:lnTo>
                    <a:lnTo>
                      <a:pt x="569" y="2053"/>
                    </a:lnTo>
                    <a:lnTo>
                      <a:pt x="567" y="2052"/>
                    </a:lnTo>
                    <a:lnTo>
                      <a:pt x="566" y="2050"/>
                    </a:lnTo>
                    <a:lnTo>
                      <a:pt x="564" y="2050"/>
                    </a:lnTo>
                    <a:lnTo>
                      <a:pt x="563" y="2049"/>
                    </a:lnTo>
                    <a:lnTo>
                      <a:pt x="559" y="2045"/>
                    </a:lnTo>
                    <a:lnTo>
                      <a:pt x="556" y="2041"/>
                    </a:lnTo>
                    <a:lnTo>
                      <a:pt x="555" y="2039"/>
                    </a:lnTo>
                    <a:lnTo>
                      <a:pt x="550" y="2039"/>
                    </a:lnTo>
                    <a:lnTo>
                      <a:pt x="550" y="2038"/>
                    </a:lnTo>
                    <a:lnTo>
                      <a:pt x="548" y="2034"/>
                    </a:lnTo>
                    <a:lnTo>
                      <a:pt x="545" y="2033"/>
                    </a:lnTo>
                    <a:lnTo>
                      <a:pt x="540" y="2030"/>
                    </a:lnTo>
                    <a:lnTo>
                      <a:pt x="536" y="2028"/>
                    </a:lnTo>
                    <a:lnTo>
                      <a:pt x="531" y="2026"/>
                    </a:lnTo>
                    <a:lnTo>
                      <a:pt x="529" y="2026"/>
                    </a:lnTo>
                    <a:lnTo>
                      <a:pt x="528" y="2026"/>
                    </a:lnTo>
                    <a:lnTo>
                      <a:pt x="528" y="2023"/>
                    </a:lnTo>
                    <a:lnTo>
                      <a:pt x="528" y="2022"/>
                    </a:lnTo>
                    <a:lnTo>
                      <a:pt x="526" y="2022"/>
                    </a:lnTo>
                    <a:lnTo>
                      <a:pt x="525" y="2018"/>
                    </a:lnTo>
                    <a:lnTo>
                      <a:pt x="525" y="2017"/>
                    </a:lnTo>
                    <a:lnTo>
                      <a:pt x="523" y="2015"/>
                    </a:lnTo>
                    <a:lnTo>
                      <a:pt x="523" y="2014"/>
                    </a:lnTo>
                    <a:lnTo>
                      <a:pt x="521" y="2012"/>
                    </a:lnTo>
                    <a:lnTo>
                      <a:pt x="521" y="2011"/>
                    </a:lnTo>
                    <a:lnTo>
                      <a:pt x="521" y="2009"/>
                    </a:lnTo>
                    <a:lnTo>
                      <a:pt x="518" y="2006"/>
                    </a:lnTo>
                    <a:lnTo>
                      <a:pt x="514" y="2004"/>
                    </a:lnTo>
                    <a:lnTo>
                      <a:pt x="510" y="1999"/>
                    </a:lnTo>
                    <a:lnTo>
                      <a:pt x="507" y="1998"/>
                    </a:lnTo>
                    <a:lnTo>
                      <a:pt x="501" y="1996"/>
                    </a:lnTo>
                    <a:lnTo>
                      <a:pt x="499" y="1995"/>
                    </a:lnTo>
                    <a:lnTo>
                      <a:pt x="493" y="1992"/>
                    </a:lnTo>
                    <a:lnTo>
                      <a:pt x="491" y="1990"/>
                    </a:lnTo>
                    <a:lnTo>
                      <a:pt x="491" y="1988"/>
                    </a:lnTo>
                    <a:lnTo>
                      <a:pt x="490" y="1988"/>
                    </a:lnTo>
                    <a:lnTo>
                      <a:pt x="482" y="1995"/>
                    </a:lnTo>
                    <a:lnTo>
                      <a:pt x="476" y="1998"/>
                    </a:lnTo>
                    <a:lnTo>
                      <a:pt x="472" y="1998"/>
                    </a:lnTo>
                    <a:lnTo>
                      <a:pt x="472" y="1999"/>
                    </a:lnTo>
                    <a:lnTo>
                      <a:pt x="472" y="2003"/>
                    </a:lnTo>
                    <a:lnTo>
                      <a:pt x="468" y="2004"/>
                    </a:lnTo>
                    <a:lnTo>
                      <a:pt x="392" y="2036"/>
                    </a:lnTo>
                    <a:lnTo>
                      <a:pt x="347" y="2053"/>
                    </a:lnTo>
                    <a:lnTo>
                      <a:pt x="339" y="2058"/>
                    </a:lnTo>
                    <a:lnTo>
                      <a:pt x="322" y="2064"/>
                    </a:lnTo>
                    <a:lnTo>
                      <a:pt x="317" y="2066"/>
                    </a:lnTo>
                    <a:lnTo>
                      <a:pt x="270" y="2091"/>
                    </a:lnTo>
                    <a:lnTo>
                      <a:pt x="230" y="2112"/>
                    </a:lnTo>
                    <a:lnTo>
                      <a:pt x="206" y="2166"/>
                    </a:lnTo>
                    <a:lnTo>
                      <a:pt x="192" y="2179"/>
                    </a:lnTo>
                    <a:lnTo>
                      <a:pt x="189" y="2182"/>
                    </a:lnTo>
                    <a:lnTo>
                      <a:pt x="184" y="2186"/>
                    </a:lnTo>
                    <a:lnTo>
                      <a:pt x="181" y="2190"/>
                    </a:lnTo>
                    <a:lnTo>
                      <a:pt x="179" y="2191"/>
                    </a:lnTo>
                    <a:lnTo>
                      <a:pt x="175" y="2198"/>
                    </a:lnTo>
                    <a:lnTo>
                      <a:pt x="170" y="2204"/>
                    </a:lnTo>
                    <a:lnTo>
                      <a:pt x="162" y="2212"/>
                    </a:lnTo>
                    <a:lnTo>
                      <a:pt x="152" y="2223"/>
                    </a:lnTo>
                    <a:lnTo>
                      <a:pt x="140" y="2234"/>
                    </a:lnTo>
                    <a:lnTo>
                      <a:pt x="138" y="2236"/>
                    </a:lnTo>
                    <a:lnTo>
                      <a:pt x="138" y="2237"/>
                    </a:lnTo>
                    <a:lnTo>
                      <a:pt x="137" y="2242"/>
                    </a:lnTo>
                    <a:lnTo>
                      <a:pt x="135" y="2242"/>
                    </a:lnTo>
                    <a:lnTo>
                      <a:pt x="132" y="2245"/>
                    </a:lnTo>
                    <a:lnTo>
                      <a:pt x="129" y="2245"/>
                    </a:lnTo>
                    <a:lnTo>
                      <a:pt x="127" y="2250"/>
                    </a:lnTo>
                    <a:lnTo>
                      <a:pt x="125" y="2256"/>
                    </a:lnTo>
                    <a:lnTo>
                      <a:pt x="122" y="2264"/>
                    </a:lnTo>
                    <a:lnTo>
                      <a:pt x="121" y="2269"/>
                    </a:lnTo>
                    <a:lnTo>
                      <a:pt x="116" y="2269"/>
                    </a:lnTo>
                    <a:lnTo>
                      <a:pt x="113" y="2269"/>
                    </a:lnTo>
                    <a:lnTo>
                      <a:pt x="110" y="2267"/>
                    </a:lnTo>
                    <a:lnTo>
                      <a:pt x="110" y="2264"/>
                    </a:lnTo>
                    <a:lnTo>
                      <a:pt x="108" y="2263"/>
                    </a:lnTo>
                    <a:lnTo>
                      <a:pt x="106" y="2261"/>
                    </a:lnTo>
                    <a:lnTo>
                      <a:pt x="106" y="2256"/>
                    </a:lnTo>
                    <a:lnTo>
                      <a:pt x="105" y="2250"/>
                    </a:lnTo>
                    <a:lnTo>
                      <a:pt x="103" y="2251"/>
                    </a:lnTo>
                    <a:lnTo>
                      <a:pt x="100" y="2251"/>
                    </a:lnTo>
                    <a:lnTo>
                      <a:pt x="99" y="2251"/>
                    </a:lnTo>
                    <a:lnTo>
                      <a:pt x="95" y="2253"/>
                    </a:lnTo>
                    <a:lnTo>
                      <a:pt x="94" y="2253"/>
                    </a:lnTo>
                    <a:lnTo>
                      <a:pt x="89" y="2251"/>
                    </a:lnTo>
                    <a:lnTo>
                      <a:pt x="86" y="2251"/>
                    </a:lnTo>
                    <a:lnTo>
                      <a:pt x="81" y="2250"/>
                    </a:lnTo>
                    <a:lnTo>
                      <a:pt x="76" y="2250"/>
                    </a:lnTo>
                    <a:lnTo>
                      <a:pt x="72" y="2250"/>
                    </a:lnTo>
                    <a:lnTo>
                      <a:pt x="70" y="2250"/>
                    </a:lnTo>
                    <a:lnTo>
                      <a:pt x="70" y="2234"/>
                    </a:lnTo>
                    <a:lnTo>
                      <a:pt x="64" y="2226"/>
                    </a:lnTo>
                    <a:lnTo>
                      <a:pt x="42" y="2223"/>
                    </a:lnTo>
                    <a:lnTo>
                      <a:pt x="40" y="2223"/>
                    </a:lnTo>
                    <a:lnTo>
                      <a:pt x="38" y="2221"/>
                    </a:lnTo>
                    <a:lnTo>
                      <a:pt x="32" y="2221"/>
                    </a:lnTo>
                    <a:lnTo>
                      <a:pt x="30" y="2221"/>
                    </a:lnTo>
                    <a:lnTo>
                      <a:pt x="29" y="2221"/>
                    </a:lnTo>
                    <a:lnTo>
                      <a:pt x="27" y="2220"/>
                    </a:lnTo>
                    <a:lnTo>
                      <a:pt x="26" y="2220"/>
                    </a:lnTo>
                    <a:lnTo>
                      <a:pt x="24" y="2218"/>
                    </a:lnTo>
                    <a:lnTo>
                      <a:pt x="15" y="2213"/>
                    </a:lnTo>
                    <a:lnTo>
                      <a:pt x="13" y="2212"/>
                    </a:lnTo>
                    <a:lnTo>
                      <a:pt x="8" y="2212"/>
                    </a:lnTo>
                    <a:lnTo>
                      <a:pt x="5" y="2209"/>
                    </a:lnTo>
                    <a:lnTo>
                      <a:pt x="3" y="2209"/>
                    </a:lnTo>
                    <a:lnTo>
                      <a:pt x="2" y="2209"/>
                    </a:lnTo>
                    <a:lnTo>
                      <a:pt x="0" y="2205"/>
                    </a:lnTo>
                    <a:lnTo>
                      <a:pt x="37" y="2186"/>
                    </a:lnTo>
                    <a:lnTo>
                      <a:pt x="56" y="2180"/>
                    </a:lnTo>
                    <a:lnTo>
                      <a:pt x="89" y="2129"/>
                    </a:lnTo>
                    <a:lnTo>
                      <a:pt x="99" y="2114"/>
                    </a:lnTo>
                    <a:lnTo>
                      <a:pt x="114" y="2087"/>
                    </a:lnTo>
                    <a:lnTo>
                      <a:pt x="119" y="2080"/>
                    </a:lnTo>
                    <a:lnTo>
                      <a:pt x="113" y="2058"/>
                    </a:lnTo>
                    <a:lnTo>
                      <a:pt x="122" y="2036"/>
                    </a:lnTo>
                    <a:lnTo>
                      <a:pt x="127" y="2022"/>
                    </a:lnTo>
                    <a:lnTo>
                      <a:pt x="130" y="2001"/>
                    </a:lnTo>
                    <a:lnTo>
                      <a:pt x="138" y="1993"/>
                    </a:lnTo>
                    <a:lnTo>
                      <a:pt x="144" y="1984"/>
                    </a:lnTo>
                    <a:lnTo>
                      <a:pt x="149" y="1973"/>
                    </a:lnTo>
                    <a:lnTo>
                      <a:pt x="154" y="1963"/>
                    </a:lnTo>
                    <a:lnTo>
                      <a:pt x="157" y="1952"/>
                    </a:lnTo>
                    <a:lnTo>
                      <a:pt x="160" y="1942"/>
                    </a:lnTo>
                    <a:lnTo>
                      <a:pt x="165" y="1933"/>
                    </a:lnTo>
                    <a:lnTo>
                      <a:pt x="170" y="1922"/>
                    </a:lnTo>
                    <a:lnTo>
                      <a:pt x="175" y="1911"/>
                    </a:lnTo>
                    <a:lnTo>
                      <a:pt x="178" y="1904"/>
                    </a:lnTo>
                    <a:lnTo>
                      <a:pt x="181" y="1896"/>
                    </a:lnTo>
                    <a:lnTo>
                      <a:pt x="182" y="1890"/>
                    </a:lnTo>
                    <a:lnTo>
                      <a:pt x="184" y="1885"/>
                    </a:lnTo>
                    <a:lnTo>
                      <a:pt x="189" y="1879"/>
                    </a:lnTo>
                    <a:lnTo>
                      <a:pt x="190" y="1876"/>
                    </a:lnTo>
                    <a:lnTo>
                      <a:pt x="190" y="1858"/>
                    </a:lnTo>
                    <a:lnTo>
                      <a:pt x="194" y="1836"/>
                    </a:lnTo>
                    <a:lnTo>
                      <a:pt x="197" y="1824"/>
                    </a:lnTo>
                    <a:lnTo>
                      <a:pt x="201" y="1809"/>
                    </a:lnTo>
                    <a:lnTo>
                      <a:pt x="208" y="1792"/>
                    </a:lnTo>
                    <a:lnTo>
                      <a:pt x="211" y="1778"/>
                    </a:lnTo>
                    <a:lnTo>
                      <a:pt x="216" y="1768"/>
                    </a:lnTo>
                    <a:lnTo>
                      <a:pt x="230" y="1736"/>
                    </a:lnTo>
                    <a:lnTo>
                      <a:pt x="238" y="1714"/>
                    </a:lnTo>
                    <a:lnTo>
                      <a:pt x="247" y="1695"/>
                    </a:lnTo>
                    <a:lnTo>
                      <a:pt x="274" y="1662"/>
                    </a:lnTo>
                    <a:lnTo>
                      <a:pt x="284" y="1668"/>
                    </a:lnTo>
                    <a:lnTo>
                      <a:pt x="293" y="1671"/>
                    </a:lnTo>
                    <a:lnTo>
                      <a:pt x="304" y="1673"/>
                    </a:lnTo>
                    <a:lnTo>
                      <a:pt x="316" y="1675"/>
                    </a:lnTo>
                    <a:lnTo>
                      <a:pt x="325" y="1675"/>
                    </a:lnTo>
                    <a:lnTo>
                      <a:pt x="335" y="1671"/>
                    </a:lnTo>
                    <a:lnTo>
                      <a:pt x="346" y="1671"/>
                    </a:lnTo>
                    <a:lnTo>
                      <a:pt x="355" y="1668"/>
                    </a:lnTo>
                    <a:lnTo>
                      <a:pt x="373" y="1665"/>
                    </a:lnTo>
                    <a:lnTo>
                      <a:pt x="398" y="1662"/>
                    </a:lnTo>
                    <a:lnTo>
                      <a:pt x="420" y="1659"/>
                    </a:lnTo>
                    <a:lnTo>
                      <a:pt x="425" y="1654"/>
                    </a:lnTo>
                    <a:lnTo>
                      <a:pt x="430" y="1646"/>
                    </a:lnTo>
                    <a:lnTo>
                      <a:pt x="434" y="1640"/>
                    </a:lnTo>
                    <a:lnTo>
                      <a:pt x="442" y="1635"/>
                    </a:lnTo>
                    <a:lnTo>
                      <a:pt x="444" y="1630"/>
                    </a:lnTo>
                    <a:lnTo>
                      <a:pt x="450" y="1624"/>
                    </a:lnTo>
                    <a:lnTo>
                      <a:pt x="463" y="1621"/>
                    </a:lnTo>
                    <a:lnTo>
                      <a:pt x="468" y="1613"/>
                    </a:lnTo>
                    <a:lnTo>
                      <a:pt x="485" y="1605"/>
                    </a:lnTo>
                    <a:lnTo>
                      <a:pt x="493" y="1599"/>
                    </a:lnTo>
                    <a:lnTo>
                      <a:pt x="501" y="1592"/>
                    </a:lnTo>
                    <a:lnTo>
                      <a:pt x="507" y="1588"/>
                    </a:lnTo>
                    <a:lnTo>
                      <a:pt x="517" y="1583"/>
                    </a:lnTo>
                    <a:lnTo>
                      <a:pt x="534" y="1578"/>
                    </a:lnTo>
                    <a:lnTo>
                      <a:pt x="528" y="1562"/>
                    </a:lnTo>
                    <a:lnTo>
                      <a:pt x="520" y="1542"/>
                    </a:lnTo>
                    <a:lnTo>
                      <a:pt x="520" y="1529"/>
                    </a:lnTo>
                    <a:lnTo>
                      <a:pt x="520" y="1518"/>
                    </a:lnTo>
                    <a:lnTo>
                      <a:pt x="521" y="1502"/>
                    </a:lnTo>
                    <a:lnTo>
                      <a:pt x="521" y="1489"/>
                    </a:lnTo>
                    <a:lnTo>
                      <a:pt x="518" y="1470"/>
                    </a:lnTo>
                    <a:lnTo>
                      <a:pt x="518" y="1464"/>
                    </a:lnTo>
                    <a:lnTo>
                      <a:pt x="518" y="1459"/>
                    </a:lnTo>
                    <a:lnTo>
                      <a:pt x="518" y="1453"/>
                    </a:lnTo>
                    <a:lnTo>
                      <a:pt x="518" y="1448"/>
                    </a:lnTo>
                    <a:lnTo>
                      <a:pt x="518" y="1442"/>
                    </a:lnTo>
                    <a:lnTo>
                      <a:pt x="520" y="1437"/>
                    </a:lnTo>
                    <a:lnTo>
                      <a:pt x="520" y="1435"/>
                    </a:lnTo>
                    <a:lnTo>
                      <a:pt x="521" y="1432"/>
                    </a:lnTo>
                    <a:lnTo>
                      <a:pt x="521" y="1423"/>
                    </a:lnTo>
                    <a:lnTo>
                      <a:pt x="521" y="1415"/>
                    </a:lnTo>
                    <a:lnTo>
                      <a:pt x="521" y="1408"/>
                    </a:lnTo>
                    <a:lnTo>
                      <a:pt x="520" y="1402"/>
                    </a:lnTo>
                    <a:lnTo>
                      <a:pt x="517" y="1393"/>
                    </a:lnTo>
                    <a:lnTo>
                      <a:pt x="517" y="1385"/>
                    </a:lnTo>
                    <a:lnTo>
                      <a:pt x="517" y="1383"/>
                    </a:lnTo>
                    <a:lnTo>
                      <a:pt x="517" y="1382"/>
                    </a:lnTo>
                    <a:lnTo>
                      <a:pt x="515" y="1374"/>
                    </a:lnTo>
                    <a:lnTo>
                      <a:pt x="515" y="1359"/>
                    </a:lnTo>
                    <a:lnTo>
                      <a:pt x="523" y="1348"/>
                    </a:lnTo>
                    <a:lnTo>
                      <a:pt x="528" y="1337"/>
                    </a:lnTo>
                    <a:lnTo>
                      <a:pt x="537" y="1326"/>
                    </a:lnTo>
                    <a:lnTo>
                      <a:pt x="548" y="1315"/>
                    </a:lnTo>
                    <a:lnTo>
                      <a:pt x="553" y="1310"/>
                    </a:lnTo>
                    <a:lnTo>
                      <a:pt x="561" y="1298"/>
                    </a:lnTo>
                    <a:lnTo>
                      <a:pt x="577" y="1285"/>
                    </a:lnTo>
                    <a:lnTo>
                      <a:pt x="577" y="1283"/>
                    </a:lnTo>
                    <a:lnTo>
                      <a:pt x="594" y="1285"/>
                    </a:lnTo>
                    <a:lnTo>
                      <a:pt x="602" y="1288"/>
                    </a:lnTo>
                    <a:lnTo>
                      <a:pt x="607" y="1294"/>
                    </a:lnTo>
                    <a:lnTo>
                      <a:pt x="623" y="1304"/>
                    </a:lnTo>
                    <a:lnTo>
                      <a:pt x="639" y="1312"/>
                    </a:lnTo>
                    <a:lnTo>
                      <a:pt x="650" y="1317"/>
                    </a:lnTo>
                    <a:lnTo>
                      <a:pt x="661" y="1321"/>
                    </a:lnTo>
                    <a:lnTo>
                      <a:pt x="667" y="1321"/>
                    </a:lnTo>
                    <a:lnTo>
                      <a:pt x="685" y="1328"/>
                    </a:lnTo>
                    <a:lnTo>
                      <a:pt x="696" y="1337"/>
                    </a:lnTo>
                    <a:lnTo>
                      <a:pt x="710" y="1350"/>
                    </a:lnTo>
                    <a:lnTo>
                      <a:pt x="724" y="1366"/>
                    </a:lnTo>
                    <a:lnTo>
                      <a:pt x="737" y="1380"/>
                    </a:lnTo>
                    <a:lnTo>
                      <a:pt x="742" y="1372"/>
                    </a:lnTo>
                    <a:lnTo>
                      <a:pt x="748" y="1367"/>
                    </a:lnTo>
                    <a:lnTo>
                      <a:pt x="756" y="1363"/>
                    </a:lnTo>
                    <a:lnTo>
                      <a:pt x="757" y="1361"/>
                    </a:lnTo>
                    <a:lnTo>
                      <a:pt x="762" y="1355"/>
                    </a:lnTo>
                    <a:lnTo>
                      <a:pt x="772" y="1334"/>
                    </a:lnTo>
                    <a:lnTo>
                      <a:pt x="778" y="1329"/>
                    </a:lnTo>
                    <a:lnTo>
                      <a:pt x="789" y="1323"/>
                    </a:lnTo>
                    <a:lnTo>
                      <a:pt x="796" y="1320"/>
                    </a:lnTo>
                    <a:lnTo>
                      <a:pt x="805" y="1320"/>
                    </a:lnTo>
                    <a:lnTo>
                      <a:pt x="807" y="1331"/>
                    </a:lnTo>
                    <a:lnTo>
                      <a:pt x="808" y="1329"/>
                    </a:lnTo>
                    <a:lnTo>
                      <a:pt x="816" y="1329"/>
                    </a:lnTo>
                    <a:lnTo>
                      <a:pt x="822" y="1328"/>
                    </a:lnTo>
                    <a:lnTo>
                      <a:pt x="824" y="1328"/>
                    </a:lnTo>
                    <a:lnTo>
                      <a:pt x="830" y="1324"/>
                    </a:lnTo>
                    <a:lnTo>
                      <a:pt x="838" y="1320"/>
                    </a:lnTo>
                    <a:lnTo>
                      <a:pt x="845" y="1317"/>
                    </a:lnTo>
                    <a:lnTo>
                      <a:pt x="848" y="1313"/>
                    </a:lnTo>
                    <a:lnTo>
                      <a:pt x="849" y="1312"/>
                    </a:lnTo>
                    <a:lnTo>
                      <a:pt x="851" y="1307"/>
                    </a:lnTo>
                    <a:lnTo>
                      <a:pt x="849" y="1302"/>
                    </a:lnTo>
                    <a:lnTo>
                      <a:pt x="848" y="1299"/>
                    </a:lnTo>
                    <a:lnTo>
                      <a:pt x="853" y="1294"/>
                    </a:lnTo>
                    <a:lnTo>
                      <a:pt x="853" y="1288"/>
                    </a:lnTo>
                    <a:lnTo>
                      <a:pt x="856" y="1280"/>
                    </a:lnTo>
                    <a:lnTo>
                      <a:pt x="865" y="1267"/>
                    </a:lnTo>
                    <a:lnTo>
                      <a:pt x="865" y="1261"/>
                    </a:lnTo>
                    <a:lnTo>
                      <a:pt x="867" y="1247"/>
                    </a:lnTo>
                    <a:lnTo>
                      <a:pt x="868" y="1241"/>
                    </a:lnTo>
                    <a:lnTo>
                      <a:pt x="870" y="1234"/>
                    </a:lnTo>
                    <a:lnTo>
                      <a:pt x="870" y="1228"/>
                    </a:lnTo>
                    <a:lnTo>
                      <a:pt x="878" y="1218"/>
                    </a:lnTo>
                    <a:lnTo>
                      <a:pt x="879" y="1215"/>
                    </a:lnTo>
                    <a:lnTo>
                      <a:pt x="887" y="1207"/>
                    </a:lnTo>
                    <a:lnTo>
                      <a:pt x="889" y="1204"/>
                    </a:lnTo>
                    <a:lnTo>
                      <a:pt x="892" y="1199"/>
                    </a:lnTo>
                    <a:lnTo>
                      <a:pt x="895" y="1193"/>
                    </a:lnTo>
                    <a:lnTo>
                      <a:pt x="894" y="1179"/>
                    </a:lnTo>
                    <a:lnTo>
                      <a:pt x="903" y="1166"/>
                    </a:lnTo>
                    <a:lnTo>
                      <a:pt x="908" y="1153"/>
                    </a:lnTo>
                    <a:lnTo>
                      <a:pt x="908" y="1149"/>
                    </a:lnTo>
                    <a:lnTo>
                      <a:pt x="908" y="1138"/>
                    </a:lnTo>
                    <a:lnTo>
                      <a:pt x="910" y="1131"/>
                    </a:lnTo>
                    <a:lnTo>
                      <a:pt x="910" y="1128"/>
                    </a:lnTo>
                    <a:lnTo>
                      <a:pt x="910" y="1117"/>
                    </a:lnTo>
                    <a:lnTo>
                      <a:pt x="906" y="1109"/>
                    </a:lnTo>
                    <a:lnTo>
                      <a:pt x="900" y="1107"/>
                    </a:lnTo>
                    <a:lnTo>
                      <a:pt x="894" y="1104"/>
                    </a:lnTo>
                    <a:lnTo>
                      <a:pt x="891" y="1103"/>
                    </a:lnTo>
                    <a:lnTo>
                      <a:pt x="887" y="1101"/>
                    </a:lnTo>
                    <a:lnTo>
                      <a:pt x="881" y="1099"/>
                    </a:lnTo>
                    <a:lnTo>
                      <a:pt x="868" y="1095"/>
                    </a:lnTo>
                    <a:lnTo>
                      <a:pt x="838" y="1082"/>
                    </a:lnTo>
                    <a:lnTo>
                      <a:pt x="818" y="1074"/>
                    </a:lnTo>
                    <a:lnTo>
                      <a:pt x="818" y="1073"/>
                    </a:lnTo>
                    <a:lnTo>
                      <a:pt x="815" y="1058"/>
                    </a:lnTo>
                    <a:lnTo>
                      <a:pt x="811" y="1046"/>
                    </a:lnTo>
                    <a:lnTo>
                      <a:pt x="810" y="1039"/>
                    </a:lnTo>
                    <a:lnTo>
                      <a:pt x="810" y="1038"/>
                    </a:lnTo>
                    <a:lnTo>
                      <a:pt x="813" y="1030"/>
                    </a:lnTo>
                    <a:lnTo>
                      <a:pt x="816" y="1022"/>
                    </a:lnTo>
                    <a:lnTo>
                      <a:pt x="821" y="1009"/>
                    </a:lnTo>
                    <a:lnTo>
                      <a:pt x="827" y="990"/>
                    </a:lnTo>
                    <a:lnTo>
                      <a:pt x="832" y="982"/>
                    </a:lnTo>
                    <a:lnTo>
                      <a:pt x="837" y="968"/>
                    </a:lnTo>
                    <a:lnTo>
                      <a:pt x="822" y="947"/>
                    </a:lnTo>
                    <a:lnTo>
                      <a:pt x="822" y="946"/>
                    </a:lnTo>
                    <a:lnTo>
                      <a:pt x="824" y="936"/>
                    </a:lnTo>
                    <a:lnTo>
                      <a:pt x="824" y="928"/>
                    </a:lnTo>
                    <a:lnTo>
                      <a:pt x="824" y="920"/>
                    </a:lnTo>
                    <a:lnTo>
                      <a:pt x="826" y="909"/>
                    </a:lnTo>
                    <a:lnTo>
                      <a:pt x="827" y="890"/>
                    </a:lnTo>
                    <a:lnTo>
                      <a:pt x="827" y="879"/>
                    </a:lnTo>
                    <a:lnTo>
                      <a:pt x="829" y="873"/>
                    </a:lnTo>
                    <a:lnTo>
                      <a:pt x="830" y="860"/>
                    </a:lnTo>
                    <a:lnTo>
                      <a:pt x="834" y="844"/>
                    </a:lnTo>
                    <a:lnTo>
                      <a:pt x="838" y="836"/>
                    </a:lnTo>
                    <a:lnTo>
                      <a:pt x="856" y="808"/>
                    </a:lnTo>
                    <a:lnTo>
                      <a:pt x="856" y="778"/>
                    </a:lnTo>
                    <a:lnTo>
                      <a:pt x="860" y="772"/>
                    </a:lnTo>
                    <a:lnTo>
                      <a:pt x="868" y="759"/>
                    </a:lnTo>
                    <a:lnTo>
                      <a:pt x="878" y="751"/>
                    </a:lnTo>
                    <a:lnTo>
                      <a:pt x="911" y="724"/>
                    </a:lnTo>
                    <a:lnTo>
                      <a:pt x="916" y="718"/>
                    </a:lnTo>
                    <a:lnTo>
                      <a:pt x="919" y="716"/>
                    </a:lnTo>
                    <a:lnTo>
                      <a:pt x="925" y="716"/>
                    </a:lnTo>
                    <a:lnTo>
                      <a:pt x="929" y="722"/>
                    </a:lnTo>
                    <a:lnTo>
                      <a:pt x="935" y="732"/>
                    </a:lnTo>
                    <a:lnTo>
                      <a:pt x="938" y="740"/>
                    </a:lnTo>
                    <a:lnTo>
                      <a:pt x="943" y="746"/>
                    </a:lnTo>
                    <a:lnTo>
                      <a:pt x="995" y="759"/>
                    </a:lnTo>
                    <a:lnTo>
                      <a:pt x="1000" y="762"/>
                    </a:lnTo>
                    <a:lnTo>
                      <a:pt x="1003" y="770"/>
                    </a:lnTo>
                    <a:lnTo>
                      <a:pt x="1005" y="778"/>
                    </a:lnTo>
                    <a:lnTo>
                      <a:pt x="1006" y="786"/>
                    </a:lnTo>
                    <a:lnTo>
                      <a:pt x="1009" y="800"/>
                    </a:lnTo>
                    <a:lnTo>
                      <a:pt x="1013" y="817"/>
                    </a:lnTo>
                    <a:lnTo>
                      <a:pt x="1014" y="829"/>
                    </a:lnTo>
                    <a:lnTo>
                      <a:pt x="1017" y="836"/>
                    </a:lnTo>
                    <a:lnTo>
                      <a:pt x="1022" y="844"/>
                    </a:lnTo>
                    <a:lnTo>
                      <a:pt x="1028" y="855"/>
                    </a:lnTo>
                    <a:lnTo>
                      <a:pt x="1033" y="862"/>
                    </a:lnTo>
                    <a:lnTo>
                      <a:pt x="1038" y="865"/>
                    </a:lnTo>
                    <a:lnTo>
                      <a:pt x="1041" y="865"/>
                    </a:lnTo>
                    <a:lnTo>
                      <a:pt x="1046" y="860"/>
                    </a:lnTo>
                    <a:lnTo>
                      <a:pt x="1054" y="851"/>
                    </a:lnTo>
                    <a:lnTo>
                      <a:pt x="1055" y="843"/>
                    </a:lnTo>
                    <a:lnTo>
                      <a:pt x="1058" y="830"/>
                    </a:lnTo>
                    <a:lnTo>
                      <a:pt x="1063" y="816"/>
                    </a:lnTo>
                    <a:lnTo>
                      <a:pt x="1066" y="808"/>
                    </a:lnTo>
                    <a:lnTo>
                      <a:pt x="1068" y="805"/>
                    </a:lnTo>
                    <a:lnTo>
                      <a:pt x="1073" y="797"/>
                    </a:lnTo>
                    <a:lnTo>
                      <a:pt x="1076" y="794"/>
                    </a:lnTo>
                    <a:lnTo>
                      <a:pt x="1081" y="794"/>
                    </a:lnTo>
                    <a:lnTo>
                      <a:pt x="1092" y="791"/>
                    </a:lnTo>
                    <a:lnTo>
                      <a:pt x="1100" y="787"/>
                    </a:lnTo>
                    <a:lnTo>
                      <a:pt x="1106" y="786"/>
                    </a:lnTo>
                    <a:lnTo>
                      <a:pt x="1111" y="783"/>
                    </a:lnTo>
                    <a:lnTo>
                      <a:pt x="1111" y="778"/>
                    </a:lnTo>
                    <a:lnTo>
                      <a:pt x="1111" y="768"/>
                    </a:lnTo>
                    <a:lnTo>
                      <a:pt x="1114" y="757"/>
                    </a:lnTo>
                    <a:lnTo>
                      <a:pt x="1115" y="749"/>
                    </a:lnTo>
                    <a:lnTo>
                      <a:pt x="1114" y="741"/>
                    </a:lnTo>
                    <a:lnTo>
                      <a:pt x="1112" y="732"/>
                    </a:lnTo>
                    <a:lnTo>
                      <a:pt x="1111" y="727"/>
                    </a:lnTo>
                    <a:lnTo>
                      <a:pt x="1106" y="722"/>
                    </a:lnTo>
                    <a:lnTo>
                      <a:pt x="1100" y="716"/>
                    </a:lnTo>
                    <a:lnTo>
                      <a:pt x="1093" y="708"/>
                    </a:lnTo>
                    <a:lnTo>
                      <a:pt x="1092" y="700"/>
                    </a:lnTo>
                    <a:lnTo>
                      <a:pt x="1093" y="691"/>
                    </a:lnTo>
                    <a:lnTo>
                      <a:pt x="1095" y="681"/>
                    </a:lnTo>
                    <a:lnTo>
                      <a:pt x="1098" y="673"/>
                    </a:lnTo>
                    <a:lnTo>
                      <a:pt x="1100" y="673"/>
                    </a:lnTo>
                    <a:lnTo>
                      <a:pt x="1101" y="667"/>
                    </a:lnTo>
                    <a:lnTo>
                      <a:pt x="1101" y="662"/>
                    </a:lnTo>
                    <a:lnTo>
                      <a:pt x="1100" y="659"/>
                    </a:lnTo>
                    <a:lnTo>
                      <a:pt x="1096" y="656"/>
                    </a:lnTo>
                    <a:lnTo>
                      <a:pt x="1090" y="653"/>
                    </a:lnTo>
                    <a:lnTo>
                      <a:pt x="1084" y="648"/>
                    </a:lnTo>
                    <a:lnTo>
                      <a:pt x="1077" y="642"/>
                    </a:lnTo>
                    <a:lnTo>
                      <a:pt x="1071" y="635"/>
                    </a:lnTo>
                    <a:lnTo>
                      <a:pt x="1062" y="626"/>
                    </a:lnTo>
                    <a:lnTo>
                      <a:pt x="1054" y="616"/>
                    </a:lnTo>
                    <a:lnTo>
                      <a:pt x="1047" y="607"/>
                    </a:lnTo>
                    <a:lnTo>
                      <a:pt x="1044" y="602"/>
                    </a:lnTo>
                    <a:lnTo>
                      <a:pt x="1041" y="596"/>
                    </a:lnTo>
                    <a:lnTo>
                      <a:pt x="1036" y="589"/>
                    </a:lnTo>
                    <a:lnTo>
                      <a:pt x="1030" y="585"/>
                    </a:lnTo>
                    <a:lnTo>
                      <a:pt x="1024" y="581"/>
                    </a:lnTo>
                    <a:lnTo>
                      <a:pt x="1024" y="580"/>
                    </a:lnTo>
                    <a:lnTo>
                      <a:pt x="1024" y="578"/>
                    </a:lnTo>
                    <a:lnTo>
                      <a:pt x="1025" y="577"/>
                    </a:lnTo>
                    <a:lnTo>
                      <a:pt x="1027" y="575"/>
                    </a:lnTo>
                    <a:lnTo>
                      <a:pt x="1028" y="573"/>
                    </a:lnTo>
                    <a:lnTo>
                      <a:pt x="1032" y="572"/>
                    </a:lnTo>
                    <a:lnTo>
                      <a:pt x="1033" y="569"/>
                    </a:lnTo>
                    <a:lnTo>
                      <a:pt x="1033" y="564"/>
                    </a:lnTo>
                    <a:lnTo>
                      <a:pt x="1032" y="562"/>
                    </a:lnTo>
                    <a:lnTo>
                      <a:pt x="1028" y="559"/>
                    </a:lnTo>
                    <a:lnTo>
                      <a:pt x="1022" y="554"/>
                    </a:lnTo>
                    <a:lnTo>
                      <a:pt x="1019" y="548"/>
                    </a:lnTo>
                    <a:lnTo>
                      <a:pt x="1017" y="542"/>
                    </a:lnTo>
                    <a:lnTo>
                      <a:pt x="1016" y="535"/>
                    </a:lnTo>
                    <a:lnTo>
                      <a:pt x="1013" y="532"/>
                    </a:lnTo>
                    <a:lnTo>
                      <a:pt x="1009" y="528"/>
                    </a:lnTo>
                    <a:lnTo>
                      <a:pt x="1008" y="521"/>
                    </a:lnTo>
                    <a:lnTo>
                      <a:pt x="1011" y="516"/>
                    </a:lnTo>
                    <a:lnTo>
                      <a:pt x="1009" y="510"/>
                    </a:lnTo>
                    <a:lnTo>
                      <a:pt x="1003" y="499"/>
                    </a:lnTo>
                    <a:lnTo>
                      <a:pt x="998" y="488"/>
                    </a:lnTo>
                    <a:lnTo>
                      <a:pt x="997" y="483"/>
                    </a:lnTo>
                    <a:lnTo>
                      <a:pt x="994" y="478"/>
                    </a:lnTo>
                    <a:lnTo>
                      <a:pt x="987" y="467"/>
                    </a:lnTo>
                    <a:lnTo>
                      <a:pt x="986" y="466"/>
                    </a:lnTo>
                    <a:lnTo>
                      <a:pt x="979" y="458"/>
                    </a:lnTo>
                    <a:lnTo>
                      <a:pt x="976" y="455"/>
                    </a:lnTo>
                    <a:lnTo>
                      <a:pt x="971" y="448"/>
                    </a:lnTo>
                    <a:lnTo>
                      <a:pt x="968" y="445"/>
                    </a:lnTo>
                    <a:lnTo>
                      <a:pt x="967" y="444"/>
                    </a:lnTo>
                    <a:lnTo>
                      <a:pt x="965" y="444"/>
                    </a:lnTo>
                    <a:lnTo>
                      <a:pt x="962" y="445"/>
                    </a:lnTo>
                    <a:lnTo>
                      <a:pt x="960" y="445"/>
                    </a:lnTo>
                    <a:lnTo>
                      <a:pt x="960" y="444"/>
                    </a:lnTo>
                    <a:lnTo>
                      <a:pt x="962" y="437"/>
                    </a:lnTo>
                    <a:lnTo>
                      <a:pt x="963" y="426"/>
                    </a:lnTo>
                    <a:lnTo>
                      <a:pt x="962" y="418"/>
                    </a:lnTo>
                    <a:lnTo>
                      <a:pt x="960" y="409"/>
                    </a:lnTo>
                    <a:lnTo>
                      <a:pt x="959" y="402"/>
                    </a:lnTo>
                    <a:lnTo>
                      <a:pt x="952" y="401"/>
                    </a:lnTo>
                    <a:lnTo>
                      <a:pt x="949" y="401"/>
                    </a:lnTo>
                    <a:lnTo>
                      <a:pt x="948" y="401"/>
                    </a:lnTo>
                    <a:lnTo>
                      <a:pt x="948" y="399"/>
                    </a:lnTo>
                    <a:lnTo>
                      <a:pt x="935" y="390"/>
                    </a:lnTo>
                    <a:lnTo>
                      <a:pt x="922" y="382"/>
                    </a:lnTo>
                    <a:lnTo>
                      <a:pt x="911" y="382"/>
                    </a:lnTo>
                    <a:lnTo>
                      <a:pt x="903" y="385"/>
                    </a:lnTo>
                    <a:lnTo>
                      <a:pt x="884" y="404"/>
                    </a:lnTo>
                    <a:lnTo>
                      <a:pt x="857" y="429"/>
                    </a:lnTo>
                    <a:lnTo>
                      <a:pt x="854" y="431"/>
                    </a:lnTo>
                    <a:lnTo>
                      <a:pt x="851" y="429"/>
                    </a:lnTo>
                    <a:lnTo>
                      <a:pt x="848" y="426"/>
                    </a:lnTo>
                    <a:lnTo>
                      <a:pt x="835" y="420"/>
                    </a:lnTo>
                    <a:lnTo>
                      <a:pt x="821" y="412"/>
                    </a:lnTo>
                    <a:lnTo>
                      <a:pt x="811" y="410"/>
                    </a:lnTo>
                    <a:lnTo>
                      <a:pt x="805" y="413"/>
                    </a:lnTo>
                    <a:lnTo>
                      <a:pt x="792" y="423"/>
                    </a:lnTo>
                    <a:lnTo>
                      <a:pt x="791" y="423"/>
                    </a:lnTo>
                    <a:lnTo>
                      <a:pt x="788" y="421"/>
                    </a:lnTo>
                    <a:lnTo>
                      <a:pt x="783" y="420"/>
                    </a:lnTo>
                    <a:lnTo>
                      <a:pt x="776" y="423"/>
                    </a:lnTo>
                    <a:lnTo>
                      <a:pt x="775" y="426"/>
                    </a:lnTo>
                    <a:lnTo>
                      <a:pt x="775" y="436"/>
                    </a:lnTo>
                    <a:lnTo>
                      <a:pt x="769" y="467"/>
                    </a:lnTo>
                    <a:lnTo>
                      <a:pt x="772" y="474"/>
                    </a:lnTo>
                    <a:lnTo>
                      <a:pt x="767" y="474"/>
                    </a:lnTo>
                    <a:lnTo>
                      <a:pt x="762" y="474"/>
                    </a:lnTo>
                    <a:lnTo>
                      <a:pt x="753" y="474"/>
                    </a:lnTo>
                    <a:lnTo>
                      <a:pt x="748" y="470"/>
                    </a:lnTo>
                    <a:lnTo>
                      <a:pt x="745" y="461"/>
                    </a:lnTo>
                    <a:lnTo>
                      <a:pt x="742" y="461"/>
                    </a:lnTo>
                    <a:lnTo>
                      <a:pt x="731" y="461"/>
                    </a:lnTo>
                    <a:lnTo>
                      <a:pt x="721" y="463"/>
                    </a:lnTo>
                    <a:lnTo>
                      <a:pt x="715" y="464"/>
                    </a:lnTo>
                    <a:lnTo>
                      <a:pt x="708" y="469"/>
                    </a:lnTo>
                    <a:lnTo>
                      <a:pt x="705" y="474"/>
                    </a:lnTo>
                    <a:lnTo>
                      <a:pt x="700" y="477"/>
                    </a:lnTo>
                    <a:lnTo>
                      <a:pt x="696" y="477"/>
                    </a:lnTo>
                    <a:lnTo>
                      <a:pt x="691" y="474"/>
                    </a:lnTo>
                    <a:lnTo>
                      <a:pt x="683" y="472"/>
                    </a:lnTo>
                    <a:lnTo>
                      <a:pt x="672" y="469"/>
                    </a:lnTo>
                    <a:lnTo>
                      <a:pt x="661" y="467"/>
                    </a:lnTo>
                    <a:lnTo>
                      <a:pt x="655" y="466"/>
                    </a:lnTo>
                    <a:lnTo>
                      <a:pt x="647" y="464"/>
                    </a:lnTo>
                    <a:lnTo>
                      <a:pt x="639" y="464"/>
                    </a:lnTo>
                    <a:lnTo>
                      <a:pt x="634" y="464"/>
                    </a:lnTo>
                    <a:lnTo>
                      <a:pt x="632" y="464"/>
                    </a:lnTo>
                    <a:lnTo>
                      <a:pt x="631" y="464"/>
                    </a:lnTo>
                    <a:lnTo>
                      <a:pt x="629" y="464"/>
                    </a:lnTo>
                    <a:lnTo>
                      <a:pt x="626" y="466"/>
                    </a:lnTo>
                    <a:lnTo>
                      <a:pt x="624" y="466"/>
                    </a:lnTo>
                    <a:lnTo>
                      <a:pt x="623" y="466"/>
                    </a:lnTo>
                    <a:lnTo>
                      <a:pt x="621" y="467"/>
                    </a:lnTo>
                    <a:lnTo>
                      <a:pt x="620" y="469"/>
                    </a:lnTo>
                    <a:lnTo>
                      <a:pt x="618" y="470"/>
                    </a:lnTo>
                    <a:lnTo>
                      <a:pt x="613" y="475"/>
                    </a:lnTo>
                    <a:lnTo>
                      <a:pt x="607" y="482"/>
                    </a:lnTo>
                    <a:lnTo>
                      <a:pt x="599" y="486"/>
                    </a:lnTo>
                    <a:lnTo>
                      <a:pt x="590" y="489"/>
                    </a:lnTo>
                    <a:lnTo>
                      <a:pt x="582" y="493"/>
                    </a:lnTo>
                    <a:lnTo>
                      <a:pt x="574" y="496"/>
                    </a:lnTo>
                    <a:lnTo>
                      <a:pt x="566" y="502"/>
                    </a:lnTo>
                    <a:lnTo>
                      <a:pt x="561" y="507"/>
                    </a:lnTo>
                    <a:lnTo>
                      <a:pt x="555" y="507"/>
                    </a:lnTo>
                    <a:lnTo>
                      <a:pt x="550" y="508"/>
                    </a:lnTo>
                    <a:lnTo>
                      <a:pt x="548" y="508"/>
                    </a:lnTo>
                    <a:lnTo>
                      <a:pt x="544" y="513"/>
                    </a:lnTo>
                    <a:lnTo>
                      <a:pt x="536" y="516"/>
                    </a:lnTo>
                    <a:lnTo>
                      <a:pt x="528" y="518"/>
                    </a:lnTo>
                    <a:lnTo>
                      <a:pt x="520" y="520"/>
                    </a:lnTo>
                    <a:lnTo>
                      <a:pt x="510" y="521"/>
                    </a:lnTo>
                    <a:lnTo>
                      <a:pt x="506" y="521"/>
                    </a:lnTo>
                    <a:lnTo>
                      <a:pt x="502" y="520"/>
                    </a:lnTo>
                    <a:lnTo>
                      <a:pt x="501" y="515"/>
                    </a:lnTo>
                    <a:lnTo>
                      <a:pt x="498" y="510"/>
                    </a:lnTo>
                    <a:lnTo>
                      <a:pt x="496" y="504"/>
                    </a:lnTo>
                    <a:lnTo>
                      <a:pt x="495" y="497"/>
                    </a:lnTo>
                    <a:lnTo>
                      <a:pt x="498" y="496"/>
                    </a:lnTo>
                    <a:lnTo>
                      <a:pt x="507" y="496"/>
                    </a:lnTo>
                    <a:lnTo>
                      <a:pt x="510" y="497"/>
                    </a:lnTo>
                    <a:lnTo>
                      <a:pt x="515" y="497"/>
                    </a:lnTo>
                    <a:lnTo>
                      <a:pt x="525" y="497"/>
                    </a:lnTo>
                    <a:lnTo>
                      <a:pt x="531" y="494"/>
                    </a:lnTo>
                    <a:lnTo>
                      <a:pt x="536" y="493"/>
                    </a:lnTo>
                    <a:lnTo>
                      <a:pt x="533" y="488"/>
                    </a:lnTo>
                    <a:lnTo>
                      <a:pt x="525" y="480"/>
                    </a:lnTo>
                    <a:lnTo>
                      <a:pt x="517" y="475"/>
                    </a:lnTo>
                    <a:lnTo>
                      <a:pt x="510" y="475"/>
                    </a:lnTo>
                    <a:lnTo>
                      <a:pt x="502" y="478"/>
                    </a:lnTo>
                    <a:lnTo>
                      <a:pt x="493" y="480"/>
                    </a:lnTo>
                    <a:lnTo>
                      <a:pt x="483" y="480"/>
                    </a:lnTo>
                    <a:lnTo>
                      <a:pt x="476" y="482"/>
                    </a:lnTo>
                    <a:lnTo>
                      <a:pt x="471" y="480"/>
                    </a:lnTo>
                    <a:lnTo>
                      <a:pt x="469" y="480"/>
                    </a:lnTo>
                    <a:lnTo>
                      <a:pt x="468" y="482"/>
                    </a:lnTo>
                    <a:lnTo>
                      <a:pt x="468" y="480"/>
                    </a:lnTo>
                    <a:lnTo>
                      <a:pt x="466" y="480"/>
                    </a:lnTo>
                    <a:lnTo>
                      <a:pt x="468" y="480"/>
                    </a:lnTo>
                    <a:lnTo>
                      <a:pt x="468" y="466"/>
                    </a:lnTo>
                    <a:lnTo>
                      <a:pt x="469" y="455"/>
                    </a:lnTo>
                    <a:lnTo>
                      <a:pt x="474" y="445"/>
                    </a:lnTo>
                    <a:lnTo>
                      <a:pt x="476" y="439"/>
                    </a:lnTo>
                    <a:lnTo>
                      <a:pt x="479" y="434"/>
                    </a:lnTo>
                    <a:lnTo>
                      <a:pt x="479" y="429"/>
                    </a:lnTo>
                    <a:lnTo>
                      <a:pt x="483" y="420"/>
                    </a:lnTo>
                    <a:lnTo>
                      <a:pt x="488" y="415"/>
                    </a:lnTo>
                    <a:lnTo>
                      <a:pt x="491" y="409"/>
                    </a:lnTo>
                    <a:lnTo>
                      <a:pt x="499" y="399"/>
                    </a:lnTo>
                    <a:lnTo>
                      <a:pt x="506" y="388"/>
                    </a:lnTo>
                    <a:lnTo>
                      <a:pt x="512" y="380"/>
                    </a:lnTo>
                    <a:lnTo>
                      <a:pt x="521" y="372"/>
                    </a:lnTo>
                    <a:lnTo>
                      <a:pt x="531" y="363"/>
                    </a:lnTo>
                    <a:lnTo>
                      <a:pt x="540" y="353"/>
                    </a:lnTo>
                    <a:lnTo>
                      <a:pt x="550" y="344"/>
                    </a:lnTo>
                    <a:lnTo>
                      <a:pt x="556" y="339"/>
                    </a:lnTo>
                    <a:lnTo>
                      <a:pt x="561" y="336"/>
                    </a:lnTo>
                    <a:lnTo>
                      <a:pt x="563" y="334"/>
                    </a:lnTo>
                    <a:lnTo>
                      <a:pt x="561" y="331"/>
                    </a:lnTo>
                    <a:lnTo>
                      <a:pt x="559" y="329"/>
                    </a:lnTo>
                    <a:lnTo>
                      <a:pt x="556" y="328"/>
                    </a:lnTo>
                    <a:lnTo>
                      <a:pt x="552" y="328"/>
                    </a:lnTo>
                    <a:lnTo>
                      <a:pt x="547" y="326"/>
                    </a:lnTo>
                    <a:lnTo>
                      <a:pt x="544" y="322"/>
                    </a:lnTo>
                    <a:lnTo>
                      <a:pt x="540" y="318"/>
                    </a:lnTo>
                    <a:lnTo>
                      <a:pt x="539" y="309"/>
                    </a:lnTo>
                    <a:lnTo>
                      <a:pt x="542" y="299"/>
                    </a:lnTo>
                    <a:lnTo>
                      <a:pt x="544" y="291"/>
                    </a:lnTo>
                    <a:lnTo>
                      <a:pt x="550" y="272"/>
                    </a:lnTo>
                    <a:lnTo>
                      <a:pt x="550" y="261"/>
                    </a:lnTo>
                    <a:lnTo>
                      <a:pt x="553" y="249"/>
                    </a:lnTo>
                    <a:lnTo>
                      <a:pt x="556" y="234"/>
                    </a:lnTo>
                    <a:lnTo>
                      <a:pt x="558" y="225"/>
                    </a:lnTo>
                    <a:lnTo>
                      <a:pt x="561" y="219"/>
                    </a:lnTo>
                    <a:lnTo>
                      <a:pt x="566" y="201"/>
                    </a:lnTo>
                    <a:lnTo>
                      <a:pt x="566" y="195"/>
                    </a:lnTo>
                    <a:lnTo>
                      <a:pt x="567" y="188"/>
                    </a:lnTo>
                    <a:lnTo>
                      <a:pt x="571" y="179"/>
                    </a:lnTo>
                    <a:lnTo>
                      <a:pt x="574" y="173"/>
                    </a:lnTo>
                    <a:lnTo>
                      <a:pt x="575" y="168"/>
                    </a:lnTo>
                    <a:lnTo>
                      <a:pt x="577" y="161"/>
                    </a:lnTo>
                    <a:lnTo>
                      <a:pt x="580" y="150"/>
                    </a:lnTo>
                    <a:lnTo>
                      <a:pt x="582" y="144"/>
                    </a:lnTo>
                    <a:lnTo>
                      <a:pt x="580" y="135"/>
                    </a:lnTo>
                    <a:lnTo>
                      <a:pt x="580" y="131"/>
                    </a:lnTo>
                    <a:lnTo>
                      <a:pt x="580" y="127"/>
                    </a:lnTo>
                    <a:lnTo>
                      <a:pt x="578" y="120"/>
                    </a:lnTo>
                    <a:lnTo>
                      <a:pt x="583" y="116"/>
                    </a:lnTo>
                    <a:lnTo>
                      <a:pt x="590" y="108"/>
                    </a:lnTo>
                    <a:lnTo>
                      <a:pt x="596" y="101"/>
                    </a:lnTo>
                    <a:lnTo>
                      <a:pt x="601" y="97"/>
                    </a:lnTo>
                    <a:lnTo>
                      <a:pt x="605" y="92"/>
                    </a:lnTo>
                    <a:lnTo>
                      <a:pt x="612" y="85"/>
                    </a:lnTo>
                    <a:lnTo>
                      <a:pt x="617" y="79"/>
                    </a:lnTo>
                    <a:lnTo>
                      <a:pt x="621" y="74"/>
                    </a:lnTo>
                    <a:lnTo>
                      <a:pt x="624" y="66"/>
                    </a:lnTo>
                    <a:lnTo>
                      <a:pt x="624" y="58"/>
                    </a:lnTo>
                    <a:lnTo>
                      <a:pt x="628" y="49"/>
                    </a:lnTo>
                    <a:lnTo>
                      <a:pt x="636" y="39"/>
                    </a:lnTo>
                    <a:lnTo>
                      <a:pt x="639" y="38"/>
                    </a:lnTo>
                    <a:lnTo>
                      <a:pt x="645" y="38"/>
                    </a:lnTo>
                    <a:lnTo>
                      <a:pt x="658" y="38"/>
                    </a:lnTo>
                    <a:lnTo>
                      <a:pt x="670" y="36"/>
                    </a:lnTo>
                    <a:lnTo>
                      <a:pt x="677" y="39"/>
                    </a:lnTo>
                    <a:lnTo>
                      <a:pt x="697" y="36"/>
                    </a:lnTo>
                    <a:lnTo>
                      <a:pt x="726" y="38"/>
                    </a:lnTo>
                    <a:lnTo>
                      <a:pt x="742" y="36"/>
                    </a:lnTo>
                    <a:lnTo>
                      <a:pt x="756" y="38"/>
                    </a:lnTo>
                    <a:lnTo>
                      <a:pt x="761" y="36"/>
                    </a:lnTo>
                    <a:lnTo>
                      <a:pt x="765" y="36"/>
                    </a:lnTo>
                    <a:lnTo>
                      <a:pt x="772" y="36"/>
                    </a:lnTo>
                    <a:lnTo>
                      <a:pt x="773" y="36"/>
                    </a:lnTo>
                    <a:lnTo>
                      <a:pt x="778" y="32"/>
                    </a:lnTo>
                    <a:lnTo>
                      <a:pt x="780" y="30"/>
                    </a:lnTo>
                    <a:lnTo>
                      <a:pt x="781" y="30"/>
                    </a:lnTo>
                    <a:lnTo>
                      <a:pt x="786" y="30"/>
                    </a:lnTo>
                    <a:lnTo>
                      <a:pt x="788" y="30"/>
                    </a:lnTo>
                    <a:lnTo>
                      <a:pt x="788" y="33"/>
                    </a:lnTo>
                    <a:lnTo>
                      <a:pt x="789" y="35"/>
                    </a:lnTo>
                    <a:lnTo>
                      <a:pt x="791" y="36"/>
                    </a:lnTo>
                    <a:lnTo>
                      <a:pt x="792" y="36"/>
                    </a:lnTo>
                    <a:lnTo>
                      <a:pt x="794" y="36"/>
                    </a:lnTo>
                    <a:lnTo>
                      <a:pt x="794" y="38"/>
                    </a:lnTo>
                    <a:lnTo>
                      <a:pt x="796" y="38"/>
                    </a:lnTo>
                    <a:lnTo>
                      <a:pt x="799" y="38"/>
                    </a:lnTo>
                    <a:lnTo>
                      <a:pt x="800" y="38"/>
                    </a:lnTo>
                    <a:lnTo>
                      <a:pt x="803" y="39"/>
                    </a:lnTo>
                    <a:lnTo>
                      <a:pt x="807" y="41"/>
                    </a:lnTo>
                    <a:lnTo>
                      <a:pt x="808" y="41"/>
                    </a:lnTo>
                    <a:lnTo>
                      <a:pt x="810" y="41"/>
                    </a:lnTo>
                    <a:lnTo>
                      <a:pt x="811" y="41"/>
                    </a:lnTo>
                    <a:lnTo>
                      <a:pt x="811" y="43"/>
                    </a:lnTo>
                    <a:lnTo>
                      <a:pt x="813" y="43"/>
                    </a:lnTo>
                    <a:lnTo>
                      <a:pt x="816" y="43"/>
                    </a:lnTo>
                    <a:lnTo>
                      <a:pt x="818" y="44"/>
                    </a:lnTo>
                    <a:lnTo>
                      <a:pt x="821" y="44"/>
                    </a:lnTo>
                    <a:lnTo>
                      <a:pt x="824" y="46"/>
                    </a:lnTo>
                    <a:lnTo>
                      <a:pt x="829" y="44"/>
                    </a:lnTo>
                    <a:lnTo>
                      <a:pt x="830" y="46"/>
                    </a:lnTo>
                    <a:lnTo>
                      <a:pt x="830" y="47"/>
                    </a:lnTo>
                    <a:lnTo>
                      <a:pt x="830" y="49"/>
                    </a:lnTo>
                    <a:lnTo>
                      <a:pt x="830" y="51"/>
                    </a:lnTo>
                    <a:lnTo>
                      <a:pt x="832" y="52"/>
                    </a:lnTo>
                    <a:lnTo>
                      <a:pt x="834" y="52"/>
                    </a:lnTo>
                    <a:lnTo>
                      <a:pt x="835" y="52"/>
                    </a:lnTo>
                    <a:lnTo>
                      <a:pt x="837" y="52"/>
                    </a:lnTo>
                    <a:lnTo>
                      <a:pt x="838" y="52"/>
                    </a:lnTo>
                    <a:lnTo>
                      <a:pt x="838" y="51"/>
                    </a:lnTo>
                    <a:lnTo>
                      <a:pt x="838" y="49"/>
                    </a:lnTo>
                    <a:lnTo>
                      <a:pt x="840" y="49"/>
                    </a:lnTo>
                    <a:lnTo>
                      <a:pt x="841" y="49"/>
                    </a:lnTo>
                    <a:lnTo>
                      <a:pt x="843" y="49"/>
                    </a:lnTo>
                    <a:lnTo>
                      <a:pt x="845" y="49"/>
                    </a:lnTo>
                    <a:lnTo>
                      <a:pt x="846" y="49"/>
                    </a:lnTo>
                    <a:lnTo>
                      <a:pt x="849" y="49"/>
                    </a:lnTo>
                    <a:lnTo>
                      <a:pt x="853" y="49"/>
                    </a:lnTo>
                    <a:lnTo>
                      <a:pt x="854" y="49"/>
                    </a:lnTo>
                    <a:lnTo>
                      <a:pt x="857" y="49"/>
                    </a:lnTo>
                    <a:lnTo>
                      <a:pt x="859" y="49"/>
                    </a:lnTo>
                    <a:lnTo>
                      <a:pt x="860" y="49"/>
                    </a:lnTo>
                    <a:lnTo>
                      <a:pt x="862" y="49"/>
                    </a:lnTo>
                    <a:lnTo>
                      <a:pt x="864" y="49"/>
                    </a:lnTo>
                    <a:lnTo>
                      <a:pt x="865" y="49"/>
                    </a:lnTo>
                    <a:lnTo>
                      <a:pt x="868" y="49"/>
                    </a:lnTo>
                    <a:lnTo>
                      <a:pt x="868" y="47"/>
                    </a:lnTo>
                    <a:lnTo>
                      <a:pt x="870" y="46"/>
                    </a:lnTo>
                    <a:lnTo>
                      <a:pt x="868" y="46"/>
                    </a:lnTo>
                    <a:lnTo>
                      <a:pt x="868" y="44"/>
                    </a:lnTo>
                    <a:lnTo>
                      <a:pt x="870" y="43"/>
                    </a:lnTo>
                    <a:lnTo>
                      <a:pt x="870" y="41"/>
                    </a:lnTo>
                    <a:lnTo>
                      <a:pt x="872" y="41"/>
                    </a:lnTo>
                    <a:lnTo>
                      <a:pt x="872" y="39"/>
                    </a:lnTo>
                    <a:lnTo>
                      <a:pt x="873" y="39"/>
                    </a:lnTo>
                    <a:lnTo>
                      <a:pt x="875" y="39"/>
                    </a:lnTo>
                    <a:lnTo>
                      <a:pt x="876" y="39"/>
                    </a:lnTo>
                    <a:lnTo>
                      <a:pt x="878" y="39"/>
                    </a:lnTo>
                    <a:lnTo>
                      <a:pt x="879" y="38"/>
                    </a:lnTo>
                    <a:lnTo>
                      <a:pt x="879" y="36"/>
                    </a:lnTo>
                    <a:lnTo>
                      <a:pt x="884" y="36"/>
                    </a:lnTo>
                    <a:lnTo>
                      <a:pt x="884" y="35"/>
                    </a:lnTo>
                    <a:lnTo>
                      <a:pt x="886" y="35"/>
                    </a:lnTo>
                    <a:lnTo>
                      <a:pt x="887" y="35"/>
                    </a:lnTo>
                    <a:lnTo>
                      <a:pt x="887" y="33"/>
                    </a:lnTo>
                    <a:lnTo>
                      <a:pt x="889" y="33"/>
                    </a:lnTo>
                    <a:lnTo>
                      <a:pt x="891" y="33"/>
                    </a:lnTo>
                    <a:lnTo>
                      <a:pt x="891" y="35"/>
                    </a:lnTo>
                    <a:lnTo>
                      <a:pt x="891" y="36"/>
                    </a:lnTo>
                    <a:lnTo>
                      <a:pt x="892" y="35"/>
                    </a:lnTo>
                    <a:lnTo>
                      <a:pt x="895" y="35"/>
                    </a:lnTo>
                    <a:lnTo>
                      <a:pt x="897" y="35"/>
                    </a:lnTo>
                    <a:lnTo>
                      <a:pt x="898" y="35"/>
                    </a:lnTo>
                    <a:lnTo>
                      <a:pt x="900" y="35"/>
                    </a:lnTo>
                    <a:lnTo>
                      <a:pt x="902" y="35"/>
                    </a:lnTo>
                    <a:lnTo>
                      <a:pt x="903" y="35"/>
                    </a:lnTo>
                    <a:lnTo>
                      <a:pt x="905" y="35"/>
                    </a:lnTo>
                    <a:lnTo>
                      <a:pt x="905" y="36"/>
                    </a:lnTo>
                    <a:lnTo>
                      <a:pt x="905" y="38"/>
                    </a:lnTo>
                    <a:lnTo>
                      <a:pt x="906" y="38"/>
                    </a:lnTo>
                    <a:lnTo>
                      <a:pt x="908" y="38"/>
                    </a:lnTo>
                    <a:lnTo>
                      <a:pt x="913" y="38"/>
                    </a:lnTo>
                    <a:lnTo>
                      <a:pt x="914" y="36"/>
                    </a:lnTo>
                    <a:lnTo>
                      <a:pt x="916" y="36"/>
                    </a:lnTo>
                    <a:lnTo>
                      <a:pt x="917" y="36"/>
                    </a:lnTo>
                    <a:lnTo>
                      <a:pt x="919" y="36"/>
                    </a:lnTo>
                    <a:lnTo>
                      <a:pt x="921" y="36"/>
                    </a:lnTo>
                    <a:lnTo>
                      <a:pt x="922" y="36"/>
                    </a:lnTo>
                    <a:lnTo>
                      <a:pt x="925" y="36"/>
                    </a:lnTo>
                    <a:lnTo>
                      <a:pt x="927" y="36"/>
                    </a:lnTo>
                    <a:lnTo>
                      <a:pt x="929" y="35"/>
                    </a:lnTo>
                    <a:lnTo>
                      <a:pt x="930" y="33"/>
                    </a:lnTo>
                    <a:lnTo>
                      <a:pt x="930" y="32"/>
                    </a:lnTo>
                    <a:lnTo>
                      <a:pt x="932" y="32"/>
                    </a:lnTo>
                    <a:lnTo>
                      <a:pt x="933" y="32"/>
                    </a:lnTo>
                    <a:lnTo>
                      <a:pt x="935" y="32"/>
                    </a:lnTo>
                    <a:lnTo>
                      <a:pt x="935" y="30"/>
                    </a:lnTo>
                    <a:lnTo>
                      <a:pt x="936" y="30"/>
                    </a:lnTo>
                    <a:lnTo>
                      <a:pt x="940" y="30"/>
                    </a:lnTo>
                    <a:lnTo>
                      <a:pt x="941" y="30"/>
                    </a:lnTo>
                    <a:lnTo>
                      <a:pt x="943" y="30"/>
                    </a:lnTo>
                    <a:lnTo>
                      <a:pt x="944" y="30"/>
                    </a:lnTo>
                    <a:lnTo>
                      <a:pt x="946" y="28"/>
                    </a:lnTo>
                    <a:lnTo>
                      <a:pt x="948" y="28"/>
                    </a:lnTo>
                    <a:lnTo>
                      <a:pt x="949" y="27"/>
                    </a:lnTo>
                    <a:lnTo>
                      <a:pt x="951" y="27"/>
                    </a:lnTo>
                    <a:lnTo>
                      <a:pt x="951" y="28"/>
                    </a:lnTo>
                    <a:lnTo>
                      <a:pt x="952" y="28"/>
                    </a:lnTo>
                    <a:lnTo>
                      <a:pt x="954" y="28"/>
                    </a:lnTo>
                    <a:lnTo>
                      <a:pt x="955" y="28"/>
                    </a:lnTo>
                    <a:lnTo>
                      <a:pt x="957" y="28"/>
                    </a:lnTo>
                    <a:lnTo>
                      <a:pt x="959" y="28"/>
                    </a:lnTo>
                    <a:lnTo>
                      <a:pt x="959" y="30"/>
                    </a:lnTo>
                    <a:lnTo>
                      <a:pt x="960" y="30"/>
                    </a:lnTo>
                    <a:lnTo>
                      <a:pt x="963" y="30"/>
                    </a:lnTo>
                    <a:lnTo>
                      <a:pt x="963" y="32"/>
                    </a:lnTo>
                    <a:lnTo>
                      <a:pt x="965" y="32"/>
                    </a:lnTo>
                    <a:lnTo>
                      <a:pt x="968" y="32"/>
                    </a:lnTo>
                    <a:lnTo>
                      <a:pt x="971" y="33"/>
                    </a:lnTo>
                    <a:lnTo>
                      <a:pt x="973" y="32"/>
                    </a:lnTo>
                    <a:lnTo>
                      <a:pt x="974" y="30"/>
                    </a:lnTo>
                    <a:lnTo>
                      <a:pt x="976" y="30"/>
                    </a:lnTo>
                    <a:lnTo>
                      <a:pt x="978" y="28"/>
                    </a:lnTo>
                    <a:lnTo>
                      <a:pt x="981" y="27"/>
                    </a:lnTo>
                    <a:lnTo>
                      <a:pt x="981" y="25"/>
                    </a:lnTo>
                    <a:lnTo>
                      <a:pt x="982" y="25"/>
                    </a:lnTo>
                    <a:lnTo>
                      <a:pt x="984" y="24"/>
                    </a:lnTo>
                    <a:lnTo>
                      <a:pt x="986" y="22"/>
                    </a:lnTo>
                    <a:lnTo>
                      <a:pt x="987" y="22"/>
                    </a:lnTo>
                    <a:lnTo>
                      <a:pt x="987" y="20"/>
                    </a:lnTo>
                    <a:lnTo>
                      <a:pt x="989" y="20"/>
                    </a:lnTo>
                    <a:lnTo>
                      <a:pt x="990" y="20"/>
                    </a:lnTo>
                    <a:lnTo>
                      <a:pt x="990" y="19"/>
                    </a:lnTo>
                    <a:lnTo>
                      <a:pt x="992" y="19"/>
                    </a:lnTo>
                    <a:lnTo>
                      <a:pt x="994" y="17"/>
                    </a:lnTo>
                    <a:lnTo>
                      <a:pt x="995" y="16"/>
                    </a:lnTo>
                    <a:lnTo>
                      <a:pt x="997" y="16"/>
                    </a:lnTo>
                    <a:lnTo>
                      <a:pt x="998" y="16"/>
                    </a:lnTo>
                    <a:lnTo>
                      <a:pt x="1000" y="14"/>
                    </a:lnTo>
                    <a:lnTo>
                      <a:pt x="1001" y="14"/>
                    </a:lnTo>
                    <a:lnTo>
                      <a:pt x="1003" y="14"/>
                    </a:lnTo>
                    <a:lnTo>
                      <a:pt x="1003" y="13"/>
                    </a:lnTo>
                    <a:lnTo>
                      <a:pt x="1005" y="13"/>
                    </a:lnTo>
                    <a:lnTo>
                      <a:pt x="1008" y="11"/>
                    </a:lnTo>
                    <a:lnTo>
                      <a:pt x="1009" y="11"/>
                    </a:lnTo>
                    <a:lnTo>
                      <a:pt x="1013" y="11"/>
                    </a:lnTo>
                    <a:lnTo>
                      <a:pt x="1014" y="9"/>
                    </a:lnTo>
                    <a:lnTo>
                      <a:pt x="1016" y="9"/>
                    </a:lnTo>
                    <a:lnTo>
                      <a:pt x="1017" y="8"/>
                    </a:lnTo>
                    <a:lnTo>
                      <a:pt x="1019" y="8"/>
                    </a:lnTo>
                    <a:lnTo>
                      <a:pt x="1020" y="8"/>
                    </a:lnTo>
                    <a:lnTo>
                      <a:pt x="1022" y="8"/>
                    </a:lnTo>
                    <a:lnTo>
                      <a:pt x="1024" y="8"/>
                    </a:lnTo>
                    <a:lnTo>
                      <a:pt x="1025" y="6"/>
                    </a:lnTo>
                    <a:lnTo>
                      <a:pt x="1025" y="5"/>
                    </a:lnTo>
                    <a:lnTo>
                      <a:pt x="1025" y="3"/>
                    </a:lnTo>
                    <a:lnTo>
                      <a:pt x="1027" y="3"/>
                    </a:lnTo>
                    <a:lnTo>
                      <a:pt x="1028" y="1"/>
                    </a:lnTo>
                    <a:lnTo>
                      <a:pt x="1030" y="0"/>
                    </a:lnTo>
                    <a:lnTo>
                      <a:pt x="1032" y="0"/>
                    </a:lnTo>
                    <a:lnTo>
                      <a:pt x="1033" y="0"/>
                    </a:lnTo>
                    <a:lnTo>
                      <a:pt x="1035" y="0"/>
                    </a:lnTo>
                    <a:lnTo>
                      <a:pt x="1035" y="1"/>
                    </a:lnTo>
                    <a:lnTo>
                      <a:pt x="1036" y="1"/>
                    </a:lnTo>
                    <a:lnTo>
                      <a:pt x="1038" y="1"/>
                    </a:lnTo>
                    <a:lnTo>
                      <a:pt x="1038" y="3"/>
                    </a:lnTo>
                    <a:lnTo>
                      <a:pt x="1039" y="5"/>
                    </a:lnTo>
                    <a:close/>
                  </a:path>
                </a:pathLst>
              </a:custGeom>
              <a:solidFill>
                <a:srgbClr val="E1E1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138"/>
              </a:p>
            </p:txBody>
          </p:sp>
          <p:sp>
            <p:nvSpPr>
              <p:cNvPr id="40" name="Freeform 38"/>
              <p:cNvSpPr>
                <a:spLocks/>
              </p:cNvSpPr>
              <p:nvPr/>
            </p:nvSpPr>
            <p:spPr bwMode="auto">
              <a:xfrm>
                <a:off x="3218" y="1762"/>
                <a:ext cx="2595" cy="2264"/>
              </a:xfrm>
              <a:custGeom>
                <a:avLst/>
                <a:gdLst>
                  <a:gd name="T0" fmla="*/ 1062 w 2595"/>
                  <a:gd name="T1" fmla="*/ 3 h 2264"/>
                  <a:gd name="T2" fmla="*/ 1076 w 2595"/>
                  <a:gd name="T3" fmla="*/ 14 h 2264"/>
                  <a:gd name="T4" fmla="*/ 1096 w 2595"/>
                  <a:gd name="T5" fmla="*/ 28 h 2264"/>
                  <a:gd name="T6" fmla="*/ 1125 w 2595"/>
                  <a:gd name="T7" fmla="*/ 27 h 2264"/>
                  <a:gd name="T8" fmla="*/ 1057 w 2595"/>
                  <a:gd name="T9" fmla="*/ 125 h 2264"/>
                  <a:gd name="T10" fmla="*/ 1071 w 2595"/>
                  <a:gd name="T11" fmla="*/ 180 h 2264"/>
                  <a:gd name="T12" fmla="*/ 1139 w 2595"/>
                  <a:gd name="T13" fmla="*/ 285 h 2264"/>
                  <a:gd name="T14" fmla="*/ 1182 w 2595"/>
                  <a:gd name="T15" fmla="*/ 343 h 2264"/>
                  <a:gd name="T16" fmla="*/ 1230 w 2595"/>
                  <a:gd name="T17" fmla="*/ 429 h 2264"/>
                  <a:gd name="T18" fmla="*/ 1282 w 2595"/>
                  <a:gd name="T19" fmla="*/ 489 h 2264"/>
                  <a:gd name="T20" fmla="*/ 1363 w 2595"/>
                  <a:gd name="T21" fmla="*/ 537 h 2264"/>
                  <a:gd name="T22" fmla="*/ 1473 w 2595"/>
                  <a:gd name="T23" fmla="*/ 621 h 2264"/>
                  <a:gd name="T24" fmla="*/ 1638 w 2595"/>
                  <a:gd name="T25" fmla="*/ 675 h 2264"/>
                  <a:gd name="T26" fmla="*/ 1814 w 2595"/>
                  <a:gd name="T27" fmla="*/ 733 h 2264"/>
                  <a:gd name="T28" fmla="*/ 1990 w 2595"/>
                  <a:gd name="T29" fmla="*/ 792 h 2264"/>
                  <a:gd name="T30" fmla="*/ 2112 w 2595"/>
                  <a:gd name="T31" fmla="*/ 831 h 2264"/>
                  <a:gd name="T32" fmla="*/ 2269 w 2595"/>
                  <a:gd name="T33" fmla="*/ 885 h 2264"/>
                  <a:gd name="T34" fmla="*/ 2576 w 2595"/>
                  <a:gd name="T35" fmla="*/ 898 h 2264"/>
                  <a:gd name="T36" fmla="*/ 1748 w 2595"/>
                  <a:gd name="T37" fmla="*/ 1768 h 2264"/>
                  <a:gd name="T38" fmla="*/ 1277 w 2595"/>
                  <a:gd name="T39" fmla="*/ 1830 h 2264"/>
                  <a:gd name="T40" fmla="*/ 1152 w 2595"/>
                  <a:gd name="T41" fmla="*/ 1899 h 2264"/>
                  <a:gd name="T42" fmla="*/ 1125 w 2595"/>
                  <a:gd name="T43" fmla="*/ 1955 h 2264"/>
                  <a:gd name="T44" fmla="*/ 1055 w 2595"/>
                  <a:gd name="T45" fmla="*/ 1990 h 2264"/>
                  <a:gd name="T46" fmla="*/ 970 w 2595"/>
                  <a:gd name="T47" fmla="*/ 2009 h 2264"/>
                  <a:gd name="T48" fmla="*/ 851 w 2595"/>
                  <a:gd name="T49" fmla="*/ 2036 h 2264"/>
                  <a:gd name="T50" fmla="*/ 813 w 2595"/>
                  <a:gd name="T51" fmla="*/ 2078 h 2264"/>
                  <a:gd name="T52" fmla="*/ 773 w 2595"/>
                  <a:gd name="T53" fmla="*/ 2078 h 2264"/>
                  <a:gd name="T54" fmla="*/ 734 w 2595"/>
                  <a:gd name="T55" fmla="*/ 2075 h 2264"/>
                  <a:gd name="T56" fmla="*/ 697 w 2595"/>
                  <a:gd name="T57" fmla="*/ 2082 h 2264"/>
                  <a:gd name="T58" fmla="*/ 655 w 2595"/>
                  <a:gd name="T59" fmla="*/ 2085 h 2264"/>
                  <a:gd name="T60" fmla="*/ 602 w 2595"/>
                  <a:gd name="T61" fmla="*/ 2085 h 2264"/>
                  <a:gd name="T62" fmla="*/ 577 w 2595"/>
                  <a:gd name="T63" fmla="*/ 2059 h 2264"/>
                  <a:gd name="T64" fmla="*/ 536 w 2595"/>
                  <a:gd name="T65" fmla="*/ 2023 h 2264"/>
                  <a:gd name="T66" fmla="*/ 507 w 2595"/>
                  <a:gd name="T67" fmla="*/ 1993 h 2264"/>
                  <a:gd name="T68" fmla="*/ 317 w 2595"/>
                  <a:gd name="T69" fmla="*/ 2061 h 2264"/>
                  <a:gd name="T70" fmla="*/ 135 w 2595"/>
                  <a:gd name="T71" fmla="*/ 2237 h 2264"/>
                  <a:gd name="T72" fmla="*/ 99 w 2595"/>
                  <a:gd name="T73" fmla="*/ 2246 h 2264"/>
                  <a:gd name="T74" fmla="*/ 27 w 2595"/>
                  <a:gd name="T75" fmla="*/ 2215 h 2264"/>
                  <a:gd name="T76" fmla="*/ 122 w 2595"/>
                  <a:gd name="T77" fmla="*/ 2031 h 2264"/>
                  <a:gd name="T78" fmla="*/ 190 w 2595"/>
                  <a:gd name="T79" fmla="*/ 1871 h 2264"/>
                  <a:gd name="T80" fmla="*/ 335 w 2595"/>
                  <a:gd name="T81" fmla="*/ 1666 h 2264"/>
                  <a:gd name="T82" fmla="*/ 507 w 2595"/>
                  <a:gd name="T83" fmla="*/ 1583 h 2264"/>
                  <a:gd name="T84" fmla="*/ 521 w 2595"/>
                  <a:gd name="T85" fmla="*/ 1427 h 2264"/>
                  <a:gd name="T86" fmla="*/ 577 w 2595"/>
                  <a:gd name="T87" fmla="*/ 1280 h 2264"/>
                  <a:gd name="T88" fmla="*/ 756 w 2595"/>
                  <a:gd name="T89" fmla="*/ 1358 h 2264"/>
                  <a:gd name="T90" fmla="*/ 849 w 2595"/>
                  <a:gd name="T91" fmla="*/ 1307 h 2264"/>
                  <a:gd name="T92" fmla="*/ 892 w 2595"/>
                  <a:gd name="T93" fmla="*/ 1194 h 2264"/>
                  <a:gd name="T94" fmla="*/ 838 w 2595"/>
                  <a:gd name="T95" fmla="*/ 1077 h 2264"/>
                  <a:gd name="T96" fmla="*/ 824 w 2595"/>
                  <a:gd name="T97" fmla="*/ 915 h 2264"/>
                  <a:gd name="T98" fmla="*/ 929 w 2595"/>
                  <a:gd name="T99" fmla="*/ 717 h 2264"/>
                  <a:gd name="T100" fmla="*/ 1041 w 2595"/>
                  <a:gd name="T101" fmla="*/ 860 h 2264"/>
                  <a:gd name="T102" fmla="*/ 1114 w 2595"/>
                  <a:gd name="T103" fmla="*/ 752 h 2264"/>
                  <a:gd name="T104" fmla="*/ 1090 w 2595"/>
                  <a:gd name="T105" fmla="*/ 648 h 2264"/>
                  <a:gd name="T106" fmla="*/ 1032 w 2595"/>
                  <a:gd name="T107" fmla="*/ 567 h 2264"/>
                  <a:gd name="T108" fmla="*/ 994 w 2595"/>
                  <a:gd name="T109" fmla="*/ 473 h 2264"/>
                  <a:gd name="T110" fmla="*/ 952 w 2595"/>
                  <a:gd name="T111" fmla="*/ 396 h 2264"/>
                  <a:gd name="T112" fmla="*/ 792 w 2595"/>
                  <a:gd name="T113" fmla="*/ 418 h 2264"/>
                  <a:gd name="T114" fmla="*/ 715 w 2595"/>
                  <a:gd name="T115" fmla="*/ 459 h 2264"/>
                  <a:gd name="T116" fmla="*/ 624 w 2595"/>
                  <a:gd name="T117" fmla="*/ 461 h 2264"/>
                  <a:gd name="T118" fmla="*/ 536 w 2595"/>
                  <a:gd name="T119" fmla="*/ 511 h 2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95" h="2264">
                    <a:moveTo>
                      <a:pt x="1039" y="0"/>
                    </a:moveTo>
                    <a:lnTo>
                      <a:pt x="1041" y="0"/>
                    </a:lnTo>
                    <a:lnTo>
                      <a:pt x="1043" y="1"/>
                    </a:lnTo>
                    <a:lnTo>
                      <a:pt x="1044" y="1"/>
                    </a:lnTo>
                    <a:lnTo>
                      <a:pt x="1046" y="3"/>
                    </a:lnTo>
                    <a:lnTo>
                      <a:pt x="1047" y="3"/>
                    </a:lnTo>
                    <a:lnTo>
                      <a:pt x="1047" y="4"/>
                    </a:lnTo>
                    <a:lnTo>
                      <a:pt x="1049" y="6"/>
                    </a:lnTo>
                    <a:lnTo>
                      <a:pt x="1051" y="6"/>
                    </a:lnTo>
                    <a:lnTo>
                      <a:pt x="1052" y="6"/>
                    </a:lnTo>
                    <a:lnTo>
                      <a:pt x="1052" y="4"/>
                    </a:lnTo>
                    <a:lnTo>
                      <a:pt x="1054" y="4"/>
                    </a:lnTo>
                    <a:lnTo>
                      <a:pt x="1055" y="4"/>
                    </a:lnTo>
                    <a:lnTo>
                      <a:pt x="1057" y="4"/>
                    </a:lnTo>
                    <a:lnTo>
                      <a:pt x="1058" y="3"/>
                    </a:lnTo>
                    <a:lnTo>
                      <a:pt x="1060" y="3"/>
                    </a:lnTo>
                    <a:lnTo>
                      <a:pt x="1062" y="3"/>
                    </a:lnTo>
                    <a:lnTo>
                      <a:pt x="1063" y="3"/>
                    </a:lnTo>
                    <a:lnTo>
                      <a:pt x="1065" y="3"/>
                    </a:lnTo>
                    <a:lnTo>
                      <a:pt x="1065" y="1"/>
                    </a:lnTo>
                    <a:lnTo>
                      <a:pt x="1065" y="0"/>
                    </a:lnTo>
                    <a:lnTo>
                      <a:pt x="1066" y="0"/>
                    </a:lnTo>
                    <a:lnTo>
                      <a:pt x="1068" y="0"/>
                    </a:lnTo>
                    <a:lnTo>
                      <a:pt x="1070" y="0"/>
                    </a:lnTo>
                    <a:lnTo>
                      <a:pt x="1070" y="1"/>
                    </a:lnTo>
                    <a:lnTo>
                      <a:pt x="1070" y="3"/>
                    </a:lnTo>
                    <a:lnTo>
                      <a:pt x="1070" y="4"/>
                    </a:lnTo>
                    <a:lnTo>
                      <a:pt x="1071" y="4"/>
                    </a:lnTo>
                    <a:lnTo>
                      <a:pt x="1071" y="6"/>
                    </a:lnTo>
                    <a:lnTo>
                      <a:pt x="1073" y="6"/>
                    </a:lnTo>
                    <a:lnTo>
                      <a:pt x="1073" y="8"/>
                    </a:lnTo>
                    <a:lnTo>
                      <a:pt x="1074" y="9"/>
                    </a:lnTo>
                    <a:lnTo>
                      <a:pt x="1076" y="12"/>
                    </a:lnTo>
                    <a:lnTo>
                      <a:pt x="1076" y="14"/>
                    </a:lnTo>
                    <a:lnTo>
                      <a:pt x="1076" y="15"/>
                    </a:lnTo>
                    <a:lnTo>
                      <a:pt x="1077" y="15"/>
                    </a:lnTo>
                    <a:lnTo>
                      <a:pt x="1077" y="17"/>
                    </a:lnTo>
                    <a:lnTo>
                      <a:pt x="1077" y="19"/>
                    </a:lnTo>
                    <a:lnTo>
                      <a:pt x="1076" y="19"/>
                    </a:lnTo>
                    <a:lnTo>
                      <a:pt x="1076" y="20"/>
                    </a:lnTo>
                    <a:lnTo>
                      <a:pt x="1077" y="22"/>
                    </a:lnTo>
                    <a:lnTo>
                      <a:pt x="1077" y="23"/>
                    </a:lnTo>
                    <a:lnTo>
                      <a:pt x="1079" y="27"/>
                    </a:lnTo>
                    <a:lnTo>
                      <a:pt x="1081" y="27"/>
                    </a:lnTo>
                    <a:lnTo>
                      <a:pt x="1082" y="27"/>
                    </a:lnTo>
                    <a:lnTo>
                      <a:pt x="1089" y="27"/>
                    </a:lnTo>
                    <a:lnTo>
                      <a:pt x="1090" y="27"/>
                    </a:lnTo>
                    <a:lnTo>
                      <a:pt x="1092" y="27"/>
                    </a:lnTo>
                    <a:lnTo>
                      <a:pt x="1092" y="28"/>
                    </a:lnTo>
                    <a:lnTo>
                      <a:pt x="1095" y="28"/>
                    </a:lnTo>
                    <a:lnTo>
                      <a:pt x="1096" y="28"/>
                    </a:lnTo>
                    <a:lnTo>
                      <a:pt x="1098" y="28"/>
                    </a:lnTo>
                    <a:lnTo>
                      <a:pt x="1100" y="30"/>
                    </a:lnTo>
                    <a:lnTo>
                      <a:pt x="1100" y="31"/>
                    </a:lnTo>
                    <a:lnTo>
                      <a:pt x="1101" y="31"/>
                    </a:lnTo>
                    <a:lnTo>
                      <a:pt x="1103" y="31"/>
                    </a:lnTo>
                    <a:lnTo>
                      <a:pt x="1104" y="30"/>
                    </a:lnTo>
                    <a:lnTo>
                      <a:pt x="1106" y="31"/>
                    </a:lnTo>
                    <a:lnTo>
                      <a:pt x="1108" y="31"/>
                    </a:lnTo>
                    <a:lnTo>
                      <a:pt x="1109" y="31"/>
                    </a:lnTo>
                    <a:lnTo>
                      <a:pt x="1111" y="31"/>
                    </a:lnTo>
                    <a:lnTo>
                      <a:pt x="1111" y="30"/>
                    </a:lnTo>
                    <a:lnTo>
                      <a:pt x="1112" y="30"/>
                    </a:lnTo>
                    <a:lnTo>
                      <a:pt x="1114" y="30"/>
                    </a:lnTo>
                    <a:lnTo>
                      <a:pt x="1115" y="30"/>
                    </a:lnTo>
                    <a:lnTo>
                      <a:pt x="1115" y="28"/>
                    </a:lnTo>
                    <a:lnTo>
                      <a:pt x="1123" y="27"/>
                    </a:lnTo>
                    <a:lnTo>
                      <a:pt x="1125" y="27"/>
                    </a:lnTo>
                    <a:lnTo>
                      <a:pt x="1128" y="27"/>
                    </a:lnTo>
                    <a:lnTo>
                      <a:pt x="1120" y="38"/>
                    </a:lnTo>
                    <a:lnTo>
                      <a:pt x="1117" y="42"/>
                    </a:lnTo>
                    <a:lnTo>
                      <a:pt x="1114" y="47"/>
                    </a:lnTo>
                    <a:lnTo>
                      <a:pt x="1106" y="57"/>
                    </a:lnTo>
                    <a:lnTo>
                      <a:pt x="1103" y="60"/>
                    </a:lnTo>
                    <a:lnTo>
                      <a:pt x="1101" y="63"/>
                    </a:lnTo>
                    <a:lnTo>
                      <a:pt x="1100" y="65"/>
                    </a:lnTo>
                    <a:lnTo>
                      <a:pt x="1098" y="69"/>
                    </a:lnTo>
                    <a:lnTo>
                      <a:pt x="1093" y="74"/>
                    </a:lnTo>
                    <a:lnTo>
                      <a:pt x="1084" y="87"/>
                    </a:lnTo>
                    <a:lnTo>
                      <a:pt x="1081" y="92"/>
                    </a:lnTo>
                    <a:lnTo>
                      <a:pt x="1077" y="95"/>
                    </a:lnTo>
                    <a:lnTo>
                      <a:pt x="1071" y="104"/>
                    </a:lnTo>
                    <a:lnTo>
                      <a:pt x="1063" y="117"/>
                    </a:lnTo>
                    <a:lnTo>
                      <a:pt x="1058" y="125"/>
                    </a:lnTo>
                    <a:lnTo>
                      <a:pt x="1057" y="125"/>
                    </a:lnTo>
                    <a:lnTo>
                      <a:pt x="1054" y="128"/>
                    </a:lnTo>
                    <a:lnTo>
                      <a:pt x="1051" y="131"/>
                    </a:lnTo>
                    <a:lnTo>
                      <a:pt x="1047" y="136"/>
                    </a:lnTo>
                    <a:lnTo>
                      <a:pt x="1047" y="137"/>
                    </a:lnTo>
                    <a:lnTo>
                      <a:pt x="1047" y="141"/>
                    </a:lnTo>
                    <a:lnTo>
                      <a:pt x="1049" y="147"/>
                    </a:lnTo>
                    <a:lnTo>
                      <a:pt x="1051" y="152"/>
                    </a:lnTo>
                    <a:lnTo>
                      <a:pt x="1052" y="155"/>
                    </a:lnTo>
                    <a:lnTo>
                      <a:pt x="1054" y="156"/>
                    </a:lnTo>
                    <a:lnTo>
                      <a:pt x="1057" y="160"/>
                    </a:lnTo>
                    <a:lnTo>
                      <a:pt x="1058" y="160"/>
                    </a:lnTo>
                    <a:lnTo>
                      <a:pt x="1062" y="161"/>
                    </a:lnTo>
                    <a:lnTo>
                      <a:pt x="1063" y="163"/>
                    </a:lnTo>
                    <a:lnTo>
                      <a:pt x="1066" y="164"/>
                    </a:lnTo>
                    <a:lnTo>
                      <a:pt x="1068" y="175"/>
                    </a:lnTo>
                    <a:lnTo>
                      <a:pt x="1068" y="177"/>
                    </a:lnTo>
                    <a:lnTo>
                      <a:pt x="1071" y="180"/>
                    </a:lnTo>
                    <a:lnTo>
                      <a:pt x="1079" y="196"/>
                    </a:lnTo>
                    <a:lnTo>
                      <a:pt x="1082" y="210"/>
                    </a:lnTo>
                    <a:lnTo>
                      <a:pt x="1082" y="212"/>
                    </a:lnTo>
                    <a:lnTo>
                      <a:pt x="1084" y="215"/>
                    </a:lnTo>
                    <a:lnTo>
                      <a:pt x="1085" y="220"/>
                    </a:lnTo>
                    <a:lnTo>
                      <a:pt x="1090" y="233"/>
                    </a:lnTo>
                    <a:lnTo>
                      <a:pt x="1093" y="237"/>
                    </a:lnTo>
                    <a:lnTo>
                      <a:pt x="1096" y="242"/>
                    </a:lnTo>
                    <a:lnTo>
                      <a:pt x="1096" y="244"/>
                    </a:lnTo>
                    <a:lnTo>
                      <a:pt x="1098" y="245"/>
                    </a:lnTo>
                    <a:lnTo>
                      <a:pt x="1100" y="248"/>
                    </a:lnTo>
                    <a:lnTo>
                      <a:pt x="1104" y="253"/>
                    </a:lnTo>
                    <a:lnTo>
                      <a:pt x="1109" y="258"/>
                    </a:lnTo>
                    <a:lnTo>
                      <a:pt x="1123" y="271"/>
                    </a:lnTo>
                    <a:lnTo>
                      <a:pt x="1133" y="280"/>
                    </a:lnTo>
                    <a:lnTo>
                      <a:pt x="1138" y="283"/>
                    </a:lnTo>
                    <a:lnTo>
                      <a:pt x="1139" y="285"/>
                    </a:lnTo>
                    <a:lnTo>
                      <a:pt x="1142" y="288"/>
                    </a:lnTo>
                    <a:lnTo>
                      <a:pt x="1144" y="291"/>
                    </a:lnTo>
                    <a:lnTo>
                      <a:pt x="1149" y="299"/>
                    </a:lnTo>
                    <a:lnTo>
                      <a:pt x="1150" y="305"/>
                    </a:lnTo>
                    <a:lnTo>
                      <a:pt x="1153" y="315"/>
                    </a:lnTo>
                    <a:lnTo>
                      <a:pt x="1158" y="324"/>
                    </a:lnTo>
                    <a:lnTo>
                      <a:pt x="1158" y="326"/>
                    </a:lnTo>
                    <a:lnTo>
                      <a:pt x="1161" y="334"/>
                    </a:lnTo>
                    <a:lnTo>
                      <a:pt x="1165" y="339"/>
                    </a:lnTo>
                    <a:lnTo>
                      <a:pt x="1165" y="340"/>
                    </a:lnTo>
                    <a:lnTo>
                      <a:pt x="1166" y="342"/>
                    </a:lnTo>
                    <a:lnTo>
                      <a:pt x="1169" y="345"/>
                    </a:lnTo>
                    <a:lnTo>
                      <a:pt x="1173" y="347"/>
                    </a:lnTo>
                    <a:lnTo>
                      <a:pt x="1177" y="348"/>
                    </a:lnTo>
                    <a:lnTo>
                      <a:pt x="1180" y="348"/>
                    </a:lnTo>
                    <a:lnTo>
                      <a:pt x="1182" y="345"/>
                    </a:lnTo>
                    <a:lnTo>
                      <a:pt x="1182" y="343"/>
                    </a:lnTo>
                    <a:lnTo>
                      <a:pt x="1184" y="343"/>
                    </a:lnTo>
                    <a:lnTo>
                      <a:pt x="1187" y="347"/>
                    </a:lnTo>
                    <a:lnTo>
                      <a:pt x="1188" y="347"/>
                    </a:lnTo>
                    <a:lnTo>
                      <a:pt x="1193" y="348"/>
                    </a:lnTo>
                    <a:lnTo>
                      <a:pt x="1206" y="356"/>
                    </a:lnTo>
                    <a:lnTo>
                      <a:pt x="1215" y="361"/>
                    </a:lnTo>
                    <a:lnTo>
                      <a:pt x="1217" y="369"/>
                    </a:lnTo>
                    <a:lnTo>
                      <a:pt x="1218" y="377"/>
                    </a:lnTo>
                    <a:lnTo>
                      <a:pt x="1218" y="381"/>
                    </a:lnTo>
                    <a:lnTo>
                      <a:pt x="1220" y="388"/>
                    </a:lnTo>
                    <a:lnTo>
                      <a:pt x="1220" y="393"/>
                    </a:lnTo>
                    <a:lnTo>
                      <a:pt x="1222" y="402"/>
                    </a:lnTo>
                    <a:lnTo>
                      <a:pt x="1223" y="405"/>
                    </a:lnTo>
                    <a:lnTo>
                      <a:pt x="1225" y="415"/>
                    </a:lnTo>
                    <a:lnTo>
                      <a:pt x="1225" y="418"/>
                    </a:lnTo>
                    <a:lnTo>
                      <a:pt x="1226" y="427"/>
                    </a:lnTo>
                    <a:lnTo>
                      <a:pt x="1230" y="429"/>
                    </a:lnTo>
                    <a:lnTo>
                      <a:pt x="1234" y="429"/>
                    </a:lnTo>
                    <a:lnTo>
                      <a:pt x="1239" y="431"/>
                    </a:lnTo>
                    <a:lnTo>
                      <a:pt x="1239" y="432"/>
                    </a:lnTo>
                    <a:lnTo>
                      <a:pt x="1242" y="434"/>
                    </a:lnTo>
                    <a:lnTo>
                      <a:pt x="1245" y="435"/>
                    </a:lnTo>
                    <a:lnTo>
                      <a:pt x="1249" y="439"/>
                    </a:lnTo>
                    <a:lnTo>
                      <a:pt x="1249" y="440"/>
                    </a:lnTo>
                    <a:lnTo>
                      <a:pt x="1256" y="445"/>
                    </a:lnTo>
                    <a:lnTo>
                      <a:pt x="1258" y="446"/>
                    </a:lnTo>
                    <a:lnTo>
                      <a:pt x="1260" y="451"/>
                    </a:lnTo>
                    <a:lnTo>
                      <a:pt x="1260" y="456"/>
                    </a:lnTo>
                    <a:lnTo>
                      <a:pt x="1261" y="459"/>
                    </a:lnTo>
                    <a:lnTo>
                      <a:pt x="1266" y="469"/>
                    </a:lnTo>
                    <a:lnTo>
                      <a:pt x="1269" y="477"/>
                    </a:lnTo>
                    <a:lnTo>
                      <a:pt x="1271" y="477"/>
                    </a:lnTo>
                    <a:lnTo>
                      <a:pt x="1277" y="484"/>
                    </a:lnTo>
                    <a:lnTo>
                      <a:pt x="1282" y="489"/>
                    </a:lnTo>
                    <a:lnTo>
                      <a:pt x="1283" y="489"/>
                    </a:lnTo>
                    <a:lnTo>
                      <a:pt x="1285" y="489"/>
                    </a:lnTo>
                    <a:lnTo>
                      <a:pt x="1291" y="494"/>
                    </a:lnTo>
                    <a:lnTo>
                      <a:pt x="1296" y="496"/>
                    </a:lnTo>
                    <a:lnTo>
                      <a:pt x="1304" y="497"/>
                    </a:lnTo>
                    <a:lnTo>
                      <a:pt x="1307" y="499"/>
                    </a:lnTo>
                    <a:lnTo>
                      <a:pt x="1313" y="500"/>
                    </a:lnTo>
                    <a:lnTo>
                      <a:pt x="1315" y="502"/>
                    </a:lnTo>
                    <a:lnTo>
                      <a:pt x="1317" y="502"/>
                    </a:lnTo>
                    <a:lnTo>
                      <a:pt x="1328" y="502"/>
                    </a:lnTo>
                    <a:lnTo>
                      <a:pt x="1331" y="503"/>
                    </a:lnTo>
                    <a:lnTo>
                      <a:pt x="1332" y="507"/>
                    </a:lnTo>
                    <a:lnTo>
                      <a:pt x="1334" y="507"/>
                    </a:lnTo>
                    <a:lnTo>
                      <a:pt x="1334" y="508"/>
                    </a:lnTo>
                    <a:lnTo>
                      <a:pt x="1342" y="515"/>
                    </a:lnTo>
                    <a:lnTo>
                      <a:pt x="1347" y="519"/>
                    </a:lnTo>
                    <a:lnTo>
                      <a:pt x="1363" y="537"/>
                    </a:lnTo>
                    <a:lnTo>
                      <a:pt x="1364" y="538"/>
                    </a:lnTo>
                    <a:lnTo>
                      <a:pt x="1372" y="546"/>
                    </a:lnTo>
                    <a:lnTo>
                      <a:pt x="1374" y="546"/>
                    </a:lnTo>
                    <a:lnTo>
                      <a:pt x="1375" y="549"/>
                    </a:lnTo>
                    <a:lnTo>
                      <a:pt x="1394" y="568"/>
                    </a:lnTo>
                    <a:lnTo>
                      <a:pt x="1397" y="573"/>
                    </a:lnTo>
                    <a:lnTo>
                      <a:pt x="1402" y="576"/>
                    </a:lnTo>
                    <a:lnTo>
                      <a:pt x="1423" y="599"/>
                    </a:lnTo>
                    <a:lnTo>
                      <a:pt x="1424" y="600"/>
                    </a:lnTo>
                    <a:lnTo>
                      <a:pt x="1426" y="602"/>
                    </a:lnTo>
                    <a:lnTo>
                      <a:pt x="1428" y="602"/>
                    </a:lnTo>
                    <a:lnTo>
                      <a:pt x="1428" y="603"/>
                    </a:lnTo>
                    <a:lnTo>
                      <a:pt x="1434" y="606"/>
                    </a:lnTo>
                    <a:lnTo>
                      <a:pt x="1442" y="610"/>
                    </a:lnTo>
                    <a:lnTo>
                      <a:pt x="1443" y="610"/>
                    </a:lnTo>
                    <a:lnTo>
                      <a:pt x="1462" y="618"/>
                    </a:lnTo>
                    <a:lnTo>
                      <a:pt x="1473" y="621"/>
                    </a:lnTo>
                    <a:lnTo>
                      <a:pt x="1485" y="624"/>
                    </a:lnTo>
                    <a:lnTo>
                      <a:pt x="1497" y="629"/>
                    </a:lnTo>
                    <a:lnTo>
                      <a:pt x="1500" y="629"/>
                    </a:lnTo>
                    <a:lnTo>
                      <a:pt x="1505" y="630"/>
                    </a:lnTo>
                    <a:lnTo>
                      <a:pt x="1510" y="632"/>
                    </a:lnTo>
                    <a:lnTo>
                      <a:pt x="1526" y="637"/>
                    </a:lnTo>
                    <a:lnTo>
                      <a:pt x="1532" y="640"/>
                    </a:lnTo>
                    <a:lnTo>
                      <a:pt x="1542" y="643"/>
                    </a:lnTo>
                    <a:lnTo>
                      <a:pt x="1561" y="649"/>
                    </a:lnTo>
                    <a:lnTo>
                      <a:pt x="1567" y="651"/>
                    </a:lnTo>
                    <a:lnTo>
                      <a:pt x="1578" y="654"/>
                    </a:lnTo>
                    <a:lnTo>
                      <a:pt x="1583" y="656"/>
                    </a:lnTo>
                    <a:lnTo>
                      <a:pt x="1584" y="657"/>
                    </a:lnTo>
                    <a:lnTo>
                      <a:pt x="1594" y="660"/>
                    </a:lnTo>
                    <a:lnTo>
                      <a:pt x="1603" y="664"/>
                    </a:lnTo>
                    <a:lnTo>
                      <a:pt x="1633" y="673"/>
                    </a:lnTo>
                    <a:lnTo>
                      <a:pt x="1638" y="675"/>
                    </a:lnTo>
                    <a:lnTo>
                      <a:pt x="1659" y="683"/>
                    </a:lnTo>
                    <a:lnTo>
                      <a:pt x="1664" y="684"/>
                    </a:lnTo>
                    <a:lnTo>
                      <a:pt x="1667" y="684"/>
                    </a:lnTo>
                    <a:lnTo>
                      <a:pt x="1675" y="687"/>
                    </a:lnTo>
                    <a:lnTo>
                      <a:pt x="1684" y="690"/>
                    </a:lnTo>
                    <a:lnTo>
                      <a:pt x="1708" y="698"/>
                    </a:lnTo>
                    <a:lnTo>
                      <a:pt x="1721" y="703"/>
                    </a:lnTo>
                    <a:lnTo>
                      <a:pt x="1724" y="703"/>
                    </a:lnTo>
                    <a:lnTo>
                      <a:pt x="1724" y="705"/>
                    </a:lnTo>
                    <a:lnTo>
                      <a:pt x="1743" y="709"/>
                    </a:lnTo>
                    <a:lnTo>
                      <a:pt x="1752" y="713"/>
                    </a:lnTo>
                    <a:lnTo>
                      <a:pt x="1759" y="716"/>
                    </a:lnTo>
                    <a:lnTo>
                      <a:pt x="1778" y="722"/>
                    </a:lnTo>
                    <a:lnTo>
                      <a:pt x="1793" y="727"/>
                    </a:lnTo>
                    <a:lnTo>
                      <a:pt x="1798" y="728"/>
                    </a:lnTo>
                    <a:lnTo>
                      <a:pt x="1801" y="730"/>
                    </a:lnTo>
                    <a:lnTo>
                      <a:pt x="1814" y="733"/>
                    </a:lnTo>
                    <a:lnTo>
                      <a:pt x="1849" y="744"/>
                    </a:lnTo>
                    <a:lnTo>
                      <a:pt x="1863" y="749"/>
                    </a:lnTo>
                    <a:lnTo>
                      <a:pt x="1868" y="751"/>
                    </a:lnTo>
                    <a:lnTo>
                      <a:pt x="1873" y="752"/>
                    </a:lnTo>
                    <a:lnTo>
                      <a:pt x="1877" y="754"/>
                    </a:lnTo>
                    <a:lnTo>
                      <a:pt x="1884" y="755"/>
                    </a:lnTo>
                    <a:lnTo>
                      <a:pt x="1901" y="762"/>
                    </a:lnTo>
                    <a:lnTo>
                      <a:pt x="1906" y="763"/>
                    </a:lnTo>
                    <a:lnTo>
                      <a:pt x="1915" y="767"/>
                    </a:lnTo>
                    <a:lnTo>
                      <a:pt x="1917" y="767"/>
                    </a:lnTo>
                    <a:lnTo>
                      <a:pt x="1919" y="768"/>
                    </a:lnTo>
                    <a:lnTo>
                      <a:pt x="1947" y="778"/>
                    </a:lnTo>
                    <a:lnTo>
                      <a:pt x="1953" y="779"/>
                    </a:lnTo>
                    <a:lnTo>
                      <a:pt x="1965" y="782"/>
                    </a:lnTo>
                    <a:lnTo>
                      <a:pt x="1985" y="790"/>
                    </a:lnTo>
                    <a:lnTo>
                      <a:pt x="1988" y="790"/>
                    </a:lnTo>
                    <a:lnTo>
                      <a:pt x="1990" y="792"/>
                    </a:lnTo>
                    <a:lnTo>
                      <a:pt x="1993" y="793"/>
                    </a:lnTo>
                    <a:lnTo>
                      <a:pt x="2025" y="803"/>
                    </a:lnTo>
                    <a:lnTo>
                      <a:pt x="2029" y="805"/>
                    </a:lnTo>
                    <a:lnTo>
                      <a:pt x="2033" y="805"/>
                    </a:lnTo>
                    <a:lnTo>
                      <a:pt x="2036" y="806"/>
                    </a:lnTo>
                    <a:lnTo>
                      <a:pt x="2041" y="808"/>
                    </a:lnTo>
                    <a:lnTo>
                      <a:pt x="2044" y="808"/>
                    </a:lnTo>
                    <a:lnTo>
                      <a:pt x="2048" y="811"/>
                    </a:lnTo>
                    <a:lnTo>
                      <a:pt x="2060" y="814"/>
                    </a:lnTo>
                    <a:lnTo>
                      <a:pt x="2071" y="817"/>
                    </a:lnTo>
                    <a:lnTo>
                      <a:pt x="2072" y="819"/>
                    </a:lnTo>
                    <a:lnTo>
                      <a:pt x="2077" y="820"/>
                    </a:lnTo>
                    <a:lnTo>
                      <a:pt x="2082" y="822"/>
                    </a:lnTo>
                    <a:lnTo>
                      <a:pt x="2085" y="822"/>
                    </a:lnTo>
                    <a:lnTo>
                      <a:pt x="2094" y="825"/>
                    </a:lnTo>
                    <a:lnTo>
                      <a:pt x="2101" y="828"/>
                    </a:lnTo>
                    <a:lnTo>
                      <a:pt x="2112" y="831"/>
                    </a:lnTo>
                    <a:lnTo>
                      <a:pt x="2117" y="833"/>
                    </a:lnTo>
                    <a:lnTo>
                      <a:pt x="2129" y="838"/>
                    </a:lnTo>
                    <a:lnTo>
                      <a:pt x="2147" y="843"/>
                    </a:lnTo>
                    <a:lnTo>
                      <a:pt x="2148" y="844"/>
                    </a:lnTo>
                    <a:lnTo>
                      <a:pt x="2155" y="846"/>
                    </a:lnTo>
                    <a:lnTo>
                      <a:pt x="2156" y="847"/>
                    </a:lnTo>
                    <a:lnTo>
                      <a:pt x="2164" y="849"/>
                    </a:lnTo>
                    <a:lnTo>
                      <a:pt x="2167" y="850"/>
                    </a:lnTo>
                    <a:lnTo>
                      <a:pt x="2185" y="855"/>
                    </a:lnTo>
                    <a:lnTo>
                      <a:pt x="2186" y="857"/>
                    </a:lnTo>
                    <a:lnTo>
                      <a:pt x="2194" y="860"/>
                    </a:lnTo>
                    <a:lnTo>
                      <a:pt x="2199" y="862"/>
                    </a:lnTo>
                    <a:lnTo>
                      <a:pt x="2212" y="865"/>
                    </a:lnTo>
                    <a:lnTo>
                      <a:pt x="2232" y="873"/>
                    </a:lnTo>
                    <a:lnTo>
                      <a:pt x="2234" y="873"/>
                    </a:lnTo>
                    <a:lnTo>
                      <a:pt x="2239" y="874"/>
                    </a:lnTo>
                    <a:lnTo>
                      <a:pt x="2269" y="885"/>
                    </a:lnTo>
                    <a:lnTo>
                      <a:pt x="2275" y="887"/>
                    </a:lnTo>
                    <a:lnTo>
                      <a:pt x="2283" y="890"/>
                    </a:lnTo>
                    <a:lnTo>
                      <a:pt x="2304" y="896"/>
                    </a:lnTo>
                    <a:lnTo>
                      <a:pt x="2304" y="898"/>
                    </a:lnTo>
                    <a:lnTo>
                      <a:pt x="2307" y="898"/>
                    </a:lnTo>
                    <a:lnTo>
                      <a:pt x="2310" y="898"/>
                    </a:lnTo>
                    <a:lnTo>
                      <a:pt x="2337" y="898"/>
                    </a:lnTo>
                    <a:lnTo>
                      <a:pt x="2365" y="898"/>
                    </a:lnTo>
                    <a:lnTo>
                      <a:pt x="2394" y="898"/>
                    </a:lnTo>
                    <a:lnTo>
                      <a:pt x="2424" y="898"/>
                    </a:lnTo>
                    <a:lnTo>
                      <a:pt x="2435" y="898"/>
                    </a:lnTo>
                    <a:lnTo>
                      <a:pt x="2452" y="898"/>
                    </a:lnTo>
                    <a:lnTo>
                      <a:pt x="2482" y="898"/>
                    </a:lnTo>
                    <a:lnTo>
                      <a:pt x="2511" y="898"/>
                    </a:lnTo>
                    <a:lnTo>
                      <a:pt x="2541" y="898"/>
                    </a:lnTo>
                    <a:lnTo>
                      <a:pt x="2570" y="898"/>
                    </a:lnTo>
                    <a:lnTo>
                      <a:pt x="2576" y="898"/>
                    </a:lnTo>
                    <a:lnTo>
                      <a:pt x="2582" y="898"/>
                    </a:lnTo>
                    <a:lnTo>
                      <a:pt x="2595" y="898"/>
                    </a:lnTo>
                    <a:lnTo>
                      <a:pt x="2470" y="1026"/>
                    </a:lnTo>
                    <a:lnTo>
                      <a:pt x="2406" y="1093"/>
                    </a:lnTo>
                    <a:lnTo>
                      <a:pt x="2272" y="1231"/>
                    </a:lnTo>
                    <a:lnTo>
                      <a:pt x="2253" y="1250"/>
                    </a:lnTo>
                    <a:lnTo>
                      <a:pt x="2248" y="1255"/>
                    </a:lnTo>
                    <a:lnTo>
                      <a:pt x="2172" y="1331"/>
                    </a:lnTo>
                    <a:lnTo>
                      <a:pt x="2158" y="1346"/>
                    </a:lnTo>
                    <a:lnTo>
                      <a:pt x="2151" y="1353"/>
                    </a:lnTo>
                    <a:lnTo>
                      <a:pt x="2069" y="1438"/>
                    </a:lnTo>
                    <a:lnTo>
                      <a:pt x="2001" y="1508"/>
                    </a:lnTo>
                    <a:lnTo>
                      <a:pt x="1988" y="1519"/>
                    </a:lnTo>
                    <a:lnTo>
                      <a:pt x="1946" y="1565"/>
                    </a:lnTo>
                    <a:lnTo>
                      <a:pt x="1904" y="1606"/>
                    </a:lnTo>
                    <a:lnTo>
                      <a:pt x="1879" y="1633"/>
                    </a:lnTo>
                    <a:lnTo>
                      <a:pt x="1748" y="1768"/>
                    </a:lnTo>
                    <a:lnTo>
                      <a:pt x="1746" y="1769"/>
                    </a:lnTo>
                    <a:lnTo>
                      <a:pt x="1741" y="1774"/>
                    </a:lnTo>
                    <a:lnTo>
                      <a:pt x="1728" y="1789"/>
                    </a:lnTo>
                    <a:lnTo>
                      <a:pt x="1724" y="1792"/>
                    </a:lnTo>
                    <a:lnTo>
                      <a:pt x="1724" y="1793"/>
                    </a:lnTo>
                    <a:lnTo>
                      <a:pt x="1722" y="1795"/>
                    </a:lnTo>
                    <a:lnTo>
                      <a:pt x="1717" y="1798"/>
                    </a:lnTo>
                    <a:lnTo>
                      <a:pt x="1706" y="1798"/>
                    </a:lnTo>
                    <a:lnTo>
                      <a:pt x="1603" y="1793"/>
                    </a:lnTo>
                    <a:lnTo>
                      <a:pt x="1502" y="1789"/>
                    </a:lnTo>
                    <a:lnTo>
                      <a:pt x="1440" y="1785"/>
                    </a:lnTo>
                    <a:lnTo>
                      <a:pt x="1435" y="1785"/>
                    </a:lnTo>
                    <a:lnTo>
                      <a:pt x="1434" y="1785"/>
                    </a:lnTo>
                    <a:lnTo>
                      <a:pt x="1377" y="1800"/>
                    </a:lnTo>
                    <a:lnTo>
                      <a:pt x="1332" y="1812"/>
                    </a:lnTo>
                    <a:lnTo>
                      <a:pt x="1298" y="1823"/>
                    </a:lnTo>
                    <a:lnTo>
                      <a:pt x="1277" y="1830"/>
                    </a:lnTo>
                    <a:lnTo>
                      <a:pt x="1274" y="1831"/>
                    </a:lnTo>
                    <a:lnTo>
                      <a:pt x="1271" y="1833"/>
                    </a:lnTo>
                    <a:lnTo>
                      <a:pt x="1266" y="1834"/>
                    </a:lnTo>
                    <a:lnTo>
                      <a:pt x="1264" y="1834"/>
                    </a:lnTo>
                    <a:lnTo>
                      <a:pt x="1263" y="1836"/>
                    </a:lnTo>
                    <a:lnTo>
                      <a:pt x="1239" y="1847"/>
                    </a:lnTo>
                    <a:lnTo>
                      <a:pt x="1234" y="1849"/>
                    </a:lnTo>
                    <a:lnTo>
                      <a:pt x="1234" y="1850"/>
                    </a:lnTo>
                    <a:lnTo>
                      <a:pt x="1222" y="1857"/>
                    </a:lnTo>
                    <a:lnTo>
                      <a:pt x="1209" y="1863"/>
                    </a:lnTo>
                    <a:lnTo>
                      <a:pt x="1193" y="1871"/>
                    </a:lnTo>
                    <a:lnTo>
                      <a:pt x="1188" y="1872"/>
                    </a:lnTo>
                    <a:lnTo>
                      <a:pt x="1187" y="1876"/>
                    </a:lnTo>
                    <a:lnTo>
                      <a:pt x="1176" y="1882"/>
                    </a:lnTo>
                    <a:lnTo>
                      <a:pt x="1173" y="1884"/>
                    </a:lnTo>
                    <a:lnTo>
                      <a:pt x="1163" y="1890"/>
                    </a:lnTo>
                    <a:lnTo>
                      <a:pt x="1152" y="1899"/>
                    </a:lnTo>
                    <a:lnTo>
                      <a:pt x="1150" y="1901"/>
                    </a:lnTo>
                    <a:lnTo>
                      <a:pt x="1150" y="1903"/>
                    </a:lnTo>
                    <a:lnTo>
                      <a:pt x="1149" y="1906"/>
                    </a:lnTo>
                    <a:lnTo>
                      <a:pt x="1147" y="1907"/>
                    </a:lnTo>
                    <a:lnTo>
                      <a:pt x="1147" y="1909"/>
                    </a:lnTo>
                    <a:lnTo>
                      <a:pt x="1146" y="1911"/>
                    </a:lnTo>
                    <a:lnTo>
                      <a:pt x="1146" y="1912"/>
                    </a:lnTo>
                    <a:lnTo>
                      <a:pt x="1146" y="1914"/>
                    </a:lnTo>
                    <a:lnTo>
                      <a:pt x="1144" y="1925"/>
                    </a:lnTo>
                    <a:lnTo>
                      <a:pt x="1142" y="1928"/>
                    </a:lnTo>
                    <a:lnTo>
                      <a:pt x="1142" y="1930"/>
                    </a:lnTo>
                    <a:lnTo>
                      <a:pt x="1141" y="1931"/>
                    </a:lnTo>
                    <a:lnTo>
                      <a:pt x="1139" y="1934"/>
                    </a:lnTo>
                    <a:lnTo>
                      <a:pt x="1136" y="1937"/>
                    </a:lnTo>
                    <a:lnTo>
                      <a:pt x="1134" y="1942"/>
                    </a:lnTo>
                    <a:lnTo>
                      <a:pt x="1131" y="1949"/>
                    </a:lnTo>
                    <a:lnTo>
                      <a:pt x="1125" y="1955"/>
                    </a:lnTo>
                    <a:lnTo>
                      <a:pt x="1122" y="1960"/>
                    </a:lnTo>
                    <a:lnTo>
                      <a:pt x="1119" y="1964"/>
                    </a:lnTo>
                    <a:lnTo>
                      <a:pt x="1109" y="1972"/>
                    </a:lnTo>
                    <a:lnTo>
                      <a:pt x="1106" y="1977"/>
                    </a:lnTo>
                    <a:lnTo>
                      <a:pt x="1104" y="1977"/>
                    </a:lnTo>
                    <a:lnTo>
                      <a:pt x="1100" y="1982"/>
                    </a:lnTo>
                    <a:lnTo>
                      <a:pt x="1095" y="1983"/>
                    </a:lnTo>
                    <a:lnTo>
                      <a:pt x="1092" y="1987"/>
                    </a:lnTo>
                    <a:lnTo>
                      <a:pt x="1089" y="1988"/>
                    </a:lnTo>
                    <a:lnTo>
                      <a:pt x="1087" y="1988"/>
                    </a:lnTo>
                    <a:lnTo>
                      <a:pt x="1073" y="1988"/>
                    </a:lnTo>
                    <a:lnTo>
                      <a:pt x="1071" y="1988"/>
                    </a:lnTo>
                    <a:lnTo>
                      <a:pt x="1066" y="1988"/>
                    </a:lnTo>
                    <a:lnTo>
                      <a:pt x="1063" y="1988"/>
                    </a:lnTo>
                    <a:lnTo>
                      <a:pt x="1060" y="1988"/>
                    </a:lnTo>
                    <a:lnTo>
                      <a:pt x="1058" y="1990"/>
                    </a:lnTo>
                    <a:lnTo>
                      <a:pt x="1055" y="1990"/>
                    </a:lnTo>
                    <a:lnTo>
                      <a:pt x="1052" y="1990"/>
                    </a:lnTo>
                    <a:lnTo>
                      <a:pt x="1051" y="1990"/>
                    </a:lnTo>
                    <a:lnTo>
                      <a:pt x="1047" y="1991"/>
                    </a:lnTo>
                    <a:lnTo>
                      <a:pt x="1044" y="1993"/>
                    </a:lnTo>
                    <a:lnTo>
                      <a:pt x="1035" y="1998"/>
                    </a:lnTo>
                    <a:lnTo>
                      <a:pt x="1022" y="2001"/>
                    </a:lnTo>
                    <a:lnTo>
                      <a:pt x="1019" y="2002"/>
                    </a:lnTo>
                    <a:lnTo>
                      <a:pt x="1016" y="2004"/>
                    </a:lnTo>
                    <a:lnTo>
                      <a:pt x="1013" y="2004"/>
                    </a:lnTo>
                    <a:lnTo>
                      <a:pt x="1009" y="2006"/>
                    </a:lnTo>
                    <a:lnTo>
                      <a:pt x="1006" y="2006"/>
                    </a:lnTo>
                    <a:lnTo>
                      <a:pt x="1001" y="2007"/>
                    </a:lnTo>
                    <a:lnTo>
                      <a:pt x="994" y="2007"/>
                    </a:lnTo>
                    <a:lnTo>
                      <a:pt x="990" y="2007"/>
                    </a:lnTo>
                    <a:lnTo>
                      <a:pt x="987" y="2007"/>
                    </a:lnTo>
                    <a:lnTo>
                      <a:pt x="978" y="2007"/>
                    </a:lnTo>
                    <a:lnTo>
                      <a:pt x="970" y="2009"/>
                    </a:lnTo>
                    <a:lnTo>
                      <a:pt x="965" y="2009"/>
                    </a:lnTo>
                    <a:lnTo>
                      <a:pt x="955" y="2010"/>
                    </a:lnTo>
                    <a:lnTo>
                      <a:pt x="940" y="2012"/>
                    </a:lnTo>
                    <a:lnTo>
                      <a:pt x="935" y="2012"/>
                    </a:lnTo>
                    <a:lnTo>
                      <a:pt x="922" y="2012"/>
                    </a:lnTo>
                    <a:lnTo>
                      <a:pt x="905" y="2013"/>
                    </a:lnTo>
                    <a:lnTo>
                      <a:pt x="889" y="2013"/>
                    </a:lnTo>
                    <a:lnTo>
                      <a:pt x="876" y="2013"/>
                    </a:lnTo>
                    <a:lnTo>
                      <a:pt x="873" y="2013"/>
                    </a:lnTo>
                    <a:lnTo>
                      <a:pt x="872" y="2015"/>
                    </a:lnTo>
                    <a:lnTo>
                      <a:pt x="868" y="2017"/>
                    </a:lnTo>
                    <a:lnTo>
                      <a:pt x="867" y="2018"/>
                    </a:lnTo>
                    <a:lnTo>
                      <a:pt x="865" y="2018"/>
                    </a:lnTo>
                    <a:lnTo>
                      <a:pt x="862" y="2021"/>
                    </a:lnTo>
                    <a:lnTo>
                      <a:pt x="860" y="2025"/>
                    </a:lnTo>
                    <a:lnTo>
                      <a:pt x="859" y="2028"/>
                    </a:lnTo>
                    <a:lnTo>
                      <a:pt x="851" y="2036"/>
                    </a:lnTo>
                    <a:lnTo>
                      <a:pt x="848" y="2039"/>
                    </a:lnTo>
                    <a:lnTo>
                      <a:pt x="841" y="2037"/>
                    </a:lnTo>
                    <a:lnTo>
                      <a:pt x="840" y="2042"/>
                    </a:lnTo>
                    <a:lnTo>
                      <a:pt x="838" y="2042"/>
                    </a:lnTo>
                    <a:lnTo>
                      <a:pt x="832" y="2050"/>
                    </a:lnTo>
                    <a:lnTo>
                      <a:pt x="832" y="2053"/>
                    </a:lnTo>
                    <a:lnTo>
                      <a:pt x="834" y="2058"/>
                    </a:lnTo>
                    <a:lnTo>
                      <a:pt x="832" y="2058"/>
                    </a:lnTo>
                    <a:lnTo>
                      <a:pt x="832" y="2061"/>
                    </a:lnTo>
                    <a:lnTo>
                      <a:pt x="827" y="2064"/>
                    </a:lnTo>
                    <a:lnTo>
                      <a:pt x="826" y="2066"/>
                    </a:lnTo>
                    <a:lnTo>
                      <a:pt x="826" y="2067"/>
                    </a:lnTo>
                    <a:lnTo>
                      <a:pt x="822" y="2069"/>
                    </a:lnTo>
                    <a:lnTo>
                      <a:pt x="821" y="2072"/>
                    </a:lnTo>
                    <a:lnTo>
                      <a:pt x="818" y="2074"/>
                    </a:lnTo>
                    <a:lnTo>
                      <a:pt x="815" y="2078"/>
                    </a:lnTo>
                    <a:lnTo>
                      <a:pt x="813" y="2078"/>
                    </a:lnTo>
                    <a:lnTo>
                      <a:pt x="810" y="2078"/>
                    </a:lnTo>
                    <a:lnTo>
                      <a:pt x="808" y="2080"/>
                    </a:lnTo>
                    <a:lnTo>
                      <a:pt x="803" y="2083"/>
                    </a:lnTo>
                    <a:lnTo>
                      <a:pt x="802" y="2083"/>
                    </a:lnTo>
                    <a:lnTo>
                      <a:pt x="799" y="2086"/>
                    </a:lnTo>
                    <a:lnTo>
                      <a:pt x="797" y="2086"/>
                    </a:lnTo>
                    <a:lnTo>
                      <a:pt x="792" y="2086"/>
                    </a:lnTo>
                    <a:lnTo>
                      <a:pt x="789" y="2085"/>
                    </a:lnTo>
                    <a:lnTo>
                      <a:pt x="788" y="2085"/>
                    </a:lnTo>
                    <a:lnTo>
                      <a:pt x="784" y="2083"/>
                    </a:lnTo>
                    <a:lnTo>
                      <a:pt x="783" y="2080"/>
                    </a:lnTo>
                    <a:lnTo>
                      <a:pt x="783" y="2078"/>
                    </a:lnTo>
                    <a:lnTo>
                      <a:pt x="781" y="2077"/>
                    </a:lnTo>
                    <a:lnTo>
                      <a:pt x="780" y="2077"/>
                    </a:lnTo>
                    <a:lnTo>
                      <a:pt x="778" y="2077"/>
                    </a:lnTo>
                    <a:lnTo>
                      <a:pt x="775" y="2078"/>
                    </a:lnTo>
                    <a:lnTo>
                      <a:pt x="773" y="2078"/>
                    </a:lnTo>
                    <a:lnTo>
                      <a:pt x="772" y="2078"/>
                    </a:lnTo>
                    <a:lnTo>
                      <a:pt x="770" y="2078"/>
                    </a:lnTo>
                    <a:lnTo>
                      <a:pt x="769" y="2077"/>
                    </a:lnTo>
                    <a:lnTo>
                      <a:pt x="767" y="2075"/>
                    </a:lnTo>
                    <a:lnTo>
                      <a:pt x="761" y="2074"/>
                    </a:lnTo>
                    <a:lnTo>
                      <a:pt x="757" y="2075"/>
                    </a:lnTo>
                    <a:lnTo>
                      <a:pt x="754" y="2077"/>
                    </a:lnTo>
                    <a:lnTo>
                      <a:pt x="753" y="2077"/>
                    </a:lnTo>
                    <a:lnTo>
                      <a:pt x="751" y="2078"/>
                    </a:lnTo>
                    <a:lnTo>
                      <a:pt x="750" y="2080"/>
                    </a:lnTo>
                    <a:lnTo>
                      <a:pt x="748" y="2082"/>
                    </a:lnTo>
                    <a:lnTo>
                      <a:pt x="743" y="2080"/>
                    </a:lnTo>
                    <a:lnTo>
                      <a:pt x="740" y="2080"/>
                    </a:lnTo>
                    <a:lnTo>
                      <a:pt x="738" y="2077"/>
                    </a:lnTo>
                    <a:lnTo>
                      <a:pt x="737" y="2075"/>
                    </a:lnTo>
                    <a:lnTo>
                      <a:pt x="735" y="2075"/>
                    </a:lnTo>
                    <a:lnTo>
                      <a:pt x="734" y="2075"/>
                    </a:lnTo>
                    <a:lnTo>
                      <a:pt x="734" y="2077"/>
                    </a:lnTo>
                    <a:lnTo>
                      <a:pt x="731" y="2078"/>
                    </a:lnTo>
                    <a:lnTo>
                      <a:pt x="726" y="2078"/>
                    </a:lnTo>
                    <a:lnTo>
                      <a:pt x="724" y="2078"/>
                    </a:lnTo>
                    <a:lnTo>
                      <a:pt x="721" y="2078"/>
                    </a:lnTo>
                    <a:lnTo>
                      <a:pt x="719" y="2080"/>
                    </a:lnTo>
                    <a:lnTo>
                      <a:pt x="718" y="2080"/>
                    </a:lnTo>
                    <a:lnTo>
                      <a:pt x="715" y="2077"/>
                    </a:lnTo>
                    <a:lnTo>
                      <a:pt x="713" y="2075"/>
                    </a:lnTo>
                    <a:lnTo>
                      <a:pt x="710" y="2077"/>
                    </a:lnTo>
                    <a:lnTo>
                      <a:pt x="708" y="2077"/>
                    </a:lnTo>
                    <a:lnTo>
                      <a:pt x="707" y="2078"/>
                    </a:lnTo>
                    <a:lnTo>
                      <a:pt x="705" y="2080"/>
                    </a:lnTo>
                    <a:lnTo>
                      <a:pt x="704" y="2082"/>
                    </a:lnTo>
                    <a:lnTo>
                      <a:pt x="702" y="2085"/>
                    </a:lnTo>
                    <a:lnTo>
                      <a:pt x="700" y="2083"/>
                    </a:lnTo>
                    <a:lnTo>
                      <a:pt x="697" y="2082"/>
                    </a:lnTo>
                    <a:lnTo>
                      <a:pt x="696" y="2082"/>
                    </a:lnTo>
                    <a:lnTo>
                      <a:pt x="693" y="2083"/>
                    </a:lnTo>
                    <a:lnTo>
                      <a:pt x="691" y="2083"/>
                    </a:lnTo>
                    <a:lnTo>
                      <a:pt x="686" y="2083"/>
                    </a:lnTo>
                    <a:lnTo>
                      <a:pt x="683" y="2083"/>
                    </a:lnTo>
                    <a:lnTo>
                      <a:pt x="680" y="2085"/>
                    </a:lnTo>
                    <a:lnTo>
                      <a:pt x="678" y="2085"/>
                    </a:lnTo>
                    <a:lnTo>
                      <a:pt x="675" y="2086"/>
                    </a:lnTo>
                    <a:lnTo>
                      <a:pt x="672" y="2085"/>
                    </a:lnTo>
                    <a:lnTo>
                      <a:pt x="669" y="2082"/>
                    </a:lnTo>
                    <a:lnTo>
                      <a:pt x="667" y="2082"/>
                    </a:lnTo>
                    <a:lnTo>
                      <a:pt x="664" y="2083"/>
                    </a:lnTo>
                    <a:lnTo>
                      <a:pt x="662" y="2085"/>
                    </a:lnTo>
                    <a:lnTo>
                      <a:pt x="659" y="2083"/>
                    </a:lnTo>
                    <a:lnTo>
                      <a:pt x="658" y="2083"/>
                    </a:lnTo>
                    <a:lnTo>
                      <a:pt x="656" y="2083"/>
                    </a:lnTo>
                    <a:lnTo>
                      <a:pt x="655" y="2085"/>
                    </a:lnTo>
                    <a:lnTo>
                      <a:pt x="651" y="2088"/>
                    </a:lnTo>
                    <a:lnTo>
                      <a:pt x="648" y="2088"/>
                    </a:lnTo>
                    <a:lnTo>
                      <a:pt x="645" y="2086"/>
                    </a:lnTo>
                    <a:lnTo>
                      <a:pt x="640" y="2085"/>
                    </a:lnTo>
                    <a:lnTo>
                      <a:pt x="637" y="2085"/>
                    </a:lnTo>
                    <a:lnTo>
                      <a:pt x="634" y="2085"/>
                    </a:lnTo>
                    <a:lnTo>
                      <a:pt x="631" y="2083"/>
                    </a:lnTo>
                    <a:lnTo>
                      <a:pt x="629" y="2083"/>
                    </a:lnTo>
                    <a:lnTo>
                      <a:pt x="626" y="2083"/>
                    </a:lnTo>
                    <a:lnTo>
                      <a:pt x="621" y="2083"/>
                    </a:lnTo>
                    <a:lnTo>
                      <a:pt x="617" y="2085"/>
                    </a:lnTo>
                    <a:lnTo>
                      <a:pt x="613" y="2088"/>
                    </a:lnTo>
                    <a:lnTo>
                      <a:pt x="612" y="2088"/>
                    </a:lnTo>
                    <a:lnTo>
                      <a:pt x="610" y="2090"/>
                    </a:lnTo>
                    <a:lnTo>
                      <a:pt x="607" y="2088"/>
                    </a:lnTo>
                    <a:lnTo>
                      <a:pt x="604" y="2085"/>
                    </a:lnTo>
                    <a:lnTo>
                      <a:pt x="602" y="2085"/>
                    </a:lnTo>
                    <a:lnTo>
                      <a:pt x="601" y="2085"/>
                    </a:lnTo>
                    <a:lnTo>
                      <a:pt x="599" y="2083"/>
                    </a:lnTo>
                    <a:lnTo>
                      <a:pt x="596" y="2082"/>
                    </a:lnTo>
                    <a:lnTo>
                      <a:pt x="594" y="2080"/>
                    </a:lnTo>
                    <a:lnTo>
                      <a:pt x="593" y="2078"/>
                    </a:lnTo>
                    <a:lnTo>
                      <a:pt x="591" y="2077"/>
                    </a:lnTo>
                    <a:lnTo>
                      <a:pt x="591" y="2075"/>
                    </a:lnTo>
                    <a:lnTo>
                      <a:pt x="590" y="2075"/>
                    </a:lnTo>
                    <a:lnTo>
                      <a:pt x="586" y="2074"/>
                    </a:lnTo>
                    <a:lnTo>
                      <a:pt x="585" y="2074"/>
                    </a:lnTo>
                    <a:lnTo>
                      <a:pt x="585" y="2072"/>
                    </a:lnTo>
                    <a:lnTo>
                      <a:pt x="585" y="2071"/>
                    </a:lnTo>
                    <a:lnTo>
                      <a:pt x="586" y="2069"/>
                    </a:lnTo>
                    <a:lnTo>
                      <a:pt x="585" y="2067"/>
                    </a:lnTo>
                    <a:lnTo>
                      <a:pt x="583" y="2064"/>
                    </a:lnTo>
                    <a:lnTo>
                      <a:pt x="583" y="2063"/>
                    </a:lnTo>
                    <a:lnTo>
                      <a:pt x="577" y="2059"/>
                    </a:lnTo>
                    <a:lnTo>
                      <a:pt x="575" y="2055"/>
                    </a:lnTo>
                    <a:lnTo>
                      <a:pt x="574" y="2053"/>
                    </a:lnTo>
                    <a:lnTo>
                      <a:pt x="572" y="2052"/>
                    </a:lnTo>
                    <a:lnTo>
                      <a:pt x="569" y="2048"/>
                    </a:lnTo>
                    <a:lnTo>
                      <a:pt x="567" y="2047"/>
                    </a:lnTo>
                    <a:lnTo>
                      <a:pt x="566" y="2045"/>
                    </a:lnTo>
                    <a:lnTo>
                      <a:pt x="564" y="2045"/>
                    </a:lnTo>
                    <a:lnTo>
                      <a:pt x="563" y="2044"/>
                    </a:lnTo>
                    <a:lnTo>
                      <a:pt x="559" y="2040"/>
                    </a:lnTo>
                    <a:lnTo>
                      <a:pt x="556" y="2036"/>
                    </a:lnTo>
                    <a:lnTo>
                      <a:pt x="555" y="2034"/>
                    </a:lnTo>
                    <a:lnTo>
                      <a:pt x="550" y="2034"/>
                    </a:lnTo>
                    <a:lnTo>
                      <a:pt x="550" y="2033"/>
                    </a:lnTo>
                    <a:lnTo>
                      <a:pt x="548" y="2029"/>
                    </a:lnTo>
                    <a:lnTo>
                      <a:pt x="545" y="2028"/>
                    </a:lnTo>
                    <a:lnTo>
                      <a:pt x="540" y="2025"/>
                    </a:lnTo>
                    <a:lnTo>
                      <a:pt x="536" y="2023"/>
                    </a:lnTo>
                    <a:lnTo>
                      <a:pt x="531" y="2021"/>
                    </a:lnTo>
                    <a:lnTo>
                      <a:pt x="529" y="2021"/>
                    </a:lnTo>
                    <a:lnTo>
                      <a:pt x="528" y="2021"/>
                    </a:lnTo>
                    <a:lnTo>
                      <a:pt x="528" y="2018"/>
                    </a:lnTo>
                    <a:lnTo>
                      <a:pt x="528" y="2017"/>
                    </a:lnTo>
                    <a:lnTo>
                      <a:pt x="526" y="2017"/>
                    </a:lnTo>
                    <a:lnTo>
                      <a:pt x="525" y="2013"/>
                    </a:lnTo>
                    <a:lnTo>
                      <a:pt x="525" y="2012"/>
                    </a:lnTo>
                    <a:lnTo>
                      <a:pt x="523" y="2010"/>
                    </a:lnTo>
                    <a:lnTo>
                      <a:pt x="523" y="2009"/>
                    </a:lnTo>
                    <a:lnTo>
                      <a:pt x="521" y="2007"/>
                    </a:lnTo>
                    <a:lnTo>
                      <a:pt x="521" y="2006"/>
                    </a:lnTo>
                    <a:lnTo>
                      <a:pt x="521" y="2004"/>
                    </a:lnTo>
                    <a:lnTo>
                      <a:pt x="518" y="2001"/>
                    </a:lnTo>
                    <a:lnTo>
                      <a:pt x="514" y="1999"/>
                    </a:lnTo>
                    <a:lnTo>
                      <a:pt x="510" y="1994"/>
                    </a:lnTo>
                    <a:lnTo>
                      <a:pt x="507" y="1993"/>
                    </a:lnTo>
                    <a:lnTo>
                      <a:pt x="501" y="1991"/>
                    </a:lnTo>
                    <a:lnTo>
                      <a:pt x="499" y="1990"/>
                    </a:lnTo>
                    <a:lnTo>
                      <a:pt x="493" y="1987"/>
                    </a:lnTo>
                    <a:lnTo>
                      <a:pt x="491" y="1985"/>
                    </a:lnTo>
                    <a:lnTo>
                      <a:pt x="491" y="1983"/>
                    </a:lnTo>
                    <a:lnTo>
                      <a:pt x="490" y="1983"/>
                    </a:lnTo>
                    <a:lnTo>
                      <a:pt x="482" y="1990"/>
                    </a:lnTo>
                    <a:lnTo>
                      <a:pt x="476" y="1993"/>
                    </a:lnTo>
                    <a:lnTo>
                      <a:pt x="472" y="1993"/>
                    </a:lnTo>
                    <a:lnTo>
                      <a:pt x="472" y="1994"/>
                    </a:lnTo>
                    <a:lnTo>
                      <a:pt x="472" y="1998"/>
                    </a:lnTo>
                    <a:lnTo>
                      <a:pt x="468" y="1999"/>
                    </a:lnTo>
                    <a:lnTo>
                      <a:pt x="392" y="2031"/>
                    </a:lnTo>
                    <a:lnTo>
                      <a:pt x="347" y="2048"/>
                    </a:lnTo>
                    <a:lnTo>
                      <a:pt x="339" y="2053"/>
                    </a:lnTo>
                    <a:lnTo>
                      <a:pt x="322" y="2059"/>
                    </a:lnTo>
                    <a:lnTo>
                      <a:pt x="317" y="2061"/>
                    </a:lnTo>
                    <a:lnTo>
                      <a:pt x="270" y="2086"/>
                    </a:lnTo>
                    <a:lnTo>
                      <a:pt x="230" y="2107"/>
                    </a:lnTo>
                    <a:lnTo>
                      <a:pt x="206" y="2161"/>
                    </a:lnTo>
                    <a:lnTo>
                      <a:pt x="192" y="2174"/>
                    </a:lnTo>
                    <a:lnTo>
                      <a:pt x="189" y="2177"/>
                    </a:lnTo>
                    <a:lnTo>
                      <a:pt x="184" y="2181"/>
                    </a:lnTo>
                    <a:lnTo>
                      <a:pt x="181" y="2185"/>
                    </a:lnTo>
                    <a:lnTo>
                      <a:pt x="179" y="2186"/>
                    </a:lnTo>
                    <a:lnTo>
                      <a:pt x="175" y="2193"/>
                    </a:lnTo>
                    <a:lnTo>
                      <a:pt x="170" y="2199"/>
                    </a:lnTo>
                    <a:lnTo>
                      <a:pt x="162" y="2207"/>
                    </a:lnTo>
                    <a:lnTo>
                      <a:pt x="152" y="2218"/>
                    </a:lnTo>
                    <a:lnTo>
                      <a:pt x="140" y="2229"/>
                    </a:lnTo>
                    <a:lnTo>
                      <a:pt x="138" y="2231"/>
                    </a:lnTo>
                    <a:lnTo>
                      <a:pt x="138" y="2232"/>
                    </a:lnTo>
                    <a:lnTo>
                      <a:pt x="137" y="2237"/>
                    </a:lnTo>
                    <a:lnTo>
                      <a:pt x="135" y="2237"/>
                    </a:lnTo>
                    <a:lnTo>
                      <a:pt x="132" y="2240"/>
                    </a:lnTo>
                    <a:lnTo>
                      <a:pt x="129" y="2240"/>
                    </a:lnTo>
                    <a:lnTo>
                      <a:pt x="127" y="2245"/>
                    </a:lnTo>
                    <a:lnTo>
                      <a:pt x="125" y="2251"/>
                    </a:lnTo>
                    <a:lnTo>
                      <a:pt x="122" y="2259"/>
                    </a:lnTo>
                    <a:lnTo>
                      <a:pt x="121" y="2264"/>
                    </a:lnTo>
                    <a:lnTo>
                      <a:pt x="116" y="2264"/>
                    </a:lnTo>
                    <a:lnTo>
                      <a:pt x="113" y="2264"/>
                    </a:lnTo>
                    <a:lnTo>
                      <a:pt x="110" y="2262"/>
                    </a:lnTo>
                    <a:lnTo>
                      <a:pt x="110" y="2259"/>
                    </a:lnTo>
                    <a:lnTo>
                      <a:pt x="108" y="2258"/>
                    </a:lnTo>
                    <a:lnTo>
                      <a:pt x="106" y="2256"/>
                    </a:lnTo>
                    <a:lnTo>
                      <a:pt x="106" y="2251"/>
                    </a:lnTo>
                    <a:lnTo>
                      <a:pt x="105" y="2245"/>
                    </a:lnTo>
                    <a:lnTo>
                      <a:pt x="103" y="2246"/>
                    </a:lnTo>
                    <a:lnTo>
                      <a:pt x="100" y="2246"/>
                    </a:lnTo>
                    <a:lnTo>
                      <a:pt x="99" y="2246"/>
                    </a:lnTo>
                    <a:lnTo>
                      <a:pt x="95" y="2248"/>
                    </a:lnTo>
                    <a:lnTo>
                      <a:pt x="94" y="2248"/>
                    </a:lnTo>
                    <a:lnTo>
                      <a:pt x="89" y="2246"/>
                    </a:lnTo>
                    <a:lnTo>
                      <a:pt x="86" y="2246"/>
                    </a:lnTo>
                    <a:lnTo>
                      <a:pt x="81" y="2245"/>
                    </a:lnTo>
                    <a:lnTo>
                      <a:pt x="76" y="2245"/>
                    </a:lnTo>
                    <a:lnTo>
                      <a:pt x="72" y="2245"/>
                    </a:lnTo>
                    <a:lnTo>
                      <a:pt x="70" y="2245"/>
                    </a:lnTo>
                    <a:lnTo>
                      <a:pt x="70" y="2229"/>
                    </a:lnTo>
                    <a:lnTo>
                      <a:pt x="64" y="2221"/>
                    </a:lnTo>
                    <a:lnTo>
                      <a:pt x="42" y="2218"/>
                    </a:lnTo>
                    <a:lnTo>
                      <a:pt x="40" y="2218"/>
                    </a:lnTo>
                    <a:lnTo>
                      <a:pt x="38" y="2216"/>
                    </a:lnTo>
                    <a:lnTo>
                      <a:pt x="32" y="2216"/>
                    </a:lnTo>
                    <a:lnTo>
                      <a:pt x="30" y="2216"/>
                    </a:lnTo>
                    <a:lnTo>
                      <a:pt x="29" y="2216"/>
                    </a:lnTo>
                    <a:lnTo>
                      <a:pt x="27" y="2215"/>
                    </a:lnTo>
                    <a:lnTo>
                      <a:pt x="26" y="2215"/>
                    </a:lnTo>
                    <a:lnTo>
                      <a:pt x="24" y="2213"/>
                    </a:lnTo>
                    <a:lnTo>
                      <a:pt x="15" y="2208"/>
                    </a:lnTo>
                    <a:lnTo>
                      <a:pt x="13" y="2207"/>
                    </a:lnTo>
                    <a:lnTo>
                      <a:pt x="8" y="2207"/>
                    </a:lnTo>
                    <a:lnTo>
                      <a:pt x="5" y="2204"/>
                    </a:lnTo>
                    <a:lnTo>
                      <a:pt x="3" y="2204"/>
                    </a:lnTo>
                    <a:lnTo>
                      <a:pt x="2" y="2204"/>
                    </a:lnTo>
                    <a:lnTo>
                      <a:pt x="0" y="2200"/>
                    </a:lnTo>
                    <a:lnTo>
                      <a:pt x="37" y="2181"/>
                    </a:lnTo>
                    <a:lnTo>
                      <a:pt x="56" y="2175"/>
                    </a:lnTo>
                    <a:lnTo>
                      <a:pt x="89" y="2124"/>
                    </a:lnTo>
                    <a:lnTo>
                      <a:pt x="99" y="2109"/>
                    </a:lnTo>
                    <a:lnTo>
                      <a:pt x="114" y="2082"/>
                    </a:lnTo>
                    <a:lnTo>
                      <a:pt x="119" y="2075"/>
                    </a:lnTo>
                    <a:lnTo>
                      <a:pt x="113" y="2053"/>
                    </a:lnTo>
                    <a:lnTo>
                      <a:pt x="122" y="2031"/>
                    </a:lnTo>
                    <a:lnTo>
                      <a:pt x="127" y="2017"/>
                    </a:lnTo>
                    <a:lnTo>
                      <a:pt x="130" y="1996"/>
                    </a:lnTo>
                    <a:lnTo>
                      <a:pt x="138" y="1988"/>
                    </a:lnTo>
                    <a:lnTo>
                      <a:pt x="144" y="1979"/>
                    </a:lnTo>
                    <a:lnTo>
                      <a:pt x="149" y="1968"/>
                    </a:lnTo>
                    <a:lnTo>
                      <a:pt x="154" y="1958"/>
                    </a:lnTo>
                    <a:lnTo>
                      <a:pt x="157" y="1947"/>
                    </a:lnTo>
                    <a:lnTo>
                      <a:pt x="160" y="1937"/>
                    </a:lnTo>
                    <a:lnTo>
                      <a:pt x="165" y="1928"/>
                    </a:lnTo>
                    <a:lnTo>
                      <a:pt x="170" y="1917"/>
                    </a:lnTo>
                    <a:lnTo>
                      <a:pt x="175" y="1906"/>
                    </a:lnTo>
                    <a:lnTo>
                      <a:pt x="178" y="1899"/>
                    </a:lnTo>
                    <a:lnTo>
                      <a:pt x="181" y="1891"/>
                    </a:lnTo>
                    <a:lnTo>
                      <a:pt x="182" y="1885"/>
                    </a:lnTo>
                    <a:lnTo>
                      <a:pt x="184" y="1880"/>
                    </a:lnTo>
                    <a:lnTo>
                      <a:pt x="189" y="1874"/>
                    </a:lnTo>
                    <a:lnTo>
                      <a:pt x="190" y="1871"/>
                    </a:lnTo>
                    <a:lnTo>
                      <a:pt x="190" y="1853"/>
                    </a:lnTo>
                    <a:lnTo>
                      <a:pt x="194" y="1831"/>
                    </a:lnTo>
                    <a:lnTo>
                      <a:pt x="197" y="1819"/>
                    </a:lnTo>
                    <a:lnTo>
                      <a:pt x="201" y="1804"/>
                    </a:lnTo>
                    <a:lnTo>
                      <a:pt x="208" y="1787"/>
                    </a:lnTo>
                    <a:lnTo>
                      <a:pt x="211" y="1773"/>
                    </a:lnTo>
                    <a:lnTo>
                      <a:pt x="216" y="1763"/>
                    </a:lnTo>
                    <a:lnTo>
                      <a:pt x="230" y="1731"/>
                    </a:lnTo>
                    <a:lnTo>
                      <a:pt x="238" y="1709"/>
                    </a:lnTo>
                    <a:lnTo>
                      <a:pt x="247" y="1690"/>
                    </a:lnTo>
                    <a:lnTo>
                      <a:pt x="274" y="1657"/>
                    </a:lnTo>
                    <a:lnTo>
                      <a:pt x="284" y="1663"/>
                    </a:lnTo>
                    <a:lnTo>
                      <a:pt x="293" y="1666"/>
                    </a:lnTo>
                    <a:lnTo>
                      <a:pt x="304" y="1668"/>
                    </a:lnTo>
                    <a:lnTo>
                      <a:pt x="316" y="1670"/>
                    </a:lnTo>
                    <a:lnTo>
                      <a:pt x="325" y="1670"/>
                    </a:lnTo>
                    <a:lnTo>
                      <a:pt x="335" y="1666"/>
                    </a:lnTo>
                    <a:lnTo>
                      <a:pt x="346" y="1666"/>
                    </a:lnTo>
                    <a:lnTo>
                      <a:pt x="355" y="1663"/>
                    </a:lnTo>
                    <a:lnTo>
                      <a:pt x="373" y="1660"/>
                    </a:lnTo>
                    <a:lnTo>
                      <a:pt x="398" y="1657"/>
                    </a:lnTo>
                    <a:lnTo>
                      <a:pt x="420" y="1654"/>
                    </a:lnTo>
                    <a:lnTo>
                      <a:pt x="425" y="1649"/>
                    </a:lnTo>
                    <a:lnTo>
                      <a:pt x="430" y="1641"/>
                    </a:lnTo>
                    <a:lnTo>
                      <a:pt x="434" y="1635"/>
                    </a:lnTo>
                    <a:lnTo>
                      <a:pt x="442" y="1630"/>
                    </a:lnTo>
                    <a:lnTo>
                      <a:pt x="444" y="1625"/>
                    </a:lnTo>
                    <a:lnTo>
                      <a:pt x="450" y="1619"/>
                    </a:lnTo>
                    <a:lnTo>
                      <a:pt x="463" y="1616"/>
                    </a:lnTo>
                    <a:lnTo>
                      <a:pt x="468" y="1608"/>
                    </a:lnTo>
                    <a:lnTo>
                      <a:pt x="485" y="1600"/>
                    </a:lnTo>
                    <a:lnTo>
                      <a:pt x="493" y="1594"/>
                    </a:lnTo>
                    <a:lnTo>
                      <a:pt x="501" y="1587"/>
                    </a:lnTo>
                    <a:lnTo>
                      <a:pt x="507" y="1583"/>
                    </a:lnTo>
                    <a:lnTo>
                      <a:pt x="517" y="1578"/>
                    </a:lnTo>
                    <a:lnTo>
                      <a:pt x="534" y="1573"/>
                    </a:lnTo>
                    <a:lnTo>
                      <a:pt x="528" y="1557"/>
                    </a:lnTo>
                    <a:lnTo>
                      <a:pt x="520" y="1537"/>
                    </a:lnTo>
                    <a:lnTo>
                      <a:pt x="520" y="1524"/>
                    </a:lnTo>
                    <a:lnTo>
                      <a:pt x="520" y="1513"/>
                    </a:lnTo>
                    <a:lnTo>
                      <a:pt x="521" y="1497"/>
                    </a:lnTo>
                    <a:lnTo>
                      <a:pt x="521" y="1484"/>
                    </a:lnTo>
                    <a:lnTo>
                      <a:pt x="518" y="1465"/>
                    </a:lnTo>
                    <a:lnTo>
                      <a:pt x="518" y="1459"/>
                    </a:lnTo>
                    <a:lnTo>
                      <a:pt x="518" y="1454"/>
                    </a:lnTo>
                    <a:lnTo>
                      <a:pt x="518" y="1448"/>
                    </a:lnTo>
                    <a:lnTo>
                      <a:pt x="518" y="1443"/>
                    </a:lnTo>
                    <a:lnTo>
                      <a:pt x="518" y="1437"/>
                    </a:lnTo>
                    <a:lnTo>
                      <a:pt x="520" y="1432"/>
                    </a:lnTo>
                    <a:lnTo>
                      <a:pt x="520" y="1430"/>
                    </a:lnTo>
                    <a:lnTo>
                      <a:pt x="521" y="1427"/>
                    </a:lnTo>
                    <a:lnTo>
                      <a:pt x="521" y="1418"/>
                    </a:lnTo>
                    <a:lnTo>
                      <a:pt x="521" y="1410"/>
                    </a:lnTo>
                    <a:lnTo>
                      <a:pt x="521" y="1403"/>
                    </a:lnTo>
                    <a:lnTo>
                      <a:pt x="520" y="1397"/>
                    </a:lnTo>
                    <a:lnTo>
                      <a:pt x="517" y="1388"/>
                    </a:lnTo>
                    <a:lnTo>
                      <a:pt x="517" y="1380"/>
                    </a:lnTo>
                    <a:lnTo>
                      <a:pt x="517" y="1378"/>
                    </a:lnTo>
                    <a:lnTo>
                      <a:pt x="517" y="1377"/>
                    </a:lnTo>
                    <a:lnTo>
                      <a:pt x="515" y="1369"/>
                    </a:lnTo>
                    <a:lnTo>
                      <a:pt x="515" y="1354"/>
                    </a:lnTo>
                    <a:lnTo>
                      <a:pt x="523" y="1343"/>
                    </a:lnTo>
                    <a:lnTo>
                      <a:pt x="528" y="1332"/>
                    </a:lnTo>
                    <a:lnTo>
                      <a:pt x="537" y="1321"/>
                    </a:lnTo>
                    <a:lnTo>
                      <a:pt x="548" y="1310"/>
                    </a:lnTo>
                    <a:lnTo>
                      <a:pt x="553" y="1305"/>
                    </a:lnTo>
                    <a:lnTo>
                      <a:pt x="561" y="1293"/>
                    </a:lnTo>
                    <a:lnTo>
                      <a:pt x="577" y="1280"/>
                    </a:lnTo>
                    <a:lnTo>
                      <a:pt x="577" y="1278"/>
                    </a:lnTo>
                    <a:lnTo>
                      <a:pt x="594" y="1280"/>
                    </a:lnTo>
                    <a:lnTo>
                      <a:pt x="602" y="1283"/>
                    </a:lnTo>
                    <a:lnTo>
                      <a:pt x="607" y="1289"/>
                    </a:lnTo>
                    <a:lnTo>
                      <a:pt x="623" y="1299"/>
                    </a:lnTo>
                    <a:lnTo>
                      <a:pt x="639" y="1307"/>
                    </a:lnTo>
                    <a:lnTo>
                      <a:pt x="650" y="1312"/>
                    </a:lnTo>
                    <a:lnTo>
                      <a:pt x="661" y="1316"/>
                    </a:lnTo>
                    <a:lnTo>
                      <a:pt x="667" y="1316"/>
                    </a:lnTo>
                    <a:lnTo>
                      <a:pt x="685" y="1323"/>
                    </a:lnTo>
                    <a:lnTo>
                      <a:pt x="696" y="1332"/>
                    </a:lnTo>
                    <a:lnTo>
                      <a:pt x="710" y="1345"/>
                    </a:lnTo>
                    <a:lnTo>
                      <a:pt x="724" y="1361"/>
                    </a:lnTo>
                    <a:lnTo>
                      <a:pt x="737" y="1375"/>
                    </a:lnTo>
                    <a:lnTo>
                      <a:pt x="742" y="1367"/>
                    </a:lnTo>
                    <a:lnTo>
                      <a:pt x="748" y="1362"/>
                    </a:lnTo>
                    <a:lnTo>
                      <a:pt x="756" y="1358"/>
                    </a:lnTo>
                    <a:lnTo>
                      <a:pt x="757" y="1356"/>
                    </a:lnTo>
                    <a:lnTo>
                      <a:pt x="762" y="1350"/>
                    </a:lnTo>
                    <a:lnTo>
                      <a:pt x="772" y="1329"/>
                    </a:lnTo>
                    <a:lnTo>
                      <a:pt x="778" y="1324"/>
                    </a:lnTo>
                    <a:lnTo>
                      <a:pt x="789" y="1318"/>
                    </a:lnTo>
                    <a:lnTo>
                      <a:pt x="796" y="1315"/>
                    </a:lnTo>
                    <a:lnTo>
                      <a:pt x="805" y="1315"/>
                    </a:lnTo>
                    <a:lnTo>
                      <a:pt x="807" y="1326"/>
                    </a:lnTo>
                    <a:lnTo>
                      <a:pt x="808" y="1324"/>
                    </a:lnTo>
                    <a:lnTo>
                      <a:pt x="816" y="1324"/>
                    </a:lnTo>
                    <a:lnTo>
                      <a:pt x="822" y="1323"/>
                    </a:lnTo>
                    <a:lnTo>
                      <a:pt x="824" y="1323"/>
                    </a:lnTo>
                    <a:lnTo>
                      <a:pt x="830" y="1319"/>
                    </a:lnTo>
                    <a:lnTo>
                      <a:pt x="838" y="1315"/>
                    </a:lnTo>
                    <a:lnTo>
                      <a:pt x="845" y="1312"/>
                    </a:lnTo>
                    <a:lnTo>
                      <a:pt x="848" y="1308"/>
                    </a:lnTo>
                    <a:lnTo>
                      <a:pt x="849" y="1307"/>
                    </a:lnTo>
                    <a:lnTo>
                      <a:pt x="851" y="1302"/>
                    </a:lnTo>
                    <a:lnTo>
                      <a:pt x="849" y="1297"/>
                    </a:lnTo>
                    <a:lnTo>
                      <a:pt x="848" y="1294"/>
                    </a:lnTo>
                    <a:lnTo>
                      <a:pt x="853" y="1289"/>
                    </a:lnTo>
                    <a:lnTo>
                      <a:pt x="853" y="1283"/>
                    </a:lnTo>
                    <a:lnTo>
                      <a:pt x="856" y="1275"/>
                    </a:lnTo>
                    <a:lnTo>
                      <a:pt x="865" y="1262"/>
                    </a:lnTo>
                    <a:lnTo>
                      <a:pt x="865" y="1256"/>
                    </a:lnTo>
                    <a:lnTo>
                      <a:pt x="867" y="1242"/>
                    </a:lnTo>
                    <a:lnTo>
                      <a:pt x="868" y="1236"/>
                    </a:lnTo>
                    <a:lnTo>
                      <a:pt x="870" y="1229"/>
                    </a:lnTo>
                    <a:lnTo>
                      <a:pt x="870" y="1223"/>
                    </a:lnTo>
                    <a:lnTo>
                      <a:pt x="878" y="1213"/>
                    </a:lnTo>
                    <a:lnTo>
                      <a:pt x="879" y="1210"/>
                    </a:lnTo>
                    <a:lnTo>
                      <a:pt x="887" y="1202"/>
                    </a:lnTo>
                    <a:lnTo>
                      <a:pt x="889" y="1199"/>
                    </a:lnTo>
                    <a:lnTo>
                      <a:pt x="892" y="1194"/>
                    </a:lnTo>
                    <a:lnTo>
                      <a:pt x="895" y="1188"/>
                    </a:lnTo>
                    <a:lnTo>
                      <a:pt x="894" y="1174"/>
                    </a:lnTo>
                    <a:lnTo>
                      <a:pt x="903" y="1161"/>
                    </a:lnTo>
                    <a:lnTo>
                      <a:pt x="908" y="1148"/>
                    </a:lnTo>
                    <a:lnTo>
                      <a:pt x="908" y="1144"/>
                    </a:lnTo>
                    <a:lnTo>
                      <a:pt x="908" y="1133"/>
                    </a:lnTo>
                    <a:lnTo>
                      <a:pt x="910" y="1126"/>
                    </a:lnTo>
                    <a:lnTo>
                      <a:pt x="910" y="1123"/>
                    </a:lnTo>
                    <a:lnTo>
                      <a:pt x="910" y="1112"/>
                    </a:lnTo>
                    <a:lnTo>
                      <a:pt x="906" y="1104"/>
                    </a:lnTo>
                    <a:lnTo>
                      <a:pt x="900" y="1102"/>
                    </a:lnTo>
                    <a:lnTo>
                      <a:pt x="894" y="1099"/>
                    </a:lnTo>
                    <a:lnTo>
                      <a:pt x="891" y="1098"/>
                    </a:lnTo>
                    <a:lnTo>
                      <a:pt x="887" y="1096"/>
                    </a:lnTo>
                    <a:lnTo>
                      <a:pt x="881" y="1094"/>
                    </a:lnTo>
                    <a:lnTo>
                      <a:pt x="868" y="1090"/>
                    </a:lnTo>
                    <a:lnTo>
                      <a:pt x="838" y="1077"/>
                    </a:lnTo>
                    <a:lnTo>
                      <a:pt x="818" y="1069"/>
                    </a:lnTo>
                    <a:lnTo>
                      <a:pt x="818" y="1068"/>
                    </a:lnTo>
                    <a:lnTo>
                      <a:pt x="815" y="1053"/>
                    </a:lnTo>
                    <a:lnTo>
                      <a:pt x="811" y="1041"/>
                    </a:lnTo>
                    <a:lnTo>
                      <a:pt x="810" y="1034"/>
                    </a:lnTo>
                    <a:lnTo>
                      <a:pt x="810" y="1033"/>
                    </a:lnTo>
                    <a:lnTo>
                      <a:pt x="813" y="1025"/>
                    </a:lnTo>
                    <a:lnTo>
                      <a:pt x="816" y="1017"/>
                    </a:lnTo>
                    <a:lnTo>
                      <a:pt x="821" y="1004"/>
                    </a:lnTo>
                    <a:lnTo>
                      <a:pt x="827" y="985"/>
                    </a:lnTo>
                    <a:lnTo>
                      <a:pt x="832" y="977"/>
                    </a:lnTo>
                    <a:lnTo>
                      <a:pt x="837" y="963"/>
                    </a:lnTo>
                    <a:lnTo>
                      <a:pt x="822" y="942"/>
                    </a:lnTo>
                    <a:lnTo>
                      <a:pt x="822" y="941"/>
                    </a:lnTo>
                    <a:lnTo>
                      <a:pt x="824" y="931"/>
                    </a:lnTo>
                    <a:lnTo>
                      <a:pt x="824" y="923"/>
                    </a:lnTo>
                    <a:lnTo>
                      <a:pt x="824" y="915"/>
                    </a:lnTo>
                    <a:lnTo>
                      <a:pt x="826" y="904"/>
                    </a:lnTo>
                    <a:lnTo>
                      <a:pt x="827" y="885"/>
                    </a:lnTo>
                    <a:lnTo>
                      <a:pt x="827" y="874"/>
                    </a:lnTo>
                    <a:lnTo>
                      <a:pt x="829" y="868"/>
                    </a:lnTo>
                    <a:lnTo>
                      <a:pt x="830" y="855"/>
                    </a:lnTo>
                    <a:lnTo>
                      <a:pt x="834" y="839"/>
                    </a:lnTo>
                    <a:lnTo>
                      <a:pt x="838" y="831"/>
                    </a:lnTo>
                    <a:lnTo>
                      <a:pt x="856" y="803"/>
                    </a:lnTo>
                    <a:lnTo>
                      <a:pt x="856" y="773"/>
                    </a:lnTo>
                    <a:lnTo>
                      <a:pt x="860" y="767"/>
                    </a:lnTo>
                    <a:lnTo>
                      <a:pt x="868" y="754"/>
                    </a:lnTo>
                    <a:lnTo>
                      <a:pt x="878" y="746"/>
                    </a:lnTo>
                    <a:lnTo>
                      <a:pt x="911" y="719"/>
                    </a:lnTo>
                    <a:lnTo>
                      <a:pt x="916" y="713"/>
                    </a:lnTo>
                    <a:lnTo>
                      <a:pt x="919" y="711"/>
                    </a:lnTo>
                    <a:lnTo>
                      <a:pt x="925" y="711"/>
                    </a:lnTo>
                    <a:lnTo>
                      <a:pt x="929" y="717"/>
                    </a:lnTo>
                    <a:lnTo>
                      <a:pt x="935" y="727"/>
                    </a:lnTo>
                    <a:lnTo>
                      <a:pt x="938" y="735"/>
                    </a:lnTo>
                    <a:lnTo>
                      <a:pt x="943" y="741"/>
                    </a:lnTo>
                    <a:lnTo>
                      <a:pt x="995" y="754"/>
                    </a:lnTo>
                    <a:lnTo>
                      <a:pt x="1000" y="757"/>
                    </a:lnTo>
                    <a:lnTo>
                      <a:pt x="1003" y="765"/>
                    </a:lnTo>
                    <a:lnTo>
                      <a:pt x="1005" y="773"/>
                    </a:lnTo>
                    <a:lnTo>
                      <a:pt x="1006" y="781"/>
                    </a:lnTo>
                    <a:lnTo>
                      <a:pt x="1009" y="795"/>
                    </a:lnTo>
                    <a:lnTo>
                      <a:pt x="1013" y="812"/>
                    </a:lnTo>
                    <a:lnTo>
                      <a:pt x="1014" y="824"/>
                    </a:lnTo>
                    <a:lnTo>
                      <a:pt x="1017" y="831"/>
                    </a:lnTo>
                    <a:lnTo>
                      <a:pt x="1022" y="839"/>
                    </a:lnTo>
                    <a:lnTo>
                      <a:pt x="1028" y="850"/>
                    </a:lnTo>
                    <a:lnTo>
                      <a:pt x="1033" y="857"/>
                    </a:lnTo>
                    <a:lnTo>
                      <a:pt x="1038" y="860"/>
                    </a:lnTo>
                    <a:lnTo>
                      <a:pt x="1041" y="860"/>
                    </a:lnTo>
                    <a:lnTo>
                      <a:pt x="1046" y="855"/>
                    </a:lnTo>
                    <a:lnTo>
                      <a:pt x="1054" y="846"/>
                    </a:lnTo>
                    <a:lnTo>
                      <a:pt x="1055" y="838"/>
                    </a:lnTo>
                    <a:lnTo>
                      <a:pt x="1058" y="825"/>
                    </a:lnTo>
                    <a:lnTo>
                      <a:pt x="1063" y="811"/>
                    </a:lnTo>
                    <a:lnTo>
                      <a:pt x="1066" y="803"/>
                    </a:lnTo>
                    <a:lnTo>
                      <a:pt x="1068" y="800"/>
                    </a:lnTo>
                    <a:lnTo>
                      <a:pt x="1073" y="792"/>
                    </a:lnTo>
                    <a:lnTo>
                      <a:pt x="1076" y="789"/>
                    </a:lnTo>
                    <a:lnTo>
                      <a:pt x="1081" y="789"/>
                    </a:lnTo>
                    <a:lnTo>
                      <a:pt x="1092" y="786"/>
                    </a:lnTo>
                    <a:lnTo>
                      <a:pt x="1100" y="782"/>
                    </a:lnTo>
                    <a:lnTo>
                      <a:pt x="1106" y="781"/>
                    </a:lnTo>
                    <a:lnTo>
                      <a:pt x="1111" y="778"/>
                    </a:lnTo>
                    <a:lnTo>
                      <a:pt x="1111" y="773"/>
                    </a:lnTo>
                    <a:lnTo>
                      <a:pt x="1111" y="763"/>
                    </a:lnTo>
                    <a:lnTo>
                      <a:pt x="1114" y="752"/>
                    </a:lnTo>
                    <a:lnTo>
                      <a:pt x="1115" y="744"/>
                    </a:lnTo>
                    <a:lnTo>
                      <a:pt x="1114" y="736"/>
                    </a:lnTo>
                    <a:lnTo>
                      <a:pt x="1112" y="727"/>
                    </a:lnTo>
                    <a:lnTo>
                      <a:pt x="1111" y="722"/>
                    </a:lnTo>
                    <a:lnTo>
                      <a:pt x="1106" y="717"/>
                    </a:lnTo>
                    <a:lnTo>
                      <a:pt x="1100" y="711"/>
                    </a:lnTo>
                    <a:lnTo>
                      <a:pt x="1093" y="703"/>
                    </a:lnTo>
                    <a:lnTo>
                      <a:pt x="1092" y="695"/>
                    </a:lnTo>
                    <a:lnTo>
                      <a:pt x="1093" y="686"/>
                    </a:lnTo>
                    <a:lnTo>
                      <a:pt x="1095" y="676"/>
                    </a:lnTo>
                    <a:lnTo>
                      <a:pt x="1098" y="668"/>
                    </a:lnTo>
                    <a:lnTo>
                      <a:pt x="1100" y="668"/>
                    </a:lnTo>
                    <a:lnTo>
                      <a:pt x="1101" y="662"/>
                    </a:lnTo>
                    <a:lnTo>
                      <a:pt x="1101" y="657"/>
                    </a:lnTo>
                    <a:lnTo>
                      <a:pt x="1100" y="654"/>
                    </a:lnTo>
                    <a:lnTo>
                      <a:pt x="1096" y="651"/>
                    </a:lnTo>
                    <a:lnTo>
                      <a:pt x="1090" y="648"/>
                    </a:lnTo>
                    <a:lnTo>
                      <a:pt x="1084" y="643"/>
                    </a:lnTo>
                    <a:lnTo>
                      <a:pt x="1077" y="637"/>
                    </a:lnTo>
                    <a:lnTo>
                      <a:pt x="1071" y="630"/>
                    </a:lnTo>
                    <a:lnTo>
                      <a:pt x="1062" y="621"/>
                    </a:lnTo>
                    <a:lnTo>
                      <a:pt x="1054" y="611"/>
                    </a:lnTo>
                    <a:lnTo>
                      <a:pt x="1047" y="602"/>
                    </a:lnTo>
                    <a:lnTo>
                      <a:pt x="1044" y="597"/>
                    </a:lnTo>
                    <a:lnTo>
                      <a:pt x="1041" y="591"/>
                    </a:lnTo>
                    <a:lnTo>
                      <a:pt x="1036" y="584"/>
                    </a:lnTo>
                    <a:lnTo>
                      <a:pt x="1030" y="580"/>
                    </a:lnTo>
                    <a:lnTo>
                      <a:pt x="1024" y="576"/>
                    </a:lnTo>
                    <a:lnTo>
                      <a:pt x="1024" y="575"/>
                    </a:lnTo>
                    <a:lnTo>
                      <a:pt x="1024" y="573"/>
                    </a:lnTo>
                    <a:lnTo>
                      <a:pt x="1025" y="572"/>
                    </a:lnTo>
                    <a:lnTo>
                      <a:pt x="1027" y="570"/>
                    </a:lnTo>
                    <a:lnTo>
                      <a:pt x="1028" y="568"/>
                    </a:lnTo>
                    <a:lnTo>
                      <a:pt x="1032" y="567"/>
                    </a:lnTo>
                    <a:lnTo>
                      <a:pt x="1033" y="564"/>
                    </a:lnTo>
                    <a:lnTo>
                      <a:pt x="1033" y="559"/>
                    </a:lnTo>
                    <a:lnTo>
                      <a:pt x="1032" y="557"/>
                    </a:lnTo>
                    <a:lnTo>
                      <a:pt x="1028" y="554"/>
                    </a:lnTo>
                    <a:lnTo>
                      <a:pt x="1022" y="549"/>
                    </a:lnTo>
                    <a:lnTo>
                      <a:pt x="1019" y="543"/>
                    </a:lnTo>
                    <a:lnTo>
                      <a:pt x="1017" y="537"/>
                    </a:lnTo>
                    <a:lnTo>
                      <a:pt x="1016" y="530"/>
                    </a:lnTo>
                    <a:lnTo>
                      <a:pt x="1013" y="527"/>
                    </a:lnTo>
                    <a:lnTo>
                      <a:pt x="1009" y="523"/>
                    </a:lnTo>
                    <a:lnTo>
                      <a:pt x="1008" y="516"/>
                    </a:lnTo>
                    <a:lnTo>
                      <a:pt x="1011" y="511"/>
                    </a:lnTo>
                    <a:lnTo>
                      <a:pt x="1009" y="505"/>
                    </a:lnTo>
                    <a:lnTo>
                      <a:pt x="1003" y="494"/>
                    </a:lnTo>
                    <a:lnTo>
                      <a:pt x="998" y="483"/>
                    </a:lnTo>
                    <a:lnTo>
                      <a:pt x="997" y="478"/>
                    </a:lnTo>
                    <a:lnTo>
                      <a:pt x="994" y="473"/>
                    </a:lnTo>
                    <a:lnTo>
                      <a:pt x="987" y="462"/>
                    </a:lnTo>
                    <a:lnTo>
                      <a:pt x="986" y="461"/>
                    </a:lnTo>
                    <a:lnTo>
                      <a:pt x="979" y="453"/>
                    </a:lnTo>
                    <a:lnTo>
                      <a:pt x="976" y="450"/>
                    </a:lnTo>
                    <a:lnTo>
                      <a:pt x="971" y="443"/>
                    </a:lnTo>
                    <a:lnTo>
                      <a:pt x="968" y="440"/>
                    </a:lnTo>
                    <a:lnTo>
                      <a:pt x="967" y="439"/>
                    </a:lnTo>
                    <a:lnTo>
                      <a:pt x="965" y="439"/>
                    </a:lnTo>
                    <a:lnTo>
                      <a:pt x="962" y="440"/>
                    </a:lnTo>
                    <a:lnTo>
                      <a:pt x="960" y="440"/>
                    </a:lnTo>
                    <a:lnTo>
                      <a:pt x="960" y="439"/>
                    </a:lnTo>
                    <a:lnTo>
                      <a:pt x="962" y="432"/>
                    </a:lnTo>
                    <a:lnTo>
                      <a:pt x="963" y="421"/>
                    </a:lnTo>
                    <a:lnTo>
                      <a:pt x="962" y="413"/>
                    </a:lnTo>
                    <a:lnTo>
                      <a:pt x="960" y="404"/>
                    </a:lnTo>
                    <a:lnTo>
                      <a:pt x="959" y="397"/>
                    </a:lnTo>
                    <a:lnTo>
                      <a:pt x="952" y="396"/>
                    </a:lnTo>
                    <a:lnTo>
                      <a:pt x="949" y="396"/>
                    </a:lnTo>
                    <a:lnTo>
                      <a:pt x="948" y="396"/>
                    </a:lnTo>
                    <a:lnTo>
                      <a:pt x="948" y="394"/>
                    </a:lnTo>
                    <a:lnTo>
                      <a:pt x="935" y="385"/>
                    </a:lnTo>
                    <a:lnTo>
                      <a:pt x="922" y="377"/>
                    </a:lnTo>
                    <a:lnTo>
                      <a:pt x="911" y="377"/>
                    </a:lnTo>
                    <a:lnTo>
                      <a:pt x="903" y="380"/>
                    </a:lnTo>
                    <a:lnTo>
                      <a:pt x="884" y="399"/>
                    </a:lnTo>
                    <a:lnTo>
                      <a:pt x="857" y="424"/>
                    </a:lnTo>
                    <a:lnTo>
                      <a:pt x="854" y="426"/>
                    </a:lnTo>
                    <a:lnTo>
                      <a:pt x="851" y="424"/>
                    </a:lnTo>
                    <a:lnTo>
                      <a:pt x="848" y="421"/>
                    </a:lnTo>
                    <a:lnTo>
                      <a:pt x="835" y="415"/>
                    </a:lnTo>
                    <a:lnTo>
                      <a:pt x="821" y="407"/>
                    </a:lnTo>
                    <a:lnTo>
                      <a:pt x="811" y="405"/>
                    </a:lnTo>
                    <a:lnTo>
                      <a:pt x="805" y="408"/>
                    </a:lnTo>
                    <a:lnTo>
                      <a:pt x="792" y="418"/>
                    </a:lnTo>
                    <a:lnTo>
                      <a:pt x="791" y="418"/>
                    </a:lnTo>
                    <a:lnTo>
                      <a:pt x="788" y="416"/>
                    </a:lnTo>
                    <a:lnTo>
                      <a:pt x="783" y="415"/>
                    </a:lnTo>
                    <a:lnTo>
                      <a:pt x="776" y="418"/>
                    </a:lnTo>
                    <a:lnTo>
                      <a:pt x="775" y="421"/>
                    </a:lnTo>
                    <a:lnTo>
                      <a:pt x="775" y="431"/>
                    </a:lnTo>
                    <a:lnTo>
                      <a:pt x="769" y="462"/>
                    </a:lnTo>
                    <a:lnTo>
                      <a:pt x="772" y="469"/>
                    </a:lnTo>
                    <a:lnTo>
                      <a:pt x="767" y="469"/>
                    </a:lnTo>
                    <a:lnTo>
                      <a:pt x="762" y="469"/>
                    </a:lnTo>
                    <a:lnTo>
                      <a:pt x="753" y="469"/>
                    </a:lnTo>
                    <a:lnTo>
                      <a:pt x="748" y="465"/>
                    </a:lnTo>
                    <a:lnTo>
                      <a:pt x="745" y="456"/>
                    </a:lnTo>
                    <a:lnTo>
                      <a:pt x="742" y="456"/>
                    </a:lnTo>
                    <a:lnTo>
                      <a:pt x="731" y="456"/>
                    </a:lnTo>
                    <a:lnTo>
                      <a:pt x="721" y="458"/>
                    </a:lnTo>
                    <a:lnTo>
                      <a:pt x="715" y="459"/>
                    </a:lnTo>
                    <a:lnTo>
                      <a:pt x="708" y="464"/>
                    </a:lnTo>
                    <a:lnTo>
                      <a:pt x="705" y="469"/>
                    </a:lnTo>
                    <a:lnTo>
                      <a:pt x="700" y="472"/>
                    </a:lnTo>
                    <a:lnTo>
                      <a:pt x="696" y="472"/>
                    </a:lnTo>
                    <a:lnTo>
                      <a:pt x="691" y="469"/>
                    </a:lnTo>
                    <a:lnTo>
                      <a:pt x="683" y="467"/>
                    </a:lnTo>
                    <a:lnTo>
                      <a:pt x="672" y="464"/>
                    </a:lnTo>
                    <a:lnTo>
                      <a:pt x="661" y="462"/>
                    </a:lnTo>
                    <a:lnTo>
                      <a:pt x="655" y="461"/>
                    </a:lnTo>
                    <a:lnTo>
                      <a:pt x="647" y="459"/>
                    </a:lnTo>
                    <a:lnTo>
                      <a:pt x="639" y="459"/>
                    </a:lnTo>
                    <a:lnTo>
                      <a:pt x="634" y="459"/>
                    </a:lnTo>
                    <a:lnTo>
                      <a:pt x="632" y="459"/>
                    </a:lnTo>
                    <a:lnTo>
                      <a:pt x="631" y="459"/>
                    </a:lnTo>
                    <a:lnTo>
                      <a:pt x="629" y="459"/>
                    </a:lnTo>
                    <a:lnTo>
                      <a:pt x="626" y="461"/>
                    </a:lnTo>
                    <a:lnTo>
                      <a:pt x="624" y="461"/>
                    </a:lnTo>
                    <a:lnTo>
                      <a:pt x="623" y="461"/>
                    </a:lnTo>
                    <a:lnTo>
                      <a:pt x="621" y="462"/>
                    </a:lnTo>
                    <a:lnTo>
                      <a:pt x="620" y="464"/>
                    </a:lnTo>
                    <a:lnTo>
                      <a:pt x="618" y="465"/>
                    </a:lnTo>
                    <a:lnTo>
                      <a:pt x="613" y="470"/>
                    </a:lnTo>
                    <a:lnTo>
                      <a:pt x="607" y="477"/>
                    </a:lnTo>
                    <a:lnTo>
                      <a:pt x="599" y="481"/>
                    </a:lnTo>
                    <a:lnTo>
                      <a:pt x="590" y="484"/>
                    </a:lnTo>
                    <a:lnTo>
                      <a:pt x="582" y="488"/>
                    </a:lnTo>
                    <a:lnTo>
                      <a:pt x="574" y="491"/>
                    </a:lnTo>
                    <a:lnTo>
                      <a:pt x="566" y="497"/>
                    </a:lnTo>
                    <a:lnTo>
                      <a:pt x="561" y="502"/>
                    </a:lnTo>
                    <a:lnTo>
                      <a:pt x="555" y="502"/>
                    </a:lnTo>
                    <a:lnTo>
                      <a:pt x="550" y="503"/>
                    </a:lnTo>
                    <a:lnTo>
                      <a:pt x="548" y="503"/>
                    </a:lnTo>
                    <a:lnTo>
                      <a:pt x="544" y="508"/>
                    </a:lnTo>
                    <a:lnTo>
                      <a:pt x="536" y="511"/>
                    </a:lnTo>
                    <a:lnTo>
                      <a:pt x="528" y="513"/>
                    </a:lnTo>
                    <a:lnTo>
                      <a:pt x="520" y="515"/>
                    </a:lnTo>
                    <a:lnTo>
                      <a:pt x="510" y="516"/>
                    </a:lnTo>
                    <a:lnTo>
                      <a:pt x="506" y="516"/>
                    </a:lnTo>
                  </a:path>
                </a:pathLst>
              </a:custGeom>
              <a:noFill/>
              <a:ln w="476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41" name="Freeform 39"/>
              <p:cNvSpPr>
                <a:spLocks/>
              </p:cNvSpPr>
              <p:nvPr/>
            </p:nvSpPr>
            <p:spPr bwMode="auto">
              <a:xfrm>
                <a:off x="3684" y="1757"/>
                <a:ext cx="573" cy="521"/>
              </a:xfrm>
              <a:custGeom>
                <a:avLst/>
                <a:gdLst>
                  <a:gd name="T0" fmla="*/ 30 w 573"/>
                  <a:gd name="T1" fmla="*/ 504 h 521"/>
                  <a:gd name="T2" fmla="*/ 49 w 573"/>
                  <a:gd name="T3" fmla="*/ 497 h 521"/>
                  <a:gd name="T4" fmla="*/ 59 w 573"/>
                  <a:gd name="T5" fmla="*/ 480 h 521"/>
                  <a:gd name="T6" fmla="*/ 17 w 573"/>
                  <a:gd name="T7" fmla="*/ 480 h 521"/>
                  <a:gd name="T8" fmla="*/ 2 w 573"/>
                  <a:gd name="T9" fmla="*/ 480 h 521"/>
                  <a:gd name="T10" fmla="*/ 8 w 573"/>
                  <a:gd name="T11" fmla="*/ 445 h 521"/>
                  <a:gd name="T12" fmla="*/ 22 w 573"/>
                  <a:gd name="T13" fmla="*/ 415 h 521"/>
                  <a:gd name="T14" fmla="*/ 55 w 573"/>
                  <a:gd name="T15" fmla="*/ 372 h 521"/>
                  <a:gd name="T16" fmla="*/ 95 w 573"/>
                  <a:gd name="T17" fmla="*/ 336 h 521"/>
                  <a:gd name="T18" fmla="*/ 86 w 573"/>
                  <a:gd name="T19" fmla="*/ 328 h 521"/>
                  <a:gd name="T20" fmla="*/ 76 w 573"/>
                  <a:gd name="T21" fmla="*/ 299 h 521"/>
                  <a:gd name="T22" fmla="*/ 90 w 573"/>
                  <a:gd name="T23" fmla="*/ 234 h 521"/>
                  <a:gd name="T24" fmla="*/ 101 w 573"/>
                  <a:gd name="T25" fmla="*/ 188 h 521"/>
                  <a:gd name="T26" fmla="*/ 114 w 573"/>
                  <a:gd name="T27" fmla="*/ 150 h 521"/>
                  <a:gd name="T28" fmla="*/ 112 w 573"/>
                  <a:gd name="T29" fmla="*/ 120 h 521"/>
                  <a:gd name="T30" fmla="*/ 139 w 573"/>
                  <a:gd name="T31" fmla="*/ 92 h 521"/>
                  <a:gd name="T32" fmla="*/ 158 w 573"/>
                  <a:gd name="T33" fmla="*/ 58 h 521"/>
                  <a:gd name="T34" fmla="*/ 192 w 573"/>
                  <a:gd name="T35" fmla="*/ 38 h 521"/>
                  <a:gd name="T36" fmla="*/ 276 w 573"/>
                  <a:gd name="T37" fmla="*/ 36 h 521"/>
                  <a:gd name="T38" fmla="*/ 307 w 573"/>
                  <a:gd name="T39" fmla="*/ 36 h 521"/>
                  <a:gd name="T40" fmla="*/ 322 w 573"/>
                  <a:gd name="T41" fmla="*/ 30 h 521"/>
                  <a:gd name="T42" fmla="*/ 328 w 573"/>
                  <a:gd name="T43" fmla="*/ 36 h 521"/>
                  <a:gd name="T44" fmla="*/ 337 w 573"/>
                  <a:gd name="T45" fmla="*/ 39 h 521"/>
                  <a:gd name="T46" fmla="*/ 345 w 573"/>
                  <a:gd name="T47" fmla="*/ 43 h 521"/>
                  <a:gd name="T48" fmla="*/ 358 w 573"/>
                  <a:gd name="T49" fmla="*/ 46 h 521"/>
                  <a:gd name="T50" fmla="*/ 364 w 573"/>
                  <a:gd name="T51" fmla="*/ 51 h 521"/>
                  <a:gd name="T52" fmla="*/ 372 w 573"/>
                  <a:gd name="T53" fmla="*/ 52 h 521"/>
                  <a:gd name="T54" fmla="*/ 377 w 573"/>
                  <a:gd name="T55" fmla="*/ 49 h 521"/>
                  <a:gd name="T56" fmla="*/ 388 w 573"/>
                  <a:gd name="T57" fmla="*/ 49 h 521"/>
                  <a:gd name="T58" fmla="*/ 398 w 573"/>
                  <a:gd name="T59" fmla="*/ 49 h 521"/>
                  <a:gd name="T60" fmla="*/ 402 w 573"/>
                  <a:gd name="T61" fmla="*/ 46 h 521"/>
                  <a:gd name="T62" fmla="*/ 406 w 573"/>
                  <a:gd name="T63" fmla="*/ 39 h 521"/>
                  <a:gd name="T64" fmla="*/ 413 w 573"/>
                  <a:gd name="T65" fmla="*/ 38 h 521"/>
                  <a:gd name="T66" fmla="*/ 421 w 573"/>
                  <a:gd name="T67" fmla="*/ 35 h 521"/>
                  <a:gd name="T68" fmla="*/ 425 w 573"/>
                  <a:gd name="T69" fmla="*/ 36 h 521"/>
                  <a:gd name="T70" fmla="*/ 434 w 573"/>
                  <a:gd name="T71" fmla="*/ 35 h 521"/>
                  <a:gd name="T72" fmla="*/ 439 w 573"/>
                  <a:gd name="T73" fmla="*/ 38 h 521"/>
                  <a:gd name="T74" fmla="*/ 450 w 573"/>
                  <a:gd name="T75" fmla="*/ 36 h 521"/>
                  <a:gd name="T76" fmla="*/ 459 w 573"/>
                  <a:gd name="T77" fmla="*/ 36 h 521"/>
                  <a:gd name="T78" fmla="*/ 466 w 573"/>
                  <a:gd name="T79" fmla="*/ 32 h 521"/>
                  <a:gd name="T80" fmla="*/ 474 w 573"/>
                  <a:gd name="T81" fmla="*/ 30 h 521"/>
                  <a:gd name="T82" fmla="*/ 482 w 573"/>
                  <a:gd name="T83" fmla="*/ 28 h 521"/>
                  <a:gd name="T84" fmla="*/ 488 w 573"/>
                  <a:gd name="T85" fmla="*/ 28 h 521"/>
                  <a:gd name="T86" fmla="*/ 494 w 573"/>
                  <a:gd name="T87" fmla="*/ 30 h 521"/>
                  <a:gd name="T88" fmla="*/ 505 w 573"/>
                  <a:gd name="T89" fmla="*/ 33 h 521"/>
                  <a:gd name="T90" fmla="*/ 515 w 573"/>
                  <a:gd name="T91" fmla="*/ 27 h 521"/>
                  <a:gd name="T92" fmla="*/ 521 w 573"/>
                  <a:gd name="T93" fmla="*/ 22 h 521"/>
                  <a:gd name="T94" fmla="*/ 526 w 573"/>
                  <a:gd name="T95" fmla="*/ 19 h 521"/>
                  <a:gd name="T96" fmla="*/ 534 w 573"/>
                  <a:gd name="T97" fmla="*/ 14 h 521"/>
                  <a:gd name="T98" fmla="*/ 542 w 573"/>
                  <a:gd name="T99" fmla="*/ 11 h 521"/>
                  <a:gd name="T100" fmla="*/ 551 w 573"/>
                  <a:gd name="T101" fmla="*/ 8 h 521"/>
                  <a:gd name="T102" fmla="*/ 559 w 573"/>
                  <a:gd name="T103" fmla="*/ 6 h 521"/>
                  <a:gd name="T104" fmla="*/ 564 w 573"/>
                  <a:gd name="T105" fmla="*/ 0 h 521"/>
                  <a:gd name="T106" fmla="*/ 570 w 573"/>
                  <a:gd name="T107" fmla="*/ 1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73" h="521">
                    <a:moveTo>
                      <a:pt x="40" y="521"/>
                    </a:moveTo>
                    <a:lnTo>
                      <a:pt x="36" y="520"/>
                    </a:lnTo>
                    <a:lnTo>
                      <a:pt x="35" y="515"/>
                    </a:lnTo>
                    <a:lnTo>
                      <a:pt x="32" y="510"/>
                    </a:lnTo>
                    <a:lnTo>
                      <a:pt x="30" y="504"/>
                    </a:lnTo>
                    <a:lnTo>
                      <a:pt x="29" y="497"/>
                    </a:lnTo>
                    <a:lnTo>
                      <a:pt x="32" y="496"/>
                    </a:lnTo>
                    <a:lnTo>
                      <a:pt x="41" y="496"/>
                    </a:lnTo>
                    <a:lnTo>
                      <a:pt x="44" y="497"/>
                    </a:lnTo>
                    <a:lnTo>
                      <a:pt x="49" y="497"/>
                    </a:lnTo>
                    <a:lnTo>
                      <a:pt x="59" y="497"/>
                    </a:lnTo>
                    <a:lnTo>
                      <a:pt x="65" y="494"/>
                    </a:lnTo>
                    <a:lnTo>
                      <a:pt x="70" y="493"/>
                    </a:lnTo>
                    <a:lnTo>
                      <a:pt x="67" y="488"/>
                    </a:lnTo>
                    <a:lnTo>
                      <a:pt x="59" y="480"/>
                    </a:lnTo>
                    <a:lnTo>
                      <a:pt x="51" y="475"/>
                    </a:lnTo>
                    <a:lnTo>
                      <a:pt x="44" y="475"/>
                    </a:lnTo>
                    <a:lnTo>
                      <a:pt x="36" y="478"/>
                    </a:lnTo>
                    <a:lnTo>
                      <a:pt x="27" y="480"/>
                    </a:lnTo>
                    <a:lnTo>
                      <a:pt x="17" y="480"/>
                    </a:lnTo>
                    <a:lnTo>
                      <a:pt x="10" y="482"/>
                    </a:lnTo>
                    <a:lnTo>
                      <a:pt x="5" y="480"/>
                    </a:lnTo>
                    <a:lnTo>
                      <a:pt x="3" y="480"/>
                    </a:lnTo>
                    <a:lnTo>
                      <a:pt x="2" y="482"/>
                    </a:lnTo>
                    <a:lnTo>
                      <a:pt x="2" y="480"/>
                    </a:lnTo>
                    <a:lnTo>
                      <a:pt x="0" y="480"/>
                    </a:lnTo>
                    <a:lnTo>
                      <a:pt x="2" y="480"/>
                    </a:lnTo>
                    <a:lnTo>
                      <a:pt x="2" y="466"/>
                    </a:lnTo>
                    <a:lnTo>
                      <a:pt x="3" y="455"/>
                    </a:lnTo>
                    <a:lnTo>
                      <a:pt x="8" y="445"/>
                    </a:lnTo>
                    <a:lnTo>
                      <a:pt x="10" y="439"/>
                    </a:lnTo>
                    <a:lnTo>
                      <a:pt x="13" y="434"/>
                    </a:lnTo>
                    <a:lnTo>
                      <a:pt x="13" y="429"/>
                    </a:lnTo>
                    <a:lnTo>
                      <a:pt x="17" y="420"/>
                    </a:lnTo>
                    <a:lnTo>
                      <a:pt x="22" y="415"/>
                    </a:lnTo>
                    <a:lnTo>
                      <a:pt x="25" y="409"/>
                    </a:lnTo>
                    <a:lnTo>
                      <a:pt x="33" y="399"/>
                    </a:lnTo>
                    <a:lnTo>
                      <a:pt x="40" y="388"/>
                    </a:lnTo>
                    <a:lnTo>
                      <a:pt x="46" y="380"/>
                    </a:lnTo>
                    <a:lnTo>
                      <a:pt x="55" y="372"/>
                    </a:lnTo>
                    <a:lnTo>
                      <a:pt x="65" y="363"/>
                    </a:lnTo>
                    <a:lnTo>
                      <a:pt x="74" y="353"/>
                    </a:lnTo>
                    <a:lnTo>
                      <a:pt x="84" y="344"/>
                    </a:lnTo>
                    <a:lnTo>
                      <a:pt x="90" y="339"/>
                    </a:lnTo>
                    <a:lnTo>
                      <a:pt x="95" y="336"/>
                    </a:lnTo>
                    <a:lnTo>
                      <a:pt x="97" y="334"/>
                    </a:lnTo>
                    <a:lnTo>
                      <a:pt x="95" y="331"/>
                    </a:lnTo>
                    <a:lnTo>
                      <a:pt x="93" y="329"/>
                    </a:lnTo>
                    <a:lnTo>
                      <a:pt x="90" y="328"/>
                    </a:lnTo>
                    <a:lnTo>
                      <a:pt x="86" y="328"/>
                    </a:lnTo>
                    <a:lnTo>
                      <a:pt x="81" y="326"/>
                    </a:lnTo>
                    <a:lnTo>
                      <a:pt x="78" y="322"/>
                    </a:lnTo>
                    <a:lnTo>
                      <a:pt x="74" y="318"/>
                    </a:lnTo>
                    <a:lnTo>
                      <a:pt x="73" y="309"/>
                    </a:lnTo>
                    <a:lnTo>
                      <a:pt x="76" y="299"/>
                    </a:lnTo>
                    <a:lnTo>
                      <a:pt x="78" y="291"/>
                    </a:lnTo>
                    <a:lnTo>
                      <a:pt x="84" y="272"/>
                    </a:lnTo>
                    <a:lnTo>
                      <a:pt x="84" y="261"/>
                    </a:lnTo>
                    <a:lnTo>
                      <a:pt x="87" y="249"/>
                    </a:lnTo>
                    <a:lnTo>
                      <a:pt x="90" y="234"/>
                    </a:lnTo>
                    <a:lnTo>
                      <a:pt x="92" y="225"/>
                    </a:lnTo>
                    <a:lnTo>
                      <a:pt x="95" y="219"/>
                    </a:lnTo>
                    <a:lnTo>
                      <a:pt x="100" y="201"/>
                    </a:lnTo>
                    <a:lnTo>
                      <a:pt x="100" y="195"/>
                    </a:lnTo>
                    <a:lnTo>
                      <a:pt x="101" y="188"/>
                    </a:lnTo>
                    <a:lnTo>
                      <a:pt x="105" y="179"/>
                    </a:lnTo>
                    <a:lnTo>
                      <a:pt x="108" y="173"/>
                    </a:lnTo>
                    <a:lnTo>
                      <a:pt x="109" y="168"/>
                    </a:lnTo>
                    <a:lnTo>
                      <a:pt x="111" y="161"/>
                    </a:lnTo>
                    <a:lnTo>
                      <a:pt x="114" y="150"/>
                    </a:lnTo>
                    <a:lnTo>
                      <a:pt x="116" y="144"/>
                    </a:lnTo>
                    <a:lnTo>
                      <a:pt x="114" y="135"/>
                    </a:lnTo>
                    <a:lnTo>
                      <a:pt x="114" y="131"/>
                    </a:lnTo>
                    <a:lnTo>
                      <a:pt x="114" y="127"/>
                    </a:lnTo>
                    <a:lnTo>
                      <a:pt x="112" y="120"/>
                    </a:lnTo>
                    <a:lnTo>
                      <a:pt x="117" y="116"/>
                    </a:lnTo>
                    <a:lnTo>
                      <a:pt x="124" y="108"/>
                    </a:lnTo>
                    <a:lnTo>
                      <a:pt x="130" y="101"/>
                    </a:lnTo>
                    <a:lnTo>
                      <a:pt x="135" y="97"/>
                    </a:lnTo>
                    <a:lnTo>
                      <a:pt x="139" y="92"/>
                    </a:lnTo>
                    <a:lnTo>
                      <a:pt x="146" y="85"/>
                    </a:lnTo>
                    <a:lnTo>
                      <a:pt x="151" y="79"/>
                    </a:lnTo>
                    <a:lnTo>
                      <a:pt x="155" y="74"/>
                    </a:lnTo>
                    <a:lnTo>
                      <a:pt x="158" y="66"/>
                    </a:lnTo>
                    <a:lnTo>
                      <a:pt x="158" y="58"/>
                    </a:lnTo>
                    <a:lnTo>
                      <a:pt x="162" y="49"/>
                    </a:lnTo>
                    <a:lnTo>
                      <a:pt x="170" y="39"/>
                    </a:lnTo>
                    <a:lnTo>
                      <a:pt x="173" y="38"/>
                    </a:lnTo>
                    <a:lnTo>
                      <a:pt x="179" y="38"/>
                    </a:lnTo>
                    <a:lnTo>
                      <a:pt x="192" y="38"/>
                    </a:lnTo>
                    <a:lnTo>
                      <a:pt x="204" y="36"/>
                    </a:lnTo>
                    <a:lnTo>
                      <a:pt x="211" y="39"/>
                    </a:lnTo>
                    <a:lnTo>
                      <a:pt x="231" y="36"/>
                    </a:lnTo>
                    <a:lnTo>
                      <a:pt x="260" y="38"/>
                    </a:lnTo>
                    <a:lnTo>
                      <a:pt x="276" y="36"/>
                    </a:lnTo>
                    <a:lnTo>
                      <a:pt x="290" y="38"/>
                    </a:lnTo>
                    <a:lnTo>
                      <a:pt x="295" y="36"/>
                    </a:lnTo>
                    <a:lnTo>
                      <a:pt x="299" y="36"/>
                    </a:lnTo>
                    <a:lnTo>
                      <a:pt x="306" y="36"/>
                    </a:lnTo>
                    <a:lnTo>
                      <a:pt x="307" y="36"/>
                    </a:lnTo>
                    <a:lnTo>
                      <a:pt x="312" y="32"/>
                    </a:lnTo>
                    <a:lnTo>
                      <a:pt x="314" y="30"/>
                    </a:lnTo>
                    <a:lnTo>
                      <a:pt x="315" y="30"/>
                    </a:lnTo>
                    <a:lnTo>
                      <a:pt x="320" y="30"/>
                    </a:lnTo>
                    <a:lnTo>
                      <a:pt x="322" y="30"/>
                    </a:lnTo>
                    <a:lnTo>
                      <a:pt x="322" y="33"/>
                    </a:lnTo>
                    <a:lnTo>
                      <a:pt x="323" y="35"/>
                    </a:lnTo>
                    <a:lnTo>
                      <a:pt x="325" y="36"/>
                    </a:lnTo>
                    <a:lnTo>
                      <a:pt x="326" y="36"/>
                    </a:lnTo>
                    <a:lnTo>
                      <a:pt x="328" y="36"/>
                    </a:lnTo>
                    <a:lnTo>
                      <a:pt x="328" y="38"/>
                    </a:lnTo>
                    <a:lnTo>
                      <a:pt x="330" y="38"/>
                    </a:lnTo>
                    <a:lnTo>
                      <a:pt x="333" y="38"/>
                    </a:lnTo>
                    <a:lnTo>
                      <a:pt x="334" y="38"/>
                    </a:lnTo>
                    <a:lnTo>
                      <a:pt x="337" y="39"/>
                    </a:lnTo>
                    <a:lnTo>
                      <a:pt x="341" y="41"/>
                    </a:lnTo>
                    <a:lnTo>
                      <a:pt x="342" y="41"/>
                    </a:lnTo>
                    <a:lnTo>
                      <a:pt x="344" y="41"/>
                    </a:lnTo>
                    <a:lnTo>
                      <a:pt x="345" y="41"/>
                    </a:lnTo>
                    <a:lnTo>
                      <a:pt x="345" y="43"/>
                    </a:lnTo>
                    <a:lnTo>
                      <a:pt x="347" y="43"/>
                    </a:lnTo>
                    <a:lnTo>
                      <a:pt x="350" y="43"/>
                    </a:lnTo>
                    <a:lnTo>
                      <a:pt x="352" y="44"/>
                    </a:lnTo>
                    <a:lnTo>
                      <a:pt x="355" y="44"/>
                    </a:lnTo>
                    <a:lnTo>
                      <a:pt x="358" y="46"/>
                    </a:lnTo>
                    <a:lnTo>
                      <a:pt x="363" y="44"/>
                    </a:lnTo>
                    <a:lnTo>
                      <a:pt x="364" y="46"/>
                    </a:lnTo>
                    <a:lnTo>
                      <a:pt x="364" y="47"/>
                    </a:lnTo>
                    <a:lnTo>
                      <a:pt x="364" y="49"/>
                    </a:lnTo>
                    <a:lnTo>
                      <a:pt x="364" y="51"/>
                    </a:lnTo>
                    <a:lnTo>
                      <a:pt x="366" y="52"/>
                    </a:lnTo>
                    <a:lnTo>
                      <a:pt x="368" y="52"/>
                    </a:lnTo>
                    <a:lnTo>
                      <a:pt x="369" y="52"/>
                    </a:lnTo>
                    <a:lnTo>
                      <a:pt x="371" y="52"/>
                    </a:lnTo>
                    <a:lnTo>
                      <a:pt x="372" y="52"/>
                    </a:lnTo>
                    <a:lnTo>
                      <a:pt x="372" y="51"/>
                    </a:lnTo>
                    <a:lnTo>
                      <a:pt x="372" y="49"/>
                    </a:lnTo>
                    <a:lnTo>
                      <a:pt x="374" y="49"/>
                    </a:lnTo>
                    <a:lnTo>
                      <a:pt x="375" y="49"/>
                    </a:lnTo>
                    <a:lnTo>
                      <a:pt x="377" y="49"/>
                    </a:lnTo>
                    <a:lnTo>
                      <a:pt x="379" y="49"/>
                    </a:lnTo>
                    <a:lnTo>
                      <a:pt x="380" y="49"/>
                    </a:lnTo>
                    <a:lnTo>
                      <a:pt x="383" y="49"/>
                    </a:lnTo>
                    <a:lnTo>
                      <a:pt x="387" y="49"/>
                    </a:lnTo>
                    <a:lnTo>
                      <a:pt x="388" y="49"/>
                    </a:lnTo>
                    <a:lnTo>
                      <a:pt x="391" y="49"/>
                    </a:lnTo>
                    <a:lnTo>
                      <a:pt x="393" y="49"/>
                    </a:lnTo>
                    <a:lnTo>
                      <a:pt x="394" y="49"/>
                    </a:lnTo>
                    <a:lnTo>
                      <a:pt x="396" y="49"/>
                    </a:lnTo>
                    <a:lnTo>
                      <a:pt x="398" y="49"/>
                    </a:lnTo>
                    <a:lnTo>
                      <a:pt x="399" y="49"/>
                    </a:lnTo>
                    <a:lnTo>
                      <a:pt x="402" y="49"/>
                    </a:lnTo>
                    <a:lnTo>
                      <a:pt x="402" y="47"/>
                    </a:lnTo>
                    <a:lnTo>
                      <a:pt x="404" y="46"/>
                    </a:lnTo>
                    <a:lnTo>
                      <a:pt x="402" y="46"/>
                    </a:lnTo>
                    <a:lnTo>
                      <a:pt x="402" y="44"/>
                    </a:lnTo>
                    <a:lnTo>
                      <a:pt x="404" y="43"/>
                    </a:lnTo>
                    <a:lnTo>
                      <a:pt x="404" y="41"/>
                    </a:lnTo>
                    <a:lnTo>
                      <a:pt x="406" y="41"/>
                    </a:lnTo>
                    <a:lnTo>
                      <a:pt x="406" y="39"/>
                    </a:lnTo>
                    <a:lnTo>
                      <a:pt x="407" y="39"/>
                    </a:lnTo>
                    <a:lnTo>
                      <a:pt x="409" y="39"/>
                    </a:lnTo>
                    <a:lnTo>
                      <a:pt x="410" y="39"/>
                    </a:lnTo>
                    <a:lnTo>
                      <a:pt x="412" y="39"/>
                    </a:lnTo>
                    <a:lnTo>
                      <a:pt x="413" y="38"/>
                    </a:lnTo>
                    <a:lnTo>
                      <a:pt x="413" y="36"/>
                    </a:lnTo>
                    <a:lnTo>
                      <a:pt x="418" y="36"/>
                    </a:lnTo>
                    <a:lnTo>
                      <a:pt x="418" y="35"/>
                    </a:lnTo>
                    <a:lnTo>
                      <a:pt x="420" y="35"/>
                    </a:lnTo>
                    <a:lnTo>
                      <a:pt x="421" y="35"/>
                    </a:lnTo>
                    <a:lnTo>
                      <a:pt x="421" y="33"/>
                    </a:lnTo>
                    <a:lnTo>
                      <a:pt x="423" y="33"/>
                    </a:lnTo>
                    <a:lnTo>
                      <a:pt x="425" y="33"/>
                    </a:lnTo>
                    <a:lnTo>
                      <a:pt x="425" y="35"/>
                    </a:lnTo>
                    <a:lnTo>
                      <a:pt x="425" y="36"/>
                    </a:lnTo>
                    <a:lnTo>
                      <a:pt x="426" y="35"/>
                    </a:lnTo>
                    <a:lnTo>
                      <a:pt x="429" y="35"/>
                    </a:lnTo>
                    <a:lnTo>
                      <a:pt x="431" y="35"/>
                    </a:lnTo>
                    <a:lnTo>
                      <a:pt x="432" y="35"/>
                    </a:lnTo>
                    <a:lnTo>
                      <a:pt x="434" y="35"/>
                    </a:lnTo>
                    <a:lnTo>
                      <a:pt x="436" y="35"/>
                    </a:lnTo>
                    <a:lnTo>
                      <a:pt x="437" y="35"/>
                    </a:lnTo>
                    <a:lnTo>
                      <a:pt x="439" y="35"/>
                    </a:lnTo>
                    <a:lnTo>
                      <a:pt x="439" y="36"/>
                    </a:lnTo>
                    <a:lnTo>
                      <a:pt x="439" y="38"/>
                    </a:lnTo>
                    <a:lnTo>
                      <a:pt x="440" y="38"/>
                    </a:lnTo>
                    <a:lnTo>
                      <a:pt x="442" y="38"/>
                    </a:lnTo>
                    <a:lnTo>
                      <a:pt x="447" y="38"/>
                    </a:lnTo>
                    <a:lnTo>
                      <a:pt x="448" y="36"/>
                    </a:lnTo>
                    <a:lnTo>
                      <a:pt x="450" y="36"/>
                    </a:lnTo>
                    <a:lnTo>
                      <a:pt x="451" y="36"/>
                    </a:lnTo>
                    <a:lnTo>
                      <a:pt x="453" y="36"/>
                    </a:lnTo>
                    <a:lnTo>
                      <a:pt x="455" y="36"/>
                    </a:lnTo>
                    <a:lnTo>
                      <a:pt x="456" y="36"/>
                    </a:lnTo>
                    <a:lnTo>
                      <a:pt x="459" y="36"/>
                    </a:lnTo>
                    <a:lnTo>
                      <a:pt x="461" y="36"/>
                    </a:lnTo>
                    <a:lnTo>
                      <a:pt x="463" y="35"/>
                    </a:lnTo>
                    <a:lnTo>
                      <a:pt x="464" y="33"/>
                    </a:lnTo>
                    <a:lnTo>
                      <a:pt x="464" y="32"/>
                    </a:lnTo>
                    <a:lnTo>
                      <a:pt x="466" y="32"/>
                    </a:lnTo>
                    <a:lnTo>
                      <a:pt x="467" y="32"/>
                    </a:lnTo>
                    <a:lnTo>
                      <a:pt x="469" y="32"/>
                    </a:lnTo>
                    <a:lnTo>
                      <a:pt x="469" y="30"/>
                    </a:lnTo>
                    <a:lnTo>
                      <a:pt x="470" y="30"/>
                    </a:lnTo>
                    <a:lnTo>
                      <a:pt x="474" y="30"/>
                    </a:lnTo>
                    <a:lnTo>
                      <a:pt x="475" y="30"/>
                    </a:lnTo>
                    <a:lnTo>
                      <a:pt x="477" y="30"/>
                    </a:lnTo>
                    <a:lnTo>
                      <a:pt x="478" y="30"/>
                    </a:lnTo>
                    <a:lnTo>
                      <a:pt x="480" y="28"/>
                    </a:lnTo>
                    <a:lnTo>
                      <a:pt x="482" y="28"/>
                    </a:lnTo>
                    <a:lnTo>
                      <a:pt x="483" y="27"/>
                    </a:lnTo>
                    <a:lnTo>
                      <a:pt x="485" y="27"/>
                    </a:lnTo>
                    <a:lnTo>
                      <a:pt x="485" y="28"/>
                    </a:lnTo>
                    <a:lnTo>
                      <a:pt x="486" y="28"/>
                    </a:lnTo>
                    <a:lnTo>
                      <a:pt x="488" y="28"/>
                    </a:lnTo>
                    <a:lnTo>
                      <a:pt x="489" y="28"/>
                    </a:lnTo>
                    <a:lnTo>
                      <a:pt x="491" y="28"/>
                    </a:lnTo>
                    <a:lnTo>
                      <a:pt x="493" y="28"/>
                    </a:lnTo>
                    <a:lnTo>
                      <a:pt x="493" y="30"/>
                    </a:lnTo>
                    <a:lnTo>
                      <a:pt x="494" y="30"/>
                    </a:lnTo>
                    <a:lnTo>
                      <a:pt x="497" y="30"/>
                    </a:lnTo>
                    <a:lnTo>
                      <a:pt x="497" y="32"/>
                    </a:lnTo>
                    <a:lnTo>
                      <a:pt x="499" y="32"/>
                    </a:lnTo>
                    <a:lnTo>
                      <a:pt x="502" y="32"/>
                    </a:lnTo>
                    <a:lnTo>
                      <a:pt x="505" y="33"/>
                    </a:lnTo>
                    <a:lnTo>
                      <a:pt x="507" y="32"/>
                    </a:lnTo>
                    <a:lnTo>
                      <a:pt x="508" y="30"/>
                    </a:lnTo>
                    <a:lnTo>
                      <a:pt x="510" y="30"/>
                    </a:lnTo>
                    <a:lnTo>
                      <a:pt x="512" y="28"/>
                    </a:lnTo>
                    <a:lnTo>
                      <a:pt x="515" y="27"/>
                    </a:lnTo>
                    <a:lnTo>
                      <a:pt x="515" y="25"/>
                    </a:lnTo>
                    <a:lnTo>
                      <a:pt x="516" y="25"/>
                    </a:lnTo>
                    <a:lnTo>
                      <a:pt x="518" y="24"/>
                    </a:lnTo>
                    <a:lnTo>
                      <a:pt x="520" y="22"/>
                    </a:lnTo>
                    <a:lnTo>
                      <a:pt x="521" y="22"/>
                    </a:lnTo>
                    <a:lnTo>
                      <a:pt x="521" y="20"/>
                    </a:lnTo>
                    <a:lnTo>
                      <a:pt x="523" y="20"/>
                    </a:lnTo>
                    <a:lnTo>
                      <a:pt x="524" y="20"/>
                    </a:lnTo>
                    <a:lnTo>
                      <a:pt x="524" y="19"/>
                    </a:lnTo>
                    <a:lnTo>
                      <a:pt x="526" y="19"/>
                    </a:lnTo>
                    <a:lnTo>
                      <a:pt x="528" y="17"/>
                    </a:lnTo>
                    <a:lnTo>
                      <a:pt x="529" y="16"/>
                    </a:lnTo>
                    <a:lnTo>
                      <a:pt x="531" y="16"/>
                    </a:lnTo>
                    <a:lnTo>
                      <a:pt x="532" y="16"/>
                    </a:lnTo>
                    <a:lnTo>
                      <a:pt x="534" y="14"/>
                    </a:lnTo>
                    <a:lnTo>
                      <a:pt x="535" y="14"/>
                    </a:lnTo>
                    <a:lnTo>
                      <a:pt x="537" y="14"/>
                    </a:lnTo>
                    <a:lnTo>
                      <a:pt x="537" y="13"/>
                    </a:lnTo>
                    <a:lnTo>
                      <a:pt x="539" y="13"/>
                    </a:lnTo>
                    <a:lnTo>
                      <a:pt x="542" y="11"/>
                    </a:lnTo>
                    <a:lnTo>
                      <a:pt x="543" y="11"/>
                    </a:lnTo>
                    <a:lnTo>
                      <a:pt x="547" y="11"/>
                    </a:lnTo>
                    <a:lnTo>
                      <a:pt x="548" y="9"/>
                    </a:lnTo>
                    <a:lnTo>
                      <a:pt x="550" y="9"/>
                    </a:lnTo>
                    <a:lnTo>
                      <a:pt x="551" y="8"/>
                    </a:lnTo>
                    <a:lnTo>
                      <a:pt x="553" y="8"/>
                    </a:lnTo>
                    <a:lnTo>
                      <a:pt x="554" y="8"/>
                    </a:lnTo>
                    <a:lnTo>
                      <a:pt x="556" y="8"/>
                    </a:lnTo>
                    <a:lnTo>
                      <a:pt x="558" y="8"/>
                    </a:lnTo>
                    <a:lnTo>
                      <a:pt x="559" y="6"/>
                    </a:lnTo>
                    <a:lnTo>
                      <a:pt x="559" y="5"/>
                    </a:lnTo>
                    <a:lnTo>
                      <a:pt x="559" y="3"/>
                    </a:lnTo>
                    <a:lnTo>
                      <a:pt x="561" y="3"/>
                    </a:lnTo>
                    <a:lnTo>
                      <a:pt x="562" y="1"/>
                    </a:lnTo>
                    <a:lnTo>
                      <a:pt x="564" y="0"/>
                    </a:lnTo>
                    <a:lnTo>
                      <a:pt x="566" y="0"/>
                    </a:lnTo>
                    <a:lnTo>
                      <a:pt x="567" y="0"/>
                    </a:lnTo>
                    <a:lnTo>
                      <a:pt x="569" y="0"/>
                    </a:lnTo>
                    <a:lnTo>
                      <a:pt x="569" y="1"/>
                    </a:lnTo>
                    <a:lnTo>
                      <a:pt x="570" y="1"/>
                    </a:lnTo>
                    <a:lnTo>
                      <a:pt x="572" y="1"/>
                    </a:lnTo>
                    <a:lnTo>
                      <a:pt x="572" y="3"/>
                    </a:lnTo>
                    <a:lnTo>
                      <a:pt x="573" y="5"/>
                    </a:lnTo>
                  </a:path>
                </a:pathLst>
              </a:custGeom>
              <a:noFill/>
              <a:ln w="476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42" name="Freeform 40"/>
              <p:cNvSpPr>
                <a:spLocks/>
              </p:cNvSpPr>
              <p:nvPr/>
            </p:nvSpPr>
            <p:spPr bwMode="auto">
              <a:xfrm>
                <a:off x="1786" y="2525"/>
                <a:ext cx="1443" cy="1174"/>
              </a:xfrm>
              <a:custGeom>
                <a:avLst/>
                <a:gdLst>
                  <a:gd name="T0" fmla="*/ 1310 w 1443"/>
                  <a:gd name="T1" fmla="*/ 108 h 1174"/>
                  <a:gd name="T2" fmla="*/ 1290 w 1443"/>
                  <a:gd name="T3" fmla="*/ 111 h 1174"/>
                  <a:gd name="T4" fmla="*/ 1244 w 1443"/>
                  <a:gd name="T5" fmla="*/ 205 h 1174"/>
                  <a:gd name="T6" fmla="*/ 1206 w 1443"/>
                  <a:gd name="T7" fmla="*/ 305 h 1174"/>
                  <a:gd name="T8" fmla="*/ 1131 w 1443"/>
                  <a:gd name="T9" fmla="*/ 414 h 1174"/>
                  <a:gd name="T10" fmla="*/ 1236 w 1443"/>
                  <a:gd name="T11" fmla="*/ 390 h 1174"/>
                  <a:gd name="T12" fmla="*/ 1320 w 1443"/>
                  <a:gd name="T13" fmla="*/ 422 h 1174"/>
                  <a:gd name="T14" fmla="*/ 1312 w 1443"/>
                  <a:gd name="T15" fmla="*/ 499 h 1174"/>
                  <a:gd name="T16" fmla="*/ 1415 w 1443"/>
                  <a:gd name="T17" fmla="*/ 539 h 1174"/>
                  <a:gd name="T18" fmla="*/ 1432 w 1443"/>
                  <a:gd name="T19" fmla="*/ 650 h 1174"/>
                  <a:gd name="T20" fmla="*/ 1342 w 1443"/>
                  <a:gd name="T21" fmla="*/ 604 h 1174"/>
                  <a:gd name="T22" fmla="*/ 1237 w 1443"/>
                  <a:gd name="T23" fmla="*/ 606 h 1174"/>
                  <a:gd name="T24" fmla="*/ 1195 w 1443"/>
                  <a:gd name="T25" fmla="*/ 717 h 1174"/>
                  <a:gd name="T26" fmla="*/ 1171 w 1443"/>
                  <a:gd name="T27" fmla="*/ 762 h 1174"/>
                  <a:gd name="T28" fmla="*/ 1150 w 1443"/>
                  <a:gd name="T29" fmla="*/ 672 h 1174"/>
                  <a:gd name="T30" fmla="*/ 1190 w 1443"/>
                  <a:gd name="T31" fmla="*/ 587 h 1174"/>
                  <a:gd name="T32" fmla="*/ 1093 w 1443"/>
                  <a:gd name="T33" fmla="*/ 555 h 1174"/>
                  <a:gd name="T34" fmla="*/ 1049 w 1443"/>
                  <a:gd name="T35" fmla="*/ 674 h 1174"/>
                  <a:gd name="T36" fmla="*/ 1108 w 1443"/>
                  <a:gd name="T37" fmla="*/ 745 h 1174"/>
                  <a:gd name="T38" fmla="*/ 1097 w 1443"/>
                  <a:gd name="T39" fmla="*/ 843 h 1174"/>
                  <a:gd name="T40" fmla="*/ 1013 w 1443"/>
                  <a:gd name="T41" fmla="*/ 921 h 1174"/>
                  <a:gd name="T42" fmla="*/ 837 w 1443"/>
                  <a:gd name="T43" fmla="*/ 954 h 1174"/>
                  <a:gd name="T44" fmla="*/ 775 w 1443"/>
                  <a:gd name="T45" fmla="*/ 1106 h 1174"/>
                  <a:gd name="T46" fmla="*/ 721 w 1443"/>
                  <a:gd name="T47" fmla="*/ 1174 h 1174"/>
                  <a:gd name="T48" fmla="*/ 518 w 1443"/>
                  <a:gd name="T49" fmla="*/ 1128 h 1174"/>
                  <a:gd name="T50" fmla="*/ 480 w 1443"/>
                  <a:gd name="T51" fmla="*/ 975 h 1174"/>
                  <a:gd name="T52" fmla="*/ 482 w 1443"/>
                  <a:gd name="T53" fmla="*/ 915 h 1174"/>
                  <a:gd name="T54" fmla="*/ 447 w 1443"/>
                  <a:gd name="T55" fmla="*/ 899 h 1174"/>
                  <a:gd name="T56" fmla="*/ 406 w 1443"/>
                  <a:gd name="T57" fmla="*/ 889 h 1174"/>
                  <a:gd name="T58" fmla="*/ 354 w 1443"/>
                  <a:gd name="T59" fmla="*/ 907 h 1174"/>
                  <a:gd name="T60" fmla="*/ 328 w 1443"/>
                  <a:gd name="T61" fmla="*/ 872 h 1174"/>
                  <a:gd name="T62" fmla="*/ 274 w 1443"/>
                  <a:gd name="T63" fmla="*/ 808 h 1174"/>
                  <a:gd name="T64" fmla="*/ 236 w 1443"/>
                  <a:gd name="T65" fmla="*/ 702 h 1174"/>
                  <a:gd name="T66" fmla="*/ 224 w 1443"/>
                  <a:gd name="T67" fmla="*/ 648 h 1174"/>
                  <a:gd name="T68" fmla="*/ 235 w 1443"/>
                  <a:gd name="T69" fmla="*/ 606 h 1174"/>
                  <a:gd name="T70" fmla="*/ 224 w 1443"/>
                  <a:gd name="T71" fmla="*/ 569 h 1174"/>
                  <a:gd name="T72" fmla="*/ 186 w 1443"/>
                  <a:gd name="T73" fmla="*/ 544 h 1174"/>
                  <a:gd name="T74" fmla="*/ 133 w 1443"/>
                  <a:gd name="T75" fmla="*/ 506 h 1174"/>
                  <a:gd name="T76" fmla="*/ 100 w 1443"/>
                  <a:gd name="T77" fmla="*/ 493 h 1174"/>
                  <a:gd name="T78" fmla="*/ 89 w 1443"/>
                  <a:gd name="T79" fmla="*/ 463 h 1174"/>
                  <a:gd name="T80" fmla="*/ 24 w 1443"/>
                  <a:gd name="T81" fmla="*/ 428 h 1174"/>
                  <a:gd name="T82" fmla="*/ 2 w 1443"/>
                  <a:gd name="T83" fmla="*/ 400 h 1174"/>
                  <a:gd name="T84" fmla="*/ 81 w 1443"/>
                  <a:gd name="T85" fmla="*/ 404 h 1174"/>
                  <a:gd name="T86" fmla="*/ 152 w 1443"/>
                  <a:gd name="T87" fmla="*/ 422 h 1174"/>
                  <a:gd name="T88" fmla="*/ 238 w 1443"/>
                  <a:gd name="T89" fmla="*/ 389 h 1174"/>
                  <a:gd name="T90" fmla="*/ 311 w 1443"/>
                  <a:gd name="T91" fmla="*/ 385 h 1174"/>
                  <a:gd name="T92" fmla="*/ 336 w 1443"/>
                  <a:gd name="T93" fmla="*/ 339 h 1174"/>
                  <a:gd name="T94" fmla="*/ 317 w 1443"/>
                  <a:gd name="T95" fmla="*/ 289 h 1174"/>
                  <a:gd name="T96" fmla="*/ 328 w 1443"/>
                  <a:gd name="T97" fmla="*/ 205 h 1174"/>
                  <a:gd name="T98" fmla="*/ 390 w 1443"/>
                  <a:gd name="T99" fmla="*/ 165 h 1174"/>
                  <a:gd name="T100" fmla="*/ 466 w 1443"/>
                  <a:gd name="T101" fmla="*/ 148 h 1174"/>
                  <a:gd name="T102" fmla="*/ 499 w 1443"/>
                  <a:gd name="T103" fmla="*/ 160 h 1174"/>
                  <a:gd name="T104" fmla="*/ 541 w 1443"/>
                  <a:gd name="T105" fmla="*/ 259 h 1174"/>
                  <a:gd name="T106" fmla="*/ 672 w 1443"/>
                  <a:gd name="T107" fmla="*/ 305 h 1174"/>
                  <a:gd name="T108" fmla="*/ 822 w 1443"/>
                  <a:gd name="T109" fmla="*/ 358 h 1174"/>
                  <a:gd name="T110" fmla="*/ 951 w 1443"/>
                  <a:gd name="T111" fmla="*/ 262 h 1174"/>
                  <a:gd name="T112" fmla="*/ 943 w 1443"/>
                  <a:gd name="T113" fmla="*/ 133 h 1174"/>
                  <a:gd name="T114" fmla="*/ 997 w 1443"/>
                  <a:gd name="T115" fmla="*/ 135 h 1174"/>
                  <a:gd name="T116" fmla="*/ 957 w 1443"/>
                  <a:gd name="T117" fmla="*/ 45 h 1174"/>
                  <a:gd name="T118" fmla="*/ 1049 w 1443"/>
                  <a:gd name="T119" fmla="*/ 35 h 1174"/>
                  <a:gd name="T120" fmla="*/ 1160 w 1443"/>
                  <a:gd name="T121" fmla="*/ 15 h 1174"/>
                  <a:gd name="T122" fmla="*/ 1242 w 1443"/>
                  <a:gd name="T123" fmla="*/ 37 h 1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43" h="1174">
                    <a:moveTo>
                      <a:pt x="1282" y="5"/>
                    </a:moveTo>
                    <a:lnTo>
                      <a:pt x="1283" y="8"/>
                    </a:lnTo>
                    <a:lnTo>
                      <a:pt x="1285" y="10"/>
                    </a:lnTo>
                    <a:lnTo>
                      <a:pt x="1290" y="8"/>
                    </a:lnTo>
                    <a:lnTo>
                      <a:pt x="1293" y="8"/>
                    </a:lnTo>
                    <a:lnTo>
                      <a:pt x="1299" y="15"/>
                    </a:lnTo>
                    <a:lnTo>
                      <a:pt x="1304" y="19"/>
                    </a:lnTo>
                    <a:lnTo>
                      <a:pt x="1306" y="24"/>
                    </a:lnTo>
                    <a:lnTo>
                      <a:pt x="1309" y="32"/>
                    </a:lnTo>
                    <a:lnTo>
                      <a:pt x="1307" y="38"/>
                    </a:lnTo>
                    <a:lnTo>
                      <a:pt x="1306" y="45"/>
                    </a:lnTo>
                    <a:lnTo>
                      <a:pt x="1304" y="51"/>
                    </a:lnTo>
                    <a:lnTo>
                      <a:pt x="1307" y="56"/>
                    </a:lnTo>
                    <a:lnTo>
                      <a:pt x="1312" y="59"/>
                    </a:lnTo>
                    <a:lnTo>
                      <a:pt x="1318" y="64"/>
                    </a:lnTo>
                    <a:lnTo>
                      <a:pt x="1321" y="67"/>
                    </a:lnTo>
                    <a:lnTo>
                      <a:pt x="1323" y="70"/>
                    </a:lnTo>
                    <a:lnTo>
                      <a:pt x="1321" y="70"/>
                    </a:lnTo>
                    <a:lnTo>
                      <a:pt x="1315" y="75"/>
                    </a:lnTo>
                    <a:lnTo>
                      <a:pt x="1312" y="78"/>
                    </a:lnTo>
                    <a:lnTo>
                      <a:pt x="1312" y="84"/>
                    </a:lnTo>
                    <a:lnTo>
                      <a:pt x="1312" y="91"/>
                    </a:lnTo>
                    <a:lnTo>
                      <a:pt x="1314" y="99"/>
                    </a:lnTo>
                    <a:lnTo>
                      <a:pt x="1312" y="107"/>
                    </a:lnTo>
                    <a:lnTo>
                      <a:pt x="1310" y="108"/>
                    </a:lnTo>
                    <a:lnTo>
                      <a:pt x="1307" y="107"/>
                    </a:lnTo>
                    <a:lnTo>
                      <a:pt x="1304" y="100"/>
                    </a:lnTo>
                    <a:lnTo>
                      <a:pt x="1301" y="97"/>
                    </a:lnTo>
                    <a:lnTo>
                      <a:pt x="1299" y="95"/>
                    </a:lnTo>
                    <a:lnTo>
                      <a:pt x="1298" y="92"/>
                    </a:lnTo>
                    <a:lnTo>
                      <a:pt x="1296" y="86"/>
                    </a:lnTo>
                    <a:lnTo>
                      <a:pt x="1293" y="78"/>
                    </a:lnTo>
                    <a:lnTo>
                      <a:pt x="1290" y="68"/>
                    </a:lnTo>
                    <a:lnTo>
                      <a:pt x="1288" y="61"/>
                    </a:lnTo>
                    <a:lnTo>
                      <a:pt x="1287" y="59"/>
                    </a:lnTo>
                    <a:lnTo>
                      <a:pt x="1282" y="57"/>
                    </a:lnTo>
                    <a:lnTo>
                      <a:pt x="1277" y="56"/>
                    </a:lnTo>
                    <a:lnTo>
                      <a:pt x="1274" y="57"/>
                    </a:lnTo>
                    <a:lnTo>
                      <a:pt x="1271" y="62"/>
                    </a:lnTo>
                    <a:lnTo>
                      <a:pt x="1272" y="68"/>
                    </a:lnTo>
                    <a:lnTo>
                      <a:pt x="1274" y="72"/>
                    </a:lnTo>
                    <a:lnTo>
                      <a:pt x="1279" y="78"/>
                    </a:lnTo>
                    <a:lnTo>
                      <a:pt x="1283" y="84"/>
                    </a:lnTo>
                    <a:lnTo>
                      <a:pt x="1285" y="89"/>
                    </a:lnTo>
                    <a:lnTo>
                      <a:pt x="1285" y="92"/>
                    </a:lnTo>
                    <a:lnTo>
                      <a:pt x="1285" y="97"/>
                    </a:lnTo>
                    <a:lnTo>
                      <a:pt x="1283" y="102"/>
                    </a:lnTo>
                    <a:lnTo>
                      <a:pt x="1283" y="103"/>
                    </a:lnTo>
                    <a:lnTo>
                      <a:pt x="1287" y="108"/>
                    </a:lnTo>
                    <a:lnTo>
                      <a:pt x="1290" y="111"/>
                    </a:lnTo>
                    <a:lnTo>
                      <a:pt x="1295" y="114"/>
                    </a:lnTo>
                    <a:lnTo>
                      <a:pt x="1293" y="118"/>
                    </a:lnTo>
                    <a:lnTo>
                      <a:pt x="1291" y="122"/>
                    </a:lnTo>
                    <a:lnTo>
                      <a:pt x="1296" y="124"/>
                    </a:lnTo>
                    <a:lnTo>
                      <a:pt x="1296" y="126"/>
                    </a:lnTo>
                    <a:lnTo>
                      <a:pt x="1296" y="127"/>
                    </a:lnTo>
                    <a:lnTo>
                      <a:pt x="1291" y="130"/>
                    </a:lnTo>
                    <a:lnTo>
                      <a:pt x="1291" y="132"/>
                    </a:lnTo>
                    <a:lnTo>
                      <a:pt x="1293" y="132"/>
                    </a:lnTo>
                    <a:lnTo>
                      <a:pt x="1288" y="137"/>
                    </a:lnTo>
                    <a:lnTo>
                      <a:pt x="1287" y="141"/>
                    </a:lnTo>
                    <a:lnTo>
                      <a:pt x="1285" y="146"/>
                    </a:lnTo>
                    <a:lnTo>
                      <a:pt x="1285" y="152"/>
                    </a:lnTo>
                    <a:lnTo>
                      <a:pt x="1282" y="157"/>
                    </a:lnTo>
                    <a:lnTo>
                      <a:pt x="1279" y="162"/>
                    </a:lnTo>
                    <a:lnTo>
                      <a:pt x="1277" y="168"/>
                    </a:lnTo>
                    <a:lnTo>
                      <a:pt x="1274" y="171"/>
                    </a:lnTo>
                    <a:lnTo>
                      <a:pt x="1269" y="175"/>
                    </a:lnTo>
                    <a:lnTo>
                      <a:pt x="1268" y="176"/>
                    </a:lnTo>
                    <a:lnTo>
                      <a:pt x="1263" y="178"/>
                    </a:lnTo>
                    <a:lnTo>
                      <a:pt x="1260" y="184"/>
                    </a:lnTo>
                    <a:lnTo>
                      <a:pt x="1260" y="189"/>
                    </a:lnTo>
                    <a:lnTo>
                      <a:pt x="1256" y="194"/>
                    </a:lnTo>
                    <a:lnTo>
                      <a:pt x="1250" y="198"/>
                    </a:lnTo>
                    <a:lnTo>
                      <a:pt x="1244" y="205"/>
                    </a:lnTo>
                    <a:lnTo>
                      <a:pt x="1242" y="211"/>
                    </a:lnTo>
                    <a:lnTo>
                      <a:pt x="1241" y="216"/>
                    </a:lnTo>
                    <a:lnTo>
                      <a:pt x="1237" y="222"/>
                    </a:lnTo>
                    <a:lnTo>
                      <a:pt x="1234" y="227"/>
                    </a:lnTo>
                    <a:lnTo>
                      <a:pt x="1233" y="233"/>
                    </a:lnTo>
                    <a:lnTo>
                      <a:pt x="1236" y="238"/>
                    </a:lnTo>
                    <a:lnTo>
                      <a:pt x="1236" y="244"/>
                    </a:lnTo>
                    <a:lnTo>
                      <a:pt x="1233" y="249"/>
                    </a:lnTo>
                    <a:lnTo>
                      <a:pt x="1231" y="252"/>
                    </a:lnTo>
                    <a:lnTo>
                      <a:pt x="1230" y="252"/>
                    </a:lnTo>
                    <a:lnTo>
                      <a:pt x="1230" y="257"/>
                    </a:lnTo>
                    <a:lnTo>
                      <a:pt x="1236" y="260"/>
                    </a:lnTo>
                    <a:lnTo>
                      <a:pt x="1237" y="265"/>
                    </a:lnTo>
                    <a:lnTo>
                      <a:pt x="1239" y="270"/>
                    </a:lnTo>
                    <a:lnTo>
                      <a:pt x="1237" y="276"/>
                    </a:lnTo>
                    <a:lnTo>
                      <a:pt x="1234" y="279"/>
                    </a:lnTo>
                    <a:lnTo>
                      <a:pt x="1231" y="279"/>
                    </a:lnTo>
                    <a:lnTo>
                      <a:pt x="1228" y="279"/>
                    </a:lnTo>
                    <a:lnTo>
                      <a:pt x="1223" y="281"/>
                    </a:lnTo>
                    <a:lnTo>
                      <a:pt x="1218" y="284"/>
                    </a:lnTo>
                    <a:lnTo>
                      <a:pt x="1214" y="286"/>
                    </a:lnTo>
                    <a:lnTo>
                      <a:pt x="1209" y="292"/>
                    </a:lnTo>
                    <a:lnTo>
                      <a:pt x="1209" y="293"/>
                    </a:lnTo>
                    <a:lnTo>
                      <a:pt x="1207" y="300"/>
                    </a:lnTo>
                    <a:lnTo>
                      <a:pt x="1206" y="305"/>
                    </a:lnTo>
                    <a:lnTo>
                      <a:pt x="1204" y="309"/>
                    </a:lnTo>
                    <a:lnTo>
                      <a:pt x="1199" y="312"/>
                    </a:lnTo>
                    <a:lnTo>
                      <a:pt x="1195" y="316"/>
                    </a:lnTo>
                    <a:lnTo>
                      <a:pt x="1195" y="320"/>
                    </a:lnTo>
                    <a:lnTo>
                      <a:pt x="1195" y="327"/>
                    </a:lnTo>
                    <a:lnTo>
                      <a:pt x="1193" y="333"/>
                    </a:lnTo>
                    <a:lnTo>
                      <a:pt x="1192" y="336"/>
                    </a:lnTo>
                    <a:lnTo>
                      <a:pt x="1185" y="339"/>
                    </a:lnTo>
                    <a:lnTo>
                      <a:pt x="1182" y="343"/>
                    </a:lnTo>
                    <a:lnTo>
                      <a:pt x="1177" y="346"/>
                    </a:lnTo>
                    <a:lnTo>
                      <a:pt x="1171" y="349"/>
                    </a:lnTo>
                    <a:lnTo>
                      <a:pt x="1166" y="351"/>
                    </a:lnTo>
                    <a:lnTo>
                      <a:pt x="1161" y="355"/>
                    </a:lnTo>
                    <a:lnTo>
                      <a:pt x="1155" y="358"/>
                    </a:lnTo>
                    <a:lnTo>
                      <a:pt x="1150" y="362"/>
                    </a:lnTo>
                    <a:lnTo>
                      <a:pt x="1144" y="365"/>
                    </a:lnTo>
                    <a:lnTo>
                      <a:pt x="1142" y="366"/>
                    </a:lnTo>
                    <a:lnTo>
                      <a:pt x="1139" y="370"/>
                    </a:lnTo>
                    <a:lnTo>
                      <a:pt x="1136" y="374"/>
                    </a:lnTo>
                    <a:lnTo>
                      <a:pt x="1136" y="381"/>
                    </a:lnTo>
                    <a:lnTo>
                      <a:pt x="1133" y="390"/>
                    </a:lnTo>
                    <a:lnTo>
                      <a:pt x="1133" y="401"/>
                    </a:lnTo>
                    <a:lnTo>
                      <a:pt x="1131" y="404"/>
                    </a:lnTo>
                    <a:lnTo>
                      <a:pt x="1131" y="408"/>
                    </a:lnTo>
                    <a:lnTo>
                      <a:pt x="1131" y="414"/>
                    </a:lnTo>
                    <a:lnTo>
                      <a:pt x="1135" y="417"/>
                    </a:lnTo>
                    <a:lnTo>
                      <a:pt x="1139" y="420"/>
                    </a:lnTo>
                    <a:lnTo>
                      <a:pt x="1142" y="423"/>
                    </a:lnTo>
                    <a:lnTo>
                      <a:pt x="1146" y="427"/>
                    </a:lnTo>
                    <a:lnTo>
                      <a:pt x="1147" y="431"/>
                    </a:lnTo>
                    <a:lnTo>
                      <a:pt x="1150" y="434"/>
                    </a:lnTo>
                    <a:lnTo>
                      <a:pt x="1152" y="434"/>
                    </a:lnTo>
                    <a:lnTo>
                      <a:pt x="1157" y="433"/>
                    </a:lnTo>
                    <a:lnTo>
                      <a:pt x="1163" y="427"/>
                    </a:lnTo>
                    <a:lnTo>
                      <a:pt x="1169" y="422"/>
                    </a:lnTo>
                    <a:lnTo>
                      <a:pt x="1176" y="422"/>
                    </a:lnTo>
                    <a:lnTo>
                      <a:pt x="1182" y="420"/>
                    </a:lnTo>
                    <a:lnTo>
                      <a:pt x="1184" y="417"/>
                    </a:lnTo>
                    <a:lnTo>
                      <a:pt x="1185" y="414"/>
                    </a:lnTo>
                    <a:lnTo>
                      <a:pt x="1187" y="409"/>
                    </a:lnTo>
                    <a:lnTo>
                      <a:pt x="1193" y="401"/>
                    </a:lnTo>
                    <a:lnTo>
                      <a:pt x="1198" y="395"/>
                    </a:lnTo>
                    <a:lnTo>
                      <a:pt x="1203" y="390"/>
                    </a:lnTo>
                    <a:lnTo>
                      <a:pt x="1204" y="384"/>
                    </a:lnTo>
                    <a:lnTo>
                      <a:pt x="1207" y="379"/>
                    </a:lnTo>
                    <a:lnTo>
                      <a:pt x="1214" y="377"/>
                    </a:lnTo>
                    <a:lnTo>
                      <a:pt x="1217" y="384"/>
                    </a:lnTo>
                    <a:lnTo>
                      <a:pt x="1223" y="389"/>
                    </a:lnTo>
                    <a:lnTo>
                      <a:pt x="1230" y="390"/>
                    </a:lnTo>
                    <a:lnTo>
                      <a:pt x="1236" y="390"/>
                    </a:lnTo>
                    <a:lnTo>
                      <a:pt x="1242" y="390"/>
                    </a:lnTo>
                    <a:lnTo>
                      <a:pt x="1244" y="389"/>
                    </a:lnTo>
                    <a:lnTo>
                      <a:pt x="1247" y="392"/>
                    </a:lnTo>
                    <a:lnTo>
                      <a:pt x="1249" y="396"/>
                    </a:lnTo>
                    <a:lnTo>
                      <a:pt x="1253" y="400"/>
                    </a:lnTo>
                    <a:lnTo>
                      <a:pt x="1261" y="401"/>
                    </a:lnTo>
                    <a:lnTo>
                      <a:pt x="1268" y="400"/>
                    </a:lnTo>
                    <a:lnTo>
                      <a:pt x="1272" y="400"/>
                    </a:lnTo>
                    <a:lnTo>
                      <a:pt x="1279" y="393"/>
                    </a:lnTo>
                    <a:lnTo>
                      <a:pt x="1283" y="389"/>
                    </a:lnTo>
                    <a:lnTo>
                      <a:pt x="1291" y="390"/>
                    </a:lnTo>
                    <a:lnTo>
                      <a:pt x="1298" y="393"/>
                    </a:lnTo>
                    <a:lnTo>
                      <a:pt x="1301" y="398"/>
                    </a:lnTo>
                    <a:lnTo>
                      <a:pt x="1301" y="403"/>
                    </a:lnTo>
                    <a:lnTo>
                      <a:pt x="1299" y="408"/>
                    </a:lnTo>
                    <a:lnTo>
                      <a:pt x="1304" y="408"/>
                    </a:lnTo>
                    <a:lnTo>
                      <a:pt x="1309" y="409"/>
                    </a:lnTo>
                    <a:lnTo>
                      <a:pt x="1312" y="412"/>
                    </a:lnTo>
                    <a:lnTo>
                      <a:pt x="1314" y="415"/>
                    </a:lnTo>
                    <a:lnTo>
                      <a:pt x="1312" y="417"/>
                    </a:lnTo>
                    <a:lnTo>
                      <a:pt x="1310" y="422"/>
                    </a:lnTo>
                    <a:lnTo>
                      <a:pt x="1310" y="425"/>
                    </a:lnTo>
                    <a:lnTo>
                      <a:pt x="1315" y="427"/>
                    </a:lnTo>
                    <a:lnTo>
                      <a:pt x="1317" y="422"/>
                    </a:lnTo>
                    <a:lnTo>
                      <a:pt x="1320" y="422"/>
                    </a:lnTo>
                    <a:lnTo>
                      <a:pt x="1321" y="428"/>
                    </a:lnTo>
                    <a:lnTo>
                      <a:pt x="1321" y="434"/>
                    </a:lnTo>
                    <a:lnTo>
                      <a:pt x="1318" y="434"/>
                    </a:lnTo>
                    <a:lnTo>
                      <a:pt x="1317" y="439"/>
                    </a:lnTo>
                    <a:lnTo>
                      <a:pt x="1318" y="442"/>
                    </a:lnTo>
                    <a:lnTo>
                      <a:pt x="1318" y="447"/>
                    </a:lnTo>
                    <a:lnTo>
                      <a:pt x="1318" y="450"/>
                    </a:lnTo>
                    <a:lnTo>
                      <a:pt x="1318" y="455"/>
                    </a:lnTo>
                    <a:lnTo>
                      <a:pt x="1318" y="460"/>
                    </a:lnTo>
                    <a:lnTo>
                      <a:pt x="1321" y="463"/>
                    </a:lnTo>
                    <a:lnTo>
                      <a:pt x="1321" y="466"/>
                    </a:lnTo>
                    <a:lnTo>
                      <a:pt x="1317" y="471"/>
                    </a:lnTo>
                    <a:lnTo>
                      <a:pt x="1314" y="473"/>
                    </a:lnTo>
                    <a:lnTo>
                      <a:pt x="1309" y="474"/>
                    </a:lnTo>
                    <a:lnTo>
                      <a:pt x="1307" y="476"/>
                    </a:lnTo>
                    <a:lnTo>
                      <a:pt x="1304" y="477"/>
                    </a:lnTo>
                    <a:lnTo>
                      <a:pt x="1302" y="479"/>
                    </a:lnTo>
                    <a:lnTo>
                      <a:pt x="1299" y="480"/>
                    </a:lnTo>
                    <a:lnTo>
                      <a:pt x="1299" y="485"/>
                    </a:lnTo>
                    <a:lnTo>
                      <a:pt x="1299" y="488"/>
                    </a:lnTo>
                    <a:lnTo>
                      <a:pt x="1299" y="493"/>
                    </a:lnTo>
                    <a:lnTo>
                      <a:pt x="1301" y="493"/>
                    </a:lnTo>
                    <a:lnTo>
                      <a:pt x="1306" y="493"/>
                    </a:lnTo>
                    <a:lnTo>
                      <a:pt x="1309" y="496"/>
                    </a:lnTo>
                    <a:lnTo>
                      <a:pt x="1312" y="499"/>
                    </a:lnTo>
                    <a:lnTo>
                      <a:pt x="1314" y="501"/>
                    </a:lnTo>
                    <a:lnTo>
                      <a:pt x="1320" y="501"/>
                    </a:lnTo>
                    <a:lnTo>
                      <a:pt x="1323" y="504"/>
                    </a:lnTo>
                    <a:lnTo>
                      <a:pt x="1326" y="511"/>
                    </a:lnTo>
                    <a:lnTo>
                      <a:pt x="1329" y="514"/>
                    </a:lnTo>
                    <a:lnTo>
                      <a:pt x="1334" y="515"/>
                    </a:lnTo>
                    <a:lnTo>
                      <a:pt x="1340" y="514"/>
                    </a:lnTo>
                    <a:lnTo>
                      <a:pt x="1350" y="514"/>
                    </a:lnTo>
                    <a:lnTo>
                      <a:pt x="1352" y="512"/>
                    </a:lnTo>
                    <a:lnTo>
                      <a:pt x="1356" y="517"/>
                    </a:lnTo>
                    <a:lnTo>
                      <a:pt x="1358" y="520"/>
                    </a:lnTo>
                    <a:lnTo>
                      <a:pt x="1363" y="523"/>
                    </a:lnTo>
                    <a:lnTo>
                      <a:pt x="1369" y="523"/>
                    </a:lnTo>
                    <a:lnTo>
                      <a:pt x="1377" y="523"/>
                    </a:lnTo>
                    <a:lnTo>
                      <a:pt x="1382" y="526"/>
                    </a:lnTo>
                    <a:lnTo>
                      <a:pt x="1385" y="526"/>
                    </a:lnTo>
                    <a:lnTo>
                      <a:pt x="1386" y="526"/>
                    </a:lnTo>
                    <a:lnTo>
                      <a:pt x="1391" y="530"/>
                    </a:lnTo>
                    <a:lnTo>
                      <a:pt x="1390" y="531"/>
                    </a:lnTo>
                    <a:lnTo>
                      <a:pt x="1390" y="534"/>
                    </a:lnTo>
                    <a:lnTo>
                      <a:pt x="1388" y="541"/>
                    </a:lnTo>
                    <a:lnTo>
                      <a:pt x="1393" y="542"/>
                    </a:lnTo>
                    <a:lnTo>
                      <a:pt x="1401" y="542"/>
                    </a:lnTo>
                    <a:lnTo>
                      <a:pt x="1409" y="541"/>
                    </a:lnTo>
                    <a:lnTo>
                      <a:pt x="1415" y="539"/>
                    </a:lnTo>
                    <a:lnTo>
                      <a:pt x="1423" y="541"/>
                    </a:lnTo>
                    <a:lnTo>
                      <a:pt x="1424" y="544"/>
                    </a:lnTo>
                    <a:lnTo>
                      <a:pt x="1421" y="547"/>
                    </a:lnTo>
                    <a:lnTo>
                      <a:pt x="1420" y="552"/>
                    </a:lnTo>
                    <a:lnTo>
                      <a:pt x="1421" y="555"/>
                    </a:lnTo>
                    <a:lnTo>
                      <a:pt x="1426" y="556"/>
                    </a:lnTo>
                    <a:lnTo>
                      <a:pt x="1429" y="558"/>
                    </a:lnTo>
                    <a:lnTo>
                      <a:pt x="1431" y="560"/>
                    </a:lnTo>
                    <a:lnTo>
                      <a:pt x="1434" y="566"/>
                    </a:lnTo>
                    <a:lnTo>
                      <a:pt x="1432" y="574"/>
                    </a:lnTo>
                    <a:lnTo>
                      <a:pt x="1432" y="580"/>
                    </a:lnTo>
                    <a:lnTo>
                      <a:pt x="1434" y="585"/>
                    </a:lnTo>
                    <a:lnTo>
                      <a:pt x="1437" y="590"/>
                    </a:lnTo>
                    <a:lnTo>
                      <a:pt x="1437" y="596"/>
                    </a:lnTo>
                    <a:lnTo>
                      <a:pt x="1439" y="602"/>
                    </a:lnTo>
                    <a:lnTo>
                      <a:pt x="1440" y="607"/>
                    </a:lnTo>
                    <a:lnTo>
                      <a:pt x="1442" y="614"/>
                    </a:lnTo>
                    <a:lnTo>
                      <a:pt x="1442" y="618"/>
                    </a:lnTo>
                    <a:lnTo>
                      <a:pt x="1442" y="620"/>
                    </a:lnTo>
                    <a:lnTo>
                      <a:pt x="1442" y="625"/>
                    </a:lnTo>
                    <a:lnTo>
                      <a:pt x="1440" y="631"/>
                    </a:lnTo>
                    <a:lnTo>
                      <a:pt x="1437" y="634"/>
                    </a:lnTo>
                    <a:lnTo>
                      <a:pt x="1432" y="639"/>
                    </a:lnTo>
                    <a:lnTo>
                      <a:pt x="1431" y="645"/>
                    </a:lnTo>
                    <a:lnTo>
                      <a:pt x="1432" y="650"/>
                    </a:lnTo>
                    <a:lnTo>
                      <a:pt x="1434" y="655"/>
                    </a:lnTo>
                    <a:lnTo>
                      <a:pt x="1435" y="659"/>
                    </a:lnTo>
                    <a:lnTo>
                      <a:pt x="1439" y="666"/>
                    </a:lnTo>
                    <a:lnTo>
                      <a:pt x="1443" y="669"/>
                    </a:lnTo>
                    <a:lnTo>
                      <a:pt x="1443" y="672"/>
                    </a:lnTo>
                    <a:lnTo>
                      <a:pt x="1435" y="672"/>
                    </a:lnTo>
                    <a:lnTo>
                      <a:pt x="1429" y="674"/>
                    </a:lnTo>
                    <a:lnTo>
                      <a:pt x="1421" y="675"/>
                    </a:lnTo>
                    <a:lnTo>
                      <a:pt x="1415" y="679"/>
                    </a:lnTo>
                    <a:lnTo>
                      <a:pt x="1409" y="677"/>
                    </a:lnTo>
                    <a:lnTo>
                      <a:pt x="1402" y="675"/>
                    </a:lnTo>
                    <a:lnTo>
                      <a:pt x="1394" y="672"/>
                    </a:lnTo>
                    <a:lnTo>
                      <a:pt x="1391" y="666"/>
                    </a:lnTo>
                    <a:lnTo>
                      <a:pt x="1388" y="663"/>
                    </a:lnTo>
                    <a:lnTo>
                      <a:pt x="1386" y="659"/>
                    </a:lnTo>
                    <a:lnTo>
                      <a:pt x="1383" y="653"/>
                    </a:lnTo>
                    <a:lnTo>
                      <a:pt x="1382" y="652"/>
                    </a:lnTo>
                    <a:lnTo>
                      <a:pt x="1375" y="642"/>
                    </a:lnTo>
                    <a:lnTo>
                      <a:pt x="1372" y="634"/>
                    </a:lnTo>
                    <a:lnTo>
                      <a:pt x="1369" y="629"/>
                    </a:lnTo>
                    <a:lnTo>
                      <a:pt x="1363" y="625"/>
                    </a:lnTo>
                    <a:lnTo>
                      <a:pt x="1356" y="618"/>
                    </a:lnTo>
                    <a:lnTo>
                      <a:pt x="1350" y="614"/>
                    </a:lnTo>
                    <a:lnTo>
                      <a:pt x="1345" y="609"/>
                    </a:lnTo>
                    <a:lnTo>
                      <a:pt x="1342" y="604"/>
                    </a:lnTo>
                    <a:lnTo>
                      <a:pt x="1339" y="601"/>
                    </a:lnTo>
                    <a:lnTo>
                      <a:pt x="1337" y="601"/>
                    </a:lnTo>
                    <a:lnTo>
                      <a:pt x="1336" y="599"/>
                    </a:lnTo>
                    <a:lnTo>
                      <a:pt x="1334" y="598"/>
                    </a:lnTo>
                    <a:lnTo>
                      <a:pt x="1329" y="599"/>
                    </a:lnTo>
                    <a:lnTo>
                      <a:pt x="1323" y="602"/>
                    </a:lnTo>
                    <a:lnTo>
                      <a:pt x="1320" y="604"/>
                    </a:lnTo>
                    <a:lnTo>
                      <a:pt x="1317" y="601"/>
                    </a:lnTo>
                    <a:lnTo>
                      <a:pt x="1315" y="599"/>
                    </a:lnTo>
                    <a:lnTo>
                      <a:pt x="1309" y="599"/>
                    </a:lnTo>
                    <a:lnTo>
                      <a:pt x="1307" y="596"/>
                    </a:lnTo>
                    <a:lnTo>
                      <a:pt x="1304" y="595"/>
                    </a:lnTo>
                    <a:lnTo>
                      <a:pt x="1302" y="595"/>
                    </a:lnTo>
                    <a:lnTo>
                      <a:pt x="1296" y="596"/>
                    </a:lnTo>
                    <a:lnTo>
                      <a:pt x="1290" y="595"/>
                    </a:lnTo>
                    <a:lnTo>
                      <a:pt x="1283" y="590"/>
                    </a:lnTo>
                    <a:lnTo>
                      <a:pt x="1279" y="590"/>
                    </a:lnTo>
                    <a:lnTo>
                      <a:pt x="1271" y="590"/>
                    </a:lnTo>
                    <a:lnTo>
                      <a:pt x="1269" y="590"/>
                    </a:lnTo>
                    <a:lnTo>
                      <a:pt x="1260" y="590"/>
                    </a:lnTo>
                    <a:lnTo>
                      <a:pt x="1252" y="593"/>
                    </a:lnTo>
                    <a:lnTo>
                      <a:pt x="1249" y="595"/>
                    </a:lnTo>
                    <a:lnTo>
                      <a:pt x="1245" y="596"/>
                    </a:lnTo>
                    <a:lnTo>
                      <a:pt x="1242" y="599"/>
                    </a:lnTo>
                    <a:lnTo>
                      <a:pt x="1237" y="606"/>
                    </a:lnTo>
                    <a:lnTo>
                      <a:pt x="1237" y="612"/>
                    </a:lnTo>
                    <a:lnTo>
                      <a:pt x="1237" y="614"/>
                    </a:lnTo>
                    <a:lnTo>
                      <a:pt x="1236" y="615"/>
                    </a:lnTo>
                    <a:lnTo>
                      <a:pt x="1236" y="617"/>
                    </a:lnTo>
                    <a:lnTo>
                      <a:pt x="1237" y="623"/>
                    </a:lnTo>
                    <a:lnTo>
                      <a:pt x="1237" y="629"/>
                    </a:lnTo>
                    <a:lnTo>
                      <a:pt x="1237" y="631"/>
                    </a:lnTo>
                    <a:lnTo>
                      <a:pt x="1237" y="634"/>
                    </a:lnTo>
                    <a:lnTo>
                      <a:pt x="1239" y="640"/>
                    </a:lnTo>
                    <a:lnTo>
                      <a:pt x="1241" y="648"/>
                    </a:lnTo>
                    <a:lnTo>
                      <a:pt x="1241" y="655"/>
                    </a:lnTo>
                    <a:lnTo>
                      <a:pt x="1241" y="659"/>
                    </a:lnTo>
                    <a:lnTo>
                      <a:pt x="1234" y="663"/>
                    </a:lnTo>
                    <a:lnTo>
                      <a:pt x="1228" y="664"/>
                    </a:lnTo>
                    <a:lnTo>
                      <a:pt x="1223" y="671"/>
                    </a:lnTo>
                    <a:lnTo>
                      <a:pt x="1220" y="677"/>
                    </a:lnTo>
                    <a:lnTo>
                      <a:pt x="1218" y="683"/>
                    </a:lnTo>
                    <a:lnTo>
                      <a:pt x="1217" y="688"/>
                    </a:lnTo>
                    <a:lnTo>
                      <a:pt x="1215" y="690"/>
                    </a:lnTo>
                    <a:lnTo>
                      <a:pt x="1212" y="696"/>
                    </a:lnTo>
                    <a:lnTo>
                      <a:pt x="1211" y="698"/>
                    </a:lnTo>
                    <a:lnTo>
                      <a:pt x="1207" y="704"/>
                    </a:lnTo>
                    <a:lnTo>
                      <a:pt x="1206" y="710"/>
                    </a:lnTo>
                    <a:lnTo>
                      <a:pt x="1201" y="712"/>
                    </a:lnTo>
                    <a:lnTo>
                      <a:pt x="1195" y="717"/>
                    </a:lnTo>
                    <a:lnTo>
                      <a:pt x="1193" y="723"/>
                    </a:lnTo>
                    <a:lnTo>
                      <a:pt x="1196" y="726"/>
                    </a:lnTo>
                    <a:lnTo>
                      <a:pt x="1199" y="726"/>
                    </a:lnTo>
                    <a:lnTo>
                      <a:pt x="1203" y="723"/>
                    </a:lnTo>
                    <a:lnTo>
                      <a:pt x="1207" y="726"/>
                    </a:lnTo>
                    <a:lnTo>
                      <a:pt x="1209" y="731"/>
                    </a:lnTo>
                    <a:lnTo>
                      <a:pt x="1212" y="731"/>
                    </a:lnTo>
                    <a:lnTo>
                      <a:pt x="1217" y="732"/>
                    </a:lnTo>
                    <a:lnTo>
                      <a:pt x="1222" y="734"/>
                    </a:lnTo>
                    <a:lnTo>
                      <a:pt x="1226" y="737"/>
                    </a:lnTo>
                    <a:lnTo>
                      <a:pt x="1230" y="742"/>
                    </a:lnTo>
                    <a:lnTo>
                      <a:pt x="1225" y="747"/>
                    </a:lnTo>
                    <a:lnTo>
                      <a:pt x="1218" y="747"/>
                    </a:lnTo>
                    <a:lnTo>
                      <a:pt x="1215" y="750"/>
                    </a:lnTo>
                    <a:lnTo>
                      <a:pt x="1212" y="751"/>
                    </a:lnTo>
                    <a:lnTo>
                      <a:pt x="1209" y="756"/>
                    </a:lnTo>
                    <a:lnTo>
                      <a:pt x="1203" y="758"/>
                    </a:lnTo>
                    <a:lnTo>
                      <a:pt x="1198" y="758"/>
                    </a:lnTo>
                    <a:lnTo>
                      <a:pt x="1192" y="756"/>
                    </a:lnTo>
                    <a:lnTo>
                      <a:pt x="1188" y="759"/>
                    </a:lnTo>
                    <a:lnTo>
                      <a:pt x="1187" y="759"/>
                    </a:lnTo>
                    <a:lnTo>
                      <a:pt x="1184" y="764"/>
                    </a:lnTo>
                    <a:lnTo>
                      <a:pt x="1179" y="766"/>
                    </a:lnTo>
                    <a:lnTo>
                      <a:pt x="1174" y="764"/>
                    </a:lnTo>
                    <a:lnTo>
                      <a:pt x="1171" y="762"/>
                    </a:lnTo>
                    <a:lnTo>
                      <a:pt x="1171" y="761"/>
                    </a:lnTo>
                    <a:lnTo>
                      <a:pt x="1171" y="758"/>
                    </a:lnTo>
                    <a:lnTo>
                      <a:pt x="1174" y="753"/>
                    </a:lnTo>
                    <a:lnTo>
                      <a:pt x="1176" y="750"/>
                    </a:lnTo>
                    <a:lnTo>
                      <a:pt x="1176" y="742"/>
                    </a:lnTo>
                    <a:lnTo>
                      <a:pt x="1173" y="737"/>
                    </a:lnTo>
                    <a:lnTo>
                      <a:pt x="1166" y="736"/>
                    </a:lnTo>
                    <a:lnTo>
                      <a:pt x="1163" y="731"/>
                    </a:lnTo>
                    <a:lnTo>
                      <a:pt x="1161" y="724"/>
                    </a:lnTo>
                    <a:lnTo>
                      <a:pt x="1160" y="723"/>
                    </a:lnTo>
                    <a:lnTo>
                      <a:pt x="1157" y="718"/>
                    </a:lnTo>
                    <a:lnTo>
                      <a:pt x="1154" y="715"/>
                    </a:lnTo>
                    <a:lnTo>
                      <a:pt x="1149" y="713"/>
                    </a:lnTo>
                    <a:lnTo>
                      <a:pt x="1149" y="709"/>
                    </a:lnTo>
                    <a:lnTo>
                      <a:pt x="1147" y="704"/>
                    </a:lnTo>
                    <a:lnTo>
                      <a:pt x="1144" y="699"/>
                    </a:lnTo>
                    <a:lnTo>
                      <a:pt x="1142" y="696"/>
                    </a:lnTo>
                    <a:lnTo>
                      <a:pt x="1141" y="693"/>
                    </a:lnTo>
                    <a:lnTo>
                      <a:pt x="1141" y="690"/>
                    </a:lnTo>
                    <a:lnTo>
                      <a:pt x="1136" y="683"/>
                    </a:lnTo>
                    <a:lnTo>
                      <a:pt x="1138" y="679"/>
                    </a:lnTo>
                    <a:lnTo>
                      <a:pt x="1139" y="671"/>
                    </a:lnTo>
                    <a:lnTo>
                      <a:pt x="1142" y="666"/>
                    </a:lnTo>
                    <a:lnTo>
                      <a:pt x="1147" y="669"/>
                    </a:lnTo>
                    <a:lnTo>
                      <a:pt x="1150" y="672"/>
                    </a:lnTo>
                    <a:lnTo>
                      <a:pt x="1155" y="674"/>
                    </a:lnTo>
                    <a:lnTo>
                      <a:pt x="1160" y="672"/>
                    </a:lnTo>
                    <a:lnTo>
                      <a:pt x="1163" y="669"/>
                    </a:lnTo>
                    <a:lnTo>
                      <a:pt x="1168" y="664"/>
                    </a:lnTo>
                    <a:lnTo>
                      <a:pt x="1171" y="658"/>
                    </a:lnTo>
                    <a:lnTo>
                      <a:pt x="1169" y="652"/>
                    </a:lnTo>
                    <a:lnTo>
                      <a:pt x="1166" y="648"/>
                    </a:lnTo>
                    <a:lnTo>
                      <a:pt x="1163" y="644"/>
                    </a:lnTo>
                    <a:lnTo>
                      <a:pt x="1165" y="640"/>
                    </a:lnTo>
                    <a:lnTo>
                      <a:pt x="1166" y="637"/>
                    </a:lnTo>
                    <a:lnTo>
                      <a:pt x="1166" y="634"/>
                    </a:lnTo>
                    <a:lnTo>
                      <a:pt x="1168" y="629"/>
                    </a:lnTo>
                    <a:lnTo>
                      <a:pt x="1171" y="625"/>
                    </a:lnTo>
                    <a:lnTo>
                      <a:pt x="1173" y="623"/>
                    </a:lnTo>
                    <a:lnTo>
                      <a:pt x="1176" y="621"/>
                    </a:lnTo>
                    <a:lnTo>
                      <a:pt x="1180" y="621"/>
                    </a:lnTo>
                    <a:lnTo>
                      <a:pt x="1185" y="620"/>
                    </a:lnTo>
                    <a:lnTo>
                      <a:pt x="1187" y="620"/>
                    </a:lnTo>
                    <a:lnTo>
                      <a:pt x="1193" y="617"/>
                    </a:lnTo>
                    <a:lnTo>
                      <a:pt x="1198" y="614"/>
                    </a:lnTo>
                    <a:lnTo>
                      <a:pt x="1199" y="609"/>
                    </a:lnTo>
                    <a:lnTo>
                      <a:pt x="1199" y="602"/>
                    </a:lnTo>
                    <a:lnTo>
                      <a:pt x="1199" y="596"/>
                    </a:lnTo>
                    <a:lnTo>
                      <a:pt x="1196" y="590"/>
                    </a:lnTo>
                    <a:lnTo>
                      <a:pt x="1190" y="587"/>
                    </a:lnTo>
                    <a:lnTo>
                      <a:pt x="1188" y="583"/>
                    </a:lnTo>
                    <a:lnTo>
                      <a:pt x="1185" y="582"/>
                    </a:lnTo>
                    <a:lnTo>
                      <a:pt x="1177" y="583"/>
                    </a:lnTo>
                    <a:lnTo>
                      <a:pt x="1176" y="583"/>
                    </a:lnTo>
                    <a:lnTo>
                      <a:pt x="1169" y="585"/>
                    </a:lnTo>
                    <a:lnTo>
                      <a:pt x="1163" y="587"/>
                    </a:lnTo>
                    <a:lnTo>
                      <a:pt x="1158" y="590"/>
                    </a:lnTo>
                    <a:lnTo>
                      <a:pt x="1155" y="585"/>
                    </a:lnTo>
                    <a:lnTo>
                      <a:pt x="1155" y="579"/>
                    </a:lnTo>
                    <a:lnTo>
                      <a:pt x="1157" y="574"/>
                    </a:lnTo>
                    <a:lnTo>
                      <a:pt x="1154" y="571"/>
                    </a:lnTo>
                    <a:lnTo>
                      <a:pt x="1147" y="572"/>
                    </a:lnTo>
                    <a:lnTo>
                      <a:pt x="1142" y="569"/>
                    </a:lnTo>
                    <a:lnTo>
                      <a:pt x="1141" y="566"/>
                    </a:lnTo>
                    <a:lnTo>
                      <a:pt x="1139" y="564"/>
                    </a:lnTo>
                    <a:lnTo>
                      <a:pt x="1135" y="564"/>
                    </a:lnTo>
                    <a:lnTo>
                      <a:pt x="1128" y="563"/>
                    </a:lnTo>
                    <a:lnTo>
                      <a:pt x="1123" y="555"/>
                    </a:lnTo>
                    <a:lnTo>
                      <a:pt x="1117" y="550"/>
                    </a:lnTo>
                    <a:lnTo>
                      <a:pt x="1116" y="550"/>
                    </a:lnTo>
                    <a:lnTo>
                      <a:pt x="1112" y="550"/>
                    </a:lnTo>
                    <a:lnTo>
                      <a:pt x="1109" y="555"/>
                    </a:lnTo>
                    <a:lnTo>
                      <a:pt x="1104" y="558"/>
                    </a:lnTo>
                    <a:lnTo>
                      <a:pt x="1100" y="558"/>
                    </a:lnTo>
                    <a:lnTo>
                      <a:pt x="1093" y="555"/>
                    </a:lnTo>
                    <a:lnTo>
                      <a:pt x="1090" y="550"/>
                    </a:lnTo>
                    <a:lnTo>
                      <a:pt x="1087" y="545"/>
                    </a:lnTo>
                    <a:lnTo>
                      <a:pt x="1082" y="544"/>
                    </a:lnTo>
                    <a:lnTo>
                      <a:pt x="1076" y="549"/>
                    </a:lnTo>
                    <a:lnTo>
                      <a:pt x="1071" y="555"/>
                    </a:lnTo>
                    <a:lnTo>
                      <a:pt x="1068" y="560"/>
                    </a:lnTo>
                    <a:lnTo>
                      <a:pt x="1062" y="566"/>
                    </a:lnTo>
                    <a:lnTo>
                      <a:pt x="1058" y="569"/>
                    </a:lnTo>
                    <a:lnTo>
                      <a:pt x="1057" y="572"/>
                    </a:lnTo>
                    <a:lnTo>
                      <a:pt x="1055" y="579"/>
                    </a:lnTo>
                    <a:lnTo>
                      <a:pt x="1054" y="587"/>
                    </a:lnTo>
                    <a:lnTo>
                      <a:pt x="1054" y="593"/>
                    </a:lnTo>
                    <a:lnTo>
                      <a:pt x="1057" y="598"/>
                    </a:lnTo>
                    <a:lnTo>
                      <a:pt x="1060" y="604"/>
                    </a:lnTo>
                    <a:lnTo>
                      <a:pt x="1066" y="607"/>
                    </a:lnTo>
                    <a:lnTo>
                      <a:pt x="1068" y="615"/>
                    </a:lnTo>
                    <a:lnTo>
                      <a:pt x="1070" y="621"/>
                    </a:lnTo>
                    <a:lnTo>
                      <a:pt x="1070" y="623"/>
                    </a:lnTo>
                    <a:lnTo>
                      <a:pt x="1070" y="629"/>
                    </a:lnTo>
                    <a:lnTo>
                      <a:pt x="1070" y="637"/>
                    </a:lnTo>
                    <a:lnTo>
                      <a:pt x="1066" y="645"/>
                    </a:lnTo>
                    <a:lnTo>
                      <a:pt x="1063" y="653"/>
                    </a:lnTo>
                    <a:lnTo>
                      <a:pt x="1058" y="661"/>
                    </a:lnTo>
                    <a:lnTo>
                      <a:pt x="1052" y="667"/>
                    </a:lnTo>
                    <a:lnTo>
                      <a:pt x="1049" y="674"/>
                    </a:lnTo>
                    <a:lnTo>
                      <a:pt x="1047" y="682"/>
                    </a:lnTo>
                    <a:lnTo>
                      <a:pt x="1047" y="685"/>
                    </a:lnTo>
                    <a:lnTo>
                      <a:pt x="1049" y="690"/>
                    </a:lnTo>
                    <a:lnTo>
                      <a:pt x="1051" y="698"/>
                    </a:lnTo>
                    <a:lnTo>
                      <a:pt x="1052" y="704"/>
                    </a:lnTo>
                    <a:lnTo>
                      <a:pt x="1051" y="710"/>
                    </a:lnTo>
                    <a:lnTo>
                      <a:pt x="1051" y="715"/>
                    </a:lnTo>
                    <a:lnTo>
                      <a:pt x="1052" y="720"/>
                    </a:lnTo>
                    <a:lnTo>
                      <a:pt x="1055" y="720"/>
                    </a:lnTo>
                    <a:lnTo>
                      <a:pt x="1057" y="720"/>
                    </a:lnTo>
                    <a:lnTo>
                      <a:pt x="1058" y="718"/>
                    </a:lnTo>
                    <a:lnTo>
                      <a:pt x="1063" y="715"/>
                    </a:lnTo>
                    <a:lnTo>
                      <a:pt x="1068" y="715"/>
                    </a:lnTo>
                    <a:lnTo>
                      <a:pt x="1071" y="718"/>
                    </a:lnTo>
                    <a:lnTo>
                      <a:pt x="1074" y="721"/>
                    </a:lnTo>
                    <a:lnTo>
                      <a:pt x="1079" y="723"/>
                    </a:lnTo>
                    <a:lnTo>
                      <a:pt x="1082" y="726"/>
                    </a:lnTo>
                    <a:lnTo>
                      <a:pt x="1085" y="729"/>
                    </a:lnTo>
                    <a:lnTo>
                      <a:pt x="1090" y="729"/>
                    </a:lnTo>
                    <a:lnTo>
                      <a:pt x="1097" y="729"/>
                    </a:lnTo>
                    <a:lnTo>
                      <a:pt x="1098" y="729"/>
                    </a:lnTo>
                    <a:lnTo>
                      <a:pt x="1100" y="729"/>
                    </a:lnTo>
                    <a:lnTo>
                      <a:pt x="1104" y="731"/>
                    </a:lnTo>
                    <a:lnTo>
                      <a:pt x="1106" y="739"/>
                    </a:lnTo>
                    <a:lnTo>
                      <a:pt x="1108" y="745"/>
                    </a:lnTo>
                    <a:lnTo>
                      <a:pt x="1108" y="751"/>
                    </a:lnTo>
                    <a:lnTo>
                      <a:pt x="1112" y="756"/>
                    </a:lnTo>
                    <a:lnTo>
                      <a:pt x="1116" y="762"/>
                    </a:lnTo>
                    <a:lnTo>
                      <a:pt x="1116" y="769"/>
                    </a:lnTo>
                    <a:lnTo>
                      <a:pt x="1117" y="775"/>
                    </a:lnTo>
                    <a:lnTo>
                      <a:pt x="1119" y="780"/>
                    </a:lnTo>
                    <a:lnTo>
                      <a:pt x="1125" y="785"/>
                    </a:lnTo>
                    <a:lnTo>
                      <a:pt x="1130" y="786"/>
                    </a:lnTo>
                    <a:lnTo>
                      <a:pt x="1135" y="788"/>
                    </a:lnTo>
                    <a:lnTo>
                      <a:pt x="1139" y="793"/>
                    </a:lnTo>
                    <a:lnTo>
                      <a:pt x="1139" y="799"/>
                    </a:lnTo>
                    <a:lnTo>
                      <a:pt x="1136" y="805"/>
                    </a:lnTo>
                    <a:lnTo>
                      <a:pt x="1135" y="808"/>
                    </a:lnTo>
                    <a:lnTo>
                      <a:pt x="1130" y="812"/>
                    </a:lnTo>
                    <a:lnTo>
                      <a:pt x="1125" y="813"/>
                    </a:lnTo>
                    <a:lnTo>
                      <a:pt x="1120" y="816"/>
                    </a:lnTo>
                    <a:lnTo>
                      <a:pt x="1116" y="820"/>
                    </a:lnTo>
                    <a:lnTo>
                      <a:pt x="1108" y="820"/>
                    </a:lnTo>
                    <a:lnTo>
                      <a:pt x="1103" y="821"/>
                    </a:lnTo>
                    <a:lnTo>
                      <a:pt x="1097" y="823"/>
                    </a:lnTo>
                    <a:lnTo>
                      <a:pt x="1093" y="831"/>
                    </a:lnTo>
                    <a:lnTo>
                      <a:pt x="1095" y="835"/>
                    </a:lnTo>
                    <a:lnTo>
                      <a:pt x="1097" y="839"/>
                    </a:lnTo>
                    <a:lnTo>
                      <a:pt x="1097" y="840"/>
                    </a:lnTo>
                    <a:lnTo>
                      <a:pt x="1097" y="843"/>
                    </a:lnTo>
                    <a:lnTo>
                      <a:pt x="1098" y="853"/>
                    </a:lnTo>
                    <a:lnTo>
                      <a:pt x="1098" y="862"/>
                    </a:lnTo>
                    <a:lnTo>
                      <a:pt x="1098" y="872"/>
                    </a:lnTo>
                    <a:lnTo>
                      <a:pt x="1097" y="878"/>
                    </a:lnTo>
                    <a:lnTo>
                      <a:pt x="1095" y="886"/>
                    </a:lnTo>
                    <a:lnTo>
                      <a:pt x="1090" y="894"/>
                    </a:lnTo>
                    <a:lnTo>
                      <a:pt x="1084" y="900"/>
                    </a:lnTo>
                    <a:lnTo>
                      <a:pt x="1084" y="908"/>
                    </a:lnTo>
                    <a:lnTo>
                      <a:pt x="1084" y="915"/>
                    </a:lnTo>
                    <a:lnTo>
                      <a:pt x="1085" y="921"/>
                    </a:lnTo>
                    <a:lnTo>
                      <a:pt x="1085" y="929"/>
                    </a:lnTo>
                    <a:lnTo>
                      <a:pt x="1085" y="934"/>
                    </a:lnTo>
                    <a:lnTo>
                      <a:pt x="1084" y="938"/>
                    </a:lnTo>
                    <a:lnTo>
                      <a:pt x="1081" y="942"/>
                    </a:lnTo>
                    <a:lnTo>
                      <a:pt x="1079" y="942"/>
                    </a:lnTo>
                    <a:lnTo>
                      <a:pt x="1071" y="942"/>
                    </a:lnTo>
                    <a:lnTo>
                      <a:pt x="1063" y="937"/>
                    </a:lnTo>
                    <a:lnTo>
                      <a:pt x="1058" y="932"/>
                    </a:lnTo>
                    <a:lnTo>
                      <a:pt x="1052" y="930"/>
                    </a:lnTo>
                    <a:lnTo>
                      <a:pt x="1047" y="927"/>
                    </a:lnTo>
                    <a:lnTo>
                      <a:pt x="1039" y="929"/>
                    </a:lnTo>
                    <a:lnTo>
                      <a:pt x="1035" y="924"/>
                    </a:lnTo>
                    <a:lnTo>
                      <a:pt x="1027" y="921"/>
                    </a:lnTo>
                    <a:lnTo>
                      <a:pt x="1019" y="919"/>
                    </a:lnTo>
                    <a:lnTo>
                      <a:pt x="1013" y="921"/>
                    </a:lnTo>
                    <a:lnTo>
                      <a:pt x="1011" y="923"/>
                    </a:lnTo>
                    <a:lnTo>
                      <a:pt x="1008" y="927"/>
                    </a:lnTo>
                    <a:lnTo>
                      <a:pt x="1005" y="932"/>
                    </a:lnTo>
                    <a:lnTo>
                      <a:pt x="997" y="935"/>
                    </a:lnTo>
                    <a:lnTo>
                      <a:pt x="990" y="937"/>
                    </a:lnTo>
                    <a:lnTo>
                      <a:pt x="990" y="940"/>
                    </a:lnTo>
                    <a:lnTo>
                      <a:pt x="982" y="942"/>
                    </a:lnTo>
                    <a:lnTo>
                      <a:pt x="973" y="945"/>
                    </a:lnTo>
                    <a:lnTo>
                      <a:pt x="965" y="951"/>
                    </a:lnTo>
                    <a:lnTo>
                      <a:pt x="957" y="953"/>
                    </a:lnTo>
                    <a:lnTo>
                      <a:pt x="951" y="957"/>
                    </a:lnTo>
                    <a:lnTo>
                      <a:pt x="943" y="961"/>
                    </a:lnTo>
                    <a:lnTo>
                      <a:pt x="929" y="965"/>
                    </a:lnTo>
                    <a:lnTo>
                      <a:pt x="921" y="964"/>
                    </a:lnTo>
                    <a:lnTo>
                      <a:pt x="914" y="959"/>
                    </a:lnTo>
                    <a:lnTo>
                      <a:pt x="906" y="953"/>
                    </a:lnTo>
                    <a:lnTo>
                      <a:pt x="898" y="953"/>
                    </a:lnTo>
                    <a:lnTo>
                      <a:pt x="891" y="951"/>
                    </a:lnTo>
                    <a:lnTo>
                      <a:pt x="884" y="948"/>
                    </a:lnTo>
                    <a:lnTo>
                      <a:pt x="879" y="948"/>
                    </a:lnTo>
                    <a:lnTo>
                      <a:pt x="875" y="953"/>
                    </a:lnTo>
                    <a:lnTo>
                      <a:pt x="864" y="954"/>
                    </a:lnTo>
                    <a:lnTo>
                      <a:pt x="854" y="956"/>
                    </a:lnTo>
                    <a:lnTo>
                      <a:pt x="846" y="956"/>
                    </a:lnTo>
                    <a:lnTo>
                      <a:pt x="837" y="954"/>
                    </a:lnTo>
                    <a:lnTo>
                      <a:pt x="829" y="953"/>
                    </a:lnTo>
                    <a:lnTo>
                      <a:pt x="822" y="951"/>
                    </a:lnTo>
                    <a:lnTo>
                      <a:pt x="819" y="953"/>
                    </a:lnTo>
                    <a:lnTo>
                      <a:pt x="813" y="956"/>
                    </a:lnTo>
                    <a:lnTo>
                      <a:pt x="808" y="962"/>
                    </a:lnTo>
                    <a:lnTo>
                      <a:pt x="807" y="964"/>
                    </a:lnTo>
                    <a:lnTo>
                      <a:pt x="805" y="970"/>
                    </a:lnTo>
                    <a:lnTo>
                      <a:pt x="799" y="976"/>
                    </a:lnTo>
                    <a:lnTo>
                      <a:pt x="794" y="984"/>
                    </a:lnTo>
                    <a:lnTo>
                      <a:pt x="791" y="994"/>
                    </a:lnTo>
                    <a:lnTo>
                      <a:pt x="791" y="1000"/>
                    </a:lnTo>
                    <a:lnTo>
                      <a:pt x="791" y="1005"/>
                    </a:lnTo>
                    <a:lnTo>
                      <a:pt x="789" y="1011"/>
                    </a:lnTo>
                    <a:lnTo>
                      <a:pt x="784" y="1018"/>
                    </a:lnTo>
                    <a:lnTo>
                      <a:pt x="783" y="1021"/>
                    </a:lnTo>
                    <a:lnTo>
                      <a:pt x="783" y="1029"/>
                    </a:lnTo>
                    <a:lnTo>
                      <a:pt x="784" y="1037"/>
                    </a:lnTo>
                    <a:lnTo>
                      <a:pt x="789" y="1041"/>
                    </a:lnTo>
                    <a:lnTo>
                      <a:pt x="792" y="1049"/>
                    </a:lnTo>
                    <a:lnTo>
                      <a:pt x="794" y="1059"/>
                    </a:lnTo>
                    <a:lnTo>
                      <a:pt x="794" y="1071"/>
                    </a:lnTo>
                    <a:lnTo>
                      <a:pt x="788" y="1083"/>
                    </a:lnTo>
                    <a:lnTo>
                      <a:pt x="786" y="1090"/>
                    </a:lnTo>
                    <a:lnTo>
                      <a:pt x="778" y="1100"/>
                    </a:lnTo>
                    <a:lnTo>
                      <a:pt x="775" y="1106"/>
                    </a:lnTo>
                    <a:lnTo>
                      <a:pt x="767" y="1114"/>
                    </a:lnTo>
                    <a:lnTo>
                      <a:pt x="761" y="1122"/>
                    </a:lnTo>
                    <a:lnTo>
                      <a:pt x="756" y="1128"/>
                    </a:lnTo>
                    <a:lnTo>
                      <a:pt x="753" y="1135"/>
                    </a:lnTo>
                    <a:lnTo>
                      <a:pt x="751" y="1136"/>
                    </a:lnTo>
                    <a:lnTo>
                      <a:pt x="751" y="1138"/>
                    </a:lnTo>
                    <a:lnTo>
                      <a:pt x="745" y="1148"/>
                    </a:lnTo>
                    <a:lnTo>
                      <a:pt x="743" y="1152"/>
                    </a:lnTo>
                    <a:lnTo>
                      <a:pt x="742" y="1157"/>
                    </a:lnTo>
                    <a:lnTo>
                      <a:pt x="742" y="1160"/>
                    </a:lnTo>
                    <a:lnTo>
                      <a:pt x="740" y="1163"/>
                    </a:lnTo>
                    <a:lnTo>
                      <a:pt x="739" y="1165"/>
                    </a:lnTo>
                    <a:lnTo>
                      <a:pt x="739" y="1167"/>
                    </a:lnTo>
                    <a:lnTo>
                      <a:pt x="737" y="1173"/>
                    </a:lnTo>
                    <a:lnTo>
                      <a:pt x="737" y="1174"/>
                    </a:lnTo>
                    <a:lnTo>
                      <a:pt x="735" y="1174"/>
                    </a:lnTo>
                    <a:lnTo>
                      <a:pt x="734" y="1174"/>
                    </a:lnTo>
                    <a:lnTo>
                      <a:pt x="732" y="1174"/>
                    </a:lnTo>
                    <a:lnTo>
                      <a:pt x="731" y="1174"/>
                    </a:lnTo>
                    <a:lnTo>
                      <a:pt x="729" y="1174"/>
                    </a:lnTo>
                    <a:lnTo>
                      <a:pt x="727" y="1174"/>
                    </a:lnTo>
                    <a:lnTo>
                      <a:pt x="726" y="1174"/>
                    </a:lnTo>
                    <a:lnTo>
                      <a:pt x="724" y="1174"/>
                    </a:lnTo>
                    <a:lnTo>
                      <a:pt x="723" y="1174"/>
                    </a:lnTo>
                    <a:lnTo>
                      <a:pt x="721" y="1174"/>
                    </a:lnTo>
                    <a:lnTo>
                      <a:pt x="720" y="1173"/>
                    </a:lnTo>
                    <a:lnTo>
                      <a:pt x="720" y="1171"/>
                    </a:lnTo>
                    <a:lnTo>
                      <a:pt x="718" y="1170"/>
                    </a:lnTo>
                    <a:lnTo>
                      <a:pt x="713" y="1170"/>
                    </a:lnTo>
                    <a:lnTo>
                      <a:pt x="708" y="1171"/>
                    </a:lnTo>
                    <a:lnTo>
                      <a:pt x="683" y="1171"/>
                    </a:lnTo>
                    <a:lnTo>
                      <a:pt x="670" y="1168"/>
                    </a:lnTo>
                    <a:lnTo>
                      <a:pt x="658" y="1167"/>
                    </a:lnTo>
                    <a:lnTo>
                      <a:pt x="629" y="1167"/>
                    </a:lnTo>
                    <a:lnTo>
                      <a:pt x="605" y="1167"/>
                    </a:lnTo>
                    <a:lnTo>
                      <a:pt x="586" y="1168"/>
                    </a:lnTo>
                    <a:lnTo>
                      <a:pt x="577" y="1168"/>
                    </a:lnTo>
                    <a:lnTo>
                      <a:pt x="561" y="1170"/>
                    </a:lnTo>
                    <a:lnTo>
                      <a:pt x="563" y="1168"/>
                    </a:lnTo>
                    <a:lnTo>
                      <a:pt x="545" y="1165"/>
                    </a:lnTo>
                    <a:lnTo>
                      <a:pt x="545" y="1160"/>
                    </a:lnTo>
                    <a:lnTo>
                      <a:pt x="537" y="1154"/>
                    </a:lnTo>
                    <a:lnTo>
                      <a:pt x="529" y="1148"/>
                    </a:lnTo>
                    <a:lnTo>
                      <a:pt x="528" y="1146"/>
                    </a:lnTo>
                    <a:lnTo>
                      <a:pt x="525" y="1144"/>
                    </a:lnTo>
                    <a:lnTo>
                      <a:pt x="517" y="1138"/>
                    </a:lnTo>
                    <a:lnTo>
                      <a:pt x="521" y="1135"/>
                    </a:lnTo>
                    <a:lnTo>
                      <a:pt x="523" y="1132"/>
                    </a:lnTo>
                    <a:lnTo>
                      <a:pt x="521" y="1130"/>
                    </a:lnTo>
                    <a:lnTo>
                      <a:pt x="518" y="1128"/>
                    </a:lnTo>
                    <a:lnTo>
                      <a:pt x="515" y="1127"/>
                    </a:lnTo>
                    <a:lnTo>
                      <a:pt x="518" y="1121"/>
                    </a:lnTo>
                    <a:lnTo>
                      <a:pt x="518" y="1119"/>
                    </a:lnTo>
                    <a:lnTo>
                      <a:pt x="512" y="1117"/>
                    </a:lnTo>
                    <a:lnTo>
                      <a:pt x="490" y="1092"/>
                    </a:lnTo>
                    <a:lnTo>
                      <a:pt x="476" y="1076"/>
                    </a:lnTo>
                    <a:lnTo>
                      <a:pt x="476" y="1062"/>
                    </a:lnTo>
                    <a:lnTo>
                      <a:pt x="476" y="1060"/>
                    </a:lnTo>
                    <a:lnTo>
                      <a:pt x="476" y="1051"/>
                    </a:lnTo>
                    <a:lnTo>
                      <a:pt x="476" y="1043"/>
                    </a:lnTo>
                    <a:lnTo>
                      <a:pt x="476" y="1038"/>
                    </a:lnTo>
                    <a:lnTo>
                      <a:pt x="474" y="1037"/>
                    </a:lnTo>
                    <a:lnTo>
                      <a:pt x="476" y="1030"/>
                    </a:lnTo>
                    <a:lnTo>
                      <a:pt x="476" y="1022"/>
                    </a:lnTo>
                    <a:lnTo>
                      <a:pt x="476" y="1018"/>
                    </a:lnTo>
                    <a:lnTo>
                      <a:pt x="476" y="1011"/>
                    </a:lnTo>
                    <a:lnTo>
                      <a:pt x="476" y="1006"/>
                    </a:lnTo>
                    <a:lnTo>
                      <a:pt x="476" y="1003"/>
                    </a:lnTo>
                    <a:lnTo>
                      <a:pt x="474" y="986"/>
                    </a:lnTo>
                    <a:lnTo>
                      <a:pt x="476" y="986"/>
                    </a:lnTo>
                    <a:lnTo>
                      <a:pt x="476" y="981"/>
                    </a:lnTo>
                    <a:lnTo>
                      <a:pt x="477" y="978"/>
                    </a:lnTo>
                    <a:lnTo>
                      <a:pt x="479" y="978"/>
                    </a:lnTo>
                    <a:lnTo>
                      <a:pt x="479" y="976"/>
                    </a:lnTo>
                    <a:lnTo>
                      <a:pt x="480" y="975"/>
                    </a:lnTo>
                    <a:lnTo>
                      <a:pt x="482" y="975"/>
                    </a:lnTo>
                    <a:lnTo>
                      <a:pt x="483" y="972"/>
                    </a:lnTo>
                    <a:lnTo>
                      <a:pt x="487" y="968"/>
                    </a:lnTo>
                    <a:lnTo>
                      <a:pt x="487" y="967"/>
                    </a:lnTo>
                    <a:lnTo>
                      <a:pt x="488" y="965"/>
                    </a:lnTo>
                    <a:lnTo>
                      <a:pt x="488" y="962"/>
                    </a:lnTo>
                    <a:lnTo>
                      <a:pt x="490" y="961"/>
                    </a:lnTo>
                    <a:lnTo>
                      <a:pt x="490" y="959"/>
                    </a:lnTo>
                    <a:lnTo>
                      <a:pt x="488" y="956"/>
                    </a:lnTo>
                    <a:lnTo>
                      <a:pt x="487" y="954"/>
                    </a:lnTo>
                    <a:lnTo>
                      <a:pt x="485" y="953"/>
                    </a:lnTo>
                    <a:lnTo>
                      <a:pt x="483" y="951"/>
                    </a:lnTo>
                    <a:lnTo>
                      <a:pt x="482" y="948"/>
                    </a:lnTo>
                    <a:lnTo>
                      <a:pt x="479" y="943"/>
                    </a:lnTo>
                    <a:lnTo>
                      <a:pt x="479" y="940"/>
                    </a:lnTo>
                    <a:lnTo>
                      <a:pt x="479" y="937"/>
                    </a:lnTo>
                    <a:lnTo>
                      <a:pt x="480" y="935"/>
                    </a:lnTo>
                    <a:lnTo>
                      <a:pt x="483" y="930"/>
                    </a:lnTo>
                    <a:lnTo>
                      <a:pt x="485" y="929"/>
                    </a:lnTo>
                    <a:lnTo>
                      <a:pt x="488" y="927"/>
                    </a:lnTo>
                    <a:lnTo>
                      <a:pt x="490" y="923"/>
                    </a:lnTo>
                    <a:lnTo>
                      <a:pt x="488" y="919"/>
                    </a:lnTo>
                    <a:lnTo>
                      <a:pt x="487" y="918"/>
                    </a:lnTo>
                    <a:lnTo>
                      <a:pt x="483" y="916"/>
                    </a:lnTo>
                    <a:lnTo>
                      <a:pt x="482" y="915"/>
                    </a:lnTo>
                    <a:lnTo>
                      <a:pt x="480" y="915"/>
                    </a:lnTo>
                    <a:lnTo>
                      <a:pt x="479" y="915"/>
                    </a:lnTo>
                    <a:lnTo>
                      <a:pt x="477" y="913"/>
                    </a:lnTo>
                    <a:lnTo>
                      <a:pt x="476" y="913"/>
                    </a:lnTo>
                    <a:lnTo>
                      <a:pt x="474" y="911"/>
                    </a:lnTo>
                    <a:lnTo>
                      <a:pt x="468" y="910"/>
                    </a:lnTo>
                    <a:lnTo>
                      <a:pt x="466" y="908"/>
                    </a:lnTo>
                    <a:lnTo>
                      <a:pt x="464" y="908"/>
                    </a:lnTo>
                    <a:lnTo>
                      <a:pt x="463" y="908"/>
                    </a:lnTo>
                    <a:lnTo>
                      <a:pt x="463" y="910"/>
                    </a:lnTo>
                    <a:lnTo>
                      <a:pt x="461" y="908"/>
                    </a:lnTo>
                    <a:lnTo>
                      <a:pt x="460" y="908"/>
                    </a:lnTo>
                    <a:lnTo>
                      <a:pt x="458" y="907"/>
                    </a:lnTo>
                    <a:lnTo>
                      <a:pt x="458" y="903"/>
                    </a:lnTo>
                    <a:lnTo>
                      <a:pt x="457" y="903"/>
                    </a:lnTo>
                    <a:lnTo>
                      <a:pt x="457" y="902"/>
                    </a:lnTo>
                    <a:lnTo>
                      <a:pt x="457" y="903"/>
                    </a:lnTo>
                    <a:lnTo>
                      <a:pt x="455" y="903"/>
                    </a:lnTo>
                    <a:lnTo>
                      <a:pt x="455" y="902"/>
                    </a:lnTo>
                    <a:lnTo>
                      <a:pt x="453" y="902"/>
                    </a:lnTo>
                    <a:lnTo>
                      <a:pt x="452" y="902"/>
                    </a:lnTo>
                    <a:lnTo>
                      <a:pt x="450" y="902"/>
                    </a:lnTo>
                    <a:lnTo>
                      <a:pt x="449" y="902"/>
                    </a:lnTo>
                    <a:lnTo>
                      <a:pt x="449" y="900"/>
                    </a:lnTo>
                    <a:lnTo>
                      <a:pt x="447" y="899"/>
                    </a:lnTo>
                    <a:lnTo>
                      <a:pt x="447" y="897"/>
                    </a:lnTo>
                    <a:lnTo>
                      <a:pt x="445" y="897"/>
                    </a:lnTo>
                    <a:lnTo>
                      <a:pt x="444" y="897"/>
                    </a:lnTo>
                    <a:lnTo>
                      <a:pt x="442" y="897"/>
                    </a:lnTo>
                    <a:lnTo>
                      <a:pt x="439" y="899"/>
                    </a:lnTo>
                    <a:lnTo>
                      <a:pt x="438" y="899"/>
                    </a:lnTo>
                    <a:lnTo>
                      <a:pt x="436" y="897"/>
                    </a:lnTo>
                    <a:lnTo>
                      <a:pt x="434" y="899"/>
                    </a:lnTo>
                    <a:lnTo>
                      <a:pt x="430" y="899"/>
                    </a:lnTo>
                    <a:lnTo>
                      <a:pt x="430" y="897"/>
                    </a:lnTo>
                    <a:lnTo>
                      <a:pt x="428" y="897"/>
                    </a:lnTo>
                    <a:lnTo>
                      <a:pt x="423" y="900"/>
                    </a:lnTo>
                    <a:lnTo>
                      <a:pt x="420" y="900"/>
                    </a:lnTo>
                    <a:lnTo>
                      <a:pt x="419" y="900"/>
                    </a:lnTo>
                    <a:lnTo>
                      <a:pt x="419" y="899"/>
                    </a:lnTo>
                    <a:lnTo>
                      <a:pt x="419" y="894"/>
                    </a:lnTo>
                    <a:lnTo>
                      <a:pt x="417" y="894"/>
                    </a:lnTo>
                    <a:lnTo>
                      <a:pt x="415" y="894"/>
                    </a:lnTo>
                    <a:lnTo>
                      <a:pt x="414" y="894"/>
                    </a:lnTo>
                    <a:lnTo>
                      <a:pt x="412" y="896"/>
                    </a:lnTo>
                    <a:lnTo>
                      <a:pt x="412" y="894"/>
                    </a:lnTo>
                    <a:lnTo>
                      <a:pt x="411" y="892"/>
                    </a:lnTo>
                    <a:lnTo>
                      <a:pt x="409" y="891"/>
                    </a:lnTo>
                    <a:lnTo>
                      <a:pt x="407" y="889"/>
                    </a:lnTo>
                    <a:lnTo>
                      <a:pt x="406" y="889"/>
                    </a:lnTo>
                    <a:lnTo>
                      <a:pt x="404" y="891"/>
                    </a:lnTo>
                    <a:lnTo>
                      <a:pt x="403" y="891"/>
                    </a:lnTo>
                    <a:lnTo>
                      <a:pt x="403" y="892"/>
                    </a:lnTo>
                    <a:lnTo>
                      <a:pt x="401" y="892"/>
                    </a:lnTo>
                    <a:lnTo>
                      <a:pt x="398" y="891"/>
                    </a:lnTo>
                    <a:lnTo>
                      <a:pt x="398" y="889"/>
                    </a:lnTo>
                    <a:lnTo>
                      <a:pt x="396" y="889"/>
                    </a:lnTo>
                    <a:lnTo>
                      <a:pt x="395" y="889"/>
                    </a:lnTo>
                    <a:lnTo>
                      <a:pt x="393" y="889"/>
                    </a:lnTo>
                    <a:lnTo>
                      <a:pt x="392" y="889"/>
                    </a:lnTo>
                    <a:lnTo>
                      <a:pt x="392" y="891"/>
                    </a:lnTo>
                    <a:lnTo>
                      <a:pt x="390" y="889"/>
                    </a:lnTo>
                    <a:lnTo>
                      <a:pt x="388" y="889"/>
                    </a:lnTo>
                    <a:lnTo>
                      <a:pt x="384" y="889"/>
                    </a:lnTo>
                    <a:lnTo>
                      <a:pt x="381" y="891"/>
                    </a:lnTo>
                    <a:lnTo>
                      <a:pt x="374" y="892"/>
                    </a:lnTo>
                    <a:lnTo>
                      <a:pt x="373" y="894"/>
                    </a:lnTo>
                    <a:lnTo>
                      <a:pt x="369" y="897"/>
                    </a:lnTo>
                    <a:lnTo>
                      <a:pt x="368" y="899"/>
                    </a:lnTo>
                    <a:lnTo>
                      <a:pt x="362" y="902"/>
                    </a:lnTo>
                    <a:lnTo>
                      <a:pt x="360" y="903"/>
                    </a:lnTo>
                    <a:lnTo>
                      <a:pt x="358" y="905"/>
                    </a:lnTo>
                    <a:lnTo>
                      <a:pt x="357" y="905"/>
                    </a:lnTo>
                    <a:lnTo>
                      <a:pt x="355" y="907"/>
                    </a:lnTo>
                    <a:lnTo>
                      <a:pt x="354" y="907"/>
                    </a:lnTo>
                    <a:lnTo>
                      <a:pt x="349" y="907"/>
                    </a:lnTo>
                    <a:lnTo>
                      <a:pt x="346" y="907"/>
                    </a:lnTo>
                    <a:lnTo>
                      <a:pt x="346" y="908"/>
                    </a:lnTo>
                    <a:lnTo>
                      <a:pt x="344" y="908"/>
                    </a:lnTo>
                    <a:lnTo>
                      <a:pt x="339" y="913"/>
                    </a:lnTo>
                    <a:lnTo>
                      <a:pt x="338" y="913"/>
                    </a:lnTo>
                    <a:lnTo>
                      <a:pt x="336" y="915"/>
                    </a:lnTo>
                    <a:lnTo>
                      <a:pt x="335" y="915"/>
                    </a:lnTo>
                    <a:lnTo>
                      <a:pt x="331" y="913"/>
                    </a:lnTo>
                    <a:lnTo>
                      <a:pt x="330" y="913"/>
                    </a:lnTo>
                    <a:lnTo>
                      <a:pt x="328" y="913"/>
                    </a:lnTo>
                    <a:lnTo>
                      <a:pt x="327" y="911"/>
                    </a:lnTo>
                    <a:lnTo>
                      <a:pt x="325" y="910"/>
                    </a:lnTo>
                    <a:lnTo>
                      <a:pt x="325" y="908"/>
                    </a:lnTo>
                    <a:lnTo>
                      <a:pt x="323" y="903"/>
                    </a:lnTo>
                    <a:lnTo>
                      <a:pt x="323" y="902"/>
                    </a:lnTo>
                    <a:lnTo>
                      <a:pt x="323" y="889"/>
                    </a:lnTo>
                    <a:lnTo>
                      <a:pt x="323" y="888"/>
                    </a:lnTo>
                    <a:lnTo>
                      <a:pt x="330" y="881"/>
                    </a:lnTo>
                    <a:lnTo>
                      <a:pt x="330" y="880"/>
                    </a:lnTo>
                    <a:lnTo>
                      <a:pt x="330" y="878"/>
                    </a:lnTo>
                    <a:lnTo>
                      <a:pt x="330" y="877"/>
                    </a:lnTo>
                    <a:lnTo>
                      <a:pt x="330" y="875"/>
                    </a:lnTo>
                    <a:lnTo>
                      <a:pt x="330" y="873"/>
                    </a:lnTo>
                    <a:lnTo>
                      <a:pt x="328" y="872"/>
                    </a:lnTo>
                    <a:lnTo>
                      <a:pt x="327" y="870"/>
                    </a:lnTo>
                    <a:lnTo>
                      <a:pt x="327" y="869"/>
                    </a:lnTo>
                    <a:lnTo>
                      <a:pt x="328" y="867"/>
                    </a:lnTo>
                    <a:lnTo>
                      <a:pt x="327" y="865"/>
                    </a:lnTo>
                    <a:lnTo>
                      <a:pt x="327" y="864"/>
                    </a:lnTo>
                    <a:lnTo>
                      <a:pt x="322" y="862"/>
                    </a:lnTo>
                    <a:lnTo>
                      <a:pt x="319" y="861"/>
                    </a:lnTo>
                    <a:lnTo>
                      <a:pt x="319" y="859"/>
                    </a:lnTo>
                    <a:lnTo>
                      <a:pt x="314" y="856"/>
                    </a:lnTo>
                    <a:lnTo>
                      <a:pt x="312" y="856"/>
                    </a:lnTo>
                    <a:lnTo>
                      <a:pt x="309" y="853"/>
                    </a:lnTo>
                    <a:lnTo>
                      <a:pt x="308" y="853"/>
                    </a:lnTo>
                    <a:lnTo>
                      <a:pt x="308" y="851"/>
                    </a:lnTo>
                    <a:lnTo>
                      <a:pt x="304" y="850"/>
                    </a:lnTo>
                    <a:lnTo>
                      <a:pt x="301" y="848"/>
                    </a:lnTo>
                    <a:lnTo>
                      <a:pt x="297" y="845"/>
                    </a:lnTo>
                    <a:lnTo>
                      <a:pt x="295" y="843"/>
                    </a:lnTo>
                    <a:lnTo>
                      <a:pt x="292" y="842"/>
                    </a:lnTo>
                    <a:lnTo>
                      <a:pt x="290" y="840"/>
                    </a:lnTo>
                    <a:lnTo>
                      <a:pt x="284" y="837"/>
                    </a:lnTo>
                    <a:lnTo>
                      <a:pt x="278" y="832"/>
                    </a:lnTo>
                    <a:lnTo>
                      <a:pt x="274" y="829"/>
                    </a:lnTo>
                    <a:lnTo>
                      <a:pt x="274" y="827"/>
                    </a:lnTo>
                    <a:lnTo>
                      <a:pt x="274" y="823"/>
                    </a:lnTo>
                    <a:lnTo>
                      <a:pt x="274" y="808"/>
                    </a:lnTo>
                    <a:lnTo>
                      <a:pt x="268" y="799"/>
                    </a:lnTo>
                    <a:lnTo>
                      <a:pt x="254" y="775"/>
                    </a:lnTo>
                    <a:lnTo>
                      <a:pt x="252" y="774"/>
                    </a:lnTo>
                    <a:lnTo>
                      <a:pt x="251" y="770"/>
                    </a:lnTo>
                    <a:lnTo>
                      <a:pt x="249" y="767"/>
                    </a:lnTo>
                    <a:lnTo>
                      <a:pt x="240" y="753"/>
                    </a:lnTo>
                    <a:lnTo>
                      <a:pt x="238" y="750"/>
                    </a:lnTo>
                    <a:lnTo>
                      <a:pt x="238" y="748"/>
                    </a:lnTo>
                    <a:lnTo>
                      <a:pt x="240" y="743"/>
                    </a:lnTo>
                    <a:lnTo>
                      <a:pt x="238" y="742"/>
                    </a:lnTo>
                    <a:lnTo>
                      <a:pt x="236" y="739"/>
                    </a:lnTo>
                    <a:lnTo>
                      <a:pt x="235" y="736"/>
                    </a:lnTo>
                    <a:lnTo>
                      <a:pt x="235" y="734"/>
                    </a:lnTo>
                    <a:lnTo>
                      <a:pt x="235" y="732"/>
                    </a:lnTo>
                    <a:lnTo>
                      <a:pt x="236" y="729"/>
                    </a:lnTo>
                    <a:lnTo>
                      <a:pt x="236" y="726"/>
                    </a:lnTo>
                    <a:lnTo>
                      <a:pt x="240" y="723"/>
                    </a:lnTo>
                    <a:lnTo>
                      <a:pt x="240" y="721"/>
                    </a:lnTo>
                    <a:lnTo>
                      <a:pt x="240" y="720"/>
                    </a:lnTo>
                    <a:lnTo>
                      <a:pt x="238" y="713"/>
                    </a:lnTo>
                    <a:lnTo>
                      <a:pt x="236" y="712"/>
                    </a:lnTo>
                    <a:lnTo>
                      <a:pt x="236" y="709"/>
                    </a:lnTo>
                    <a:lnTo>
                      <a:pt x="235" y="705"/>
                    </a:lnTo>
                    <a:lnTo>
                      <a:pt x="236" y="705"/>
                    </a:lnTo>
                    <a:lnTo>
                      <a:pt x="236" y="702"/>
                    </a:lnTo>
                    <a:lnTo>
                      <a:pt x="236" y="701"/>
                    </a:lnTo>
                    <a:lnTo>
                      <a:pt x="236" y="699"/>
                    </a:lnTo>
                    <a:lnTo>
                      <a:pt x="236" y="698"/>
                    </a:lnTo>
                    <a:lnTo>
                      <a:pt x="236" y="696"/>
                    </a:lnTo>
                    <a:lnTo>
                      <a:pt x="235" y="696"/>
                    </a:lnTo>
                    <a:lnTo>
                      <a:pt x="233" y="694"/>
                    </a:lnTo>
                    <a:lnTo>
                      <a:pt x="232" y="693"/>
                    </a:lnTo>
                    <a:lnTo>
                      <a:pt x="230" y="693"/>
                    </a:lnTo>
                    <a:lnTo>
                      <a:pt x="228" y="693"/>
                    </a:lnTo>
                    <a:lnTo>
                      <a:pt x="228" y="691"/>
                    </a:lnTo>
                    <a:lnTo>
                      <a:pt x="227" y="688"/>
                    </a:lnTo>
                    <a:lnTo>
                      <a:pt x="227" y="685"/>
                    </a:lnTo>
                    <a:lnTo>
                      <a:pt x="227" y="679"/>
                    </a:lnTo>
                    <a:lnTo>
                      <a:pt x="228" y="671"/>
                    </a:lnTo>
                    <a:lnTo>
                      <a:pt x="228" y="669"/>
                    </a:lnTo>
                    <a:lnTo>
                      <a:pt x="228" y="667"/>
                    </a:lnTo>
                    <a:lnTo>
                      <a:pt x="230" y="666"/>
                    </a:lnTo>
                    <a:lnTo>
                      <a:pt x="230" y="664"/>
                    </a:lnTo>
                    <a:lnTo>
                      <a:pt x="228" y="659"/>
                    </a:lnTo>
                    <a:lnTo>
                      <a:pt x="228" y="658"/>
                    </a:lnTo>
                    <a:lnTo>
                      <a:pt x="227" y="656"/>
                    </a:lnTo>
                    <a:lnTo>
                      <a:pt x="225" y="653"/>
                    </a:lnTo>
                    <a:lnTo>
                      <a:pt x="225" y="652"/>
                    </a:lnTo>
                    <a:lnTo>
                      <a:pt x="225" y="650"/>
                    </a:lnTo>
                    <a:lnTo>
                      <a:pt x="224" y="648"/>
                    </a:lnTo>
                    <a:lnTo>
                      <a:pt x="224" y="647"/>
                    </a:lnTo>
                    <a:lnTo>
                      <a:pt x="224" y="645"/>
                    </a:lnTo>
                    <a:lnTo>
                      <a:pt x="224" y="644"/>
                    </a:lnTo>
                    <a:lnTo>
                      <a:pt x="224" y="640"/>
                    </a:lnTo>
                    <a:lnTo>
                      <a:pt x="224" y="639"/>
                    </a:lnTo>
                    <a:lnTo>
                      <a:pt x="224" y="637"/>
                    </a:lnTo>
                    <a:lnTo>
                      <a:pt x="225" y="636"/>
                    </a:lnTo>
                    <a:lnTo>
                      <a:pt x="227" y="636"/>
                    </a:lnTo>
                    <a:lnTo>
                      <a:pt x="230" y="636"/>
                    </a:lnTo>
                    <a:lnTo>
                      <a:pt x="232" y="634"/>
                    </a:lnTo>
                    <a:lnTo>
                      <a:pt x="233" y="633"/>
                    </a:lnTo>
                    <a:lnTo>
                      <a:pt x="233" y="631"/>
                    </a:lnTo>
                    <a:lnTo>
                      <a:pt x="233" y="628"/>
                    </a:lnTo>
                    <a:lnTo>
                      <a:pt x="233" y="626"/>
                    </a:lnTo>
                    <a:lnTo>
                      <a:pt x="233" y="625"/>
                    </a:lnTo>
                    <a:lnTo>
                      <a:pt x="235" y="621"/>
                    </a:lnTo>
                    <a:lnTo>
                      <a:pt x="236" y="618"/>
                    </a:lnTo>
                    <a:lnTo>
                      <a:pt x="236" y="617"/>
                    </a:lnTo>
                    <a:lnTo>
                      <a:pt x="236" y="615"/>
                    </a:lnTo>
                    <a:lnTo>
                      <a:pt x="235" y="615"/>
                    </a:lnTo>
                    <a:lnTo>
                      <a:pt x="235" y="614"/>
                    </a:lnTo>
                    <a:lnTo>
                      <a:pt x="235" y="610"/>
                    </a:lnTo>
                    <a:lnTo>
                      <a:pt x="235" y="607"/>
                    </a:lnTo>
                    <a:lnTo>
                      <a:pt x="233" y="607"/>
                    </a:lnTo>
                    <a:lnTo>
                      <a:pt x="235" y="606"/>
                    </a:lnTo>
                    <a:lnTo>
                      <a:pt x="235" y="604"/>
                    </a:lnTo>
                    <a:lnTo>
                      <a:pt x="236" y="604"/>
                    </a:lnTo>
                    <a:lnTo>
                      <a:pt x="238" y="602"/>
                    </a:lnTo>
                    <a:lnTo>
                      <a:pt x="240" y="602"/>
                    </a:lnTo>
                    <a:lnTo>
                      <a:pt x="240" y="601"/>
                    </a:lnTo>
                    <a:lnTo>
                      <a:pt x="240" y="599"/>
                    </a:lnTo>
                    <a:lnTo>
                      <a:pt x="241" y="595"/>
                    </a:lnTo>
                    <a:lnTo>
                      <a:pt x="241" y="593"/>
                    </a:lnTo>
                    <a:lnTo>
                      <a:pt x="243" y="593"/>
                    </a:lnTo>
                    <a:lnTo>
                      <a:pt x="243" y="591"/>
                    </a:lnTo>
                    <a:lnTo>
                      <a:pt x="243" y="588"/>
                    </a:lnTo>
                    <a:lnTo>
                      <a:pt x="241" y="587"/>
                    </a:lnTo>
                    <a:lnTo>
                      <a:pt x="241" y="583"/>
                    </a:lnTo>
                    <a:lnTo>
                      <a:pt x="240" y="583"/>
                    </a:lnTo>
                    <a:lnTo>
                      <a:pt x="238" y="580"/>
                    </a:lnTo>
                    <a:lnTo>
                      <a:pt x="236" y="580"/>
                    </a:lnTo>
                    <a:lnTo>
                      <a:pt x="233" y="579"/>
                    </a:lnTo>
                    <a:lnTo>
                      <a:pt x="232" y="577"/>
                    </a:lnTo>
                    <a:lnTo>
                      <a:pt x="232" y="576"/>
                    </a:lnTo>
                    <a:lnTo>
                      <a:pt x="230" y="574"/>
                    </a:lnTo>
                    <a:lnTo>
                      <a:pt x="228" y="572"/>
                    </a:lnTo>
                    <a:lnTo>
                      <a:pt x="227" y="572"/>
                    </a:lnTo>
                    <a:lnTo>
                      <a:pt x="225" y="572"/>
                    </a:lnTo>
                    <a:lnTo>
                      <a:pt x="224" y="571"/>
                    </a:lnTo>
                    <a:lnTo>
                      <a:pt x="224" y="569"/>
                    </a:lnTo>
                    <a:lnTo>
                      <a:pt x="224" y="568"/>
                    </a:lnTo>
                    <a:lnTo>
                      <a:pt x="222" y="564"/>
                    </a:lnTo>
                    <a:lnTo>
                      <a:pt x="221" y="563"/>
                    </a:lnTo>
                    <a:lnTo>
                      <a:pt x="221" y="561"/>
                    </a:lnTo>
                    <a:lnTo>
                      <a:pt x="219" y="560"/>
                    </a:lnTo>
                    <a:lnTo>
                      <a:pt x="219" y="558"/>
                    </a:lnTo>
                    <a:lnTo>
                      <a:pt x="214" y="558"/>
                    </a:lnTo>
                    <a:lnTo>
                      <a:pt x="214" y="556"/>
                    </a:lnTo>
                    <a:lnTo>
                      <a:pt x="211" y="553"/>
                    </a:lnTo>
                    <a:lnTo>
                      <a:pt x="211" y="552"/>
                    </a:lnTo>
                    <a:lnTo>
                      <a:pt x="209" y="552"/>
                    </a:lnTo>
                    <a:lnTo>
                      <a:pt x="206" y="552"/>
                    </a:lnTo>
                    <a:lnTo>
                      <a:pt x="205" y="550"/>
                    </a:lnTo>
                    <a:lnTo>
                      <a:pt x="203" y="549"/>
                    </a:lnTo>
                    <a:lnTo>
                      <a:pt x="205" y="547"/>
                    </a:lnTo>
                    <a:lnTo>
                      <a:pt x="205" y="545"/>
                    </a:lnTo>
                    <a:lnTo>
                      <a:pt x="203" y="545"/>
                    </a:lnTo>
                    <a:lnTo>
                      <a:pt x="203" y="544"/>
                    </a:lnTo>
                    <a:lnTo>
                      <a:pt x="202" y="544"/>
                    </a:lnTo>
                    <a:lnTo>
                      <a:pt x="195" y="542"/>
                    </a:lnTo>
                    <a:lnTo>
                      <a:pt x="194" y="542"/>
                    </a:lnTo>
                    <a:lnTo>
                      <a:pt x="192" y="542"/>
                    </a:lnTo>
                    <a:lnTo>
                      <a:pt x="190" y="544"/>
                    </a:lnTo>
                    <a:lnTo>
                      <a:pt x="187" y="544"/>
                    </a:lnTo>
                    <a:lnTo>
                      <a:pt x="186" y="544"/>
                    </a:lnTo>
                    <a:lnTo>
                      <a:pt x="183" y="544"/>
                    </a:lnTo>
                    <a:lnTo>
                      <a:pt x="181" y="544"/>
                    </a:lnTo>
                    <a:lnTo>
                      <a:pt x="179" y="544"/>
                    </a:lnTo>
                    <a:lnTo>
                      <a:pt x="176" y="547"/>
                    </a:lnTo>
                    <a:lnTo>
                      <a:pt x="175" y="547"/>
                    </a:lnTo>
                    <a:lnTo>
                      <a:pt x="173" y="547"/>
                    </a:lnTo>
                    <a:lnTo>
                      <a:pt x="173" y="545"/>
                    </a:lnTo>
                    <a:lnTo>
                      <a:pt x="171" y="544"/>
                    </a:lnTo>
                    <a:lnTo>
                      <a:pt x="170" y="545"/>
                    </a:lnTo>
                    <a:lnTo>
                      <a:pt x="168" y="544"/>
                    </a:lnTo>
                    <a:lnTo>
                      <a:pt x="167" y="542"/>
                    </a:lnTo>
                    <a:lnTo>
                      <a:pt x="162" y="536"/>
                    </a:lnTo>
                    <a:lnTo>
                      <a:pt x="160" y="533"/>
                    </a:lnTo>
                    <a:lnTo>
                      <a:pt x="157" y="533"/>
                    </a:lnTo>
                    <a:lnTo>
                      <a:pt x="154" y="530"/>
                    </a:lnTo>
                    <a:lnTo>
                      <a:pt x="154" y="528"/>
                    </a:lnTo>
                    <a:lnTo>
                      <a:pt x="152" y="523"/>
                    </a:lnTo>
                    <a:lnTo>
                      <a:pt x="151" y="523"/>
                    </a:lnTo>
                    <a:lnTo>
                      <a:pt x="151" y="522"/>
                    </a:lnTo>
                    <a:lnTo>
                      <a:pt x="152" y="520"/>
                    </a:lnTo>
                    <a:lnTo>
                      <a:pt x="151" y="518"/>
                    </a:lnTo>
                    <a:lnTo>
                      <a:pt x="146" y="517"/>
                    </a:lnTo>
                    <a:lnTo>
                      <a:pt x="141" y="514"/>
                    </a:lnTo>
                    <a:lnTo>
                      <a:pt x="135" y="507"/>
                    </a:lnTo>
                    <a:lnTo>
                      <a:pt x="133" y="506"/>
                    </a:lnTo>
                    <a:lnTo>
                      <a:pt x="132" y="504"/>
                    </a:lnTo>
                    <a:lnTo>
                      <a:pt x="130" y="504"/>
                    </a:lnTo>
                    <a:lnTo>
                      <a:pt x="129" y="504"/>
                    </a:lnTo>
                    <a:lnTo>
                      <a:pt x="127" y="504"/>
                    </a:lnTo>
                    <a:lnTo>
                      <a:pt x="127" y="506"/>
                    </a:lnTo>
                    <a:lnTo>
                      <a:pt x="127" y="507"/>
                    </a:lnTo>
                    <a:lnTo>
                      <a:pt x="125" y="507"/>
                    </a:lnTo>
                    <a:lnTo>
                      <a:pt x="125" y="509"/>
                    </a:lnTo>
                    <a:lnTo>
                      <a:pt x="124" y="509"/>
                    </a:lnTo>
                    <a:lnTo>
                      <a:pt x="124" y="507"/>
                    </a:lnTo>
                    <a:lnTo>
                      <a:pt x="122" y="507"/>
                    </a:lnTo>
                    <a:lnTo>
                      <a:pt x="121" y="507"/>
                    </a:lnTo>
                    <a:lnTo>
                      <a:pt x="119" y="507"/>
                    </a:lnTo>
                    <a:lnTo>
                      <a:pt x="116" y="507"/>
                    </a:lnTo>
                    <a:lnTo>
                      <a:pt x="114" y="507"/>
                    </a:lnTo>
                    <a:lnTo>
                      <a:pt x="111" y="506"/>
                    </a:lnTo>
                    <a:lnTo>
                      <a:pt x="106" y="506"/>
                    </a:lnTo>
                    <a:lnTo>
                      <a:pt x="106" y="504"/>
                    </a:lnTo>
                    <a:lnTo>
                      <a:pt x="105" y="504"/>
                    </a:lnTo>
                    <a:lnTo>
                      <a:pt x="103" y="501"/>
                    </a:lnTo>
                    <a:lnTo>
                      <a:pt x="102" y="503"/>
                    </a:lnTo>
                    <a:lnTo>
                      <a:pt x="100" y="501"/>
                    </a:lnTo>
                    <a:lnTo>
                      <a:pt x="100" y="499"/>
                    </a:lnTo>
                    <a:lnTo>
                      <a:pt x="102" y="493"/>
                    </a:lnTo>
                    <a:lnTo>
                      <a:pt x="100" y="493"/>
                    </a:lnTo>
                    <a:lnTo>
                      <a:pt x="100" y="492"/>
                    </a:lnTo>
                    <a:lnTo>
                      <a:pt x="100" y="490"/>
                    </a:lnTo>
                    <a:lnTo>
                      <a:pt x="100" y="488"/>
                    </a:lnTo>
                    <a:lnTo>
                      <a:pt x="102" y="487"/>
                    </a:lnTo>
                    <a:lnTo>
                      <a:pt x="103" y="487"/>
                    </a:lnTo>
                    <a:lnTo>
                      <a:pt x="102" y="485"/>
                    </a:lnTo>
                    <a:lnTo>
                      <a:pt x="100" y="485"/>
                    </a:lnTo>
                    <a:lnTo>
                      <a:pt x="102" y="484"/>
                    </a:lnTo>
                    <a:lnTo>
                      <a:pt x="102" y="482"/>
                    </a:lnTo>
                    <a:lnTo>
                      <a:pt x="103" y="480"/>
                    </a:lnTo>
                    <a:lnTo>
                      <a:pt x="102" y="480"/>
                    </a:lnTo>
                    <a:lnTo>
                      <a:pt x="102" y="479"/>
                    </a:lnTo>
                    <a:lnTo>
                      <a:pt x="100" y="477"/>
                    </a:lnTo>
                    <a:lnTo>
                      <a:pt x="99" y="474"/>
                    </a:lnTo>
                    <a:lnTo>
                      <a:pt x="99" y="469"/>
                    </a:lnTo>
                    <a:lnTo>
                      <a:pt x="97" y="468"/>
                    </a:lnTo>
                    <a:lnTo>
                      <a:pt x="97" y="469"/>
                    </a:lnTo>
                    <a:lnTo>
                      <a:pt x="94" y="469"/>
                    </a:lnTo>
                    <a:lnTo>
                      <a:pt x="94" y="468"/>
                    </a:lnTo>
                    <a:lnTo>
                      <a:pt x="94" y="466"/>
                    </a:lnTo>
                    <a:lnTo>
                      <a:pt x="94" y="463"/>
                    </a:lnTo>
                    <a:lnTo>
                      <a:pt x="92" y="461"/>
                    </a:lnTo>
                    <a:lnTo>
                      <a:pt x="92" y="463"/>
                    </a:lnTo>
                    <a:lnTo>
                      <a:pt x="91" y="463"/>
                    </a:lnTo>
                    <a:lnTo>
                      <a:pt x="89" y="463"/>
                    </a:lnTo>
                    <a:lnTo>
                      <a:pt x="87" y="461"/>
                    </a:lnTo>
                    <a:lnTo>
                      <a:pt x="86" y="458"/>
                    </a:lnTo>
                    <a:lnTo>
                      <a:pt x="86" y="455"/>
                    </a:lnTo>
                    <a:lnTo>
                      <a:pt x="84" y="454"/>
                    </a:lnTo>
                    <a:lnTo>
                      <a:pt x="80" y="449"/>
                    </a:lnTo>
                    <a:lnTo>
                      <a:pt x="78" y="449"/>
                    </a:lnTo>
                    <a:lnTo>
                      <a:pt x="76" y="449"/>
                    </a:lnTo>
                    <a:lnTo>
                      <a:pt x="75" y="449"/>
                    </a:lnTo>
                    <a:lnTo>
                      <a:pt x="70" y="446"/>
                    </a:lnTo>
                    <a:lnTo>
                      <a:pt x="68" y="446"/>
                    </a:lnTo>
                    <a:lnTo>
                      <a:pt x="64" y="444"/>
                    </a:lnTo>
                    <a:lnTo>
                      <a:pt x="59" y="442"/>
                    </a:lnTo>
                    <a:lnTo>
                      <a:pt x="48" y="439"/>
                    </a:lnTo>
                    <a:lnTo>
                      <a:pt x="45" y="439"/>
                    </a:lnTo>
                    <a:lnTo>
                      <a:pt x="38" y="439"/>
                    </a:lnTo>
                    <a:lnTo>
                      <a:pt x="37" y="439"/>
                    </a:lnTo>
                    <a:lnTo>
                      <a:pt x="35" y="439"/>
                    </a:lnTo>
                    <a:lnTo>
                      <a:pt x="34" y="439"/>
                    </a:lnTo>
                    <a:lnTo>
                      <a:pt x="29" y="436"/>
                    </a:lnTo>
                    <a:lnTo>
                      <a:pt x="27" y="433"/>
                    </a:lnTo>
                    <a:lnTo>
                      <a:pt x="26" y="433"/>
                    </a:lnTo>
                    <a:lnTo>
                      <a:pt x="24" y="431"/>
                    </a:lnTo>
                    <a:lnTo>
                      <a:pt x="23" y="430"/>
                    </a:lnTo>
                    <a:lnTo>
                      <a:pt x="23" y="428"/>
                    </a:lnTo>
                    <a:lnTo>
                      <a:pt x="24" y="428"/>
                    </a:lnTo>
                    <a:lnTo>
                      <a:pt x="24" y="427"/>
                    </a:lnTo>
                    <a:lnTo>
                      <a:pt x="23" y="425"/>
                    </a:lnTo>
                    <a:lnTo>
                      <a:pt x="19" y="425"/>
                    </a:lnTo>
                    <a:lnTo>
                      <a:pt x="18" y="425"/>
                    </a:lnTo>
                    <a:lnTo>
                      <a:pt x="16" y="427"/>
                    </a:lnTo>
                    <a:lnTo>
                      <a:pt x="15" y="427"/>
                    </a:lnTo>
                    <a:lnTo>
                      <a:pt x="13" y="425"/>
                    </a:lnTo>
                    <a:lnTo>
                      <a:pt x="13" y="423"/>
                    </a:lnTo>
                    <a:lnTo>
                      <a:pt x="10" y="422"/>
                    </a:lnTo>
                    <a:lnTo>
                      <a:pt x="10" y="420"/>
                    </a:lnTo>
                    <a:lnTo>
                      <a:pt x="10" y="419"/>
                    </a:lnTo>
                    <a:lnTo>
                      <a:pt x="8" y="417"/>
                    </a:lnTo>
                    <a:lnTo>
                      <a:pt x="7" y="417"/>
                    </a:lnTo>
                    <a:lnTo>
                      <a:pt x="7" y="415"/>
                    </a:lnTo>
                    <a:lnTo>
                      <a:pt x="2" y="415"/>
                    </a:lnTo>
                    <a:lnTo>
                      <a:pt x="2" y="414"/>
                    </a:lnTo>
                    <a:lnTo>
                      <a:pt x="2" y="412"/>
                    </a:lnTo>
                    <a:lnTo>
                      <a:pt x="2" y="411"/>
                    </a:lnTo>
                    <a:lnTo>
                      <a:pt x="2" y="409"/>
                    </a:lnTo>
                    <a:lnTo>
                      <a:pt x="0" y="408"/>
                    </a:lnTo>
                    <a:lnTo>
                      <a:pt x="0" y="406"/>
                    </a:lnTo>
                    <a:lnTo>
                      <a:pt x="0" y="404"/>
                    </a:lnTo>
                    <a:lnTo>
                      <a:pt x="0" y="403"/>
                    </a:lnTo>
                    <a:lnTo>
                      <a:pt x="0" y="401"/>
                    </a:lnTo>
                    <a:lnTo>
                      <a:pt x="2" y="400"/>
                    </a:lnTo>
                    <a:lnTo>
                      <a:pt x="2" y="398"/>
                    </a:lnTo>
                    <a:lnTo>
                      <a:pt x="4" y="396"/>
                    </a:lnTo>
                    <a:lnTo>
                      <a:pt x="8" y="396"/>
                    </a:lnTo>
                    <a:lnTo>
                      <a:pt x="16" y="400"/>
                    </a:lnTo>
                    <a:lnTo>
                      <a:pt x="18" y="401"/>
                    </a:lnTo>
                    <a:lnTo>
                      <a:pt x="27" y="409"/>
                    </a:lnTo>
                    <a:lnTo>
                      <a:pt x="29" y="411"/>
                    </a:lnTo>
                    <a:lnTo>
                      <a:pt x="32" y="412"/>
                    </a:lnTo>
                    <a:lnTo>
                      <a:pt x="35" y="412"/>
                    </a:lnTo>
                    <a:lnTo>
                      <a:pt x="42" y="412"/>
                    </a:lnTo>
                    <a:lnTo>
                      <a:pt x="45" y="412"/>
                    </a:lnTo>
                    <a:lnTo>
                      <a:pt x="46" y="412"/>
                    </a:lnTo>
                    <a:lnTo>
                      <a:pt x="48" y="412"/>
                    </a:lnTo>
                    <a:lnTo>
                      <a:pt x="54" y="409"/>
                    </a:lnTo>
                    <a:lnTo>
                      <a:pt x="56" y="408"/>
                    </a:lnTo>
                    <a:lnTo>
                      <a:pt x="59" y="408"/>
                    </a:lnTo>
                    <a:lnTo>
                      <a:pt x="62" y="406"/>
                    </a:lnTo>
                    <a:lnTo>
                      <a:pt x="67" y="406"/>
                    </a:lnTo>
                    <a:lnTo>
                      <a:pt x="67" y="404"/>
                    </a:lnTo>
                    <a:lnTo>
                      <a:pt x="72" y="404"/>
                    </a:lnTo>
                    <a:lnTo>
                      <a:pt x="73" y="404"/>
                    </a:lnTo>
                    <a:lnTo>
                      <a:pt x="76" y="404"/>
                    </a:lnTo>
                    <a:lnTo>
                      <a:pt x="78" y="404"/>
                    </a:lnTo>
                    <a:lnTo>
                      <a:pt x="80" y="404"/>
                    </a:lnTo>
                    <a:lnTo>
                      <a:pt x="81" y="404"/>
                    </a:lnTo>
                    <a:lnTo>
                      <a:pt x="83" y="404"/>
                    </a:lnTo>
                    <a:lnTo>
                      <a:pt x="84" y="404"/>
                    </a:lnTo>
                    <a:lnTo>
                      <a:pt x="86" y="404"/>
                    </a:lnTo>
                    <a:lnTo>
                      <a:pt x="89" y="404"/>
                    </a:lnTo>
                    <a:lnTo>
                      <a:pt x="91" y="404"/>
                    </a:lnTo>
                    <a:lnTo>
                      <a:pt x="92" y="406"/>
                    </a:lnTo>
                    <a:lnTo>
                      <a:pt x="94" y="406"/>
                    </a:lnTo>
                    <a:lnTo>
                      <a:pt x="95" y="406"/>
                    </a:lnTo>
                    <a:lnTo>
                      <a:pt x="97" y="406"/>
                    </a:lnTo>
                    <a:lnTo>
                      <a:pt x="99" y="408"/>
                    </a:lnTo>
                    <a:lnTo>
                      <a:pt x="102" y="409"/>
                    </a:lnTo>
                    <a:lnTo>
                      <a:pt x="102" y="411"/>
                    </a:lnTo>
                    <a:lnTo>
                      <a:pt x="105" y="414"/>
                    </a:lnTo>
                    <a:lnTo>
                      <a:pt x="108" y="415"/>
                    </a:lnTo>
                    <a:lnTo>
                      <a:pt x="111" y="417"/>
                    </a:lnTo>
                    <a:lnTo>
                      <a:pt x="116" y="420"/>
                    </a:lnTo>
                    <a:lnTo>
                      <a:pt x="118" y="422"/>
                    </a:lnTo>
                    <a:lnTo>
                      <a:pt x="124" y="423"/>
                    </a:lnTo>
                    <a:lnTo>
                      <a:pt x="129" y="425"/>
                    </a:lnTo>
                    <a:lnTo>
                      <a:pt x="132" y="425"/>
                    </a:lnTo>
                    <a:lnTo>
                      <a:pt x="137" y="423"/>
                    </a:lnTo>
                    <a:lnTo>
                      <a:pt x="140" y="423"/>
                    </a:lnTo>
                    <a:lnTo>
                      <a:pt x="148" y="423"/>
                    </a:lnTo>
                    <a:lnTo>
                      <a:pt x="149" y="423"/>
                    </a:lnTo>
                    <a:lnTo>
                      <a:pt x="152" y="422"/>
                    </a:lnTo>
                    <a:lnTo>
                      <a:pt x="154" y="420"/>
                    </a:lnTo>
                    <a:lnTo>
                      <a:pt x="159" y="417"/>
                    </a:lnTo>
                    <a:lnTo>
                      <a:pt x="160" y="415"/>
                    </a:lnTo>
                    <a:lnTo>
                      <a:pt x="165" y="411"/>
                    </a:lnTo>
                    <a:lnTo>
                      <a:pt x="168" y="408"/>
                    </a:lnTo>
                    <a:lnTo>
                      <a:pt x="170" y="406"/>
                    </a:lnTo>
                    <a:lnTo>
                      <a:pt x="175" y="403"/>
                    </a:lnTo>
                    <a:lnTo>
                      <a:pt x="176" y="400"/>
                    </a:lnTo>
                    <a:lnTo>
                      <a:pt x="179" y="398"/>
                    </a:lnTo>
                    <a:lnTo>
                      <a:pt x="184" y="398"/>
                    </a:lnTo>
                    <a:lnTo>
                      <a:pt x="190" y="396"/>
                    </a:lnTo>
                    <a:lnTo>
                      <a:pt x="195" y="395"/>
                    </a:lnTo>
                    <a:lnTo>
                      <a:pt x="200" y="395"/>
                    </a:lnTo>
                    <a:lnTo>
                      <a:pt x="205" y="396"/>
                    </a:lnTo>
                    <a:lnTo>
                      <a:pt x="209" y="396"/>
                    </a:lnTo>
                    <a:lnTo>
                      <a:pt x="214" y="396"/>
                    </a:lnTo>
                    <a:lnTo>
                      <a:pt x="217" y="395"/>
                    </a:lnTo>
                    <a:lnTo>
                      <a:pt x="224" y="395"/>
                    </a:lnTo>
                    <a:lnTo>
                      <a:pt x="225" y="396"/>
                    </a:lnTo>
                    <a:lnTo>
                      <a:pt x="227" y="396"/>
                    </a:lnTo>
                    <a:lnTo>
                      <a:pt x="230" y="395"/>
                    </a:lnTo>
                    <a:lnTo>
                      <a:pt x="232" y="392"/>
                    </a:lnTo>
                    <a:lnTo>
                      <a:pt x="233" y="387"/>
                    </a:lnTo>
                    <a:lnTo>
                      <a:pt x="235" y="389"/>
                    </a:lnTo>
                    <a:lnTo>
                      <a:pt x="238" y="389"/>
                    </a:lnTo>
                    <a:lnTo>
                      <a:pt x="244" y="389"/>
                    </a:lnTo>
                    <a:lnTo>
                      <a:pt x="249" y="385"/>
                    </a:lnTo>
                    <a:lnTo>
                      <a:pt x="252" y="384"/>
                    </a:lnTo>
                    <a:lnTo>
                      <a:pt x="254" y="382"/>
                    </a:lnTo>
                    <a:lnTo>
                      <a:pt x="255" y="381"/>
                    </a:lnTo>
                    <a:lnTo>
                      <a:pt x="255" y="379"/>
                    </a:lnTo>
                    <a:lnTo>
                      <a:pt x="257" y="381"/>
                    </a:lnTo>
                    <a:lnTo>
                      <a:pt x="260" y="384"/>
                    </a:lnTo>
                    <a:lnTo>
                      <a:pt x="262" y="384"/>
                    </a:lnTo>
                    <a:lnTo>
                      <a:pt x="268" y="387"/>
                    </a:lnTo>
                    <a:lnTo>
                      <a:pt x="273" y="389"/>
                    </a:lnTo>
                    <a:lnTo>
                      <a:pt x="276" y="390"/>
                    </a:lnTo>
                    <a:lnTo>
                      <a:pt x="279" y="392"/>
                    </a:lnTo>
                    <a:lnTo>
                      <a:pt x="281" y="393"/>
                    </a:lnTo>
                    <a:lnTo>
                      <a:pt x="282" y="393"/>
                    </a:lnTo>
                    <a:lnTo>
                      <a:pt x="287" y="395"/>
                    </a:lnTo>
                    <a:lnTo>
                      <a:pt x="289" y="393"/>
                    </a:lnTo>
                    <a:lnTo>
                      <a:pt x="290" y="393"/>
                    </a:lnTo>
                    <a:lnTo>
                      <a:pt x="293" y="393"/>
                    </a:lnTo>
                    <a:lnTo>
                      <a:pt x="297" y="392"/>
                    </a:lnTo>
                    <a:lnTo>
                      <a:pt x="300" y="389"/>
                    </a:lnTo>
                    <a:lnTo>
                      <a:pt x="303" y="387"/>
                    </a:lnTo>
                    <a:lnTo>
                      <a:pt x="306" y="385"/>
                    </a:lnTo>
                    <a:lnTo>
                      <a:pt x="308" y="385"/>
                    </a:lnTo>
                    <a:lnTo>
                      <a:pt x="311" y="385"/>
                    </a:lnTo>
                    <a:lnTo>
                      <a:pt x="316" y="387"/>
                    </a:lnTo>
                    <a:lnTo>
                      <a:pt x="316" y="389"/>
                    </a:lnTo>
                    <a:lnTo>
                      <a:pt x="319" y="389"/>
                    </a:lnTo>
                    <a:lnTo>
                      <a:pt x="323" y="389"/>
                    </a:lnTo>
                    <a:lnTo>
                      <a:pt x="328" y="389"/>
                    </a:lnTo>
                    <a:lnTo>
                      <a:pt x="335" y="389"/>
                    </a:lnTo>
                    <a:lnTo>
                      <a:pt x="338" y="385"/>
                    </a:lnTo>
                    <a:lnTo>
                      <a:pt x="336" y="384"/>
                    </a:lnTo>
                    <a:lnTo>
                      <a:pt x="336" y="382"/>
                    </a:lnTo>
                    <a:lnTo>
                      <a:pt x="335" y="381"/>
                    </a:lnTo>
                    <a:lnTo>
                      <a:pt x="333" y="377"/>
                    </a:lnTo>
                    <a:lnTo>
                      <a:pt x="333" y="376"/>
                    </a:lnTo>
                    <a:lnTo>
                      <a:pt x="331" y="374"/>
                    </a:lnTo>
                    <a:lnTo>
                      <a:pt x="331" y="373"/>
                    </a:lnTo>
                    <a:lnTo>
                      <a:pt x="331" y="370"/>
                    </a:lnTo>
                    <a:lnTo>
                      <a:pt x="331" y="366"/>
                    </a:lnTo>
                    <a:lnTo>
                      <a:pt x="331" y="365"/>
                    </a:lnTo>
                    <a:lnTo>
                      <a:pt x="333" y="360"/>
                    </a:lnTo>
                    <a:lnTo>
                      <a:pt x="333" y="357"/>
                    </a:lnTo>
                    <a:lnTo>
                      <a:pt x="333" y="354"/>
                    </a:lnTo>
                    <a:lnTo>
                      <a:pt x="335" y="351"/>
                    </a:lnTo>
                    <a:lnTo>
                      <a:pt x="336" y="347"/>
                    </a:lnTo>
                    <a:lnTo>
                      <a:pt x="338" y="346"/>
                    </a:lnTo>
                    <a:lnTo>
                      <a:pt x="336" y="341"/>
                    </a:lnTo>
                    <a:lnTo>
                      <a:pt x="336" y="339"/>
                    </a:lnTo>
                    <a:lnTo>
                      <a:pt x="336" y="336"/>
                    </a:lnTo>
                    <a:lnTo>
                      <a:pt x="338" y="333"/>
                    </a:lnTo>
                    <a:lnTo>
                      <a:pt x="338" y="330"/>
                    </a:lnTo>
                    <a:lnTo>
                      <a:pt x="339" y="328"/>
                    </a:lnTo>
                    <a:lnTo>
                      <a:pt x="339" y="327"/>
                    </a:lnTo>
                    <a:lnTo>
                      <a:pt x="341" y="322"/>
                    </a:lnTo>
                    <a:lnTo>
                      <a:pt x="341" y="317"/>
                    </a:lnTo>
                    <a:lnTo>
                      <a:pt x="343" y="317"/>
                    </a:lnTo>
                    <a:lnTo>
                      <a:pt x="343" y="316"/>
                    </a:lnTo>
                    <a:lnTo>
                      <a:pt x="344" y="312"/>
                    </a:lnTo>
                    <a:lnTo>
                      <a:pt x="344" y="311"/>
                    </a:lnTo>
                    <a:lnTo>
                      <a:pt x="344" y="309"/>
                    </a:lnTo>
                    <a:lnTo>
                      <a:pt x="344" y="308"/>
                    </a:lnTo>
                    <a:lnTo>
                      <a:pt x="344" y="306"/>
                    </a:lnTo>
                    <a:lnTo>
                      <a:pt x="344" y="305"/>
                    </a:lnTo>
                    <a:lnTo>
                      <a:pt x="341" y="303"/>
                    </a:lnTo>
                    <a:lnTo>
                      <a:pt x="339" y="301"/>
                    </a:lnTo>
                    <a:lnTo>
                      <a:pt x="336" y="300"/>
                    </a:lnTo>
                    <a:lnTo>
                      <a:pt x="333" y="297"/>
                    </a:lnTo>
                    <a:lnTo>
                      <a:pt x="331" y="295"/>
                    </a:lnTo>
                    <a:lnTo>
                      <a:pt x="330" y="295"/>
                    </a:lnTo>
                    <a:lnTo>
                      <a:pt x="328" y="293"/>
                    </a:lnTo>
                    <a:lnTo>
                      <a:pt x="325" y="292"/>
                    </a:lnTo>
                    <a:lnTo>
                      <a:pt x="320" y="290"/>
                    </a:lnTo>
                    <a:lnTo>
                      <a:pt x="317" y="289"/>
                    </a:lnTo>
                    <a:lnTo>
                      <a:pt x="316" y="287"/>
                    </a:lnTo>
                    <a:lnTo>
                      <a:pt x="314" y="286"/>
                    </a:lnTo>
                    <a:lnTo>
                      <a:pt x="312" y="284"/>
                    </a:lnTo>
                    <a:lnTo>
                      <a:pt x="314" y="282"/>
                    </a:lnTo>
                    <a:lnTo>
                      <a:pt x="314" y="281"/>
                    </a:lnTo>
                    <a:lnTo>
                      <a:pt x="316" y="279"/>
                    </a:lnTo>
                    <a:lnTo>
                      <a:pt x="317" y="279"/>
                    </a:lnTo>
                    <a:lnTo>
                      <a:pt x="317" y="276"/>
                    </a:lnTo>
                    <a:lnTo>
                      <a:pt x="317" y="274"/>
                    </a:lnTo>
                    <a:lnTo>
                      <a:pt x="316" y="273"/>
                    </a:lnTo>
                    <a:lnTo>
                      <a:pt x="316" y="271"/>
                    </a:lnTo>
                    <a:lnTo>
                      <a:pt x="314" y="270"/>
                    </a:lnTo>
                    <a:lnTo>
                      <a:pt x="314" y="267"/>
                    </a:lnTo>
                    <a:lnTo>
                      <a:pt x="312" y="267"/>
                    </a:lnTo>
                    <a:lnTo>
                      <a:pt x="311" y="255"/>
                    </a:lnTo>
                    <a:lnTo>
                      <a:pt x="311" y="248"/>
                    </a:lnTo>
                    <a:lnTo>
                      <a:pt x="309" y="238"/>
                    </a:lnTo>
                    <a:lnTo>
                      <a:pt x="308" y="232"/>
                    </a:lnTo>
                    <a:lnTo>
                      <a:pt x="308" y="225"/>
                    </a:lnTo>
                    <a:lnTo>
                      <a:pt x="309" y="224"/>
                    </a:lnTo>
                    <a:lnTo>
                      <a:pt x="309" y="222"/>
                    </a:lnTo>
                    <a:lnTo>
                      <a:pt x="314" y="221"/>
                    </a:lnTo>
                    <a:lnTo>
                      <a:pt x="320" y="213"/>
                    </a:lnTo>
                    <a:lnTo>
                      <a:pt x="323" y="206"/>
                    </a:lnTo>
                    <a:lnTo>
                      <a:pt x="328" y="205"/>
                    </a:lnTo>
                    <a:lnTo>
                      <a:pt x="331" y="203"/>
                    </a:lnTo>
                    <a:lnTo>
                      <a:pt x="333" y="203"/>
                    </a:lnTo>
                    <a:lnTo>
                      <a:pt x="338" y="200"/>
                    </a:lnTo>
                    <a:lnTo>
                      <a:pt x="338" y="198"/>
                    </a:lnTo>
                    <a:lnTo>
                      <a:pt x="338" y="192"/>
                    </a:lnTo>
                    <a:lnTo>
                      <a:pt x="338" y="186"/>
                    </a:lnTo>
                    <a:lnTo>
                      <a:pt x="339" y="183"/>
                    </a:lnTo>
                    <a:lnTo>
                      <a:pt x="343" y="179"/>
                    </a:lnTo>
                    <a:lnTo>
                      <a:pt x="346" y="183"/>
                    </a:lnTo>
                    <a:lnTo>
                      <a:pt x="352" y="184"/>
                    </a:lnTo>
                    <a:lnTo>
                      <a:pt x="355" y="184"/>
                    </a:lnTo>
                    <a:lnTo>
                      <a:pt x="357" y="179"/>
                    </a:lnTo>
                    <a:lnTo>
                      <a:pt x="360" y="175"/>
                    </a:lnTo>
                    <a:lnTo>
                      <a:pt x="363" y="170"/>
                    </a:lnTo>
                    <a:lnTo>
                      <a:pt x="365" y="168"/>
                    </a:lnTo>
                    <a:lnTo>
                      <a:pt x="368" y="170"/>
                    </a:lnTo>
                    <a:lnTo>
                      <a:pt x="373" y="171"/>
                    </a:lnTo>
                    <a:lnTo>
                      <a:pt x="376" y="171"/>
                    </a:lnTo>
                    <a:lnTo>
                      <a:pt x="379" y="170"/>
                    </a:lnTo>
                    <a:lnTo>
                      <a:pt x="381" y="168"/>
                    </a:lnTo>
                    <a:lnTo>
                      <a:pt x="382" y="170"/>
                    </a:lnTo>
                    <a:lnTo>
                      <a:pt x="385" y="168"/>
                    </a:lnTo>
                    <a:lnTo>
                      <a:pt x="387" y="165"/>
                    </a:lnTo>
                    <a:lnTo>
                      <a:pt x="388" y="165"/>
                    </a:lnTo>
                    <a:lnTo>
                      <a:pt x="390" y="165"/>
                    </a:lnTo>
                    <a:lnTo>
                      <a:pt x="393" y="170"/>
                    </a:lnTo>
                    <a:lnTo>
                      <a:pt x="393" y="173"/>
                    </a:lnTo>
                    <a:lnTo>
                      <a:pt x="395" y="178"/>
                    </a:lnTo>
                    <a:lnTo>
                      <a:pt x="396" y="184"/>
                    </a:lnTo>
                    <a:lnTo>
                      <a:pt x="400" y="187"/>
                    </a:lnTo>
                    <a:lnTo>
                      <a:pt x="404" y="189"/>
                    </a:lnTo>
                    <a:lnTo>
                      <a:pt x="411" y="190"/>
                    </a:lnTo>
                    <a:lnTo>
                      <a:pt x="415" y="189"/>
                    </a:lnTo>
                    <a:lnTo>
                      <a:pt x="419" y="189"/>
                    </a:lnTo>
                    <a:lnTo>
                      <a:pt x="425" y="184"/>
                    </a:lnTo>
                    <a:lnTo>
                      <a:pt x="433" y="179"/>
                    </a:lnTo>
                    <a:lnTo>
                      <a:pt x="436" y="178"/>
                    </a:lnTo>
                    <a:lnTo>
                      <a:pt x="436" y="176"/>
                    </a:lnTo>
                    <a:lnTo>
                      <a:pt x="441" y="175"/>
                    </a:lnTo>
                    <a:lnTo>
                      <a:pt x="444" y="175"/>
                    </a:lnTo>
                    <a:lnTo>
                      <a:pt x="447" y="176"/>
                    </a:lnTo>
                    <a:lnTo>
                      <a:pt x="453" y="173"/>
                    </a:lnTo>
                    <a:lnTo>
                      <a:pt x="460" y="168"/>
                    </a:lnTo>
                    <a:lnTo>
                      <a:pt x="464" y="164"/>
                    </a:lnTo>
                    <a:lnTo>
                      <a:pt x="466" y="160"/>
                    </a:lnTo>
                    <a:lnTo>
                      <a:pt x="469" y="157"/>
                    </a:lnTo>
                    <a:lnTo>
                      <a:pt x="471" y="154"/>
                    </a:lnTo>
                    <a:lnTo>
                      <a:pt x="471" y="151"/>
                    </a:lnTo>
                    <a:lnTo>
                      <a:pt x="469" y="149"/>
                    </a:lnTo>
                    <a:lnTo>
                      <a:pt x="466" y="148"/>
                    </a:lnTo>
                    <a:lnTo>
                      <a:pt x="463" y="145"/>
                    </a:lnTo>
                    <a:lnTo>
                      <a:pt x="461" y="143"/>
                    </a:lnTo>
                    <a:lnTo>
                      <a:pt x="453" y="137"/>
                    </a:lnTo>
                    <a:lnTo>
                      <a:pt x="450" y="132"/>
                    </a:lnTo>
                    <a:lnTo>
                      <a:pt x="449" y="127"/>
                    </a:lnTo>
                    <a:lnTo>
                      <a:pt x="450" y="126"/>
                    </a:lnTo>
                    <a:lnTo>
                      <a:pt x="450" y="122"/>
                    </a:lnTo>
                    <a:lnTo>
                      <a:pt x="455" y="119"/>
                    </a:lnTo>
                    <a:lnTo>
                      <a:pt x="458" y="114"/>
                    </a:lnTo>
                    <a:lnTo>
                      <a:pt x="461" y="111"/>
                    </a:lnTo>
                    <a:lnTo>
                      <a:pt x="466" y="111"/>
                    </a:lnTo>
                    <a:lnTo>
                      <a:pt x="471" y="111"/>
                    </a:lnTo>
                    <a:lnTo>
                      <a:pt x="474" y="111"/>
                    </a:lnTo>
                    <a:lnTo>
                      <a:pt x="476" y="110"/>
                    </a:lnTo>
                    <a:lnTo>
                      <a:pt x="482" y="111"/>
                    </a:lnTo>
                    <a:lnTo>
                      <a:pt x="488" y="111"/>
                    </a:lnTo>
                    <a:lnTo>
                      <a:pt x="491" y="116"/>
                    </a:lnTo>
                    <a:lnTo>
                      <a:pt x="493" y="118"/>
                    </a:lnTo>
                    <a:lnTo>
                      <a:pt x="495" y="122"/>
                    </a:lnTo>
                    <a:lnTo>
                      <a:pt x="498" y="133"/>
                    </a:lnTo>
                    <a:lnTo>
                      <a:pt x="498" y="137"/>
                    </a:lnTo>
                    <a:lnTo>
                      <a:pt x="499" y="143"/>
                    </a:lnTo>
                    <a:lnTo>
                      <a:pt x="502" y="149"/>
                    </a:lnTo>
                    <a:lnTo>
                      <a:pt x="501" y="156"/>
                    </a:lnTo>
                    <a:lnTo>
                      <a:pt x="499" y="160"/>
                    </a:lnTo>
                    <a:lnTo>
                      <a:pt x="496" y="165"/>
                    </a:lnTo>
                    <a:lnTo>
                      <a:pt x="493" y="170"/>
                    </a:lnTo>
                    <a:lnTo>
                      <a:pt x="488" y="175"/>
                    </a:lnTo>
                    <a:lnTo>
                      <a:pt x="487" y="179"/>
                    </a:lnTo>
                    <a:lnTo>
                      <a:pt x="485" y="181"/>
                    </a:lnTo>
                    <a:lnTo>
                      <a:pt x="488" y="184"/>
                    </a:lnTo>
                    <a:lnTo>
                      <a:pt x="493" y="186"/>
                    </a:lnTo>
                    <a:lnTo>
                      <a:pt x="499" y="190"/>
                    </a:lnTo>
                    <a:lnTo>
                      <a:pt x="507" y="197"/>
                    </a:lnTo>
                    <a:lnTo>
                      <a:pt x="512" y="200"/>
                    </a:lnTo>
                    <a:lnTo>
                      <a:pt x="518" y="203"/>
                    </a:lnTo>
                    <a:lnTo>
                      <a:pt x="523" y="205"/>
                    </a:lnTo>
                    <a:lnTo>
                      <a:pt x="525" y="206"/>
                    </a:lnTo>
                    <a:lnTo>
                      <a:pt x="526" y="206"/>
                    </a:lnTo>
                    <a:lnTo>
                      <a:pt x="529" y="208"/>
                    </a:lnTo>
                    <a:lnTo>
                      <a:pt x="533" y="216"/>
                    </a:lnTo>
                    <a:lnTo>
                      <a:pt x="533" y="219"/>
                    </a:lnTo>
                    <a:lnTo>
                      <a:pt x="534" y="222"/>
                    </a:lnTo>
                    <a:lnTo>
                      <a:pt x="536" y="224"/>
                    </a:lnTo>
                    <a:lnTo>
                      <a:pt x="542" y="230"/>
                    </a:lnTo>
                    <a:lnTo>
                      <a:pt x="545" y="235"/>
                    </a:lnTo>
                    <a:lnTo>
                      <a:pt x="544" y="241"/>
                    </a:lnTo>
                    <a:lnTo>
                      <a:pt x="541" y="248"/>
                    </a:lnTo>
                    <a:lnTo>
                      <a:pt x="539" y="254"/>
                    </a:lnTo>
                    <a:lnTo>
                      <a:pt x="541" y="259"/>
                    </a:lnTo>
                    <a:lnTo>
                      <a:pt x="542" y="262"/>
                    </a:lnTo>
                    <a:lnTo>
                      <a:pt x="548" y="263"/>
                    </a:lnTo>
                    <a:lnTo>
                      <a:pt x="555" y="265"/>
                    </a:lnTo>
                    <a:lnTo>
                      <a:pt x="567" y="263"/>
                    </a:lnTo>
                    <a:lnTo>
                      <a:pt x="575" y="268"/>
                    </a:lnTo>
                    <a:lnTo>
                      <a:pt x="582" y="273"/>
                    </a:lnTo>
                    <a:lnTo>
                      <a:pt x="588" y="279"/>
                    </a:lnTo>
                    <a:lnTo>
                      <a:pt x="590" y="281"/>
                    </a:lnTo>
                    <a:lnTo>
                      <a:pt x="593" y="284"/>
                    </a:lnTo>
                    <a:lnTo>
                      <a:pt x="596" y="286"/>
                    </a:lnTo>
                    <a:lnTo>
                      <a:pt x="601" y="287"/>
                    </a:lnTo>
                    <a:lnTo>
                      <a:pt x="607" y="289"/>
                    </a:lnTo>
                    <a:lnTo>
                      <a:pt x="612" y="290"/>
                    </a:lnTo>
                    <a:lnTo>
                      <a:pt x="613" y="292"/>
                    </a:lnTo>
                    <a:lnTo>
                      <a:pt x="618" y="295"/>
                    </a:lnTo>
                    <a:lnTo>
                      <a:pt x="624" y="295"/>
                    </a:lnTo>
                    <a:lnTo>
                      <a:pt x="631" y="297"/>
                    </a:lnTo>
                    <a:lnTo>
                      <a:pt x="636" y="300"/>
                    </a:lnTo>
                    <a:lnTo>
                      <a:pt x="639" y="305"/>
                    </a:lnTo>
                    <a:lnTo>
                      <a:pt x="648" y="308"/>
                    </a:lnTo>
                    <a:lnTo>
                      <a:pt x="655" y="306"/>
                    </a:lnTo>
                    <a:lnTo>
                      <a:pt x="662" y="305"/>
                    </a:lnTo>
                    <a:lnTo>
                      <a:pt x="667" y="305"/>
                    </a:lnTo>
                    <a:lnTo>
                      <a:pt x="670" y="305"/>
                    </a:lnTo>
                    <a:lnTo>
                      <a:pt x="672" y="305"/>
                    </a:lnTo>
                    <a:lnTo>
                      <a:pt x="677" y="308"/>
                    </a:lnTo>
                    <a:lnTo>
                      <a:pt x="688" y="311"/>
                    </a:lnTo>
                    <a:lnTo>
                      <a:pt x="697" y="316"/>
                    </a:lnTo>
                    <a:lnTo>
                      <a:pt x="704" y="319"/>
                    </a:lnTo>
                    <a:lnTo>
                      <a:pt x="707" y="319"/>
                    </a:lnTo>
                    <a:lnTo>
                      <a:pt x="708" y="317"/>
                    </a:lnTo>
                    <a:lnTo>
                      <a:pt x="712" y="316"/>
                    </a:lnTo>
                    <a:lnTo>
                      <a:pt x="715" y="316"/>
                    </a:lnTo>
                    <a:lnTo>
                      <a:pt x="716" y="317"/>
                    </a:lnTo>
                    <a:lnTo>
                      <a:pt x="720" y="325"/>
                    </a:lnTo>
                    <a:lnTo>
                      <a:pt x="726" y="330"/>
                    </a:lnTo>
                    <a:lnTo>
                      <a:pt x="732" y="335"/>
                    </a:lnTo>
                    <a:lnTo>
                      <a:pt x="739" y="338"/>
                    </a:lnTo>
                    <a:lnTo>
                      <a:pt x="740" y="339"/>
                    </a:lnTo>
                    <a:lnTo>
                      <a:pt x="745" y="343"/>
                    </a:lnTo>
                    <a:lnTo>
                      <a:pt x="753" y="349"/>
                    </a:lnTo>
                    <a:lnTo>
                      <a:pt x="759" y="352"/>
                    </a:lnTo>
                    <a:lnTo>
                      <a:pt x="761" y="352"/>
                    </a:lnTo>
                    <a:lnTo>
                      <a:pt x="772" y="357"/>
                    </a:lnTo>
                    <a:lnTo>
                      <a:pt x="781" y="360"/>
                    </a:lnTo>
                    <a:lnTo>
                      <a:pt x="783" y="360"/>
                    </a:lnTo>
                    <a:lnTo>
                      <a:pt x="792" y="362"/>
                    </a:lnTo>
                    <a:lnTo>
                      <a:pt x="802" y="362"/>
                    </a:lnTo>
                    <a:lnTo>
                      <a:pt x="811" y="360"/>
                    </a:lnTo>
                    <a:lnTo>
                      <a:pt x="822" y="358"/>
                    </a:lnTo>
                    <a:lnTo>
                      <a:pt x="834" y="357"/>
                    </a:lnTo>
                    <a:lnTo>
                      <a:pt x="837" y="357"/>
                    </a:lnTo>
                    <a:lnTo>
                      <a:pt x="841" y="357"/>
                    </a:lnTo>
                    <a:lnTo>
                      <a:pt x="853" y="360"/>
                    </a:lnTo>
                    <a:lnTo>
                      <a:pt x="854" y="360"/>
                    </a:lnTo>
                    <a:lnTo>
                      <a:pt x="859" y="360"/>
                    </a:lnTo>
                    <a:lnTo>
                      <a:pt x="867" y="355"/>
                    </a:lnTo>
                    <a:lnTo>
                      <a:pt x="875" y="349"/>
                    </a:lnTo>
                    <a:lnTo>
                      <a:pt x="879" y="344"/>
                    </a:lnTo>
                    <a:lnTo>
                      <a:pt x="883" y="341"/>
                    </a:lnTo>
                    <a:lnTo>
                      <a:pt x="891" y="335"/>
                    </a:lnTo>
                    <a:lnTo>
                      <a:pt x="898" y="331"/>
                    </a:lnTo>
                    <a:lnTo>
                      <a:pt x="905" y="328"/>
                    </a:lnTo>
                    <a:lnTo>
                      <a:pt x="911" y="327"/>
                    </a:lnTo>
                    <a:lnTo>
                      <a:pt x="918" y="324"/>
                    </a:lnTo>
                    <a:lnTo>
                      <a:pt x="921" y="324"/>
                    </a:lnTo>
                    <a:lnTo>
                      <a:pt x="925" y="320"/>
                    </a:lnTo>
                    <a:lnTo>
                      <a:pt x="932" y="316"/>
                    </a:lnTo>
                    <a:lnTo>
                      <a:pt x="935" y="309"/>
                    </a:lnTo>
                    <a:lnTo>
                      <a:pt x="938" y="300"/>
                    </a:lnTo>
                    <a:lnTo>
                      <a:pt x="938" y="292"/>
                    </a:lnTo>
                    <a:lnTo>
                      <a:pt x="940" y="282"/>
                    </a:lnTo>
                    <a:lnTo>
                      <a:pt x="946" y="273"/>
                    </a:lnTo>
                    <a:lnTo>
                      <a:pt x="949" y="267"/>
                    </a:lnTo>
                    <a:lnTo>
                      <a:pt x="951" y="262"/>
                    </a:lnTo>
                    <a:lnTo>
                      <a:pt x="949" y="255"/>
                    </a:lnTo>
                    <a:lnTo>
                      <a:pt x="946" y="248"/>
                    </a:lnTo>
                    <a:lnTo>
                      <a:pt x="944" y="241"/>
                    </a:lnTo>
                    <a:lnTo>
                      <a:pt x="940" y="235"/>
                    </a:lnTo>
                    <a:lnTo>
                      <a:pt x="938" y="227"/>
                    </a:lnTo>
                    <a:lnTo>
                      <a:pt x="938" y="219"/>
                    </a:lnTo>
                    <a:lnTo>
                      <a:pt x="938" y="209"/>
                    </a:lnTo>
                    <a:lnTo>
                      <a:pt x="940" y="202"/>
                    </a:lnTo>
                    <a:lnTo>
                      <a:pt x="940" y="192"/>
                    </a:lnTo>
                    <a:lnTo>
                      <a:pt x="940" y="184"/>
                    </a:lnTo>
                    <a:lnTo>
                      <a:pt x="941" y="176"/>
                    </a:lnTo>
                    <a:lnTo>
                      <a:pt x="946" y="170"/>
                    </a:lnTo>
                    <a:lnTo>
                      <a:pt x="948" y="164"/>
                    </a:lnTo>
                    <a:lnTo>
                      <a:pt x="949" y="157"/>
                    </a:lnTo>
                    <a:lnTo>
                      <a:pt x="946" y="154"/>
                    </a:lnTo>
                    <a:lnTo>
                      <a:pt x="943" y="151"/>
                    </a:lnTo>
                    <a:lnTo>
                      <a:pt x="938" y="148"/>
                    </a:lnTo>
                    <a:lnTo>
                      <a:pt x="935" y="145"/>
                    </a:lnTo>
                    <a:lnTo>
                      <a:pt x="935" y="141"/>
                    </a:lnTo>
                    <a:lnTo>
                      <a:pt x="935" y="138"/>
                    </a:lnTo>
                    <a:lnTo>
                      <a:pt x="937" y="137"/>
                    </a:lnTo>
                    <a:lnTo>
                      <a:pt x="938" y="137"/>
                    </a:lnTo>
                    <a:lnTo>
                      <a:pt x="940" y="135"/>
                    </a:lnTo>
                    <a:lnTo>
                      <a:pt x="941" y="135"/>
                    </a:lnTo>
                    <a:lnTo>
                      <a:pt x="943" y="133"/>
                    </a:lnTo>
                    <a:lnTo>
                      <a:pt x="946" y="133"/>
                    </a:lnTo>
                    <a:lnTo>
                      <a:pt x="948" y="133"/>
                    </a:lnTo>
                    <a:lnTo>
                      <a:pt x="952" y="133"/>
                    </a:lnTo>
                    <a:lnTo>
                      <a:pt x="956" y="132"/>
                    </a:lnTo>
                    <a:lnTo>
                      <a:pt x="960" y="130"/>
                    </a:lnTo>
                    <a:lnTo>
                      <a:pt x="965" y="129"/>
                    </a:lnTo>
                    <a:lnTo>
                      <a:pt x="967" y="130"/>
                    </a:lnTo>
                    <a:lnTo>
                      <a:pt x="968" y="130"/>
                    </a:lnTo>
                    <a:lnTo>
                      <a:pt x="970" y="132"/>
                    </a:lnTo>
                    <a:lnTo>
                      <a:pt x="971" y="135"/>
                    </a:lnTo>
                    <a:lnTo>
                      <a:pt x="973" y="137"/>
                    </a:lnTo>
                    <a:lnTo>
                      <a:pt x="973" y="140"/>
                    </a:lnTo>
                    <a:lnTo>
                      <a:pt x="973" y="141"/>
                    </a:lnTo>
                    <a:lnTo>
                      <a:pt x="975" y="143"/>
                    </a:lnTo>
                    <a:lnTo>
                      <a:pt x="976" y="145"/>
                    </a:lnTo>
                    <a:lnTo>
                      <a:pt x="978" y="146"/>
                    </a:lnTo>
                    <a:lnTo>
                      <a:pt x="979" y="148"/>
                    </a:lnTo>
                    <a:lnTo>
                      <a:pt x="982" y="149"/>
                    </a:lnTo>
                    <a:lnTo>
                      <a:pt x="984" y="149"/>
                    </a:lnTo>
                    <a:lnTo>
                      <a:pt x="989" y="148"/>
                    </a:lnTo>
                    <a:lnTo>
                      <a:pt x="994" y="146"/>
                    </a:lnTo>
                    <a:lnTo>
                      <a:pt x="997" y="145"/>
                    </a:lnTo>
                    <a:lnTo>
                      <a:pt x="997" y="143"/>
                    </a:lnTo>
                    <a:lnTo>
                      <a:pt x="997" y="141"/>
                    </a:lnTo>
                    <a:lnTo>
                      <a:pt x="997" y="135"/>
                    </a:lnTo>
                    <a:lnTo>
                      <a:pt x="997" y="133"/>
                    </a:lnTo>
                    <a:lnTo>
                      <a:pt x="997" y="130"/>
                    </a:lnTo>
                    <a:lnTo>
                      <a:pt x="997" y="129"/>
                    </a:lnTo>
                    <a:lnTo>
                      <a:pt x="995" y="124"/>
                    </a:lnTo>
                    <a:lnTo>
                      <a:pt x="995" y="118"/>
                    </a:lnTo>
                    <a:lnTo>
                      <a:pt x="994" y="113"/>
                    </a:lnTo>
                    <a:lnTo>
                      <a:pt x="995" y="107"/>
                    </a:lnTo>
                    <a:lnTo>
                      <a:pt x="995" y="102"/>
                    </a:lnTo>
                    <a:lnTo>
                      <a:pt x="997" y="97"/>
                    </a:lnTo>
                    <a:lnTo>
                      <a:pt x="998" y="91"/>
                    </a:lnTo>
                    <a:lnTo>
                      <a:pt x="1001" y="83"/>
                    </a:lnTo>
                    <a:lnTo>
                      <a:pt x="1003" y="76"/>
                    </a:lnTo>
                    <a:lnTo>
                      <a:pt x="1003" y="73"/>
                    </a:lnTo>
                    <a:lnTo>
                      <a:pt x="1000" y="72"/>
                    </a:lnTo>
                    <a:lnTo>
                      <a:pt x="995" y="70"/>
                    </a:lnTo>
                    <a:lnTo>
                      <a:pt x="989" y="68"/>
                    </a:lnTo>
                    <a:lnTo>
                      <a:pt x="982" y="67"/>
                    </a:lnTo>
                    <a:lnTo>
                      <a:pt x="978" y="67"/>
                    </a:lnTo>
                    <a:lnTo>
                      <a:pt x="973" y="65"/>
                    </a:lnTo>
                    <a:lnTo>
                      <a:pt x="968" y="62"/>
                    </a:lnTo>
                    <a:lnTo>
                      <a:pt x="965" y="61"/>
                    </a:lnTo>
                    <a:lnTo>
                      <a:pt x="963" y="61"/>
                    </a:lnTo>
                    <a:lnTo>
                      <a:pt x="959" y="56"/>
                    </a:lnTo>
                    <a:lnTo>
                      <a:pt x="957" y="51"/>
                    </a:lnTo>
                    <a:lnTo>
                      <a:pt x="957" y="45"/>
                    </a:lnTo>
                    <a:lnTo>
                      <a:pt x="957" y="43"/>
                    </a:lnTo>
                    <a:lnTo>
                      <a:pt x="957" y="37"/>
                    </a:lnTo>
                    <a:lnTo>
                      <a:pt x="959" y="32"/>
                    </a:lnTo>
                    <a:lnTo>
                      <a:pt x="963" y="23"/>
                    </a:lnTo>
                    <a:lnTo>
                      <a:pt x="967" y="16"/>
                    </a:lnTo>
                    <a:lnTo>
                      <a:pt x="971" y="13"/>
                    </a:lnTo>
                    <a:lnTo>
                      <a:pt x="976" y="11"/>
                    </a:lnTo>
                    <a:lnTo>
                      <a:pt x="978" y="10"/>
                    </a:lnTo>
                    <a:lnTo>
                      <a:pt x="984" y="10"/>
                    </a:lnTo>
                    <a:lnTo>
                      <a:pt x="989" y="13"/>
                    </a:lnTo>
                    <a:lnTo>
                      <a:pt x="994" y="21"/>
                    </a:lnTo>
                    <a:lnTo>
                      <a:pt x="997" y="27"/>
                    </a:lnTo>
                    <a:lnTo>
                      <a:pt x="1000" y="30"/>
                    </a:lnTo>
                    <a:lnTo>
                      <a:pt x="1006" y="27"/>
                    </a:lnTo>
                    <a:lnTo>
                      <a:pt x="1016" y="23"/>
                    </a:lnTo>
                    <a:lnTo>
                      <a:pt x="1019" y="24"/>
                    </a:lnTo>
                    <a:lnTo>
                      <a:pt x="1020" y="27"/>
                    </a:lnTo>
                    <a:lnTo>
                      <a:pt x="1024" y="30"/>
                    </a:lnTo>
                    <a:lnTo>
                      <a:pt x="1027" y="35"/>
                    </a:lnTo>
                    <a:lnTo>
                      <a:pt x="1030" y="37"/>
                    </a:lnTo>
                    <a:lnTo>
                      <a:pt x="1035" y="34"/>
                    </a:lnTo>
                    <a:lnTo>
                      <a:pt x="1038" y="32"/>
                    </a:lnTo>
                    <a:lnTo>
                      <a:pt x="1039" y="32"/>
                    </a:lnTo>
                    <a:lnTo>
                      <a:pt x="1044" y="32"/>
                    </a:lnTo>
                    <a:lnTo>
                      <a:pt x="1049" y="35"/>
                    </a:lnTo>
                    <a:lnTo>
                      <a:pt x="1054" y="37"/>
                    </a:lnTo>
                    <a:lnTo>
                      <a:pt x="1060" y="37"/>
                    </a:lnTo>
                    <a:lnTo>
                      <a:pt x="1066" y="37"/>
                    </a:lnTo>
                    <a:lnTo>
                      <a:pt x="1073" y="37"/>
                    </a:lnTo>
                    <a:lnTo>
                      <a:pt x="1081" y="32"/>
                    </a:lnTo>
                    <a:lnTo>
                      <a:pt x="1087" y="26"/>
                    </a:lnTo>
                    <a:lnTo>
                      <a:pt x="1092" y="24"/>
                    </a:lnTo>
                    <a:lnTo>
                      <a:pt x="1098" y="27"/>
                    </a:lnTo>
                    <a:lnTo>
                      <a:pt x="1106" y="29"/>
                    </a:lnTo>
                    <a:lnTo>
                      <a:pt x="1109" y="29"/>
                    </a:lnTo>
                    <a:lnTo>
                      <a:pt x="1116" y="26"/>
                    </a:lnTo>
                    <a:lnTo>
                      <a:pt x="1122" y="21"/>
                    </a:lnTo>
                    <a:lnTo>
                      <a:pt x="1125" y="21"/>
                    </a:lnTo>
                    <a:lnTo>
                      <a:pt x="1128" y="23"/>
                    </a:lnTo>
                    <a:lnTo>
                      <a:pt x="1133" y="24"/>
                    </a:lnTo>
                    <a:lnTo>
                      <a:pt x="1136" y="23"/>
                    </a:lnTo>
                    <a:lnTo>
                      <a:pt x="1138" y="23"/>
                    </a:lnTo>
                    <a:lnTo>
                      <a:pt x="1139" y="21"/>
                    </a:lnTo>
                    <a:lnTo>
                      <a:pt x="1144" y="21"/>
                    </a:lnTo>
                    <a:lnTo>
                      <a:pt x="1146" y="21"/>
                    </a:lnTo>
                    <a:lnTo>
                      <a:pt x="1147" y="16"/>
                    </a:lnTo>
                    <a:lnTo>
                      <a:pt x="1149" y="16"/>
                    </a:lnTo>
                    <a:lnTo>
                      <a:pt x="1154" y="15"/>
                    </a:lnTo>
                    <a:lnTo>
                      <a:pt x="1158" y="15"/>
                    </a:lnTo>
                    <a:lnTo>
                      <a:pt x="1160" y="15"/>
                    </a:lnTo>
                    <a:lnTo>
                      <a:pt x="1161" y="16"/>
                    </a:lnTo>
                    <a:lnTo>
                      <a:pt x="1165" y="19"/>
                    </a:lnTo>
                    <a:lnTo>
                      <a:pt x="1166" y="19"/>
                    </a:lnTo>
                    <a:lnTo>
                      <a:pt x="1171" y="18"/>
                    </a:lnTo>
                    <a:lnTo>
                      <a:pt x="1177" y="15"/>
                    </a:lnTo>
                    <a:lnTo>
                      <a:pt x="1184" y="15"/>
                    </a:lnTo>
                    <a:lnTo>
                      <a:pt x="1192" y="16"/>
                    </a:lnTo>
                    <a:lnTo>
                      <a:pt x="1196" y="18"/>
                    </a:lnTo>
                    <a:lnTo>
                      <a:pt x="1198" y="23"/>
                    </a:lnTo>
                    <a:lnTo>
                      <a:pt x="1201" y="24"/>
                    </a:lnTo>
                    <a:lnTo>
                      <a:pt x="1204" y="26"/>
                    </a:lnTo>
                    <a:lnTo>
                      <a:pt x="1204" y="32"/>
                    </a:lnTo>
                    <a:lnTo>
                      <a:pt x="1203" y="38"/>
                    </a:lnTo>
                    <a:lnTo>
                      <a:pt x="1203" y="46"/>
                    </a:lnTo>
                    <a:lnTo>
                      <a:pt x="1207" y="54"/>
                    </a:lnTo>
                    <a:lnTo>
                      <a:pt x="1211" y="59"/>
                    </a:lnTo>
                    <a:lnTo>
                      <a:pt x="1215" y="61"/>
                    </a:lnTo>
                    <a:lnTo>
                      <a:pt x="1220" y="57"/>
                    </a:lnTo>
                    <a:lnTo>
                      <a:pt x="1223" y="56"/>
                    </a:lnTo>
                    <a:lnTo>
                      <a:pt x="1225" y="54"/>
                    </a:lnTo>
                    <a:lnTo>
                      <a:pt x="1230" y="53"/>
                    </a:lnTo>
                    <a:lnTo>
                      <a:pt x="1236" y="49"/>
                    </a:lnTo>
                    <a:lnTo>
                      <a:pt x="1239" y="46"/>
                    </a:lnTo>
                    <a:lnTo>
                      <a:pt x="1239" y="43"/>
                    </a:lnTo>
                    <a:lnTo>
                      <a:pt x="1242" y="37"/>
                    </a:lnTo>
                    <a:lnTo>
                      <a:pt x="1244" y="29"/>
                    </a:lnTo>
                    <a:lnTo>
                      <a:pt x="1244" y="27"/>
                    </a:lnTo>
                    <a:lnTo>
                      <a:pt x="1245" y="23"/>
                    </a:lnTo>
                    <a:lnTo>
                      <a:pt x="1249" y="18"/>
                    </a:lnTo>
                    <a:lnTo>
                      <a:pt x="1249" y="13"/>
                    </a:lnTo>
                    <a:lnTo>
                      <a:pt x="1250" y="7"/>
                    </a:lnTo>
                    <a:lnTo>
                      <a:pt x="1253" y="4"/>
                    </a:lnTo>
                    <a:lnTo>
                      <a:pt x="1260" y="5"/>
                    </a:lnTo>
                    <a:lnTo>
                      <a:pt x="1263" y="4"/>
                    </a:lnTo>
                    <a:lnTo>
                      <a:pt x="1268" y="0"/>
                    </a:lnTo>
                    <a:lnTo>
                      <a:pt x="1274" y="2"/>
                    </a:lnTo>
                    <a:lnTo>
                      <a:pt x="1279" y="4"/>
                    </a:lnTo>
                    <a:lnTo>
                      <a:pt x="1282" y="5"/>
                    </a:lnTo>
                    <a:close/>
                  </a:path>
                </a:pathLst>
              </a:custGeom>
              <a:solidFill>
                <a:srgbClr val="E1E1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138"/>
              </a:p>
            </p:txBody>
          </p:sp>
          <p:sp>
            <p:nvSpPr>
              <p:cNvPr id="43" name="Freeform 41"/>
              <p:cNvSpPr>
                <a:spLocks/>
              </p:cNvSpPr>
              <p:nvPr/>
            </p:nvSpPr>
            <p:spPr bwMode="auto">
              <a:xfrm>
                <a:off x="1809" y="2530"/>
                <a:ext cx="1420" cy="1169"/>
              </a:xfrm>
              <a:custGeom>
                <a:avLst/>
                <a:gdLst>
                  <a:gd name="T0" fmla="*/ 1300 w 1420"/>
                  <a:gd name="T1" fmla="*/ 65 h 1169"/>
                  <a:gd name="T2" fmla="*/ 1265 w 1420"/>
                  <a:gd name="T3" fmla="*/ 56 h 1169"/>
                  <a:gd name="T4" fmla="*/ 1272 w 1420"/>
                  <a:gd name="T5" fmla="*/ 109 h 1169"/>
                  <a:gd name="T6" fmla="*/ 1246 w 1420"/>
                  <a:gd name="T7" fmla="*/ 170 h 1169"/>
                  <a:gd name="T8" fmla="*/ 1207 w 1420"/>
                  <a:gd name="T9" fmla="*/ 247 h 1169"/>
                  <a:gd name="T10" fmla="*/ 1176 w 1420"/>
                  <a:gd name="T11" fmla="*/ 307 h 1169"/>
                  <a:gd name="T12" fmla="*/ 1113 w 1420"/>
                  <a:gd name="T13" fmla="*/ 369 h 1169"/>
                  <a:gd name="T14" fmla="*/ 1153 w 1420"/>
                  <a:gd name="T15" fmla="*/ 417 h 1169"/>
                  <a:gd name="T16" fmla="*/ 1224 w 1420"/>
                  <a:gd name="T17" fmla="*/ 387 h 1169"/>
                  <a:gd name="T18" fmla="*/ 1289 w 1420"/>
                  <a:gd name="T19" fmla="*/ 412 h 1169"/>
                  <a:gd name="T20" fmla="*/ 1294 w 1420"/>
                  <a:gd name="T21" fmla="*/ 466 h 1169"/>
                  <a:gd name="T22" fmla="*/ 1303 w 1420"/>
                  <a:gd name="T23" fmla="*/ 506 h 1169"/>
                  <a:gd name="T24" fmla="*/ 1365 w 1420"/>
                  <a:gd name="T25" fmla="*/ 536 h 1169"/>
                  <a:gd name="T26" fmla="*/ 1414 w 1420"/>
                  <a:gd name="T27" fmla="*/ 585 h 1169"/>
                  <a:gd name="T28" fmla="*/ 1420 w 1420"/>
                  <a:gd name="T29" fmla="*/ 667 h 1169"/>
                  <a:gd name="T30" fmla="*/ 1333 w 1420"/>
                  <a:gd name="T31" fmla="*/ 613 h 1169"/>
                  <a:gd name="T32" fmla="*/ 1273 w 1420"/>
                  <a:gd name="T33" fmla="*/ 591 h 1169"/>
                  <a:gd name="T34" fmla="*/ 1214 w 1420"/>
                  <a:gd name="T35" fmla="*/ 624 h 1169"/>
                  <a:gd name="T36" fmla="*/ 1183 w 1420"/>
                  <a:gd name="T37" fmla="*/ 705 h 1169"/>
                  <a:gd name="T38" fmla="*/ 1189 w 1420"/>
                  <a:gd name="T39" fmla="*/ 746 h 1169"/>
                  <a:gd name="T40" fmla="*/ 1143 w 1420"/>
                  <a:gd name="T41" fmla="*/ 731 h 1169"/>
                  <a:gd name="T42" fmla="*/ 1124 w 1420"/>
                  <a:gd name="T43" fmla="*/ 664 h 1169"/>
                  <a:gd name="T44" fmla="*/ 1157 w 1420"/>
                  <a:gd name="T45" fmla="*/ 616 h 1169"/>
                  <a:gd name="T46" fmla="*/ 1132 w 1420"/>
                  <a:gd name="T47" fmla="*/ 580 h 1169"/>
                  <a:gd name="T48" fmla="*/ 1070 w 1420"/>
                  <a:gd name="T49" fmla="*/ 550 h 1169"/>
                  <a:gd name="T50" fmla="*/ 1047 w 1420"/>
                  <a:gd name="T51" fmla="*/ 616 h 1169"/>
                  <a:gd name="T52" fmla="*/ 1032 w 1420"/>
                  <a:gd name="T53" fmla="*/ 715 h 1169"/>
                  <a:gd name="T54" fmla="*/ 1085 w 1420"/>
                  <a:gd name="T55" fmla="*/ 746 h 1169"/>
                  <a:gd name="T56" fmla="*/ 1085 w 1420"/>
                  <a:gd name="T57" fmla="*/ 815 h 1169"/>
                  <a:gd name="T58" fmla="*/ 1062 w 1420"/>
                  <a:gd name="T59" fmla="*/ 916 h 1169"/>
                  <a:gd name="T60" fmla="*/ 985 w 1420"/>
                  <a:gd name="T61" fmla="*/ 922 h 1169"/>
                  <a:gd name="T62" fmla="*/ 861 w 1420"/>
                  <a:gd name="T63" fmla="*/ 943 h 1169"/>
                  <a:gd name="T64" fmla="*/ 768 w 1420"/>
                  <a:gd name="T65" fmla="*/ 995 h 1169"/>
                  <a:gd name="T66" fmla="*/ 733 w 1420"/>
                  <a:gd name="T67" fmla="*/ 1123 h 1169"/>
                  <a:gd name="T68" fmla="*/ 706 w 1420"/>
                  <a:gd name="T69" fmla="*/ 1169 h 1169"/>
                  <a:gd name="T70" fmla="*/ 554 w 1420"/>
                  <a:gd name="T71" fmla="*/ 1163 h 1169"/>
                  <a:gd name="T72" fmla="*/ 489 w 1420"/>
                  <a:gd name="T73" fmla="*/ 1112 h 1169"/>
                  <a:gd name="T74" fmla="*/ 453 w 1420"/>
                  <a:gd name="T75" fmla="*/ 976 h 1169"/>
                  <a:gd name="T76" fmla="*/ 459 w 1420"/>
                  <a:gd name="T77" fmla="*/ 943 h 1169"/>
                  <a:gd name="T78" fmla="*/ 451 w 1420"/>
                  <a:gd name="T79" fmla="*/ 906 h 1169"/>
                  <a:gd name="T80" fmla="*/ 427 w 1420"/>
                  <a:gd name="T81" fmla="*/ 897 h 1169"/>
                  <a:gd name="T82" fmla="*/ 396 w 1420"/>
                  <a:gd name="T83" fmla="*/ 895 h 1169"/>
                  <a:gd name="T84" fmla="*/ 375 w 1420"/>
                  <a:gd name="T85" fmla="*/ 884 h 1169"/>
                  <a:gd name="T86" fmla="*/ 334 w 1420"/>
                  <a:gd name="T87" fmla="*/ 900 h 1169"/>
                  <a:gd name="T88" fmla="*/ 300 w 1420"/>
                  <a:gd name="T89" fmla="*/ 898 h 1169"/>
                  <a:gd name="T90" fmla="*/ 296 w 1420"/>
                  <a:gd name="T91" fmla="*/ 856 h 1169"/>
                  <a:gd name="T92" fmla="*/ 251 w 1420"/>
                  <a:gd name="T93" fmla="*/ 818 h 1169"/>
                  <a:gd name="T94" fmla="*/ 213 w 1420"/>
                  <a:gd name="T95" fmla="*/ 721 h 1169"/>
                  <a:gd name="T96" fmla="*/ 207 w 1420"/>
                  <a:gd name="T97" fmla="*/ 688 h 1169"/>
                  <a:gd name="T98" fmla="*/ 201 w 1420"/>
                  <a:gd name="T99" fmla="*/ 643 h 1169"/>
                  <a:gd name="T100" fmla="*/ 213 w 1420"/>
                  <a:gd name="T101" fmla="*/ 613 h 1169"/>
                  <a:gd name="T102" fmla="*/ 220 w 1420"/>
                  <a:gd name="T103" fmla="*/ 588 h 1169"/>
                  <a:gd name="T104" fmla="*/ 201 w 1420"/>
                  <a:gd name="T105" fmla="*/ 563 h 1169"/>
                  <a:gd name="T106" fmla="*/ 180 w 1420"/>
                  <a:gd name="T107" fmla="*/ 539 h 1169"/>
                  <a:gd name="T108" fmla="*/ 145 w 1420"/>
                  <a:gd name="T109" fmla="*/ 539 h 1169"/>
                  <a:gd name="T110" fmla="*/ 107 w 1420"/>
                  <a:gd name="T111" fmla="*/ 499 h 1169"/>
                  <a:gd name="T112" fmla="*/ 82 w 1420"/>
                  <a:gd name="T113" fmla="*/ 499 h 1169"/>
                  <a:gd name="T114" fmla="*/ 79 w 1420"/>
                  <a:gd name="T115" fmla="*/ 475 h 1169"/>
                  <a:gd name="T116" fmla="*/ 63 w 1420"/>
                  <a:gd name="T117" fmla="*/ 450 h 1169"/>
                  <a:gd name="T118" fmla="*/ 4 w 1420"/>
                  <a:gd name="T119" fmla="*/ 428 h 1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20" h="1169">
                    <a:moveTo>
                      <a:pt x="1259" y="0"/>
                    </a:moveTo>
                    <a:lnTo>
                      <a:pt x="1260" y="3"/>
                    </a:lnTo>
                    <a:lnTo>
                      <a:pt x="1262" y="5"/>
                    </a:lnTo>
                    <a:lnTo>
                      <a:pt x="1267" y="3"/>
                    </a:lnTo>
                    <a:lnTo>
                      <a:pt x="1270" y="3"/>
                    </a:lnTo>
                    <a:lnTo>
                      <a:pt x="1276" y="10"/>
                    </a:lnTo>
                    <a:lnTo>
                      <a:pt x="1281" y="14"/>
                    </a:lnTo>
                    <a:lnTo>
                      <a:pt x="1283" y="19"/>
                    </a:lnTo>
                    <a:lnTo>
                      <a:pt x="1286" y="27"/>
                    </a:lnTo>
                    <a:lnTo>
                      <a:pt x="1284" y="33"/>
                    </a:lnTo>
                    <a:lnTo>
                      <a:pt x="1283" y="40"/>
                    </a:lnTo>
                    <a:lnTo>
                      <a:pt x="1281" y="46"/>
                    </a:lnTo>
                    <a:lnTo>
                      <a:pt x="1284" y="51"/>
                    </a:lnTo>
                    <a:lnTo>
                      <a:pt x="1289" y="54"/>
                    </a:lnTo>
                    <a:lnTo>
                      <a:pt x="1295" y="59"/>
                    </a:lnTo>
                    <a:lnTo>
                      <a:pt x="1298" y="62"/>
                    </a:lnTo>
                    <a:lnTo>
                      <a:pt x="1300" y="65"/>
                    </a:lnTo>
                    <a:lnTo>
                      <a:pt x="1298" y="65"/>
                    </a:lnTo>
                    <a:lnTo>
                      <a:pt x="1292" y="70"/>
                    </a:lnTo>
                    <a:lnTo>
                      <a:pt x="1289" y="73"/>
                    </a:lnTo>
                    <a:lnTo>
                      <a:pt x="1289" y="79"/>
                    </a:lnTo>
                    <a:lnTo>
                      <a:pt x="1289" y="86"/>
                    </a:lnTo>
                    <a:lnTo>
                      <a:pt x="1291" y="94"/>
                    </a:lnTo>
                    <a:lnTo>
                      <a:pt x="1289" y="102"/>
                    </a:lnTo>
                    <a:lnTo>
                      <a:pt x="1287" y="103"/>
                    </a:lnTo>
                    <a:lnTo>
                      <a:pt x="1284" y="102"/>
                    </a:lnTo>
                    <a:lnTo>
                      <a:pt x="1281" y="95"/>
                    </a:lnTo>
                    <a:lnTo>
                      <a:pt x="1278" y="92"/>
                    </a:lnTo>
                    <a:lnTo>
                      <a:pt x="1276" y="90"/>
                    </a:lnTo>
                    <a:lnTo>
                      <a:pt x="1275" y="87"/>
                    </a:lnTo>
                    <a:lnTo>
                      <a:pt x="1273" y="81"/>
                    </a:lnTo>
                    <a:lnTo>
                      <a:pt x="1270" y="73"/>
                    </a:lnTo>
                    <a:lnTo>
                      <a:pt x="1267" y="63"/>
                    </a:lnTo>
                    <a:lnTo>
                      <a:pt x="1265" y="56"/>
                    </a:lnTo>
                    <a:lnTo>
                      <a:pt x="1264" y="54"/>
                    </a:lnTo>
                    <a:lnTo>
                      <a:pt x="1259" y="52"/>
                    </a:lnTo>
                    <a:lnTo>
                      <a:pt x="1254" y="51"/>
                    </a:lnTo>
                    <a:lnTo>
                      <a:pt x="1251" y="52"/>
                    </a:lnTo>
                    <a:lnTo>
                      <a:pt x="1248" y="57"/>
                    </a:lnTo>
                    <a:lnTo>
                      <a:pt x="1249" y="63"/>
                    </a:lnTo>
                    <a:lnTo>
                      <a:pt x="1251" y="67"/>
                    </a:lnTo>
                    <a:lnTo>
                      <a:pt x="1256" y="73"/>
                    </a:lnTo>
                    <a:lnTo>
                      <a:pt x="1260" y="79"/>
                    </a:lnTo>
                    <a:lnTo>
                      <a:pt x="1262" y="84"/>
                    </a:lnTo>
                    <a:lnTo>
                      <a:pt x="1262" y="87"/>
                    </a:lnTo>
                    <a:lnTo>
                      <a:pt x="1262" y="92"/>
                    </a:lnTo>
                    <a:lnTo>
                      <a:pt x="1260" y="97"/>
                    </a:lnTo>
                    <a:lnTo>
                      <a:pt x="1260" y="98"/>
                    </a:lnTo>
                    <a:lnTo>
                      <a:pt x="1264" y="103"/>
                    </a:lnTo>
                    <a:lnTo>
                      <a:pt x="1267" y="106"/>
                    </a:lnTo>
                    <a:lnTo>
                      <a:pt x="1272" y="109"/>
                    </a:lnTo>
                    <a:lnTo>
                      <a:pt x="1270" y="113"/>
                    </a:lnTo>
                    <a:lnTo>
                      <a:pt x="1268" y="117"/>
                    </a:lnTo>
                    <a:lnTo>
                      <a:pt x="1273" y="119"/>
                    </a:lnTo>
                    <a:lnTo>
                      <a:pt x="1273" y="121"/>
                    </a:lnTo>
                    <a:lnTo>
                      <a:pt x="1273" y="122"/>
                    </a:lnTo>
                    <a:lnTo>
                      <a:pt x="1268" y="125"/>
                    </a:lnTo>
                    <a:lnTo>
                      <a:pt x="1268" y="127"/>
                    </a:lnTo>
                    <a:lnTo>
                      <a:pt x="1270" y="127"/>
                    </a:lnTo>
                    <a:lnTo>
                      <a:pt x="1265" y="132"/>
                    </a:lnTo>
                    <a:lnTo>
                      <a:pt x="1264" y="136"/>
                    </a:lnTo>
                    <a:lnTo>
                      <a:pt x="1262" y="141"/>
                    </a:lnTo>
                    <a:lnTo>
                      <a:pt x="1262" y="147"/>
                    </a:lnTo>
                    <a:lnTo>
                      <a:pt x="1259" y="152"/>
                    </a:lnTo>
                    <a:lnTo>
                      <a:pt x="1256" y="157"/>
                    </a:lnTo>
                    <a:lnTo>
                      <a:pt x="1254" y="163"/>
                    </a:lnTo>
                    <a:lnTo>
                      <a:pt x="1251" y="166"/>
                    </a:lnTo>
                    <a:lnTo>
                      <a:pt x="1246" y="170"/>
                    </a:lnTo>
                    <a:lnTo>
                      <a:pt x="1245" y="171"/>
                    </a:lnTo>
                    <a:lnTo>
                      <a:pt x="1240" y="173"/>
                    </a:lnTo>
                    <a:lnTo>
                      <a:pt x="1237" y="179"/>
                    </a:lnTo>
                    <a:lnTo>
                      <a:pt x="1237" y="184"/>
                    </a:lnTo>
                    <a:lnTo>
                      <a:pt x="1233" y="189"/>
                    </a:lnTo>
                    <a:lnTo>
                      <a:pt x="1227" y="193"/>
                    </a:lnTo>
                    <a:lnTo>
                      <a:pt x="1221" y="200"/>
                    </a:lnTo>
                    <a:lnTo>
                      <a:pt x="1219" y="206"/>
                    </a:lnTo>
                    <a:lnTo>
                      <a:pt x="1218" y="211"/>
                    </a:lnTo>
                    <a:lnTo>
                      <a:pt x="1214" y="217"/>
                    </a:lnTo>
                    <a:lnTo>
                      <a:pt x="1211" y="222"/>
                    </a:lnTo>
                    <a:lnTo>
                      <a:pt x="1210" y="228"/>
                    </a:lnTo>
                    <a:lnTo>
                      <a:pt x="1213" y="233"/>
                    </a:lnTo>
                    <a:lnTo>
                      <a:pt x="1213" y="239"/>
                    </a:lnTo>
                    <a:lnTo>
                      <a:pt x="1210" y="244"/>
                    </a:lnTo>
                    <a:lnTo>
                      <a:pt x="1208" y="247"/>
                    </a:lnTo>
                    <a:lnTo>
                      <a:pt x="1207" y="247"/>
                    </a:lnTo>
                    <a:lnTo>
                      <a:pt x="1207" y="252"/>
                    </a:lnTo>
                    <a:lnTo>
                      <a:pt x="1213" y="255"/>
                    </a:lnTo>
                    <a:lnTo>
                      <a:pt x="1214" y="260"/>
                    </a:lnTo>
                    <a:lnTo>
                      <a:pt x="1216" y="265"/>
                    </a:lnTo>
                    <a:lnTo>
                      <a:pt x="1214" y="271"/>
                    </a:lnTo>
                    <a:lnTo>
                      <a:pt x="1211" y="274"/>
                    </a:lnTo>
                    <a:lnTo>
                      <a:pt x="1208" y="274"/>
                    </a:lnTo>
                    <a:lnTo>
                      <a:pt x="1205" y="274"/>
                    </a:lnTo>
                    <a:lnTo>
                      <a:pt x="1200" y="276"/>
                    </a:lnTo>
                    <a:lnTo>
                      <a:pt x="1195" y="279"/>
                    </a:lnTo>
                    <a:lnTo>
                      <a:pt x="1191" y="281"/>
                    </a:lnTo>
                    <a:lnTo>
                      <a:pt x="1186" y="287"/>
                    </a:lnTo>
                    <a:lnTo>
                      <a:pt x="1186" y="288"/>
                    </a:lnTo>
                    <a:lnTo>
                      <a:pt x="1184" y="295"/>
                    </a:lnTo>
                    <a:lnTo>
                      <a:pt x="1183" y="300"/>
                    </a:lnTo>
                    <a:lnTo>
                      <a:pt x="1181" y="304"/>
                    </a:lnTo>
                    <a:lnTo>
                      <a:pt x="1176" y="307"/>
                    </a:lnTo>
                    <a:lnTo>
                      <a:pt x="1172" y="311"/>
                    </a:lnTo>
                    <a:lnTo>
                      <a:pt x="1172" y="315"/>
                    </a:lnTo>
                    <a:lnTo>
                      <a:pt x="1172" y="322"/>
                    </a:lnTo>
                    <a:lnTo>
                      <a:pt x="1170" y="328"/>
                    </a:lnTo>
                    <a:lnTo>
                      <a:pt x="1169" y="331"/>
                    </a:lnTo>
                    <a:lnTo>
                      <a:pt x="1162" y="334"/>
                    </a:lnTo>
                    <a:lnTo>
                      <a:pt x="1159" y="338"/>
                    </a:lnTo>
                    <a:lnTo>
                      <a:pt x="1154" y="341"/>
                    </a:lnTo>
                    <a:lnTo>
                      <a:pt x="1148" y="344"/>
                    </a:lnTo>
                    <a:lnTo>
                      <a:pt x="1143" y="346"/>
                    </a:lnTo>
                    <a:lnTo>
                      <a:pt x="1138" y="350"/>
                    </a:lnTo>
                    <a:lnTo>
                      <a:pt x="1132" y="353"/>
                    </a:lnTo>
                    <a:lnTo>
                      <a:pt x="1127" y="357"/>
                    </a:lnTo>
                    <a:lnTo>
                      <a:pt x="1121" y="360"/>
                    </a:lnTo>
                    <a:lnTo>
                      <a:pt x="1119" y="361"/>
                    </a:lnTo>
                    <a:lnTo>
                      <a:pt x="1116" y="365"/>
                    </a:lnTo>
                    <a:lnTo>
                      <a:pt x="1113" y="369"/>
                    </a:lnTo>
                    <a:lnTo>
                      <a:pt x="1113" y="376"/>
                    </a:lnTo>
                    <a:lnTo>
                      <a:pt x="1110" y="385"/>
                    </a:lnTo>
                    <a:lnTo>
                      <a:pt x="1110" y="396"/>
                    </a:lnTo>
                    <a:lnTo>
                      <a:pt x="1108" y="399"/>
                    </a:lnTo>
                    <a:lnTo>
                      <a:pt x="1108" y="403"/>
                    </a:lnTo>
                    <a:lnTo>
                      <a:pt x="1108" y="409"/>
                    </a:lnTo>
                    <a:lnTo>
                      <a:pt x="1112" y="412"/>
                    </a:lnTo>
                    <a:lnTo>
                      <a:pt x="1116" y="415"/>
                    </a:lnTo>
                    <a:lnTo>
                      <a:pt x="1119" y="418"/>
                    </a:lnTo>
                    <a:lnTo>
                      <a:pt x="1123" y="422"/>
                    </a:lnTo>
                    <a:lnTo>
                      <a:pt x="1124" y="426"/>
                    </a:lnTo>
                    <a:lnTo>
                      <a:pt x="1127" y="429"/>
                    </a:lnTo>
                    <a:lnTo>
                      <a:pt x="1129" y="429"/>
                    </a:lnTo>
                    <a:lnTo>
                      <a:pt x="1134" y="428"/>
                    </a:lnTo>
                    <a:lnTo>
                      <a:pt x="1140" y="422"/>
                    </a:lnTo>
                    <a:lnTo>
                      <a:pt x="1146" y="417"/>
                    </a:lnTo>
                    <a:lnTo>
                      <a:pt x="1153" y="417"/>
                    </a:lnTo>
                    <a:lnTo>
                      <a:pt x="1159" y="415"/>
                    </a:lnTo>
                    <a:lnTo>
                      <a:pt x="1161" y="412"/>
                    </a:lnTo>
                    <a:lnTo>
                      <a:pt x="1162" y="409"/>
                    </a:lnTo>
                    <a:lnTo>
                      <a:pt x="1164" y="404"/>
                    </a:lnTo>
                    <a:lnTo>
                      <a:pt x="1170" y="396"/>
                    </a:lnTo>
                    <a:lnTo>
                      <a:pt x="1175" y="390"/>
                    </a:lnTo>
                    <a:lnTo>
                      <a:pt x="1180" y="385"/>
                    </a:lnTo>
                    <a:lnTo>
                      <a:pt x="1181" y="379"/>
                    </a:lnTo>
                    <a:lnTo>
                      <a:pt x="1184" y="374"/>
                    </a:lnTo>
                    <a:lnTo>
                      <a:pt x="1191" y="372"/>
                    </a:lnTo>
                    <a:lnTo>
                      <a:pt x="1194" y="379"/>
                    </a:lnTo>
                    <a:lnTo>
                      <a:pt x="1200" y="384"/>
                    </a:lnTo>
                    <a:lnTo>
                      <a:pt x="1207" y="385"/>
                    </a:lnTo>
                    <a:lnTo>
                      <a:pt x="1213" y="385"/>
                    </a:lnTo>
                    <a:lnTo>
                      <a:pt x="1219" y="385"/>
                    </a:lnTo>
                    <a:lnTo>
                      <a:pt x="1221" y="384"/>
                    </a:lnTo>
                    <a:lnTo>
                      <a:pt x="1224" y="387"/>
                    </a:lnTo>
                    <a:lnTo>
                      <a:pt x="1226" y="391"/>
                    </a:lnTo>
                    <a:lnTo>
                      <a:pt x="1230" y="395"/>
                    </a:lnTo>
                    <a:lnTo>
                      <a:pt x="1238" y="396"/>
                    </a:lnTo>
                    <a:lnTo>
                      <a:pt x="1245" y="395"/>
                    </a:lnTo>
                    <a:lnTo>
                      <a:pt x="1249" y="395"/>
                    </a:lnTo>
                    <a:lnTo>
                      <a:pt x="1256" y="388"/>
                    </a:lnTo>
                    <a:lnTo>
                      <a:pt x="1260" y="384"/>
                    </a:lnTo>
                    <a:lnTo>
                      <a:pt x="1268" y="385"/>
                    </a:lnTo>
                    <a:lnTo>
                      <a:pt x="1275" y="388"/>
                    </a:lnTo>
                    <a:lnTo>
                      <a:pt x="1278" y="393"/>
                    </a:lnTo>
                    <a:lnTo>
                      <a:pt x="1278" y="398"/>
                    </a:lnTo>
                    <a:lnTo>
                      <a:pt x="1276" y="403"/>
                    </a:lnTo>
                    <a:lnTo>
                      <a:pt x="1281" y="403"/>
                    </a:lnTo>
                    <a:lnTo>
                      <a:pt x="1286" y="404"/>
                    </a:lnTo>
                    <a:lnTo>
                      <a:pt x="1289" y="407"/>
                    </a:lnTo>
                    <a:lnTo>
                      <a:pt x="1291" y="410"/>
                    </a:lnTo>
                    <a:lnTo>
                      <a:pt x="1289" y="412"/>
                    </a:lnTo>
                    <a:lnTo>
                      <a:pt x="1287" y="417"/>
                    </a:lnTo>
                    <a:lnTo>
                      <a:pt x="1287" y="420"/>
                    </a:lnTo>
                    <a:lnTo>
                      <a:pt x="1292" y="422"/>
                    </a:lnTo>
                    <a:lnTo>
                      <a:pt x="1294" y="417"/>
                    </a:lnTo>
                    <a:lnTo>
                      <a:pt x="1297" y="417"/>
                    </a:lnTo>
                    <a:lnTo>
                      <a:pt x="1298" y="423"/>
                    </a:lnTo>
                    <a:lnTo>
                      <a:pt x="1298" y="429"/>
                    </a:lnTo>
                    <a:lnTo>
                      <a:pt x="1295" y="429"/>
                    </a:lnTo>
                    <a:lnTo>
                      <a:pt x="1294" y="434"/>
                    </a:lnTo>
                    <a:lnTo>
                      <a:pt x="1295" y="437"/>
                    </a:lnTo>
                    <a:lnTo>
                      <a:pt x="1295" y="442"/>
                    </a:lnTo>
                    <a:lnTo>
                      <a:pt x="1295" y="445"/>
                    </a:lnTo>
                    <a:lnTo>
                      <a:pt x="1295" y="450"/>
                    </a:lnTo>
                    <a:lnTo>
                      <a:pt x="1295" y="455"/>
                    </a:lnTo>
                    <a:lnTo>
                      <a:pt x="1298" y="458"/>
                    </a:lnTo>
                    <a:lnTo>
                      <a:pt x="1298" y="461"/>
                    </a:lnTo>
                    <a:lnTo>
                      <a:pt x="1294" y="466"/>
                    </a:lnTo>
                    <a:lnTo>
                      <a:pt x="1291" y="468"/>
                    </a:lnTo>
                    <a:lnTo>
                      <a:pt x="1286" y="469"/>
                    </a:lnTo>
                    <a:lnTo>
                      <a:pt x="1284" y="471"/>
                    </a:lnTo>
                    <a:lnTo>
                      <a:pt x="1281" y="472"/>
                    </a:lnTo>
                    <a:lnTo>
                      <a:pt x="1279" y="474"/>
                    </a:lnTo>
                    <a:lnTo>
                      <a:pt x="1276" y="475"/>
                    </a:lnTo>
                    <a:lnTo>
                      <a:pt x="1276" y="480"/>
                    </a:lnTo>
                    <a:lnTo>
                      <a:pt x="1276" y="483"/>
                    </a:lnTo>
                    <a:lnTo>
                      <a:pt x="1276" y="488"/>
                    </a:lnTo>
                    <a:lnTo>
                      <a:pt x="1278" y="488"/>
                    </a:lnTo>
                    <a:lnTo>
                      <a:pt x="1283" y="488"/>
                    </a:lnTo>
                    <a:lnTo>
                      <a:pt x="1286" y="491"/>
                    </a:lnTo>
                    <a:lnTo>
                      <a:pt x="1289" y="494"/>
                    </a:lnTo>
                    <a:lnTo>
                      <a:pt x="1291" y="496"/>
                    </a:lnTo>
                    <a:lnTo>
                      <a:pt x="1297" y="496"/>
                    </a:lnTo>
                    <a:lnTo>
                      <a:pt x="1300" y="499"/>
                    </a:lnTo>
                    <a:lnTo>
                      <a:pt x="1303" y="506"/>
                    </a:lnTo>
                    <a:lnTo>
                      <a:pt x="1306" y="509"/>
                    </a:lnTo>
                    <a:lnTo>
                      <a:pt x="1311" y="510"/>
                    </a:lnTo>
                    <a:lnTo>
                      <a:pt x="1317" y="509"/>
                    </a:lnTo>
                    <a:lnTo>
                      <a:pt x="1327" y="509"/>
                    </a:lnTo>
                    <a:lnTo>
                      <a:pt x="1329" y="507"/>
                    </a:lnTo>
                    <a:lnTo>
                      <a:pt x="1333" y="512"/>
                    </a:lnTo>
                    <a:lnTo>
                      <a:pt x="1335" y="515"/>
                    </a:lnTo>
                    <a:lnTo>
                      <a:pt x="1340" y="518"/>
                    </a:lnTo>
                    <a:lnTo>
                      <a:pt x="1346" y="518"/>
                    </a:lnTo>
                    <a:lnTo>
                      <a:pt x="1354" y="518"/>
                    </a:lnTo>
                    <a:lnTo>
                      <a:pt x="1359" y="521"/>
                    </a:lnTo>
                    <a:lnTo>
                      <a:pt x="1362" y="521"/>
                    </a:lnTo>
                    <a:lnTo>
                      <a:pt x="1363" y="521"/>
                    </a:lnTo>
                    <a:lnTo>
                      <a:pt x="1368" y="525"/>
                    </a:lnTo>
                    <a:lnTo>
                      <a:pt x="1367" y="526"/>
                    </a:lnTo>
                    <a:lnTo>
                      <a:pt x="1367" y="529"/>
                    </a:lnTo>
                    <a:lnTo>
                      <a:pt x="1365" y="536"/>
                    </a:lnTo>
                    <a:lnTo>
                      <a:pt x="1370" y="537"/>
                    </a:lnTo>
                    <a:lnTo>
                      <a:pt x="1378" y="537"/>
                    </a:lnTo>
                    <a:lnTo>
                      <a:pt x="1386" y="536"/>
                    </a:lnTo>
                    <a:lnTo>
                      <a:pt x="1392" y="534"/>
                    </a:lnTo>
                    <a:lnTo>
                      <a:pt x="1400" y="536"/>
                    </a:lnTo>
                    <a:lnTo>
                      <a:pt x="1401" y="539"/>
                    </a:lnTo>
                    <a:lnTo>
                      <a:pt x="1398" y="542"/>
                    </a:lnTo>
                    <a:lnTo>
                      <a:pt x="1397" y="547"/>
                    </a:lnTo>
                    <a:lnTo>
                      <a:pt x="1398" y="550"/>
                    </a:lnTo>
                    <a:lnTo>
                      <a:pt x="1403" y="551"/>
                    </a:lnTo>
                    <a:lnTo>
                      <a:pt x="1406" y="553"/>
                    </a:lnTo>
                    <a:lnTo>
                      <a:pt x="1408" y="555"/>
                    </a:lnTo>
                    <a:lnTo>
                      <a:pt x="1411" y="561"/>
                    </a:lnTo>
                    <a:lnTo>
                      <a:pt x="1409" y="569"/>
                    </a:lnTo>
                    <a:lnTo>
                      <a:pt x="1409" y="575"/>
                    </a:lnTo>
                    <a:lnTo>
                      <a:pt x="1411" y="580"/>
                    </a:lnTo>
                    <a:lnTo>
                      <a:pt x="1414" y="585"/>
                    </a:lnTo>
                    <a:lnTo>
                      <a:pt x="1414" y="591"/>
                    </a:lnTo>
                    <a:lnTo>
                      <a:pt x="1416" y="597"/>
                    </a:lnTo>
                    <a:lnTo>
                      <a:pt x="1417" y="602"/>
                    </a:lnTo>
                    <a:lnTo>
                      <a:pt x="1419" y="609"/>
                    </a:lnTo>
                    <a:lnTo>
                      <a:pt x="1419" y="613"/>
                    </a:lnTo>
                    <a:lnTo>
                      <a:pt x="1419" y="615"/>
                    </a:lnTo>
                    <a:lnTo>
                      <a:pt x="1419" y="620"/>
                    </a:lnTo>
                    <a:lnTo>
                      <a:pt x="1417" y="626"/>
                    </a:lnTo>
                    <a:lnTo>
                      <a:pt x="1414" y="629"/>
                    </a:lnTo>
                    <a:lnTo>
                      <a:pt x="1409" y="634"/>
                    </a:lnTo>
                    <a:lnTo>
                      <a:pt x="1408" y="640"/>
                    </a:lnTo>
                    <a:lnTo>
                      <a:pt x="1409" y="645"/>
                    </a:lnTo>
                    <a:lnTo>
                      <a:pt x="1411" y="650"/>
                    </a:lnTo>
                    <a:lnTo>
                      <a:pt x="1412" y="654"/>
                    </a:lnTo>
                    <a:lnTo>
                      <a:pt x="1416" y="661"/>
                    </a:lnTo>
                    <a:lnTo>
                      <a:pt x="1420" y="664"/>
                    </a:lnTo>
                    <a:lnTo>
                      <a:pt x="1420" y="667"/>
                    </a:lnTo>
                    <a:lnTo>
                      <a:pt x="1412" y="667"/>
                    </a:lnTo>
                    <a:lnTo>
                      <a:pt x="1406" y="669"/>
                    </a:lnTo>
                    <a:lnTo>
                      <a:pt x="1398" y="670"/>
                    </a:lnTo>
                    <a:lnTo>
                      <a:pt x="1392" y="674"/>
                    </a:lnTo>
                    <a:lnTo>
                      <a:pt x="1386" y="672"/>
                    </a:lnTo>
                    <a:lnTo>
                      <a:pt x="1379" y="670"/>
                    </a:lnTo>
                    <a:lnTo>
                      <a:pt x="1371" y="667"/>
                    </a:lnTo>
                    <a:lnTo>
                      <a:pt x="1368" y="661"/>
                    </a:lnTo>
                    <a:lnTo>
                      <a:pt x="1365" y="658"/>
                    </a:lnTo>
                    <a:lnTo>
                      <a:pt x="1363" y="654"/>
                    </a:lnTo>
                    <a:lnTo>
                      <a:pt x="1360" y="648"/>
                    </a:lnTo>
                    <a:lnTo>
                      <a:pt x="1359" y="647"/>
                    </a:lnTo>
                    <a:lnTo>
                      <a:pt x="1352" y="637"/>
                    </a:lnTo>
                    <a:lnTo>
                      <a:pt x="1349" y="629"/>
                    </a:lnTo>
                    <a:lnTo>
                      <a:pt x="1346" y="624"/>
                    </a:lnTo>
                    <a:lnTo>
                      <a:pt x="1340" y="620"/>
                    </a:lnTo>
                    <a:lnTo>
                      <a:pt x="1333" y="613"/>
                    </a:lnTo>
                    <a:lnTo>
                      <a:pt x="1327" y="609"/>
                    </a:lnTo>
                    <a:lnTo>
                      <a:pt x="1322" y="604"/>
                    </a:lnTo>
                    <a:lnTo>
                      <a:pt x="1319" y="599"/>
                    </a:lnTo>
                    <a:lnTo>
                      <a:pt x="1316" y="596"/>
                    </a:lnTo>
                    <a:lnTo>
                      <a:pt x="1314" y="596"/>
                    </a:lnTo>
                    <a:lnTo>
                      <a:pt x="1313" y="594"/>
                    </a:lnTo>
                    <a:lnTo>
                      <a:pt x="1311" y="593"/>
                    </a:lnTo>
                    <a:lnTo>
                      <a:pt x="1306" y="594"/>
                    </a:lnTo>
                    <a:lnTo>
                      <a:pt x="1300" y="597"/>
                    </a:lnTo>
                    <a:lnTo>
                      <a:pt x="1297" y="599"/>
                    </a:lnTo>
                    <a:lnTo>
                      <a:pt x="1294" y="596"/>
                    </a:lnTo>
                    <a:lnTo>
                      <a:pt x="1292" y="594"/>
                    </a:lnTo>
                    <a:lnTo>
                      <a:pt x="1286" y="594"/>
                    </a:lnTo>
                    <a:lnTo>
                      <a:pt x="1284" y="591"/>
                    </a:lnTo>
                    <a:lnTo>
                      <a:pt x="1281" y="590"/>
                    </a:lnTo>
                    <a:lnTo>
                      <a:pt x="1279" y="590"/>
                    </a:lnTo>
                    <a:lnTo>
                      <a:pt x="1273" y="591"/>
                    </a:lnTo>
                    <a:lnTo>
                      <a:pt x="1267" y="590"/>
                    </a:lnTo>
                    <a:lnTo>
                      <a:pt x="1260" y="585"/>
                    </a:lnTo>
                    <a:lnTo>
                      <a:pt x="1256" y="585"/>
                    </a:lnTo>
                    <a:lnTo>
                      <a:pt x="1248" y="585"/>
                    </a:lnTo>
                    <a:lnTo>
                      <a:pt x="1246" y="585"/>
                    </a:lnTo>
                    <a:lnTo>
                      <a:pt x="1237" y="585"/>
                    </a:lnTo>
                    <a:lnTo>
                      <a:pt x="1229" y="588"/>
                    </a:lnTo>
                    <a:lnTo>
                      <a:pt x="1226" y="590"/>
                    </a:lnTo>
                    <a:lnTo>
                      <a:pt x="1222" y="591"/>
                    </a:lnTo>
                    <a:lnTo>
                      <a:pt x="1219" y="594"/>
                    </a:lnTo>
                    <a:lnTo>
                      <a:pt x="1214" y="601"/>
                    </a:lnTo>
                    <a:lnTo>
                      <a:pt x="1214" y="607"/>
                    </a:lnTo>
                    <a:lnTo>
                      <a:pt x="1214" y="609"/>
                    </a:lnTo>
                    <a:lnTo>
                      <a:pt x="1213" y="610"/>
                    </a:lnTo>
                    <a:lnTo>
                      <a:pt x="1213" y="612"/>
                    </a:lnTo>
                    <a:lnTo>
                      <a:pt x="1214" y="618"/>
                    </a:lnTo>
                    <a:lnTo>
                      <a:pt x="1214" y="624"/>
                    </a:lnTo>
                    <a:lnTo>
                      <a:pt x="1214" y="626"/>
                    </a:lnTo>
                    <a:lnTo>
                      <a:pt x="1214" y="629"/>
                    </a:lnTo>
                    <a:lnTo>
                      <a:pt x="1216" y="635"/>
                    </a:lnTo>
                    <a:lnTo>
                      <a:pt x="1218" y="643"/>
                    </a:lnTo>
                    <a:lnTo>
                      <a:pt x="1218" y="650"/>
                    </a:lnTo>
                    <a:lnTo>
                      <a:pt x="1218" y="654"/>
                    </a:lnTo>
                    <a:lnTo>
                      <a:pt x="1211" y="658"/>
                    </a:lnTo>
                    <a:lnTo>
                      <a:pt x="1205" y="659"/>
                    </a:lnTo>
                    <a:lnTo>
                      <a:pt x="1200" y="666"/>
                    </a:lnTo>
                    <a:lnTo>
                      <a:pt x="1197" y="672"/>
                    </a:lnTo>
                    <a:lnTo>
                      <a:pt x="1195" y="678"/>
                    </a:lnTo>
                    <a:lnTo>
                      <a:pt x="1194" y="683"/>
                    </a:lnTo>
                    <a:lnTo>
                      <a:pt x="1192" y="685"/>
                    </a:lnTo>
                    <a:lnTo>
                      <a:pt x="1189" y="691"/>
                    </a:lnTo>
                    <a:lnTo>
                      <a:pt x="1188" y="693"/>
                    </a:lnTo>
                    <a:lnTo>
                      <a:pt x="1184" y="699"/>
                    </a:lnTo>
                    <a:lnTo>
                      <a:pt x="1183" y="705"/>
                    </a:lnTo>
                    <a:lnTo>
                      <a:pt x="1178" y="707"/>
                    </a:lnTo>
                    <a:lnTo>
                      <a:pt x="1172" y="712"/>
                    </a:lnTo>
                    <a:lnTo>
                      <a:pt x="1170" y="718"/>
                    </a:lnTo>
                    <a:lnTo>
                      <a:pt x="1173" y="721"/>
                    </a:lnTo>
                    <a:lnTo>
                      <a:pt x="1176" y="721"/>
                    </a:lnTo>
                    <a:lnTo>
                      <a:pt x="1180" y="718"/>
                    </a:lnTo>
                    <a:lnTo>
                      <a:pt x="1184" y="721"/>
                    </a:lnTo>
                    <a:lnTo>
                      <a:pt x="1186" y="726"/>
                    </a:lnTo>
                    <a:lnTo>
                      <a:pt x="1189" y="726"/>
                    </a:lnTo>
                    <a:lnTo>
                      <a:pt x="1194" y="727"/>
                    </a:lnTo>
                    <a:lnTo>
                      <a:pt x="1199" y="729"/>
                    </a:lnTo>
                    <a:lnTo>
                      <a:pt x="1203" y="732"/>
                    </a:lnTo>
                    <a:lnTo>
                      <a:pt x="1207" y="737"/>
                    </a:lnTo>
                    <a:lnTo>
                      <a:pt x="1202" y="742"/>
                    </a:lnTo>
                    <a:lnTo>
                      <a:pt x="1195" y="742"/>
                    </a:lnTo>
                    <a:lnTo>
                      <a:pt x="1192" y="745"/>
                    </a:lnTo>
                    <a:lnTo>
                      <a:pt x="1189" y="746"/>
                    </a:lnTo>
                    <a:lnTo>
                      <a:pt x="1186" y="751"/>
                    </a:lnTo>
                    <a:lnTo>
                      <a:pt x="1180" y="753"/>
                    </a:lnTo>
                    <a:lnTo>
                      <a:pt x="1175" y="753"/>
                    </a:lnTo>
                    <a:lnTo>
                      <a:pt x="1169" y="751"/>
                    </a:lnTo>
                    <a:lnTo>
                      <a:pt x="1165" y="754"/>
                    </a:lnTo>
                    <a:lnTo>
                      <a:pt x="1164" y="754"/>
                    </a:lnTo>
                    <a:lnTo>
                      <a:pt x="1161" y="759"/>
                    </a:lnTo>
                    <a:lnTo>
                      <a:pt x="1156" y="761"/>
                    </a:lnTo>
                    <a:lnTo>
                      <a:pt x="1151" y="759"/>
                    </a:lnTo>
                    <a:lnTo>
                      <a:pt x="1148" y="757"/>
                    </a:lnTo>
                    <a:lnTo>
                      <a:pt x="1148" y="756"/>
                    </a:lnTo>
                    <a:lnTo>
                      <a:pt x="1148" y="753"/>
                    </a:lnTo>
                    <a:lnTo>
                      <a:pt x="1151" y="748"/>
                    </a:lnTo>
                    <a:lnTo>
                      <a:pt x="1153" y="745"/>
                    </a:lnTo>
                    <a:lnTo>
                      <a:pt x="1153" y="737"/>
                    </a:lnTo>
                    <a:lnTo>
                      <a:pt x="1150" y="732"/>
                    </a:lnTo>
                    <a:lnTo>
                      <a:pt x="1143" y="731"/>
                    </a:lnTo>
                    <a:lnTo>
                      <a:pt x="1140" y="726"/>
                    </a:lnTo>
                    <a:lnTo>
                      <a:pt x="1138" y="719"/>
                    </a:lnTo>
                    <a:lnTo>
                      <a:pt x="1137" y="718"/>
                    </a:lnTo>
                    <a:lnTo>
                      <a:pt x="1134" y="713"/>
                    </a:lnTo>
                    <a:lnTo>
                      <a:pt x="1131" y="710"/>
                    </a:lnTo>
                    <a:lnTo>
                      <a:pt x="1126" y="708"/>
                    </a:lnTo>
                    <a:lnTo>
                      <a:pt x="1126" y="704"/>
                    </a:lnTo>
                    <a:lnTo>
                      <a:pt x="1124" y="699"/>
                    </a:lnTo>
                    <a:lnTo>
                      <a:pt x="1121" y="694"/>
                    </a:lnTo>
                    <a:lnTo>
                      <a:pt x="1119" y="691"/>
                    </a:lnTo>
                    <a:lnTo>
                      <a:pt x="1118" y="688"/>
                    </a:lnTo>
                    <a:lnTo>
                      <a:pt x="1118" y="685"/>
                    </a:lnTo>
                    <a:lnTo>
                      <a:pt x="1113" y="678"/>
                    </a:lnTo>
                    <a:lnTo>
                      <a:pt x="1115" y="674"/>
                    </a:lnTo>
                    <a:lnTo>
                      <a:pt x="1116" y="666"/>
                    </a:lnTo>
                    <a:lnTo>
                      <a:pt x="1119" y="661"/>
                    </a:lnTo>
                    <a:lnTo>
                      <a:pt x="1124" y="664"/>
                    </a:lnTo>
                    <a:lnTo>
                      <a:pt x="1127" y="667"/>
                    </a:lnTo>
                    <a:lnTo>
                      <a:pt x="1132" y="669"/>
                    </a:lnTo>
                    <a:lnTo>
                      <a:pt x="1137" y="667"/>
                    </a:lnTo>
                    <a:lnTo>
                      <a:pt x="1140" y="664"/>
                    </a:lnTo>
                    <a:lnTo>
                      <a:pt x="1145" y="659"/>
                    </a:lnTo>
                    <a:lnTo>
                      <a:pt x="1148" y="653"/>
                    </a:lnTo>
                    <a:lnTo>
                      <a:pt x="1146" y="647"/>
                    </a:lnTo>
                    <a:lnTo>
                      <a:pt x="1143" y="643"/>
                    </a:lnTo>
                    <a:lnTo>
                      <a:pt x="1140" y="639"/>
                    </a:lnTo>
                    <a:lnTo>
                      <a:pt x="1142" y="635"/>
                    </a:lnTo>
                    <a:lnTo>
                      <a:pt x="1143" y="632"/>
                    </a:lnTo>
                    <a:lnTo>
                      <a:pt x="1143" y="629"/>
                    </a:lnTo>
                    <a:lnTo>
                      <a:pt x="1145" y="624"/>
                    </a:lnTo>
                    <a:lnTo>
                      <a:pt x="1148" y="620"/>
                    </a:lnTo>
                    <a:lnTo>
                      <a:pt x="1150" y="618"/>
                    </a:lnTo>
                    <a:lnTo>
                      <a:pt x="1153" y="616"/>
                    </a:lnTo>
                    <a:lnTo>
                      <a:pt x="1157" y="616"/>
                    </a:lnTo>
                    <a:lnTo>
                      <a:pt x="1162" y="615"/>
                    </a:lnTo>
                    <a:lnTo>
                      <a:pt x="1164" y="615"/>
                    </a:lnTo>
                    <a:lnTo>
                      <a:pt x="1170" y="612"/>
                    </a:lnTo>
                    <a:lnTo>
                      <a:pt x="1175" y="609"/>
                    </a:lnTo>
                    <a:lnTo>
                      <a:pt x="1176" y="604"/>
                    </a:lnTo>
                    <a:lnTo>
                      <a:pt x="1176" y="597"/>
                    </a:lnTo>
                    <a:lnTo>
                      <a:pt x="1176" y="591"/>
                    </a:lnTo>
                    <a:lnTo>
                      <a:pt x="1173" y="585"/>
                    </a:lnTo>
                    <a:lnTo>
                      <a:pt x="1167" y="582"/>
                    </a:lnTo>
                    <a:lnTo>
                      <a:pt x="1165" y="578"/>
                    </a:lnTo>
                    <a:lnTo>
                      <a:pt x="1162" y="577"/>
                    </a:lnTo>
                    <a:lnTo>
                      <a:pt x="1154" y="578"/>
                    </a:lnTo>
                    <a:lnTo>
                      <a:pt x="1153" y="578"/>
                    </a:lnTo>
                    <a:lnTo>
                      <a:pt x="1146" y="580"/>
                    </a:lnTo>
                    <a:lnTo>
                      <a:pt x="1140" y="582"/>
                    </a:lnTo>
                    <a:lnTo>
                      <a:pt x="1135" y="585"/>
                    </a:lnTo>
                    <a:lnTo>
                      <a:pt x="1132" y="580"/>
                    </a:lnTo>
                    <a:lnTo>
                      <a:pt x="1132" y="574"/>
                    </a:lnTo>
                    <a:lnTo>
                      <a:pt x="1134" y="569"/>
                    </a:lnTo>
                    <a:lnTo>
                      <a:pt x="1131" y="566"/>
                    </a:lnTo>
                    <a:lnTo>
                      <a:pt x="1124" y="567"/>
                    </a:lnTo>
                    <a:lnTo>
                      <a:pt x="1119" y="564"/>
                    </a:lnTo>
                    <a:lnTo>
                      <a:pt x="1118" y="561"/>
                    </a:lnTo>
                    <a:lnTo>
                      <a:pt x="1116" y="559"/>
                    </a:lnTo>
                    <a:lnTo>
                      <a:pt x="1112" y="559"/>
                    </a:lnTo>
                    <a:lnTo>
                      <a:pt x="1105" y="558"/>
                    </a:lnTo>
                    <a:lnTo>
                      <a:pt x="1100" y="550"/>
                    </a:lnTo>
                    <a:lnTo>
                      <a:pt x="1094" y="545"/>
                    </a:lnTo>
                    <a:lnTo>
                      <a:pt x="1093" y="545"/>
                    </a:lnTo>
                    <a:lnTo>
                      <a:pt x="1089" y="545"/>
                    </a:lnTo>
                    <a:lnTo>
                      <a:pt x="1086" y="550"/>
                    </a:lnTo>
                    <a:lnTo>
                      <a:pt x="1081" y="553"/>
                    </a:lnTo>
                    <a:lnTo>
                      <a:pt x="1077" y="553"/>
                    </a:lnTo>
                    <a:lnTo>
                      <a:pt x="1070" y="550"/>
                    </a:lnTo>
                    <a:lnTo>
                      <a:pt x="1067" y="545"/>
                    </a:lnTo>
                    <a:lnTo>
                      <a:pt x="1064" y="540"/>
                    </a:lnTo>
                    <a:lnTo>
                      <a:pt x="1059" y="539"/>
                    </a:lnTo>
                    <a:lnTo>
                      <a:pt x="1053" y="544"/>
                    </a:lnTo>
                    <a:lnTo>
                      <a:pt x="1048" y="550"/>
                    </a:lnTo>
                    <a:lnTo>
                      <a:pt x="1045" y="555"/>
                    </a:lnTo>
                    <a:lnTo>
                      <a:pt x="1039" y="561"/>
                    </a:lnTo>
                    <a:lnTo>
                      <a:pt x="1035" y="564"/>
                    </a:lnTo>
                    <a:lnTo>
                      <a:pt x="1034" y="567"/>
                    </a:lnTo>
                    <a:lnTo>
                      <a:pt x="1032" y="574"/>
                    </a:lnTo>
                    <a:lnTo>
                      <a:pt x="1031" y="582"/>
                    </a:lnTo>
                    <a:lnTo>
                      <a:pt x="1031" y="588"/>
                    </a:lnTo>
                    <a:lnTo>
                      <a:pt x="1034" y="593"/>
                    </a:lnTo>
                    <a:lnTo>
                      <a:pt x="1037" y="599"/>
                    </a:lnTo>
                    <a:lnTo>
                      <a:pt x="1043" y="602"/>
                    </a:lnTo>
                    <a:lnTo>
                      <a:pt x="1045" y="610"/>
                    </a:lnTo>
                    <a:lnTo>
                      <a:pt x="1047" y="616"/>
                    </a:lnTo>
                    <a:lnTo>
                      <a:pt x="1047" y="618"/>
                    </a:lnTo>
                    <a:lnTo>
                      <a:pt x="1047" y="624"/>
                    </a:lnTo>
                    <a:lnTo>
                      <a:pt x="1047" y="632"/>
                    </a:lnTo>
                    <a:lnTo>
                      <a:pt x="1043" y="640"/>
                    </a:lnTo>
                    <a:lnTo>
                      <a:pt x="1040" y="648"/>
                    </a:lnTo>
                    <a:lnTo>
                      <a:pt x="1035" y="656"/>
                    </a:lnTo>
                    <a:lnTo>
                      <a:pt x="1029" y="662"/>
                    </a:lnTo>
                    <a:lnTo>
                      <a:pt x="1026" y="669"/>
                    </a:lnTo>
                    <a:lnTo>
                      <a:pt x="1024" y="677"/>
                    </a:lnTo>
                    <a:lnTo>
                      <a:pt x="1024" y="680"/>
                    </a:lnTo>
                    <a:lnTo>
                      <a:pt x="1026" y="685"/>
                    </a:lnTo>
                    <a:lnTo>
                      <a:pt x="1028" y="693"/>
                    </a:lnTo>
                    <a:lnTo>
                      <a:pt x="1029" y="699"/>
                    </a:lnTo>
                    <a:lnTo>
                      <a:pt x="1028" y="705"/>
                    </a:lnTo>
                    <a:lnTo>
                      <a:pt x="1028" y="710"/>
                    </a:lnTo>
                    <a:lnTo>
                      <a:pt x="1029" y="715"/>
                    </a:lnTo>
                    <a:lnTo>
                      <a:pt x="1032" y="715"/>
                    </a:lnTo>
                    <a:lnTo>
                      <a:pt x="1034" y="715"/>
                    </a:lnTo>
                    <a:lnTo>
                      <a:pt x="1035" y="713"/>
                    </a:lnTo>
                    <a:lnTo>
                      <a:pt x="1040" y="710"/>
                    </a:lnTo>
                    <a:lnTo>
                      <a:pt x="1045" y="710"/>
                    </a:lnTo>
                    <a:lnTo>
                      <a:pt x="1048" y="713"/>
                    </a:lnTo>
                    <a:lnTo>
                      <a:pt x="1051" y="716"/>
                    </a:lnTo>
                    <a:lnTo>
                      <a:pt x="1056" y="718"/>
                    </a:lnTo>
                    <a:lnTo>
                      <a:pt x="1059" y="721"/>
                    </a:lnTo>
                    <a:lnTo>
                      <a:pt x="1062" y="724"/>
                    </a:lnTo>
                    <a:lnTo>
                      <a:pt x="1067" y="724"/>
                    </a:lnTo>
                    <a:lnTo>
                      <a:pt x="1074" y="724"/>
                    </a:lnTo>
                    <a:lnTo>
                      <a:pt x="1075" y="724"/>
                    </a:lnTo>
                    <a:lnTo>
                      <a:pt x="1077" y="724"/>
                    </a:lnTo>
                    <a:lnTo>
                      <a:pt x="1081" y="726"/>
                    </a:lnTo>
                    <a:lnTo>
                      <a:pt x="1083" y="734"/>
                    </a:lnTo>
                    <a:lnTo>
                      <a:pt x="1085" y="740"/>
                    </a:lnTo>
                    <a:lnTo>
                      <a:pt x="1085" y="746"/>
                    </a:lnTo>
                    <a:lnTo>
                      <a:pt x="1089" y="751"/>
                    </a:lnTo>
                    <a:lnTo>
                      <a:pt x="1093" y="757"/>
                    </a:lnTo>
                    <a:lnTo>
                      <a:pt x="1093" y="764"/>
                    </a:lnTo>
                    <a:lnTo>
                      <a:pt x="1094" y="770"/>
                    </a:lnTo>
                    <a:lnTo>
                      <a:pt x="1096" y="775"/>
                    </a:lnTo>
                    <a:lnTo>
                      <a:pt x="1102" y="780"/>
                    </a:lnTo>
                    <a:lnTo>
                      <a:pt x="1107" y="781"/>
                    </a:lnTo>
                    <a:lnTo>
                      <a:pt x="1112" y="783"/>
                    </a:lnTo>
                    <a:lnTo>
                      <a:pt x="1116" y="788"/>
                    </a:lnTo>
                    <a:lnTo>
                      <a:pt x="1116" y="794"/>
                    </a:lnTo>
                    <a:lnTo>
                      <a:pt x="1113" y="800"/>
                    </a:lnTo>
                    <a:lnTo>
                      <a:pt x="1112" y="803"/>
                    </a:lnTo>
                    <a:lnTo>
                      <a:pt x="1107" y="807"/>
                    </a:lnTo>
                    <a:lnTo>
                      <a:pt x="1102" y="808"/>
                    </a:lnTo>
                    <a:lnTo>
                      <a:pt x="1097" y="811"/>
                    </a:lnTo>
                    <a:lnTo>
                      <a:pt x="1093" y="815"/>
                    </a:lnTo>
                    <a:lnTo>
                      <a:pt x="1085" y="815"/>
                    </a:lnTo>
                    <a:lnTo>
                      <a:pt x="1080" y="816"/>
                    </a:lnTo>
                    <a:lnTo>
                      <a:pt x="1074" y="818"/>
                    </a:lnTo>
                    <a:lnTo>
                      <a:pt x="1070" y="826"/>
                    </a:lnTo>
                    <a:lnTo>
                      <a:pt x="1072" y="830"/>
                    </a:lnTo>
                    <a:lnTo>
                      <a:pt x="1074" y="834"/>
                    </a:lnTo>
                    <a:lnTo>
                      <a:pt x="1074" y="835"/>
                    </a:lnTo>
                    <a:lnTo>
                      <a:pt x="1074" y="838"/>
                    </a:lnTo>
                    <a:lnTo>
                      <a:pt x="1075" y="848"/>
                    </a:lnTo>
                    <a:lnTo>
                      <a:pt x="1075" y="857"/>
                    </a:lnTo>
                    <a:lnTo>
                      <a:pt x="1075" y="867"/>
                    </a:lnTo>
                    <a:lnTo>
                      <a:pt x="1074" y="873"/>
                    </a:lnTo>
                    <a:lnTo>
                      <a:pt x="1072" y="881"/>
                    </a:lnTo>
                    <a:lnTo>
                      <a:pt x="1067" y="889"/>
                    </a:lnTo>
                    <a:lnTo>
                      <a:pt x="1061" y="895"/>
                    </a:lnTo>
                    <a:lnTo>
                      <a:pt x="1061" y="903"/>
                    </a:lnTo>
                    <a:lnTo>
                      <a:pt x="1061" y="910"/>
                    </a:lnTo>
                    <a:lnTo>
                      <a:pt x="1062" y="916"/>
                    </a:lnTo>
                    <a:lnTo>
                      <a:pt x="1062" y="924"/>
                    </a:lnTo>
                    <a:lnTo>
                      <a:pt x="1062" y="929"/>
                    </a:lnTo>
                    <a:lnTo>
                      <a:pt x="1061" y="933"/>
                    </a:lnTo>
                    <a:lnTo>
                      <a:pt x="1058" y="937"/>
                    </a:lnTo>
                    <a:lnTo>
                      <a:pt x="1056" y="937"/>
                    </a:lnTo>
                    <a:lnTo>
                      <a:pt x="1048" y="937"/>
                    </a:lnTo>
                    <a:lnTo>
                      <a:pt x="1040" y="932"/>
                    </a:lnTo>
                    <a:lnTo>
                      <a:pt x="1035" y="927"/>
                    </a:lnTo>
                    <a:lnTo>
                      <a:pt x="1029" y="925"/>
                    </a:lnTo>
                    <a:lnTo>
                      <a:pt x="1024" y="922"/>
                    </a:lnTo>
                    <a:lnTo>
                      <a:pt x="1016" y="924"/>
                    </a:lnTo>
                    <a:lnTo>
                      <a:pt x="1012" y="919"/>
                    </a:lnTo>
                    <a:lnTo>
                      <a:pt x="1004" y="916"/>
                    </a:lnTo>
                    <a:lnTo>
                      <a:pt x="996" y="914"/>
                    </a:lnTo>
                    <a:lnTo>
                      <a:pt x="990" y="916"/>
                    </a:lnTo>
                    <a:lnTo>
                      <a:pt x="988" y="918"/>
                    </a:lnTo>
                    <a:lnTo>
                      <a:pt x="985" y="922"/>
                    </a:lnTo>
                    <a:lnTo>
                      <a:pt x="982" y="927"/>
                    </a:lnTo>
                    <a:lnTo>
                      <a:pt x="974" y="930"/>
                    </a:lnTo>
                    <a:lnTo>
                      <a:pt x="967" y="932"/>
                    </a:lnTo>
                    <a:lnTo>
                      <a:pt x="967" y="935"/>
                    </a:lnTo>
                    <a:lnTo>
                      <a:pt x="959" y="937"/>
                    </a:lnTo>
                    <a:lnTo>
                      <a:pt x="950" y="940"/>
                    </a:lnTo>
                    <a:lnTo>
                      <a:pt x="942" y="946"/>
                    </a:lnTo>
                    <a:lnTo>
                      <a:pt x="934" y="948"/>
                    </a:lnTo>
                    <a:lnTo>
                      <a:pt x="928" y="952"/>
                    </a:lnTo>
                    <a:lnTo>
                      <a:pt x="920" y="956"/>
                    </a:lnTo>
                    <a:lnTo>
                      <a:pt x="906" y="960"/>
                    </a:lnTo>
                    <a:lnTo>
                      <a:pt x="898" y="959"/>
                    </a:lnTo>
                    <a:lnTo>
                      <a:pt x="891" y="954"/>
                    </a:lnTo>
                    <a:lnTo>
                      <a:pt x="883" y="948"/>
                    </a:lnTo>
                    <a:lnTo>
                      <a:pt x="875" y="948"/>
                    </a:lnTo>
                    <a:lnTo>
                      <a:pt x="868" y="946"/>
                    </a:lnTo>
                    <a:lnTo>
                      <a:pt x="861" y="943"/>
                    </a:lnTo>
                    <a:lnTo>
                      <a:pt x="856" y="943"/>
                    </a:lnTo>
                    <a:lnTo>
                      <a:pt x="852" y="948"/>
                    </a:lnTo>
                    <a:lnTo>
                      <a:pt x="841" y="949"/>
                    </a:lnTo>
                    <a:lnTo>
                      <a:pt x="831" y="951"/>
                    </a:lnTo>
                    <a:lnTo>
                      <a:pt x="823" y="951"/>
                    </a:lnTo>
                    <a:lnTo>
                      <a:pt x="814" y="949"/>
                    </a:lnTo>
                    <a:lnTo>
                      <a:pt x="806" y="948"/>
                    </a:lnTo>
                    <a:lnTo>
                      <a:pt x="799" y="946"/>
                    </a:lnTo>
                    <a:lnTo>
                      <a:pt x="796" y="948"/>
                    </a:lnTo>
                    <a:lnTo>
                      <a:pt x="790" y="951"/>
                    </a:lnTo>
                    <a:lnTo>
                      <a:pt x="785" y="957"/>
                    </a:lnTo>
                    <a:lnTo>
                      <a:pt x="784" y="959"/>
                    </a:lnTo>
                    <a:lnTo>
                      <a:pt x="782" y="965"/>
                    </a:lnTo>
                    <a:lnTo>
                      <a:pt x="776" y="971"/>
                    </a:lnTo>
                    <a:lnTo>
                      <a:pt x="771" y="979"/>
                    </a:lnTo>
                    <a:lnTo>
                      <a:pt x="768" y="989"/>
                    </a:lnTo>
                    <a:lnTo>
                      <a:pt x="768" y="995"/>
                    </a:lnTo>
                    <a:lnTo>
                      <a:pt x="768" y="1000"/>
                    </a:lnTo>
                    <a:lnTo>
                      <a:pt x="766" y="1006"/>
                    </a:lnTo>
                    <a:lnTo>
                      <a:pt x="761" y="1013"/>
                    </a:lnTo>
                    <a:lnTo>
                      <a:pt x="760" y="1016"/>
                    </a:lnTo>
                    <a:lnTo>
                      <a:pt x="760" y="1024"/>
                    </a:lnTo>
                    <a:lnTo>
                      <a:pt x="761" y="1032"/>
                    </a:lnTo>
                    <a:lnTo>
                      <a:pt x="766" y="1036"/>
                    </a:lnTo>
                    <a:lnTo>
                      <a:pt x="769" y="1044"/>
                    </a:lnTo>
                    <a:lnTo>
                      <a:pt x="771" y="1054"/>
                    </a:lnTo>
                    <a:lnTo>
                      <a:pt x="771" y="1066"/>
                    </a:lnTo>
                    <a:lnTo>
                      <a:pt x="765" y="1078"/>
                    </a:lnTo>
                    <a:lnTo>
                      <a:pt x="763" y="1085"/>
                    </a:lnTo>
                    <a:lnTo>
                      <a:pt x="755" y="1095"/>
                    </a:lnTo>
                    <a:lnTo>
                      <a:pt x="752" y="1101"/>
                    </a:lnTo>
                    <a:lnTo>
                      <a:pt x="744" y="1109"/>
                    </a:lnTo>
                    <a:lnTo>
                      <a:pt x="738" y="1117"/>
                    </a:lnTo>
                    <a:lnTo>
                      <a:pt x="733" y="1123"/>
                    </a:lnTo>
                    <a:lnTo>
                      <a:pt x="730" y="1130"/>
                    </a:lnTo>
                    <a:lnTo>
                      <a:pt x="728" y="1131"/>
                    </a:lnTo>
                    <a:lnTo>
                      <a:pt x="728" y="1133"/>
                    </a:lnTo>
                    <a:lnTo>
                      <a:pt x="722" y="1143"/>
                    </a:lnTo>
                    <a:lnTo>
                      <a:pt x="720" y="1147"/>
                    </a:lnTo>
                    <a:lnTo>
                      <a:pt x="719" y="1152"/>
                    </a:lnTo>
                    <a:lnTo>
                      <a:pt x="719" y="1155"/>
                    </a:lnTo>
                    <a:lnTo>
                      <a:pt x="717" y="1158"/>
                    </a:lnTo>
                    <a:lnTo>
                      <a:pt x="716" y="1160"/>
                    </a:lnTo>
                    <a:lnTo>
                      <a:pt x="716" y="1162"/>
                    </a:lnTo>
                    <a:lnTo>
                      <a:pt x="714" y="1168"/>
                    </a:lnTo>
                    <a:lnTo>
                      <a:pt x="714" y="1169"/>
                    </a:lnTo>
                    <a:lnTo>
                      <a:pt x="712" y="1169"/>
                    </a:lnTo>
                    <a:lnTo>
                      <a:pt x="711" y="1169"/>
                    </a:lnTo>
                    <a:lnTo>
                      <a:pt x="709" y="1169"/>
                    </a:lnTo>
                    <a:lnTo>
                      <a:pt x="708" y="1169"/>
                    </a:lnTo>
                    <a:lnTo>
                      <a:pt x="706" y="1169"/>
                    </a:lnTo>
                    <a:lnTo>
                      <a:pt x="704" y="1169"/>
                    </a:lnTo>
                    <a:lnTo>
                      <a:pt x="703" y="1169"/>
                    </a:lnTo>
                    <a:lnTo>
                      <a:pt x="701" y="1169"/>
                    </a:lnTo>
                    <a:lnTo>
                      <a:pt x="700" y="1169"/>
                    </a:lnTo>
                    <a:lnTo>
                      <a:pt x="698" y="1169"/>
                    </a:lnTo>
                    <a:lnTo>
                      <a:pt x="697" y="1168"/>
                    </a:lnTo>
                    <a:lnTo>
                      <a:pt x="697" y="1166"/>
                    </a:lnTo>
                    <a:lnTo>
                      <a:pt x="695" y="1165"/>
                    </a:lnTo>
                    <a:lnTo>
                      <a:pt x="690" y="1165"/>
                    </a:lnTo>
                    <a:lnTo>
                      <a:pt x="685" y="1166"/>
                    </a:lnTo>
                    <a:lnTo>
                      <a:pt x="660" y="1166"/>
                    </a:lnTo>
                    <a:lnTo>
                      <a:pt x="647" y="1163"/>
                    </a:lnTo>
                    <a:lnTo>
                      <a:pt x="635" y="1162"/>
                    </a:lnTo>
                    <a:lnTo>
                      <a:pt x="606" y="1162"/>
                    </a:lnTo>
                    <a:lnTo>
                      <a:pt x="582" y="1162"/>
                    </a:lnTo>
                    <a:lnTo>
                      <a:pt x="563" y="1163"/>
                    </a:lnTo>
                    <a:lnTo>
                      <a:pt x="554" y="1163"/>
                    </a:lnTo>
                    <a:lnTo>
                      <a:pt x="538" y="1165"/>
                    </a:lnTo>
                    <a:lnTo>
                      <a:pt x="540" y="1163"/>
                    </a:lnTo>
                    <a:lnTo>
                      <a:pt x="522" y="1160"/>
                    </a:lnTo>
                    <a:lnTo>
                      <a:pt x="522" y="1155"/>
                    </a:lnTo>
                    <a:lnTo>
                      <a:pt x="514" y="1149"/>
                    </a:lnTo>
                    <a:lnTo>
                      <a:pt x="506" y="1143"/>
                    </a:lnTo>
                    <a:lnTo>
                      <a:pt x="505" y="1141"/>
                    </a:lnTo>
                    <a:lnTo>
                      <a:pt x="502" y="1139"/>
                    </a:lnTo>
                    <a:lnTo>
                      <a:pt x="494" y="1133"/>
                    </a:lnTo>
                    <a:lnTo>
                      <a:pt x="498" y="1130"/>
                    </a:lnTo>
                    <a:lnTo>
                      <a:pt x="500" y="1127"/>
                    </a:lnTo>
                    <a:lnTo>
                      <a:pt x="498" y="1125"/>
                    </a:lnTo>
                    <a:lnTo>
                      <a:pt x="495" y="1123"/>
                    </a:lnTo>
                    <a:lnTo>
                      <a:pt x="492" y="1122"/>
                    </a:lnTo>
                    <a:lnTo>
                      <a:pt x="495" y="1116"/>
                    </a:lnTo>
                    <a:lnTo>
                      <a:pt x="495" y="1114"/>
                    </a:lnTo>
                    <a:lnTo>
                      <a:pt x="489" y="1112"/>
                    </a:lnTo>
                    <a:lnTo>
                      <a:pt x="467" y="1087"/>
                    </a:lnTo>
                    <a:lnTo>
                      <a:pt x="453" y="1071"/>
                    </a:lnTo>
                    <a:lnTo>
                      <a:pt x="453" y="1057"/>
                    </a:lnTo>
                    <a:lnTo>
                      <a:pt x="453" y="1055"/>
                    </a:lnTo>
                    <a:lnTo>
                      <a:pt x="453" y="1046"/>
                    </a:lnTo>
                    <a:lnTo>
                      <a:pt x="453" y="1038"/>
                    </a:lnTo>
                    <a:lnTo>
                      <a:pt x="453" y="1033"/>
                    </a:lnTo>
                    <a:lnTo>
                      <a:pt x="451" y="1032"/>
                    </a:lnTo>
                    <a:lnTo>
                      <a:pt x="453" y="1025"/>
                    </a:lnTo>
                    <a:lnTo>
                      <a:pt x="453" y="1017"/>
                    </a:lnTo>
                    <a:lnTo>
                      <a:pt x="453" y="1013"/>
                    </a:lnTo>
                    <a:lnTo>
                      <a:pt x="453" y="1006"/>
                    </a:lnTo>
                    <a:lnTo>
                      <a:pt x="453" y="1001"/>
                    </a:lnTo>
                    <a:lnTo>
                      <a:pt x="453" y="998"/>
                    </a:lnTo>
                    <a:lnTo>
                      <a:pt x="451" y="981"/>
                    </a:lnTo>
                    <a:lnTo>
                      <a:pt x="453" y="981"/>
                    </a:lnTo>
                    <a:lnTo>
                      <a:pt x="453" y="976"/>
                    </a:lnTo>
                    <a:lnTo>
                      <a:pt x="454" y="973"/>
                    </a:lnTo>
                    <a:lnTo>
                      <a:pt x="456" y="973"/>
                    </a:lnTo>
                    <a:lnTo>
                      <a:pt x="456" y="971"/>
                    </a:lnTo>
                    <a:lnTo>
                      <a:pt x="457" y="970"/>
                    </a:lnTo>
                    <a:lnTo>
                      <a:pt x="459" y="970"/>
                    </a:lnTo>
                    <a:lnTo>
                      <a:pt x="460" y="967"/>
                    </a:lnTo>
                    <a:lnTo>
                      <a:pt x="464" y="963"/>
                    </a:lnTo>
                    <a:lnTo>
                      <a:pt x="464" y="962"/>
                    </a:lnTo>
                    <a:lnTo>
                      <a:pt x="465" y="960"/>
                    </a:lnTo>
                    <a:lnTo>
                      <a:pt x="465" y="957"/>
                    </a:lnTo>
                    <a:lnTo>
                      <a:pt x="467" y="956"/>
                    </a:lnTo>
                    <a:lnTo>
                      <a:pt x="467" y="954"/>
                    </a:lnTo>
                    <a:lnTo>
                      <a:pt x="465" y="951"/>
                    </a:lnTo>
                    <a:lnTo>
                      <a:pt x="464" y="949"/>
                    </a:lnTo>
                    <a:lnTo>
                      <a:pt x="462" y="948"/>
                    </a:lnTo>
                    <a:lnTo>
                      <a:pt x="460" y="946"/>
                    </a:lnTo>
                    <a:lnTo>
                      <a:pt x="459" y="943"/>
                    </a:lnTo>
                    <a:lnTo>
                      <a:pt x="456" y="938"/>
                    </a:lnTo>
                    <a:lnTo>
                      <a:pt x="456" y="935"/>
                    </a:lnTo>
                    <a:lnTo>
                      <a:pt x="456" y="932"/>
                    </a:lnTo>
                    <a:lnTo>
                      <a:pt x="457" y="930"/>
                    </a:lnTo>
                    <a:lnTo>
                      <a:pt x="460" y="925"/>
                    </a:lnTo>
                    <a:lnTo>
                      <a:pt x="462" y="924"/>
                    </a:lnTo>
                    <a:lnTo>
                      <a:pt x="465" y="922"/>
                    </a:lnTo>
                    <a:lnTo>
                      <a:pt x="467" y="918"/>
                    </a:lnTo>
                    <a:lnTo>
                      <a:pt x="465" y="914"/>
                    </a:lnTo>
                    <a:lnTo>
                      <a:pt x="464" y="913"/>
                    </a:lnTo>
                    <a:lnTo>
                      <a:pt x="460" y="911"/>
                    </a:lnTo>
                    <a:lnTo>
                      <a:pt x="459" y="910"/>
                    </a:lnTo>
                    <a:lnTo>
                      <a:pt x="457" y="910"/>
                    </a:lnTo>
                    <a:lnTo>
                      <a:pt x="456" y="910"/>
                    </a:lnTo>
                    <a:lnTo>
                      <a:pt x="454" y="908"/>
                    </a:lnTo>
                    <a:lnTo>
                      <a:pt x="453" y="908"/>
                    </a:lnTo>
                    <a:lnTo>
                      <a:pt x="451" y="906"/>
                    </a:lnTo>
                    <a:lnTo>
                      <a:pt x="445" y="905"/>
                    </a:lnTo>
                    <a:lnTo>
                      <a:pt x="443" y="903"/>
                    </a:lnTo>
                    <a:lnTo>
                      <a:pt x="441" y="903"/>
                    </a:lnTo>
                    <a:lnTo>
                      <a:pt x="440" y="903"/>
                    </a:lnTo>
                    <a:lnTo>
                      <a:pt x="440" y="905"/>
                    </a:lnTo>
                    <a:lnTo>
                      <a:pt x="438" y="903"/>
                    </a:lnTo>
                    <a:lnTo>
                      <a:pt x="437" y="903"/>
                    </a:lnTo>
                    <a:lnTo>
                      <a:pt x="435" y="902"/>
                    </a:lnTo>
                    <a:lnTo>
                      <a:pt x="435" y="898"/>
                    </a:lnTo>
                    <a:lnTo>
                      <a:pt x="434" y="898"/>
                    </a:lnTo>
                    <a:lnTo>
                      <a:pt x="434" y="897"/>
                    </a:lnTo>
                    <a:lnTo>
                      <a:pt x="434" y="898"/>
                    </a:lnTo>
                    <a:lnTo>
                      <a:pt x="432" y="898"/>
                    </a:lnTo>
                    <a:lnTo>
                      <a:pt x="432" y="897"/>
                    </a:lnTo>
                    <a:lnTo>
                      <a:pt x="430" y="897"/>
                    </a:lnTo>
                    <a:lnTo>
                      <a:pt x="429" y="897"/>
                    </a:lnTo>
                    <a:lnTo>
                      <a:pt x="427" y="897"/>
                    </a:lnTo>
                    <a:lnTo>
                      <a:pt x="426" y="897"/>
                    </a:lnTo>
                    <a:lnTo>
                      <a:pt x="426" y="895"/>
                    </a:lnTo>
                    <a:lnTo>
                      <a:pt x="424" y="894"/>
                    </a:lnTo>
                    <a:lnTo>
                      <a:pt x="424" y="892"/>
                    </a:lnTo>
                    <a:lnTo>
                      <a:pt x="422" y="892"/>
                    </a:lnTo>
                    <a:lnTo>
                      <a:pt x="421" y="892"/>
                    </a:lnTo>
                    <a:lnTo>
                      <a:pt x="419" y="892"/>
                    </a:lnTo>
                    <a:lnTo>
                      <a:pt x="416" y="894"/>
                    </a:lnTo>
                    <a:lnTo>
                      <a:pt x="415" y="894"/>
                    </a:lnTo>
                    <a:lnTo>
                      <a:pt x="413" y="892"/>
                    </a:lnTo>
                    <a:lnTo>
                      <a:pt x="411" y="894"/>
                    </a:lnTo>
                    <a:lnTo>
                      <a:pt x="407" y="894"/>
                    </a:lnTo>
                    <a:lnTo>
                      <a:pt x="407" y="892"/>
                    </a:lnTo>
                    <a:lnTo>
                      <a:pt x="405" y="892"/>
                    </a:lnTo>
                    <a:lnTo>
                      <a:pt x="400" y="895"/>
                    </a:lnTo>
                    <a:lnTo>
                      <a:pt x="397" y="895"/>
                    </a:lnTo>
                    <a:lnTo>
                      <a:pt x="396" y="895"/>
                    </a:lnTo>
                    <a:lnTo>
                      <a:pt x="396" y="894"/>
                    </a:lnTo>
                    <a:lnTo>
                      <a:pt x="396" y="889"/>
                    </a:lnTo>
                    <a:lnTo>
                      <a:pt x="394" y="889"/>
                    </a:lnTo>
                    <a:lnTo>
                      <a:pt x="392" y="889"/>
                    </a:lnTo>
                    <a:lnTo>
                      <a:pt x="391" y="889"/>
                    </a:lnTo>
                    <a:lnTo>
                      <a:pt x="389" y="891"/>
                    </a:lnTo>
                    <a:lnTo>
                      <a:pt x="389" y="889"/>
                    </a:lnTo>
                    <a:lnTo>
                      <a:pt x="388" y="887"/>
                    </a:lnTo>
                    <a:lnTo>
                      <a:pt x="386" y="886"/>
                    </a:lnTo>
                    <a:lnTo>
                      <a:pt x="384" y="884"/>
                    </a:lnTo>
                    <a:lnTo>
                      <a:pt x="383" y="884"/>
                    </a:lnTo>
                    <a:lnTo>
                      <a:pt x="381" y="886"/>
                    </a:lnTo>
                    <a:lnTo>
                      <a:pt x="380" y="886"/>
                    </a:lnTo>
                    <a:lnTo>
                      <a:pt x="380" y="887"/>
                    </a:lnTo>
                    <a:lnTo>
                      <a:pt x="378" y="887"/>
                    </a:lnTo>
                    <a:lnTo>
                      <a:pt x="375" y="886"/>
                    </a:lnTo>
                    <a:lnTo>
                      <a:pt x="375" y="884"/>
                    </a:lnTo>
                    <a:lnTo>
                      <a:pt x="373" y="884"/>
                    </a:lnTo>
                    <a:lnTo>
                      <a:pt x="372" y="884"/>
                    </a:lnTo>
                    <a:lnTo>
                      <a:pt x="370" y="884"/>
                    </a:lnTo>
                    <a:lnTo>
                      <a:pt x="369" y="884"/>
                    </a:lnTo>
                    <a:lnTo>
                      <a:pt x="369" y="886"/>
                    </a:lnTo>
                    <a:lnTo>
                      <a:pt x="367" y="884"/>
                    </a:lnTo>
                    <a:lnTo>
                      <a:pt x="365" y="884"/>
                    </a:lnTo>
                    <a:lnTo>
                      <a:pt x="361" y="884"/>
                    </a:lnTo>
                    <a:lnTo>
                      <a:pt x="358" y="886"/>
                    </a:lnTo>
                    <a:lnTo>
                      <a:pt x="351" y="887"/>
                    </a:lnTo>
                    <a:lnTo>
                      <a:pt x="350" y="889"/>
                    </a:lnTo>
                    <a:lnTo>
                      <a:pt x="346" y="892"/>
                    </a:lnTo>
                    <a:lnTo>
                      <a:pt x="345" y="894"/>
                    </a:lnTo>
                    <a:lnTo>
                      <a:pt x="339" y="897"/>
                    </a:lnTo>
                    <a:lnTo>
                      <a:pt x="337" y="898"/>
                    </a:lnTo>
                    <a:lnTo>
                      <a:pt x="335" y="900"/>
                    </a:lnTo>
                    <a:lnTo>
                      <a:pt x="334" y="900"/>
                    </a:lnTo>
                    <a:lnTo>
                      <a:pt x="332" y="902"/>
                    </a:lnTo>
                    <a:lnTo>
                      <a:pt x="331" y="902"/>
                    </a:lnTo>
                    <a:lnTo>
                      <a:pt x="326" y="902"/>
                    </a:lnTo>
                    <a:lnTo>
                      <a:pt x="323" y="902"/>
                    </a:lnTo>
                    <a:lnTo>
                      <a:pt x="323" y="903"/>
                    </a:lnTo>
                    <a:lnTo>
                      <a:pt x="321" y="903"/>
                    </a:lnTo>
                    <a:lnTo>
                      <a:pt x="316" y="908"/>
                    </a:lnTo>
                    <a:lnTo>
                      <a:pt x="315" y="908"/>
                    </a:lnTo>
                    <a:lnTo>
                      <a:pt x="313" y="910"/>
                    </a:lnTo>
                    <a:lnTo>
                      <a:pt x="312" y="910"/>
                    </a:lnTo>
                    <a:lnTo>
                      <a:pt x="308" y="908"/>
                    </a:lnTo>
                    <a:lnTo>
                      <a:pt x="307" y="908"/>
                    </a:lnTo>
                    <a:lnTo>
                      <a:pt x="305" y="908"/>
                    </a:lnTo>
                    <a:lnTo>
                      <a:pt x="304" y="906"/>
                    </a:lnTo>
                    <a:lnTo>
                      <a:pt x="302" y="905"/>
                    </a:lnTo>
                    <a:lnTo>
                      <a:pt x="302" y="903"/>
                    </a:lnTo>
                    <a:lnTo>
                      <a:pt x="300" y="898"/>
                    </a:lnTo>
                    <a:lnTo>
                      <a:pt x="300" y="897"/>
                    </a:lnTo>
                    <a:lnTo>
                      <a:pt x="300" y="884"/>
                    </a:lnTo>
                    <a:lnTo>
                      <a:pt x="300" y="883"/>
                    </a:lnTo>
                    <a:lnTo>
                      <a:pt x="307" y="876"/>
                    </a:lnTo>
                    <a:lnTo>
                      <a:pt x="307" y="875"/>
                    </a:lnTo>
                    <a:lnTo>
                      <a:pt x="307" y="873"/>
                    </a:lnTo>
                    <a:lnTo>
                      <a:pt x="307" y="872"/>
                    </a:lnTo>
                    <a:lnTo>
                      <a:pt x="307" y="870"/>
                    </a:lnTo>
                    <a:lnTo>
                      <a:pt x="307" y="868"/>
                    </a:lnTo>
                    <a:lnTo>
                      <a:pt x="305" y="867"/>
                    </a:lnTo>
                    <a:lnTo>
                      <a:pt x="304" y="865"/>
                    </a:lnTo>
                    <a:lnTo>
                      <a:pt x="304" y="864"/>
                    </a:lnTo>
                    <a:lnTo>
                      <a:pt x="305" y="862"/>
                    </a:lnTo>
                    <a:lnTo>
                      <a:pt x="304" y="860"/>
                    </a:lnTo>
                    <a:lnTo>
                      <a:pt x="304" y="859"/>
                    </a:lnTo>
                    <a:lnTo>
                      <a:pt x="299" y="857"/>
                    </a:lnTo>
                    <a:lnTo>
                      <a:pt x="296" y="856"/>
                    </a:lnTo>
                    <a:lnTo>
                      <a:pt x="296" y="854"/>
                    </a:lnTo>
                    <a:lnTo>
                      <a:pt x="291" y="851"/>
                    </a:lnTo>
                    <a:lnTo>
                      <a:pt x="289" y="851"/>
                    </a:lnTo>
                    <a:lnTo>
                      <a:pt x="286" y="848"/>
                    </a:lnTo>
                    <a:lnTo>
                      <a:pt x="285" y="848"/>
                    </a:lnTo>
                    <a:lnTo>
                      <a:pt x="285" y="846"/>
                    </a:lnTo>
                    <a:lnTo>
                      <a:pt x="281" y="845"/>
                    </a:lnTo>
                    <a:lnTo>
                      <a:pt x="278" y="843"/>
                    </a:lnTo>
                    <a:lnTo>
                      <a:pt x="274" y="840"/>
                    </a:lnTo>
                    <a:lnTo>
                      <a:pt x="272" y="838"/>
                    </a:lnTo>
                    <a:lnTo>
                      <a:pt x="269" y="837"/>
                    </a:lnTo>
                    <a:lnTo>
                      <a:pt x="267" y="835"/>
                    </a:lnTo>
                    <a:lnTo>
                      <a:pt x="261" y="832"/>
                    </a:lnTo>
                    <a:lnTo>
                      <a:pt x="255" y="827"/>
                    </a:lnTo>
                    <a:lnTo>
                      <a:pt x="251" y="824"/>
                    </a:lnTo>
                    <a:lnTo>
                      <a:pt x="251" y="822"/>
                    </a:lnTo>
                    <a:lnTo>
                      <a:pt x="251" y="818"/>
                    </a:lnTo>
                    <a:lnTo>
                      <a:pt x="251" y="803"/>
                    </a:lnTo>
                    <a:lnTo>
                      <a:pt x="245" y="794"/>
                    </a:lnTo>
                    <a:lnTo>
                      <a:pt x="231" y="770"/>
                    </a:lnTo>
                    <a:lnTo>
                      <a:pt x="229" y="769"/>
                    </a:lnTo>
                    <a:lnTo>
                      <a:pt x="228" y="765"/>
                    </a:lnTo>
                    <a:lnTo>
                      <a:pt x="226" y="762"/>
                    </a:lnTo>
                    <a:lnTo>
                      <a:pt x="217" y="748"/>
                    </a:lnTo>
                    <a:lnTo>
                      <a:pt x="215" y="745"/>
                    </a:lnTo>
                    <a:lnTo>
                      <a:pt x="215" y="743"/>
                    </a:lnTo>
                    <a:lnTo>
                      <a:pt x="217" y="738"/>
                    </a:lnTo>
                    <a:lnTo>
                      <a:pt x="215" y="737"/>
                    </a:lnTo>
                    <a:lnTo>
                      <a:pt x="213" y="734"/>
                    </a:lnTo>
                    <a:lnTo>
                      <a:pt x="212" y="731"/>
                    </a:lnTo>
                    <a:lnTo>
                      <a:pt x="212" y="729"/>
                    </a:lnTo>
                    <a:lnTo>
                      <a:pt x="212" y="727"/>
                    </a:lnTo>
                    <a:lnTo>
                      <a:pt x="213" y="724"/>
                    </a:lnTo>
                    <a:lnTo>
                      <a:pt x="213" y="721"/>
                    </a:lnTo>
                    <a:lnTo>
                      <a:pt x="217" y="718"/>
                    </a:lnTo>
                    <a:lnTo>
                      <a:pt x="217" y="716"/>
                    </a:lnTo>
                    <a:lnTo>
                      <a:pt x="217" y="715"/>
                    </a:lnTo>
                    <a:lnTo>
                      <a:pt x="215" y="708"/>
                    </a:lnTo>
                    <a:lnTo>
                      <a:pt x="213" y="707"/>
                    </a:lnTo>
                    <a:lnTo>
                      <a:pt x="213" y="704"/>
                    </a:lnTo>
                    <a:lnTo>
                      <a:pt x="212" y="700"/>
                    </a:lnTo>
                    <a:lnTo>
                      <a:pt x="213" y="700"/>
                    </a:lnTo>
                    <a:lnTo>
                      <a:pt x="213" y="697"/>
                    </a:lnTo>
                    <a:lnTo>
                      <a:pt x="213" y="696"/>
                    </a:lnTo>
                    <a:lnTo>
                      <a:pt x="213" y="694"/>
                    </a:lnTo>
                    <a:lnTo>
                      <a:pt x="213" y="693"/>
                    </a:lnTo>
                    <a:lnTo>
                      <a:pt x="213" y="691"/>
                    </a:lnTo>
                    <a:lnTo>
                      <a:pt x="212" y="691"/>
                    </a:lnTo>
                    <a:lnTo>
                      <a:pt x="210" y="689"/>
                    </a:lnTo>
                    <a:lnTo>
                      <a:pt x="209" y="688"/>
                    </a:lnTo>
                    <a:lnTo>
                      <a:pt x="207" y="688"/>
                    </a:lnTo>
                    <a:lnTo>
                      <a:pt x="205" y="688"/>
                    </a:lnTo>
                    <a:lnTo>
                      <a:pt x="205" y="686"/>
                    </a:lnTo>
                    <a:lnTo>
                      <a:pt x="204" y="683"/>
                    </a:lnTo>
                    <a:lnTo>
                      <a:pt x="204" y="680"/>
                    </a:lnTo>
                    <a:lnTo>
                      <a:pt x="204" y="674"/>
                    </a:lnTo>
                    <a:lnTo>
                      <a:pt x="205" y="666"/>
                    </a:lnTo>
                    <a:lnTo>
                      <a:pt x="205" y="664"/>
                    </a:lnTo>
                    <a:lnTo>
                      <a:pt x="205" y="662"/>
                    </a:lnTo>
                    <a:lnTo>
                      <a:pt x="207" y="661"/>
                    </a:lnTo>
                    <a:lnTo>
                      <a:pt x="207" y="659"/>
                    </a:lnTo>
                    <a:lnTo>
                      <a:pt x="205" y="654"/>
                    </a:lnTo>
                    <a:lnTo>
                      <a:pt x="205" y="653"/>
                    </a:lnTo>
                    <a:lnTo>
                      <a:pt x="204" y="651"/>
                    </a:lnTo>
                    <a:lnTo>
                      <a:pt x="202" y="648"/>
                    </a:lnTo>
                    <a:lnTo>
                      <a:pt x="202" y="647"/>
                    </a:lnTo>
                    <a:lnTo>
                      <a:pt x="202" y="645"/>
                    </a:lnTo>
                    <a:lnTo>
                      <a:pt x="201" y="643"/>
                    </a:lnTo>
                    <a:lnTo>
                      <a:pt x="201" y="642"/>
                    </a:lnTo>
                    <a:lnTo>
                      <a:pt x="201" y="640"/>
                    </a:lnTo>
                    <a:lnTo>
                      <a:pt x="201" y="639"/>
                    </a:lnTo>
                    <a:lnTo>
                      <a:pt x="201" y="635"/>
                    </a:lnTo>
                    <a:lnTo>
                      <a:pt x="201" y="634"/>
                    </a:lnTo>
                    <a:lnTo>
                      <a:pt x="201" y="632"/>
                    </a:lnTo>
                    <a:lnTo>
                      <a:pt x="202" y="631"/>
                    </a:lnTo>
                    <a:lnTo>
                      <a:pt x="204" y="631"/>
                    </a:lnTo>
                    <a:lnTo>
                      <a:pt x="207" y="631"/>
                    </a:lnTo>
                    <a:lnTo>
                      <a:pt x="209" y="629"/>
                    </a:lnTo>
                    <a:lnTo>
                      <a:pt x="210" y="628"/>
                    </a:lnTo>
                    <a:lnTo>
                      <a:pt x="210" y="626"/>
                    </a:lnTo>
                    <a:lnTo>
                      <a:pt x="210" y="623"/>
                    </a:lnTo>
                    <a:lnTo>
                      <a:pt x="210" y="621"/>
                    </a:lnTo>
                    <a:lnTo>
                      <a:pt x="210" y="620"/>
                    </a:lnTo>
                    <a:lnTo>
                      <a:pt x="212" y="616"/>
                    </a:lnTo>
                    <a:lnTo>
                      <a:pt x="213" y="613"/>
                    </a:lnTo>
                    <a:lnTo>
                      <a:pt x="213" y="612"/>
                    </a:lnTo>
                    <a:lnTo>
                      <a:pt x="213" y="610"/>
                    </a:lnTo>
                    <a:lnTo>
                      <a:pt x="212" y="610"/>
                    </a:lnTo>
                    <a:lnTo>
                      <a:pt x="212" y="609"/>
                    </a:lnTo>
                    <a:lnTo>
                      <a:pt x="212" y="605"/>
                    </a:lnTo>
                    <a:lnTo>
                      <a:pt x="212" y="602"/>
                    </a:lnTo>
                    <a:lnTo>
                      <a:pt x="210" y="602"/>
                    </a:lnTo>
                    <a:lnTo>
                      <a:pt x="212" y="601"/>
                    </a:lnTo>
                    <a:lnTo>
                      <a:pt x="212" y="599"/>
                    </a:lnTo>
                    <a:lnTo>
                      <a:pt x="213" y="599"/>
                    </a:lnTo>
                    <a:lnTo>
                      <a:pt x="215" y="597"/>
                    </a:lnTo>
                    <a:lnTo>
                      <a:pt x="217" y="597"/>
                    </a:lnTo>
                    <a:lnTo>
                      <a:pt x="217" y="596"/>
                    </a:lnTo>
                    <a:lnTo>
                      <a:pt x="217" y="594"/>
                    </a:lnTo>
                    <a:lnTo>
                      <a:pt x="218" y="590"/>
                    </a:lnTo>
                    <a:lnTo>
                      <a:pt x="218" y="588"/>
                    </a:lnTo>
                    <a:lnTo>
                      <a:pt x="220" y="588"/>
                    </a:lnTo>
                    <a:lnTo>
                      <a:pt x="220" y="586"/>
                    </a:lnTo>
                    <a:lnTo>
                      <a:pt x="220" y="583"/>
                    </a:lnTo>
                    <a:lnTo>
                      <a:pt x="218" y="582"/>
                    </a:lnTo>
                    <a:lnTo>
                      <a:pt x="218" y="578"/>
                    </a:lnTo>
                    <a:lnTo>
                      <a:pt x="217" y="578"/>
                    </a:lnTo>
                    <a:lnTo>
                      <a:pt x="215" y="575"/>
                    </a:lnTo>
                    <a:lnTo>
                      <a:pt x="213" y="575"/>
                    </a:lnTo>
                    <a:lnTo>
                      <a:pt x="210" y="574"/>
                    </a:lnTo>
                    <a:lnTo>
                      <a:pt x="209" y="572"/>
                    </a:lnTo>
                    <a:lnTo>
                      <a:pt x="209" y="571"/>
                    </a:lnTo>
                    <a:lnTo>
                      <a:pt x="207" y="569"/>
                    </a:lnTo>
                    <a:lnTo>
                      <a:pt x="205" y="567"/>
                    </a:lnTo>
                    <a:lnTo>
                      <a:pt x="204" y="567"/>
                    </a:lnTo>
                    <a:lnTo>
                      <a:pt x="202" y="567"/>
                    </a:lnTo>
                    <a:lnTo>
                      <a:pt x="201" y="566"/>
                    </a:lnTo>
                    <a:lnTo>
                      <a:pt x="201" y="564"/>
                    </a:lnTo>
                    <a:lnTo>
                      <a:pt x="201" y="563"/>
                    </a:lnTo>
                    <a:lnTo>
                      <a:pt x="199" y="559"/>
                    </a:lnTo>
                    <a:lnTo>
                      <a:pt x="198" y="558"/>
                    </a:lnTo>
                    <a:lnTo>
                      <a:pt x="198" y="556"/>
                    </a:lnTo>
                    <a:lnTo>
                      <a:pt x="196" y="555"/>
                    </a:lnTo>
                    <a:lnTo>
                      <a:pt x="196" y="553"/>
                    </a:lnTo>
                    <a:lnTo>
                      <a:pt x="191" y="553"/>
                    </a:lnTo>
                    <a:lnTo>
                      <a:pt x="191" y="551"/>
                    </a:lnTo>
                    <a:lnTo>
                      <a:pt x="188" y="548"/>
                    </a:lnTo>
                    <a:lnTo>
                      <a:pt x="188" y="547"/>
                    </a:lnTo>
                    <a:lnTo>
                      <a:pt x="186" y="547"/>
                    </a:lnTo>
                    <a:lnTo>
                      <a:pt x="183" y="547"/>
                    </a:lnTo>
                    <a:lnTo>
                      <a:pt x="182" y="545"/>
                    </a:lnTo>
                    <a:lnTo>
                      <a:pt x="180" y="544"/>
                    </a:lnTo>
                    <a:lnTo>
                      <a:pt x="182" y="542"/>
                    </a:lnTo>
                    <a:lnTo>
                      <a:pt x="182" y="540"/>
                    </a:lnTo>
                    <a:lnTo>
                      <a:pt x="180" y="540"/>
                    </a:lnTo>
                    <a:lnTo>
                      <a:pt x="180" y="539"/>
                    </a:lnTo>
                    <a:lnTo>
                      <a:pt x="179" y="539"/>
                    </a:lnTo>
                    <a:lnTo>
                      <a:pt x="172" y="537"/>
                    </a:lnTo>
                    <a:lnTo>
                      <a:pt x="171" y="537"/>
                    </a:lnTo>
                    <a:lnTo>
                      <a:pt x="169" y="537"/>
                    </a:lnTo>
                    <a:lnTo>
                      <a:pt x="167" y="539"/>
                    </a:lnTo>
                    <a:lnTo>
                      <a:pt x="164" y="539"/>
                    </a:lnTo>
                    <a:lnTo>
                      <a:pt x="163" y="539"/>
                    </a:lnTo>
                    <a:lnTo>
                      <a:pt x="160" y="539"/>
                    </a:lnTo>
                    <a:lnTo>
                      <a:pt x="158" y="539"/>
                    </a:lnTo>
                    <a:lnTo>
                      <a:pt x="156" y="539"/>
                    </a:lnTo>
                    <a:lnTo>
                      <a:pt x="153" y="542"/>
                    </a:lnTo>
                    <a:lnTo>
                      <a:pt x="152" y="542"/>
                    </a:lnTo>
                    <a:lnTo>
                      <a:pt x="150" y="542"/>
                    </a:lnTo>
                    <a:lnTo>
                      <a:pt x="150" y="540"/>
                    </a:lnTo>
                    <a:lnTo>
                      <a:pt x="148" y="539"/>
                    </a:lnTo>
                    <a:lnTo>
                      <a:pt x="147" y="540"/>
                    </a:lnTo>
                    <a:lnTo>
                      <a:pt x="145" y="539"/>
                    </a:lnTo>
                    <a:lnTo>
                      <a:pt x="144" y="537"/>
                    </a:lnTo>
                    <a:lnTo>
                      <a:pt x="139" y="531"/>
                    </a:lnTo>
                    <a:lnTo>
                      <a:pt x="137" y="528"/>
                    </a:lnTo>
                    <a:lnTo>
                      <a:pt x="134" y="528"/>
                    </a:lnTo>
                    <a:lnTo>
                      <a:pt x="131" y="525"/>
                    </a:lnTo>
                    <a:lnTo>
                      <a:pt x="131" y="523"/>
                    </a:lnTo>
                    <a:lnTo>
                      <a:pt x="129" y="518"/>
                    </a:lnTo>
                    <a:lnTo>
                      <a:pt x="128" y="518"/>
                    </a:lnTo>
                    <a:lnTo>
                      <a:pt x="128" y="517"/>
                    </a:lnTo>
                    <a:lnTo>
                      <a:pt x="129" y="515"/>
                    </a:lnTo>
                    <a:lnTo>
                      <a:pt x="128" y="513"/>
                    </a:lnTo>
                    <a:lnTo>
                      <a:pt x="123" y="512"/>
                    </a:lnTo>
                    <a:lnTo>
                      <a:pt x="118" y="509"/>
                    </a:lnTo>
                    <a:lnTo>
                      <a:pt x="112" y="502"/>
                    </a:lnTo>
                    <a:lnTo>
                      <a:pt x="110" y="501"/>
                    </a:lnTo>
                    <a:lnTo>
                      <a:pt x="109" y="499"/>
                    </a:lnTo>
                    <a:lnTo>
                      <a:pt x="107" y="499"/>
                    </a:lnTo>
                    <a:lnTo>
                      <a:pt x="106" y="499"/>
                    </a:lnTo>
                    <a:lnTo>
                      <a:pt x="104" y="499"/>
                    </a:lnTo>
                    <a:lnTo>
                      <a:pt x="104" y="501"/>
                    </a:lnTo>
                    <a:lnTo>
                      <a:pt x="104" y="502"/>
                    </a:lnTo>
                    <a:lnTo>
                      <a:pt x="102" y="502"/>
                    </a:lnTo>
                    <a:lnTo>
                      <a:pt x="102" y="504"/>
                    </a:lnTo>
                    <a:lnTo>
                      <a:pt x="101" y="504"/>
                    </a:lnTo>
                    <a:lnTo>
                      <a:pt x="101" y="502"/>
                    </a:lnTo>
                    <a:lnTo>
                      <a:pt x="99" y="502"/>
                    </a:lnTo>
                    <a:lnTo>
                      <a:pt x="98" y="502"/>
                    </a:lnTo>
                    <a:lnTo>
                      <a:pt x="96" y="502"/>
                    </a:lnTo>
                    <a:lnTo>
                      <a:pt x="93" y="502"/>
                    </a:lnTo>
                    <a:lnTo>
                      <a:pt x="91" y="502"/>
                    </a:lnTo>
                    <a:lnTo>
                      <a:pt x="88" y="501"/>
                    </a:lnTo>
                    <a:lnTo>
                      <a:pt x="83" y="501"/>
                    </a:lnTo>
                    <a:lnTo>
                      <a:pt x="83" y="499"/>
                    </a:lnTo>
                    <a:lnTo>
                      <a:pt x="82" y="499"/>
                    </a:lnTo>
                    <a:lnTo>
                      <a:pt x="80" y="496"/>
                    </a:lnTo>
                    <a:lnTo>
                      <a:pt x="79" y="498"/>
                    </a:lnTo>
                    <a:lnTo>
                      <a:pt x="77" y="496"/>
                    </a:lnTo>
                    <a:lnTo>
                      <a:pt x="77" y="494"/>
                    </a:lnTo>
                    <a:lnTo>
                      <a:pt x="79" y="488"/>
                    </a:lnTo>
                    <a:lnTo>
                      <a:pt x="77" y="488"/>
                    </a:lnTo>
                    <a:lnTo>
                      <a:pt x="77" y="487"/>
                    </a:lnTo>
                    <a:lnTo>
                      <a:pt x="77" y="485"/>
                    </a:lnTo>
                    <a:lnTo>
                      <a:pt x="77" y="483"/>
                    </a:lnTo>
                    <a:lnTo>
                      <a:pt x="79" y="482"/>
                    </a:lnTo>
                    <a:lnTo>
                      <a:pt x="80" y="482"/>
                    </a:lnTo>
                    <a:lnTo>
                      <a:pt x="79" y="480"/>
                    </a:lnTo>
                    <a:lnTo>
                      <a:pt x="77" y="480"/>
                    </a:lnTo>
                    <a:lnTo>
                      <a:pt x="79" y="479"/>
                    </a:lnTo>
                    <a:lnTo>
                      <a:pt x="79" y="477"/>
                    </a:lnTo>
                    <a:lnTo>
                      <a:pt x="80" y="475"/>
                    </a:lnTo>
                    <a:lnTo>
                      <a:pt x="79" y="475"/>
                    </a:lnTo>
                    <a:lnTo>
                      <a:pt x="79" y="474"/>
                    </a:lnTo>
                    <a:lnTo>
                      <a:pt x="77" y="472"/>
                    </a:lnTo>
                    <a:lnTo>
                      <a:pt x="76" y="469"/>
                    </a:lnTo>
                    <a:lnTo>
                      <a:pt x="76" y="464"/>
                    </a:lnTo>
                    <a:lnTo>
                      <a:pt x="74" y="463"/>
                    </a:lnTo>
                    <a:lnTo>
                      <a:pt x="74" y="464"/>
                    </a:lnTo>
                    <a:lnTo>
                      <a:pt x="71" y="464"/>
                    </a:lnTo>
                    <a:lnTo>
                      <a:pt x="71" y="463"/>
                    </a:lnTo>
                    <a:lnTo>
                      <a:pt x="71" y="461"/>
                    </a:lnTo>
                    <a:lnTo>
                      <a:pt x="71" y="458"/>
                    </a:lnTo>
                    <a:lnTo>
                      <a:pt x="69" y="456"/>
                    </a:lnTo>
                    <a:lnTo>
                      <a:pt x="69" y="458"/>
                    </a:lnTo>
                    <a:lnTo>
                      <a:pt x="68" y="458"/>
                    </a:lnTo>
                    <a:lnTo>
                      <a:pt x="66" y="458"/>
                    </a:lnTo>
                    <a:lnTo>
                      <a:pt x="64" y="456"/>
                    </a:lnTo>
                    <a:lnTo>
                      <a:pt x="63" y="453"/>
                    </a:lnTo>
                    <a:lnTo>
                      <a:pt x="63" y="450"/>
                    </a:lnTo>
                    <a:lnTo>
                      <a:pt x="61" y="449"/>
                    </a:lnTo>
                    <a:lnTo>
                      <a:pt x="57" y="444"/>
                    </a:lnTo>
                    <a:lnTo>
                      <a:pt x="55" y="444"/>
                    </a:lnTo>
                    <a:lnTo>
                      <a:pt x="53" y="444"/>
                    </a:lnTo>
                    <a:lnTo>
                      <a:pt x="52" y="444"/>
                    </a:lnTo>
                    <a:lnTo>
                      <a:pt x="47" y="441"/>
                    </a:lnTo>
                    <a:lnTo>
                      <a:pt x="45" y="441"/>
                    </a:lnTo>
                    <a:lnTo>
                      <a:pt x="41" y="439"/>
                    </a:lnTo>
                    <a:lnTo>
                      <a:pt x="36" y="437"/>
                    </a:lnTo>
                    <a:lnTo>
                      <a:pt x="25" y="434"/>
                    </a:lnTo>
                    <a:lnTo>
                      <a:pt x="22" y="434"/>
                    </a:lnTo>
                    <a:lnTo>
                      <a:pt x="15" y="434"/>
                    </a:lnTo>
                    <a:lnTo>
                      <a:pt x="14" y="434"/>
                    </a:lnTo>
                    <a:lnTo>
                      <a:pt x="12" y="434"/>
                    </a:lnTo>
                    <a:lnTo>
                      <a:pt x="11" y="434"/>
                    </a:lnTo>
                    <a:lnTo>
                      <a:pt x="6" y="431"/>
                    </a:lnTo>
                    <a:lnTo>
                      <a:pt x="4" y="428"/>
                    </a:lnTo>
                    <a:lnTo>
                      <a:pt x="3" y="428"/>
                    </a:lnTo>
                    <a:lnTo>
                      <a:pt x="1" y="426"/>
                    </a:lnTo>
                    <a:lnTo>
                      <a:pt x="0" y="425"/>
                    </a:lnTo>
                    <a:lnTo>
                      <a:pt x="0" y="423"/>
                    </a:lnTo>
                  </a:path>
                </a:pathLst>
              </a:custGeom>
              <a:noFill/>
              <a:ln w="476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44" name="Freeform 42"/>
              <p:cNvSpPr>
                <a:spLocks/>
              </p:cNvSpPr>
              <p:nvPr/>
            </p:nvSpPr>
            <p:spPr bwMode="auto">
              <a:xfrm>
                <a:off x="1786" y="2525"/>
                <a:ext cx="1282" cy="428"/>
              </a:xfrm>
              <a:custGeom>
                <a:avLst/>
                <a:gdLst>
                  <a:gd name="T0" fmla="*/ 13 w 1282"/>
                  <a:gd name="T1" fmla="*/ 425 h 428"/>
                  <a:gd name="T2" fmla="*/ 2 w 1282"/>
                  <a:gd name="T3" fmla="*/ 414 h 428"/>
                  <a:gd name="T4" fmla="*/ 2 w 1282"/>
                  <a:gd name="T5" fmla="*/ 400 h 428"/>
                  <a:gd name="T6" fmla="*/ 35 w 1282"/>
                  <a:gd name="T7" fmla="*/ 412 h 428"/>
                  <a:gd name="T8" fmla="*/ 67 w 1282"/>
                  <a:gd name="T9" fmla="*/ 406 h 428"/>
                  <a:gd name="T10" fmla="*/ 84 w 1282"/>
                  <a:gd name="T11" fmla="*/ 404 h 428"/>
                  <a:gd name="T12" fmla="*/ 102 w 1282"/>
                  <a:gd name="T13" fmla="*/ 409 h 428"/>
                  <a:gd name="T14" fmla="*/ 132 w 1282"/>
                  <a:gd name="T15" fmla="*/ 425 h 428"/>
                  <a:gd name="T16" fmla="*/ 165 w 1282"/>
                  <a:gd name="T17" fmla="*/ 411 h 428"/>
                  <a:gd name="T18" fmla="*/ 200 w 1282"/>
                  <a:gd name="T19" fmla="*/ 395 h 428"/>
                  <a:gd name="T20" fmla="*/ 232 w 1282"/>
                  <a:gd name="T21" fmla="*/ 392 h 428"/>
                  <a:gd name="T22" fmla="*/ 255 w 1282"/>
                  <a:gd name="T23" fmla="*/ 379 h 428"/>
                  <a:gd name="T24" fmla="*/ 282 w 1282"/>
                  <a:gd name="T25" fmla="*/ 393 h 428"/>
                  <a:gd name="T26" fmla="*/ 308 w 1282"/>
                  <a:gd name="T27" fmla="*/ 385 h 428"/>
                  <a:gd name="T28" fmla="*/ 336 w 1282"/>
                  <a:gd name="T29" fmla="*/ 384 h 428"/>
                  <a:gd name="T30" fmla="*/ 331 w 1282"/>
                  <a:gd name="T31" fmla="*/ 365 h 428"/>
                  <a:gd name="T32" fmla="*/ 336 w 1282"/>
                  <a:gd name="T33" fmla="*/ 336 h 428"/>
                  <a:gd name="T34" fmla="*/ 344 w 1282"/>
                  <a:gd name="T35" fmla="*/ 312 h 428"/>
                  <a:gd name="T36" fmla="*/ 333 w 1282"/>
                  <a:gd name="T37" fmla="*/ 297 h 428"/>
                  <a:gd name="T38" fmla="*/ 312 w 1282"/>
                  <a:gd name="T39" fmla="*/ 284 h 428"/>
                  <a:gd name="T40" fmla="*/ 314 w 1282"/>
                  <a:gd name="T41" fmla="*/ 270 h 428"/>
                  <a:gd name="T42" fmla="*/ 309 w 1282"/>
                  <a:gd name="T43" fmla="*/ 222 h 428"/>
                  <a:gd name="T44" fmla="*/ 338 w 1282"/>
                  <a:gd name="T45" fmla="*/ 192 h 428"/>
                  <a:gd name="T46" fmla="*/ 363 w 1282"/>
                  <a:gd name="T47" fmla="*/ 170 h 428"/>
                  <a:gd name="T48" fmla="*/ 387 w 1282"/>
                  <a:gd name="T49" fmla="*/ 165 h 428"/>
                  <a:gd name="T50" fmla="*/ 411 w 1282"/>
                  <a:gd name="T51" fmla="*/ 190 h 428"/>
                  <a:gd name="T52" fmla="*/ 447 w 1282"/>
                  <a:gd name="T53" fmla="*/ 176 h 428"/>
                  <a:gd name="T54" fmla="*/ 466 w 1282"/>
                  <a:gd name="T55" fmla="*/ 148 h 428"/>
                  <a:gd name="T56" fmla="*/ 458 w 1282"/>
                  <a:gd name="T57" fmla="*/ 114 h 428"/>
                  <a:gd name="T58" fmla="*/ 493 w 1282"/>
                  <a:gd name="T59" fmla="*/ 118 h 428"/>
                  <a:gd name="T60" fmla="*/ 493 w 1282"/>
                  <a:gd name="T61" fmla="*/ 170 h 428"/>
                  <a:gd name="T62" fmla="*/ 518 w 1282"/>
                  <a:gd name="T63" fmla="*/ 203 h 428"/>
                  <a:gd name="T64" fmla="*/ 542 w 1282"/>
                  <a:gd name="T65" fmla="*/ 230 h 428"/>
                  <a:gd name="T66" fmla="*/ 567 w 1282"/>
                  <a:gd name="T67" fmla="*/ 263 h 428"/>
                  <a:gd name="T68" fmla="*/ 612 w 1282"/>
                  <a:gd name="T69" fmla="*/ 290 h 428"/>
                  <a:gd name="T70" fmla="*/ 662 w 1282"/>
                  <a:gd name="T71" fmla="*/ 305 h 428"/>
                  <a:gd name="T72" fmla="*/ 708 w 1282"/>
                  <a:gd name="T73" fmla="*/ 317 h 428"/>
                  <a:gd name="T74" fmla="*/ 745 w 1282"/>
                  <a:gd name="T75" fmla="*/ 343 h 428"/>
                  <a:gd name="T76" fmla="*/ 811 w 1282"/>
                  <a:gd name="T77" fmla="*/ 360 h 428"/>
                  <a:gd name="T78" fmla="*/ 875 w 1282"/>
                  <a:gd name="T79" fmla="*/ 349 h 428"/>
                  <a:gd name="T80" fmla="*/ 925 w 1282"/>
                  <a:gd name="T81" fmla="*/ 320 h 428"/>
                  <a:gd name="T82" fmla="*/ 949 w 1282"/>
                  <a:gd name="T83" fmla="*/ 255 h 428"/>
                  <a:gd name="T84" fmla="*/ 940 w 1282"/>
                  <a:gd name="T85" fmla="*/ 184 h 428"/>
                  <a:gd name="T86" fmla="*/ 935 w 1282"/>
                  <a:gd name="T87" fmla="*/ 141 h 428"/>
                  <a:gd name="T88" fmla="*/ 952 w 1282"/>
                  <a:gd name="T89" fmla="*/ 133 h 428"/>
                  <a:gd name="T90" fmla="*/ 973 w 1282"/>
                  <a:gd name="T91" fmla="*/ 140 h 428"/>
                  <a:gd name="T92" fmla="*/ 994 w 1282"/>
                  <a:gd name="T93" fmla="*/ 146 h 428"/>
                  <a:gd name="T94" fmla="*/ 995 w 1282"/>
                  <a:gd name="T95" fmla="*/ 118 h 428"/>
                  <a:gd name="T96" fmla="*/ 1000 w 1282"/>
                  <a:gd name="T97" fmla="*/ 72 h 428"/>
                  <a:gd name="T98" fmla="*/ 959 w 1282"/>
                  <a:gd name="T99" fmla="*/ 56 h 428"/>
                  <a:gd name="T100" fmla="*/ 976 w 1282"/>
                  <a:gd name="T101" fmla="*/ 11 h 428"/>
                  <a:gd name="T102" fmla="*/ 1019 w 1282"/>
                  <a:gd name="T103" fmla="*/ 24 h 428"/>
                  <a:gd name="T104" fmla="*/ 1049 w 1282"/>
                  <a:gd name="T105" fmla="*/ 35 h 428"/>
                  <a:gd name="T106" fmla="*/ 1106 w 1282"/>
                  <a:gd name="T107" fmla="*/ 29 h 428"/>
                  <a:gd name="T108" fmla="*/ 1139 w 1282"/>
                  <a:gd name="T109" fmla="*/ 21 h 428"/>
                  <a:gd name="T110" fmla="*/ 1165 w 1282"/>
                  <a:gd name="T111" fmla="*/ 19 h 428"/>
                  <a:gd name="T112" fmla="*/ 1204 w 1282"/>
                  <a:gd name="T113" fmla="*/ 26 h 428"/>
                  <a:gd name="T114" fmla="*/ 1225 w 1282"/>
                  <a:gd name="T115" fmla="*/ 54 h 428"/>
                  <a:gd name="T116" fmla="*/ 1249 w 1282"/>
                  <a:gd name="T117" fmla="*/ 18 h 428"/>
                  <a:gd name="T118" fmla="*/ 1282 w 1282"/>
                  <a:gd name="T119" fmla="*/ 5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82" h="428">
                    <a:moveTo>
                      <a:pt x="23" y="428"/>
                    </a:moveTo>
                    <a:lnTo>
                      <a:pt x="24" y="428"/>
                    </a:lnTo>
                    <a:lnTo>
                      <a:pt x="24" y="427"/>
                    </a:lnTo>
                    <a:lnTo>
                      <a:pt x="23" y="425"/>
                    </a:lnTo>
                    <a:lnTo>
                      <a:pt x="19" y="425"/>
                    </a:lnTo>
                    <a:lnTo>
                      <a:pt x="18" y="425"/>
                    </a:lnTo>
                    <a:lnTo>
                      <a:pt x="16" y="427"/>
                    </a:lnTo>
                    <a:lnTo>
                      <a:pt x="15" y="427"/>
                    </a:lnTo>
                    <a:lnTo>
                      <a:pt x="13" y="425"/>
                    </a:lnTo>
                    <a:lnTo>
                      <a:pt x="13" y="423"/>
                    </a:lnTo>
                    <a:lnTo>
                      <a:pt x="10" y="422"/>
                    </a:lnTo>
                    <a:lnTo>
                      <a:pt x="10" y="420"/>
                    </a:lnTo>
                    <a:lnTo>
                      <a:pt x="10" y="419"/>
                    </a:lnTo>
                    <a:lnTo>
                      <a:pt x="8" y="417"/>
                    </a:lnTo>
                    <a:lnTo>
                      <a:pt x="7" y="417"/>
                    </a:lnTo>
                    <a:lnTo>
                      <a:pt x="7" y="415"/>
                    </a:lnTo>
                    <a:lnTo>
                      <a:pt x="2" y="415"/>
                    </a:lnTo>
                    <a:lnTo>
                      <a:pt x="2" y="414"/>
                    </a:lnTo>
                    <a:lnTo>
                      <a:pt x="2" y="412"/>
                    </a:lnTo>
                    <a:lnTo>
                      <a:pt x="2" y="411"/>
                    </a:lnTo>
                    <a:lnTo>
                      <a:pt x="2" y="409"/>
                    </a:lnTo>
                    <a:lnTo>
                      <a:pt x="0" y="408"/>
                    </a:lnTo>
                    <a:lnTo>
                      <a:pt x="0" y="406"/>
                    </a:lnTo>
                    <a:lnTo>
                      <a:pt x="0" y="404"/>
                    </a:lnTo>
                    <a:lnTo>
                      <a:pt x="0" y="403"/>
                    </a:lnTo>
                    <a:lnTo>
                      <a:pt x="0" y="401"/>
                    </a:lnTo>
                    <a:lnTo>
                      <a:pt x="2" y="400"/>
                    </a:lnTo>
                    <a:lnTo>
                      <a:pt x="2" y="398"/>
                    </a:lnTo>
                    <a:lnTo>
                      <a:pt x="4" y="396"/>
                    </a:lnTo>
                    <a:lnTo>
                      <a:pt x="8" y="396"/>
                    </a:lnTo>
                    <a:lnTo>
                      <a:pt x="16" y="400"/>
                    </a:lnTo>
                    <a:lnTo>
                      <a:pt x="18" y="401"/>
                    </a:lnTo>
                    <a:lnTo>
                      <a:pt x="27" y="409"/>
                    </a:lnTo>
                    <a:lnTo>
                      <a:pt x="29" y="411"/>
                    </a:lnTo>
                    <a:lnTo>
                      <a:pt x="32" y="412"/>
                    </a:lnTo>
                    <a:lnTo>
                      <a:pt x="35" y="412"/>
                    </a:lnTo>
                    <a:lnTo>
                      <a:pt x="42" y="412"/>
                    </a:lnTo>
                    <a:lnTo>
                      <a:pt x="45" y="412"/>
                    </a:lnTo>
                    <a:lnTo>
                      <a:pt x="46" y="412"/>
                    </a:lnTo>
                    <a:lnTo>
                      <a:pt x="48" y="412"/>
                    </a:lnTo>
                    <a:lnTo>
                      <a:pt x="54" y="409"/>
                    </a:lnTo>
                    <a:lnTo>
                      <a:pt x="56" y="408"/>
                    </a:lnTo>
                    <a:lnTo>
                      <a:pt x="59" y="408"/>
                    </a:lnTo>
                    <a:lnTo>
                      <a:pt x="62" y="406"/>
                    </a:lnTo>
                    <a:lnTo>
                      <a:pt x="67" y="406"/>
                    </a:lnTo>
                    <a:lnTo>
                      <a:pt x="67" y="404"/>
                    </a:lnTo>
                    <a:lnTo>
                      <a:pt x="72" y="404"/>
                    </a:lnTo>
                    <a:lnTo>
                      <a:pt x="73" y="404"/>
                    </a:lnTo>
                    <a:lnTo>
                      <a:pt x="76" y="404"/>
                    </a:lnTo>
                    <a:lnTo>
                      <a:pt x="78" y="404"/>
                    </a:lnTo>
                    <a:lnTo>
                      <a:pt x="80" y="404"/>
                    </a:lnTo>
                    <a:lnTo>
                      <a:pt x="81" y="404"/>
                    </a:lnTo>
                    <a:lnTo>
                      <a:pt x="83" y="404"/>
                    </a:lnTo>
                    <a:lnTo>
                      <a:pt x="84" y="404"/>
                    </a:lnTo>
                    <a:lnTo>
                      <a:pt x="86" y="404"/>
                    </a:lnTo>
                    <a:lnTo>
                      <a:pt x="89" y="404"/>
                    </a:lnTo>
                    <a:lnTo>
                      <a:pt x="91" y="404"/>
                    </a:lnTo>
                    <a:lnTo>
                      <a:pt x="92" y="406"/>
                    </a:lnTo>
                    <a:lnTo>
                      <a:pt x="94" y="406"/>
                    </a:lnTo>
                    <a:lnTo>
                      <a:pt x="95" y="406"/>
                    </a:lnTo>
                    <a:lnTo>
                      <a:pt x="97" y="406"/>
                    </a:lnTo>
                    <a:lnTo>
                      <a:pt x="99" y="408"/>
                    </a:lnTo>
                    <a:lnTo>
                      <a:pt x="102" y="409"/>
                    </a:lnTo>
                    <a:lnTo>
                      <a:pt x="102" y="411"/>
                    </a:lnTo>
                    <a:lnTo>
                      <a:pt x="105" y="414"/>
                    </a:lnTo>
                    <a:lnTo>
                      <a:pt x="108" y="415"/>
                    </a:lnTo>
                    <a:lnTo>
                      <a:pt x="111" y="417"/>
                    </a:lnTo>
                    <a:lnTo>
                      <a:pt x="116" y="420"/>
                    </a:lnTo>
                    <a:lnTo>
                      <a:pt x="118" y="422"/>
                    </a:lnTo>
                    <a:lnTo>
                      <a:pt x="124" y="423"/>
                    </a:lnTo>
                    <a:lnTo>
                      <a:pt x="129" y="425"/>
                    </a:lnTo>
                    <a:lnTo>
                      <a:pt x="132" y="425"/>
                    </a:lnTo>
                    <a:lnTo>
                      <a:pt x="137" y="423"/>
                    </a:lnTo>
                    <a:lnTo>
                      <a:pt x="140" y="423"/>
                    </a:lnTo>
                    <a:lnTo>
                      <a:pt x="148" y="423"/>
                    </a:lnTo>
                    <a:lnTo>
                      <a:pt x="149" y="423"/>
                    </a:lnTo>
                    <a:lnTo>
                      <a:pt x="152" y="422"/>
                    </a:lnTo>
                    <a:lnTo>
                      <a:pt x="154" y="420"/>
                    </a:lnTo>
                    <a:lnTo>
                      <a:pt x="159" y="417"/>
                    </a:lnTo>
                    <a:lnTo>
                      <a:pt x="160" y="415"/>
                    </a:lnTo>
                    <a:lnTo>
                      <a:pt x="165" y="411"/>
                    </a:lnTo>
                    <a:lnTo>
                      <a:pt x="168" y="408"/>
                    </a:lnTo>
                    <a:lnTo>
                      <a:pt x="170" y="406"/>
                    </a:lnTo>
                    <a:lnTo>
                      <a:pt x="175" y="403"/>
                    </a:lnTo>
                    <a:lnTo>
                      <a:pt x="176" y="400"/>
                    </a:lnTo>
                    <a:lnTo>
                      <a:pt x="179" y="398"/>
                    </a:lnTo>
                    <a:lnTo>
                      <a:pt x="184" y="398"/>
                    </a:lnTo>
                    <a:lnTo>
                      <a:pt x="190" y="396"/>
                    </a:lnTo>
                    <a:lnTo>
                      <a:pt x="195" y="395"/>
                    </a:lnTo>
                    <a:lnTo>
                      <a:pt x="200" y="395"/>
                    </a:lnTo>
                    <a:lnTo>
                      <a:pt x="205" y="396"/>
                    </a:lnTo>
                    <a:lnTo>
                      <a:pt x="209" y="396"/>
                    </a:lnTo>
                    <a:lnTo>
                      <a:pt x="214" y="396"/>
                    </a:lnTo>
                    <a:lnTo>
                      <a:pt x="217" y="395"/>
                    </a:lnTo>
                    <a:lnTo>
                      <a:pt x="224" y="395"/>
                    </a:lnTo>
                    <a:lnTo>
                      <a:pt x="225" y="396"/>
                    </a:lnTo>
                    <a:lnTo>
                      <a:pt x="227" y="396"/>
                    </a:lnTo>
                    <a:lnTo>
                      <a:pt x="230" y="395"/>
                    </a:lnTo>
                    <a:lnTo>
                      <a:pt x="232" y="392"/>
                    </a:lnTo>
                    <a:lnTo>
                      <a:pt x="233" y="387"/>
                    </a:lnTo>
                    <a:lnTo>
                      <a:pt x="235" y="389"/>
                    </a:lnTo>
                    <a:lnTo>
                      <a:pt x="238" y="389"/>
                    </a:lnTo>
                    <a:lnTo>
                      <a:pt x="244" y="389"/>
                    </a:lnTo>
                    <a:lnTo>
                      <a:pt x="249" y="385"/>
                    </a:lnTo>
                    <a:lnTo>
                      <a:pt x="252" y="384"/>
                    </a:lnTo>
                    <a:lnTo>
                      <a:pt x="254" y="382"/>
                    </a:lnTo>
                    <a:lnTo>
                      <a:pt x="255" y="381"/>
                    </a:lnTo>
                    <a:lnTo>
                      <a:pt x="255" y="379"/>
                    </a:lnTo>
                    <a:lnTo>
                      <a:pt x="257" y="381"/>
                    </a:lnTo>
                    <a:lnTo>
                      <a:pt x="260" y="384"/>
                    </a:lnTo>
                    <a:lnTo>
                      <a:pt x="262" y="384"/>
                    </a:lnTo>
                    <a:lnTo>
                      <a:pt x="268" y="387"/>
                    </a:lnTo>
                    <a:lnTo>
                      <a:pt x="273" y="389"/>
                    </a:lnTo>
                    <a:lnTo>
                      <a:pt x="276" y="390"/>
                    </a:lnTo>
                    <a:lnTo>
                      <a:pt x="279" y="392"/>
                    </a:lnTo>
                    <a:lnTo>
                      <a:pt x="281" y="393"/>
                    </a:lnTo>
                    <a:lnTo>
                      <a:pt x="282" y="393"/>
                    </a:lnTo>
                    <a:lnTo>
                      <a:pt x="287" y="395"/>
                    </a:lnTo>
                    <a:lnTo>
                      <a:pt x="289" y="393"/>
                    </a:lnTo>
                    <a:lnTo>
                      <a:pt x="290" y="393"/>
                    </a:lnTo>
                    <a:lnTo>
                      <a:pt x="293" y="393"/>
                    </a:lnTo>
                    <a:lnTo>
                      <a:pt x="297" y="392"/>
                    </a:lnTo>
                    <a:lnTo>
                      <a:pt x="300" y="389"/>
                    </a:lnTo>
                    <a:lnTo>
                      <a:pt x="303" y="387"/>
                    </a:lnTo>
                    <a:lnTo>
                      <a:pt x="306" y="385"/>
                    </a:lnTo>
                    <a:lnTo>
                      <a:pt x="308" y="385"/>
                    </a:lnTo>
                    <a:lnTo>
                      <a:pt x="311" y="385"/>
                    </a:lnTo>
                    <a:lnTo>
                      <a:pt x="316" y="387"/>
                    </a:lnTo>
                    <a:lnTo>
                      <a:pt x="316" y="389"/>
                    </a:lnTo>
                    <a:lnTo>
                      <a:pt x="319" y="389"/>
                    </a:lnTo>
                    <a:lnTo>
                      <a:pt x="323" y="389"/>
                    </a:lnTo>
                    <a:lnTo>
                      <a:pt x="328" y="389"/>
                    </a:lnTo>
                    <a:lnTo>
                      <a:pt x="335" y="389"/>
                    </a:lnTo>
                    <a:lnTo>
                      <a:pt x="338" y="385"/>
                    </a:lnTo>
                    <a:lnTo>
                      <a:pt x="336" y="384"/>
                    </a:lnTo>
                    <a:lnTo>
                      <a:pt x="336" y="382"/>
                    </a:lnTo>
                    <a:lnTo>
                      <a:pt x="335" y="381"/>
                    </a:lnTo>
                    <a:lnTo>
                      <a:pt x="333" y="377"/>
                    </a:lnTo>
                    <a:lnTo>
                      <a:pt x="333" y="376"/>
                    </a:lnTo>
                    <a:lnTo>
                      <a:pt x="331" y="374"/>
                    </a:lnTo>
                    <a:lnTo>
                      <a:pt x="331" y="373"/>
                    </a:lnTo>
                    <a:lnTo>
                      <a:pt x="331" y="370"/>
                    </a:lnTo>
                    <a:lnTo>
                      <a:pt x="331" y="366"/>
                    </a:lnTo>
                    <a:lnTo>
                      <a:pt x="331" y="365"/>
                    </a:lnTo>
                    <a:lnTo>
                      <a:pt x="333" y="360"/>
                    </a:lnTo>
                    <a:lnTo>
                      <a:pt x="333" y="357"/>
                    </a:lnTo>
                    <a:lnTo>
                      <a:pt x="333" y="354"/>
                    </a:lnTo>
                    <a:lnTo>
                      <a:pt x="335" y="351"/>
                    </a:lnTo>
                    <a:lnTo>
                      <a:pt x="336" y="347"/>
                    </a:lnTo>
                    <a:lnTo>
                      <a:pt x="338" y="346"/>
                    </a:lnTo>
                    <a:lnTo>
                      <a:pt x="336" y="341"/>
                    </a:lnTo>
                    <a:lnTo>
                      <a:pt x="336" y="339"/>
                    </a:lnTo>
                    <a:lnTo>
                      <a:pt x="336" y="336"/>
                    </a:lnTo>
                    <a:lnTo>
                      <a:pt x="338" y="333"/>
                    </a:lnTo>
                    <a:lnTo>
                      <a:pt x="338" y="330"/>
                    </a:lnTo>
                    <a:lnTo>
                      <a:pt x="339" y="328"/>
                    </a:lnTo>
                    <a:lnTo>
                      <a:pt x="339" y="327"/>
                    </a:lnTo>
                    <a:lnTo>
                      <a:pt x="341" y="322"/>
                    </a:lnTo>
                    <a:lnTo>
                      <a:pt x="341" y="317"/>
                    </a:lnTo>
                    <a:lnTo>
                      <a:pt x="343" y="317"/>
                    </a:lnTo>
                    <a:lnTo>
                      <a:pt x="343" y="316"/>
                    </a:lnTo>
                    <a:lnTo>
                      <a:pt x="344" y="312"/>
                    </a:lnTo>
                    <a:lnTo>
                      <a:pt x="344" y="311"/>
                    </a:lnTo>
                    <a:lnTo>
                      <a:pt x="344" y="309"/>
                    </a:lnTo>
                    <a:lnTo>
                      <a:pt x="344" y="308"/>
                    </a:lnTo>
                    <a:lnTo>
                      <a:pt x="344" y="306"/>
                    </a:lnTo>
                    <a:lnTo>
                      <a:pt x="344" y="305"/>
                    </a:lnTo>
                    <a:lnTo>
                      <a:pt x="341" y="303"/>
                    </a:lnTo>
                    <a:lnTo>
                      <a:pt x="339" y="301"/>
                    </a:lnTo>
                    <a:lnTo>
                      <a:pt x="336" y="300"/>
                    </a:lnTo>
                    <a:lnTo>
                      <a:pt x="333" y="297"/>
                    </a:lnTo>
                    <a:lnTo>
                      <a:pt x="331" y="295"/>
                    </a:lnTo>
                    <a:lnTo>
                      <a:pt x="330" y="295"/>
                    </a:lnTo>
                    <a:lnTo>
                      <a:pt x="328" y="293"/>
                    </a:lnTo>
                    <a:lnTo>
                      <a:pt x="325" y="292"/>
                    </a:lnTo>
                    <a:lnTo>
                      <a:pt x="320" y="290"/>
                    </a:lnTo>
                    <a:lnTo>
                      <a:pt x="317" y="289"/>
                    </a:lnTo>
                    <a:lnTo>
                      <a:pt x="316" y="287"/>
                    </a:lnTo>
                    <a:lnTo>
                      <a:pt x="314" y="286"/>
                    </a:lnTo>
                    <a:lnTo>
                      <a:pt x="312" y="284"/>
                    </a:lnTo>
                    <a:lnTo>
                      <a:pt x="314" y="282"/>
                    </a:lnTo>
                    <a:lnTo>
                      <a:pt x="314" y="281"/>
                    </a:lnTo>
                    <a:lnTo>
                      <a:pt x="316" y="279"/>
                    </a:lnTo>
                    <a:lnTo>
                      <a:pt x="317" y="279"/>
                    </a:lnTo>
                    <a:lnTo>
                      <a:pt x="317" y="276"/>
                    </a:lnTo>
                    <a:lnTo>
                      <a:pt x="317" y="274"/>
                    </a:lnTo>
                    <a:lnTo>
                      <a:pt x="316" y="273"/>
                    </a:lnTo>
                    <a:lnTo>
                      <a:pt x="316" y="271"/>
                    </a:lnTo>
                    <a:lnTo>
                      <a:pt x="314" y="270"/>
                    </a:lnTo>
                    <a:lnTo>
                      <a:pt x="314" y="267"/>
                    </a:lnTo>
                    <a:lnTo>
                      <a:pt x="312" y="267"/>
                    </a:lnTo>
                    <a:lnTo>
                      <a:pt x="311" y="255"/>
                    </a:lnTo>
                    <a:lnTo>
                      <a:pt x="311" y="248"/>
                    </a:lnTo>
                    <a:lnTo>
                      <a:pt x="309" y="238"/>
                    </a:lnTo>
                    <a:lnTo>
                      <a:pt x="308" y="232"/>
                    </a:lnTo>
                    <a:lnTo>
                      <a:pt x="308" y="225"/>
                    </a:lnTo>
                    <a:lnTo>
                      <a:pt x="309" y="224"/>
                    </a:lnTo>
                    <a:lnTo>
                      <a:pt x="309" y="222"/>
                    </a:lnTo>
                    <a:lnTo>
                      <a:pt x="314" y="221"/>
                    </a:lnTo>
                    <a:lnTo>
                      <a:pt x="320" y="213"/>
                    </a:lnTo>
                    <a:lnTo>
                      <a:pt x="323" y="206"/>
                    </a:lnTo>
                    <a:lnTo>
                      <a:pt x="328" y="205"/>
                    </a:lnTo>
                    <a:lnTo>
                      <a:pt x="331" y="203"/>
                    </a:lnTo>
                    <a:lnTo>
                      <a:pt x="333" y="203"/>
                    </a:lnTo>
                    <a:lnTo>
                      <a:pt x="338" y="200"/>
                    </a:lnTo>
                    <a:lnTo>
                      <a:pt x="338" y="198"/>
                    </a:lnTo>
                    <a:lnTo>
                      <a:pt x="338" y="192"/>
                    </a:lnTo>
                    <a:lnTo>
                      <a:pt x="338" y="186"/>
                    </a:lnTo>
                    <a:lnTo>
                      <a:pt x="339" y="183"/>
                    </a:lnTo>
                    <a:lnTo>
                      <a:pt x="343" y="179"/>
                    </a:lnTo>
                    <a:lnTo>
                      <a:pt x="346" y="183"/>
                    </a:lnTo>
                    <a:lnTo>
                      <a:pt x="352" y="184"/>
                    </a:lnTo>
                    <a:lnTo>
                      <a:pt x="355" y="184"/>
                    </a:lnTo>
                    <a:lnTo>
                      <a:pt x="357" y="179"/>
                    </a:lnTo>
                    <a:lnTo>
                      <a:pt x="360" y="175"/>
                    </a:lnTo>
                    <a:lnTo>
                      <a:pt x="363" y="170"/>
                    </a:lnTo>
                    <a:lnTo>
                      <a:pt x="365" y="168"/>
                    </a:lnTo>
                    <a:lnTo>
                      <a:pt x="368" y="170"/>
                    </a:lnTo>
                    <a:lnTo>
                      <a:pt x="373" y="171"/>
                    </a:lnTo>
                    <a:lnTo>
                      <a:pt x="376" y="171"/>
                    </a:lnTo>
                    <a:lnTo>
                      <a:pt x="379" y="170"/>
                    </a:lnTo>
                    <a:lnTo>
                      <a:pt x="381" y="168"/>
                    </a:lnTo>
                    <a:lnTo>
                      <a:pt x="382" y="170"/>
                    </a:lnTo>
                    <a:lnTo>
                      <a:pt x="385" y="168"/>
                    </a:lnTo>
                    <a:lnTo>
                      <a:pt x="387" y="165"/>
                    </a:lnTo>
                    <a:lnTo>
                      <a:pt x="388" y="165"/>
                    </a:lnTo>
                    <a:lnTo>
                      <a:pt x="390" y="165"/>
                    </a:lnTo>
                    <a:lnTo>
                      <a:pt x="393" y="170"/>
                    </a:lnTo>
                    <a:lnTo>
                      <a:pt x="393" y="173"/>
                    </a:lnTo>
                    <a:lnTo>
                      <a:pt x="395" y="178"/>
                    </a:lnTo>
                    <a:lnTo>
                      <a:pt x="396" y="184"/>
                    </a:lnTo>
                    <a:lnTo>
                      <a:pt x="400" y="187"/>
                    </a:lnTo>
                    <a:lnTo>
                      <a:pt x="404" y="189"/>
                    </a:lnTo>
                    <a:lnTo>
                      <a:pt x="411" y="190"/>
                    </a:lnTo>
                    <a:lnTo>
                      <a:pt x="415" y="189"/>
                    </a:lnTo>
                    <a:lnTo>
                      <a:pt x="419" y="189"/>
                    </a:lnTo>
                    <a:lnTo>
                      <a:pt x="425" y="184"/>
                    </a:lnTo>
                    <a:lnTo>
                      <a:pt x="433" y="179"/>
                    </a:lnTo>
                    <a:lnTo>
                      <a:pt x="436" y="178"/>
                    </a:lnTo>
                    <a:lnTo>
                      <a:pt x="436" y="176"/>
                    </a:lnTo>
                    <a:lnTo>
                      <a:pt x="441" y="175"/>
                    </a:lnTo>
                    <a:lnTo>
                      <a:pt x="444" y="175"/>
                    </a:lnTo>
                    <a:lnTo>
                      <a:pt x="447" y="176"/>
                    </a:lnTo>
                    <a:lnTo>
                      <a:pt x="453" y="173"/>
                    </a:lnTo>
                    <a:lnTo>
                      <a:pt x="460" y="168"/>
                    </a:lnTo>
                    <a:lnTo>
                      <a:pt x="464" y="164"/>
                    </a:lnTo>
                    <a:lnTo>
                      <a:pt x="466" y="160"/>
                    </a:lnTo>
                    <a:lnTo>
                      <a:pt x="469" y="157"/>
                    </a:lnTo>
                    <a:lnTo>
                      <a:pt x="471" y="154"/>
                    </a:lnTo>
                    <a:lnTo>
                      <a:pt x="471" y="151"/>
                    </a:lnTo>
                    <a:lnTo>
                      <a:pt x="469" y="149"/>
                    </a:lnTo>
                    <a:lnTo>
                      <a:pt x="466" y="148"/>
                    </a:lnTo>
                    <a:lnTo>
                      <a:pt x="463" y="145"/>
                    </a:lnTo>
                    <a:lnTo>
                      <a:pt x="461" y="143"/>
                    </a:lnTo>
                    <a:lnTo>
                      <a:pt x="453" y="137"/>
                    </a:lnTo>
                    <a:lnTo>
                      <a:pt x="450" y="132"/>
                    </a:lnTo>
                    <a:lnTo>
                      <a:pt x="449" y="127"/>
                    </a:lnTo>
                    <a:lnTo>
                      <a:pt x="450" y="126"/>
                    </a:lnTo>
                    <a:lnTo>
                      <a:pt x="450" y="122"/>
                    </a:lnTo>
                    <a:lnTo>
                      <a:pt x="455" y="119"/>
                    </a:lnTo>
                    <a:lnTo>
                      <a:pt x="458" y="114"/>
                    </a:lnTo>
                    <a:lnTo>
                      <a:pt x="461" y="111"/>
                    </a:lnTo>
                    <a:lnTo>
                      <a:pt x="466" y="111"/>
                    </a:lnTo>
                    <a:lnTo>
                      <a:pt x="471" y="111"/>
                    </a:lnTo>
                    <a:lnTo>
                      <a:pt x="474" y="111"/>
                    </a:lnTo>
                    <a:lnTo>
                      <a:pt x="476" y="110"/>
                    </a:lnTo>
                    <a:lnTo>
                      <a:pt x="482" y="111"/>
                    </a:lnTo>
                    <a:lnTo>
                      <a:pt x="488" y="111"/>
                    </a:lnTo>
                    <a:lnTo>
                      <a:pt x="491" y="116"/>
                    </a:lnTo>
                    <a:lnTo>
                      <a:pt x="493" y="118"/>
                    </a:lnTo>
                    <a:lnTo>
                      <a:pt x="495" y="122"/>
                    </a:lnTo>
                    <a:lnTo>
                      <a:pt x="498" y="133"/>
                    </a:lnTo>
                    <a:lnTo>
                      <a:pt x="498" y="137"/>
                    </a:lnTo>
                    <a:lnTo>
                      <a:pt x="499" y="143"/>
                    </a:lnTo>
                    <a:lnTo>
                      <a:pt x="502" y="149"/>
                    </a:lnTo>
                    <a:lnTo>
                      <a:pt x="501" y="156"/>
                    </a:lnTo>
                    <a:lnTo>
                      <a:pt x="499" y="160"/>
                    </a:lnTo>
                    <a:lnTo>
                      <a:pt x="496" y="165"/>
                    </a:lnTo>
                    <a:lnTo>
                      <a:pt x="493" y="170"/>
                    </a:lnTo>
                    <a:lnTo>
                      <a:pt x="488" y="175"/>
                    </a:lnTo>
                    <a:lnTo>
                      <a:pt x="487" y="179"/>
                    </a:lnTo>
                    <a:lnTo>
                      <a:pt x="485" y="181"/>
                    </a:lnTo>
                    <a:lnTo>
                      <a:pt x="488" y="184"/>
                    </a:lnTo>
                    <a:lnTo>
                      <a:pt x="493" y="186"/>
                    </a:lnTo>
                    <a:lnTo>
                      <a:pt x="499" y="190"/>
                    </a:lnTo>
                    <a:lnTo>
                      <a:pt x="507" y="197"/>
                    </a:lnTo>
                    <a:lnTo>
                      <a:pt x="512" y="200"/>
                    </a:lnTo>
                    <a:lnTo>
                      <a:pt x="518" y="203"/>
                    </a:lnTo>
                    <a:lnTo>
                      <a:pt x="523" y="205"/>
                    </a:lnTo>
                    <a:lnTo>
                      <a:pt x="525" y="206"/>
                    </a:lnTo>
                    <a:lnTo>
                      <a:pt x="526" y="206"/>
                    </a:lnTo>
                    <a:lnTo>
                      <a:pt x="529" y="208"/>
                    </a:lnTo>
                    <a:lnTo>
                      <a:pt x="533" y="216"/>
                    </a:lnTo>
                    <a:lnTo>
                      <a:pt x="533" y="219"/>
                    </a:lnTo>
                    <a:lnTo>
                      <a:pt x="534" y="222"/>
                    </a:lnTo>
                    <a:lnTo>
                      <a:pt x="536" y="224"/>
                    </a:lnTo>
                    <a:lnTo>
                      <a:pt x="542" y="230"/>
                    </a:lnTo>
                    <a:lnTo>
                      <a:pt x="545" y="235"/>
                    </a:lnTo>
                    <a:lnTo>
                      <a:pt x="544" y="241"/>
                    </a:lnTo>
                    <a:lnTo>
                      <a:pt x="541" y="248"/>
                    </a:lnTo>
                    <a:lnTo>
                      <a:pt x="539" y="254"/>
                    </a:lnTo>
                    <a:lnTo>
                      <a:pt x="541" y="259"/>
                    </a:lnTo>
                    <a:lnTo>
                      <a:pt x="542" y="262"/>
                    </a:lnTo>
                    <a:lnTo>
                      <a:pt x="548" y="263"/>
                    </a:lnTo>
                    <a:lnTo>
                      <a:pt x="555" y="265"/>
                    </a:lnTo>
                    <a:lnTo>
                      <a:pt x="567" y="263"/>
                    </a:lnTo>
                    <a:lnTo>
                      <a:pt x="575" y="268"/>
                    </a:lnTo>
                    <a:lnTo>
                      <a:pt x="582" y="273"/>
                    </a:lnTo>
                    <a:lnTo>
                      <a:pt x="588" y="279"/>
                    </a:lnTo>
                    <a:lnTo>
                      <a:pt x="590" y="281"/>
                    </a:lnTo>
                    <a:lnTo>
                      <a:pt x="593" y="284"/>
                    </a:lnTo>
                    <a:lnTo>
                      <a:pt x="596" y="286"/>
                    </a:lnTo>
                    <a:lnTo>
                      <a:pt x="601" y="287"/>
                    </a:lnTo>
                    <a:lnTo>
                      <a:pt x="607" y="289"/>
                    </a:lnTo>
                    <a:lnTo>
                      <a:pt x="612" y="290"/>
                    </a:lnTo>
                    <a:lnTo>
                      <a:pt x="613" y="292"/>
                    </a:lnTo>
                    <a:lnTo>
                      <a:pt x="618" y="295"/>
                    </a:lnTo>
                    <a:lnTo>
                      <a:pt x="624" y="295"/>
                    </a:lnTo>
                    <a:lnTo>
                      <a:pt x="631" y="297"/>
                    </a:lnTo>
                    <a:lnTo>
                      <a:pt x="636" y="300"/>
                    </a:lnTo>
                    <a:lnTo>
                      <a:pt x="639" y="305"/>
                    </a:lnTo>
                    <a:lnTo>
                      <a:pt x="648" y="308"/>
                    </a:lnTo>
                    <a:lnTo>
                      <a:pt x="655" y="306"/>
                    </a:lnTo>
                    <a:lnTo>
                      <a:pt x="662" y="305"/>
                    </a:lnTo>
                    <a:lnTo>
                      <a:pt x="667" y="305"/>
                    </a:lnTo>
                    <a:lnTo>
                      <a:pt x="670" y="305"/>
                    </a:lnTo>
                    <a:lnTo>
                      <a:pt x="672" y="305"/>
                    </a:lnTo>
                    <a:lnTo>
                      <a:pt x="677" y="308"/>
                    </a:lnTo>
                    <a:lnTo>
                      <a:pt x="688" y="311"/>
                    </a:lnTo>
                    <a:lnTo>
                      <a:pt x="697" y="316"/>
                    </a:lnTo>
                    <a:lnTo>
                      <a:pt x="704" y="319"/>
                    </a:lnTo>
                    <a:lnTo>
                      <a:pt x="707" y="319"/>
                    </a:lnTo>
                    <a:lnTo>
                      <a:pt x="708" y="317"/>
                    </a:lnTo>
                    <a:lnTo>
                      <a:pt x="712" y="316"/>
                    </a:lnTo>
                    <a:lnTo>
                      <a:pt x="715" y="316"/>
                    </a:lnTo>
                    <a:lnTo>
                      <a:pt x="716" y="317"/>
                    </a:lnTo>
                    <a:lnTo>
                      <a:pt x="720" y="325"/>
                    </a:lnTo>
                    <a:lnTo>
                      <a:pt x="726" y="330"/>
                    </a:lnTo>
                    <a:lnTo>
                      <a:pt x="732" y="335"/>
                    </a:lnTo>
                    <a:lnTo>
                      <a:pt x="739" y="338"/>
                    </a:lnTo>
                    <a:lnTo>
                      <a:pt x="740" y="339"/>
                    </a:lnTo>
                    <a:lnTo>
                      <a:pt x="745" y="343"/>
                    </a:lnTo>
                    <a:lnTo>
                      <a:pt x="753" y="349"/>
                    </a:lnTo>
                    <a:lnTo>
                      <a:pt x="759" y="352"/>
                    </a:lnTo>
                    <a:lnTo>
                      <a:pt x="761" y="352"/>
                    </a:lnTo>
                    <a:lnTo>
                      <a:pt x="772" y="357"/>
                    </a:lnTo>
                    <a:lnTo>
                      <a:pt x="781" y="360"/>
                    </a:lnTo>
                    <a:lnTo>
                      <a:pt x="783" y="360"/>
                    </a:lnTo>
                    <a:lnTo>
                      <a:pt x="792" y="362"/>
                    </a:lnTo>
                    <a:lnTo>
                      <a:pt x="802" y="362"/>
                    </a:lnTo>
                    <a:lnTo>
                      <a:pt x="811" y="360"/>
                    </a:lnTo>
                    <a:lnTo>
                      <a:pt x="822" y="358"/>
                    </a:lnTo>
                    <a:lnTo>
                      <a:pt x="834" y="357"/>
                    </a:lnTo>
                    <a:lnTo>
                      <a:pt x="837" y="357"/>
                    </a:lnTo>
                    <a:lnTo>
                      <a:pt x="841" y="357"/>
                    </a:lnTo>
                    <a:lnTo>
                      <a:pt x="853" y="360"/>
                    </a:lnTo>
                    <a:lnTo>
                      <a:pt x="854" y="360"/>
                    </a:lnTo>
                    <a:lnTo>
                      <a:pt x="859" y="360"/>
                    </a:lnTo>
                    <a:lnTo>
                      <a:pt x="867" y="355"/>
                    </a:lnTo>
                    <a:lnTo>
                      <a:pt x="875" y="349"/>
                    </a:lnTo>
                    <a:lnTo>
                      <a:pt x="879" y="344"/>
                    </a:lnTo>
                    <a:lnTo>
                      <a:pt x="883" y="341"/>
                    </a:lnTo>
                    <a:lnTo>
                      <a:pt x="891" y="335"/>
                    </a:lnTo>
                    <a:lnTo>
                      <a:pt x="898" y="331"/>
                    </a:lnTo>
                    <a:lnTo>
                      <a:pt x="905" y="328"/>
                    </a:lnTo>
                    <a:lnTo>
                      <a:pt x="911" y="327"/>
                    </a:lnTo>
                    <a:lnTo>
                      <a:pt x="918" y="324"/>
                    </a:lnTo>
                    <a:lnTo>
                      <a:pt x="921" y="324"/>
                    </a:lnTo>
                    <a:lnTo>
                      <a:pt x="925" y="320"/>
                    </a:lnTo>
                    <a:lnTo>
                      <a:pt x="932" y="316"/>
                    </a:lnTo>
                    <a:lnTo>
                      <a:pt x="935" y="309"/>
                    </a:lnTo>
                    <a:lnTo>
                      <a:pt x="938" y="300"/>
                    </a:lnTo>
                    <a:lnTo>
                      <a:pt x="938" y="292"/>
                    </a:lnTo>
                    <a:lnTo>
                      <a:pt x="940" y="282"/>
                    </a:lnTo>
                    <a:lnTo>
                      <a:pt x="946" y="273"/>
                    </a:lnTo>
                    <a:lnTo>
                      <a:pt x="949" y="267"/>
                    </a:lnTo>
                    <a:lnTo>
                      <a:pt x="951" y="262"/>
                    </a:lnTo>
                    <a:lnTo>
                      <a:pt x="949" y="255"/>
                    </a:lnTo>
                    <a:lnTo>
                      <a:pt x="946" y="248"/>
                    </a:lnTo>
                    <a:lnTo>
                      <a:pt x="944" y="241"/>
                    </a:lnTo>
                    <a:lnTo>
                      <a:pt x="940" y="235"/>
                    </a:lnTo>
                    <a:lnTo>
                      <a:pt x="938" y="227"/>
                    </a:lnTo>
                    <a:lnTo>
                      <a:pt x="938" y="219"/>
                    </a:lnTo>
                    <a:lnTo>
                      <a:pt x="938" y="209"/>
                    </a:lnTo>
                    <a:lnTo>
                      <a:pt x="940" y="202"/>
                    </a:lnTo>
                    <a:lnTo>
                      <a:pt x="940" y="192"/>
                    </a:lnTo>
                    <a:lnTo>
                      <a:pt x="940" y="184"/>
                    </a:lnTo>
                    <a:lnTo>
                      <a:pt x="941" y="176"/>
                    </a:lnTo>
                    <a:lnTo>
                      <a:pt x="946" y="170"/>
                    </a:lnTo>
                    <a:lnTo>
                      <a:pt x="948" y="164"/>
                    </a:lnTo>
                    <a:lnTo>
                      <a:pt x="949" y="157"/>
                    </a:lnTo>
                    <a:lnTo>
                      <a:pt x="946" y="154"/>
                    </a:lnTo>
                    <a:lnTo>
                      <a:pt x="943" y="151"/>
                    </a:lnTo>
                    <a:lnTo>
                      <a:pt x="938" y="148"/>
                    </a:lnTo>
                    <a:lnTo>
                      <a:pt x="935" y="145"/>
                    </a:lnTo>
                    <a:lnTo>
                      <a:pt x="935" y="141"/>
                    </a:lnTo>
                    <a:lnTo>
                      <a:pt x="935" y="138"/>
                    </a:lnTo>
                    <a:lnTo>
                      <a:pt x="937" y="137"/>
                    </a:lnTo>
                    <a:lnTo>
                      <a:pt x="938" y="137"/>
                    </a:lnTo>
                    <a:lnTo>
                      <a:pt x="940" y="135"/>
                    </a:lnTo>
                    <a:lnTo>
                      <a:pt x="941" y="135"/>
                    </a:lnTo>
                    <a:lnTo>
                      <a:pt x="943" y="133"/>
                    </a:lnTo>
                    <a:lnTo>
                      <a:pt x="946" y="133"/>
                    </a:lnTo>
                    <a:lnTo>
                      <a:pt x="948" y="133"/>
                    </a:lnTo>
                    <a:lnTo>
                      <a:pt x="952" y="133"/>
                    </a:lnTo>
                    <a:lnTo>
                      <a:pt x="956" y="132"/>
                    </a:lnTo>
                    <a:lnTo>
                      <a:pt x="960" y="130"/>
                    </a:lnTo>
                    <a:lnTo>
                      <a:pt x="965" y="129"/>
                    </a:lnTo>
                    <a:lnTo>
                      <a:pt x="967" y="130"/>
                    </a:lnTo>
                    <a:lnTo>
                      <a:pt x="968" y="130"/>
                    </a:lnTo>
                    <a:lnTo>
                      <a:pt x="970" y="132"/>
                    </a:lnTo>
                    <a:lnTo>
                      <a:pt x="971" y="135"/>
                    </a:lnTo>
                    <a:lnTo>
                      <a:pt x="973" y="137"/>
                    </a:lnTo>
                    <a:lnTo>
                      <a:pt x="973" y="140"/>
                    </a:lnTo>
                    <a:lnTo>
                      <a:pt x="973" y="141"/>
                    </a:lnTo>
                    <a:lnTo>
                      <a:pt x="975" y="143"/>
                    </a:lnTo>
                    <a:lnTo>
                      <a:pt x="976" y="145"/>
                    </a:lnTo>
                    <a:lnTo>
                      <a:pt x="978" y="146"/>
                    </a:lnTo>
                    <a:lnTo>
                      <a:pt x="979" y="148"/>
                    </a:lnTo>
                    <a:lnTo>
                      <a:pt x="982" y="149"/>
                    </a:lnTo>
                    <a:lnTo>
                      <a:pt x="984" y="149"/>
                    </a:lnTo>
                    <a:lnTo>
                      <a:pt x="989" y="148"/>
                    </a:lnTo>
                    <a:lnTo>
                      <a:pt x="994" y="146"/>
                    </a:lnTo>
                    <a:lnTo>
                      <a:pt x="997" y="145"/>
                    </a:lnTo>
                    <a:lnTo>
                      <a:pt x="997" y="143"/>
                    </a:lnTo>
                    <a:lnTo>
                      <a:pt x="997" y="141"/>
                    </a:lnTo>
                    <a:lnTo>
                      <a:pt x="997" y="135"/>
                    </a:lnTo>
                    <a:lnTo>
                      <a:pt x="997" y="133"/>
                    </a:lnTo>
                    <a:lnTo>
                      <a:pt x="997" y="130"/>
                    </a:lnTo>
                    <a:lnTo>
                      <a:pt x="997" y="129"/>
                    </a:lnTo>
                    <a:lnTo>
                      <a:pt x="995" y="124"/>
                    </a:lnTo>
                    <a:lnTo>
                      <a:pt x="995" y="118"/>
                    </a:lnTo>
                    <a:lnTo>
                      <a:pt x="994" y="113"/>
                    </a:lnTo>
                    <a:lnTo>
                      <a:pt x="995" y="107"/>
                    </a:lnTo>
                    <a:lnTo>
                      <a:pt x="995" y="102"/>
                    </a:lnTo>
                    <a:lnTo>
                      <a:pt x="997" y="97"/>
                    </a:lnTo>
                    <a:lnTo>
                      <a:pt x="998" y="91"/>
                    </a:lnTo>
                    <a:lnTo>
                      <a:pt x="1001" y="83"/>
                    </a:lnTo>
                    <a:lnTo>
                      <a:pt x="1003" y="76"/>
                    </a:lnTo>
                    <a:lnTo>
                      <a:pt x="1003" y="73"/>
                    </a:lnTo>
                    <a:lnTo>
                      <a:pt x="1000" y="72"/>
                    </a:lnTo>
                    <a:lnTo>
                      <a:pt x="995" y="70"/>
                    </a:lnTo>
                    <a:lnTo>
                      <a:pt x="989" y="68"/>
                    </a:lnTo>
                    <a:lnTo>
                      <a:pt x="982" y="67"/>
                    </a:lnTo>
                    <a:lnTo>
                      <a:pt x="978" y="67"/>
                    </a:lnTo>
                    <a:lnTo>
                      <a:pt x="973" y="65"/>
                    </a:lnTo>
                    <a:lnTo>
                      <a:pt x="968" y="62"/>
                    </a:lnTo>
                    <a:lnTo>
                      <a:pt x="965" y="61"/>
                    </a:lnTo>
                    <a:lnTo>
                      <a:pt x="963" y="61"/>
                    </a:lnTo>
                    <a:lnTo>
                      <a:pt x="959" y="56"/>
                    </a:lnTo>
                    <a:lnTo>
                      <a:pt x="957" y="51"/>
                    </a:lnTo>
                    <a:lnTo>
                      <a:pt x="957" y="45"/>
                    </a:lnTo>
                    <a:lnTo>
                      <a:pt x="957" y="43"/>
                    </a:lnTo>
                    <a:lnTo>
                      <a:pt x="957" y="37"/>
                    </a:lnTo>
                    <a:lnTo>
                      <a:pt x="959" y="32"/>
                    </a:lnTo>
                    <a:lnTo>
                      <a:pt x="963" y="23"/>
                    </a:lnTo>
                    <a:lnTo>
                      <a:pt x="967" y="16"/>
                    </a:lnTo>
                    <a:lnTo>
                      <a:pt x="971" y="13"/>
                    </a:lnTo>
                    <a:lnTo>
                      <a:pt x="976" y="11"/>
                    </a:lnTo>
                    <a:lnTo>
                      <a:pt x="978" y="10"/>
                    </a:lnTo>
                    <a:lnTo>
                      <a:pt x="984" y="10"/>
                    </a:lnTo>
                    <a:lnTo>
                      <a:pt x="989" y="13"/>
                    </a:lnTo>
                    <a:lnTo>
                      <a:pt x="994" y="21"/>
                    </a:lnTo>
                    <a:lnTo>
                      <a:pt x="997" y="27"/>
                    </a:lnTo>
                    <a:lnTo>
                      <a:pt x="1000" y="30"/>
                    </a:lnTo>
                    <a:lnTo>
                      <a:pt x="1006" y="27"/>
                    </a:lnTo>
                    <a:lnTo>
                      <a:pt x="1016" y="23"/>
                    </a:lnTo>
                    <a:lnTo>
                      <a:pt x="1019" y="24"/>
                    </a:lnTo>
                    <a:lnTo>
                      <a:pt x="1020" y="27"/>
                    </a:lnTo>
                    <a:lnTo>
                      <a:pt x="1024" y="30"/>
                    </a:lnTo>
                    <a:lnTo>
                      <a:pt x="1027" y="35"/>
                    </a:lnTo>
                    <a:lnTo>
                      <a:pt x="1030" y="37"/>
                    </a:lnTo>
                    <a:lnTo>
                      <a:pt x="1035" y="34"/>
                    </a:lnTo>
                    <a:lnTo>
                      <a:pt x="1038" y="32"/>
                    </a:lnTo>
                    <a:lnTo>
                      <a:pt x="1039" y="32"/>
                    </a:lnTo>
                    <a:lnTo>
                      <a:pt x="1044" y="32"/>
                    </a:lnTo>
                    <a:lnTo>
                      <a:pt x="1049" y="35"/>
                    </a:lnTo>
                    <a:lnTo>
                      <a:pt x="1054" y="37"/>
                    </a:lnTo>
                    <a:lnTo>
                      <a:pt x="1060" y="37"/>
                    </a:lnTo>
                    <a:lnTo>
                      <a:pt x="1066" y="37"/>
                    </a:lnTo>
                    <a:lnTo>
                      <a:pt x="1073" y="37"/>
                    </a:lnTo>
                    <a:lnTo>
                      <a:pt x="1081" y="32"/>
                    </a:lnTo>
                    <a:lnTo>
                      <a:pt x="1087" y="26"/>
                    </a:lnTo>
                    <a:lnTo>
                      <a:pt x="1092" y="24"/>
                    </a:lnTo>
                    <a:lnTo>
                      <a:pt x="1098" y="27"/>
                    </a:lnTo>
                    <a:lnTo>
                      <a:pt x="1106" y="29"/>
                    </a:lnTo>
                    <a:lnTo>
                      <a:pt x="1109" y="29"/>
                    </a:lnTo>
                    <a:lnTo>
                      <a:pt x="1116" y="26"/>
                    </a:lnTo>
                    <a:lnTo>
                      <a:pt x="1122" y="21"/>
                    </a:lnTo>
                    <a:lnTo>
                      <a:pt x="1125" y="21"/>
                    </a:lnTo>
                    <a:lnTo>
                      <a:pt x="1128" y="23"/>
                    </a:lnTo>
                    <a:lnTo>
                      <a:pt x="1133" y="24"/>
                    </a:lnTo>
                    <a:lnTo>
                      <a:pt x="1136" y="23"/>
                    </a:lnTo>
                    <a:lnTo>
                      <a:pt x="1138" y="23"/>
                    </a:lnTo>
                    <a:lnTo>
                      <a:pt x="1139" y="21"/>
                    </a:lnTo>
                    <a:lnTo>
                      <a:pt x="1144" y="21"/>
                    </a:lnTo>
                    <a:lnTo>
                      <a:pt x="1146" y="21"/>
                    </a:lnTo>
                    <a:lnTo>
                      <a:pt x="1147" y="16"/>
                    </a:lnTo>
                    <a:lnTo>
                      <a:pt x="1149" y="16"/>
                    </a:lnTo>
                    <a:lnTo>
                      <a:pt x="1154" y="15"/>
                    </a:lnTo>
                    <a:lnTo>
                      <a:pt x="1158" y="15"/>
                    </a:lnTo>
                    <a:lnTo>
                      <a:pt x="1160" y="15"/>
                    </a:lnTo>
                    <a:lnTo>
                      <a:pt x="1161" y="16"/>
                    </a:lnTo>
                    <a:lnTo>
                      <a:pt x="1165" y="19"/>
                    </a:lnTo>
                    <a:lnTo>
                      <a:pt x="1166" y="19"/>
                    </a:lnTo>
                    <a:lnTo>
                      <a:pt x="1171" y="18"/>
                    </a:lnTo>
                    <a:lnTo>
                      <a:pt x="1177" y="15"/>
                    </a:lnTo>
                    <a:lnTo>
                      <a:pt x="1184" y="15"/>
                    </a:lnTo>
                    <a:lnTo>
                      <a:pt x="1192" y="16"/>
                    </a:lnTo>
                    <a:lnTo>
                      <a:pt x="1196" y="18"/>
                    </a:lnTo>
                    <a:lnTo>
                      <a:pt x="1198" y="23"/>
                    </a:lnTo>
                    <a:lnTo>
                      <a:pt x="1201" y="24"/>
                    </a:lnTo>
                    <a:lnTo>
                      <a:pt x="1204" y="26"/>
                    </a:lnTo>
                    <a:lnTo>
                      <a:pt x="1204" y="32"/>
                    </a:lnTo>
                    <a:lnTo>
                      <a:pt x="1203" y="38"/>
                    </a:lnTo>
                    <a:lnTo>
                      <a:pt x="1203" y="46"/>
                    </a:lnTo>
                    <a:lnTo>
                      <a:pt x="1207" y="54"/>
                    </a:lnTo>
                    <a:lnTo>
                      <a:pt x="1211" y="59"/>
                    </a:lnTo>
                    <a:lnTo>
                      <a:pt x="1215" y="61"/>
                    </a:lnTo>
                    <a:lnTo>
                      <a:pt x="1220" y="57"/>
                    </a:lnTo>
                    <a:lnTo>
                      <a:pt x="1223" y="56"/>
                    </a:lnTo>
                    <a:lnTo>
                      <a:pt x="1225" y="54"/>
                    </a:lnTo>
                    <a:lnTo>
                      <a:pt x="1230" y="53"/>
                    </a:lnTo>
                    <a:lnTo>
                      <a:pt x="1236" y="49"/>
                    </a:lnTo>
                    <a:lnTo>
                      <a:pt x="1239" y="46"/>
                    </a:lnTo>
                    <a:lnTo>
                      <a:pt x="1239" y="43"/>
                    </a:lnTo>
                    <a:lnTo>
                      <a:pt x="1242" y="37"/>
                    </a:lnTo>
                    <a:lnTo>
                      <a:pt x="1244" y="29"/>
                    </a:lnTo>
                    <a:lnTo>
                      <a:pt x="1244" y="27"/>
                    </a:lnTo>
                    <a:lnTo>
                      <a:pt x="1245" y="23"/>
                    </a:lnTo>
                    <a:lnTo>
                      <a:pt x="1249" y="18"/>
                    </a:lnTo>
                    <a:lnTo>
                      <a:pt x="1249" y="13"/>
                    </a:lnTo>
                    <a:lnTo>
                      <a:pt x="1250" y="7"/>
                    </a:lnTo>
                    <a:lnTo>
                      <a:pt x="1253" y="4"/>
                    </a:lnTo>
                    <a:lnTo>
                      <a:pt x="1260" y="5"/>
                    </a:lnTo>
                    <a:lnTo>
                      <a:pt x="1263" y="4"/>
                    </a:lnTo>
                    <a:lnTo>
                      <a:pt x="1268" y="0"/>
                    </a:lnTo>
                    <a:lnTo>
                      <a:pt x="1274" y="2"/>
                    </a:lnTo>
                    <a:lnTo>
                      <a:pt x="1279" y="4"/>
                    </a:lnTo>
                    <a:lnTo>
                      <a:pt x="1282" y="5"/>
                    </a:lnTo>
                  </a:path>
                </a:pathLst>
              </a:custGeom>
              <a:noFill/>
              <a:ln w="476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45" name="Freeform 43"/>
              <p:cNvSpPr>
                <a:spLocks/>
              </p:cNvSpPr>
              <p:nvPr/>
            </p:nvSpPr>
            <p:spPr bwMode="auto">
              <a:xfrm>
                <a:off x="2447" y="646"/>
                <a:ext cx="1033" cy="772"/>
              </a:xfrm>
              <a:custGeom>
                <a:avLst/>
                <a:gdLst>
                  <a:gd name="T0" fmla="*/ 556 w 1033"/>
                  <a:gd name="T1" fmla="*/ 111 h 772"/>
                  <a:gd name="T2" fmla="*/ 629 w 1033"/>
                  <a:gd name="T3" fmla="*/ 133 h 772"/>
                  <a:gd name="T4" fmla="*/ 727 w 1033"/>
                  <a:gd name="T5" fmla="*/ 105 h 772"/>
                  <a:gd name="T6" fmla="*/ 797 w 1033"/>
                  <a:gd name="T7" fmla="*/ 95 h 772"/>
                  <a:gd name="T8" fmla="*/ 887 w 1033"/>
                  <a:gd name="T9" fmla="*/ 111 h 772"/>
                  <a:gd name="T10" fmla="*/ 938 w 1033"/>
                  <a:gd name="T11" fmla="*/ 117 h 772"/>
                  <a:gd name="T12" fmla="*/ 1031 w 1033"/>
                  <a:gd name="T13" fmla="*/ 136 h 772"/>
                  <a:gd name="T14" fmla="*/ 996 w 1033"/>
                  <a:gd name="T15" fmla="*/ 154 h 772"/>
                  <a:gd name="T16" fmla="*/ 952 w 1033"/>
                  <a:gd name="T17" fmla="*/ 152 h 772"/>
                  <a:gd name="T18" fmla="*/ 960 w 1033"/>
                  <a:gd name="T19" fmla="*/ 171 h 772"/>
                  <a:gd name="T20" fmla="*/ 942 w 1033"/>
                  <a:gd name="T21" fmla="*/ 203 h 772"/>
                  <a:gd name="T22" fmla="*/ 965 w 1033"/>
                  <a:gd name="T23" fmla="*/ 222 h 772"/>
                  <a:gd name="T24" fmla="*/ 976 w 1033"/>
                  <a:gd name="T25" fmla="*/ 250 h 772"/>
                  <a:gd name="T26" fmla="*/ 984 w 1033"/>
                  <a:gd name="T27" fmla="*/ 287 h 772"/>
                  <a:gd name="T28" fmla="*/ 977 w 1033"/>
                  <a:gd name="T29" fmla="*/ 336 h 772"/>
                  <a:gd name="T30" fmla="*/ 984 w 1033"/>
                  <a:gd name="T31" fmla="*/ 385 h 772"/>
                  <a:gd name="T32" fmla="*/ 953 w 1033"/>
                  <a:gd name="T33" fmla="*/ 418 h 772"/>
                  <a:gd name="T34" fmla="*/ 953 w 1033"/>
                  <a:gd name="T35" fmla="*/ 475 h 772"/>
                  <a:gd name="T36" fmla="*/ 974 w 1033"/>
                  <a:gd name="T37" fmla="*/ 523 h 772"/>
                  <a:gd name="T38" fmla="*/ 969 w 1033"/>
                  <a:gd name="T39" fmla="*/ 559 h 772"/>
                  <a:gd name="T40" fmla="*/ 974 w 1033"/>
                  <a:gd name="T41" fmla="*/ 700 h 772"/>
                  <a:gd name="T42" fmla="*/ 920 w 1033"/>
                  <a:gd name="T43" fmla="*/ 765 h 772"/>
                  <a:gd name="T44" fmla="*/ 884 w 1033"/>
                  <a:gd name="T45" fmla="*/ 751 h 772"/>
                  <a:gd name="T46" fmla="*/ 841 w 1033"/>
                  <a:gd name="T47" fmla="*/ 758 h 772"/>
                  <a:gd name="T48" fmla="*/ 814 w 1033"/>
                  <a:gd name="T49" fmla="*/ 720 h 772"/>
                  <a:gd name="T50" fmla="*/ 800 w 1033"/>
                  <a:gd name="T51" fmla="*/ 670 h 772"/>
                  <a:gd name="T52" fmla="*/ 825 w 1033"/>
                  <a:gd name="T53" fmla="*/ 645 h 772"/>
                  <a:gd name="T54" fmla="*/ 825 w 1033"/>
                  <a:gd name="T55" fmla="*/ 615 h 772"/>
                  <a:gd name="T56" fmla="*/ 820 w 1033"/>
                  <a:gd name="T57" fmla="*/ 582 h 772"/>
                  <a:gd name="T58" fmla="*/ 805 w 1033"/>
                  <a:gd name="T59" fmla="*/ 547 h 772"/>
                  <a:gd name="T60" fmla="*/ 765 w 1033"/>
                  <a:gd name="T61" fmla="*/ 558 h 772"/>
                  <a:gd name="T62" fmla="*/ 748 w 1033"/>
                  <a:gd name="T63" fmla="*/ 520 h 772"/>
                  <a:gd name="T64" fmla="*/ 732 w 1033"/>
                  <a:gd name="T65" fmla="*/ 493 h 772"/>
                  <a:gd name="T66" fmla="*/ 692 w 1033"/>
                  <a:gd name="T67" fmla="*/ 485 h 772"/>
                  <a:gd name="T68" fmla="*/ 667 w 1033"/>
                  <a:gd name="T69" fmla="*/ 458 h 772"/>
                  <a:gd name="T70" fmla="*/ 651 w 1033"/>
                  <a:gd name="T71" fmla="*/ 414 h 772"/>
                  <a:gd name="T72" fmla="*/ 610 w 1033"/>
                  <a:gd name="T73" fmla="*/ 414 h 772"/>
                  <a:gd name="T74" fmla="*/ 603 w 1033"/>
                  <a:gd name="T75" fmla="*/ 404 h 772"/>
                  <a:gd name="T76" fmla="*/ 583 w 1033"/>
                  <a:gd name="T77" fmla="*/ 390 h 772"/>
                  <a:gd name="T78" fmla="*/ 562 w 1033"/>
                  <a:gd name="T79" fmla="*/ 396 h 772"/>
                  <a:gd name="T80" fmla="*/ 546 w 1033"/>
                  <a:gd name="T81" fmla="*/ 406 h 772"/>
                  <a:gd name="T82" fmla="*/ 523 w 1033"/>
                  <a:gd name="T83" fmla="*/ 411 h 772"/>
                  <a:gd name="T84" fmla="*/ 480 w 1033"/>
                  <a:gd name="T85" fmla="*/ 412 h 772"/>
                  <a:gd name="T86" fmla="*/ 443 w 1033"/>
                  <a:gd name="T87" fmla="*/ 411 h 772"/>
                  <a:gd name="T88" fmla="*/ 402 w 1033"/>
                  <a:gd name="T89" fmla="*/ 384 h 772"/>
                  <a:gd name="T90" fmla="*/ 377 w 1033"/>
                  <a:gd name="T91" fmla="*/ 385 h 772"/>
                  <a:gd name="T92" fmla="*/ 355 w 1033"/>
                  <a:gd name="T93" fmla="*/ 423 h 772"/>
                  <a:gd name="T94" fmla="*/ 315 w 1033"/>
                  <a:gd name="T95" fmla="*/ 444 h 772"/>
                  <a:gd name="T96" fmla="*/ 272 w 1033"/>
                  <a:gd name="T97" fmla="*/ 450 h 772"/>
                  <a:gd name="T98" fmla="*/ 244 w 1033"/>
                  <a:gd name="T99" fmla="*/ 452 h 772"/>
                  <a:gd name="T100" fmla="*/ 217 w 1033"/>
                  <a:gd name="T101" fmla="*/ 428 h 772"/>
                  <a:gd name="T102" fmla="*/ 171 w 1033"/>
                  <a:gd name="T103" fmla="*/ 444 h 772"/>
                  <a:gd name="T104" fmla="*/ 131 w 1033"/>
                  <a:gd name="T105" fmla="*/ 437 h 772"/>
                  <a:gd name="T106" fmla="*/ 97 w 1033"/>
                  <a:gd name="T107" fmla="*/ 411 h 772"/>
                  <a:gd name="T108" fmla="*/ 57 w 1033"/>
                  <a:gd name="T109" fmla="*/ 387 h 772"/>
                  <a:gd name="T110" fmla="*/ 16 w 1033"/>
                  <a:gd name="T111" fmla="*/ 361 h 772"/>
                  <a:gd name="T112" fmla="*/ 1 w 1033"/>
                  <a:gd name="T113" fmla="*/ 281 h 772"/>
                  <a:gd name="T114" fmla="*/ 71 w 1033"/>
                  <a:gd name="T115" fmla="*/ 173 h 772"/>
                  <a:gd name="T116" fmla="*/ 192 w 1033"/>
                  <a:gd name="T117" fmla="*/ 170 h 772"/>
                  <a:gd name="T118" fmla="*/ 266 w 1033"/>
                  <a:gd name="T119" fmla="*/ 148 h 772"/>
                  <a:gd name="T120" fmla="*/ 344 w 1033"/>
                  <a:gd name="T121" fmla="*/ 146 h 772"/>
                  <a:gd name="T122" fmla="*/ 423 w 1033"/>
                  <a:gd name="T123" fmla="*/ 8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33" h="772">
                    <a:moveTo>
                      <a:pt x="491" y="64"/>
                    </a:moveTo>
                    <a:lnTo>
                      <a:pt x="496" y="64"/>
                    </a:lnTo>
                    <a:lnTo>
                      <a:pt x="497" y="64"/>
                    </a:lnTo>
                    <a:lnTo>
                      <a:pt x="502" y="62"/>
                    </a:lnTo>
                    <a:lnTo>
                      <a:pt x="504" y="62"/>
                    </a:lnTo>
                    <a:lnTo>
                      <a:pt x="505" y="62"/>
                    </a:lnTo>
                    <a:lnTo>
                      <a:pt x="507" y="60"/>
                    </a:lnTo>
                    <a:lnTo>
                      <a:pt x="508" y="60"/>
                    </a:lnTo>
                    <a:lnTo>
                      <a:pt x="510" y="59"/>
                    </a:lnTo>
                    <a:lnTo>
                      <a:pt x="512" y="59"/>
                    </a:lnTo>
                    <a:lnTo>
                      <a:pt x="513" y="60"/>
                    </a:lnTo>
                    <a:lnTo>
                      <a:pt x="518" y="60"/>
                    </a:lnTo>
                    <a:lnTo>
                      <a:pt x="521" y="60"/>
                    </a:lnTo>
                    <a:lnTo>
                      <a:pt x="524" y="62"/>
                    </a:lnTo>
                    <a:lnTo>
                      <a:pt x="526" y="64"/>
                    </a:lnTo>
                    <a:lnTo>
                      <a:pt x="527" y="65"/>
                    </a:lnTo>
                    <a:lnTo>
                      <a:pt x="529" y="65"/>
                    </a:lnTo>
                    <a:lnTo>
                      <a:pt x="529" y="68"/>
                    </a:lnTo>
                    <a:lnTo>
                      <a:pt x="529" y="70"/>
                    </a:lnTo>
                    <a:lnTo>
                      <a:pt x="531" y="71"/>
                    </a:lnTo>
                    <a:lnTo>
                      <a:pt x="531" y="73"/>
                    </a:lnTo>
                    <a:lnTo>
                      <a:pt x="531" y="76"/>
                    </a:lnTo>
                    <a:lnTo>
                      <a:pt x="531" y="78"/>
                    </a:lnTo>
                    <a:lnTo>
                      <a:pt x="531" y="79"/>
                    </a:lnTo>
                    <a:lnTo>
                      <a:pt x="531" y="81"/>
                    </a:lnTo>
                    <a:lnTo>
                      <a:pt x="534" y="83"/>
                    </a:lnTo>
                    <a:lnTo>
                      <a:pt x="534" y="84"/>
                    </a:lnTo>
                    <a:lnTo>
                      <a:pt x="535" y="84"/>
                    </a:lnTo>
                    <a:lnTo>
                      <a:pt x="537" y="86"/>
                    </a:lnTo>
                    <a:lnTo>
                      <a:pt x="538" y="86"/>
                    </a:lnTo>
                    <a:lnTo>
                      <a:pt x="540" y="87"/>
                    </a:lnTo>
                    <a:lnTo>
                      <a:pt x="542" y="89"/>
                    </a:lnTo>
                    <a:lnTo>
                      <a:pt x="543" y="92"/>
                    </a:lnTo>
                    <a:lnTo>
                      <a:pt x="546" y="97"/>
                    </a:lnTo>
                    <a:lnTo>
                      <a:pt x="548" y="98"/>
                    </a:lnTo>
                    <a:lnTo>
                      <a:pt x="550" y="105"/>
                    </a:lnTo>
                    <a:lnTo>
                      <a:pt x="553" y="108"/>
                    </a:lnTo>
                    <a:lnTo>
                      <a:pt x="554" y="109"/>
                    </a:lnTo>
                    <a:lnTo>
                      <a:pt x="554" y="111"/>
                    </a:lnTo>
                    <a:lnTo>
                      <a:pt x="556" y="111"/>
                    </a:lnTo>
                    <a:lnTo>
                      <a:pt x="556" y="113"/>
                    </a:lnTo>
                    <a:lnTo>
                      <a:pt x="556" y="114"/>
                    </a:lnTo>
                    <a:lnTo>
                      <a:pt x="556" y="116"/>
                    </a:lnTo>
                    <a:lnTo>
                      <a:pt x="557" y="117"/>
                    </a:lnTo>
                    <a:lnTo>
                      <a:pt x="561" y="119"/>
                    </a:lnTo>
                    <a:lnTo>
                      <a:pt x="562" y="119"/>
                    </a:lnTo>
                    <a:lnTo>
                      <a:pt x="564" y="119"/>
                    </a:lnTo>
                    <a:lnTo>
                      <a:pt x="567" y="121"/>
                    </a:lnTo>
                    <a:lnTo>
                      <a:pt x="569" y="122"/>
                    </a:lnTo>
                    <a:lnTo>
                      <a:pt x="570" y="124"/>
                    </a:lnTo>
                    <a:lnTo>
                      <a:pt x="572" y="125"/>
                    </a:lnTo>
                    <a:lnTo>
                      <a:pt x="573" y="125"/>
                    </a:lnTo>
                    <a:lnTo>
                      <a:pt x="573" y="127"/>
                    </a:lnTo>
                    <a:lnTo>
                      <a:pt x="575" y="128"/>
                    </a:lnTo>
                    <a:lnTo>
                      <a:pt x="576" y="132"/>
                    </a:lnTo>
                    <a:lnTo>
                      <a:pt x="578" y="135"/>
                    </a:lnTo>
                    <a:lnTo>
                      <a:pt x="580" y="136"/>
                    </a:lnTo>
                    <a:lnTo>
                      <a:pt x="580" y="138"/>
                    </a:lnTo>
                    <a:lnTo>
                      <a:pt x="581" y="140"/>
                    </a:lnTo>
                    <a:lnTo>
                      <a:pt x="583" y="140"/>
                    </a:lnTo>
                    <a:lnTo>
                      <a:pt x="583" y="141"/>
                    </a:lnTo>
                    <a:lnTo>
                      <a:pt x="586" y="140"/>
                    </a:lnTo>
                    <a:lnTo>
                      <a:pt x="588" y="140"/>
                    </a:lnTo>
                    <a:lnTo>
                      <a:pt x="589" y="140"/>
                    </a:lnTo>
                    <a:lnTo>
                      <a:pt x="591" y="140"/>
                    </a:lnTo>
                    <a:lnTo>
                      <a:pt x="592" y="138"/>
                    </a:lnTo>
                    <a:lnTo>
                      <a:pt x="594" y="140"/>
                    </a:lnTo>
                    <a:lnTo>
                      <a:pt x="595" y="140"/>
                    </a:lnTo>
                    <a:lnTo>
                      <a:pt x="597" y="140"/>
                    </a:lnTo>
                    <a:lnTo>
                      <a:pt x="600" y="141"/>
                    </a:lnTo>
                    <a:lnTo>
                      <a:pt x="602" y="141"/>
                    </a:lnTo>
                    <a:lnTo>
                      <a:pt x="603" y="140"/>
                    </a:lnTo>
                    <a:lnTo>
                      <a:pt x="607" y="140"/>
                    </a:lnTo>
                    <a:lnTo>
                      <a:pt x="608" y="140"/>
                    </a:lnTo>
                    <a:lnTo>
                      <a:pt x="611" y="138"/>
                    </a:lnTo>
                    <a:lnTo>
                      <a:pt x="614" y="136"/>
                    </a:lnTo>
                    <a:lnTo>
                      <a:pt x="616" y="136"/>
                    </a:lnTo>
                    <a:lnTo>
                      <a:pt x="619" y="133"/>
                    </a:lnTo>
                    <a:lnTo>
                      <a:pt x="624" y="132"/>
                    </a:lnTo>
                    <a:lnTo>
                      <a:pt x="629" y="133"/>
                    </a:lnTo>
                    <a:lnTo>
                      <a:pt x="632" y="133"/>
                    </a:lnTo>
                    <a:lnTo>
                      <a:pt x="634" y="135"/>
                    </a:lnTo>
                    <a:lnTo>
                      <a:pt x="635" y="133"/>
                    </a:lnTo>
                    <a:lnTo>
                      <a:pt x="637" y="133"/>
                    </a:lnTo>
                    <a:lnTo>
                      <a:pt x="638" y="133"/>
                    </a:lnTo>
                    <a:lnTo>
                      <a:pt x="641" y="133"/>
                    </a:lnTo>
                    <a:lnTo>
                      <a:pt x="643" y="132"/>
                    </a:lnTo>
                    <a:lnTo>
                      <a:pt x="646" y="130"/>
                    </a:lnTo>
                    <a:lnTo>
                      <a:pt x="651" y="127"/>
                    </a:lnTo>
                    <a:lnTo>
                      <a:pt x="656" y="125"/>
                    </a:lnTo>
                    <a:lnTo>
                      <a:pt x="659" y="125"/>
                    </a:lnTo>
                    <a:lnTo>
                      <a:pt x="665" y="128"/>
                    </a:lnTo>
                    <a:lnTo>
                      <a:pt x="667" y="128"/>
                    </a:lnTo>
                    <a:lnTo>
                      <a:pt x="668" y="128"/>
                    </a:lnTo>
                    <a:lnTo>
                      <a:pt x="670" y="127"/>
                    </a:lnTo>
                    <a:lnTo>
                      <a:pt x="672" y="127"/>
                    </a:lnTo>
                    <a:lnTo>
                      <a:pt x="673" y="127"/>
                    </a:lnTo>
                    <a:lnTo>
                      <a:pt x="676" y="125"/>
                    </a:lnTo>
                    <a:lnTo>
                      <a:pt x="678" y="125"/>
                    </a:lnTo>
                    <a:lnTo>
                      <a:pt x="679" y="125"/>
                    </a:lnTo>
                    <a:lnTo>
                      <a:pt x="684" y="125"/>
                    </a:lnTo>
                    <a:lnTo>
                      <a:pt x="686" y="124"/>
                    </a:lnTo>
                    <a:lnTo>
                      <a:pt x="689" y="122"/>
                    </a:lnTo>
                    <a:lnTo>
                      <a:pt x="692" y="122"/>
                    </a:lnTo>
                    <a:lnTo>
                      <a:pt x="694" y="121"/>
                    </a:lnTo>
                    <a:lnTo>
                      <a:pt x="694" y="119"/>
                    </a:lnTo>
                    <a:lnTo>
                      <a:pt x="695" y="119"/>
                    </a:lnTo>
                    <a:lnTo>
                      <a:pt x="697" y="119"/>
                    </a:lnTo>
                    <a:lnTo>
                      <a:pt x="698" y="117"/>
                    </a:lnTo>
                    <a:lnTo>
                      <a:pt x="705" y="119"/>
                    </a:lnTo>
                    <a:lnTo>
                      <a:pt x="706" y="119"/>
                    </a:lnTo>
                    <a:lnTo>
                      <a:pt x="706" y="117"/>
                    </a:lnTo>
                    <a:lnTo>
                      <a:pt x="710" y="117"/>
                    </a:lnTo>
                    <a:lnTo>
                      <a:pt x="713" y="116"/>
                    </a:lnTo>
                    <a:lnTo>
                      <a:pt x="716" y="114"/>
                    </a:lnTo>
                    <a:lnTo>
                      <a:pt x="719" y="111"/>
                    </a:lnTo>
                    <a:lnTo>
                      <a:pt x="721" y="109"/>
                    </a:lnTo>
                    <a:lnTo>
                      <a:pt x="721" y="108"/>
                    </a:lnTo>
                    <a:lnTo>
                      <a:pt x="722" y="106"/>
                    </a:lnTo>
                    <a:lnTo>
                      <a:pt x="727" y="105"/>
                    </a:lnTo>
                    <a:lnTo>
                      <a:pt x="730" y="105"/>
                    </a:lnTo>
                    <a:lnTo>
                      <a:pt x="732" y="105"/>
                    </a:lnTo>
                    <a:lnTo>
                      <a:pt x="732" y="103"/>
                    </a:lnTo>
                    <a:lnTo>
                      <a:pt x="733" y="103"/>
                    </a:lnTo>
                    <a:lnTo>
                      <a:pt x="735" y="102"/>
                    </a:lnTo>
                    <a:lnTo>
                      <a:pt x="738" y="100"/>
                    </a:lnTo>
                    <a:lnTo>
                      <a:pt x="741" y="98"/>
                    </a:lnTo>
                    <a:lnTo>
                      <a:pt x="743" y="97"/>
                    </a:lnTo>
                    <a:lnTo>
                      <a:pt x="744" y="94"/>
                    </a:lnTo>
                    <a:lnTo>
                      <a:pt x="746" y="92"/>
                    </a:lnTo>
                    <a:lnTo>
                      <a:pt x="746" y="90"/>
                    </a:lnTo>
                    <a:lnTo>
                      <a:pt x="748" y="87"/>
                    </a:lnTo>
                    <a:lnTo>
                      <a:pt x="748" y="86"/>
                    </a:lnTo>
                    <a:lnTo>
                      <a:pt x="749" y="84"/>
                    </a:lnTo>
                    <a:lnTo>
                      <a:pt x="749" y="83"/>
                    </a:lnTo>
                    <a:lnTo>
                      <a:pt x="751" y="81"/>
                    </a:lnTo>
                    <a:lnTo>
                      <a:pt x="751" y="79"/>
                    </a:lnTo>
                    <a:lnTo>
                      <a:pt x="751" y="78"/>
                    </a:lnTo>
                    <a:lnTo>
                      <a:pt x="752" y="78"/>
                    </a:lnTo>
                    <a:lnTo>
                      <a:pt x="754" y="78"/>
                    </a:lnTo>
                    <a:lnTo>
                      <a:pt x="755" y="78"/>
                    </a:lnTo>
                    <a:lnTo>
                      <a:pt x="757" y="76"/>
                    </a:lnTo>
                    <a:lnTo>
                      <a:pt x="757" y="75"/>
                    </a:lnTo>
                    <a:lnTo>
                      <a:pt x="760" y="75"/>
                    </a:lnTo>
                    <a:lnTo>
                      <a:pt x="762" y="75"/>
                    </a:lnTo>
                    <a:lnTo>
                      <a:pt x="763" y="73"/>
                    </a:lnTo>
                    <a:lnTo>
                      <a:pt x="768" y="75"/>
                    </a:lnTo>
                    <a:lnTo>
                      <a:pt x="773" y="76"/>
                    </a:lnTo>
                    <a:lnTo>
                      <a:pt x="774" y="76"/>
                    </a:lnTo>
                    <a:lnTo>
                      <a:pt x="776" y="78"/>
                    </a:lnTo>
                    <a:lnTo>
                      <a:pt x="778" y="78"/>
                    </a:lnTo>
                    <a:lnTo>
                      <a:pt x="778" y="79"/>
                    </a:lnTo>
                    <a:lnTo>
                      <a:pt x="782" y="83"/>
                    </a:lnTo>
                    <a:lnTo>
                      <a:pt x="784" y="84"/>
                    </a:lnTo>
                    <a:lnTo>
                      <a:pt x="787" y="86"/>
                    </a:lnTo>
                    <a:lnTo>
                      <a:pt x="789" y="86"/>
                    </a:lnTo>
                    <a:lnTo>
                      <a:pt x="793" y="89"/>
                    </a:lnTo>
                    <a:lnTo>
                      <a:pt x="795" y="92"/>
                    </a:lnTo>
                    <a:lnTo>
                      <a:pt x="797" y="94"/>
                    </a:lnTo>
                    <a:lnTo>
                      <a:pt x="797" y="95"/>
                    </a:lnTo>
                    <a:lnTo>
                      <a:pt x="798" y="97"/>
                    </a:lnTo>
                    <a:lnTo>
                      <a:pt x="800" y="100"/>
                    </a:lnTo>
                    <a:lnTo>
                      <a:pt x="801" y="103"/>
                    </a:lnTo>
                    <a:lnTo>
                      <a:pt x="803" y="108"/>
                    </a:lnTo>
                    <a:lnTo>
                      <a:pt x="805" y="111"/>
                    </a:lnTo>
                    <a:lnTo>
                      <a:pt x="806" y="116"/>
                    </a:lnTo>
                    <a:lnTo>
                      <a:pt x="808" y="121"/>
                    </a:lnTo>
                    <a:lnTo>
                      <a:pt x="809" y="122"/>
                    </a:lnTo>
                    <a:lnTo>
                      <a:pt x="809" y="125"/>
                    </a:lnTo>
                    <a:lnTo>
                      <a:pt x="811" y="127"/>
                    </a:lnTo>
                    <a:lnTo>
                      <a:pt x="813" y="127"/>
                    </a:lnTo>
                    <a:lnTo>
                      <a:pt x="814" y="127"/>
                    </a:lnTo>
                    <a:lnTo>
                      <a:pt x="816" y="127"/>
                    </a:lnTo>
                    <a:lnTo>
                      <a:pt x="817" y="127"/>
                    </a:lnTo>
                    <a:lnTo>
                      <a:pt x="819" y="127"/>
                    </a:lnTo>
                    <a:lnTo>
                      <a:pt x="820" y="127"/>
                    </a:lnTo>
                    <a:lnTo>
                      <a:pt x="825" y="125"/>
                    </a:lnTo>
                    <a:lnTo>
                      <a:pt x="828" y="124"/>
                    </a:lnTo>
                    <a:lnTo>
                      <a:pt x="830" y="122"/>
                    </a:lnTo>
                    <a:lnTo>
                      <a:pt x="833" y="121"/>
                    </a:lnTo>
                    <a:lnTo>
                      <a:pt x="836" y="119"/>
                    </a:lnTo>
                    <a:lnTo>
                      <a:pt x="836" y="117"/>
                    </a:lnTo>
                    <a:lnTo>
                      <a:pt x="839" y="117"/>
                    </a:lnTo>
                    <a:lnTo>
                      <a:pt x="841" y="116"/>
                    </a:lnTo>
                    <a:lnTo>
                      <a:pt x="846" y="113"/>
                    </a:lnTo>
                    <a:lnTo>
                      <a:pt x="847" y="113"/>
                    </a:lnTo>
                    <a:lnTo>
                      <a:pt x="849" y="111"/>
                    </a:lnTo>
                    <a:lnTo>
                      <a:pt x="852" y="111"/>
                    </a:lnTo>
                    <a:lnTo>
                      <a:pt x="854" y="109"/>
                    </a:lnTo>
                    <a:lnTo>
                      <a:pt x="857" y="109"/>
                    </a:lnTo>
                    <a:lnTo>
                      <a:pt x="863" y="109"/>
                    </a:lnTo>
                    <a:lnTo>
                      <a:pt x="866" y="109"/>
                    </a:lnTo>
                    <a:lnTo>
                      <a:pt x="870" y="109"/>
                    </a:lnTo>
                    <a:lnTo>
                      <a:pt x="871" y="109"/>
                    </a:lnTo>
                    <a:lnTo>
                      <a:pt x="874" y="109"/>
                    </a:lnTo>
                    <a:lnTo>
                      <a:pt x="876" y="109"/>
                    </a:lnTo>
                    <a:lnTo>
                      <a:pt x="879" y="109"/>
                    </a:lnTo>
                    <a:lnTo>
                      <a:pt x="881" y="111"/>
                    </a:lnTo>
                    <a:lnTo>
                      <a:pt x="885" y="111"/>
                    </a:lnTo>
                    <a:lnTo>
                      <a:pt x="887" y="111"/>
                    </a:lnTo>
                    <a:lnTo>
                      <a:pt x="890" y="106"/>
                    </a:lnTo>
                    <a:lnTo>
                      <a:pt x="892" y="106"/>
                    </a:lnTo>
                    <a:lnTo>
                      <a:pt x="895" y="106"/>
                    </a:lnTo>
                    <a:lnTo>
                      <a:pt x="895" y="105"/>
                    </a:lnTo>
                    <a:lnTo>
                      <a:pt x="896" y="105"/>
                    </a:lnTo>
                    <a:lnTo>
                      <a:pt x="896" y="103"/>
                    </a:lnTo>
                    <a:lnTo>
                      <a:pt x="896" y="100"/>
                    </a:lnTo>
                    <a:lnTo>
                      <a:pt x="898" y="98"/>
                    </a:lnTo>
                    <a:lnTo>
                      <a:pt x="900" y="97"/>
                    </a:lnTo>
                    <a:lnTo>
                      <a:pt x="901" y="95"/>
                    </a:lnTo>
                    <a:lnTo>
                      <a:pt x="904" y="95"/>
                    </a:lnTo>
                    <a:lnTo>
                      <a:pt x="906" y="95"/>
                    </a:lnTo>
                    <a:lnTo>
                      <a:pt x="912" y="100"/>
                    </a:lnTo>
                    <a:lnTo>
                      <a:pt x="915" y="103"/>
                    </a:lnTo>
                    <a:lnTo>
                      <a:pt x="919" y="105"/>
                    </a:lnTo>
                    <a:lnTo>
                      <a:pt x="919" y="106"/>
                    </a:lnTo>
                    <a:lnTo>
                      <a:pt x="917" y="106"/>
                    </a:lnTo>
                    <a:lnTo>
                      <a:pt x="915" y="106"/>
                    </a:lnTo>
                    <a:lnTo>
                      <a:pt x="915" y="108"/>
                    </a:lnTo>
                    <a:lnTo>
                      <a:pt x="914" y="108"/>
                    </a:lnTo>
                    <a:lnTo>
                      <a:pt x="912" y="108"/>
                    </a:lnTo>
                    <a:lnTo>
                      <a:pt x="912" y="109"/>
                    </a:lnTo>
                    <a:lnTo>
                      <a:pt x="911" y="109"/>
                    </a:lnTo>
                    <a:lnTo>
                      <a:pt x="909" y="109"/>
                    </a:lnTo>
                    <a:lnTo>
                      <a:pt x="908" y="111"/>
                    </a:lnTo>
                    <a:lnTo>
                      <a:pt x="906" y="113"/>
                    </a:lnTo>
                    <a:lnTo>
                      <a:pt x="904" y="113"/>
                    </a:lnTo>
                    <a:lnTo>
                      <a:pt x="903" y="114"/>
                    </a:lnTo>
                    <a:lnTo>
                      <a:pt x="901" y="114"/>
                    </a:lnTo>
                    <a:lnTo>
                      <a:pt x="900" y="114"/>
                    </a:lnTo>
                    <a:lnTo>
                      <a:pt x="901" y="114"/>
                    </a:lnTo>
                    <a:lnTo>
                      <a:pt x="903" y="116"/>
                    </a:lnTo>
                    <a:lnTo>
                      <a:pt x="904" y="117"/>
                    </a:lnTo>
                    <a:lnTo>
                      <a:pt x="909" y="114"/>
                    </a:lnTo>
                    <a:lnTo>
                      <a:pt x="911" y="114"/>
                    </a:lnTo>
                    <a:lnTo>
                      <a:pt x="915" y="113"/>
                    </a:lnTo>
                    <a:lnTo>
                      <a:pt x="922" y="113"/>
                    </a:lnTo>
                    <a:lnTo>
                      <a:pt x="928" y="114"/>
                    </a:lnTo>
                    <a:lnTo>
                      <a:pt x="934" y="116"/>
                    </a:lnTo>
                    <a:lnTo>
                      <a:pt x="938" y="117"/>
                    </a:lnTo>
                    <a:lnTo>
                      <a:pt x="942" y="119"/>
                    </a:lnTo>
                    <a:lnTo>
                      <a:pt x="946" y="121"/>
                    </a:lnTo>
                    <a:lnTo>
                      <a:pt x="952" y="121"/>
                    </a:lnTo>
                    <a:lnTo>
                      <a:pt x="955" y="121"/>
                    </a:lnTo>
                    <a:lnTo>
                      <a:pt x="958" y="121"/>
                    </a:lnTo>
                    <a:lnTo>
                      <a:pt x="961" y="119"/>
                    </a:lnTo>
                    <a:lnTo>
                      <a:pt x="966" y="117"/>
                    </a:lnTo>
                    <a:lnTo>
                      <a:pt x="969" y="116"/>
                    </a:lnTo>
                    <a:lnTo>
                      <a:pt x="972" y="114"/>
                    </a:lnTo>
                    <a:lnTo>
                      <a:pt x="974" y="114"/>
                    </a:lnTo>
                    <a:lnTo>
                      <a:pt x="976" y="116"/>
                    </a:lnTo>
                    <a:lnTo>
                      <a:pt x="977" y="116"/>
                    </a:lnTo>
                    <a:lnTo>
                      <a:pt x="980" y="119"/>
                    </a:lnTo>
                    <a:lnTo>
                      <a:pt x="982" y="119"/>
                    </a:lnTo>
                    <a:lnTo>
                      <a:pt x="984" y="121"/>
                    </a:lnTo>
                    <a:lnTo>
                      <a:pt x="985" y="121"/>
                    </a:lnTo>
                    <a:lnTo>
                      <a:pt x="988" y="122"/>
                    </a:lnTo>
                    <a:lnTo>
                      <a:pt x="990" y="122"/>
                    </a:lnTo>
                    <a:lnTo>
                      <a:pt x="991" y="122"/>
                    </a:lnTo>
                    <a:lnTo>
                      <a:pt x="993" y="122"/>
                    </a:lnTo>
                    <a:lnTo>
                      <a:pt x="998" y="125"/>
                    </a:lnTo>
                    <a:lnTo>
                      <a:pt x="1003" y="128"/>
                    </a:lnTo>
                    <a:lnTo>
                      <a:pt x="1006" y="133"/>
                    </a:lnTo>
                    <a:lnTo>
                      <a:pt x="1009" y="138"/>
                    </a:lnTo>
                    <a:lnTo>
                      <a:pt x="1012" y="140"/>
                    </a:lnTo>
                    <a:lnTo>
                      <a:pt x="1017" y="141"/>
                    </a:lnTo>
                    <a:lnTo>
                      <a:pt x="1018" y="141"/>
                    </a:lnTo>
                    <a:lnTo>
                      <a:pt x="1020" y="143"/>
                    </a:lnTo>
                    <a:lnTo>
                      <a:pt x="1023" y="141"/>
                    </a:lnTo>
                    <a:lnTo>
                      <a:pt x="1025" y="141"/>
                    </a:lnTo>
                    <a:lnTo>
                      <a:pt x="1026" y="138"/>
                    </a:lnTo>
                    <a:lnTo>
                      <a:pt x="1028" y="136"/>
                    </a:lnTo>
                    <a:lnTo>
                      <a:pt x="1028" y="135"/>
                    </a:lnTo>
                    <a:lnTo>
                      <a:pt x="1028" y="133"/>
                    </a:lnTo>
                    <a:lnTo>
                      <a:pt x="1030" y="133"/>
                    </a:lnTo>
                    <a:lnTo>
                      <a:pt x="1030" y="132"/>
                    </a:lnTo>
                    <a:lnTo>
                      <a:pt x="1030" y="133"/>
                    </a:lnTo>
                    <a:lnTo>
                      <a:pt x="1031" y="133"/>
                    </a:lnTo>
                    <a:lnTo>
                      <a:pt x="1031" y="135"/>
                    </a:lnTo>
                    <a:lnTo>
                      <a:pt x="1031" y="136"/>
                    </a:lnTo>
                    <a:lnTo>
                      <a:pt x="1031" y="138"/>
                    </a:lnTo>
                    <a:lnTo>
                      <a:pt x="1031" y="140"/>
                    </a:lnTo>
                    <a:lnTo>
                      <a:pt x="1030" y="140"/>
                    </a:lnTo>
                    <a:lnTo>
                      <a:pt x="1030" y="141"/>
                    </a:lnTo>
                    <a:lnTo>
                      <a:pt x="1030" y="143"/>
                    </a:lnTo>
                    <a:lnTo>
                      <a:pt x="1031" y="144"/>
                    </a:lnTo>
                    <a:lnTo>
                      <a:pt x="1031" y="146"/>
                    </a:lnTo>
                    <a:lnTo>
                      <a:pt x="1031" y="148"/>
                    </a:lnTo>
                    <a:lnTo>
                      <a:pt x="1033" y="148"/>
                    </a:lnTo>
                    <a:lnTo>
                      <a:pt x="1033" y="149"/>
                    </a:lnTo>
                    <a:lnTo>
                      <a:pt x="1033" y="151"/>
                    </a:lnTo>
                    <a:lnTo>
                      <a:pt x="1031" y="151"/>
                    </a:lnTo>
                    <a:lnTo>
                      <a:pt x="1031" y="152"/>
                    </a:lnTo>
                    <a:lnTo>
                      <a:pt x="1030" y="152"/>
                    </a:lnTo>
                    <a:lnTo>
                      <a:pt x="1030" y="154"/>
                    </a:lnTo>
                    <a:lnTo>
                      <a:pt x="1028" y="154"/>
                    </a:lnTo>
                    <a:lnTo>
                      <a:pt x="1026" y="154"/>
                    </a:lnTo>
                    <a:lnTo>
                      <a:pt x="1025" y="155"/>
                    </a:lnTo>
                    <a:lnTo>
                      <a:pt x="1023" y="155"/>
                    </a:lnTo>
                    <a:lnTo>
                      <a:pt x="1022" y="155"/>
                    </a:lnTo>
                    <a:lnTo>
                      <a:pt x="1022" y="157"/>
                    </a:lnTo>
                    <a:lnTo>
                      <a:pt x="1020" y="157"/>
                    </a:lnTo>
                    <a:lnTo>
                      <a:pt x="1018" y="157"/>
                    </a:lnTo>
                    <a:lnTo>
                      <a:pt x="1017" y="155"/>
                    </a:lnTo>
                    <a:lnTo>
                      <a:pt x="1015" y="155"/>
                    </a:lnTo>
                    <a:lnTo>
                      <a:pt x="1014" y="155"/>
                    </a:lnTo>
                    <a:lnTo>
                      <a:pt x="1012" y="155"/>
                    </a:lnTo>
                    <a:lnTo>
                      <a:pt x="1012" y="154"/>
                    </a:lnTo>
                    <a:lnTo>
                      <a:pt x="1011" y="154"/>
                    </a:lnTo>
                    <a:lnTo>
                      <a:pt x="1009" y="154"/>
                    </a:lnTo>
                    <a:lnTo>
                      <a:pt x="1009" y="155"/>
                    </a:lnTo>
                    <a:lnTo>
                      <a:pt x="1007" y="155"/>
                    </a:lnTo>
                    <a:lnTo>
                      <a:pt x="1006" y="155"/>
                    </a:lnTo>
                    <a:lnTo>
                      <a:pt x="1006" y="154"/>
                    </a:lnTo>
                    <a:lnTo>
                      <a:pt x="1004" y="154"/>
                    </a:lnTo>
                    <a:lnTo>
                      <a:pt x="1003" y="154"/>
                    </a:lnTo>
                    <a:lnTo>
                      <a:pt x="1001" y="154"/>
                    </a:lnTo>
                    <a:lnTo>
                      <a:pt x="999" y="154"/>
                    </a:lnTo>
                    <a:lnTo>
                      <a:pt x="998" y="154"/>
                    </a:lnTo>
                    <a:lnTo>
                      <a:pt x="996" y="154"/>
                    </a:lnTo>
                    <a:lnTo>
                      <a:pt x="995" y="154"/>
                    </a:lnTo>
                    <a:lnTo>
                      <a:pt x="995" y="155"/>
                    </a:lnTo>
                    <a:lnTo>
                      <a:pt x="993" y="155"/>
                    </a:lnTo>
                    <a:lnTo>
                      <a:pt x="991" y="155"/>
                    </a:lnTo>
                    <a:lnTo>
                      <a:pt x="991" y="154"/>
                    </a:lnTo>
                    <a:lnTo>
                      <a:pt x="993" y="154"/>
                    </a:lnTo>
                    <a:lnTo>
                      <a:pt x="993" y="152"/>
                    </a:lnTo>
                    <a:lnTo>
                      <a:pt x="991" y="152"/>
                    </a:lnTo>
                    <a:lnTo>
                      <a:pt x="990" y="152"/>
                    </a:lnTo>
                    <a:lnTo>
                      <a:pt x="988" y="152"/>
                    </a:lnTo>
                    <a:lnTo>
                      <a:pt x="988" y="151"/>
                    </a:lnTo>
                    <a:lnTo>
                      <a:pt x="987" y="151"/>
                    </a:lnTo>
                    <a:lnTo>
                      <a:pt x="987" y="149"/>
                    </a:lnTo>
                    <a:lnTo>
                      <a:pt x="985" y="149"/>
                    </a:lnTo>
                    <a:lnTo>
                      <a:pt x="985" y="151"/>
                    </a:lnTo>
                    <a:lnTo>
                      <a:pt x="984" y="151"/>
                    </a:lnTo>
                    <a:lnTo>
                      <a:pt x="982" y="151"/>
                    </a:lnTo>
                    <a:lnTo>
                      <a:pt x="980" y="151"/>
                    </a:lnTo>
                    <a:lnTo>
                      <a:pt x="979" y="151"/>
                    </a:lnTo>
                    <a:lnTo>
                      <a:pt x="979" y="149"/>
                    </a:lnTo>
                    <a:lnTo>
                      <a:pt x="977" y="149"/>
                    </a:lnTo>
                    <a:lnTo>
                      <a:pt x="976" y="149"/>
                    </a:lnTo>
                    <a:lnTo>
                      <a:pt x="974" y="151"/>
                    </a:lnTo>
                    <a:lnTo>
                      <a:pt x="972" y="151"/>
                    </a:lnTo>
                    <a:lnTo>
                      <a:pt x="972" y="152"/>
                    </a:lnTo>
                    <a:lnTo>
                      <a:pt x="971" y="152"/>
                    </a:lnTo>
                    <a:lnTo>
                      <a:pt x="969" y="152"/>
                    </a:lnTo>
                    <a:lnTo>
                      <a:pt x="968" y="152"/>
                    </a:lnTo>
                    <a:lnTo>
                      <a:pt x="968" y="154"/>
                    </a:lnTo>
                    <a:lnTo>
                      <a:pt x="966" y="154"/>
                    </a:lnTo>
                    <a:lnTo>
                      <a:pt x="965" y="154"/>
                    </a:lnTo>
                    <a:lnTo>
                      <a:pt x="963" y="154"/>
                    </a:lnTo>
                    <a:lnTo>
                      <a:pt x="961" y="152"/>
                    </a:lnTo>
                    <a:lnTo>
                      <a:pt x="960" y="152"/>
                    </a:lnTo>
                    <a:lnTo>
                      <a:pt x="958" y="152"/>
                    </a:lnTo>
                    <a:lnTo>
                      <a:pt x="957" y="152"/>
                    </a:lnTo>
                    <a:lnTo>
                      <a:pt x="957" y="151"/>
                    </a:lnTo>
                    <a:lnTo>
                      <a:pt x="955" y="151"/>
                    </a:lnTo>
                    <a:lnTo>
                      <a:pt x="953" y="152"/>
                    </a:lnTo>
                    <a:lnTo>
                      <a:pt x="952" y="152"/>
                    </a:lnTo>
                    <a:lnTo>
                      <a:pt x="952" y="154"/>
                    </a:lnTo>
                    <a:lnTo>
                      <a:pt x="952" y="155"/>
                    </a:lnTo>
                    <a:lnTo>
                      <a:pt x="950" y="155"/>
                    </a:lnTo>
                    <a:lnTo>
                      <a:pt x="950" y="157"/>
                    </a:lnTo>
                    <a:lnTo>
                      <a:pt x="949" y="157"/>
                    </a:lnTo>
                    <a:lnTo>
                      <a:pt x="947" y="159"/>
                    </a:lnTo>
                    <a:lnTo>
                      <a:pt x="947" y="157"/>
                    </a:lnTo>
                    <a:lnTo>
                      <a:pt x="946" y="157"/>
                    </a:lnTo>
                    <a:lnTo>
                      <a:pt x="944" y="157"/>
                    </a:lnTo>
                    <a:lnTo>
                      <a:pt x="942" y="157"/>
                    </a:lnTo>
                    <a:lnTo>
                      <a:pt x="942" y="159"/>
                    </a:lnTo>
                    <a:lnTo>
                      <a:pt x="942" y="160"/>
                    </a:lnTo>
                    <a:lnTo>
                      <a:pt x="942" y="162"/>
                    </a:lnTo>
                    <a:lnTo>
                      <a:pt x="942" y="163"/>
                    </a:lnTo>
                    <a:lnTo>
                      <a:pt x="941" y="163"/>
                    </a:lnTo>
                    <a:lnTo>
                      <a:pt x="941" y="165"/>
                    </a:lnTo>
                    <a:lnTo>
                      <a:pt x="941" y="167"/>
                    </a:lnTo>
                    <a:lnTo>
                      <a:pt x="941" y="168"/>
                    </a:lnTo>
                    <a:lnTo>
                      <a:pt x="939" y="170"/>
                    </a:lnTo>
                    <a:lnTo>
                      <a:pt x="938" y="170"/>
                    </a:lnTo>
                    <a:lnTo>
                      <a:pt x="939" y="170"/>
                    </a:lnTo>
                    <a:lnTo>
                      <a:pt x="939" y="171"/>
                    </a:lnTo>
                    <a:lnTo>
                      <a:pt x="941" y="171"/>
                    </a:lnTo>
                    <a:lnTo>
                      <a:pt x="941" y="173"/>
                    </a:lnTo>
                    <a:lnTo>
                      <a:pt x="941" y="174"/>
                    </a:lnTo>
                    <a:lnTo>
                      <a:pt x="942" y="174"/>
                    </a:lnTo>
                    <a:lnTo>
                      <a:pt x="942" y="176"/>
                    </a:lnTo>
                    <a:lnTo>
                      <a:pt x="942" y="174"/>
                    </a:lnTo>
                    <a:lnTo>
                      <a:pt x="944" y="174"/>
                    </a:lnTo>
                    <a:lnTo>
                      <a:pt x="946" y="176"/>
                    </a:lnTo>
                    <a:lnTo>
                      <a:pt x="947" y="176"/>
                    </a:lnTo>
                    <a:lnTo>
                      <a:pt x="949" y="176"/>
                    </a:lnTo>
                    <a:lnTo>
                      <a:pt x="949" y="174"/>
                    </a:lnTo>
                    <a:lnTo>
                      <a:pt x="950" y="174"/>
                    </a:lnTo>
                    <a:lnTo>
                      <a:pt x="952" y="174"/>
                    </a:lnTo>
                    <a:lnTo>
                      <a:pt x="953" y="173"/>
                    </a:lnTo>
                    <a:lnTo>
                      <a:pt x="955" y="173"/>
                    </a:lnTo>
                    <a:lnTo>
                      <a:pt x="957" y="173"/>
                    </a:lnTo>
                    <a:lnTo>
                      <a:pt x="958" y="171"/>
                    </a:lnTo>
                    <a:lnTo>
                      <a:pt x="960" y="171"/>
                    </a:lnTo>
                    <a:lnTo>
                      <a:pt x="961" y="173"/>
                    </a:lnTo>
                    <a:lnTo>
                      <a:pt x="963" y="173"/>
                    </a:lnTo>
                    <a:lnTo>
                      <a:pt x="965" y="173"/>
                    </a:lnTo>
                    <a:lnTo>
                      <a:pt x="966" y="173"/>
                    </a:lnTo>
                    <a:lnTo>
                      <a:pt x="968" y="174"/>
                    </a:lnTo>
                    <a:lnTo>
                      <a:pt x="968" y="176"/>
                    </a:lnTo>
                    <a:lnTo>
                      <a:pt x="968" y="178"/>
                    </a:lnTo>
                    <a:lnTo>
                      <a:pt x="966" y="178"/>
                    </a:lnTo>
                    <a:lnTo>
                      <a:pt x="966" y="179"/>
                    </a:lnTo>
                    <a:lnTo>
                      <a:pt x="965" y="179"/>
                    </a:lnTo>
                    <a:lnTo>
                      <a:pt x="963" y="179"/>
                    </a:lnTo>
                    <a:lnTo>
                      <a:pt x="963" y="181"/>
                    </a:lnTo>
                    <a:lnTo>
                      <a:pt x="963" y="182"/>
                    </a:lnTo>
                    <a:lnTo>
                      <a:pt x="963" y="184"/>
                    </a:lnTo>
                    <a:lnTo>
                      <a:pt x="961" y="184"/>
                    </a:lnTo>
                    <a:lnTo>
                      <a:pt x="961" y="186"/>
                    </a:lnTo>
                    <a:lnTo>
                      <a:pt x="961" y="187"/>
                    </a:lnTo>
                    <a:lnTo>
                      <a:pt x="961" y="189"/>
                    </a:lnTo>
                    <a:lnTo>
                      <a:pt x="961" y="190"/>
                    </a:lnTo>
                    <a:lnTo>
                      <a:pt x="960" y="190"/>
                    </a:lnTo>
                    <a:lnTo>
                      <a:pt x="958" y="190"/>
                    </a:lnTo>
                    <a:lnTo>
                      <a:pt x="957" y="190"/>
                    </a:lnTo>
                    <a:lnTo>
                      <a:pt x="955" y="192"/>
                    </a:lnTo>
                    <a:lnTo>
                      <a:pt x="953" y="192"/>
                    </a:lnTo>
                    <a:lnTo>
                      <a:pt x="953" y="190"/>
                    </a:lnTo>
                    <a:lnTo>
                      <a:pt x="952" y="190"/>
                    </a:lnTo>
                    <a:lnTo>
                      <a:pt x="950" y="190"/>
                    </a:lnTo>
                    <a:lnTo>
                      <a:pt x="949" y="190"/>
                    </a:lnTo>
                    <a:lnTo>
                      <a:pt x="947" y="190"/>
                    </a:lnTo>
                    <a:lnTo>
                      <a:pt x="947" y="192"/>
                    </a:lnTo>
                    <a:lnTo>
                      <a:pt x="946" y="192"/>
                    </a:lnTo>
                    <a:lnTo>
                      <a:pt x="946" y="193"/>
                    </a:lnTo>
                    <a:lnTo>
                      <a:pt x="944" y="193"/>
                    </a:lnTo>
                    <a:lnTo>
                      <a:pt x="944" y="195"/>
                    </a:lnTo>
                    <a:lnTo>
                      <a:pt x="944" y="197"/>
                    </a:lnTo>
                    <a:lnTo>
                      <a:pt x="944" y="198"/>
                    </a:lnTo>
                    <a:lnTo>
                      <a:pt x="944" y="200"/>
                    </a:lnTo>
                    <a:lnTo>
                      <a:pt x="944" y="201"/>
                    </a:lnTo>
                    <a:lnTo>
                      <a:pt x="942" y="201"/>
                    </a:lnTo>
                    <a:lnTo>
                      <a:pt x="942" y="203"/>
                    </a:lnTo>
                    <a:lnTo>
                      <a:pt x="942" y="205"/>
                    </a:lnTo>
                    <a:lnTo>
                      <a:pt x="942" y="206"/>
                    </a:lnTo>
                    <a:lnTo>
                      <a:pt x="942" y="208"/>
                    </a:lnTo>
                    <a:lnTo>
                      <a:pt x="942" y="209"/>
                    </a:lnTo>
                    <a:lnTo>
                      <a:pt x="941" y="211"/>
                    </a:lnTo>
                    <a:lnTo>
                      <a:pt x="939" y="211"/>
                    </a:lnTo>
                    <a:lnTo>
                      <a:pt x="939" y="212"/>
                    </a:lnTo>
                    <a:lnTo>
                      <a:pt x="938" y="212"/>
                    </a:lnTo>
                    <a:lnTo>
                      <a:pt x="938" y="214"/>
                    </a:lnTo>
                    <a:lnTo>
                      <a:pt x="936" y="214"/>
                    </a:lnTo>
                    <a:lnTo>
                      <a:pt x="936" y="216"/>
                    </a:lnTo>
                    <a:lnTo>
                      <a:pt x="936" y="217"/>
                    </a:lnTo>
                    <a:lnTo>
                      <a:pt x="938" y="217"/>
                    </a:lnTo>
                    <a:lnTo>
                      <a:pt x="939" y="217"/>
                    </a:lnTo>
                    <a:lnTo>
                      <a:pt x="939" y="219"/>
                    </a:lnTo>
                    <a:lnTo>
                      <a:pt x="941" y="219"/>
                    </a:lnTo>
                    <a:lnTo>
                      <a:pt x="942" y="219"/>
                    </a:lnTo>
                    <a:lnTo>
                      <a:pt x="944" y="219"/>
                    </a:lnTo>
                    <a:lnTo>
                      <a:pt x="944" y="217"/>
                    </a:lnTo>
                    <a:lnTo>
                      <a:pt x="946" y="217"/>
                    </a:lnTo>
                    <a:lnTo>
                      <a:pt x="947" y="217"/>
                    </a:lnTo>
                    <a:lnTo>
                      <a:pt x="947" y="216"/>
                    </a:lnTo>
                    <a:lnTo>
                      <a:pt x="949" y="216"/>
                    </a:lnTo>
                    <a:lnTo>
                      <a:pt x="950" y="216"/>
                    </a:lnTo>
                    <a:lnTo>
                      <a:pt x="952" y="216"/>
                    </a:lnTo>
                    <a:lnTo>
                      <a:pt x="952" y="217"/>
                    </a:lnTo>
                    <a:lnTo>
                      <a:pt x="953" y="216"/>
                    </a:lnTo>
                    <a:lnTo>
                      <a:pt x="955" y="216"/>
                    </a:lnTo>
                    <a:lnTo>
                      <a:pt x="957" y="216"/>
                    </a:lnTo>
                    <a:lnTo>
                      <a:pt x="957" y="217"/>
                    </a:lnTo>
                    <a:lnTo>
                      <a:pt x="958" y="217"/>
                    </a:lnTo>
                    <a:lnTo>
                      <a:pt x="960" y="217"/>
                    </a:lnTo>
                    <a:lnTo>
                      <a:pt x="961" y="217"/>
                    </a:lnTo>
                    <a:lnTo>
                      <a:pt x="963" y="217"/>
                    </a:lnTo>
                    <a:lnTo>
                      <a:pt x="963" y="219"/>
                    </a:lnTo>
                    <a:lnTo>
                      <a:pt x="965" y="219"/>
                    </a:lnTo>
                    <a:lnTo>
                      <a:pt x="965" y="220"/>
                    </a:lnTo>
                    <a:lnTo>
                      <a:pt x="966" y="220"/>
                    </a:lnTo>
                    <a:lnTo>
                      <a:pt x="965" y="220"/>
                    </a:lnTo>
                    <a:lnTo>
                      <a:pt x="965" y="222"/>
                    </a:lnTo>
                    <a:lnTo>
                      <a:pt x="965" y="224"/>
                    </a:lnTo>
                    <a:lnTo>
                      <a:pt x="963" y="224"/>
                    </a:lnTo>
                    <a:lnTo>
                      <a:pt x="963" y="225"/>
                    </a:lnTo>
                    <a:lnTo>
                      <a:pt x="961" y="225"/>
                    </a:lnTo>
                    <a:lnTo>
                      <a:pt x="960" y="225"/>
                    </a:lnTo>
                    <a:lnTo>
                      <a:pt x="960" y="227"/>
                    </a:lnTo>
                    <a:lnTo>
                      <a:pt x="960" y="228"/>
                    </a:lnTo>
                    <a:lnTo>
                      <a:pt x="960" y="230"/>
                    </a:lnTo>
                    <a:lnTo>
                      <a:pt x="958" y="230"/>
                    </a:lnTo>
                    <a:lnTo>
                      <a:pt x="957" y="230"/>
                    </a:lnTo>
                    <a:lnTo>
                      <a:pt x="957" y="231"/>
                    </a:lnTo>
                    <a:lnTo>
                      <a:pt x="955" y="231"/>
                    </a:lnTo>
                    <a:lnTo>
                      <a:pt x="955" y="233"/>
                    </a:lnTo>
                    <a:lnTo>
                      <a:pt x="955" y="235"/>
                    </a:lnTo>
                    <a:lnTo>
                      <a:pt x="955" y="236"/>
                    </a:lnTo>
                    <a:lnTo>
                      <a:pt x="957" y="236"/>
                    </a:lnTo>
                    <a:lnTo>
                      <a:pt x="957" y="238"/>
                    </a:lnTo>
                    <a:lnTo>
                      <a:pt x="958" y="238"/>
                    </a:lnTo>
                    <a:lnTo>
                      <a:pt x="960" y="239"/>
                    </a:lnTo>
                    <a:lnTo>
                      <a:pt x="961" y="239"/>
                    </a:lnTo>
                    <a:lnTo>
                      <a:pt x="961" y="241"/>
                    </a:lnTo>
                    <a:lnTo>
                      <a:pt x="961" y="239"/>
                    </a:lnTo>
                    <a:lnTo>
                      <a:pt x="963" y="239"/>
                    </a:lnTo>
                    <a:lnTo>
                      <a:pt x="965" y="239"/>
                    </a:lnTo>
                    <a:lnTo>
                      <a:pt x="965" y="238"/>
                    </a:lnTo>
                    <a:lnTo>
                      <a:pt x="966" y="238"/>
                    </a:lnTo>
                    <a:lnTo>
                      <a:pt x="968" y="238"/>
                    </a:lnTo>
                    <a:lnTo>
                      <a:pt x="968" y="236"/>
                    </a:lnTo>
                    <a:lnTo>
                      <a:pt x="969" y="236"/>
                    </a:lnTo>
                    <a:lnTo>
                      <a:pt x="969" y="238"/>
                    </a:lnTo>
                    <a:lnTo>
                      <a:pt x="971" y="238"/>
                    </a:lnTo>
                    <a:lnTo>
                      <a:pt x="971" y="239"/>
                    </a:lnTo>
                    <a:lnTo>
                      <a:pt x="972" y="241"/>
                    </a:lnTo>
                    <a:lnTo>
                      <a:pt x="972" y="243"/>
                    </a:lnTo>
                    <a:lnTo>
                      <a:pt x="974" y="243"/>
                    </a:lnTo>
                    <a:lnTo>
                      <a:pt x="974" y="244"/>
                    </a:lnTo>
                    <a:lnTo>
                      <a:pt x="976" y="246"/>
                    </a:lnTo>
                    <a:lnTo>
                      <a:pt x="976" y="247"/>
                    </a:lnTo>
                    <a:lnTo>
                      <a:pt x="976" y="249"/>
                    </a:lnTo>
                    <a:lnTo>
                      <a:pt x="976" y="250"/>
                    </a:lnTo>
                    <a:lnTo>
                      <a:pt x="976" y="252"/>
                    </a:lnTo>
                    <a:lnTo>
                      <a:pt x="976" y="254"/>
                    </a:lnTo>
                    <a:lnTo>
                      <a:pt x="976" y="255"/>
                    </a:lnTo>
                    <a:lnTo>
                      <a:pt x="976" y="257"/>
                    </a:lnTo>
                    <a:lnTo>
                      <a:pt x="976" y="258"/>
                    </a:lnTo>
                    <a:lnTo>
                      <a:pt x="976" y="260"/>
                    </a:lnTo>
                    <a:lnTo>
                      <a:pt x="974" y="260"/>
                    </a:lnTo>
                    <a:lnTo>
                      <a:pt x="974" y="262"/>
                    </a:lnTo>
                    <a:lnTo>
                      <a:pt x="974" y="263"/>
                    </a:lnTo>
                    <a:lnTo>
                      <a:pt x="974" y="265"/>
                    </a:lnTo>
                    <a:lnTo>
                      <a:pt x="974" y="266"/>
                    </a:lnTo>
                    <a:lnTo>
                      <a:pt x="974" y="268"/>
                    </a:lnTo>
                    <a:lnTo>
                      <a:pt x="974" y="270"/>
                    </a:lnTo>
                    <a:lnTo>
                      <a:pt x="974" y="271"/>
                    </a:lnTo>
                    <a:lnTo>
                      <a:pt x="974" y="273"/>
                    </a:lnTo>
                    <a:lnTo>
                      <a:pt x="972" y="273"/>
                    </a:lnTo>
                    <a:lnTo>
                      <a:pt x="974" y="274"/>
                    </a:lnTo>
                    <a:lnTo>
                      <a:pt x="976" y="274"/>
                    </a:lnTo>
                    <a:lnTo>
                      <a:pt x="976" y="273"/>
                    </a:lnTo>
                    <a:lnTo>
                      <a:pt x="976" y="274"/>
                    </a:lnTo>
                    <a:lnTo>
                      <a:pt x="977" y="274"/>
                    </a:lnTo>
                    <a:lnTo>
                      <a:pt x="979" y="274"/>
                    </a:lnTo>
                    <a:lnTo>
                      <a:pt x="979" y="273"/>
                    </a:lnTo>
                    <a:lnTo>
                      <a:pt x="979" y="274"/>
                    </a:lnTo>
                    <a:lnTo>
                      <a:pt x="980" y="274"/>
                    </a:lnTo>
                    <a:lnTo>
                      <a:pt x="982" y="274"/>
                    </a:lnTo>
                    <a:lnTo>
                      <a:pt x="982" y="273"/>
                    </a:lnTo>
                    <a:lnTo>
                      <a:pt x="984" y="273"/>
                    </a:lnTo>
                    <a:lnTo>
                      <a:pt x="984" y="274"/>
                    </a:lnTo>
                    <a:lnTo>
                      <a:pt x="985" y="274"/>
                    </a:lnTo>
                    <a:lnTo>
                      <a:pt x="985" y="276"/>
                    </a:lnTo>
                    <a:lnTo>
                      <a:pt x="984" y="276"/>
                    </a:lnTo>
                    <a:lnTo>
                      <a:pt x="984" y="277"/>
                    </a:lnTo>
                    <a:lnTo>
                      <a:pt x="984" y="279"/>
                    </a:lnTo>
                    <a:lnTo>
                      <a:pt x="984" y="281"/>
                    </a:lnTo>
                    <a:lnTo>
                      <a:pt x="984" y="282"/>
                    </a:lnTo>
                    <a:lnTo>
                      <a:pt x="984" y="284"/>
                    </a:lnTo>
                    <a:lnTo>
                      <a:pt x="982" y="285"/>
                    </a:lnTo>
                    <a:lnTo>
                      <a:pt x="984" y="285"/>
                    </a:lnTo>
                    <a:lnTo>
                      <a:pt x="984" y="287"/>
                    </a:lnTo>
                    <a:lnTo>
                      <a:pt x="984" y="289"/>
                    </a:lnTo>
                    <a:lnTo>
                      <a:pt x="984" y="290"/>
                    </a:lnTo>
                    <a:lnTo>
                      <a:pt x="985" y="290"/>
                    </a:lnTo>
                    <a:lnTo>
                      <a:pt x="985" y="292"/>
                    </a:lnTo>
                    <a:lnTo>
                      <a:pt x="984" y="292"/>
                    </a:lnTo>
                    <a:lnTo>
                      <a:pt x="984" y="293"/>
                    </a:lnTo>
                    <a:lnTo>
                      <a:pt x="984" y="295"/>
                    </a:lnTo>
                    <a:lnTo>
                      <a:pt x="982" y="295"/>
                    </a:lnTo>
                    <a:lnTo>
                      <a:pt x="982" y="296"/>
                    </a:lnTo>
                    <a:lnTo>
                      <a:pt x="980" y="298"/>
                    </a:lnTo>
                    <a:lnTo>
                      <a:pt x="982" y="298"/>
                    </a:lnTo>
                    <a:lnTo>
                      <a:pt x="982" y="300"/>
                    </a:lnTo>
                    <a:lnTo>
                      <a:pt x="984" y="300"/>
                    </a:lnTo>
                    <a:lnTo>
                      <a:pt x="984" y="301"/>
                    </a:lnTo>
                    <a:lnTo>
                      <a:pt x="984" y="303"/>
                    </a:lnTo>
                    <a:lnTo>
                      <a:pt x="984" y="304"/>
                    </a:lnTo>
                    <a:lnTo>
                      <a:pt x="982" y="304"/>
                    </a:lnTo>
                    <a:lnTo>
                      <a:pt x="982" y="306"/>
                    </a:lnTo>
                    <a:lnTo>
                      <a:pt x="982" y="308"/>
                    </a:lnTo>
                    <a:lnTo>
                      <a:pt x="982" y="309"/>
                    </a:lnTo>
                    <a:lnTo>
                      <a:pt x="982" y="311"/>
                    </a:lnTo>
                    <a:lnTo>
                      <a:pt x="982" y="312"/>
                    </a:lnTo>
                    <a:lnTo>
                      <a:pt x="980" y="314"/>
                    </a:lnTo>
                    <a:lnTo>
                      <a:pt x="980" y="315"/>
                    </a:lnTo>
                    <a:lnTo>
                      <a:pt x="980" y="317"/>
                    </a:lnTo>
                    <a:lnTo>
                      <a:pt x="980" y="319"/>
                    </a:lnTo>
                    <a:lnTo>
                      <a:pt x="980" y="320"/>
                    </a:lnTo>
                    <a:lnTo>
                      <a:pt x="979" y="320"/>
                    </a:lnTo>
                    <a:lnTo>
                      <a:pt x="979" y="322"/>
                    </a:lnTo>
                    <a:lnTo>
                      <a:pt x="979" y="323"/>
                    </a:lnTo>
                    <a:lnTo>
                      <a:pt x="977" y="325"/>
                    </a:lnTo>
                    <a:lnTo>
                      <a:pt x="977" y="327"/>
                    </a:lnTo>
                    <a:lnTo>
                      <a:pt x="977" y="328"/>
                    </a:lnTo>
                    <a:lnTo>
                      <a:pt x="976" y="328"/>
                    </a:lnTo>
                    <a:lnTo>
                      <a:pt x="977" y="328"/>
                    </a:lnTo>
                    <a:lnTo>
                      <a:pt x="977" y="330"/>
                    </a:lnTo>
                    <a:lnTo>
                      <a:pt x="977" y="331"/>
                    </a:lnTo>
                    <a:lnTo>
                      <a:pt x="977" y="333"/>
                    </a:lnTo>
                    <a:lnTo>
                      <a:pt x="977" y="334"/>
                    </a:lnTo>
                    <a:lnTo>
                      <a:pt x="977" y="336"/>
                    </a:lnTo>
                    <a:lnTo>
                      <a:pt x="977" y="338"/>
                    </a:lnTo>
                    <a:lnTo>
                      <a:pt x="977" y="339"/>
                    </a:lnTo>
                    <a:lnTo>
                      <a:pt x="976" y="339"/>
                    </a:lnTo>
                    <a:lnTo>
                      <a:pt x="976" y="341"/>
                    </a:lnTo>
                    <a:lnTo>
                      <a:pt x="974" y="341"/>
                    </a:lnTo>
                    <a:lnTo>
                      <a:pt x="974" y="342"/>
                    </a:lnTo>
                    <a:lnTo>
                      <a:pt x="974" y="344"/>
                    </a:lnTo>
                    <a:lnTo>
                      <a:pt x="974" y="346"/>
                    </a:lnTo>
                    <a:lnTo>
                      <a:pt x="976" y="346"/>
                    </a:lnTo>
                    <a:lnTo>
                      <a:pt x="976" y="347"/>
                    </a:lnTo>
                    <a:lnTo>
                      <a:pt x="977" y="347"/>
                    </a:lnTo>
                    <a:lnTo>
                      <a:pt x="979" y="347"/>
                    </a:lnTo>
                    <a:lnTo>
                      <a:pt x="979" y="349"/>
                    </a:lnTo>
                    <a:lnTo>
                      <a:pt x="979" y="350"/>
                    </a:lnTo>
                    <a:lnTo>
                      <a:pt x="979" y="352"/>
                    </a:lnTo>
                    <a:lnTo>
                      <a:pt x="979" y="353"/>
                    </a:lnTo>
                    <a:lnTo>
                      <a:pt x="979" y="355"/>
                    </a:lnTo>
                    <a:lnTo>
                      <a:pt x="980" y="357"/>
                    </a:lnTo>
                    <a:lnTo>
                      <a:pt x="982" y="357"/>
                    </a:lnTo>
                    <a:lnTo>
                      <a:pt x="982" y="358"/>
                    </a:lnTo>
                    <a:lnTo>
                      <a:pt x="984" y="358"/>
                    </a:lnTo>
                    <a:lnTo>
                      <a:pt x="984" y="360"/>
                    </a:lnTo>
                    <a:lnTo>
                      <a:pt x="984" y="361"/>
                    </a:lnTo>
                    <a:lnTo>
                      <a:pt x="984" y="363"/>
                    </a:lnTo>
                    <a:lnTo>
                      <a:pt x="984" y="365"/>
                    </a:lnTo>
                    <a:lnTo>
                      <a:pt x="984" y="366"/>
                    </a:lnTo>
                    <a:lnTo>
                      <a:pt x="984" y="368"/>
                    </a:lnTo>
                    <a:lnTo>
                      <a:pt x="984" y="369"/>
                    </a:lnTo>
                    <a:lnTo>
                      <a:pt x="984" y="371"/>
                    </a:lnTo>
                    <a:lnTo>
                      <a:pt x="984" y="372"/>
                    </a:lnTo>
                    <a:lnTo>
                      <a:pt x="984" y="374"/>
                    </a:lnTo>
                    <a:lnTo>
                      <a:pt x="985" y="374"/>
                    </a:lnTo>
                    <a:lnTo>
                      <a:pt x="985" y="376"/>
                    </a:lnTo>
                    <a:lnTo>
                      <a:pt x="985" y="377"/>
                    </a:lnTo>
                    <a:lnTo>
                      <a:pt x="985" y="379"/>
                    </a:lnTo>
                    <a:lnTo>
                      <a:pt x="985" y="380"/>
                    </a:lnTo>
                    <a:lnTo>
                      <a:pt x="985" y="382"/>
                    </a:lnTo>
                    <a:lnTo>
                      <a:pt x="984" y="382"/>
                    </a:lnTo>
                    <a:lnTo>
                      <a:pt x="984" y="384"/>
                    </a:lnTo>
                    <a:lnTo>
                      <a:pt x="984" y="385"/>
                    </a:lnTo>
                    <a:lnTo>
                      <a:pt x="984" y="387"/>
                    </a:lnTo>
                    <a:lnTo>
                      <a:pt x="982" y="388"/>
                    </a:lnTo>
                    <a:lnTo>
                      <a:pt x="982" y="390"/>
                    </a:lnTo>
                    <a:lnTo>
                      <a:pt x="982" y="392"/>
                    </a:lnTo>
                    <a:lnTo>
                      <a:pt x="980" y="392"/>
                    </a:lnTo>
                    <a:lnTo>
                      <a:pt x="979" y="393"/>
                    </a:lnTo>
                    <a:lnTo>
                      <a:pt x="977" y="393"/>
                    </a:lnTo>
                    <a:lnTo>
                      <a:pt x="976" y="393"/>
                    </a:lnTo>
                    <a:lnTo>
                      <a:pt x="974" y="393"/>
                    </a:lnTo>
                    <a:lnTo>
                      <a:pt x="974" y="392"/>
                    </a:lnTo>
                    <a:lnTo>
                      <a:pt x="972" y="392"/>
                    </a:lnTo>
                    <a:lnTo>
                      <a:pt x="971" y="390"/>
                    </a:lnTo>
                    <a:lnTo>
                      <a:pt x="969" y="390"/>
                    </a:lnTo>
                    <a:lnTo>
                      <a:pt x="968" y="390"/>
                    </a:lnTo>
                    <a:lnTo>
                      <a:pt x="968" y="388"/>
                    </a:lnTo>
                    <a:lnTo>
                      <a:pt x="966" y="388"/>
                    </a:lnTo>
                    <a:lnTo>
                      <a:pt x="965" y="388"/>
                    </a:lnTo>
                    <a:lnTo>
                      <a:pt x="963" y="388"/>
                    </a:lnTo>
                    <a:lnTo>
                      <a:pt x="961" y="388"/>
                    </a:lnTo>
                    <a:lnTo>
                      <a:pt x="961" y="390"/>
                    </a:lnTo>
                    <a:lnTo>
                      <a:pt x="961" y="392"/>
                    </a:lnTo>
                    <a:lnTo>
                      <a:pt x="961" y="393"/>
                    </a:lnTo>
                    <a:lnTo>
                      <a:pt x="961" y="395"/>
                    </a:lnTo>
                    <a:lnTo>
                      <a:pt x="961" y="396"/>
                    </a:lnTo>
                    <a:lnTo>
                      <a:pt x="961" y="398"/>
                    </a:lnTo>
                    <a:lnTo>
                      <a:pt x="960" y="399"/>
                    </a:lnTo>
                    <a:lnTo>
                      <a:pt x="960" y="401"/>
                    </a:lnTo>
                    <a:lnTo>
                      <a:pt x="958" y="401"/>
                    </a:lnTo>
                    <a:lnTo>
                      <a:pt x="958" y="403"/>
                    </a:lnTo>
                    <a:lnTo>
                      <a:pt x="958" y="404"/>
                    </a:lnTo>
                    <a:lnTo>
                      <a:pt x="958" y="406"/>
                    </a:lnTo>
                    <a:lnTo>
                      <a:pt x="957" y="407"/>
                    </a:lnTo>
                    <a:lnTo>
                      <a:pt x="957" y="409"/>
                    </a:lnTo>
                    <a:lnTo>
                      <a:pt x="957" y="411"/>
                    </a:lnTo>
                    <a:lnTo>
                      <a:pt x="955" y="411"/>
                    </a:lnTo>
                    <a:lnTo>
                      <a:pt x="955" y="412"/>
                    </a:lnTo>
                    <a:lnTo>
                      <a:pt x="955" y="414"/>
                    </a:lnTo>
                    <a:lnTo>
                      <a:pt x="953" y="415"/>
                    </a:lnTo>
                    <a:lnTo>
                      <a:pt x="953" y="417"/>
                    </a:lnTo>
                    <a:lnTo>
                      <a:pt x="953" y="418"/>
                    </a:lnTo>
                    <a:lnTo>
                      <a:pt x="955" y="420"/>
                    </a:lnTo>
                    <a:lnTo>
                      <a:pt x="955" y="422"/>
                    </a:lnTo>
                    <a:lnTo>
                      <a:pt x="955" y="423"/>
                    </a:lnTo>
                    <a:lnTo>
                      <a:pt x="955" y="425"/>
                    </a:lnTo>
                    <a:lnTo>
                      <a:pt x="955" y="426"/>
                    </a:lnTo>
                    <a:lnTo>
                      <a:pt x="957" y="426"/>
                    </a:lnTo>
                    <a:lnTo>
                      <a:pt x="957" y="428"/>
                    </a:lnTo>
                    <a:lnTo>
                      <a:pt x="958" y="428"/>
                    </a:lnTo>
                    <a:lnTo>
                      <a:pt x="960" y="430"/>
                    </a:lnTo>
                    <a:lnTo>
                      <a:pt x="960" y="431"/>
                    </a:lnTo>
                    <a:lnTo>
                      <a:pt x="960" y="433"/>
                    </a:lnTo>
                    <a:lnTo>
                      <a:pt x="960" y="434"/>
                    </a:lnTo>
                    <a:lnTo>
                      <a:pt x="960" y="436"/>
                    </a:lnTo>
                    <a:lnTo>
                      <a:pt x="960" y="437"/>
                    </a:lnTo>
                    <a:lnTo>
                      <a:pt x="960" y="439"/>
                    </a:lnTo>
                    <a:lnTo>
                      <a:pt x="960" y="441"/>
                    </a:lnTo>
                    <a:lnTo>
                      <a:pt x="960" y="442"/>
                    </a:lnTo>
                    <a:lnTo>
                      <a:pt x="960" y="444"/>
                    </a:lnTo>
                    <a:lnTo>
                      <a:pt x="960" y="445"/>
                    </a:lnTo>
                    <a:lnTo>
                      <a:pt x="960" y="447"/>
                    </a:lnTo>
                    <a:lnTo>
                      <a:pt x="958" y="450"/>
                    </a:lnTo>
                    <a:lnTo>
                      <a:pt x="958" y="452"/>
                    </a:lnTo>
                    <a:lnTo>
                      <a:pt x="958" y="453"/>
                    </a:lnTo>
                    <a:lnTo>
                      <a:pt x="958" y="455"/>
                    </a:lnTo>
                    <a:lnTo>
                      <a:pt x="958" y="456"/>
                    </a:lnTo>
                    <a:lnTo>
                      <a:pt x="958" y="458"/>
                    </a:lnTo>
                    <a:lnTo>
                      <a:pt x="958" y="460"/>
                    </a:lnTo>
                    <a:lnTo>
                      <a:pt x="958" y="461"/>
                    </a:lnTo>
                    <a:lnTo>
                      <a:pt x="958" y="463"/>
                    </a:lnTo>
                    <a:lnTo>
                      <a:pt x="958" y="464"/>
                    </a:lnTo>
                    <a:lnTo>
                      <a:pt x="957" y="464"/>
                    </a:lnTo>
                    <a:lnTo>
                      <a:pt x="957" y="466"/>
                    </a:lnTo>
                    <a:lnTo>
                      <a:pt x="957" y="468"/>
                    </a:lnTo>
                    <a:lnTo>
                      <a:pt x="955" y="468"/>
                    </a:lnTo>
                    <a:lnTo>
                      <a:pt x="955" y="469"/>
                    </a:lnTo>
                    <a:lnTo>
                      <a:pt x="953" y="469"/>
                    </a:lnTo>
                    <a:lnTo>
                      <a:pt x="953" y="471"/>
                    </a:lnTo>
                    <a:lnTo>
                      <a:pt x="953" y="472"/>
                    </a:lnTo>
                    <a:lnTo>
                      <a:pt x="953" y="474"/>
                    </a:lnTo>
                    <a:lnTo>
                      <a:pt x="953" y="475"/>
                    </a:lnTo>
                    <a:lnTo>
                      <a:pt x="953" y="477"/>
                    </a:lnTo>
                    <a:lnTo>
                      <a:pt x="953" y="479"/>
                    </a:lnTo>
                    <a:lnTo>
                      <a:pt x="953" y="480"/>
                    </a:lnTo>
                    <a:lnTo>
                      <a:pt x="952" y="480"/>
                    </a:lnTo>
                    <a:lnTo>
                      <a:pt x="952" y="482"/>
                    </a:lnTo>
                    <a:lnTo>
                      <a:pt x="953" y="482"/>
                    </a:lnTo>
                    <a:lnTo>
                      <a:pt x="953" y="483"/>
                    </a:lnTo>
                    <a:lnTo>
                      <a:pt x="955" y="483"/>
                    </a:lnTo>
                    <a:lnTo>
                      <a:pt x="955" y="485"/>
                    </a:lnTo>
                    <a:lnTo>
                      <a:pt x="957" y="485"/>
                    </a:lnTo>
                    <a:lnTo>
                      <a:pt x="957" y="487"/>
                    </a:lnTo>
                    <a:lnTo>
                      <a:pt x="958" y="487"/>
                    </a:lnTo>
                    <a:lnTo>
                      <a:pt x="958" y="488"/>
                    </a:lnTo>
                    <a:lnTo>
                      <a:pt x="958" y="490"/>
                    </a:lnTo>
                    <a:lnTo>
                      <a:pt x="960" y="490"/>
                    </a:lnTo>
                    <a:lnTo>
                      <a:pt x="960" y="491"/>
                    </a:lnTo>
                    <a:lnTo>
                      <a:pt x="960" y="493"/>
                    </a:lnTo>
                    <a:lnTo>
                      <a:pt x="961" y="493"/>
                    </a:lnTo>
                    <a:lnTo>
                      <a:pt x="961" y="495"/>
                    </a:lnTo>
                    <a:lnTo>
                      <a:pt x="965" y="495"/>
                    </a:lnTo>
                    <a:lnTo>
                      <a:pt x="966" y="495"/>
                    </a:lnTo>
                    <a:lnTo>
                      <a:pt x="968" y="495"/>
                    </a:lnTo>
                    <a:lnTo>
                      <a:pt x="969" y="499"/>
                    </a:lnTo>
                    <a:lnTo>
                      <a:pt x="971" y="509"/>
                    </a:lnTo>
                    <a:lnTo>
                      <a:pt x="971" y="510"/>
                    </a:lnTo>
                    <a:lnTo>
                      <a:pt x="971" y="512"/>
                    </a:lnTo>
                    <a:lnTo>
                      <a:pt x="972" y="512"/>
                    </a:lnTo>
                    <a:lnTo>
                      <a:pt x="972" y="514"/>
                    </a:lnTo>
                    <a:lnTo>
                      <a:pt x="972" y="515"/>
                    </a:lnTo>
                    <a:lnTo>
                      <a:pt x="972" y="517"/>
                    </a:lnTo>
                    <a:lnTo>
                      <a:pt x="972" y="518"/>
                    </a:lnTo>
                    <a:lnTo>
                      <a:pt x="974" y="518"/>
                    </a:lnTo>
                    <a:lnTo>
                      <a:pt x="972" y="518"/>
                    </a:lnTo>
                    <a:lnTo>
                      <a:pt x="972" y="520"/>
                    </a:lnTo>
                    <a:lnTo>
                      <a:pt x="971" y="521"/>
                    </a:lnTo>
                    <a:lnTo>
                      <a:pt x="969" y="521"/>
                    </a:lnTo>
                    <a:lnTo>
                      <a:pt x="969" y="523"/>
                    </a:lnTo>
                    <a:lnTo>
                      <a:pt x="971" y="525"/>
                    </a:lnTo>
                    <a:lnTo>
                      <a:pt x="972" y="525"/>
                    </a:lnTo>
                    <a:lnTo>
                      <a:pt x="974" y="523"/>
                    </a:lnTo>
                    <a:lnTo>
                      <a:pt x="976" y="523"/>
                    </a:lnTo>
                    <a:lnTo>
                      <a:pt x="977" y="523"/>
                    </a:lnTo>
                    <a:lnTo>
                      <a:pt x="977" y="521"/>
                    </a:lnTo>
                    <a:lnTo>
                      <a:pt x="979" y="521"/>
                    </a:lnTo>
                    <a:lnTo>
                      <a:pt x="979" y="523"/>
                    </a:lnTo>
                    <a:lnTo>
                      <a:pt x="980" y="523"/>
                    </a:lnTo>
                    <a:lnTo>
                      <a:pt x="980" y="525"/>
                    </a:lnTo>
                    <a:lnTo>
                      <a:pt x="980" y="526"/>
                    </a:lnTo>
                    <a:lnTo>
                      <a:pt x="980" y="528"/>
                    </a:lnTo>
                    <a:lnTo>
                      <a:pt x="979" y="528"/>
                    </a:lnTo>
                    <a:lnTo>
                      <a:pt x="979" y="529"/>
                    </a:lnTo>
                    <a:lnTo>
                      <a:pt x="979" y="531"/>
                    </a:lnTo>
                    <a:lnTo>
                      <a:pt x="977" y="531"/>
                    </a:lnTo>
                    <a:lnTo>
                      <a:pt x="977" y="533"/>
                    </a:lnTo>
                    <a:lnTo>
                      <a:pt x="976" y="534"/>
                    </a:lnTo>
                    <a:lnTo>
                      <a:pt x="976" y="536"/>
                    </a:lnTo>
                    <a:lnTo>
                      <a:pt x="974" y="536"/>
                    </a:lnTo>
                    <a:lnTo>
                      <a:pt x="974" y="537"/>
                    </a:lnTo>
                    <a:lnTo>
                      <a:pt x="972" y="537"/>
                    </a:lnTo>
                    <a:lnTo>
                      <a:pt x="972" y="539"/>
                    </a:lnTo>
                    <a:lnTo>
                      <a:pt x="974" y="539"/>
                    </a:lnTo>
                    <a:lnTo>
                      <a:pt x="974" y="540"/>
                    </a:lnTo>
                    <a:lnTo>
                      <a:pt x="974" y="542"/>
                    </a:lnTo>
                    <a:lnTo>
                      <a:pt x="972" y="544"/>
                    </a:lnTo>
                    <a:lnTo>
                      <a:pt x="969" y="545"/>
                    </a:lnTo>
                    <a:lnTo>
                      <a:pt x="968" y="544"/>
                    </a:lnTo>
                    <a:lnTo>
                      <a:pt x="966" y="544"/>
                    </a:lnTo>
                    <a:lnTo>
                      <a:pt x="966" y="545"/>
                    </a:lnTo>
                    <a:lnTo>
                      <a:pt x="968" y="545"/>
                    </a:lnTo>
                    <a:lnTo>
                      <a:pt x="968" y="547"/>
                    </a:lnTo>
                    <a:lnTo>
                      <a:pt x="966" y="548"/>
                    </a:lnTo>
                    <a:lnTo>
                      <a:pt x="966" y="550"/>
                    </a:lnTo>
                    <a:lnTo>
                      <a:pt x="966" y="552"/>
                    </a:lnTo>
                    <a:lnTo>
                      <a:pt x="966" y="553"/>
                    </a:lnTo>
                    <a:lnTo>
                      <a:pt x="966" y="555"/>
                    </a:lnTo>
                    <a:lnTo>
                      <a:pt x="968" y="555"/>
                    </a:lnTo>
                    <a:lnTo>
                      <a:pt x="968" y="556"/>
                    </a:lnTo>
                    <a:lnTo>
                      <a:pt x="968" y="558"/>
                    </a:lnTo>
                    <a:lnTo>
                      <a:pt x="969" y="558"/>
                    </a:lnTo>
                    <a:lnTo>
                      <a:pt x="969" y="559"/>
                    </a:lnTo>
                    <a:lnTo>
                      <a:pt x="971" y="559"/>
                    </a:lnTo>
                    <a:lnTo>
                      <a:pt x="971" y="561"/>
                    </a:lnTo>
                    <a:lnTo>
                      <a:pt x="969" y="561"/>
                    </a:lnTo>
                    <a:lnTo>
                      <a:pt x="971" y="561"/>
                    </a:lnTo>
                    <a:lnTo>
                      <a:pt x="969" y="563"/>
                    </a:lnTo>
                    <a:lnTo>
                      <a:pt x="969" y="564"/>
                    </a:lnTo>
                    <a:lnTo>
                      <a:pt x="968" y="566"/>
                    </a:lnTo>
                    <a:lnTo>
                      <a:pt x="968" y="567"/>
                    </a:lnTo>
                    <a:lnTo>
                      <a:pt x="968" y="569"/>
                    </a:lnTo>
                    <a:lnTo>
                      <a:pt x="966" y="569"/>
                    </a:lnTo>
                    <a:lnTo>
                      <a:pt x="965" y="569"/>
                    </a:lnTo>
                    <a:lnTo>
                      <a:pt x="965" y="571"/>
                    </a:lnTo>
                    <a:lnTo>
                      <a:pt x="965" y="572"/>
                    </a:lnTo>
                    <a:lnTo>
                      <a:pt x="965" y="574"/>
                    </a:lnTo>
                    <a:lnTo>
                      <a:pt x="965" y="575"/>
                    </a:lnTo>
                    <a:lnTo>
                      <a:pt x="966" y="575"/>
                    </a:lnTo>
                    <a:lnTo>
                      <a:pt x="966" y="577"/>
                    </a:lnTo>
                    <a:lnTo>
                      <a:pt x="968" y="577"/>
                    </a:lnTo>
                    <a:lnTo>
                      <a:pt x="969" y="577"/>
                    </a:lnTo>
                    <a:lnTo>
                      <a:pt x="971" y="577"/>
                    </a:lnTo>
                    <a:lnTo>
                      <a:pt x="971" y="578"/>
                    </a:lnTo>
                    <a:lnTo>
                      <a:pt x="971" y="580"/>
                    </a:lnTo>
                    <a:lnTo>
                      <a:pt x="971" y="582"/>
                    </a:lnTo>
                    <a:lnTo>
                      <a:pt x="969" y="582"/>
                    </a:lnTo>
                    <a:lnTo>
                      <a:pt x="968" y="583"/>
                    </a:lnTo>
                    <a:lnTo>
                      <a:pt x="968" y="585"/>
                    </a:lnTo>
                    <a:lnTo>
                      <a:pt x="966" y="585"/>
                    </a:lnTo>
                    <a:lnTo>
                      <a:pt x="965" y="585"/>
                    </a:lnTo>
                    <a:lnTo>
                      <a:pt x="965" y="586"/>
                    </a:lnTo>
                    <a:lnTo>
                      <a:pt x="974" y="597"/>
                    </a:lnTo>
                    <a:lnTo>
                      <a:pt x="988" y="597"/>
                    </a:lnTo>
                    <a:lnTo>
                      <a:pt x="995" y="604"/>
                    </a:lnTo>
                    <a:lnTo>
                      <a:pt x="1003" y="617"/>
                    </a:lnTo>
                    <a:lnTo>
                      <a:pt x="1003" y="628"/>
                    </a:lnTo>
                    <a:lnTo>
                      <a:pt x="1003" y="634"/>
                    </a:lnTo>
                    <a:lnTo>
                      <a:pt x="999" y="643"/>
                    </a:lnTo>
                    <a:lnTo>
                      <a:pt x="995" y="659"/>
                    </a:lnTo>
                    <a:lnTo>
                      <a:pt x="980" y="672"/>
                    </a:lnTo>
                    <a:lnTo>
                      <a:pt x="976" y="686"/>
                    </a:lnTo>
                    <a:lnTo>
                      <a:pt x="974" y="700"/>
                    </a:lnTo>
                    <a:lnTo>
                      <a:pt x="972" y="713"/>
                    </a:lnTo>
                    <a:lnTo>
                      <a:pt x="979" y="716"/>
                    </a:lnTo>
                    <a:lnTo>
                      <a:pt x="979" y="721"/>
                    </a:lnTo>
                    <a:lnTo>
                      <a:pt x="979" y="739"/>
                    </a:lnTo>
                    <a:lnTo>
                      <a:pt x="977" y="746"/>
                    </a:lnTo>
                    <a:lnTo>
                      <a:pt x="971" y="751"/>
                    </a:lnTo>
                    <a:lnTo>
                      <a:pt x="969" y="753"/>
                    </a:lnTo>
                    <a:lnTo>
                      <a:pt x="968" y="753"/>
                    </a:lnTo>
                    <a:lnTo>
                      <a:pt x="965" y="753"/>
                    </a:lnTo>
                    <a:lnTo>
                      <a:pt x="963" y="753"/>
                    </a:lnTo>
                    <a:lnTo>
                      <a:pt x="961" y="753"/>
                    </a:lnTo>
                    <a:lnTo>
                      <a:pt x="960" y="754"/>
                    </a:lnTo>
                    <a:lnTo>
                      <a:pt x="958" y="754"/>
                    </a:lnTo>
                    <a:lnTo>
                      <a:pt x="957" y="756"/>
                    </a:lnTo>
                    <a:lnTo>
                      <a:pt x="955" y="756"/>
                    </a:lnTo>
                    <a:lnTo>
                      <a:pt x="953" y="756"/>
                    </a:lnTo>
                    <a:lnTo>
                      <a:pt x="952" y="756"/>
                    </a:lnTo>
                    <a:lnTo>
                      <a:pt x="950" y="756"/>
                    </a:lnTo>
                    <a:lnTo>
                      <a:pt x="949" y="758"/>
                    </a:lnTo>
                    <a:lnTo>
                      <a:pt x="947" y="758"/>
                    </a:lnTo>
                    <a:lnTo>
                      <a:pt x="946" y="756"/>
                    </a:lnTo>
                    <a:lnTo>
                      <a:pt x="942" y="756"/>
                    </a:lnTo>
                    <a:lnTo>
                      <a:pt x="941" y="756"/>
                    </a:lnTo>
                    <a:lnTo>
                      <a:pt x="939" y="756"/>
                    </a:lnTo>
                    <a:lnTo>
                      <a:pt x="938" y="758"/>
                    </a:lnTo>
                    <a:lnTo>
                      <a:pt x="936" y="758"/>
                    </a:lnTo>
                    <a:lnTo>
                      <a:pt x="934" y="758"/>
                    </a:lnTo>
                    <a:lnTo>
                      <a:pt x="933" y="758"/>
                    </a:lnTo>
                    <a:lnTo>
                      <a:pt x="931" y="758"/>
                    </a:lnTo>
                    <a:lnTo>
                      <a:pt x="930" y="758"/>
                    </a:lnTo>
                    <a:lnTo>
                      <a:pt x="928" y="758"/>
                    </a:lnTo>
                    <a:lnTo>
                      <a:pt x="927" y="758"/>
                    </a:lnTo>
                    <a:lnTo>
                      <a:pt x="925" y="758"/>
                    </a:lnTo>
                    <a:lnTo>
                      <a:pt x="925" y="759"/>
                    </a:lnTo>
                    <a:lnTo>
                      <a:pt x="925" y="761"/>
                    </a:lnTo>
                    <a:lnTo>
                      <a:pt x="925" y="762"/>
                    </a:lnTo>
                    <a:lnTo>
                      <a:pt x="923" y="762"/>
                    </a:lnTo>
                    <a:lnTo>
                      <a:pt x="923" y="764"/>
                    </a:lnTo>
                    <a:lnTo>
                      <a:pt x="922" y="765"/>
                    </a:lnTo>
                    <a:lnTo>
                      <a:pt x="920" y="765"/>
                    </a:lnTo>
                    <a:lnTo>
                      <a:pt x="919" y="765"/>
                    </a:lnTo>
                    <a:lnTo>
                      <a:pt x="917" y="765"/>
                    </a:lnTo>
                    <a:lnTo>
                      <a:pt x="917" y="767"/>
                    </a:lnTo>
                    <a:lnTo>
                      <a:pt x="915" y="767"/>
                    </a:lnTo>
                    <a:lnTo>
                      <a:pt x="915" y="769"/>
                    </a:lnTo>
                    <a:lnTo>
                      <a:pt x="914" y="769"/>
                    </a:lnTo>
                    <a:lnTo>
                      <a:pt x="912" y="770"/>
                    </a:lnTo>
                    <a:lnTo>
                      <a:pt x="911" y="770"/>
                    </a:lnTo>
                    <a:lnTo>
                      <a:pt x="909" y="770"/>
                    </a:lnTo>
                    <a:lnTo>
                      <a:pt x="908" y="770"/>
                    </a:lnTo>
                    <a:lnTo>
                      <a:pt x="906" y="770"/>
                    </a:lnTo>
                    <a:lnTo>
                      <a:pt x="904" y="772"/>
                    </a:lnTo>
                    <a:lnTo>
                      <a:pt x="903" y="772"/>
                    </a:lnTo>
                    <a:lnTo>
                      <a:pt x="901" y="772"/>
                    </a:lnTo>
                    <a:lnTo>
                      <a:pt x="900" y="772"/>
                    </a:lnTo>
                    <a:lnTo>
                      <a:pt x="901" y="772"/>
                    </a:lnTo>
                    <a:lnTo>
                      <a:pt x="901" y="770"/>
                    </a:lnTo>
                    <a:lnTo>
                      <a:pt x="901" y="769"/>
                    </a:lnTo>
                    <a:lnTo>
                      <a:pt x="903" y="769"/>
                    </a:lnTo>
                    <a:lnTo>
                      <a:pt x="903" y="767"/>
                    </a:lnTo>
                    <a:lnTo>
                      <a:pt x="903" y="765"/>
                    </a:lnTo>
                    <a:lnTo>
                      <a:pt x="903" y="764"/>
                    </a:lnTo>
                    <a:lnTo>
                      <a:pt x="903" y="762"/>
                    </a:lnTo>
                    <a:lnTo>
                      <a:pt x="903" y="761"/>
                    </a:lnTo>
                    <a:lnTo>
                      <a:pt x="901" y="759"/>
                    </a:lnTo>
                    <a:lnTo>
                      <a:pt x="901" y="758"/>
                    </a:lnTo>
                    <a:lnTo>
                      <a:pt x="900" y="756"/>
                    </a:lnTo>
                    <a:lnTo>
                      <a:pt x="900" y="754"/>
                    </a:lnTo>
                    <a:lnTo>
                      <a:pt x="900" y="753"/>
                    </a:lnTo>
                    <a:lnTo>
                      <a:pt x="900" y="751"/>
                    </a:lnTo>
                    <a:lnTo>
                      <a:pt x="898" y="750"/>
                    </a:lnTo>
                    <a:lnTo>
                      <a:pt x="896" y="750"/>
                    </a:lnTo>
                    <a:lnTo>
                      <a:pt x="895" y="750"/>
                    </a:lnTo>
                    <a:lnTo>
                      <a:pt x="893" y="750"/>
                    </a:lnTo>
                    <a:lnTo>
                      <a:pt x="892" y="750"/>
                    </a:lnTo>
                    <a:lnTo>
                      <a:pt x="890" y="750"/>
                    </a:lnTo>
                    <a:lnTo>
                      <a:pt x="889" y="750"/>
                    </a:lnTo>
                    <a:lnTo>
                      <a:pt x="887" y="750"/>
                    </a:lnTo>
                    <a:lnTo>
                      <a:pt x="885" y="750"/>
                    </a:lnTo>
                    <a:lnTo>
                      <a:pt x="884" y="751"/>
                    </a:lnTo>
                    <a:lnTo>
                      <a:pt x="882" y="751"/>
                    </a:lnTo>
                    <a:lnTo>
                      <a:pt x="881" y="751"/>
                    </a:lnTo>
                    <a:lnTo>
                      <a:pt x="879" y="750"/>
                    </a:lnTo>
                    <a:lnTo>
                      <a:pt x="877" y="750"/>
                    </a:lnTo>
                    <a:lnTo>
                      <a:pt x="876" y="750"/>
                    </a:lnTo>
                    <a:lnTo>
                      <a:pt x="874" y="750"/>
                    </a:lnTo>
                    <a:lnTo>
                      <a:pt x="874" y="748"/>
                    </a:lnTo>
                    <a:lnTo>
                      <a:pt x="873" y="748"/>
                    </a:lnTo>
                    <a:lnTo>
                      <a:pt x="871" y="748"/>
                    </a:lnTo>
                    <a:lnTo>
                      <a:pt x="870" y="748"/>
                    </a:lnTo>
                    <a:lnTo>
                      <a:pt x="868" y="748"/>
                    </a:lnTo>
                    <a:lnTo>
                      <a:pt x="866" y="748"/>
                    </a:lnTo>
                    <a:lnTo>
                      <a:pt x="865" y="748"/>
                    </a:lnTo>
                    <a:lnTo>
                      <a:pt x="863" y="748"/>
                    </a:lnTo>
                    <a:lnTo>
                      <a:pt x="863" y="750"/>
                    </a:lnTo>
                    <a:lnTo>
                      <a:pt x="862" y="750"/>
                    </a:lnTo>
                    <a:lnTo>
                      <a:pt x="862" y="751"/>
                    </a:lnTo>
                    <a:lnTo>
                      <a:pt x="860" y="751"/>
                    </a:lnTo>
                    <a:lnTo>
                      <a:pt x="858" y="751"/>
                    </a:lnTo>
                    <a:lnTo>
                      <a:pt x="858" y="750"/>
                    </a:lnTo>
                    <a:lnTo>
                      <a:pt x="857" y="751"/>
                    </a:lnTo>
                    <a:lnTo>
                      <a:pt x="855" y="751"/>
                    </a:lnTo>
                    <a:lnTo>
                      <a:pt x="854" y="751"/>
                    </a:lnTo>
                    <a:lnTo>
                      <a:pt x="854" y="753"/>
                    </a:lnTo>
                    <a:lnTo>
                      <a:pt x="852" y="753"/>
                    </a:lnTo>
                    <a:lnTo>
                      <a:pt x="851" y="753"/>
                    </a:lnTo>
                    <a:lnTo>
                      <a:pt x="851" y="754"/>
                    </a:lnTo>
                    <a:lnTo>
                      <a:pt x="852" y="754"/>
                    </a:lnTo>
                    <a:lnTo>
                      <a:pt x="852" y="756"/>
                    </a:lnTo>
                    <a:lnTo>
                      <a:pt x="852" y="758"/>
                    </a:lnTo>
                    <a:lnTo>
                      <a:pt x="851" y="758"/>
                    </a:lnTo>
                    <a:lnTo>
                      <a:pt x="851" y="759"/>
                    </a:lnTo>
                    <a:lnTo>
                      <a:pt x="849" y="759"/>
                    </a:lnTo>
                    <a:lnTo>
                      <a:pt x="847" y="759"/>
                    </a:lnTo>
                    <a:lnTo>
                      <a:pt x="846" y="759"/>
                    </a:lnTo>
                    <a:lnTo>
                      <a:pt x="846" y="761"/>
                    </a:lnTo>
                    <a:lnTo>
                      <a:pt x="844" y="759"/>
                    </a:lnTo>
                    <a:lnTo>
                      <a:pt x="844" y="758"/>
                    </a:lnTo>
                    <a:lnTo>
                      <a:pt x="843" y="758"/>
                    </a:lnTo>
                    <a:lnTo>
                      <a:pt x="841" y="758"/>
                    </a:lnTo>
                    <a:lnTo>
                      <a:pt x="841" y="759"/>
                    </a:lnTo>
                    <a:lnTo>
                      <a:pt x="841" y="758"/>
                    </a:lnTo>
                    <a:lnTo>
                      <a:pt x="839" y="758"/>
                    </a:lnTo>
                    <a:lnTo>
                      <a:pt x="838" y="758"/>
                    </a:lnTo>
                    <a:lnTo>
                      <a:pt x="836" y="758"/>
                    </a:lnTo>
                    <a:lnTo>
                      <a:pt x="835" y="759"/>
                    </a:lnTo>
                    <a:lnTo>
                      <a:pt x="833" y="759"/>
                    </a:lnTo>
                    <a:lnTo>
                      <a:pt x="832" y="759"/>
                    </a:lnTo>
                    <a:lnTo>
                      <a:pt x="830" y="759"/>
                    </a:lnTo>
                    <a:lnTo>
                      <a:pt x="828" y="759"/>
                    </a:lnTo>
                    <a:lnTo>
                      <a:pt x="827" y="759"/>
                    </a:lnTo>
                    <a:lnTo>
                      <a:pt x="827" y="758"/>
                    </a:lnTo>
                    <a:lnTo>
                      <a:pt x="825" y="758"/>
                    </a:lnTo>
                    <a:lnTo>
                      <a:pt x="825" y="756"/>
                    </a:lnTo>
                    <a:lnTo>
                      <a:pt x="824" y="754"/>
                    </a:lnTo>
                    <a:lnTo>
                      <a:pt x="824" y="753"/>
                    </a:lnTo>
                    <a:lnTo>
                      <a:pt x="822" y="753"/>
                    </a:lnTo>
                    <a:lnTo>
                      <a:pt x="822" y="751"/>
                    </a:lnTo>
                    <a:lnTo>
                      <a:pt x="820" y="750"/>
                    </a:lnTo>
                    <a:lnTo>
                      <a:pt x="820" y="748"/>
                    </a:lnTo>
                    <a:lnTo>
                      <a:pt x="819" y="748"/>
                    </a:lnTo>
                    <a:lnTo>
                      <a:pt x="819" y="746"/>
                    </a:lnTo>
                    <a:lnTo>
                      <a:pt x="817" y="746"/>
                    </a:lnTo>
                    <a:lnTo>
                      <a:pt x="817" y="745"/>
                    </a:lnTo>
                    <a:lnTo>
                      <a:pt x="816" y="745"/>
                    </a:lnTo>
                    <a:lnTo>
                      <a:pt x="816" y="743"/>
                    </a:lnTo>
                    <a:lnTo>
                      <a:pt x="816" y="742"/>
                    </a:lnTo>
                    <a:lnTo>
                      <a:pt x="816" y="740"/>
                    </a:lnTo>
                    <a:lnTo>
                      <a:pt x="816" y="739"/>
                    </a:lnTo>
                    <a:lnTo>
                      <a:pt x="814" y="737"/>
                    </a:lnTo>
                    <a:lnTo>
                      <a:pt x="814" y="735"/>
                    </a:lnTo>
                    <a:lnTo>
                      <a:pt x="814" y="734"/>
                    </a:lnTo>
                    <a:lnTo>
                      <a:pt x="814" y="732"/>
                    </a:lnTo>
                    <a:lnTo>
                      <a:pt x="814" y="731"/>
                    </a:lnTo>
                    <a:lnTo>
                      <a:pt x="814" y="729"/>
                    </a:lnTo>
                    <a:lnTo>
                      <a:pt x="814" y="726"/>
                    </a:lnTo>
                    <a:lnTo>
                      <a:pt x="814" y="724"/>
                    </a:lnTo>
                    <a:lnTo>
                      <a:pt x="814" y="723"/>
                    </a:lnTo>
                    <a:lnTo>
                      <a:pt x="814" y="721"/>
                    </a:lnTo>
                    <a:lnTo>
                      <a:pt x="814" y="720"/>
                    </a:lnTo>
                    <a:lnTo>
                      <a:pt x="814" y="718"/>
                    </a:lnTo>
                    <a:lnTo>
                      <a:pt x="813" y="718"/>
                    </a:lnTo>
                    <a:lnTo>
                      <a:pt x="813" y="716"/>
                    </a:lnTo>
                    <a:lnTo>
                      <a:pt x="813" y="715"/>
                    </a:lnTo>
                    <a:lnTo>
                      <a:pt x="813" y="713"/>
                    </a:lnTo>
                    <a:lnTo>
                      <a:pt x="813" y="712"/>
                    </a:lnTo>
                    <a:lnTo>
                      <a:pt x="813" y="710"/>
                    </a:lnTo>
                    <a:lnTo>
                      <a:pt x="813" y="708"/>
                    </a:lnTo>
                    <a:lnTo>
                      <a:pt x="813" y="707"/>
                    </a:lnTo>
                    <a:lnTo>
                      <a:pt x="813" y="705"/>
                    </a:lnTo>
                    <a:lnTo>
                      <a:pt x="811" y="705"/>
                    </a:lnTo>
                    <a:lnTo>
                      <a:pt x="811" y="704"/>
                    </a:lnTo>
                    <a:lnTo>
                      <a:pt x="811" y="702"/>
                    </a:lnTo>
                    <a:lnTo>
                      <a:pt x="811" y="700"/>
                    </a:lnTo>
                    <a:lnTo>
                      <a:pt x="811" y="699"/>
                    </a:lnTo>
                    <a:lnTo>
                      <a:pt x="809" y="699"/>
                    </a:lnTo>
                    <a:lnTo>
                      <a:pt x="809" y="697"/>
                    </a:lnTo>
                    <a:lnTo>
                      <a:pt x="809" y="696"/>
                    </a:lnTo>
                    <a:lnTo>
                      <a:pt x="808" y="696"/>
                    </a:lnTo>
                    <a:lnTo>
                      <a:pt x="809" y="694"/>
                    </a:lnTo>
                    <a:lnTo>
                      <a:pt x="809" y="693"/>
                    </a:lnTo>
                    <a:lnTo>
                      <a:pt x="808" y="693"/>
                    </a:lnTo>
                    <a:lnTo>
                      <a:pt x="808" y="691"/>
                    </a:lnTo>
                    <a:lnTo>
                      <a:pt x="808" y="689"/>
                    </a:lnTo>
                    <a:lnTo>
                      <a:pt x="808" y="688"/>
                    </a:lnTo>
                    <a:lnTo>
                      <a:pt x="806" y="688"/>
                    </a:lnTo>
                    <a:lnTo>
                      <a:pt x="806" y="686"/>
                    </a:lnTo>
                    <a:lnTo>
                      <a:pt x="805" y="686"/>
                    </a:lnTo>
                    <a:lnTo>
                      <a:pt x="805" y="685"/>
                    </a:lnTo>
                    <a:lnTo>
                      <a:pt x="805" y="683"/>
                    </a:lnTo>
                    <a:lnTo>
                      <a:pt x="805" y="681"/>
                    </a:lnTo>
                    <a:lnTo>
                      <a:pt x="805" y="680"/>
                    </a:lnTo>
                    <a:lnTo>
                      <a:pt x="803" y="680"/>
                    </a:lnTo>
                    <a:lnTo>
                      <a:pt x="803" y="678"/>
                    </a:lnTo>
                    <a:lnTo>
                      <a:pt x="803" y="677"/>
                    </a:lnTo>
                    <a:lnTo>
                      <a:pt x="803" y="675"/>
                    </a:lnTo>
                    <a:lnTo>
                      <a:pt x="801" y="675"/>
                    </a:lnTo>
                    <a:lnTo>
                      <a:pt x="801" y="674"/>
                    </a:lnTo>
                    <a:lnTo>
                      <a:pt x="800" y="672"/>
                    </a:lnTo>
                    <a:lnTo>
                      <a:pt x="800" y="670"/>
                    </a:lnTo>
                    <a:lnTo>
                      <a:pt x="798" y="670"/>
                    </a:lnTo>
                    <a:lnTo>
                      <a:pt x="798" y="669"/>
                    </a:lnTo>
                    <a:lnTo>
                      <a:pt x="797" y="667"/>
                    </a:lnTo>
                    <a:lnTo>
                      <a:pt x="797" y="666"/>
                    </a:lnTo>
                    <a:lnTo>
                      <a:pt x="797" y="664"/>
                    </a:lnTo>
                    <a:lnTo>
                      <a:pt x="798" y="664"/>
                    </a:lnTo>
                    <a:lnTo>
                      <a:pt x="798" y="662"/>
                    </a:lnTo>
                    <a:lnTo>
                      <a:pt x="797" y="662"/>
                    </a:lnTo>
                    <a:lnTo>
                      <a:pt x="797" y="661"/>
                    </a:lnTo>
                    <a:lnTo>
                      <a:pt x="795" y="661"/>
                    </a:lnTo>
                    <a:lnTo>
                      <a:pt x="795" y="659"/>
                    </a:lnTo>
                    <a:lnTo>
                      <a:pt x="795" y="658"/>
                    </a:lnTo>
                    <a:lnTo>
                      <a:pt x="795" y="656"/>
                    </a:lnTo>
                    <a:lnTo>
                      <a:pt x="797" y="656"/>
                    </a:lnTo>
                    <a:lnTo>
                      <a:pt x="797" y="655"/>
                    </a:lnTo>
                    <a:lnTo>
                      <a:pt x="798" y="655"/>
                    </a:lnTo>
                    <a:lnTo>
                      <a:pt x="800" y="655"/>
                    </a:lnTo>
                    <a:lnTo>
                      <a:pt x="801" y="655"/>
                    </a:lnTo>
                    <a:lnTo>
                      <a:pt x="801" y="653"/>
                    </a:lnTo>
                    <a:lnTo>
                      <a:pt x="803" y="653"/>
                    </a:lnTo>
                    <a:lnTo>
                      <a:pt x="805" y="653"/>
                    </a:lnTo>
                    <a:lnTo>
                      <a:pt x="806" y="653"/>
                    </a:lnTo>
                    <a:lnTo>
                      <a:pt x="808" y="653"/>
                    </a:lnTo>
                    <a:lnTo>
                      <a:pt x="808" y="651"/>
                    </a:lnTo>
                    <a:lnTo>
                      <a:pt x="809" y="651"/>
                    </a:lnTo>
                    <a:lnTo>
                      <a:pt x="811" y="651"/>
                    </a:lnTo>
                    <a:lnTo>
                      <a:pt x="813" y="651"/>
                    </a:lnTo>
                    <a:lnTo>
                      <a:pt x="813" y="653"/>
                    </a:lnTo>
                    <a:lnTo>
                      <a:pt x="814" y="653"/>
                    </a:lnTo>
                    <a:lnTo>
                      <a:pt x="814" y="651"/>
                    </a:lnTo>
                    <a:lnTo>
                      <a:pt x="816" y="651"/>
                    </a:lnTo>
                    <a:lnTo>
                      <a:pt x="817" y="650"/>
                    </a:lnTo>
                    <a:lnTo>
                      <a:pt x="819" y="650"/>
                    </a:lnTo>
                    <a:lnTo>
                      <a:pt x="819" y="648"/>
                    </a:lnTo>
                    <a:lnTo>
                      <a:pt x="820" y="648"/>
                    </a:lnTo>
                    <a:lnTo>
                      <a:pt x="822" y="648"/>
                    </a:lnTo>
                    <a:lnTo>
                      <a:pt x="824" y="648"/>
                    </a:lnTo>
                    <a:lnTo>
                      <a:pt x="824" y="647"/>
                    </a:lnTo>
                    <a:lnTo>
                      <a:pt x="825" y="647"/>
                    </a:lnTo>
                    <a:lnTo>
                      <a:pt x="825" y="645"/>
                    </a:lnTo>
                    <a:lnTo>
                      <a:pt x="827" y="645"/>
                    </a:lnTo>
                    <a:lnTo>
                      <a:pt x="827" y="643"/>
                    </a:lnTo>
                    <a:lnTo>
                      <a:pt x="828" y="643"/>
                    </a:lnTo>
                    <a:lnTo>
                      <a:pt x="830" y="642"/>
                    </a:lnTo>
                    <a:lnTo>
                      <a:pt x="828" y="642"/>
                    </a:lnTo>
                    <a:lnTo>
                      <a:pt x="828" y="640"/>
                    </a:lnTo>
                    <a:lnTo>
                      <a:pt x="827" y="640"/>
                    </a:lnTo>
                    <a:lnTo>
                      <a:pt x="827" y="639"/>
                    </a:lnTo>
                    <a:lnTo>
                      <a:pt x="825" y="639"/>
                    </a:lnTo>
                    <a:lnTo>
                      <a:pt x="824" y="637"/>
                    </a:lnTo>
                    <a:lnTo>
                      <a:pt x="824" y="636"/>
                    </a:lnTo>
                    <a:lnTo>
                      <a:pt x="822" y="636"/>
                    </a:lnTo>
                    <a:lnTo>
                      <a:pt x="822" y="634"/>
                    </a:lnTo>
                    <a:lnTo>
                      <a:pt x="824" y="632"/>
                    </a:lnTo>
                    <a:lnTo>
                      <a:pt x="825" y="632"/>
                    </a:lnTo>
                    <a:lnTo>
                      <a:pt x="827" y="632"/>
                    </a:lnTo>
                    <a:lnTo>
                      <a:pt x="827" y="634"/>
                    </a:lnTo>
                    <a:lnTo>
                      <a:pt x="828" y="634"/>
                    </a:lnTo>
                    <a:lnTo>
                      <a:pt x="830" y="634"/>
                    </a:lnTo>
                    <a:lnTo>
                      <a:pt x="830" y="632"/>
                    </a:lnTo>
                    <a:lnTo>
                      <a:pt x="830" y="631"/>
                    </a:lnTo>
                    <a:lnTo>
                      <a:pt x="830" y="629"/>
                    </a:lnTo>
                    <a:lnTo>
                      <a:pt x="832" y="629"/>
                    </a:lnTo>
                    <a:lnTo>
                      <a:pt x="832" y="628"/>
                    </a:lnTo>
                    <a:lnTo>
                      <a:pt x="832" y="626"/>
                    </a:lnTo>
                    <a:lnTo>
                      <a:pt x="830" y="626"/>
                    </a:lnTo>
                    <a:lnTo>
                      <a:pt x="830" y="624"/>
                    </a:lnTo>
                    <a:lnTo>
                      <a:pt x="828" y="624"/>
                    </a:lnTo>
                    <a:lnTo>
                      <a:pt x="827" y="624"/>
                    </a:lnTo>
                    <a:lnTo>
                      <a:pt x="827" y="623"/>
                    </a:lnTo>
                    <a:lnTo>
                      <a:pt x="825" y="623"/>
                    </a:lnTo>
                    <a:lnTo>
                      <a:pt x="824" y="623"/>
                    </a:lnTo>
                    <a:lnTo>
                      <a:pt x="822" y="623"/>
                    </a:lnTo>
                    <a:lnTo>
                      <a:pt x="822" y="621"/>
                    </a:lnTo>
                    <a:lnTo>
                      <a:pt x="822" y="620"/>
                    </a:lnTo>
                    <a:lnTo>
                      <a:pt x="824" y="620"/>
                    </a:lnTo>
                    <a:lnTo>
                      <a:pt x="824" y="618"/>
                    </a:lnTo>
                    <a:lnTo>
                      <a:pt x="824" y="617"/>
                    </a:lnTo>
                    <a:lnTo>
                      <a:pt x="825" y="617"/>
                    </a:lnTo>
                    <a:lnTo>
                      <a:pt x="825" y="615"/>
                    </a:lnTo>
                    <a:lnTo>
                      <a:pt x="827" y="615"/>
                    </a:lnTo>
                    <a:lnTo>
                      <a:pt x="828" y="613"/>
                    </a:lnTo>
                    <a:lnTo>
                      <a:pt x="830" y="613"/>
                    </a:lnTo>
                    <a:lnTo>
                      <a:pt x="832" y="613"/>
                    </a:lnTo>
                    <a:lnTo>
                      <a:pt x="832" y="612"/>
                    </a:lnTo>
                    <a:lnTo>
                      <a:pt x="833" y="612"/>
                    </a:lnTo>
                    <a:lnTo>
                      <a:pt x="833" y="610"/>
                    </a:lnTo>
                    <a:lnTo>
                      <a:pt x="833" y="609"/>
                    </a:lnTo>
                    <a:lnTo>
                      <a:pt x="832" y="609"/>
                    </a:lnTo>
                    <a:lnTo>
                      <a:pt x="830" y="607"/>
                    </a:lnTo>
                    <a:lnTo>
                      <a:pt x="827" y="605"/>
                    </a:lnTo>
                    <a:lnTo>
                      <a:pt x="825" y="605"/>
                    </a:lnTo>
                    <a:lnTo>
                      <a:pt x="825" y="604"/>
                    </a:lnTo>
                    <a:lnTo>
                      <a:pt x="827" y="602"/>
                    </a:lnTo>
                    <a:lnTo>
                      <a:pt x="828" y="601"/>
                    </a:lnTo>
                    <a:lnTo>
                      <a:pt x="830" y="601"/>
                    </a:lnTo>
                    <a:lnTo>
                      <a:pt x="832" y="599"/>
                    </a:lnTo>
                    <a:lnTo>
                      <a:pt x="833" y="599"/>
                    </a:lnTo>
                    <a:lnTo>
                      <a:pt x="835" y="597"/>
                    </a:lnTo>
                    <a:lnTo>
                      <a:pt x="835" y="596"/>
                    </a:lnTo>
                    <a:lnTo>
                      <a:pt x="836" y="596"/>
                    </a:lnTo>
                    <a:lnTo>
                      <a:pt x="838" y="596"/>
                    </a:lnTo>
                    <a:lnTo>
                      <a:pt x="838" y="594"/>
                    </a:lnTo>
                    <a:lnTo>
                      <a:pt x="836" y="594"/>
                    </a:lnTo>
                    <a:lnTo>
                      <a:pt x="835" y="594"/>
                    </a:lnTo>
                    <a:lnTo>
                      <a:pt x="835" y="593"/>
                    </a:lnTo>
                    <a:lnTo>
                      <a:pt x="833" y="591"/>
                    </a:lnTo>
                    <a:lnTo>
                      <a:pt x="830" y="591"/>
                    </a:lnTo>
                    <a:lnTo>
                      <a:pt x="828" y="591"/>
                    </a:lnTo>
                    <a:lnTo>
                      <a:pt x="828" y="593"/>
                    </a:lnTo>
                    <a:lnTo>
                      <a:pt x="827" y="593"/>
                    </a:lnTo>
                    <a:lnTo>
                      <a:pt x="825" y="591"/>
                    </a:lnTo>
                    <a:lnTo>
                      <a:pt x="824" y="590"/>
                    </a:lnTo>
                    <a:lnTo>
                      <a:pt x="824" y="588"/>
                    </a:lnTo>
                    <a:lnTo>
                      <a:pt x="824" y="586"/>
                    </a:lnTo>
                    <a:lnTo>
                      <a:pt x="822" y="586"/>
                    </a:lnTo>
                    <a:lnTo>
                      <a:pt x="822" y="585"/>
                    </a:lnTo>
                    <a:lnTo>
                      <a:pt x="822" y="583"/>
                    </a:lnTo>
                    <a:lnTo>
                      <a:pt x="822" y="582"/>
                    </a:lnTo>
                    <a:lnTo>
                      <a:pt x="820" y="582"/>
                    </a:lnTo>
                    <a:lnTo>
                      <a:pt x="819" y="582"/>
                    </a:lnTo>
                    <a:lnTo>
                      <a:pt x="819" y="580"/>
                    </a:lnTo>
                    <a:lnTo>
                      <a:pt x="820" y="580"/>
                    </a:lnTo>
                    <a:lnTo>
                      <a:pt x="820" y="578"/>
                    </a:lnTo>
                    <a:lnTo>
                      <a:pt x="820" y="577"/>
                    </a:lnTo>
                    <a:lnTo>
                      <a:pt x="820" y="575"/>
                    </a:lnTo>
                    <a:lnTo>
                      <a:pt x="819" y="575"/>
                    </a:lnTo>
                    <a:lnTo>
                      <a:pt x="819" y="574"/>
                    </a:lnTo>
                    <a:lnTo>
                      <a:pt x="817" y="574"/>
                    </a:lnTo>
                    <a:lnTo>
                      <a:pt x="817" y="572"/>
                    </a:lnTo>
                    <a:lnTo>
                      <a:pt x="816" y="572"/>
                    </a:lnTo>
                    <a:lnTo>
                      <a:pt x="814" y="572"/>
                    </a:lnTo>
                    <a:lnTo>
                      <a:pt x="813" y="572"/>
                    </a:lnTo>
                    <a:lnTo>
                      <a:pt x="813" y="574"/>
                    </a:lnTo>
                    <a:lnTo>
                      <a:pt x="811" y="574"/>
                    </a:lnTo>
                    <a:lnTo>
                      <a:pt x="811" y="572"/>
                    </a:lnTo>
                    <a:lnTo>
                      <a:pt x="813" y="572"/>
                    </a:lnTo>
                    <a:lnTo>
                      <a:pt x="813" y="571"/>
                    </a:lnTo>
                    <a:lnTo>
                      <a:pt x="813" y="569"/>
                    </a:lnTo>
                    <a:lnTo>
                      <a:pt x="813" y="567"/>
                    </a:lnTo>
                    <a:lnTo>
                      <a:pt x="813" y="566"/>
                    </a:lnTo>
                    <a:lnTo>
                      <a:pt x="813" y="564"/>
                    </a:lnTo>
                    <a:lnTo>
                      <a:pt x="813" y="563"/>
                    </a:lnTo>
                    <a:lnTo>
                      <a:pt x="813" y="561"/>
                    </a:lnTo>
                    <a:lnTo>
                      <a:pt x="813" y="559"/>
                    </a:lnTo>
                    <a:lnTo>
                      <a:pt x="811" y="559"/>
                    </a:lnTo>
                    <a:lnTo>
                      <a:pt x="811" y="558"/>
                    </a:lnTo>
                    <a:lnTo>
                      <a:pt x="811" y="556"/>
                    </a:lnTo>
                    <a:lnTo>
                      <a:pt x="813" y="556"/>
                    </a:lnTo>
                    <a:lnTo>
                      <a:pt x="813" y="555"/>
                    </a:lnTo>
                    <a:lnTo>
                      <a:pt x="813" y="553"/>
                    </a:lnTo>
                    <a:lnTo>
                      <a:pt x="813" y="552"/>
                    </a:lnTo>
                    <a:lnTo>
                      <a:pt x="813" y="550"/>
                    </a:lnTo>
                    <a:lnTo>
                      <a:pt x="811" y="550"/>
                    </a:lnTo>
                    <a:lnTo>
                      <a:pt x="809" y="550"/>
                    </a:lnTo>
                    <a:lnTo>
                      <a:pt x="809" y="548"/>
                    </a:lnTo>
                    <a:lnTo>
                      <a:pt x="808" y="548"/>
                    </a:lnTo>
                    <a:lnTo>
                      <a:pt x="808" y="547"/>
                    </a:lnTo>
                    <a:lnTo>
                      <a:pt x="806" y="547"/>
                    </a:lnTo>
                    <a:lnTo>
                      <a:pt x="805" y="547"/>
                    </a:lnTo>
                    <a:lnTo>
                      <a:pt x="805" y="548"/>
                    </a:lnTo>
                    <a:lnTo>
                      <a:pt x="803" y="548"/>
                    </a:lnTo>
                    <a:lnTo>
                      <a:pt x="801" y="548"/>
                    </a:lnTo>
                    <a:lnTo>
                      <a:pt x="800" y="548"/>
                    </a:lnTo>
                    <a:lnTo>
                      <a:pt x="800" y="547"/>
                    </a:lnTo>
                    <a:lnTo>
                      <a:pt x="798" y="547"/>
                    </a:lnTo>
                    <a:lnTo>
                      <a:pt x="797" y="547"/>
                    </a:lnTo>
                    <a:lnTo>
                      <a:pt x="795" y="547"/>
                    </a:lnTo>
                    <a:lnTo>
                      <a:pt x="795" y="548"/>
                    </a:lnTo>
                    <a:lnTo>
                      <a:pt x="793" y="548"/>
                    </a:lnTo>
                    <a:lnTo>
                      <a:pt x="793" y="550"/>
                    </a:lnTo>
                    <a:lnTo>
                      <a:pt x="792" y="550"/>
                    </a:lnTo>
                    <a:lnTo>
                      <a:pt x="790" y="550"/>
                    </a:lnTo>
                    <a:lnTo>
                      <a:pt x="789" y="550"/>
                    </a:lnTo>
                    <a:lnTo>
                      <a:pt x="787" y="550"/>
                    </a:lnTo>
                    <a:lnTo>
                      <a:pt x="786" y="550"/>
                    </a:lnTo>
                    <a:lnTo>
                      <a:pt x="786" y="552"/>
                    </a:lnTo>
                    <a:lnTo>
                      <a:pt x="786" y="553"/>
                    </a:lnTo>
                    <a:lnTo>
                      <a:pt x="784" y="553"/>
                    </a:lnTo>
                    <a:lnTo>
                      <a:pt x="782" y="553"/>
                    </a:lnTo>
                    <a:lnTo>
                      <a:pt x="781" y="553"/>
                    </a:lnTo>
                    <a:lnTo>
                      <a:pt x="781" y="555"/>
                    </a:lnTo>
                    <a:lnTo>
                      <a:pt x="779" y="555"/>
                    </a:lnTo>
                    <a:lnTo>
                      <a:pt x="779" y="556"/>
                    </a:lnTo>
                    <a:lnTo>
                      <a:pt x="779" y="558"/>
                    </a:lnTo>
                    <a:lnTo>
                      <a:pt x="778" y="558"/>
                    </a:lnTo>
                    <a:lnTo>
                      <a:pt x="778" y="559"/>
                    </a:lnTo>
                    <a:lnTo>
                      <a:pt x="776" y="559"/>
                    </a:lnTo>
                    <a:lnTo>
                      <a:pt x="776" y="561"/>
                    </a:lnTo>
                    <a:lnTo>
                      <a:pt x="774" y="561"/>
                    </a:lnTo>
                    <a:lnTo>
                      <a:pt x="773" y="561"/>
                    </a:lnTo>
                    <a:lnTo>
                      <a:pt x="771" y="561"/>
                    </a:lnTo>
                    <a:lnTo>
                      <a:pt x="770" y="561"/>
                    </a:lnTo>
                    <a:lnTo>
                      <a:pt x="770" y="563"/>
                    </a:lnTo>
                    <a:lnTo>
                      <a:pt x="768" y="563"/>
                    </a:lnTo>
                    <a:lnTo>
                      <a:pt x="768" y="561"/>
                    </a:lnTo>
                    <a:lnTo>
                      <a:pt x="767" y="561"/>
                    </a:lnTo>
                    <a:lnTo>
                      <a:pt x="767" y="559"/>
                    </a:lnTo>
                    <a:lnTo>
                      <a:pt x="765" y="559"/>
                    </a:lnTo>
                    <a:lnTo>
                      <a:pt x="765" y="558"/>
                    </a:lnTo>
                    <a:lnTo>
                      <a:pt x="765" y="556"/>
                    </a:lnTo>
                    <a:lnTo>
                      <a:pt x="763" y="556"/>
                    </a:lnTo>
                    <a:lnTo>
                      <a:pt x="763" y="555"/>
                    </a:lnTo>
                    <a:lnTo>
                      <a:pt x="762" y="555"/>
                    </a:lnTo>
                    <a:lnTo>
                      <a:pt x="760" y="555"/>
                    </a:lnTo>
                    <a:lnTo>
                      <a:pt x="760" y="553"/>
                    </a:lnTo>
                    <a:lnTo>
                      <a:pt x="759" y="553"/>
                    </a:lnTo>
                    <a:lnTo>
                      <a:pt x="757" y="553"/>
                    </a:lnTo>
                    <a:lnTo>
                      <a:pt x="755" y="552"/>
                    </a:lnTo>
                    <a:lnTo>
                      <a:pt x="754" y="552"/>
                    </a:lnTo>
                    <a:lnTo>
                      <a:pt x="754" y="550"/>
                    </a:lnTo>
                    <a:lnTo>
                      <a:pt x="752" y="550"/>
                    </a:lnTo>
                    <a:lnTo>
                      <a:pt x="752" y="552"/>
                    </a:lnTo>
                    <a:lnTo>
                      <a:pt x="751" y="552"/>
                    </a:lnTo>
                    <a:lnTo>
                      <a:pt x="749" y="552"/>
                    </a:lnTo>
                    <a:lnTo>
                      <a:pt x="749" y="550"/>
                    </a:lnTo>
                    <a:lnTo>
                      <a:pt x="748" y="550"/>
                    </a:lnTo>
                    <a:lnTo>
                      <a:pt x="746" y="548"/>
                    </a:lnTo>
                    <a:lnTo>
                      <a:pt x="744" y="547"/>
                    </a:lnTo>
                    <a:lnTo>
                      <a:pt x="746" y="547"/>
                    </a:lnTo>
                    <a:lnTo>
                      <a:pt x="746" y="545"/>
                    </a:lnTo>
                    <a:lnTo>
                      <a:pt x="746" y="544"/>
                    </a:lnTo>
                    <a:lnTo>
                      <a:pt x="746" y="542"/>
                    </a:lnTo>
                    <a:lnTo>
                      <a:pt x="744" y="540"/>
                    </a:lnTo>
                    <a:lnTo>
                      <a:pt x="744" y="539"/>
                    </a:lnTo>
                    <a:lnTo>
                      <a:pt x="744" y="537"/>
                    </a:lnTo>
                    <a:lnTo>
                      <a:pt x="744" y="536"/>
                    </a:lnTo>
                    <a:lnTo>
                      <a:pt x="744" y="534"/>
                    </a:lnTo>
                    <a:lnTo>
                      <a:pt x="744" y="533"/>
                    </a:lnTo>
                    <a:lnTo>
                      <a:pt x="743" y="531"/>
                    </a:lnTo>
                    <a:lnTo>
                      <a:pt x="744" y="531"/>
                    </a:lnTo>
                    <a:lnTo>
                      <a:pt x="744" y="529"/>
                    </a:lnTo>
                    <a:lnTo>
                      <a:pt x="744" y="528"/>
                    </a:lnTo>
                    <a:lnTo>
                      <a:pt x="744" y="526"/>
                    </a:lnTo>
                    <a:lnTo>
                      <a:pt x="744" y="525"/>
                    </a:lnTo>
                    <a:lnTo>
                      <a:pt x="744" y="523"/>
                    </a:lnTo>
                    <a:lnTo>
                      <a:pt x="744" y="521"/>
                    </a:lnTo>
                    <a:lnTo>
                      <a:pt x="746" y="521"/>
                    </a:lnTo>
                    <a:lnTo>
                      <a:pt x="746" y="520"/>
                    </a:lnTo>
                    <a:lnTo>
                      <a:pt x="748" y="520"/>
                    </a:lnTo>
                    <a:lnTo>
                      <a:pt x="748" y="518"/>
                    </a:lnTo>
                    <a:lnTo>
                      <a:pt x="749" y="518"/>
                    </a:lnTo>
                    <a:lnTo>
                      <a:pt x="749" y="517"/>
                    </a:lnTo>
                    <a:lnTo>
                      <a:pt x="751" y="517"/>
                    </a:lnTo>
                    <a:lnTo>
                      <a:pt x="752" y="517"/>
                    </a:lnTo>
                    <a:lnTo>
                      <a:pt x="752" y="515"/>
                    </a:lnTo>
                    <a:lnTo>
                      <a:pt x="754" y="515"/>
                    </a:lnTo>
                    <a:lnTo>
                      <a:pt x="754" y="514"/>
                    </a:lnTo>
                    <a:lnTo>
                      <a:pt x="755" y="514"/>
                    </a:lnTo>
                    <a:lnTo>
                      <a:pt x="755" y="512"/>
                    </a:lnTo>
                    <a:lnTo>
                      <a:pt x="755" y="510"/>
                    </a:lnTo>
                    <a:lnTo>
                      <a:pt x="755" y="509"/>
                    </a:lnTo>
                    <a:lnTo>
                      <a:pt x="755" y="507"/>
                    </a:lnTo>
                    <a:lnTo>
                      <a:pt x="755" y="506"/>
                    </a:lnTo>
                    <a:lnTo>
                      <a:pt x="755" y="504"/>
                    </a:lnTo>
                    <a:lnTo>
                      <a:pt x="755" y="502"/>
                    </a:lnTo>
                    <a:lnTo>
                      <a:pt x="757" y="502"/>
                    </a:lnTo>
                    <a:lnTo>
                      <a:pt x="757" y="501"/>
                    </a:lnTo>
                    <a:lnTo>
                      <a:pt x="755" y="501"/>
                    </a:lnTo>
                    <a:lnTo>
                      <a:pt x="754" y="501"/>
                    </a:lnTo>
                    <a:lnTo>
                      <a:pt x="752" y="501"/>
                    </a:lnTo>
                    <a:lnTo>
                      <a:pt x="751" y="502"/>
                    </a:lnTo>
                    <a:lnTo>
                      <a:pt x="749" y="502"/>
                    </a:lnTo>
                    <a:lnTo>
                      <a:pt x="749" y="501"/>
                    </a:lnTo>
                    <a:lnTo>
                      <a:pt x="748" y="501"/>
                    </a:lnTo>
                    <a:lnTo>
                      <a:pt x="748" y="499"/>
                    </a:lnTo>
                    <a:lnTo>
                      <a:pt x="748" y="498"/>
                    </a:lnTo>
                    <a:lnTo>
                      <a:pt x="746" y="498"/>
                    </a:lnTo>
                    <a:lnTo>
                      <a:pt x="746" y="496"/>
                    </a:lnTo>
                    <a:lnTo>
                      <a:pt x="746" y="495"/>
                    </a:lnTo>
                    <a:lnTo>
                      <a:pt x="744" y="495"/>
                    </a:lnTo>
                    <a:lnTo>
                      <a:pt x="743" y="495"/>
                    </a:lnTo>
                    <a:lnTo>
                      <a:pt x="741" y="495"/>
                    </a:lnTo>
                    <a:lnTo>
                      <a:pt x="740" y="495"/>
                    </a:lnTo>
                    <a:lnTo>
                      <a:pt x="738" y="495"/>
                    </a:lnTo>
                    <a:lnTo>
                      <a:pt x="736" y="495"/>
                    </a:lnTo>
                    <a:lnTo>
                      <a:pt x="735" y="495"/>
                    </a:lnTo>
                    <a:lnTo>
                      <a:pt x="733" y="495"/>
                    </a:lnTo>
                    <a:lnTo>
                      <a:pt x="732" y="495"/>
                    </a:lnTo>
                    <a:lnTo>
                      <a:pt x="732" y="493"/>
                    </a:lnTo>
                    <a:lnTo>
                      <a:pt x="730" y="493"/>
                    </a:lnTo>
                    <a:lnTo>
                      <a:pt x="730" y="491"/>
                    </a:lnTo>
                    <a:lnTo>
                      <a:pt x="732" y="491"/>
                    </a:lnTo>
                    <a:lnTo>
                      <a:pt x="732" y="490"/>
                    </a:lnTo>
                    <a:lnTo>
                      <a:pt x="730" y="490"/>
                    </a:lnTo>
                    <a:lnTo>
                      <a:pt x="730" y="488"/>
                    </a:lnTo>
                    <a:lnTo>
                      <a:pt x="730" y="487"/>
                    </a:lnTo>
                    <a:lnTo>
                      <a:pt x="732" y="487"/>
                    </a:lnTo>
                    <a:lnTo>
                      <a:pt x="732" y="485"/>
                    </a:lnTo>
                    <a:lnTo>
                      <a:pt x="730" y="483"/>
                    </a:lnTo>
                    <a:lnTo>
                      <a:pt x="730" y="482"/>
                    </a:lnTo>
                    <a:lnTo>
                      <a:pt x="730" y="480"/>
                    </a:lnTo>
                    <a:lnTo>
                      <a:pt x="729" y="479"/>
                    </a:lnTo>
                    <a:lnTo>
                      <a:pt x="729" y="477"/>
                    </a:lnTo>
                    <a:lnTo>
                      <a:pt x="727" y="477"/>
                    </a:lnTo>
                    <a:lnTo>
                      <a:pt x="725" y="479"/>
                    </a:lnTo>
                    <a:lnTo>
                      <a:pt x="724" y="479"/>
                    </a:lnTo>
                    <a:lnTo>
                      <a:pt x="724" y="480"/>
                    </a:lnTo>
                    <a:lnTo>
                      <a:pt x="722" y="480"/>
                    </a:lnTo>
                    <a:lnTo>
                      <a:pt x="721" y="482"/>
                    </a:lnTo>
                    <a:lnTo>
                      <a:pt x="719" y="482"/>
                    </a:lnTo>
                    <a:lnTo>
                      <a:pt x="717" y="482"/>
                    </a:lnTo>
                    <a:lnTo>
                      <a:pt x="716" y="482"/>
                    </a:lnTo>
                    <a:lnTo>
                      <a:pt x="714" y="482"/>
                    </a:lnTo>
                    <a:lnTo>
                      <a:pt x="713" y="482"/>
                    </a:lnTo>
                    <a:lnTo>
                      <a:pt x="713" y="483"/>
                    </a:lnTo>
                    <a:lnTo>
                      <a:pt x="713" y="485"/>
                    </a:lnTo>
                    <a:lnTo>
                      <a:pt x="711" y="485"/>
                    </a:lnTo>
                    <a:lnTo>
                      <a:pt x="710" y="485"/>
                    </a:lnTo>
                    <a:lnTo>
                      <a:pt x="708" y="485"/>
                    </a:lnTo>
                    <a:lnTo>
                      <a:pt x="706" y="485"/>
                    </a:lnTo>
                    <a:lnTo>
                      <a:pt x="705" y="485"/>
                    </a:lnTo>
                    <a:lnTo>
                      <a:pt x="703" y="485"/>
                    </a:lnTo>
                    <a:lnTo>
                      <a:pt x="702" y="485"/>
                    </a:lnTo>
                    <a:lnTo>
                      <a:pt x="700" y="487"/>
                    </a:lnTo>
                    <a:lnTo>
                      <a:pt x="697" y="487"/>
                    </a:lnTo>
                    <a:lnTo>
                      <a:pt x="697" y="488"/>
                    </a:lnTo>
                    <a:lnTo>
                      <a:pt x="695" y="487"/>
                    </a:lnTo>
                    <a:lnTo>
                      <a:pt x="694" y="485"/>
                    </a:lnTo>
                    <a:lnTo>
                      <a:pt x="692" y="485"/>
                    </a:lnTo>
                    <a:lnTo>
                      <a:pt x="692" y="487"/>
                    </a:lnTo>
                    <a:lnTo>
                      <a:pt x="691" y="487"/>
                    </a:lnTo>
                    <a:lnTo>
                      <a:pt x="691" y="485"/>
                    </a:lnTo>
                    <a:lnTo>
                      <a:pt x="689" y="485"/>
                    </a:lnTo>
                    <a:lnTo>
                      <a:pt x="687" y="483"/>
                    </a:lnTo>
                    <a:lnTo>
                      <a:pt x="686" y="482"/>
                    </a:lnTo>
                    <a:lnTo>
                      <a:pt x="684" y="482"/>
                    </a:lnTo>
                    <a:lnTo>
                      <a:pt x="683" y="482"/>
                    </a:lnTo>
                    <a:lnTo>
                      <a:pt x="681" y="482"/>
                    </a:lnTo>
                    <a:lnTo>
                      <a:pt x="679" y="482"/>
                    </a:lnTo>
                    <a:lnTo>
                      <a:pt x="678" y="482"/>
                    </a:lnTo>
                    <a:lnTo>
                      <a:pt x="678" y="480"/>
                    </a:lnTo>
                    <a:lnTo>
                      <a:pt x="676" y="480"/>
                    </a:lnTo>
                    <a:lnTo>
                      <a:pt x="675" y="480"/>
                    </a:lnTo>
                    <a:lnTo>
                      <a:pt x="673" y="480"/>
                    </a:lnTo>
                    <a:lnTo>
                      <a:pt x="673" y="479"/>
                    </a:lnTo>
                    <a:lnTo>
                      <a:pt x="672" y="479"/>
                    </a:lnTo>
                    <a:lnTo>
                      <a:pt x="670" y="479"/>
                    </a:lnTo>
                    <a:lnTo>
                      <a:pt x="668" y="477"/>
                    </a:lnTo>
                    <a:lnTo>
                      <a:pt x="667" y="477"/>
                    </a:lnTo>
                    <a:lnTo>
                      <a:pt x="667" y="479"/>
                    </a:lnTo>
                    <a:lnTo>
                      <a:pt x="665" y="479"/>
                    </a:lnTo>
                    <a:lnTo>
                      <a:pt x="665" y="477"/>
                    </a:lnTo>
                    <a:lnTo>
                      <a:pt x="665" y="475"/>
                    </a:lnTo>
                    <a:lnTo>
                      <a:pt x="665" y="474"/>
                    </a:lnTo>
                    <a:lnTo>
                      <a:pt x="665" y="472"/>
                    </a:lnTo>
                    <a:lnTo>
                      <a:pt x="667" y="471"/>
                    </a:lnTo>
                    <a:lnTo>
                      <a:pt x="668" y="469"/>
                    </a:lnTo>
                    <a:lnTo>
                      <a:pt x="668" y="468"/>
                    </a:lnTo>
                    <a:lnTo>
                      <a:pt x="667" y="468"/>
                    </a:lnTo>
                    <a:lnTo>
                      <a:pt x="665" y="466"/>
                    </a:lnTo>
                    <a:lnTo>
                      <a:pt x="667" y="466"/>
                    </a:lnTo>
                    <a:lnTo>
                      <a:pt x="667" y="464"/>
                    </a:lnTo>
                    <a:lnTo>
                      <a:pt x="667" y="466"/>
                    </a:lnTo>
                    <a:lnTo>
                      <a:pt x="668" y="464"/>
                    </a:lnTo>
                    <a:lnTo>
                      <a:pt x="668" y="463"/>
                    </a:lnTo>
                    <a:lnTo>
                      <a:pt x="667" y="463"/>
                    </a:lnTo>
                    <a:lnTo>
                      <a:pt x="667" y="461"/>
                    </a:lnTo>
                    <a:lnTo>
                      <a:pt x="667" y="460"/>
                    </a:lnTo>
                    <a:lnTo>
                      <a:pt x="667" y="458"/>
                    </a:lnTo>
                    <a:lnTo>
                      <a:pt x="668" y="456"/>
                    </a:lnTo>
                    <a:lnTo>
                      <a:pt x="668" y="455"/>
                    </a:lnTo>
                    <a:lnTo>
                      <a:pt x="667" y="453"/>
                    </a:lnTo>
                    <a:lnTo>
                      <a:pt x="665" y="452"/>
                    </a:lnTo>
                    <a:lnTo>
                      <a:pt x="667" y="452"/>
                    </a:lnTo>
                    <a:lnTo>
                      <a:pt x="667" y="450"/>
                    </a:lnTo>
                    <a:lnTo>
                      <a:pt x="665" y="450"/>
                    </a:lnTo>
                    <a:lnTo>
                      <a:pt x="665" y="449"/>
                    </a:lnTo>
                    <a:lnTo>
                      <a:pt x="665" y="447"/>
                    </a:lnTo>
                    <a:lnTo>
                      <a:pt x="667" y="447"/>
                    </a:lnTo>
                    <a:lnTo>
                      <a:pt x="667" y="445"/>
                    </a:lnTo>
                    <a:lnTo>
                      <a:pt x="667" y="444"/>
                    </a:lnTo>
                    <a:lnTo>
                      <a:pt x="667" y="442"/>
                    </a:lnTo>
                    <a:lnTo>
                      <a:pt x="665" y="442"/>
                    </a:lnTo>
                    <a:lnTo>
                      <a:pt x="665" y="441"/>
                    </a:lnTo>
                    <a:lnTo>
                      <a:pt x="665" y="439"/>
                    </a:lnTo>
                    <a:lnTo>
                      <a:pt x="667" y="439"/>
                    </a:lnTo>
                    <a:lnTo>
                      <a:pt x="667" y="437"/>
                    </a:lnTo>
                    <a:lnTo>
                      <a:pt x="665" y="437"/>
                    </a:lnTo>
                    <a:lnTo>
                      <a:pt x="664" y="437"/>
                    </a:lnTo>
                    <a:lnTo>
                      <a:pt x="664" y="436"/>
                    </a:lnTo>
                    <a:lnTo>
                      <a:pt x="662" y="436"/>
                    </a:lnTo>
                    <a:lnTo>
                      <a:pt x="662" y="434"/>
                    </a:lnTo>
                    <a:lnTo>
                      <a:pt x="662" y="433"/>
                    </a:lnTo>
                    <a:lnTo>
                      <a:pt x="662" y="431"/>
                    </a:lnTo>
                    <a:lnTo>
                      <a:pt x="660" y="431"/>
                    </a:lnTo>
                    <a:lnTo>
                      <a:pt x="660" y="430"/>
                    </a:lnTo>
                    <a:lnTo>
                      <a:pt x="659" y="430"/>
                    </a:lnTo>
                    <a:lnTo>
                      <a:pt x="659" y="428"/>
                    </a:lnTo>
                    <a:lnTo>
                      <a:pt x="659" y="426"/>
                    </a:lnTo>
                    <a:lnTo>
                      <a:pt x="657" y="425"/>
                    </a:lnTo>
                    <a:lnTo>
                      <a:pt x="657" y="423"/>
                    </a:lnTo>
                    <a:lnTo>
                      <a:pt x="656" y="422"/>
                    </a:lnTo>
                    <a:lnTo>
                      <a:pt x="656" y="420"/>
                    </a:lnTo>
                    <a:lnTo>
                      <a:pt x="654" y="420"/>
                    </a:lnTo>
                    <a:lnTo>
                      <a:pt x="654" y="418"/>
                    </a:lnTo>
                    <a:lnTo>
                      <a:pt x="654" y="417"/>
                    </a:lnTo>
                    <a:lnTo>
                      <a:pt x="653" y="417"/>
                    </a:lnTo>
                    <a:lnTo>
                      <a:pt x="653" y="415"/>
                    </a:lnTo>
                    <a:lnTo>
                      <a:pt x="651" y="414"/>
                    </a:lnTo>
                    <a:lnTo>
                      <a:pt x="649" y="414"/>
                    </a:lnTo>
                    <a:lnTo>
                      <a:pt x="649" y="412"/>
                    </a:lnTo>
                    <a:lnTo>
                      <a:pt x="649" y="411"/>
                    </a:lnTo>
                    <a:lnTo>
                      <a:pt x="651" y="404"/>
                    </a:lnTo>
                    <a:lnTo>
                      <a:pt x="649" y="404"/>
                    </a:lnTo>
                    <a:lnTo>
                      <a:pt x="648" y="404"/>
                    </a:lnTo>
                    <a:lnTo>
                      <a:pt x="646" y="404"/>
                    </a:lnTo>
                    <a:lnTo>
                      <a:pt x="646" y="406"/>
                    </a:lnTo>
                    <a:lnTo>
                      <a:pt x="645" y="406"/>
                    </a:lnTo>
                    <a:lnTo>
                      <a:pt x="645" y="407"/>
                    </a:lnTo>
                    <a:lnTo>
                      <a:pt x="643" y="407"/>
                    </a:lnTo>
                    <a:lnTo>
                      <a:pt x="641" y="409"/>
                    </a:lnTo>
                    <a:lnTo>
                      <a:pt x="640" y="411"/>
                    </a:lnTo>
                    <a:lnTo>
                      <a:pt x="638" y="411"/>
                    </a:lnTo>
                    <a:lnTo>
                      <a:pt x="637" y="411"/>
                    </a:lnTo>
                    <a:lnTo>
                      <a:pt x="634" y="411"/>
                    </a:lnTo>
                    <a:lnTo>
                      <a:pt x="632" y="411"/>
                    </a:lnTo>
                    <a:lnTo>
                      <a:pt x="630" y="411"/>
                    </a:lnTo>
                    <a:lnTo>
                      <a:pt x="630" y="409"/>
                    </a:lnTo>
                    <a:lnTo>
                      <a:pt x="629" y="409"/>
                    </a:lnTo>
                    <a:lnTo>
                      <a:pt x="627" y="407"/>
                    </a:lnTo>
                    <a:lnTo>
                      <a:pt x="627" y="406"/>
                    </a:lnTo>
                    <a:lnTo>
                      <a:pt x="626" y="406"/>
                    </a:lnTo>
                    <a:lnTo>
                      <a:pt x="626" y="404"/>
                    </a:lnTo>
                    <a:lnTo>
                      <a:pt x="626" y="403"/>
                    </a:lnTo>
                    <a:lnTo>
                      <a:pt x="624" y="403"/>
                    </a:lnTo>
                    <a:lnTo>
                      <a:pt x="622" y="403"/>
                    </a:lnTo>
                    <a:lnTo>
                      <a:pt x="622" y="404"/>
                    </a:lnTo>
                    <a:lnTo>
                      <a:pt x="622" y="406"/>
                    </a:lnTo>
                    <a:lnTo>
                      <a:pt x="621" y="407"/>
                    </a:lnTo>
                    <a:lnTo>
                      <a:pt x="619" y="409"/>
                    </a:lnTo>
                    <a:lnTo>
                      <a:pt x="619" y="411"/>
                    </a:lnTo>
                    <a:lnTo>
                      <a:pt x="618" y="411"/>
                    </a:lnTo>
                    <a:lnTo>
                      <a:pt x="618" y="412"/>
                    </a:lnTo>
                    <a:lnTo>
                      <a:pt x="616" y="412"/>
                    </a:lnTo>
                    <a:lnTo>
                      <a:pt x="616" y="414"/>
                    </a:lnTo>
                    <a:lnTo>
                      <a:pt x="614" y="414"/>
                    </a:lnTo>
                    <a:lnTo>
                      <a:pt x="613" y="414"/>
                    </a:lnTo>
                    <a:lnTo>
                      <a:pt x="611" y="414"/>
                    </a:lnTo>
                    <a:lnTo>
                      <a:pt x="610" y="414"/>
                    </a:lnTo>
                    <a:lnTo>
                      <a:pt x="608" y="414"/>
                    </a:lnTo>
                    <a:lnTo>
                      <a:pt x="607" y="414"/>
                    </a:lnTo>
                    <a:lnTo>
                      <a:pt x="605" y="414"/>
                    </a:lnTo>
                    <a:lnTo>
                      <a:pt x="605" y="415"/>
                    </a:lnTo>
                    <a:lnTo>
                      <a:pt x="603" y="415"/>
                    </a:lnTo>
                    <a:lnTo>
                      <a:pt x="602" y="415"/>
                    </a:lnTo>
                    <a:lnTo>
                      <a:pt x="600" y="417"/>
                    </a:lnTo>
                    <a:lnTo>
                      <a:pt x="599" y="417"/>
                    </a:lnTo>
                    <a:lnTo>
                      <a:pt x="597" y="417"/>
                    </a:lnTo>
                    <a:lnTo>
                      <a:pt x="595" y="417"/>
                    </a:lnTo>
                    <a:lnTo>
                      <a:pt x="594" y="417"/>
                    </a:lnTo>
                    <a:lnTo>
                      <a:pt x="592" y="417"/>
                    </a:lnTo>
                    <a:lnTo>
                      <a:pt x="591" y="417"/>
                    </a:lnTo>
                    <a:lnTo>
                      <a:pt x="591" y="418"/>
                    </a:lnTo>
                    <a:lnTo>
                      <a:pt x="589" y="418"/>
                    </a:lnTo>
                    <a:lnTo>
                      <a:pt x="589" y="420"/>
                    </a:lnTo>
                    <a:lnTo>
                      <a:pt x="588" y="420"/>
                    </a:lnTo>
                    <a:lnTo>
                      <a:pt x="586" y="420"/>
                    </a:lnTo>
                    <a:lnTo>
                      <a:pt x="586" y="418"/>
                    </a:lnTo>
                    <a:lnTo>
                      <a:pt x="588" y="418"/>
                    </a:lnTo>
                    <a:lnTo>
                      <a:pt x="588" y="417"/>
                    </a:lnTo>
                    <a:lnTo>
                      <a:pt x="589" y="417"/>
                    </a:lnTo>
                    <a:lnTo>
                      <a:pt x="589" y="415"/>
                    </a:lnTo>
                    <a:lnTo>
                      <a:pt x="588" y="415"/>
                    </a:lnTo>
                    <a:lnTo>
                      <a:pt x="588" y="414"/>
                    </a:lnTo>
                    <a:lnTo>
                      <a:pt x="588" y="412"/>
                    </a:lnTo>
                    <a:lnTo>
                      <a:pt x="589" y="412"/>
                    </a:lnTo>
                    <a:lnTo>
                      <a:pt x="591" y="412"/>
                    </a:lnTo>
                    <a:lnTo>
                      <a:pt x="592" y="412"/>
                    </a:lnTo>
                    <a:lnTo>
                      <a:pt x="594" y="411"/>
                    </a:lnTo>
                    <a:lnTo>
                      <a:pt x="595" y="411"/>
                    </a:lnTo>
                    <a:lnTo>
                      <a:pt x="595" y="409"/>
                    </a:lnTo>
                    <a:lnTo>
                      <a:pt x="595" y="407"/>
                    </a:lnTo>
                    <a:lnTo>
                      <a:pt x="597" y="407"/>
                    </a:lnTo>
                    <a:lnTo>
                      <a:pt x="597" y="406"/>
                    </a:lnTo>
                    <a:lnTo>
                      <a:pt x="597" y="404"/>
                    </a:lnTo>
                    <a:lnTo>
                      <a:pt x="599" y="404"/>
                    </a:lnTo>
                    <a:lnTo>
                      <a:pt x="600" y="404"/>
                    </a:lnTo>
                    <a:lnTo>
                      <a:pt x="602" y="404"/>
                    </a:lnTo>
                    <a:lnTo>
                      <a:pt x="603" y="404"/>
                    </a:lnTo>
                    <a:lnTo>
                      <a:pt x="603" y="403"/>
                    </a:lnTo>
                    <a:lnTo>
                      <a:pt x="605" y="403"/>
                    </a:lnTo>
                    <a:lnTo>
                      <a:pt x="607" y="403"/>
                    </a:lnTo>
                    <a:lnTo>
                      <a:pt x="608" y="403"/>
                    </a:lnTo>
                    <a:lnTo>
                      <a:pt x="610" y="403"/>
                    </a:lnTo>
                    <a:lnTo>
                      <a:pt x="610" y="401"/>
                    </a:lnTo>
                    <a:lnTo>
                      <a:pt x="611" y="399"/>
                    </a:lnTo>
                    <a:lnTo>
                      <a:pt x="611" y="398"/>
                    </a:lnTo>
                    <a:lnTo>
                      <a:pt x="613" y="398"/>
                    </a:lnTo>
                    <a:lnTo>
                      <a:pt x="613" y="396"/>
                    </a:lnTo>
                    <a:lnTo>
                      <a:pt x="613" y="395"/>
                    </a:lnTo>
                    <a:lnTo>
                      <a:pt x="613" y="393"/>
                    </a:lnTo>
                    <a:lnTo>
                      <a:pt x="611" y="393"/>
                    </a:lnTo>
                    <a:lnTo>
                      <a:pt x="610" y="393"/>
                    </a:lnTo>
                    <a:lnTo>
                      <a:pt x="608" y="393"/>
                    </a:lnTo>
                    <a:lnTo>
                      <a:pt x="607" y="393"/>
                    </a:lnTo>
                    <a:lnTo>
                      <a:pt x="605" y="392"/>
                    </a:lnTo>
                    <a:lnTo>
                      <a:pt x="603" y="392"/>
                    </a:lnTo>
                    <a:lnTo>
                      <a:pt x="602" y="392"/>
                    </a:lnTo>
                    <a:lnTo>
                      <a:pt x="600" y="392"/>
                    </a:lnTo>
                    <a:lnTo>
                      <a:pt x="599" y="392"/>
                    </a:lnTo>
                    <a:lnTo>
                      <a:pt x="597" y="392"/>
                    </a:lnTo>
                    <a:lnTo>
                      <a:pt x="597" y="390"/>
                    </a:lnTo>
                    <a:lnTo>
                      <a:pt x="595" y="390"/>
                    </a:lnTo>
                    <a:lnTo>
                      <a:pt x="595" y="392"/>
                    </a:lnTo>
                    <a:lnTo>
                      <a:pt x="594" y="392"/>
                    </a:lnTo>
                    <a:lnTo>
                      <a:pt x="594" y="393"/>
                    </a:lnTo>
                    <a:lnTo>
                      <a:pt x="592" y="393"/>
                    </a:lnTo>
                    <a:lnTo>
                      <a:pt x="591" y="393"/>
                    </a:lnTo>
                    <a:lnTo>
                      <a:pt x="591" y="392"/>
                    </a:lnTo>
                    <a:lnTo>
                      <a:pt x="591" y="390"/>
                    </a:lnTo>
                    <a:lnTo>
                      <a:pt x="589" y="390"/>
                    </a:lnTo>
                    <a:lnTo>
                      <a:pt x="589" y="388"/>
                    </a:lnTo>
                    <a:lnTo>
                      <a:pt x="588" y="388"/>
                    </a:lnTo>
                    <a:lnTo>
                      <a:pt x="586" y="388"/>
                    </a:lnTo>
                    <a:lnTo>
                      <a:pt x="586" y="390"/>
                    </a:lnTo>
                    <a:lnTo>
                      <a:pt x="586" y="392"/>
                    </a:lnTo>
                    <a:lnTo>
                      <a:pt x="584" y="392"/>
                    </a:lnTo>
                    <a:lnTo>
                      <a:pt x="583" y="392"/>
                    </a:lnTo>
                    <a:lnTo>
                      <a:pt x="583" y="390"/>
                    </a:lnTo>
                    <a:lnTo>
                      <a:pt x="581" y="392"/>
                    </a:lnTo>
                    <a:lnTo>
                      <a:pt x="581" y="390"/>
                    </a:lnTo>
                    <a:lnTo>
                      <a:pt x="581" y="388"/>
                    </a:lnTo>
                    <a:lnTo>
                      <a:pt x="581" y="387"/>
                    </a:lnTo>
                    <a:lnTo>
                      <a:pt x="583" y="387"/>
                    </a:lnTo>
                    <a:lnTo>
                      <a:pt x="583" y="385"/>
                    </a:lnTo>
                    <a:lnTo>
                      <a:pt x="583" y="384"/>
                    </a:lnTo>
                    <a:lnTo>
                      <a:pt x="584" y="384"/>
                    </a:lnTo>
                    <a:lnTo>
                      <a:pt x="583" y="382"/>
                    </a:lnTo>
                    <a:lnTo>
                      <a:pt x="581" y="382"/>
                    </a:lnTo>
                    <a:lnTo>
                      <a:pt x="581" y="384"/>
                    </a:lnTo>
                    <a:lnTo>
                      <a:pt x="580" y="384"/>
                    </a:lnTo>
                    <a:lnTo>
                      <a:pt x="578" y="385"/>
                    </a:lnTo>
                    <a:lnTo>
                      <a:pt x="576" y="385"/>
                    </a:lnTo>
                    <a:lnTo>
                      <a:pt x="576" y="387"/>
                    </a:lnTo>
                    <a:lnTo>
                      <a:pt x="576" y="388"/>
                    </a:lnTo>
                    <a:lnTo>
                      <a:pt x="578" y="388"/>
                    </a:lnTo>
                    <a:lnTo>
                      <a:pt x="576" y="390"/>
                    </a:lnTo>
                    <a:lnTo>
                      <a:pt x="575" y="390"/>
                    </a:lnTo>
                    <a:lnTo>
                      <a:pt x="575" y="392"/>
                    </a:lnTo>
                    <a:lnTo>
                      <a:pt x="573" y="392"/>
                    </a:lnTo>
                    <a:lnTo>
                      <a:pt x="573" y="393"/>
                    </a:lnTo>
                    <a:lnTo>
                      <a:pt x="572" y="395"/>
                    </a:lnTo>
                    <a:lnTo>
                      <a:pt x="572" y="396"/>
                    </a:lnTo>
                    <a:lnTo>
                      <a:pt x="570" y="396"/>
                    </a:lnTo>
                    <a:lnTo>
                      <a:pt x="570" y="398"/>
                    </a:lnTo>
                    <a:lnTo>
                      <a:pt x="569" y="398"/>
                    </a:lnTo>
                    <a:lnTo>
                      <a:pt x="569" y="396"/>
                    </a:lnTo>
                    <a:lnTo>
                      <a:pt x="569" y="395"/>
                    </a:lnTo>
                    <a:lnTo>
                      <a:pt x="567" y="395"/>
                    </a:lnTo>
                    <a:lnTo>
                      <a:pt x="565" y="395"/>
                    </a:lnTo>
                    <a:lnTo>
                      <a:pt x="565" y="393"/>
                    </a:lnTo>
                    <a:lnTo>
                      <a:pt x="567" y="393"/>
                    </a:lnTo>
                    <a:lnTo>
                      <a:pt x="567" y="392"/>
                    </a:lnTo>
                    <a:lnTo>
                      <a:pt x="565" y="392"/>
                    </a:lnTo>
                    <a:lnTo>
                      <a:pt x="565" y="393"/>
                    </a:lnTo>
                    <a:lnTo>
                      <a:pt x="564" y="393"/>
                    </a:lnTo>
                    <a:lnTo>
                      <a:pt x="564" y="395"/>
                    </a:lnTo>
                    <a:lnTo>
                      <a:pt x="562" y="395"/>
                    </a:lnTo>
                    <a:lnTo>
                      <a:pt x="562" y="396"/>
                    </a:lnTo>
                    <a:lnTo>
                      <a:pt x="562" y="398"/>
                    </a:lnTo>
                    <a:lnTo>
                      <a:pt x="561" y="398"/>
                    </a:lnTo>
                    <a:lnTo>
                      <a:pt x="561" y="399"/>
                    </a:lnTo>
                    <a:lnTo>
                      <a:pt x="559" y="399"/>
                    </a:lnTo>
                    <a:lnTo>
                      <a:pt x="559" y="398"/>
                    </a:lnTo>
                    <a:lnTo>
                      <a:pt x="559" y="396"/>
                    </a:lnTo>
                    <a:lnTo>
                      <a:pt x="561" y="395"/>
                    </a:lnTo>
                    <a:lnTo>
                      <a:pt x="561" y="393"/>
                    </a:lnTo>
                    <a:lnTo>
                      <a:pt x="559" y="393"/>
                    </a:lnTo>
                    <a:lnTo>
                      <a:pt x="557" y="393"/>
                    </a:lnTo>
                    <a:lnTo>
                      <a:pt x="556" y="393"/>
                    </a:lnTo>
                    <a:lnTo>
                      <a:pt x="556" y="395"/>
                    </a:lnTo>
                    <a:lnTo>
                      <a:pt x="554" y="395"/>
                    </a:lnTo>
                    <a:lnTo>
                      <a:pt x="554" y="396"/>
                    </a:lnTo>
                    <a:lnTo>
                      <a:pt x="554" y="398"/>
                    </a:lnTo>
                    <a:lnTo>
                      <a:pt x="553" y="398"/>
                    </a:lnTo>
                    <a:lnTo>
                      <a:pt x="551" y="398"/>
                    </a:lnTo>
                    <a:lnTo>
                      <a:pt x="551" y="396"/>
                    </a:lnTo>
                    <a:lnTo>
                      <a:pt x="550" y="395"/>
                    </a:lnTo>
                    <a:lnTo>
                      <a:pt x="548" y="395"/>
                    </a:lnTo>
                    <a:lnTo>
                      <a:pt x="548" y="393"/>
                    </a:lnTo>
                    <a:lnTo>
                      <a:pt x="546" y="393"/>
                    </a:lnTo>
                    <a:lnTo>
                      <a:pt x="546" y="395"/>
                    </a:lnTo>
                    <a:lnTo>
                      <a:pt x="546" y="396"/>
                    </a:lnTo>
                    <a:lnTo>
                      <a:pt x="548" y="396"/>
                    </a:lnTo>
                    <a:lnTo>
                      <a:pt x="548" y="398"/>
                    </a:lnTo>
                    <a:lnTo>
                      <a:pt x="546" y="398"/>
                    </a:lnTo>
                    <a:lnTo>
                      <a:pt x="546" y="399"/>
                    </a:lnTo>
                    <a:lnTo>
                      <a:pt x="546" y="401"/>
                    </a:lnTo>
                    <a:lnTo>
                      <a:pt x="545" y="401"/>
                    </a:lnTo>
                    <a:lnTo>
                      <a:pt x="545" y="403"/>
                    </a:lnTo>
                    <a:lnTo>
                      <a:pt x="546" y="403"/>
                    </a:lnTo>
                    <a:lnTo>
                      <a:pt x="548" y="403"/>
                    </a:lnTo>
                    <a:lnTo>
                      <a:pt x="548" y="404"/>
                    </a:lnTo>
                    <a:lnTo>
                      <a:pt x="550" y="404"/>
                    </a:lnTo>
                    <a:lnTo>
                      <a:pt x="550" y="403"/>
                    </a:lnTo>
                    <a:lnTo>
                      <a:pt x="550" y="404"/>
                    </a:lnTo>
                    <a:lnTo>
                      <a:pt x="548" y="404"/>
                    </a:lnTo>
                    <a:lnTo>
                      <a:pt x="546" y="404"/>
                    </a:lnTo>
                    <a:lnTo>
                      <a:pt x="546" y="406"/>
                    </a:lnTo>
                    <a:lnTo>
                      <a:pt x="546" y="407"/>
                    </a:lnTo>
                    <a:lnTo>
                      <a:pt x="548" y="407"/>
                    </a:lnTo>
                    <a:lnTo>
                      <a:pt x="546" y="407"/>
                    </a:lnTo>
                    <a:lnTo>
                      <a:pt x="545" y="407"/>
                    </a:lnTo>
                    <a:lnTo>
                      <a:pt x="545" y="409"/>
                    </a:lnTo>
                    <a:lnTo>
                      <a:pt x="543" y="409"/>
                    </a:lnTo>
                    <a:lnTo>
                      <a:pt x="543" y="407"/>
                    </a:lnTo>
                    <a:lnTo>
                      <a:pt x="543" y="406"/>
                    </a:lnTo>
                    <a:lnTo>
                      <a:pt x="542" y="406"/>
                    </a:lnTo>
                    <a:lnTo>
                      <a:pt x="540" y="406"/>
                    </a:lnTo>
                    <a:lnTo>
                      <a:pt x="538" y="406"/>
                    </a:lnTo>
                    <a:lnTo>
                      <a:pt x="538" y="407"/>
                    </a:lnTo>
                    <a:lnTo>
                      <a:pt x="540" y="407"/>
                    </a:lnTo>
                    <a:lnTo>
                      <a:pt x="540" y="409"/>
                    </a:lnTo>
                    <a:lnTo>
                      <a:pt x="542" y="409"/>
                    </a:lnTo>
                    <a:lnTo>
                      <a:pt x="540" y="411"/>
                    </a:lnTo>
                    <a:lnTo>
                      <a:pt x="538" y="411"/>
                    </a:lnTo>
                    <a:lnTo>
                      <a:pt x="537" y="411"/>
                    </a:lnTo>
                    <a:lnTo>
                      <a:pt x="537" y="412"/>
                    </a:lnTo>
                    <a:lnTo>
                      <a:pt x="537" y="414"/>
                    </a:lnTo>
                    <a:lnTo>
                      <a:pt x="535" y="414"/>
                    </a:lnTo>
                    <a:lnTo>
                      <a:pt x="534" y="414"/>
                    </a:lnTo>
                    <a:lnTo>
                      <a:pt x="534" y="412"/>
                    </a:lnTo>
                    <a:lnTo>
                      <a:pt x="532" y="414"/>
                    </a:lnTo>
                    <a:lnTo>
                      <a:pt x="532" y="415"/>
                    </a:lnTo>
                    <a:lnTo>
                      <a:pt x="531" y="415"/>
                    </a:lnTo>
                    <a:lnTo>
                      <a:pt x="531" y="414"/>
                    </a:lnTo>
                    <a:lnTo>
                      <a:pt x="531" y="412"/>
                    </a:lnTo>
                    <a:lnTo>
                      <a:pt x="529" y="412"/>
                    </a:lnTo>
                    <a:lnTo>
                      <a:pt x="527" y="412"/>
                    </a:lnTo>
                    <a:lnTo>
                      <a:pt x="526" y="412"/>
                    </a:lnTo>
                    <a:lnTo>
                      <a:pt x="526" y="411"/>
                    </a:lnTo>
                    <a:lnTo>
                      <a:pt x="526" y="409"/>
                    </a:lnTo>
                    <a:lnTo>
                      <a:pt x="524" y="409"/>
                    </a:lnTo>
                    <a:lnTo>
                      <a:pt x="524" y="407"/>
                    </a:lnTo>
                    <a:lnTo>
                      <a:pt x="526" y="407"/>
                    </a:lnTo>
                    <a:lnTo>
                      <a:pt x="524" y="407"/>
                    </a:lnTo>
                    <a:lnTo>
                      <a:pt x="523" y="407"/>
                    </a:lnTo>
                    <a:lnTo>
                      <a:pt x="523" y="409"/>
                    </a:lnTo>
                    <a:lnTo>
                      <a:pt x="523" y="411"/>
                    </a:lnTo>
                    <a:lnTo>
                      <a:pt x="523" y="412"/>
                    </a:lnTo>
                    <a:lnTo>
                      <a:pt x="521" y="412"/>
                    </a:lnTo>
                    <a:lnTo>
                      <a:pt x="521" y="411"/>
                    </a:lnTo>
                    <a:lnTo>
                      <a:pt x="519" y="411"/>
                    </a:lnTo>
                    <a:lnTo>
                      <a:pt x="518" y="411"/>
                    </a:lnTo>
                    <a:lnTo>
                      <a:pt x="516" y="411"/>
                    </a:lnTo>
                    <a:lnTo>
                      <a:pt x="515" y="411"/>
                    </a:lnTo>
                    <a:lnTo>
                      <a:pt x="515" y="412"/>
                    </a:lnTo>
                    <a:lnTo>
                      <a:pt x="513" y="412"/>
                    </a:lnTo>
                    <a:lnTo>
                      <a:pt x="510" y="414"/>
                    </a:lnTo>
                    <a:lnTo>
                      <a:pt x="507" y="414"/>
                    </a:lnTo>
                    <a:lnTo>
                      <a:pt x="507" y="412"/>
                    </a:lnTo>
                    <a:lnTo>
                      <a:pt x="505" y="412"/>
                    </a:lnTo>
                    <a:lnTo>
                      <a:pt x="505" y="411"/>
                    </a:lnTo>
                    <a:lnTo>
                      <a:pt x="504" y="411"/>
                    </a:lnTo>
                    <a:lnTo>
                      <a:pt x="502" y="411"/>
                    </a:lnTo>
                    <a:lnTo>
                      <a:pt x="500" y="411"/>
                    </a:lnTo>
                    <a:lnTo>
                      <a:pt x="500" y="412"/>
                    </a:lnTo>
                    <a:lnTo>
                      <a:pt x="499" y="412"/>
                    </a:lnTo>
                    <a:lnTo>
                      <a:pt x="499" y="414"/>
                    </a:lnTo>
                    <a:lnTo>
                      <a:pt x="497" y="414"/>
                    </a:lnTo>
                    <a:lnTo>
                      <a:pt x="497" y="415"/>
                    </a:lnTo>
                    <a:lnTo>
                      <a:pt x="496" y="415"/>
                    </a:lnTo>
                    <a:lnTo>
                      <a:pt x="494" y="417"/>
                    </a:lnTo>
                    <a:lnTo>
                      <a:pt x="493" y="415"/>
                    </a:lnTo>
                    <a:lnTo>
                      <a:pt x="491" y="415"/>
                    </a:lnTo>
                    <a:lnTo>
                      <a:pt x="491" y="414"/>
                    </a:lnTo>
                    <a:lnTo>
                      <a:pt x="489" y="412"/>
                    </a:lnTo>
                    <a:lnTo>
                      <a:pt x="489" y="411"/>
                    </a:lnTo>
                    <a:lnTo>
                      <a:pt x="488" y="409"/>
                    </a:lnTo>
                    <a:lnTo>
                      <a:pt x="488" y="407"/>
                    </a:lnTo>
                    <a:lnTo>
                      <a:pt x="488" y="406"/>
                    </a:lnTo>
                    <a:lnTo>
                      <a:pt x="486" y="406"/>
                    </a:lnTo>
                    <a:lnTo>
                      <a:pt x="486" y="407"/>
                    </a:lnTo>
                    <a:lnTo>
                      <a:pt x="486" y="409"/>
                    </a:lnTo>
                    <a:lnTo>
                      <a:pt x="486" y="411"/>
                    </a:lnTo>
                    <a:lnTo>
                      <a:pt x="485" y="411"/>
                    </a:lnTo>
                    <a:lnTo>
                      <a:pt x="483" y="411"/>
                    </a:lnTo>
                    <a:lnTo>
                      <a:pt x="481" y="411"/>
                    </a:lnTo>
                    <a:lnTo>
                      <a:pt x="480" y="412"/>
                    </a:lnTo>
                    <a:lnTo>
                      <a:pt x="478" y="412"/>
                    </a:lnTo>
                    <a:lnTo>
                      <a:pt x="477" y="412"/>
                    </a:lnTo>
                    <a:lnTo>
                      <a:pt x="475" y="414"/>
                    </a:lnTo>
                    <a:lnTo>
                      <a:pt x="474" y="414"/>
                    </a:lnTo>
                    <a:lnTo>
                      <a:pt x="474" y="415"/>
                    </a:lnTo>
                    <a:lnTo>
                      <a:pt x="472" y="415"/>
                    </a:lnTo>
                    <a:lnTo>
                      <a:pt x="472" y="417"/>
                    </a:lnTo>
                    <a:lnTo>
                      <a:pt x="470" y="417"/>
                    </a:lnTo>
                    <a:lnTo>
                      <a:pt x="470" y="418"/>
                    </a:lnTo>
                    <a:lnTo>
                      <a:pt x="469" y="418"/>
                    </a:lnTo>
                    <a:lnTo>
                      <a:pt x="469" y="417"/>
                    </a:lnTo>
                    <a:lnTo>
                      <a:pt x="469" y="418"/>
                    </a:lnTo>
                    <a:lnTo>
                      <a:pt x="467" y="418"/>
                    </a:lnTo>
                    <a:lnTo>
                      <a:pt x="467" y="417"/>
                    </a:lnTo>
                    <a:lnTo>
                      <a:pt x="466" y="417"/>
                    </a:lnTo>
                    <a:lnTo>
                      <a:pt x="466" y="415"/>
                    </a:lnTo>
                    <a:lnTo>
                      <a:pt x="466" y="414"/>
                    </a:lnTo>
                    <a:lnTo>
                      <a:pt x="464" y="414"/>
                    </a:lnTo>
                    <a:lnTo>
                      <a:pt x="462" y="414"/>
                    </a:lnTo>
                    <a:lnTo>
                      <a:pt x="462" y="412"/>
                    </a:lnTo>
                    <a:lnTo>
                      <a:pt x="462" y="414"/>
                    </a:lnTo>
                    <a:lnTo>
                      <a:pt x="461" y="414"/>
                    </a:lnTo>
                    <a:lnTo>
                      <a:pt x="459" y="414"/>
                    </a:lnTo>
                    <a:lnTo>
                      <a:pt x="459" y="412"/>
                    </a:lnTo>
                    <a:lnTo>
                      <a:pt x="459" y="414"/>
                    </a:lnTo>
                    <a:lnTo>
                      <a:pt x="458" y="414"/>
                    </a:lnTo>
                    <a:lnTo>
                      <a:pt x="456" y="412"/>
                    </a:lnTo>
                    <a:lnTo>
                      <a:pt x="456" y="411"/>
                    </a:lnTo>
                    <a:lnTo>
                      <a:pt x="456" y="409"/>
                    </a:lnTo>
                    <a:lnTo>
                      <a:pt x="455" y="409"/>
                    </a:lnTo>
                    <a:lnTo>
                      <a:pt x="455" y="407"/>
                    </a:lnTo>
                    <a:lnTo>
                      <a:pt x="453" y="407"/>
                    </a:lnTo>
                    <a:lnTo>
                      <a:pt x="451" y="407"/>
                    </a:lnTo>
                    <a:lnTo>
                      <a:pt x="451" y="409"/>
                    </a:lnTo>
                    <a:lnTo>
                      <a:pt x="450" y="409"/>
                    </a:lnTo>
                    <a:lnTo>
                      <a:pt x="448" y="409"/>
                    </a:lnTo>
                    <a:lnTo>
                      <a:pt x="447" y="409"/>
                    </a:lnTo>
                    <a:lnTo>
                      <a:pt x="445" y="409"/>
                    </a:lnTo>
                    <a:lnTo>
                      <a:pt x="443" y="409"/>
                    </a:lnTo>
                    <a:lnTo>
                      <a:pt x="443" y="411"/>
                    </a:lnTo>
                    <a:lnTo>
                      <a:pt x="442" y="411"/>
                    </a:lnTo>
                    <a:lnTo>
                      <a:pt x="440" y="411"/>
                    </a:lnTo>
                    <a:lnTo>
                      <a:pt x="440" y="412"/>
                    </a:lnTo>
                    <a:lnTo>
                      <a:pt x="439" y="412"/>
                    </a:lnTo>
                    <a:lnTo>
                      <a:pt x="439" y="411"/>
                    </a:lnTo>
                    <a:lnTo>
                      <a:pt x="439" y="409"/>
                    </a:lnTo>
                    <a:lnTo>
                      <a:pt x="437" y="409"/>
                    </a:lnTo>
                    <a:lnTo>
                      <a:pt x="437" y="407"/>
                    </a:lnTo>
                    <a:lnTo>
                      <a:pt x="437" y="406"/>
                    </a:lnTo>
                    <a:lnTo>
                      <a:pt x="439" y="406"/>
                    </a:lnTo>
                    <a:lnTo>
                      <a:pt x="439" y="404"/>
                    </a:lnTo>
                    <a:lnTo>
                      <a:pt x="437" y="404"/>
                    </a:lnTo>
                    <a:lnTo>
                      <a:pt x="437" y="403"/>
                    </a:lnTo>
                    <a:lnTo>
                      <a:pt x="436" y="401"/>
                    </a:lnTo>
                    <a:lnTo>
                      <a:pt x="434" y="401"/>
                    </a:lnTo>
                    <a:lnTo>
                      <a:pt x="432" y="401"/>
                    </a:lnTo>
                    <a:lnTo>
                      <a:pt x="431" y="401"/>
                    </a:lnTo>
                    <a:lnTo>
                      <a:pt x="429" y="401"/>
                    </a:lnTo>
                    <a:lnTo>
                      <a:pt x="428" y="401"/>
                    </a:lnTo>
                    <a:lnTo>
                      <a:pt x="426" y="401"/>
                    </a:lnTo>
                    <a:lnTo>
                      <a:pt x="424" y="399"/>
                    </a:lnTo>
                    <a:lnTo>
                      <a:pt x="423" y="399"/>
                    </a:lnTo>
                    <a:lnTo>
                      <a:pt x="421" y="399"/>
                    </a:lnTo>
                    <a:lnTo>
                      <a:pt x="420" y="399"/>
                    </a:lnTo>
                    <a:lnTo>
                      <a:pt x="420" y="401"/>
                    </a:lnTo>
                    <a:lnTo>
                      <a:pt x="418" y="401"/>
                    </a:lnTo>
                    <a:lnTo>
                      <a:pt x="416" y="399"/>
                    </a:lnTo>
                    <a:lnTo>
                      <a:pt x="416" y="398"/>
                    </a:lnTo>
                    <a:lnTo>
                      <a:pt x="415" y="398"/>
                    </a:lnTo>
                    <a:lnTo>
                      <a:pt x="413" y="396"/>
                    </a:lnTo>
                    <a:lnTo>
                      <a:pt x="413" y="395"/>
                    </a:lnTo>
                    <a:lnTo>
                      <a:pt x="412" y="393"/>
                    </a:lnTo>
                    <a:lnTo>
                      <a:pt x="410" y="392"/>
                    </a:lnTo>
                    <a:lnTo>
                      <a:pt x="409" y="390"/>
                    </a:lnTo>
                    <a:lnTo>
                      <a:pt x="407" y="388"/>
                    </a:lnTo>
                    <a:lnTo>
                      <a:pt x="405" y="387"/>
                    </a:lnTo>
                    <a:lnTo>
                      <a:pt x="404" y="387"/>
                    </a:lnTo>
                    <a:lnTo>
                      <a:pt x="404" y="385"/>
                    </a:lnTo>
                    <a:lnTo>
                      <a:pt x="402" y="385"/>
                    </a:lnTo>
                    <a:lnTo>
                      <a:pt x="402" y="384"/>
                    </a:lnTo>
                    <a:lnTo>
                      <a:pt x="401" y="384"/>
                    </a:lnTo>
                    <a:lnTo>
                      <a:pt x="399" y="382"/>
                    </a:lnTo>
                    <a:lnTo>
                      <a:pt x="397" y="382"/>
                    </a:lnTo>
                    <a:lnTo>
                      <a:pt x="397" y="380"/>
                    </a:lnTo>
                    <a:lnTo>
                      <a:pt x="397" y="379"/>
                    </a:lnTo>
                    <a:lnTo>
                      <a:pt x="396" y="379"/>
                    </a:lnTo>
                    <a:lnTo>
                      <a:pt x="396" y="377"/>
                    </a:lnTo>
                    <a:lnTo>
                      <a:pt x="396" y="376"/>
                    </a:lnTo>
                    <a:lnTo>
                      <a:pt x="394" y="374"/>
                    </a:lnTo>
                    <a:lnTo>
                      <a:pt x="394" y="372"/>
                    </a:lnTo>
                    <a:lnTo>
                      <a:pt x="393" y="371"/>
                    </a:lnTo>
                    <a:lnTo>
                      <a:pt x="393" y="369"/>
                    </a:lnTo>
                    <a:lnTo>
                      <a:pt x="391" y="369"/>
                    </a:lnTo>
                    <a:lnTo>
                      <a:pt x="391" y="368"/>
                    </a:lnTo>
                    <a:lnTo>
                      <a:pt x="390" y="368"/>
                    </a:lnTo>
                    <a:lnTo>
                      <a:pt x="388" y="368"/>
                    </a:lnTo>
                    <a:lnTo>
                      <a:pt x="386" y="368"/>
                    </a:lnTo>
                    <a:lnTo>
                      <a:pt x="386" y="369"/>
                    </a:lnTo>
                    <a:lnTo>
                      <a:pt x="386" y="371"/>
                    </a:lnTo>
                    <a:lnTo>
                      <a:pt x="385" y="371"/>
                    </a:lnTo>
                    <a:lnTo>
                      <a:pt x="383" y="372"/>
                    </a:lnTo>
                    <a:lnTo>
                      <a:pt x="383" y="374"/>
                    </a:lnTo>
                    <a:lnTo>
                      <a:pt x="383" y="376"/>
                    </a:lnTo>
                    <a:lnTo>
                      <a:pt x="382" y="377"/>
                    </a:lnTo>
                    <a:lnTo>
                      <a:pt x="383" y="377"/>
                    </a:lnTo>
                    <a:lnTo>
                      <a:pt x="383" y="379"/>
                    </a:lnTo>
                    <a:lnTo>
                      <a:pt x="382" y="379"/>
                    </a:lnTo>
                    <a:lnTo>
                      <a:pt x="380" y="379"/>
                    </a:lnTo>
                    <a:lnTo>
                      <a:pt x="380" y="380"/>
                    </a:lnTo>
                    <a:lnTo>
                      <a:pt x="382" y="380"/>
                    </a:lnTo>
                    <a:lnTo>
                      <a:pt x="382" y="382"/>
                    </a:lnTo>
                    <a:lnTo>
                      <a:pt x="382" y="380"/>
                    </a:lnTo>
                    <a:lnTo>
                      <a:pt x="380" y="380"/>
                    </a:lnTo>
                    <a:lnTo>
                      <a:pt x="378" y="380"/>
                    </a:lnTo>
                    <a:lnTo>
                      <a:pt x="378" y="382"/>
                    </a:lnTo>
                    <a:lnTo>
                      <a:pt x="378" y="384"/>
                    </a:lnTo>
                    <a:lnTo>
                      <a:pt x="378" y="385"/>
                    </a:lnTo>
                    <a:lnTo>
                      <a:pt x="378" y="387"/>
                    </a:lnTo>
                    <a:lnTo>
                      <a:pt x="377" y="387"/>
                    </a:lnTo>
                    <a:lnTo>
                      <a:pt x="377" y="385"/>
                    </a:lnTo>
                    <a:lnTo>
                      <a:pt x="375" y="385"/>
                    </a:lnTo>
                    <a:lnTo>
                      <a:pt x="375" y="387"/>
                    </a:lnTo>
                    <a:lnTo>
                      <a:pt x="374" y="388"/>
                    </a:lnTo>
                    <a:lnTo>
                      <a:pt x="372" y="388"/>
                    </a:lnTo>
                    <a:lnTo>
                      <a:pt x="372" y="390"/>
                    </a:lnTo>
                    <a:lnTo>
                      <a:pt x="372" y="392"/>
                    </a:lnTo>
                    <a:lnTo>
                      <a:pt x="372" y="393"/>
                    </a:lnTo>
                    <a:lnTo>
                      <a:pt x="371" y="393"/>
                    </a:lnTo>
                    <a:lnTo>
                      <a:pt x="371" y="395"/>
                    </a:lnTo>
                    <a:lnTo>
                      <a:pt x="369" y="395"/>
                    </a:lnTo>
                    <a:lnTo>
                      <a:pt x="369" y="396"/>
                    </a:lnTo>
                    <a:lnTo>
                      <a:pt x="369" y="398"/>
                    </a:lnTo>
                    <a:lnTo>
                      <a:pt x="367" y="398"/>
                    </a:lnTo>
                    <a:lnTo>
                      <a:pt x="367" y="399"/>
                    </a:lnTo>
                    <a:lnTo>
                      <a:pt x="367" y="401"/>
                    </a:lnTo>
                    <a:lnTo>
                      <a:pt x="367" y="403"/>
                    </a:lnTo>
                    <a:lnTo>
                      <a:pt x="366" y="404"/>
                    </a:lnTo>
                    <a:lnTo>
                      <a:pt x="366" y="406"/>
                    </a:lnTo>
                    <a:lnTo>
                      <a:pt x="364" y="406"/>
                    </a:lnTo>
                    <a:lnTo>
                      <a:pt x="364" y="407"/>
                    </a:lnTo>
                    <a:lnTo>
                      <a:pt x="366" y="407"/>
                    </a:lnTo>
                    <a:lnTo>
                      <a:pt x="364" y="407"/>
                    </a:lnTo>
                    <a:lnTo>
                      <a:pt x="364" y="409"/>
                    </a:lnTo>
                    <a:lnTo>
                      <a:pt x="364" y="411"/>
                    </a:lnTo>
                    <a:lnTo>
                      <a:pt x="363" y="411"/>
                    </a:lnTo>
                    <a:lnTo>
                      <a:pt x="363" y="412"/>
                    </a:lnTo>
                    <a:lnTo>
                      <a:pt x="361" y="412"/>
                    </a:lnTo>
                    <a:lnTo>
                      <a:pt x="361" y="414"/>
                    </a:lnTo>
                    <a:lnTo>
                      <a:pt x="363" y="414"/>
                    </a:lnTo>
                    <a:lnTo>
                      <a:pt x="363" y="415"/>
                    </a:lnTo>
                    <a:lnTo>
                      <a:pt x="363" y="417"/>
                    </a:lnTo>
                    <a:lnTo>
                      <a:pt x="361" y="417"/>
                    </a:lnTo>
                    <a:lnTo>
                      <a:pt x="361" y="418"/>
                    </a:lnTo>
                    <a:lnTo>
                      <a:pt x="359" y="418"/>
                    </a:lnTo>
                    <a:lnTo>
                      <a:pt x="359" y="420"/>
                    </a:lnTo>
                    <a:lnTo>
                      <a:pt x="358" y="420"/>
                    </a:lnTo>
                    <a:lnTo>
                      <a:pt x="358" y="422"/>
                    </a:lnTo>
                    <a:lnTo>
                      <a:pt x="358" y="423"/>
                    </a:lnTo>
                    <a:lnTo>
                      <a:pt x="356" y="423"/>
                    </a:lnTo>
                    <a:lnTo>
                      <a:pt x="355" y="423"/>
                    </a:lnTo>
                    <a:lnTo>
                      <a:pt x="353" y="425"/>
                    </a:lnTo>
                    <a:lnTo>
                      <a:pt x="352" y="425"/>
                    </a:lnTo>
                    <a:lnTo>
                      <a:pt x="352" y="426"/>
                    </a:lnTo>
                    <a:lnTo>
                      <a:pt x="352" y="428"/>
                    </a:lnTo>
                    <a:lnTo>
                      <a:pt x="350" y="428"/>
                    </a:lnTo>
                    <a:lnTo>
                      <a:pt x="350" y="430"/>
                    </a:lnTo>
                    <a:lnTo>
                      <a:pt x="350" y="431"/>
                    </a:lnTo>
                    <a:lnTo>
                      <a:pt x="348" y="431"/>
                    </a:lnTo>
                    <a:lnTo>
                      <a:pt x="347" y="431"/>
                    </a:lnTo>
                    <a:lnTo>
                      <a:pt x="348" y="431"/>
                    </a:lnTo>
                    <a:lnTo>
                      <a:pt x="348" y="433"/>
                    </a:lnTo>
                    <a:lnTo>
                      <a:pt x="347" y="433"/>
                    </a:lnTo>
                    <a:lnTo>
                      <a:pt x="345" y="434"/>
                    </a:lnTo>
                    <a:lnTo>
                      <a:pt x="344" y="434"/>
                    </a:lnTo>
                    <a:lnTo>
                      <a:pt x="344" y="436"/>
                    </a:lnTo>
                    <a:lnTo>
                      <a:pt x="342" y="434"/>
                    </a:lnTo>
                    <a:lnTo>
                      <a:pt x="340" y="434"/>
                    </a:lnTo>
                    <a:lnTo>
                      <a:pt x="339" y="433"/>
                    </a:lnTo>
                    <a:lnTo>
                      <a:pt x="339" y="434"/>
                    </a:lnTo>
                    <a:lnTo>
                      <a:pt x="337" y="434"/>
                    </a:lnTo>
                    <a:lnTo>
                      <a:pt x="336" y="434"/>
                    </a:lnTo>
                    <a:lnTo>
                      <a:pt x="336" y="436"/>
                    </a:lnTo>
                    <a:lnTo>
                      <a:pt x="334" y="436"/>
                    </a:lnTo>
                    <a:lnTo>
                      <a:pt x="334" y="437"/>
                    </a:lnTo>
                    <a:lnTo>
                      <a:pt x="333" y="437"/>
                    </a:lnTo>
                    <a:lnTo>
                      <a:pt x="331" y="437"/>
                    </a:lnTo>
                    <a:lnTo>
                      <a:pt x="329" y="437"/>
                    </a:lnTo>
                    <a:lnTo>
                      <a:pt x="329" y="439"/>
                    </a:lnTo>
                    <a:lnTo>
                      <a:pt x="328" y="439"/>
                    </a:lnTo>
                    <a:lnTo>
                      <a:pt x="328" y="441"/>
                    </a:lnTo>
                    <a:lnTo>
                      <a:pt x="326" y="441"/>
                    </a:lnTo>
                    <a:lnTo>
                      <a:pt x="325" y="441"/>
                    </a:lnTo>
                    <a:lnTo>
                      <a:pt x="323" y="441"/>
                    </a:lnTo>
                    <a:lnTo>
                      <a:pt x="321" y="441"/>
                    </a:lnTo>
                    <a:lnTo>
                      <a:pt x="320" y="441"/>
                    </a:lnTo>
                    <a:lnTo>
                      <a:pt x="320" y="442"/>
                    </a:lnTo>
                    <a:lnTo>
                      <a:pt x="318" y="442"/>
                    </a:lnTo>
                    <a:lnTo>
                      <a:pt x="317" y="442"/>
                    </a:lnTo>
                    <a:lnTo>
                      <a:pt x="317" y="444"/>
                    </a:lnTo>
                    <a:lnTo>
                      <a:pt x="315" y="444"/>
                    </a:lnTo>
                    <a:lnTo>
                      <a:pt x="314" y="445"/>
                    </a:lnTo>
                    <a:lnTo>
                      <a:pt x="314" y="447"/>
                    </a:lnTo>
                    <a:lnTo>
                      <a:pt x="312" y="447"/>
                    </a:lnTo>
                    <a:lnTo>
                      <a:pt x="310" y="447"/>
                    </a:lnTo>
                    <a:lnTo>
                      <a:pt x="309" y="447"/>
                    </a:lnTo>
                    <a:lnTo>
                      <a:pt x="307" y="447"/>
                    </a:lnTo>
                    <a:lnTo>
                      <a:pt x="306" y="447"/>
                    </a:lnTo>
                    <a:lnTo>
                      <a:pt x="306" y="445"/>
                    </a:lnTo>
                    <a:lnTo>
                      <a:pt x="304" y="447"/>
                    </a:lnTo>
                    <a:lnTo>
                      <a:pt x="304" y="449"/>
                    </a:lnTo>
                    <a:lnTo>
                      <a:pt x="302" y="449"/>
                    </a:lnTo>
                    <a:lnTo>
                      <a:pt x="301" y="449"/>
                    </a:lnTo>
                    <a:lnTo>
                      <a:pt x="301" y="447"/>
                    </a:lnTo>
                    <a:lnTo>
                      <a:pt x="299" y="447"/>
                    </a:lnTo>
                    <a:lnTo>
                      <a:pt x="298" y="447"/>
                    </a:lnTo>
                    <a:lnTo>
                      <a:pt x="296" y="447"/>
                    </a:lnTo>
                    <a:lnTo>
                      <a:pt x="296" y="449"/>
                    </a:lnTo>
                    <a:lnTo>
                      <a:pt x="295" y="449"/>
                    </a:lnTo>
                    <a:lnTo>
                      <a:pt x="295" y="450"/>
                    </a:lnTo>
                    <a:lnTo>
                      <a:pt x="293" y="450"/>
                    </a:lnTo>
                    <a:lnTo>
                      <a:pt x="291" y="450"/>
                    </a:lnTo>
                    <a:lnTo>
                      <a:pt x="290" y="450"/>
                    </a:lnTo>
                    <a:lnTo>
                      <a:pt x="288" y="450"/>
                    </a:lnTo>
                    <a:lnTo>
                      <a:pt x="287" y="449"/>
                    </a:lnTo>
                    <a:lnTo>
                      <a:pt x="285" y="449"/>
                    </a:lnTo>
                    <a:lnTo>
                      <a:pt x="283" y="449"/>
                    </a:lnTo>
                    <a:lnTo>
                      <a:pt x="283" y="447"/>
                    </a:lnTo>
                    <a:lnTo>
                      <a:pt x="283" y="445"/>
                    </a:lnTo>
                    <a:lnTo>
                      <a:pt x="282" y="445"/>
                    </a:lnTo>
                    <a:lnTo>
                      <a:pt x="282" y="444"/>
                    </a:lnTo>
                    <a:lnTo>
                      <a:pt x="280" y="444"/>
                    </a:lnTo>
                    <a:lnTo>
                      <a:pt x="280" y="445"/>
                    </a:lnTo>
                    <a:lnTo>
                      <a:pt x="279" y="445"/>
                    </a:lnTo>
                    <a:lnTo>
                      <a:pt x="279" y="447"/>
                    </a:lnTo>
                    <a:lnTo>
                      <a:pt x="279" y="449"/>
                    </a:lnTo>
                    <a:lnTo>
                      <a:pt x="277" y="449"/>
                    </a:lnTo>
                    <a:lnTo>
                      <a:pt x="276" y="449"/>
                    </a:lnTo>
                    <a:lnTo>
                      <a:pt x="276" y="450"/>
                    </a:lnTo>
                    <a:lnTo>
                      <a:pt x="274" y="450"/>
                    </a:lnTo>
                    <a:lnTo>
                      <a:pt x="272" y="450"/>
                    </a:lnTo>
                    <a:lnTo>
                      <a:pt x="271" y="450"/>
                    </a:lnTo>
                    <a:lnTo>
                      <a:pt x="269" y="450"/>
                    </a:lnTo>
                    <a:lnTo>
                      <a:pt x="268" y="450"/>
                    </a:lnTo>
                    <a:lnTo>
                      <a:pt x="266" y="450"/>
                    </a:lnTo>
                    <a:lnTo>
                      <a:pt x="264" y="450"/>
                    </a:lnTo>
                    <a:lnTo>
                      <a:pt x="263" y="450"/>
                    </a:lnTo>
                    <a:lnTo>
                      <a:pt x="263" y="449"/>
                    </a:lnTo>
                    <a:lnTo>
                      <a:pt x="261" y="449"/>
                    </a:lnTo>
                    <a:lnTo>
                      <a:pt x="261" y="447"/>
                    </a:lnTo>
                    <a:lnTo>
                      <a:pt x="261" y="445"/>
                    </a:lnTo>
                    <a:lnTo>
                      <a:pt x="260" y="445"/>
                    </a:lnTo>
                    <a:lnTo>
                      <a:pt x="258" y="445"/>
                    </a:lnTo>
                    <a:lnTo>
                      <a:pt x="257" y="445"/>
                    </a:lnTo>
                    <a:lnTo>
                      <a:pt x="255" y="445"/>
                    </a:lnTo>
                    <a:lnTo>
                      <a:pt x="255" y="447"/>
                    </a:lnTo>
                    <a:lnTo>
                      <a:pt x="255" y="449"/>
                    </a:lnTo>
                    <a:lnTo>
                      <a:pt x="253" y="449"/>
                    </a:lnTo>
                    <a:lnTo>
                      <a:pt x="255" y="449"/>
                    </a:lnTo>
                    <a:lnTo>
                      <a:pt x="255" y="447"/>
                    </a:lnTo>
                    <a:lnTo>
                      <a:pt x="253" y="447"/>
                    </a:lnTo>
                    <a:lnTo>
                      <a:pt x="253" y="445"/>
                    </a:lnTo>
                    <a:lnTo>
                      <a:pt x="253" y="444"/>
                    </a:lnTo>
                    <a:lnTo>
                      <a:pt x="252" y="444"/>
                    </a:lnTo>
                    <a:lnTo>
                      <a:pt x="252" y="442"/>
                    </a:lnTo>
                    <a:lnTo>
                      <a:pt x="250" y="442"/>
                    </a:lnTo>
                    <a:lnTo>
                      <a:pt x="250" y="444"/>
                    </a:lnTo>
                    <a:lnTo>
                      <a:pt x="249" y="444"/>
                    </a:lnTo>
                    <a:lnTo>
                      <a:pt x="249" y="445"/>
                    </a:lnTo>
                    <a:lnTo>
                      <a:pt x="247" y="445"/>
                    </a:lnTo>
                    <a:lnTo>
                      <a:pt x="247" y="447"/>
                    </a:lnTo>
                    <a:lnTo>
                      <a:pt x="247" y="445"/>
                    </a:lnTo>
                    <a:lnTo>
                      <a:pt x="245" y="445"/>
                    </a:lnTo>
                    <a:lnTo>
                      <a:pt x="245" y="447"/>
                    </a:lnTo>
                    <a:lnTo>
                      <a:pt x="245" y="449"/>
                    </a:lnTo>
                    <a:lnTo>
                      <a:pt x="245" y="450"/>
                    </a:lnTo>
                    <a:lnTo>
                      <a:pt x="247" y="452"/>
                    </a:lnTo>
                    <a:lnTo>
                      <a:pt x="247" y="453"/>
                    </a:lnTo>
                    <a:lnTo>
                      <a:pt x="245" y="453"/>
                    </a:lnTo>
                    <a:lnTo>
                      <a:pt x="244" y="453"/>
                    </a:lnTo>
                    <a:lnTo>
                      <a:pt x="244" y="452"/>
                    </a:lnTo>
                    <a:lnTo>
                      <a:pt x="244" y="450"/>
                    </a:lnTo>
                    <a:lnTo>
                      <a:pt x="242" y="449"/>
                    </a:lnTo>
                    <a:lnTo>
                      <a:pt x="242" y="447"/>
                    </a:lnTo>
                    <a:lnTo>
                      <a:pt x="241" y="447"/>
                    </a:lnTo>
                    <a:lnTo>
                      <a:pt x="241" y="445"/>
                    </a:lnTo>
                    <a:lnTo>
                      <a:pt x="242" y="445"/>
                    </a:lnTo>
                    <a:lnTo>
                      <a:pt x="244" y="445"/>
                    </a:lnTo>
                    <a:lnTo>
                      <a:pt x="244" y="444"/>
                    </a:lnTo>
                    <a:lnTo>
                      <a:pt x="244" y="442"/>
                    </a:lnTo>
                    <a:lnTo>
                      <a:pt x="244" y="441"/>
                    </a:lnTo>
                    <a:lnTo>
                      <a:pt x="244" y="442"/>
                    </a:lnTo>
                    <a:lnTo>
                      <a:pt x="242" y="442"/>
                    </a:lnTo>
                    <a:lnTo>
                      <a:pt x="241" y="442"/>
                    </a:lnTo>
                    <a:lnTo>
                      <a:pt x="241" y="441"/>
                    </a:lnTo>
                    <a:lnTo>
                      <a:pt x="239" y="441"/>
                    </a:lnTo>
                    <a:lnTo>
                      <a:pt x="239" y="439"/>
                    </a:lnTo>
                    <a:lnTo>
                      <a:pt x="237" y="439"/>
                    </a:lnTo>
                    <a:lnTo>
                      <a:pt x="237" y="437"/>
                    </a:lnTo>
                    <a:lnTo>
                      <a:pt x="236" y="437"/>
                    </a:lnTo>
                    <a:lnTo>
                      <a:pt x="234" y="437"/>
                    </a:lnTo>
                    <a:lnTo>
                      <a:pt x="234" y="436"/>
                    </a:lnTo>
                    <a:lnTo>
                      <a:pt x="234" y="434"/>
                    </a:lnTo>
                    <a:lnTo>
                      <a:pt x="233" y="434"/>
                    </a:lnTo>
                    <a:lnTo>
                      <a:pt x="233" y="433"/>
                    </a:lnTo>
                    <a:lnTo>
                      <a:pt x="231" y="433"/>
                    </a:lnTo>
                    <a:lnTo>
                      <a:pt x="230" y="433"/>
                    </a:lnTo>
                    <a:lnTo>
                      <a:pt x="230" y="431"/>
                    </a:lnTo>
                    <a:lnTo>
                      <a:pt x="228" y="431"/>
                    </a:lnTo>
                    <a:lnTo>
                      <a:pt x="226" y="431"/>
                    </a:lnTo>
                    <a:lnTo>
                      <a:pt x="226" y="430"/>
                    </a:lnTo>
                    <a:lnTo>
                      <a:pt x="225" y="430"/>
                    </a:lnTo>
                    <a:lnTo>
                      <a:pt x="223" y="428"/>
                    </a:lnTo>
                    <a:lnTo>
                      <a:pt x="223" y="430"/>
                    </a:lnTo>
                    <a:lnTo>
                      <a:pt x="222" y="430"/>
                    </a:lnTo>
                    <a:lnTo>
                      <a:pt x="222" y="428"/>
                    </a:lnTo>
                    <a:lnTo>
                      <a:pt x="222" y="430"/>
                    </a:lnTo>
                    <a:lnTo>
                      <a:pt x="220" y="430"/>
                    </a:lnTo>
                    <a:lnTo>
                      <a:pt x="220" y="428"/>
                    </a:lnTo>
                    <a:lnTo>
                      <a:pt x="218" y="428"/>
                    </a:lnTo>
                    <a:lnTo>
                      <a:pt x="217" y="428"/>
                    </a:lnTo>
                    <a:lnTo>
                      <a:pt x="215" y="428"/>
                    </a:lnTo>
                    <a:lnTo>
                      <a:pt x="215" y="426"/>
                    </a:lnTo>
                    <a:lnTo>
                      <a:pt x="214" y="426"/>
                    </a:lnTo>
                    <a:lnTo>
                      <a:pt x="212" y="426"/>
                    </a:lnTo>
                    <a:lnTo>
                      <a:pt x="211" y="426"/>
                    </a:lnTo>
                    <a:lnTo>
                      <a:pt x="209" y="428"/>
                    </a:lnTo>
                    <a:lnTo>
                      <a:pt x="206" y="426"/>
                    </a:lnTo>
                    <a:lnTo>
                      <a:pt x="204" y="426"/>
                    </a:lnTo>
                    <a:lnTo>
                      <a:pt x="201" y="426"/>
                    </a:lnTo>
                    <a:lnTo>
                      <a:pt x="199" y="426"/>
                    </a:lnTo>
                    <a:lnTo>
                      <a:pt x="198" y="426"/>
                    </a:lnTo>
                    <a:lnTo>
                      <a:pt x="198" y="428"/>
                    </a:lnTo>
                    <a:lnTo>
                      <a:pt x="198" y="430"/>
                    </a:lnTo>
                    <a:lnTo>
                      <a:pt x="196" y="431"/>
                    </a:lnTo>
                    <a:lnTo>
                      <a:pt x="196" y="433"/>
                    </a:lnTo>
                    <a:lnTo>
                      <a:pt x="195" y="434"/>
                    </a:lnTo>
                    <a:lnTo>
                      <a:pt x="193" y="434"/>
                    </a:lnTo>
                    <a:lnTo>
                      <a:pt x="192" y="434"/>
                    </a:lnTo>
                    <a:lnTo>
                      <a:pt x="192" y="436"/>
                    </a:lnTo>
                    <a:lnTo>
                      <a:pt x="192" y="437"/>
                    </a:lnTo>
                    <a:lnTo>
                      <a:pt x="190" y="437"/>
                    </a:lnTo>
                    <a:lnTo>
                      <a:pt x="188" y="437"/>
                    </a:lnTo>
                    <a:lnTo>
                      <a:pt x="187" y="437"/>
                    </a:lnTo>
                    <a:lnTo>
                      <a:pt x="185" y="439"/>
                    </a:lnTo>
                    <a:lnTo>
                      <a:pt x="184" y="439"/>
                    </a:lnTo>
                    <a:lnTo>
                      <a:pt x="182" y="439"/>
                    </a:lnTo>
                    <a:lnTo>
                      <a:pt x="182" y="441"/>
                    </a:lnTo>
                    <a:lnTo>
                      <a:pt x="180" y="441"/>
                    </a:lnTo>
                    <a:lnTo>
                      <a:pt x="180" y="442"/>
                    </a:lnTo>
                    <a:lnTo>
                      <a:pt x="179" y="442"/>
                    </a:lnTo>
                    <a:lnTo>
                      <a:pt x="179" y="444"/>
                    </a:lnTo>
                    <a:lnTo>
                      <a:pt x="179" y="442"/>
                    </a:lnTo>
                    <a:lnTo>
                      <a:pt x="177" y="442"/>
                    </a:lnTo>
                    <a:lnTo>
                      <a:pt x="176" y="442"/>
                    </a:lnTo>
                    <a:lnTo>
                      <a:pt x="174" y="442"/>
                    </a:lnTo>
                    <a:lnTo>
                      <a:pt x="174" y="444"/>
                    </a:lnTo>
                    <a:lnTo>
                      <a:pt x="173" y="444"/>
                    </a:lnTo>
                    <a:lnTo>
                      <a:pt x="173" y="445"/>
                    </a:lnTo>
                    <a:lnTo>
                      <a:pt x="171" y="445"/>
                    </a:lnTo>
                    <a:lnTo>
                      <a:pt x="171" y="444"/>
                    </a:lnTo>
                    <a:lnTo>
                      <a:pt x="169" y="444"/>
                    </a:lnTo>
                    <a:lnTo>
                      <a:pt x="168" y="444"/>
                    </a:lnTo>
                    <a:lnTo>
                      <a:pt x="168" y="445"/>
                    </a:lnTo>
                    <a:lnTo>
                      <a:pt x="168" y="447"/>
                    </a:lnTo>
                    <a:lnTo>
                      <a:pt x="166" y="447"/>
                    </a:lnTo>
                    <a:lnTo>
                      <a:pt x="165" y="447"/>
                    </a:lnTo>
                    <a:lnTo>
                      <a:pt x="163" y="447"/>
                    </a:lnTo>
                    <a:lnTo>
                      <a:pt x="163" y="449"/>
                    </a:lnTo>
                    <a:lnTo>
                      <a:pt x="161" y="449"/>
                    </a:lnTo>
                    <a:lnTo>
                      <a:pt x="160" y="449"/>
                    </a:lnTo>
                    <a:lnTo>
                      <a:pt x="158" y="449"/>
                    </a:lnTo>
                    <a:lnTo>
                      <a:pt x="157" y="449"/>
                    </a:lnTo>
                    <a:lnTo>
                      <a:pt x="155" y="449"/>
                    </a:lnTo>
                    <a:lnTo>
                      <a:pt x="155" y="447"/>
                    </a:lnTo>
                    <a:lnTo>
                      <a:pt x="154" y="447"/>
                    </a:lnTo>
                    <a:lnTo>
                      <a:pt x="152" y="447"/>
                    </a:lnTo>
                    <a:lnTo>
                      <a:pt x="150" y="445"/>
                    </a:lnTo>
                    <a:lnTo>
                      <a:pt x="149" y="445"/>
                    </a:lnTo>
                    <a:lnTo>
                      <a:pt x="149" y="447"/>
                    </a:lnTo>
                    <a:lnTo>
                      <a:pt x="147" y="447"/>
                    </a:lnTo>
                    <a:lnTo>
                      <a:pt x="146" y="447"/>
                    </a:lnTo>
                    <a:lnTo>
                      <a:pt x="147" y="445"/>
                    </a:lnTo>
                    <a:lnTo>
                      <a:pt x="146" y="445"/>
                    </a:lnTo>
                    <a:lnTo>
                      <a:pt x="144" y="445"/>
                    </a:lnTo>
                    <a:lnTo>
                      <a:pt x="144" y="444"/>
                    </a:lnTo>
                    <a:lnTo>
                      <a:pt x="142" y="442"/>
                    </a:lnTo>
                    <a:lnTo>
                      <a:pt x="141" y="442"/>
                    </a:lnTo>
                    <a:lnTo>
                      <a:pt x="141" y="444"/>
                    </a:lnTo>
                    <a:lnTo>
                      <a:pt x="139" y="444"/>
                    </a:lnTo>
                    <a:lnTo>
                      <a:pt x="139" y="442"/>
                    </a:lnTo>
                    <a:lnTo>
                      <a:pt x="138" y="444"/>
                    </a:lnTo>
                    <a:lnTo>
                      <a:pt x="136" y="444"/>
                    </a:lnTo>
                    <a:lnTo>
                      <a:pt x="136" y="442"/>
                    </a:lnTo>
                    <a:lnTo>
                      <a:pt x="136" y="441"/>
                    </a:lnTo>
                    <a:lnTo>
                      <a:pt x="135" y="441"/>
                    </a:lnTo>
                    <a:lnTo>
                      <a:pt x="135" y="442"/>
                    </a:lnTo>
                    <a:lnTo>
                      <a:pt x="133" y="441"/>
                    </a:lnTo>
                    <a:lnTo>
                      <a:pt x="133" y="439"/>
                    </a:lnTo>
                    <a:lnTo>
                      <a:pt x="133" y="437"/>
                    </a:lnTo>
                    <a:lnTo>
                      <a:pt x="131" y="437"/>
                    </a:lnTo>
                    <a:lnTo>
                      <a:pt x="131" y="436"/>
                    </a:lnTo>
                    <a:lnTo>
                      <a:pt x="130" y="436"/>
                    </a:lnTo>
                    <a:lnTo>
                      <a:pt x="130" y="434"/>
                    </a:lnTo>
                    <a:lnTo>
                      <a:pt x="128" y="434"/>
                    </a:lnTo>
                    <a:lnTo>
                      <a:pt x="127" y="434"/>
                    </a:lnTo>
                    <a:lnTo>
                      <a:pt x="127" y="436"/>
                    </a:lnTo>
                    <a:lnTo>
                      <a:pt x="127" y="434"/>
                    </a:lnTo>
                    <a:lnTo>
                      <a:pt x="125" y="434"/>
                    </a:lnTo>
                    <a:lnTo>
                      <a:pt x="125" y="433"/>
                    </a:lnTo>
                    <a:lnTo>
                      <a:pt x="123" y="433"/>
                    </a:lnTo>
                    <a:lnTo>
                      <a:pt x="123" y="431"/>
                    </a:lnTo>
                    <a:lnTo>
                      <a:pt x="122" y="431"/>
                    </a:lnTo>
                    <a:lnTo>
                      <a:pt x="122" y="430"/>
                    </a:lnTo>
                    <a:lnTo>
                      <a:pt x="120" y="430"/>
                    </a:lnTo>
                    <a:lnTo>
                      <a:pt x="119" y="430"/>
                    </a:lnTo>
                    <a:lnTo>
                      <a:pt x="119" y="428"/>
                    </a:lnTo>
                    <a:lnTo>
                      <a:pt x="117" y="428"/>
                    </a:lnTo>
                    <a:lnTo>
                      <a:pt x="117" y="426"/>
                    </a:lnTo>
                    <a:lnTo>
                      <a:pt x="116" y="426"/>
                    </a:lnTo>
                    <a:lnTo>
                      <a:pt x="116" y="425"/>
                    </a:lnTo>
                    <a:lnTo>
                      <a:pt x="114" y="425"/>
                    </a:lnTo>
                    <a:lnTo>
                      <a:pt x="112" y="425"/>
                    </a:lnTo>
                    <a:lnTo>
                      <a:pt x="112" y="423"/>
                    </a:lnTo>
                    <a:lnTo>
                      <a:pt x="111" y="423"/>
                    </a:lnTo>
                    <a:lnTo>
                      <a:pt x="109" y="423"/>
                    </a:lnTo>
                    <a:lnTo>
                      <a:pt x="109" y="422"/>
                    </a:lnTo>
                    <a:lnTo>
                      <a:pt x="108" y="422"/>
                    </a:lnTo>
                    <a:lnTo>
                      <a:pt x="106" y="422"/>
                    </a:lnTo>
                    <a:lnTo>
                      <a:pt x="106" y="420"/>
                    </a:lnTo>
                    <a:lnTo>
                      <a:pt x="104" y="420"/>
                    </a:lnTo>
                    <a:lnTo>
                      <a:pt x="103" y="420"/>
                    </a:lnTo>
                    <a:lnTo>
                      <a:pt x="103" y="418"/>
                    </a:lnTo>
                    <a:lnTo>
                      <a:pt x="101" y="417"/>
                    </a:lnTo>
                    <a:lnTo>
                      <a:pt x="100" y="417"/>
                    </a:lnTo>
                    <a:lnTo>
                      <a:pt x="100" y="415"/>
                    </a:lnTo>
                    <a:lnTo>
                      <a:pt x="100" y="414"/>
                    </a:lnTo>
                    <a:lnTo>
                      <a:pt x="98" y="414"/>
                    </a:lnTo>
                    <a:lnTo>
                      <a:pt x="98" y="412"/>
                    </a:lnTo>
                    <a:lnTo>
                      <a:pt x="97" y="412"/>
                    </a:lnTo>
                    <a:lnTo>
                      <a:pt x="97" y="411"/>
                    </a:lnTo>
                    <a:lnTo>
                      <a:pt x="95" y="411"/>
                    </a:lnTo>
                    <a:lnTo>
                      <a:pt x="95" y="409"/>
                    </a:lnTo>
                    <a:lnTo>
                      <a:pt x="93" y="409"/>
                    </a:lnTo>
                    <a:lnTo>
                      <a:pt x="92" y="409"/>
                    </a:lnTo>
                    <a:lnTo>
                      <a:pt x="90" y="407"/>
                    </a:lnTo>
                    <a:lnTo>
                      <a:pt x="89" y="407"/>
                    </a:lnTo>
                    <a:lnTo>
                      <a:pt x="89" y="406"/>
                    </a:lnTo>
                    <a:lnTo>
                      <a:pt x="89" y="404"/>
                    </a:lnTo>
                    <a:lnTo>
                      <a:pt x="87" y="403"/>
                    </a:lnTo>
                    <a:lnTo>
                      <a:pt x="87" y="401"/>
                    </a:lnTo>
                    <a:lnTo>
                      <a:pt x="87" y="399"/>
                    </a:lnTo>
                    <a:lnTo>
                      <a:pt x="85" y="399"/>
                    </a:lnTo>
                    <a:lnTo>
                      <a:pt x="85" y="398"/>
                    </a:lnTo>
                    <a:lnTo>
                      <a:pt x="85" y="396"/>
                    </a:lnTo>
                    <a:lnTo>
                      <a:pt x="84" y="396"/>
                    </a:lnTo>
                    <a:lnTo>
                      <a:pt x="84" y="395"/>
                    </a:lnTo>
                    <a:lnTo>
                      <a:pt x="82" y="395"/>
                    </a:lnTo>
                    <a:lnTo>
                      <a:pt x="82" y="393"/>
                    </a:lnTo>
                    <a:lnTo>
                      <a:pt x="81" y="393"/>
                    </a:lnTo>
                    <a:lnTo>
                      <a:pt x="81" y="392"/>
                    </a:lnTo>
                    <a:lnTo>
                      <a:pt x="79" y="392"/>
                    </a:lnTo>
                    <a:lnTo>
                      <a:pt x="79" y="393"/>
                    </a:lnTo>
                    <a:lnTo>
                      <a:pt x="78" y="393"/>
                    </a:lnTo>
                    <a:lnTo>
                      <a:pt x="76" y="393"/>
                    </a:lnTo>
                    <a:lnTo>
                      <a:pt x="76" y="392"/>
                    </a:lnTo>
                    <a:lnTo>
                      <a:pt x="74" y="392"/>
                    </a:lnTo>
                    <a:lnTo>
                      <a:pt x="73" y="392"/>
                    </a:lnTo>
                    <a:lnTo>
                      <a:pt x="73" y="390"/>
                    </a:lnTo>
                    <a:lnTo>
                      <a:pt x="71" y="390"/>
                    </a:lnTo>
                    <a:lnTo>
                      <a:pt x="70" y="390"/>
                    </a:lnTo>
                    <a:lnTo>
                      <a:pt x="70" y="388"/>
                    </a:lnTo>
                    <a:lnTo>
                      <a:pt x="68" y="388"/>
                    </a:lnTo>
                    <a:lnTo>
                      <a:pt x="68" y="387"/>
                    </a:lnTo>
                    <a:lnTo>
                      <a:pt x="66" y="387"/>
                    </a:lnTo>
                    <a:lnTo>
                      <a:pt x="65" y="387"/>
                    </a:lnTo>
                    <a:lnTo>
                      <a:pt x="63" y="387"/>
                    </a:lnTo>
                    <a:lnTo>
                      <a:pt x="62" y="387"/>
                    </a:lnTo>
                    <a:lnTo>
                      <a:pt x="60" y="387"/>
                    </a:lnTo>
                    <a:lnTo>
                      <a:pt x="59" y="387"/>
                    </a:lnTo>
                    <a:lnTo>
                      <a:pt x="57" y="387"/>
                    </a:lnTo>
                    <a:lnTo>
                      <a:pt x="55" y="387"/>
                    </a:lnTo>
                    <a:lnTo>
                      <a:pt x="54" y="385"/>
                    </a:lnTo>
                    <a:lnTo>
                      <a:pt x="52" y="385"/>
                    </a:lnTo>
                    <a:lnTo>
                      <a:pt x="51" y="385"/>
                    </a:lnTo>
                    <a:lnTo>
                      <a:pt x="49" y="385"/>
                    </a:lnTo>
                    <a:lnTo>
                      <a:pt x="47" y="385"/>
                    </a:lnTo>
                    <a:lnTo>
                      <a:pt x="46" y="384"/>
                    </a:lnTo>
                    <a:lnTo>
                      <a:pt x="44" y="384"/>
                    </a:lnTo>
                    <a:lnTo>
                      <a:pt x="43" y="384"/>
                    </a:lnTo>
                    <a:lnTo>
                      <a:pt x="41" y="384"/>
                    </a:lnTo>
                    <a:lnTo>
                      <a:pt x="39" y="384"/>
                    </a:lnTo>
                    <a:lnTo>
                      <a:pt x="38" y="384"/>
                    </a:lnTo>
                    <a:lnTo>
                      <a:pt x="36" y="384"/>
                    </a:lnTo>
                    <a:lnTo>
                      <a:pt x="36" y="382"/>
                    </a:lnTo>
                    <a:lnTo>
                      <a:pt x="35" y="382"/>
                    </a:lnTo>
                    <a:lnTo>
                      <a:pt x="33" y="382"/>
                    </a:lnTo>
                    <a:lnTo>
                      <a:pt x="33" y="380"/>
                    </a:lnTo>
                    <a:lnTo>
                      <a:pt x="32" y="380"/>
                    </a:lnTo>
                    <a:lnTo>
                      <a:pt x="30" y="380"/>
                    </a:lnTo>
                    <a:lnTo>
                      <a:pt x="30" y="379"/>
                    </a:lnTo>
                    <a:lnTo>
                      <a:pt x="28" y="379"/>
                    </a:lnTo>
                    <a:lnTo>
                      <a:pt x="27" y="379"/>
                    </a:lnTo>
                    <a:lnTo>
                      <a:pt x="27" y="377"/>
                    </a:lnTo>
                    <a:lnTo>
                      <a:pt x="27" y="379"/>
                    </a:lnTo>
                    <a:lnTo>
                      <a:pt x="25" y="379"/>
                    </a:lnTo>
                    <a:lnTo>
                      <a:pt x="25" y="380"/>
                    </a:lnTo>
                    <a:lnTo>
                      <a:pt x="25" y="379"/>
                    </a:lnTo>
                    <a:lnTo>
                      <a:pt x="24" y="379"/>
                    </a:lnTo>
                    <a:lnTo>
                      <a:pt x="24" y="377"/>
                    </a:lnTo>
                    <a:lnTo>
                      <a:pt x="22" y="377"/>
                    </a:lnTo>
                    <a:lnTo>
                      <a:pt x="20" y="376"/>
                    </a:lnTo>
                    <a:lnTo>
                      <a:pt x="20" y="374"/>
                    </a:lnTo>
                    <a:lnTo>
                      <a:pt x="19" y="372"/>
                    </a:lnTo>
                    <a:lnTo>
                      <a:pt x="19" y="371"/>
                    </a:lnTo>
                    <a:lnTo>
                      <a:pt x="17" y="369"/>
                    </a:lnTo>
                    <a:lnTo>
                      <a:pt x="17" y="368"/>
                    </a:lnTo>
                    <a:lnTo>
                      <a:pt x="17" y="366"/>
                    </a:lnTo>
                    <a:lnTo>
                      <a:pt x="17" y="365"/>
                    </a:lnTo>
                    <a:lnTo>
                      <a:pt x="16" y="363"/>
                    </a:lnTo>
                    <a:lnTo>
                      <a:pt x="16" y="361"/>
                    </a:lnTo>
                    <a:lnTo>
                      <a:pt x="16" y="360"/>
                    </a:lnTo>
                    <a:lnTo>
                      <a:pt x="14" y="360"/>
                    </a:lnTo>
                    <a:lnTo>
                      <a:pt x="13" y="360"/>
                    </a:lnTo>
                    <a:lnTo>
                      <a:pt x="13" y="358"/>
                    </a:lnTo>
                    <a:lnTo>
                      <a:pt x="11" y="357"/>
                    </a:lnTo>
                    <a:lnTo>
                      <a:pt x="11" y="355"/>
                    </a:lnTo>
                    <a:lnTo>
                      <a:pt x="9" y="355"/>
                    </a:lnTo>
                    <a:lnTo>
                      <a:pt x="9" y="353"/>
                    </a:lnTo>
                    <a:lnTo>
                      <a:pt x="8" y="352"/>
                    </a:lnTo>
                    <a:lnTo>
                      <a:pt x="8" y="350"/>
                    </a:lnTo>
                    <a:lnTo>
                      <a:pt x="8" y="349"/>
                    </a:lnTo>
                    <a:lnTo>
                      <a:pt x="8" y="347"/>
                    </a:lnTo>
                    <a:lnTo>
                      <a:pt x="6" y="346"/>
                    </a:lnTo>
                    <a:lnTo>
                      <a:pt x="6" y="344"/>
                    </a:lnTo>
                    <a:lnTo>
                      <a:pt x="8" y="344"/>
                    </a:lnTo>
                    <a:lnTo>
                      <a:pt x="8" y="342"/>
                    </a:lnTo>
                    <a:lnTo>
                      <a:pt x="8" y="341"/>
                    </a:lnTo>
                    <a:lnTo>
                      <a:pt x="8" y="339"/>
                    </a:lnTo>
                    <a:lnTo>
                      <a:pt x="6" y="339"/>
                    </a:lnTo>
                    <a:lnTo>
                      <a:pt x="5" y="339"/>
                    </a:lnTo>
                    <a:lnTo>
                      <a:pt x="5" y="338"/>
                    </a:lnTo>
                    <a:lnTo>
                      <a:pt x="3" y="336"/>
                    </a:lnTo>
                    <a:lnTo>
                      <a:pt x="1" y="334"/>
                    </a:lnTo>
                    <a:lnTo>
                      <a:pt x="0" y="333"/>
                    </a:lnTo>
                    <a:lnTo>
                      <a:pt x="0" y="331"/>
                    </a:lnTo>
                    <a:lnTo>
                      <a:pt x="5" y="325"/>
                    </a:lnTo>
                    <a:lnTo>
                      <a:pt x="5" y="323"/>
                    </a:lnTo>
                    <a:lnTo>
                      <a:pt x="6" y="322"/>
                    </a:lnTo>
                    <a:lnTo>
                      <a:pt x="8" y="320"/>
                    </a:lnTo>
                    <a:lnTo>
                      <a:pt x="9" y="319"/>
                    </a:lnTo>
                    <a:lnTo>
                      <a:pt x="11" y="315"/>
                    </a:lnTo>
                    <a:lnTo>
                      <a:pt x="14" y="312"/>
                    </a:lnTo>
                    <a:lnTo>
                      <a:pt x="14" y="311"/>
                    </a:lnTo>
                    <a:lnTo>
                      <a:pt x="13" y="308"/>
                    </a:lnTo>
                    <a:lnTo>
                      <a:pt x="13" y="304"/>
                    </a:lnTo>
                    <a:lnTo>
                      <a:pt x="11" y="304"/>
                    </a:lnTo>
                    <a:lnTo>
                      <a:pt x="11" y="303"/>
                    </a:lnTo>
                    <a:lnTo>
                      <a:pt x="9" y="298"/>
                    </a:lnTo>
                    <a:lnTo>
                      <a:pt x="6" y="289"/>
                    </a:lnTo>
                    <a:lnTo>
                      <a:pt x="1" y="281"/>
                    </a:lnTo>
                    <a:lnTo>
                      <a:pt x="1" y="279"/>
                    </a:lnTo>
                    <a:lnTo>
                      <a:pt x="0" y="270"/>
                    </a:lnTo>
                    <a:lnTo>
                      <a:pt x="0" y="268"/>
                    </a:lnTo>
                    <a:lnTo>
                      <a:pt x="3" y="263"/>
                    </a:lnTo>
                    <a:lnTo>
                      <a:pt x="5" y="263"/>
                    </a:lnTo>
                    <a:lnTo>
                      <a:pt x="6" y="262"/>
                    </a:lnTo>
                    <a:lnTo>
                      <a:pt x="6" y="260"/>
                    </a:lnTo>
                    <a:lnTo>
                      <a:pt x="14" y="244"/>
                    </a:lnTo>
                    <a:lnTo>
                      <a:pt x="14" y="239"/>
                    </a:lnTo>
                    <a:lnTo>
                      <a:pt x="16" y="236"/>
                    </a:lnTo>
                    <a:lnTo>
                      <a:pt x="16" y="233"/>
                    </a:lnTo>
                    <a:lnTo>
                      <a:pt x="17" y="231"/>
                    </a:lnTo>
                    <a:lnTo>
                      <a:pt x="24" y="212"/>
                    </a:lnTo>
                    <a:lnTo>
                      <a:pt x="27" y="201"/>
                    </a:lnTo>
                    <a:lnTo>
                      <a:pt x="28" y="198"/>
                    </a:lnTo>
                    <a:lnTo>
                      <a:pt x="30" y="192"/>
                    </a:lnTo>
                    <a:lnTo>
                      <a:pt x="32" y="189"/>
                    </a:lnTo>
                    <a:lnTo>
                      <a:pt x="32" y="187"/>
                    </a:lnTo>
                    <a:lnTo>
                      <a:pt x="30" y="186"/>
                    </a:lnTo>
                    <a:lnTo>
                      <a:pt x="32" y="186"/>
                    </a:lnTo>
                    <a:lnTo>
                      <a:pt x="32" y="184"/>
                    </a:lnTo>
                    <a:lnTo>
                      <a:pt x="33" y="181"/>
                    </a:lnTo>
                    <a:lnTo>
                      <a:pt x="33" y="179"/>
                    </a:lnTo>
                    <a:lnTo>
                      <a:pt x="33" y="178"/>
                    </a:lnTo>
                    <a:lnTo>
                      <a:pt x="35" y="178"/>
                    </a:lnTo>
                    <a:lnTo>
                      <a:pt x="36" y="178"/>
                    </a:lnTo>
                    <a:lnTo>
                      <a:pt x="43" y="176"/>
                    </a:lnTo>
                    <a:lnTo>
                      <a:pt x="46" y="176"/>
                    </a:lnTo>
                    <a:lnTo>
                      <a:pt x="47" y="176"/>
                    </a:lnTo>
                    <a:lnTo>
                      <a:pt x="49" y="174"/>
                    </a:lnTo>
                    <a:lnTo>
                      <a:pt x="51" y="173"/>
                    </a:lnTo>
                    <a:lnTo>
                      <a:pt x="52" y="173"/>
                    </a:lnTo>
                    <a:lnTo>
                      <a:pt x="54" y="171"/>
                    </a:lnTo>
                    <a:lnTo>
                      <a:pt x="55" y="171"/>
                    </a:lnTo>
                    <a:lnTo>
                      <a:pt x="57" y="171"/>
                    </a:lnTo>
                    <a:lnTo>
                      <a:pt x="59" y="171"/>
                    </a:lnTo>
                    <a:lnTo>
                      <a:pt x="63" y="171"/>
                    </a:lnTo>
                    <a:lnTo>
                      <a:pt x="66" y="171"/>
                    </a:lnTo>
                    <a:lnTo>
                      <a:pt x="70" y="173"/>
                    </a:lnTo>
                    <a:lnTo>
                      <a:pt x="71" y="173"/>
                    </a:lnTo>
                    <a:lnTo>
                      <a:pt x="74" y="171"/>
                    </a:lnTo>
                    <a:lnTo>
                      <a:pt x="78" y="170"/>
                    </a:lnTo>
                    <a:lnTo>
                      <a:pt x="79" y="168"/>
                    </a:lnTo>
                    <a:lnTo>
                      <a:pt x="82" y="167"/>
                    </a:lnTo>
                    <a:lnTo>
                      <a:pt x="85" y="168"/>
                    </a:lnTo>
                    <a:lnTo>
                      <a:pt x="92" y="168"/>
                    </a:lnTo>
                    <a:lnTo>
                      <a:pt x="98" y="167"/>
                    </a:lnTo>
                    <a:lnTo>
                      <a:pt x="104" y="168"/>
                    </a:lnTo>
                    <a:lnTo>
                      <a:pt x="106" y="168"/>
                    </a:lnTo>
                    <a:lnTo>
                      <a:pt x="106" y="167"/>
                    </a:lnTo>
                    <a:lnTo>
                      <a:pt x="109" y="167"/>
                    </a:lnTo>
                    <a:lnTo>
                      <a:pt x="111" y="168"/>
                    </a:lnTo>
                    <a:lnTo>
                      <a:pt x="112" y="168"/>
                    </a:lnTo>
                    <a:lnTo>
                      <a:pt x="117" y="168"/>
                    </a:lnTo>
                    <a:lnTo>
                      <a:pt x="122" y="167"/>
                    </a:lnTo>
                    <a:lnTo>
                      <a:pt x="125" y="167"/>
                    </a:lnTo>
                    <a:lnTo>
                      <a:pt x="128" y="168"/>
                    </a:lnTo>
                    <a:lnTo>
                      <a:pt x="133" y="170"/>
                    </a:lnTo>
                    <a:lnTo>
                      <a:pt x="136" y="170"/>
                    </a:lnTo>
                    <a:lnTo>
                      <a:pt x="142" y="173"/>
                    </a:lnTo>
                    <a:lnTo>
                      <a:pt x="144" y="174"/>
                    </a:lnTo>
                    <a:lnTo>
                      <a:pt x="147" y="176"/>
                    </a:lnTo>
                    <a:lnTo>
                      <a:pt x="150" y="178"/>
                    </a:lnTo>
                    <a:lnTo>
                      <a:pt x="154" y="179"/>
                    </a:lnTo>
                    <a:lnTo>
                      <a:pt x="157" y="181"/>
                    </a:lnTo>
                    <a:lnTo>
                      <a:pt x="160" y="184"/>
                    </a:lnTo>
                    <a:lnTo>
                      <a:pt x="163" y="186"/>
                    </a:lnTo>
                    <a:lnTo>
                      <a:pt x="166" y="187"/>
                    </a:lnTo>
                    <a:lnTo>
                      <a:pt x="169" y="187"/>
                    </a:lnTo>
                    <a:lnTo>
                      <a:pt x="174" y="186"/>
                    </a:lnTo>
                    <a:lnTo>
                      <a:pt x="176" y="186"/>
                    </a:lnTo>
                    <a:lnTo>
                      <a:pt x="179" y="184"/>
                    </a:lnTo>
                    <a:lnTo>
                      <a:pt x="180" y="182"/>
                    </a:lnTo>
                    <a:lnTo>
                      <a:pt x="184" y="181"/>
                    </a:lnTo>
                    <a:lnTo>
                      <a:pt x="185" y="181"/>
                    </a:lnTo>
                    <a:lnTo>
                      <a:pt x="188" y="181"/>
                    </a:lnTo>
                    <a:lnTo>
                      <a:pt x="190" y="181"/>
                    </a:lnTo>
                    <a:lnTo>
                      <a:pt x="192" y="178"/>
                    </a:lnTo>
                    <a:lnTo>
                      <a:pt x="192" y="174"/>
                    </a:lnTo>
                    <a:lnTo>
                      <a:pt x="192" y="170"/>
                    </a:lnTo>
                    <a:lnTo>
                      <a:pt x="192" y="165"/>
                    </a:lnTo>
                    <a:lnTo>
                      <a:pt x="192" y="159"/>
                    </a:lnTo>
                    <a:lnTo>
                      <a:pt x="192" y="157"/>
                    </a:lnTo>
                    <a:lnTo>
                      <a:pt x="193" y="155"/>
                    </a:lnTo>
                    <a:lnTo>
                      <a:pt x="193" y="154"/>
                    </a:lnTo>
                    <a:lnTo>
                      <a:pt x="193" y="152"/>
                    </a:lnTo>
                    <a:lnTo>
                      <a:pt x="196" y="149"/>
                    </a:lnTo>
                    <a:lnTo>
                      <a:pt x="199" y="144"/>
                    </a:lnTo>
                    <a:lnTo>
                      <a:pt x="201" y="143"/>
                    </a:lnTo>
                    <a:lnTo>
                      <a:pt x="203" y="143"/>
                    </a:lnTo>
                    <a:lnTo>
                      <a:pt x="206" y="140"/>
                    </a:lnTo>
                    <a:lnTo>
                      <a:pt x="204" y="138"/>
                    </a:lnTo>
                    <a:lnTo>
                      <a:pt x="204" y="136"/>
                    </a:lnTo>
                    <a:lnTo>
                      <a:pt x="203" y="135"/>
                    </a:lnTo>
                    <a:lnTo>
                      <a:pt x="204" y="135"/>
                    </a:lnTo>
                    <a:lnTo>
                      <a:pt x="206" y="135"/>
                    </a:lnTo>
                    <a:lnTo>
                      <a:pt x="209" y="135"/>
                    </a:lnTo>
                    <a:lnTo>
                      <a:pt x="212" y="135"/>
                    </a:lnTo>
                    <a:lnTo>
                      <a:pt x="214" y="133"/>
                    </a:lnTo>
                    <a:lnTo>
                      <a:pt x="215" y="132"/>
                    </a:lnTo>
                    <a:lnTo>
                      <a:pt x="217" y="130"/>
                    </a:lnTo>
                    <a:lnTo>
                      <a:pt x="218" y="130"/>
                    </a:lnTo>
                    <a:lnTo>
                      <a:pt x="223" y="130"/>
                    </a:lnTo>
                    <a:lnTo>
                      <a:pt x="226" y="132"/>
                    </a:lnTo>
                    <a:lnTo>
                      <a:pt x="230" y="132"/>
                    </a:lnTo>
                    <a:lnTo>
                      <a:pt x="233" y="133"/>
                    </a:lnTo>
                    <a:lnTo>
                      <a:pt x="239" y="133"/>
                    </a:lnTo>
                    <a:lnTo>
                      <a:pt x="242" y="132"/>
                    </a:lnTo>
                    <a:lnTo>
                      <a:pt x="247" y="132"/>
                    </a:lnTo>
                    <a:lnTo>
                      <a:pt x="250" y="133"/>
                    </a:lnTo>
                    <a:lnTo>
                      <a:pt x="250" y="135"/>
                    </a:lnTo>
                    <a:lnTo>
                      <a:pt x="252" y="135"/>
                    </a:lnTo>
                    <a:lnTo>
                      <a:pt x="255" y="138"/>
                    </a:lnTo>
                    <a:lnTo>
                      <a:pt x="257" y="138"/>
                    </a:lnTo>
                    <a:lnTo>
                      <a:pt x="258" y="140"/>
                    </a:lnTo>
                    <a:lnTo>
                      <a:pt x="261" y="141"/>
                    </a:lnTo>
                    <a:lnTo>
                      <a:pt x="263" y="141"/>
                    </a:lnTo>
                    <a:lnTo>
                      <a:pt x="263" y="143"/>
                    </a:lnTo>
                    <a:lnTo>
                      <a:pt x="264" y="144"/>
                    </a:lnTo>
                    <a:lnTo>
                      <a:pt x="266" y="148"/>
                    </a:lnTo>
                    <a:lnTo>
                      <a:pt x="266" y="151"/>
                    </a:lnTo>
                    <a:lnTo>
                      <a:pt x="268" y="152"/>
                    </a:lnTo>
                    <a:lnTo>
                      <a:pt x="269" y="154"/>
                    </a:lnTo>
                    <a:lnTo>
                      <a:pt x="272" y="155"/>
                    </a:lnTo>
                    <a:lnTo>
                      <a:pt x="272" y="157"/>
                    </a:lnTo>
                    <a:lnTo>
                      <a:pt x="274" y="157"/>
                    </a:lnTo>
                    <a:lnTo>
                      <a:pt x="274" y="160"/>
                    </a:lnTo>
                    <a:lnTo>
                      <a:pt x="276" y="163"/>
                    </a:lnTo>
                    <a:lnTo>
                      <a:pt x="276" y="165"/>
                    </a:lnTo>
                    <a:lnTo>
                      <a:pt x="277" y="165"/>
                    </a:lnTo>
                    <a:lnTo>
                      <a:pt x="277" y="167"/>
                    </a:lnTo>
                    <a:lnTo>
                      <a:pt x="279" y="168"/>
                    </a:lnTo>
                    <a:lnTo>
                      <a:pt x="277" y="171"/>
                    </a:lnTo>
                    <a:lnTo>
                      <a:pt x="276" y="176"/>
                    </a:lnTo>
                    <a:lnTo>
                      <a:pt x="280" y="179"/>
                    </a:lnTo>
                    <a:lnTo>
                      <a:pt x="282" y="181"/>
                    </a:lnTo>
                    <a:lnTo>
                      <a:pt x="285" y="181"/>
                    </a:lnTo>
                    <a:lnTo>
                      <a:pt x="290" y="182"/>
                    </a:lnTo>
                    <a:lnTo>
                      <a:pt x="296" y="187"/>
                    </a:lnTo>
                    <a:lnTo>
                      <a:pt x="298" y="187"/>
                    </a:lnTo>
                    <a:lnTo>
                      <a:pt x="298" y="189"/>
                    </a:lnTo>
                    <a:lnTo>
                      <a:pt x="298" y="193"/>
                    </a:lnTo>
                    <a:lnTo>
                      <a:pt x="298" y="197"/>
                    </a:lnTo>
                    <a:lnTo>
                      <a:pt x="298" y="200"/>
                    </a:lnTo>
                    <a:lnTo>
                      <a:pt x="298" y="201"/>
                    </a:lnTo>
                    <a:lnTo>
                      <a:pt x="301" y="206"/>
                    </a:lnTo>
                    <a:lnTo>
                      <a:pt x="304" y="208"/>
                    </a:lnTo>
                    <a:lnTo>
                      <a:pt x="306" y="208"/>
                    </a:lnTo>
                    <a:lnTo>
                      <a:pt x="307" y="208"/>
                    </a:lnTo>
                    <a:lnTo>
                      <a:pt x="309" y="206"/>
                    </a:lnTo>
                    <a:lnTo>
                      <a:pt x="309" y="205"/>
                    </a:lnTo>
                    <a:lnTo>
                      <a:pt x="310" y="203"/>
                    </a:lnTo>
                    <a:lnTo>
                      <a:pt x="312" y="200"/>
                    </a:lnTo>
                    <a:lnTo>
                      <a:pt x="315" y="193"/>
                    </a:lnTo>
                    <a:lnTo>
                      <a:pt x="318" y="189"/>
                    </a:lnTo>
                    <a:lnTo>
                      <a:pt x="323" y="182"/>
                    </a:lnTo>
                    <a:lnTo>
                      <a:pt x="328" y="176"/>
                    </a:lnTo>
                    <a:lnTo>
                      <a:pt x="333" y="167"/>
                    </a:lnTo>
                    <a:lnTo>
                      <a:pt x="339" y="154"/>
                    </a:lnTo>
                    <a:lnTo>
                      <a:pt x="344" y="146"/>
                    </a:lnTo>
                    <a:lnTo>
                      <a:pt x="344" y="143"/>
                    </a:lnTo>
                    <a:lnTo>
                      <a:pt x="352" y="124"/>
                    </a:lnTo>
                    <a:lnTo>
                      <a:pt x="355" y="119"/>
                    </a:lnTo>
                    <a:lnTo>
                      <a:pt x="356" y="116"/>
                    </a:lnTo>
                    <a:lnTo>
                      <a:pt x="358" y="114"/>
                    </a:lnTo>
                    <a:lnTo>
                      <a:pt x="359" y="111"/>
                    </a:lnTo>
                    <a:lnTo>
                      <a:pt x="361" y="106"/>
                    </a:lnTo>
                    <a:lnTo>
                      <a:pt x="364" y="102"/>
                    </a:lnTo>
                    <a:lnTo>
                      <a:pt x="366" y="98"/>
                    </a:lnTo>
                    <a:lnTo>
                      <a:pt x="369" y="94"/>
                    </a:lnTo>
                    <a:lnTo>
                      <a:pt x="369" y="90"/>
                    </a:lnTo>
                    <a:lnTo>
                      <a:pt x="371" y="87"/>
                    </a:lnTo>
                    <a:lnTo>
                      <a:pt x="374" y="86"/>
                    </a:lnTo>
                    <a:lnTo>
                      <a:pt x="375" y="86"/>
                    </a:lnTo>
                    <a:lnTo>
                      <a:pt x="375" y="84"/>
                    </a:lnTo>
                    <a:lnTo>
                      <a:pt x="375" y="83"/>
                    </a:lnTo>
                    <a:lnTo>
                      <a:pt x="377" y="79"/>
                    </a:lnTo>
                    <a:lnTo>
                      <a:pt x="377" y="78"/>
                    </a:lnTo>
                    <a:lnTo>
                      <a:pt x="378" y="76"/>
                    </a:lnTo>
                    <a:lnTo>
                      <a:pt x="380" y="75"/>
                    </a:lnTo>
                    <a:lnTo>
                      <a:pt x="382" y="75"/>
                    </a:lnTo>
                    <a:lnTo>
                      <a:pt x="383" y="75"/>
                    </a:lnTo>
                    <a:lnTo>
                      <a:pt x="383" y="73"/>
                    </a:lnTo>
                    <a:lnTo>
                      <a:pt x="385" y="71"/>
                    </a:lnTo>
                    <a:lnTo>
                      <a:pt x="386" y="68"/>
                    </a:lnTo>
                    <a:lnTo>
                      <a:pt x="390" y="62"/>
                    </a:lnTo>
                    <a:lnTo>
                      <a:pt x="393" y="59"/>
                    </a:lnTo>
                    <a:lnTo>
                      <a:pt x="396" y="54"/>
                    </a:lnTo>
                    <a:lnTo>
                      <a:pt x="397" y="49"/>
                    </a:lnTo>
                    <a:lnTo>
                      <a:pt x="399" y="46"/>
                    </a:lnTo>
                    <a:lnTo>
                      <a:pt x="401" y="43"/>
                    </a:lnTo>
                    <a:lnTo>
                      <a:pt x="402" y="40"/>
                    </a:lnTo>
                    <a:lnTo>
                      <a:pt x="405" y="37"/>
                    </a:lnTo>
                    <a:lnTo>
                      <a:pt x="409" y="32"/>
                    </a:lnTo>
                    <a:lnTo>
                      <a:pt x="412" y="27"/>
                    </a:lnTo>
                    <a:lnTo>
                      <a:pt x="413" y="24"/>
                    </a:lnTo>
                    <a:lnTo>
                      <a:pt x="416" y="19"/>
                    </a:lnTo>
                    <a:lnTo>
                      <a:pt x="418" y="14"/>
                    </a:lnTo>
                    <a:lnTo>
                      <a:pt x="421" y="11"/>
                    </a:lnTo>
                    <a:lnTo>
                      <a:pt x="423" y="8"/>
                    </a:lnTo>
                    <a:lnTo>
                      <a:pt x="424" y="5"/>
                    </a:lnTo>
                    <a:lnTo>
                      <a:pt x="428" y="0"/>
                    </a:lnTo>
                    <a:lnTo>
                      <a:pt x="432" y="3"/>
                    </a:lnTo>
                    <a:lnTo>
                      <a:pt x="432" y="5"/>
                    </a:lnTo>
                    <a:lnTo>
                      <a:pt x="434" y="8"/>
                    </a:lnTo>
                    <a:lnTo>
                      <a:pt x="436" y="10"/>
                    </a:lnTo>
                    <a:lnTo>
                      <a:pt x="437" y="13"/>
                    </a:lnTo>
                    <a:lnTo>
                      <a:pt x="439" y="16"/>
                    </a:lnTo>
                    <a:lnTo>
                      <a:pt x="440" y="18"/>
                    </a:lnTo>
                    <a:lnTo>
                      <a:pt x="442" y="19"/>
                    </a:lnTo>
                    <a:lnTo>
                      <a:pt x="443" y="21"/>
                    </a:lnTo>
                    <a:lnTo>
                      <a:pt x="445" y="22"/>
                    </a:lnTo>
                    <a:lnTo>
                      <a:pt x="447" y="25"/>
                    </a:lnTo>
                    <a:lnTo>
                      <a:pt x="448" y="27"/>
                    </a:lnTo>
                    <a:lnTo>
                      <a:pt x="450" y="29"/>
                    </a:lnTo>
                    <a:lnTo>
                      <a:pt x="451" y="32"/>
                    </a:lnTo>
                    <a:lnTo>
                      <a:pt x="453" y="35"/>
                    </a:lnTo>
                    <a:lnTo>
                      <a:pt x="455" y="37"/>
                    </a:lnTo>
                    <a:lnTo>
                      <a:pt x="455" y="38"/>
                    </a:lnTo>
                    <a:lnTo>
                      <a:pt x="456" y="40"/>
                    </a:lnTo>
                    <a:lnTo>
                      <a:pt x="456" y="41"/>
                    </a:lnTo>
                    <a:lnTo>
                      <a:pt x="456" y="43"/>
                    </a:lnTo>
                    <a:lnTo>
                      <a:pt x="456" y="45"/>
                    </a:lnTo>
                    <a:lnTo>
                      <a:pt x="458" y="46"/>
                    </a:lnTo>
                    <a:lnTo>
                      <a:pt x="461" y="49"/>
                    </a:lnTo>
                    <a:lnTo>
                      <a:pt x="464" y="51"/>
                    </a:lnTo>
                    <a:lnTo>
                      <a:pt x="467" y="51"/>
                    </a:lnTo>
                    <a:lnTo>
                      <a:pt x="470" y="51"/>
                    </a:lnTo>
                    <a:lnTo>
                      <a:pt x="474" y="52"/>
                    </a:lnTo>
                    <a:lnTo>
                      <a:pt x="478" y="54"/>
                    </a:lnTo>
                    <a:lnTo>
                      <a:pt x="483" y="56"/>
                    </a:lnTo>
                    <a:lnTo>
                      <a:pt x="488" y="59"/>
                    </a:lnTo>
                    <a:lnTo>
                      <a:pt x="489" y="60"/>
                    </a:lnTo>
                    <a:lnTo>
                      <a:pt x="491" y="62"/>
                    </a:lnTo>
                    <a:lnTo>
                      <a:pt x="491" y="64"/>
                    </a:lnTo>
                    <a:close/>
                  </a:path>
                </a:pathLst>
              </a:custGeom>
              <a:solidFill>
                <a:srgbClr val="E1E1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138"/>
              </a:p>
            </p:txBody>
          </p:sp>
          <p:sp>
            <p:nvSpPr>
              <p:cNvPr id="46" name="Freeform 44"/>
              <p:cNvSpPr>
                <a:spLocks/>
              </p:cNvSpPr>
              <p:nvPr/>
            </p:nvSpPr>
            <p:spPr bwMode="auto">
              <a:xfrm>
                <a:off x="2938" y="705"/>
                <a:ext cx="542" cy="713"/>
              </a:xfrm>
              <a:custGeom>
                <a:avLst/>
                <a:gdLst>
                  <a:gd name="T0" fmla="*/ 38 w 542"/>
                  <a:gd name="T1" fmla="*/ 6 h 713"/>
                  <a:gd name="T2" fmla="*/ 55 w 542"/>
                  <a:gd name="T3" fmla="*/ 38 h 713"/>
                  <a:gd name="T4" fmla="*/ 81 w 542"/>
                  <a:gd name="T5" fmla="*/ 66 h 713"/>
                  <a:gd name="T6" fmla="*/ 104 w 542"/>
                  <a:gd name="T7" fmla="*/ 81 h 713"/>
                  <a:gd name="T8" fmla="*/ 147 w 542"/>
                  <a:gd name="T9" fmla="*/ 74 h 713"/>
                  <a:gd name="T10" fmla="*/ 195 w 542"/>
                  <a:gd name="T11" fmla="*/ 65 h 713"/>
                  <a:gd name="T12" fmla="*/ 231 w 542"/>
                  <a:gd name="T13" fmla="*/ 47 h 713"/>
                  <a:gd name="T14" fmla="*/ 260 w 542"/>
                  <a:gd name="T15" fmla="*/ 22 h 713"/>
                  <a:gd name="T16" fmla="*/ 291 w 542"/>
                  <a:gd name="T17" fmla="*/ 24 h 713"/>
                  <a:gd name="T18" fmla="*/ 320 w 542"/>
                  <a:gd name="T19" fmla="*/ 68 h 713"/>
                  <a:gd name="T20" fmla="*/ 358 w 542"/>
                  <a:gd name="T21" fmla="*/ 52 h 713"/>
                  <a:gd name="T22" fmla="*/ 404 w 542"/>
                  <a:gd name="T23" fmla="*/ 46 h 713"/>
                  <a:gd name="T24" fmla="*/ 421 w 542"/>
                  <a:gd name="T25" fmla="*/ 49 h 713"/>
                  <a:gd name="T26" fmla="*/ 437 w 542"/>
                  <a:gd name="T27" fmla="*/ 55 h 713"/>
                  <a:gd name="T28" fmla="*/ 493 w 542"/>
                  <a:gd name="T29" fmla="*/ 62 h 713"/>
                  <a:gd name="T30" fmla="*/ 537 w 542"/>
                  <a:gd name="T31" fmla="*/ 77 h 713"/>
                  <a:gd name="T32" fmla="*/ 542 w 542"/>
                  <a:gd name="T33" fmla="*/ 89 h 713"/>
                  <a:gd name="T34" fmla="*/ 523 w 542"/>
                  <a:gd name="T35" fmla="*/ 96 h 713"/>
                  <a:gd name="T36" fmla="*/ 502 w 542"/>
                  <a:gd name="T37" fmla="*/ 96 h 713"/>
                  <a:gd name="T38" fmla="*/ 488 w 542"/>
                  <a:gd name="T39" fmla="*/ 90 h 713"/>
                  <a:gd name="T40" fmla="*/ 466 w 542"/>
                  <a:gd name="T41" fmla="*/ 92 h 713"/>
                  <a:gd name="T42" fmla="*/ 451 w 542"/>
                  <a:gd name="T43" fmla="*/ 104 h 713"/>
                  <a:gd name="T44" fmla="*/ 456 w 542"/>
                  <a:gd name="T45" fmla="*/ 117 h 713"/>
                  <a:gd name="T46" fmla="*/ 475 w 542"/>
                  <a:gd name="T47" fmla="*/ 119 h 713"/>
                  <a:gd name="T48" fmla="*/ 462 w 542"/>
                  <a:gd name="T49" fmla="*/ 131 h 713"/>
                  <a:gd name="T50" fmla="*/ 451 w 542"/>
                  <a:gd name="T51" fmla="*/ 147 h 713"/>
                  <a:gd name="T52" fmla="*/ 453 w 542"/>
                  <a:gd name="T53" fmla="*/ 158 h 713"/>
                  <a:gd name="T54" fmla="*/ 474 w 542"/>
                  <a:gd name="T55" fmla="*/ 160 h 713"/>
                  <a:gd name="T56" fmla="*/ 464 w 542"/>
                  <a:gd name="T57" fmla="*/ 174 h 713"/>
                  <a:gd name="T58" fmla="*/ 478 w 542"/>
                  <a:gd name="T59" fmla="*/ 179 h 713"/>
                  <a:gd name="T60" fmla="*/ 483 w 542"/>
                  <a:gd name="T61" fmla="*/ 201 h 713"/>
                  <a:gd name="T62" fmla="*/ 488 w 542"/>
                  <a:gd name="T63" fmla="*/ 215 h 713"/>
                  <a:gd name="T64" fmla="*/ 493 w 542"/>
                  <a:gd name="T65" fmla="*/ 230 h 713"/>
                  <a:gd name="T66" fmla="*/ 491 w 542"/>
                  <a:gd name="T67" fmla="*/ 247 h 713"/>
                  <a:gd name="T68" fmla="*/ 486 w 542"/>
                  <a:gd name="T69" fmla="*/ 269 h 713"/>
                  <a:gd name="T70" fmla="*/ 488 w 542"/>
                  <a:gd name="T71" fmla="*/ 288 h 713"/>
                  <a:gd name="T72" fmla="*/ 493 w 542"/>
                  <a:gd name="T73" fmla="*/ 312 h 713"/>
                  <a:gd name="T74" fmla="*/ 488 w 542"/>
                  <a:gd name="T75" fmla="*/ 334 h 713"/>
                  <a:gd name="T76" fmla="*/ 470 w 542"/>
                  <a:gd name="T77" fmla="*/ 336 h 713"/>
                  <a:gd name="T78" fmla="*/ 462 w 542"/>
                  <a:gd name="T79" fmla="*/ 359 h 713"/>
                  <a:gd name="T80" fmla="*/ 469 w 542"/>
                  <a:gd name="T81" fmla="*/ 383 h 713"/>
                  <a:gd name="T82" fmla="*/ 464 w 542"/>
                  <a:gd name="T83" fmla="*/ 409 h 713"/>
                  <a:gd name="T84" fmla="*/ 466 w 542"/>
                  <a:gd name="T85" fmla="*/ 428 h 713"/>
                  <a:gd name="T86" fmla="*/ 481 w 542"/>
                  <a:gd name="T87" fmla="*/ 455 h 713"/>
                  <a:gd name="T88" fmla="*/ 488 w 542"/>
                  <a:gd name="T89" fmla="*/ 464 h 713"/>
                  <a:gd name="T90" fmla="*/ 483 w 542"/>
                  <a:gd name="T91" fmla="*/ 481 h 713"/>
                  <a:gd name="T92" fmla="*/ 478 w 542"/>
                  <a:gd name="T93" fmla="*/ 499 h 713"/>
                  <a:gd name="T94" fmla="*/ 475 w 542"/>
                  <a:gd name="T95" fmla="*/ 516 h 713"/>
                  <a:gd name="T96" fmla="*/ 512 w 542"/>
                  <a:gd name="T97" fmla="*/ 558 h 713"/>
                  <a:gd name="T98" fmla="*/ 472 w 542"/>
                  <a:gd name="T99" fmla="*/ 694 h 713"/>
                  <a:gd name="T100" fmla="*/ 443 w 542"/>
                  <a:gd name="T101" fmla="*/ 699 h 713"/>
                  <a:gd name="T102" fmla="*/ 424 w 542"/>
                  <a:gd name="T103" fmla="*/ 708 h 713"/>
                  <a:gd name="T104" fmla="*/ 412 w 542"/>
                  <a:gd name="T105" fmla="*/ 706 h 713"/>
                  <a:gd name="T106" fmla="*/ 396 w 542"/>
                  <a:gd name="T107" fmla="*/ 691 h 713"/>
                  <a:gd name="T108" fmla="*/ 372 w 542"/>
                  <a:gd name="T109" fmla="*/ 691 h 713"/>
                  <a:gd name="T110" fmla="*/ 360 w 542"/>
                  <a:gd name="T111" fmla="*/ 700 h 713"/>
                  <a:gd name="T112" fmla="*/ 339 w 542"/>
                  <a:gd name="T113" fmla="*/ 700 h 713"/>
                  <a:gd name="T114" fmla="*/ 325 w 542"/>
                  <a:gd name="T115" fmla="*/ 684 h 713"/>
                  <a:gd name="T116" fmla="*/ 322 w 542"/>
                  <a:gd name="T117" fmla="*/ 657 h 713"/>
                  <a:gd name="T118" fmla="*/ 318 w 542"/>
                  <a:gd name="T119" fmla="*/ 635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2" h="713">
                    <a:moveTo>
                      <a:pt x="0" y="5"/>
                    </a:moveTo>
                    <a:lnTo>
                      <a:pt x="5" y="5"/>
                    </a:lnTo>
                    <a:lnTo>
                      <a:pt x="6" y="5"/>
                    </a:lnTo>
                    <a:lnTo>
                      <a:pt x="11" y="3"/>
                    </a:lnTo>
                    <a:lnTo>
                      <a:pt x="13" y="3"/>
                    </a:lnTo>
                    <a:lnTo>
                      <a:pt x="14" y="3"/>
                    </a:lnTo>
                    <a:lnTo>
                      <a:pt x="16" y="1"/>
                    </a:lnTo>
                    <a:lnTo>
                      <a:pt x="17" y="1"/>
                    </a:lnTo>
                    <a:lnTo>
                      <a:pt x="19" y="0"/>
                    </a:lnTo>
                    <a:lnTo>
                      <a:pt x="21" y="0"/>
                    </a:lnTo>
                    <a:lnTo>
                      <a:pt x="22" y="1"/>
                    </a:lnTo>
                    <a:lnTo>
                      <a:pt x="27" y="1"/>
                    </a:lnTo>
                    <a:lnTo>
                      <a:pt x="30" y="1"/>
                    </a:lnTo>
                    <a:lnTo>
                      <a:pt x="33" y="3"/>
                    </a:lnTo>
                    <a:lnTo>
                      <a:pt x="35" y="5"/>
                    </a:lnTo>
                    <a:lnTo>
                      <a:pt x="36" y="6"/>
                    </a:lnTo>
                    <a:lnTo>
                      <a:pt x="38" y="6"/>
                    </a:lnTo>
                    <a:lnTo>
                      <a:pt x="38" y="9"/>
                    </a:lnTo>
                    <a:lnTo>
                      <a:pt x="38" y="11"/>
                    </a:lnTo>
                    <a:lnTo>
                      <a:pt x="40" y="12"/>
                    </a:lnTo>
                    <a:lnTo>
                      <a:pt x="40" y="14"/>
                    </a:lnTo>
                    <a:lnTo>
                      <a:pt x="40" y="17"/>
                    </a:lnTo>
                    <a:lnTo>
                      <a:pt x="40" y="19"/>
                    </a:lnTo>
                    <a:lnTo>
                      <a:pt x="40" y="20"/>
                    </a:lnTo>
                    <a:lnTo>
                      <a:pt x="40" y="22"/>
                    </a:lnTo>
                    <a:lnTo>
                      <a:pt x="43" y="24"/>
                    </a:lnTo>
                    <a:lnTo>
                      <a:pt x="43" y="25"/>
                    </a:lnTo>
                    <a:lnTo>
                      <a:pt x="44" y="25"/>
                    </a:lnTo>
                    <a:lnTo>
                      <a:pt x="46" y="27"/>
                    </a:lnTo>
                    <a:lnTo>
                      <a:pt x="47" y="27"/>
                    </a:lnTo>
                    <a:lnTo>
                      <a:pt x="49" y="28"/>
                    </a:lnTo>
                    <a:lnTo>
                      <a:pt x="51" y="30"/>
                    </a:lnTo>
                    <a:lnTo>
                      <a:pt x="52" y="33"/>
                    </a:lnTo>
                    <a:lnTo>
                      <a:pt x="55" y="38"/>
                    </a:lnTo>
                    <a:lnTo>
                      <a:pt x="57" y="39"/>
                    </a:lnTo>
                    <a:lnTo>
                      <a:pt x="59" y="46"/>
                    </a:lnTo>
                    <a:lnTo>
                      <a:pt x="62" y="49"/>
                    </a:lnTo>
                    <a:lnTo>
                      <a:pt x="63" y="50"/>
                    </a:lnTo>
                    <a:lnTo>
                      <a:pt x="63" y="52"/>
                    </a:lnTo>
                    <a:lnTo>
                      <a:pt x="65" y="52"/>
                    </a:lnTo>
                    <a:lnTo>
                      <a:pt x="65" y="54"/>
                    </a:lnTo>
                    <a:lnTo>
                      <a:pt x="65" y="55"/>
                    </a:lnTo>
                    <a:lnTo>
                      <a:pt x="65" y="57"/>
                    </a:lnTo>
                    <a:lnTo>
                      <a:pt x="66" y="58"/>
                    </a:lnTo>
                    <a:lnTo>
                      <a:pt x="70" y="60"/>
                    </a:lnTo>
                    <a:lnTo>
                      <a:pt x="71" y="60"/>
                    </a:lnTo>
                    <a:lnTo>
                      <a:pt x="73" y="60"/>
                    </a:lnTo>
                    <a:lnTo>
                      <a:pt x="76" y="62"/>
                    </a:lnTo>
                    <a:lnTo>
                      <a:pt x="78" y="63"/>
                    </a:lnTo>
                    <a:lnTo>
                      <a:pt x="79" y="65"/>
                    </a:lnTo>
                    <a:lnTo>
                      <a:pt x="81" y="66"/>
                    </a:lnTo>
                    <a:lnTo>
                      <a:pt x="82" y="66"/>
                    </a:lnTo>
                    <a:lnTo>
                      <a:pt x="82" y="68"/>
                    </a:lnTo>
                    <a:lnTo>
                      <a:pt x="84" y="69"/>
                    </a:lnTo>
                    <a:lnTo>
                      <a:pt x="85" y="73"/>
                    </a:lnTo>
                    <a:lnTo>
                      <a:pt x="87" y="76"/>
                    </a:lnTo>
                    <a:lnTo>
                      <a:pt x="89" y="77"/>
                    </a:lnTo>
                    <a:lnTo>
                      <a:pt x="89" y="79"/>
                    </a:lnTo>
                    <a:lnTo>
                      <a:pt x="90" y="81"/>
                    </a:lnTo>
                    <a:lnTo>
                      <a:pt x="92" y="81"/>
                    </a:lnTo>
                    <a:lnTo>
                      <a:pt x="92" y="82"/>
                    </a:lnTo>
                    <a:lnTo>
                      <a:pt x="95" y="81"/>
                    </a:lnTo>
                    <a:lnTo>
                      <a:pt x="97" y="81"/>
                    </a:lnTo>
                    <a:lnTo>
                      <a:pt x="98" y="81"/>
                    </a:lnTo>
                    <a:lnTo>
                      <a:pt x="100" y="81"/>
                    </a:lnTo>
                    <a:lnTo>
                      <a:pt x="101" y="79"/>
                    </a:lnTo>
                    <a:lnTo>
                      <a:pt x="103" y="81"/>
                    </a:lnTo>
                    <a:lnTo>
                      <a:pt x="104" y="81"/>
                    </a:lnTo>
                    <a:lnTo>
                      <a:pt x="106" y="81"/>
                    </a:lnTo>
                    <a:lnTo>
                      <a:pt x="109" y="82"/>
                    </a:lnTo>
                    <a:lnTo>
                      <a:pt x="111" y="82"/>
                    </a:lnTo>
                    <a:lnTo>
                      <a:pt x="112" y="81"/>
                    </a:lnTo>
                    <a:lnTo>
                      <a:pt x="116" y="81"/>
                    </a:lnTo>
                    <a:lnTo>
                      <a:pt x="117" y="81"/>
                    </a:lnTo>
                    <a:lnTo>
                      <a:pt x="120" y="79"/>
                    </a:lnTo>
                    <a:lnTo>
                      <a:pt x="123" y="77"/>
                    </a:lnTo>
                    <a:lnTo>
                      <a:pt x="125" y="77"/>
                    </a:lnTo>
                    <a:lnTo>
                      <a:pt x="128" y="74"/>
                    </a:lnTo>
                    <a:lnTo>
                      <a:pt x="133" y="73"/>
                    </a:lnTo>
                    <a:lnTo>
                      <a:pt x="138" y="74"/>
                    </a:lnTo>
                    <a:lnTo>
                      <a:pt x="141" y="74"/>
                    </a:lnTo>
                    <a:lnTo>
                      <a:pt x="143" y="76"/>
                    </a:lnTo>
                    <a:lnTo>
                      <a:pt x="144" y="74"/>
                    </a:lnTo>
                    <a:lnTo>
                      <a:pt x="146" y="74"/>
                    </a:lnTo>
                    <a:lnTo>
                      <a:pt x="147" y="74"/>
                    </a:lnTo>
                    <a:lnTo>
                      <a:pt x="150" y="74"/>
                    </a:lnTo>
                    <a:lnTo>
                      <a:pt x="152" y="73"/>
                    </a:lnTo>
                    <a:lnTo>
                      <a:pt x="155" y="71"/>
                    </a:lnTo>
                    <a:lnTo>
                      <a:pt x="160" y="68"/>
                    </a:lnTo>
                    <a:lnTo>
                      <a:pt x="165" y="66"/>
                    </a:lnTo>
                    <a:lnTo>
                      <a:pt x="168" y="66"/>
                    </a:lnTo>
                    <a:lnTo>
                      <a:pt x="174" y="69"/>
                    </a:lnTo>
                    <a:lnTo>
                      <a:pt x="176" y="69"/>
                    </a:lnTo>
                    <a:lnTo>
                      <a:pt x="177" y="69"/>
                    </a:lnTo>
                    <a:lnTo>
                      <a:pt x="179" y="68"/>
                    </a:lnTo>
                    <a:lnTo>
                      <a:pt x="181" y="68"/>
                    </a:lnTo>
                    <a:lnTo>
                      <a:pt x="182" y="68"/>
                    </a:lnTo>
                    <a:lnTo>
                      <a:pt x="185" y="66"/>
                    </a:lnTo>
                    <a:lnTo>
                      <a:pt x="187" y="66"/>
                    </a:lnTo>
                    <a:lnTo>
                      <a:pt x="188" y="66"/>
                    </a:lnTo>
                    <a:lnTo>
                      <a:pt x="193" y="66"/>
                    </a:lnTo>
                    <a:lnTo>
                      <a:pt x="195" y="65"/>
                    </a:lnTo>
                    <a:lnTo>
                      <a:pt x="198" y="63"/>
                    </a:lnTo>
                    <a:lnTo>
                      <a:pt x="201" y="63"/>
                    </a:lnTo>
                    <a:lnTo>
                      <a:pt x="203" y="62"/>
                    </a:lnTo>
                    <a:lnTo>
                      <a:pt x="203" y="60"/>
                    </a:lnTo>
                    <a:lnTo>
                      <a:pt x="204" y="60"/>
                    </a:lnTo>
                    <a:lnTo>
                      <a:pt x="206" y="60"/>
                    </a:lnTo>
                    <a:lnTo>
                      <a:pt x="207" y="58"/>
                    </a:lnTo>
                    <a:lnTo>
                      <a:pt x="214" y="60"/>
                    </a:lnTo>
                    <a:lnTo>
                      <a:pt x="215" y="60"/>
                    </a:lnTo>
                    <a:lnTo>
                      <a:pt x="215" y="58"/>
                    </a:lnTo>
                    <a:lnTo>
                      <a:pt x="219" y="58"/>
                    </a:lnTo>
                    <a:lnTo>
                      <a:pt x="222" y="57"/>
                    </a:lnTo>
                    <a:lnTo>
                      <a:pt x="225" y="55"/>
                    </a:lnTo>
                    <a:lnTo>
                      <a:pt x="228" y="52"/>
                    </a:lnTo>
                    <a:lnTo>
                      <a:pt x="230" y="50"/>
                    </a:lnTo>
                    <a:lnTo>
                      <a:pt x="230" y="49"/>
                    </a:lnTo>
                    <a:lnTo>
                      <a:pt x="231" y="47"/>
                    </a:lnTo>
                    <a:lnTo>
                      <a:pt x="236" y="46"/>
                    </a:lnTo>
                    <a:lnTo>
                      <a:pt x="239" y="46"/>
                    </a:lnTo>
                    <a:lnTo>
                      <a:pt x="241" y="46"/>
                    </a:lnTo>
                    <a:lnTo>
                      <a:pt x="241" y="44"/>
                    </a:lnTo>
                    <a:lnTo>
                      <a:pt x="242" y="44"/>
                    </a:lnTo>
                    <a:lnTo>
                      <a:pt x="244" y="43"/>
                    </a:lnTo>
                    <a:lnTo>
                      <a:pt x="247" y="41"/>
                    </a:lnTo>
                    <a:lnTo>
                      <a:pt x="250" y="39"/>
                    </a:lnTo>
                    <a:lnTo>
                      <a:pt x="252" y="38"/>
                    </a:lnTo>
                    <a:lnTo>
                      <a:pt x="253" y="35"/>
                    </a:lnTo>
                    <a:lnTo>
                      <a:pt x="255" y="33"/>
                    </a:lnTo>
                    <a:lnTo>
                      <a:pt x="255" y="31"/>
                    </a:lnTo>
                    <a:lnTo>
                      <a:pt x="257" y="28"/>
                    </a:lnTo>
                    <a:lnTo>
                      <a:pt x="257" y="27"/>
                    </a:lnTo>
                    <a:lnTo>
                      <a:pt x="258" y="25"/>
                    </a:lnTo>
                    <a:lnTo>
                      <a:pt x="258" y="24"/>
                    </a:lnTo>
                    <a:lnTo>
                      <a:pt x="260" y="22"/>
                    </a:lnTo>
                    <a:lnTo>
                      <a:pt x="260" y="20"/>
                    </a:lnTo>
                    <a:lnTo>
                      <a:pt x="260" y="19"/>
                    </a:lnTo>
                    <a:lnTo>
                      <a:pt x="261" y="19"/>
                    </a:lnTo>
                    <a:lnTo>
                      <a:pt x="263" y="19"/>
                    </a:lnTo>
                    <a:lnTo>
                      <a:pt x="264" y="19"/>
                    </a:lnTo>
                    <a:lnTo>
                      <a:pt x="266" y="17"/>
                    </a:lnTo>
                    <a:lnTo>
                      <a:pt x="266" y="16"/>
                    </a:lnTo>
                    <a:lnTo>
                      <a:pt x="269" y="16"/>
                    </a:lnTo>
                    <a:lnTo>
                      <a:pt x="271" y="16"/>
                    </a:lnTo>
                    <a:lnTo>
                      <a:pt x="272" y="14"/>
                    </a:lnTo>
                    <a:lnTo>
                      <a:pt x="277" y="16"/>
                    </a:lnTo>
                    <a:lnTo>
                      <a:pt x="282" y="17"/>
                    </a:lnTo>
                    <a:lnTo>
                      <a:pt x="283" y="17"/>
                    </a:lnTo>
                    <a:lnTo>
                      <a:pt x="285" y="19"/>
                    </a:lnTo>
                    <a:lnTo>
                      <a:pt x="287" y="19"/>
                    </a:lnTo>
                    <a:lnTo>
                      <a:pt x="287" y="20"/>
                    </a:lnTo>
                    <a:lnTo>
                      <a:pt x="291" y="24"/>
                    </a:lnTo>
                    <a:lnTo>
                      <a:pt x="293" y="25"/>
                    </a:lnTo>
                    <a:lnTo>
                      <a:pt x="296" y="27"/>
                    </a:lnTo>
                    <a:lnTo>
                      <a:pt x="298" y="27"/>
                    </a:lnTo>
                    <a:lnTo>
                      <a:pt x="302" y="30"/>
                    </a:lnTo>
                    <a:lnTo>
                      <a:pt x="304" y="33"/>
                    </a:lnTo>
                    <a:lnTo>
                      <a:pt x="306" y="35"/>
                    </a:lnTo>
                    <a:lnTo>
                      <a:pt x="306" y="36"/>
                    </a:lnTo>
                    <a:lnTo>
                      <a:pt x="307" y="38"/>
                    </a:lnTo>
                    <a:lnTo>
                      <a:pt x="309" y="41"/>
                    </a:lnTo>
                    <a:lnTo>
                      <a:pt x="310" y="44"/>
                    </a:lnTo>
                    <a:lnTo>
                      <a:pt x="312" y="49"/>
                    </a:lnTo>
                    <a:lnTo>
                      <a:pt x="314" y="52"/>
                    </a:lnTo>
                    <a:lnTo>
                      <a:pt x="315" y="57"/>
                    </a:lnTo>
                    <a:lnTo>
                      <a:pt x="317" y="62"/>
                    </a:lnTo>
                    <a:lnTo>
                      <a:pt x="318" y="63"/>
                    </a:lnTo>
                    <a:lnTo>
                      <a:pt x="318" y="66"/>
                    </a:lnTo>
                    <a:lnTo>
                      <a:pt x="320" y="68"/>
                    </a:lnTo>
                    <a:lnTo>
                      <a:pt x="322" y="68"/>
                    </a:lnTo>
                    <a:lnTo>
                      <a:pt x="323" y="68"/>
                    </a:lnTo>
                    <a:lnTo>
                      <a:pt x="325" y="68"/>
                    </a:lnTo>
                    <a:lnTo>
                      <a:pt x="326" y="68"/>
                    </a:lnTo>
                    <a:lnTo>
                      <a:pt x="328" y="68"/>
                    </a:lnTo>
                    <a:lnTo>
                      <a:pt x="329" y="68"/>
                    </a:lnTo>
                    <a:lnTo>
                      <a:pt x="334" y="66"/>
                    </a:lnTo>
                    <a:lnTo>
                      <a:pt x="337" y="65"/>
                    </a:lnTo>
                    <a:lnTo>
                      <a:pt x="339" y="63"/>
                    </a:lnTo>
                    <a:lnTo>
                      <a:pt x="342" y="62"/>
                    </a:lnTo>
                    <a:lnTo>
                      <a:pt x="345" y="60"/>
                    </a:lnTo>
                    <a:lnTo>
                      <a:pt x="345" y="58"/>
                    </a:lnTo>
                    <a:lnTo>
                      <a:pt x="348" y="58"/>
                    </a:lnTo>
                    <a:lnTo>
                      <a:pt x="350" y="57"/>
                    </a:lnTo>
                    <a:lnTo>
                      <a:pt x="355" y="54"/>
                    </a:lnTo>
                    <a:lnTo>
                      <a:pt x="356" y="54"/>
                    </a:lnTo>
                    <a:lnTo>
                      <a:pt x="358" y="52"/>
                    </a:lnTo>
                    <a:lnTo>
                      <a:pt x="361" y="52"/>
                    </a:lnTo>
                    <a:lnTo>
                      <a:pt x="363" y="50"/>
                    </a:lnTo>
                    <a:lnTo>
                      <a:pt x="366" y="50"/>
                    </a:lnTo>
                    <a:lnTo>
                      <a:pt x="372" y="50"/>
                    </a:lnTo>
                    <a:lnTo>
                      <a:pt x="375" y="50"/>
                    </a:lnTo>
                    <a:lnTo>
                      <a:pt x="379" y="50"/>
                    </a:lnTo>
                    <a:lnTo>
                      <a:pt x="380" y="50"/>
                    </a:lnTo>
                    <a:lnTo>
                      <a:pt x="383" y="50"/>
                    </a:lnTo>
                    <a:lnTo>
                      <a:pt x="385" y="50"/>
                    </a:lnTo>
                    <a:lnTo>
                      <a:pt x="388" y="50"/>
                    </a:lnTo>
                    <a:lnTo>
                      <a:pt x="390" y="52"/>
                    </a:lnTo>
                    <a:lnTo>
                      <a:pt x="394" y="52"/>
                    </a:lnTo>
                    <a:lnTo>
                      <a:pt x="396" y="52"/>
                    </a:lnTo>
                    <a:lnTo>
                      <a:pt x="399" y="47"/>
                    </a:lnTo>
                    <a:lnTo>
                      <a:pt x="401" y="47"/>
                    </a:lnTo>
                    <a:lnTo>
                      <a:pt x="404" y="47"/>
                    </a:lnTo>
                    <a:lnTo>
                      <a:pt x="404" y="46"/>
                    </a:lnTo>
                    <a:lnTo>
                      <a:pt x="405" y="46"/>
                    </a:lnTo>
                    <a:lnTo>
                      <a:pt x="405" y="44"/>
                    </a:lnTo>
                    <a:lnTo>
                      <a:pt x="405" y="41"/>
                    </a:lnTo>
                    <a:lnTo>
                      <a:pt x="407" y="39"/>
                    </a:lnTo>
                    <a:lnTo>
                      <a:pt x="409" y="38"/>
                    </a:lnTo>
                    <a:lnTo>
                      <a:pt x="410" y="36"/>
                    </a:lnTo>
                    <a:lnTo>
                      <a:pt x="413" y="36"/>
                    </a:lnTo>
                    <a:lnTo>
                      <a:pt x="415" y="36"/>
                    </a:lnTo>
                    <a:lnTo>
                      <a:pt x="421" y="41"/>
                    </a:lnTo>
                    <a:lnTo>
                      <a:pt x="424" y="44"/>
                    </a:lnTo>
                    <a:lnTo>
                      <a:pt x="428" y="46"/>
                    </a:lnTo>
                    <a:lnTo>
                      <a:pt x="428" y="47"/>
                    </a:lnTo>
                    <a:lnTo>
                      <a:pt x="426" y="47"/>
                    </a:lnTo>
                    <a:lnTo>
                      <a:pt x="424" y="47"/>
                    </a:lnTo>
                    <a:lnTo>
                      <a:pt x="424" y="49"/>
                    </a:lnTo>
                    <a:lnTo>
                      <a:pt x="423" y="49"/>
                    </a:lnTo>
                    <a:lnTo>
                      <a:pt x="421" y="49"/>
                    </a:lnTo>
                    <a:lnTo>
                      <a:pt x="421" y="50"/>
                    </a:lnTo>
                    <a:lnTo>
                      <a:pt x="420" y="50"/>
                    </a:lnTo>
                    <a:lnTo>
                      <a:pt x="418" y="50"/>
                    </a:lnTo>
                    <a:lnTo>
                      <a:pt x="417" y="52"/>
                    </a:lnTo>
                    <a:lnTo>
                      <a:pt x="415" y="54"/>
                    </a:lnTo>
                    <a:lnTo>
                      <a:pt x="413" y="54"/>
                    </a:lnTo>
                    <a:lnTo>
                      <a:pt x="412" y="55"/>
                    </a:lnTo>
                    <a:lnTo>
                      <a:pt x="410" y="55"/>
                    </a:lnTo>
                    <a:lnTo>
                      <a:pt x="409" y="55"/>
                    </a:lnTo>
                    <a:lnTo>
                      <a:pt x="410" y="55"/>
                    </a:lnTo>
                    <a:lnTo>
                      <a:pt x="412" y="57"/>
                    </a:lnTo>
                    <a:lnTo>
                      <a:pt x="413" y="58"/>
                    </a:lnTo>
                    <a:lnTo>
                      <a:pt x="418" y="55"/>
                    </a:lnTo>
                    <a:lnTo>
                      <a:pt x="420" y="55"/>
                    </a:lnTo>
                    <a:lnTo>
                      <a:pt x="424" y="54"/>
                    </a:lnTo>
                    <a:lnTo>
                      <a:pt x="431" y="54"/>
                    </a:lnTo>
                    <a:lnTo>
                      <a:pt x="437" y="55"/>
                    </a:lnTo>
                    <a:lnTo>
                      <a:pt x="443" y="57"/>
                    </a:lnTo>
                    <a:lnTo>
                      <a:pt x="447" y="58"/>
                    </a:lnTo>
                    <a:lnTo>
                      <a:pt x="451" y="60"/>
                    </a:lnTo>
                    <a:lnTo>
                      <a:pt x="455" y="62"/>
                    </a:lnTo>
                    <a:lnTo>
                      <a:pt x="461" y="62"/>
                    </a:lnTo>
                    <a:lnTo>
                      <a:pt x="464" y="62"/>
                    </a:lnTo>
                    <a:lnTo>
                      <a:pt x="467" y="62"/>
                    </a:lnTo>
                    <a:lnTo>
                      <a:pt x="470" y="60"/>
                    </a:lnTo>
                    <a:lnTo>
                      <a:pt x="475" y="58"/>
                    </a:lnTo>
                    <a:lnTo>
                      <a:pt x="478" y="57"/>
                    </a:lnTo>
                    <a:lnTo>
                      <a:pt x="481" y="55"/>
                    </a:lnTo>
                    <a:lnTo>
                      <a:pt x="483" y="55"/>
                    </a:lnTo>
                    <a:lnTo>
                      <a:pt x="485" y="57"/>
                    </a:lnTo>
                    <a:lnTo>
                      <a:pt x="486" y="57"/>
                    </a:lnTo>
                    <a:lnTo>
                      <a:pt x="489" y="60"/>
                    </a:lnTo>
                    <a:lnTo>
                      <a:pt x="491" y="60"/>
                    </a:lnTo>
                    <a:lnTo>
                      <a:pt x="493" y="62"/>
                    </a:lnTo>
                    <a:lnTo>
                      <a:pt x="494" y="62"/>
                    </a:lnTo>
                    <a:lnTo>
                      <a:pt x="497" y="63"/>
                    </a:lnTo>
                    <a:lnTo>
                      <a:pt x="499" y="63"/>
                    </a:lnTo>
                    <a:lnTo>
                      <a:pt x="500" y="63"/>
                    </a:lnTo>
                    <a:lnTo>
                      <a:pt x="502" y="63"/>
                    </a:lnTo>
                    <a:lnTo>
                      <a:pt x="507" y="66"/>
                    </a:lnTo>
                    <a:lnTo>
                      <a:pt x="512" y="69"/>
                    </a:lnTo>
                    <a:lnTo>
                      <a:pt x="515" y="74"/>
                    </a:lnTo>
                    <a:lnTo>
                      <a:pt x="518" y="79"/>
                    </a:lnTo>
                    <a:lnTo>
                      <a:pt x="521" y="81"/>
                    </a:lnTo>
                    <a:lnTo>
                      <a:pt x="526" y="82"/>
                    </a:lnTo>
                    <a:lnTo>
                      <a:pt x="527" y="82"/>
                    </a:lnTo>
                    <a:lnTo>
                      <a:pt x="529" y="84"/>
                    </a:lnTo>
                    <a:lnTo>
                      <a:pt x="532" y="82"/>
                    </a:lnTo>
                    <a:lnTo>
                      <a:pt x="534" y="82"/>
                    </a:lnTo>
                    <a:lnTo>
                      <a:pt x="535" y="79"/>
                    </a:lnTo>
                    <a:lnTo>
                      <a:pt x="537" y="77"/>
                    </a:lnTo>
                    <a:lnTo>
                      <a:pt x="537" y="76"/>
                    </a:lnTo>
                    <a:lnTo>
                      <a:pt x="537" y="74"/>
                    </a:lnTo>
                    <a:lnTo>
                      <a:pt x="539" y="74"/>
                    </a:lnTo>
                    <a:lnTo>
                      <a:pt x="539" y="73"/>
                    </a:lnTo>
                    <a:lnTo>
                      <a:pt x="539" y="74"/>
                    </a:lnTo>
                    <a:lnTo>
                      <a:pt x="540" y="74"/>
                    </a:lnTo>
                    <a:lnTo>
                      <a:pt x="540" y="76"/>
                    </a:lnTo>
                    <a:lnTo>
                      <a:pt x="540" y="77"/>
                    </a:lnTo>
                    <a:lnTo>
                      <a:pt x="540" y="79"/>
                    </a:lnTo>
                    <a:lnTo>
                      <a:pt x="540" y="81"/>
                    </a:lnTo>
                    <a:lnTo>
                      <a:pt x="539" y="81"/>
                    </a:lnTo>
                    <a:lnTo>
                      <a:pt x="539" y="82"/>
                    </a:lnTo>
                    <a:lnTo>
                      <a:pt x="539" y="84"/>
                    </a:lnTo>
                    <a:lnTo>
                      <a:pt x="540" y="85"/>
                    </a:lnTo>
                    <a:lnTo>
                      <a:pt x="540" y="87"/>
                    </a:lnTo>
                    <a:lnTo>
                      <a:pt x="540" y="89"/>
                    </a:lnTo>
                    <a:lnTo>
                      <a:pt x="542" y="89"/>
                    </a:lnTo>
                    <a:lnTo>
                      <a:pt x="542" y="90"/>
                    </a:lnTo>
                    <a:lnTo>
                      <a:pt x="542" y="92"/>
                    </a:lnTo>
                    <a:lnTo>
                      <a:pt x="540" y="92"/>
                    </a:lnTo>
                    <a:lnTo>
                      <a:pt x="540" y="93"/>
                    </a:lnTo>
                    <a:lnTo>
                      <a:pt x="539" y="93"/>
                    </a:lnTo>
                    <a:lnTo>
                      <a:pt x="539" y="95"/>
                    </a:lnTo>
                    <a:lnTo>
                      <a:pt x="537" y="95"/>
                    </a:lnTo>
                    <a:lnTo>
                      <a:pt x="535" y="95"/>
                    </a:lnTo>
                    <a:lnTo>
                      <a:pt x="534" y="96"/>
                    </a:lnTo>
                    <a:lnTo>
                      <a:pt x="532" y="96"/>
                    </a:lnTo>
                    <a:lnTo>
                      <a:pt x="531" y="96"/>
                    </a:lnTo>
                    <a:lnTo>
                      <a:pt x="531" y="98"/>
                    </a:lnTo>
                    <a:lnTo>
                      <a:pt x="529" y="98"/>
                    </a:lnTo>
                    <a:lnTo>
                      <a:pt x="527" y="98"/>
                    </a:lnTo>
                    <a:lnTo>
                      <a:pt x="526" y="96"/>
                    </a:lnTo>
                    <a:lnTo>
                      <a:pt x="524" y="96"/>
                    </a:lnTo>
                    <a:lnTo>
                      <a:pt x="523" y="96"/>
                    </a:lnTo>
                    <a:lnTo>
                      <a:pt x="521" y="96"/>
                    </a:lnTo>
                    <a:lnTo>
                      <a:pt x="521" y="95"/>
                    </a:lnTo>
                    <a:lnTo>
                      <a:pt x="520" y="95"/>
                    </a:lnTo>
                    <a:lnTo>
                      <a:pt x="518" y="95"/>
                    </a:lnTo>
                    <a:lnTo>
                      <a:pt x="518" y="96"/>
                    </a:lnTo>
                    <a:lnTo>
                      <a:pt x="516" y="96"/>
                    </a:lnTo>
                    <a:lnTo>
                      <a:pt x="515" y="96"/>
                    </a:lnTo>
                    <a:lnTo>
                      <a:pt x="515" y="95"/>
                    </a:lnTo>
                    <a:lnTo>
                      <a:pt x="513" y="95"/>
                    </a:lnTo>
                    <a:lnTo>
                      <a:pt x="512" y="95"/>
                    </a:lnTo>
                    <a:lnTo>
                      <a:pt x="510" y="95"/>
                    </a:lnTo>
                    <a:lnTo>
                      <a:pt x="508" y="95"/>
                    </a:lnTo>
                    <a:lnTo>
                      <a:pt x="507" y="95"/>
                    </a:lnTo>
                    <a:lnTo>
                      <a:pt x="505" y="95"/>
                    </a:lnTo>
                    <a:lnTo>
                      <a:pt x="504" y="95"/>
                    </a:lnTo>
                    <a:lnTo>
                      <a:pt x="504" y="96"/>
                    </a:lnTo>
                    <a:lnTo>
                      <a:pt x="502" y="96"/>
                    </a:lnTo>
                    <a:lnTo>
                      <a:pt x="500" y="96"/>
                    </a:lnTo>
                    <a:lnTo>
                      <a:pt x="500" y="95"/>
                    </a:lnTo>
                    <a:lnTo>
                      <a:pt x="502" y="95"/>
                    </a:lnTo>
                    <a:lnTo>
                      <a:pt x="502" y="93"/>
                    </a:lnTo>
                    <a:lnTo>
                      <a:pt x="500" y="93"/>
                    </a:lnTo>
                    <a:lnTo>
                      <a:pt x="499" y="93"/>
                    </a:lnTo>
                    <a:lnTo>
                      <a:pt x="497" y="93"/>
                    </a:lnTo>
                    <a:lnTo>
                      <a:pt x="497" y="92"/>
                    </a:lnTo>
                    <a:lnTo>
                      <a:pt x="496" y="92"/>
                    </a:lnTo>
                    <a:lnTo>
                      <a:pt x="496" y="90"/>
                    </a:lnTo>
                    <a:lnTo>
                      <a:pt x="494" y="90"/>
                    </a:lnTo>
                    <a:lnTo>
                      <a:pt x="494" y="92"/>
                    </a:lnTo>
                    <a:lnTo>
                      <a:pt x="493" y="92"/>
                    </a:lnTo>
                    <a:lnTo>
                      <a:pt x="491" y="92"/>
                    </a:lnTo>
                    <a:lnTo>
                      <a:pt x="489" y="92"/>
                    </a:lnTo>
                    <a:lnTo>
                      <a:pt x="488" y="92"/>
                    </a:lnTo>
                    <a:lnTo>
                      <a:pt x="488" y="90"/>
                    </a:lnTo>
                    <a:lnTo>
                      <a:pt x="486" y="90"/>
                    </a:lnTo>
                    <a:lnTo>
                      <a:pt x="485" y="90"/>
                    </a:lnTo>
                    <a:lnTo>
                      <a:pt x="483" y="92"/>
                    </a:lnTo>
                    <a:lnTo>
                      <a:pt x="481" y="92"/>
                    </a:lnTo>
                    <a:lnTo>
                      <a:pt x="481" y="93"/>
                    </a:lnTo>
                    <a:lnTo>
                      <a:pt x="480" y="93"/>
                    </a:lnTo>
                    <a:lnTo>
                      <a:pt x="478" y="93"/>
                    </a:lnTo>
                    <a:lnTo>
                      <a:pt x="477" y="93"/>
                    </a:lnTo>
                    <a:lnTo>
                      <a:pt x="477" y="95"/>
                    </a:lnTo>
                    <a:lnTo>
                      <a:pt x="475" y="95"/>
                    </a:lnTo>
                    <a:lnTo>
                      <a:pt x="474" y="95"/>
                    </a:lnTo>
                    <a:lnTo>
                      <a:pt x="472" y="95"/>
                    </a:lnTo>
                    <a:lnTo>
                      <a:pt x="470" y="93"/>
                    </a:lnTo>
                    <a:lnTo>
                      <a:pt x="469" y="93"/>
                    </a:lnTo>
                    <a:lnTo>
                      <a:pt x="467" y="93"/>
                    </a:lnTo>
                    <a:lnTo>
                      <a:pt x="466" y="93"/>
                    </a:lnTo>
                    <a:lnTo>
                      <a:pt x="466" y="92"/>
                    </a:lnTo>
                    <a:lnTo>
                      <a:pt x="464" y="92"/>
                    </a:lnTo>
                    <a:lnTo>
                      <a:pt x="462" y="93"/>
                    </a:lnTo>
                    <a:lnTo>
                      <a:pt x="461" y="93"/>
                    </a:lnTo>
                    <a:lnTo>
                      <a:pt x="461" y="95"/>
                    </a:lnTo>
                    <a:lnTo>
                      <a:pt x="461" y="96"/>
                    </a:lnTo>
                    <a:lnTo>
                      <a:pt x="459" y="96"/>
                    </a:lnTo>
                    <a:lnTo>
                      <a:pt x="459" y="98"/>
                    </a:lnTo>
                    <a:lnTo>
                      <a:pt x="458" y="98"/>
                    </a:lnTo>
                    <a:lnTo>
                      <a:pt x="456" y="100"/>
                    </a:lnTo>
                    <a:lnTo>
                      <a:pt x="456" y="98"/>
                    </a:lnTo>
                    <a:lnTo>
                      <a:pt x="455" y="98"/>
                    </a:lnTo>
                    <a:lnTo>
                      <a:pt x="453" y="98"/>
                    </a:lnTo>
                    <a:lnTo>
                      <a:pt x="451" y="98"/>
                    </a:lnTo>
                    <a:lnTo>
                      <a:pt x="451" y="100"/>
                    </a:lnTo>
                    <a:lnTo>
                      <a:pt x="451" y="101"/>
                    </a:lnTo>
                    <a:lnTo>
                      <a:pt x="451" y="103"/>
                    </a:lnTo>
                    <a:lnTo>
                      <a:pt x="451" y="104"/>
                    </a:lnTo>
                    <a:lnTo>
                      <a:pt x="450" y="104"/>
                    </a:lnTo>
                    <a:lnTo>
                      <a:pt x="450" y="106"/>
                    </a:lnTo>
                    <a:lnTo>
                      <a:pt x="450" y="108"/>
                    </a:lnTo>
                    <a:lnTo>
                      <a:pt x="450" y="109"/>
                    </a:lnTo>
                    <a:lnTo>
                      <a:pt x="448" y="111"/>
                    </a:lnTo>
                    <a:lnTo>
                      <a:pt x="447" y="111"/>
                    </a:lnTo>
                    <a:lnTo>
                      <a:pt x="448" y="111"/>
                    </a:lnTo>
                    <a:lnTo>
                      <a:pt x="448" y="112"/>
                    </a:lnTo>
                    <a:lnTo>
                      <a:pt x="450" y="112"/>
                    </a:lnTo>
                    <a:lnTo>
                      <a:pt x="450" y="114"/>
                    </a:lnTo>
                    <a:lnTo>
                      <a:pt x="450" y="115"/>
                    </a:lnTo>
                    <a:lnTo>
                      <a:pt x="451" y="115"/>
                    </a:lnTo>
                    <a:lnTo>
                      <a:pt x="451" y="117"/>
                    </a:lnTo>
                    <a:lnTo>
                      <a:pt x="451" y="115"/>
                    </a:lnTo>
                    <a:lnTo>
                      <a:pt x="453" y="115"/>
                    </a:lnTo>
                    <a:lnTo>
                      <a:pt x="455" y="117"/>
                    </a:lnTo>
                    <a:lnTo>
                      <a:pt x="456" y="117"/>
                    </a:lnTo>
                    <a:lnTo>
                      <a:pt x="458" y="117"/>
                    </a:lnTo>
                    <a:lnTo>
                      <a:pt x="458" y="115"/>
                    </a:lnTo>
                    <a:lnTo>
                      <a:pt x="459" y="115"/>
                    </a:lnTo>
                    <a:lnTo>
                      <a:pt x="461" y="115"/>
                    </a:lnTo>
                    <a:lnTo>
                      <a:pt x="462" y="114"/>
                    </a:lnTo>
                    <a:lnTo>
                      <a:pt x="464" y="114"/>
                    </a:lnTo>
                    <a:lnTo>
                      <a:pt x="466" y="114"/>
                    </a:lnTo>
                    <a:lnTo>
                      <a:pt x="467" y="112"/>
                    </a:lnTo>
                    <a:lnTo>
                      <a:pt x="469" y="112"/>
                    </a:lnTo>
                    <a:lnTo>
                      <a:pt x="470" y="114"/>
                    </a:lnTo>
                    <a:lnTo>
                      <a:pt x="472" y="114"/>
                    </a:lnTo>
                    <a:lnTo>
                      <a:pt x="474" y="114"/>
                    </a:lnTo>
                    <a:lnTo>
                      <a:pt x="475" y="114"/>
                    </a:lnTo>
                    <a:lnTo>
                      <a:pt x="477" y="115"/>
                    </a:lnTo>
                    <a:lnTo>
                      <a:pt x="477" y="117"/>
                    </a:lnTo>
                    <a:lnTo>
                      <a:pt x="477" y="119"/>
                    </a:lnTo>
                    <a:lnTo>
                      <a:pt x="475" y="119"/>
                    </a:lnTo>
                    <a:lnTo>
                      <a:pt x="475" y="120"/>
                    </a:lnTo>
                    <a:lnTo>
                      <a:pt x="474" y="120"/>
                    </a:lnTo>
                    <a:lnTo>
                      <a:pt x="472" y="120"/>
                    </a:lnTo>
                    <a:lnTo>
                      <a:pt x="472" y="122"/>
                    </a:lnTo>
                    <a:lnTo>
                      <a:pt x="472" y="123"/>
                    </a:lnTo>
                    <a:lnTo>
                      <a:pt x="472" y="125"/>
                    </a:lnTo>
                    <a:lnTo>
                      <a:pt x="470" y="125"/>
                    </a:lnTo>
                    <a:lnTo>
                      <a:pt x="470" y="127"/>
                    </a:lnTo>
                    <a:lnTo>
                      <a:pt x="470" y="128"/>
                    </a:lnTo>
                    <a:lnTo>
                      <a:pt x="470" y="130"/>
                    </a:lnTo>
                    <a:lnTo>
                      <a:pt x="470" y="131"/>
                    </a:lnTo>
                    <a:lnTo>
                      <a:pt x="469" y="131"/>
                    </a:lnTo>
                    <a:lnTo>
                      <a:pt x="467" y="131"/>
                    </a:lnTo>
                    <a:lnTo>
                      <a:pt x="466" y="131"/>
                    </a:lnTo>
                    <a:lnTo>
                      <a:pt x="464" y="133"/>
                    </a:lnTo>
                    <a:lnTo>
                      <a:pt x="462" y="133"/>
                    </a:lnTo>
                    <a:lnTo>
                      <a:pt x="462" y="131"/>
                    </a:lnTo>
                    <a:lnTo>
                      <a:pt x="461" y="131"/>
                    </a:lnTo>
                    <a:lnTo>
                      <a:pt x="459" y="131"/>
                    </a:lnTo>
                    <a:lnTo>
                      <a:pt x="458" y="131"/>
                    </a:lnTo>
                    <a:lnTo>
                      <a:pt x="456" y="131"/>
                    </a:lnTo>
                    <a:lnTo>
                      <a:pt x="456" y="133"/>
                    </a:lnTo>
                    <a:lnTo>
                      <a:pt x="455" y="133"/>
                    </a:lnTo>
                    <a:lnTo>
                      <a:pt x="455" y="134"/>
                    </a:lnTo>
                    <a:lnTo>
                      <a:pt x="453" y="134"/>
                    </a:lnTo>
                    <a:lnTo>
                      <a:pt x="453" y="136"/>
                    </a:lnTo>
                    <a:lnTo>
                      <a:pt x="453" y="138"/>
                    </a:lnTo>
                    <a:lnTo>
                      <a:pt x="453" y="139"/>
                    </a:lnTo>
                    <a:lnTo>
                      <a:pt x="453" y="141"/>
                    </a:lnTo>
                    <a:lnTo>
                      <a:pt x="453" y="142"/>
                    </a:lnTo>
                    <a:lnTo>
                      <a:pt x="451" y="142"/>
                    </a:lnTo>
                    <a:lnTo>
                      <a:pt x="451" y="144"/>
                    </a:lnTo>
                    <a:lnTo>
                      <a:pt x="451" y="146"/>
                    </a:lnTo>
                    <a:lnTo>
                      <a:pt x="451" y="147"/>
                    </a:lnTo>
                    <a:lnTo>
                      <a:pt x="451" y="149"/>
                    </a:lnTo>
                    <a:lnTo>
                      <a:pt x="451" y="150"/>
                    </a:lnTo>
                    <a:lnTo>
                      <a:pt x="450" y="152"/>
                    </a:lnTo>
                    <a:lnTo>
                      <a:pt x="448" y="152"/>
                    </a:lnTo>
                    <a:lnTo>
                      <a:pt x="448" y="153"/>
                    </a:lnTo>
                    <a:lnTo>
                      <a:pt x="447" y="153"/>
                    </a:lnTo>
                    <a:lnTo>
                      <a:pt x="447" y="155"/>
                    </a:lnTo>
                    <a:lnTo>
                      <a:pt x="445" y="155"/>
                    </a:lnTo>
                    <a:lnTo>
                      <a:pt x="445" y="157"/>
                    </a:lnTo>
                    <a:lnTo>
                      <a:pt x="445" y="158"/>
                    </a:lnTo>
                    <a:lnTo>
                      <a:pt x="447" y="158"/>
                    </a:lnTo>
                    <a:lnTo>
                      <a:pt x="448" y="158"/>
                    </a:lnTo>
                    <a:lnTo>
                      <a:pt x="448" y="160"/>
                    </a:lnTo>
                    <a:lnTo>
                      <a:pt x="450" y="160"/>
                    </a:lnTo>
                    <a:lnTo>
                      <a:pt x="451" y="160"/>
                    </a:lnTo>
                    <a:lnTo>
                      <a:pt x="453" y="160"/>
                    </a:lnTo>
                    <a:lnTo>
                      <a:pt x="453" y="158"/>
                    </a:lnTo>
                    <a:lnTo>
                      <a:pt x="455" y="158"/>
                    </a:lnTo>
                    <a:lnTo>
                      <a:pt x="456" y="158"/>
                    </a:lnTo>
                    <a:lnTo>
                      <a:pt x="456" y="157"/>
                    </a:lnTo>
                    <a:lnTo>
                      <a:pt x="458" y="157"/>
                    </a:lnTo>
                    <a:lnTo>
                      <a:pt x="459" y="157"/>
                    </a:lnTo>
                    <a:lnTo>
                      <a:pt x="461" y="157"/>
                    </a:lnTo>
                    <a:lnTo>
                      <a:pt x="461" y="158"/>
                    </a:lnTo>
                    <a:lnTo>
                      <a:pt x="462" y="157"/>
                    </a:lnTo>
                    <a:lnTo>
                      <a:pt x="464" y="157"/>
                    </a:lnTo>
                    <a:lnTo>
                      <a:pt x="466" y="157"/>
                    </a:lnTo>
                    <a:lnTo>
                      <a:pt x="466" y="158"/>
                    </a:lnTo>
                    <a:lnTo>
                      <a:pt x="467" y="158"/>
                    </a:lnTo>
                    <a:lnTo>
                      <a:pt x="469" y="158"/>
                    </a:lnTo>
                    <a:lnTo>
                      <a:pt x="470" y="158"/>
                    </a:lnTo>
                    <a:lnTo>
                      <a:pt x="472" y="158"/>
                    </a:lnTo>
                    <a:lnTo>
                      <a:pt x="472" y="160"/>
                    </a:lnTo>
                    <a:lnTo>
                      <a:pt x="474" y="160"/>
                    </a:lnTo>
                    <a:lnTo>
                      <a:pt x="474" y="161"/>
                    </a:lnTo>
                    <a:lnTo>
                      <a:pt x="475" y="161"/>
                    </a:lnTo>
                    <a:lnTo>
                      <a:pt x="474" y="161"/>
                    </a:lnTo>
                    <a:lnTo>
                      <a:pt x="474" y="163"/>
                    </a:lnTo>
                    <a:lnTo>
                      <a:pt x="474" y="165"/>
                    </a:lnTo>
                    <a:lnTo>
                      <a:pt x="472" y="165"/>
                    </a:lnTo>
                    <a:lnTo>
                      <a:pt x="472" y="166"/>
                    </a:lnTo>
                    <a:lnTo>
                      <a:pt x="470" y="166"/>
                    </a:lnTo>
                    <a:lnTo>
                      <a:pt x="469" y="166"/>
                    </a:lnTo>
                    <a:lnTo>
                      <a:pt x="469" y="168"/>
                    </a:lnTo>
                    <a:lnTo>
                      <a:pt x="469" y="169"/>
                    </a:lnTo>
                    <a:lnTo>
                      <a:pt x="469" y="171"/>
                    </a:lnTo>
                    <a:lnTo>
                      <a:pt x="467" y="171"/>
                    </a:lnTo>
                    <a:lnTo>
                      <a:pt x="466" y="171"/>
                    </a:lnTo>
                    <a:lnTo>
                      <a:pt x="466" y="172"/>
                    </a:lnTo>
                    <a:lnTo>
                      <a:pt x="464" y="172"/>
                    </a:lnTo>
                    <a:lnTo>
                      <a:pt x="464" y="174"/>
                    </a:lnTo>
                    <a:lnTo>
                      <a:pt x="464" y="176"/>
                    </a:lnTo>
                    <a:lnTo>
                      <a:pt x="464" y="177"/>
                    </a:lnTo>
                    <a:lnTo>
                      <a:pt x="466" y="177"/>
                    </a:lnTo>
                    <a:lnTo>
                      <a:pt x="466" y="179"/>
                    </a:lnTo>
                    <a:lnTo>
                      <a:pt x="467" y="179"/>
                    </a:lnTo>
                    <a:lnTo>
                      <a:pt x="469" y="180"/>
                    </a:lnTo>
                    <a:lnTo>
                      <a:pt x="470" y="180"/>
                    </a:lnTo>
                    <a:lnTo>
                      <a:pt x="470" y="182"/>
                    </a:lnTo>
                    <a:lnTo>
                      <a:pt x="470" y="180"/>
                    </a:lnTo>
                    <a:lnTo>
                      <a:pt x="472" y="180"/>
                    </a:lnTo>
                    <a:lnTo>
                      <a:pt x="474" y="180"/>
                    </a:lnTo>
                    <a:lnTo>
                      <a:pt x="474" y="179"/>
                    </a:lnTo>
                    <a:lnTo>
                      <a:pt x="475" y="179"/>
                    </a:lnTo>
                    <a:lnTo>
                      <a:pt x="477" y="179"/>
                    </a:lnTo>
                    <a:lnTo>
                      <a:pt x="477" y="177"/>
                    </a:lnTo>
                    <a:lnTo>
                      <a:pt x="478" y="177"/>
                    </a:lnTo>
                    <a:lnTo>
                      <a:pt x="478" y="179"/>
                    </a:lnTo>
                    <a:lnTo>
                      <a:pt x="480" y="179"/>
                    </a:lnTo>
                    <a:lnTo>
                      <a:pt x="480" y="180"/>
                    </a:lnTo>
                    <a:lnTo>
                      <a:pt x="481" y="182"/>
                    </a:lnTo>
                    <a:lnTo>
                      <a:pt x="481" y="184"/>
                    </a:lnTo>
                    <a:lnTo>
                      <a:pt x="483" y="184"/>
                    </a:lnTo>
                    <a:lnTo>
                      <a:pt x="483" y="185"/>
                    </a:lnTo>
                    <a:lnTo>
                      <a:pt x="485" y="187"/>
                    </a:lnTo>
                    <a:lnTo>
                      <a:pt x="485" y="188"/>
                    </a:lnTo>
                    <a:lnTo>
                      <a:pt x="485" y="190"/>
                    </a:lnTo>
                    <a:lnTo>
                      <a:pt x="485" y="191"/>
                    </a:lnTo>
                    <a:lnTo>
                      <a:pt x="485" y="193"/>
                    </a:lnTo>
                    <a:lnTo>
                      <a:pt x="485" y="195"/>
                    </a:lnTo>
                    <a:lnTo>
                      <a:pt x="485" y="196"/>
                    </a:lnTo>
                    <a:lnTo>
                      <a:pt x="485" y="198"/>
                    </a:lnTo>
                    <a:lnTo>
                      <a:pt x="485" y="199"/>
                    </a:lnTo>
                    <a:lnTo>
                      <a:pt x="485" y="201"/>
                    </a:lnTo>
                    <a:lnTo>
                      <a:pt x="483" y="201"/>
                    </a:lnTo>
                    <a:lnTo>
                      <a:pt x="483" y="203"/>
                    </a:lnTo>
                    <a:lnTo>
                      <a:pt x="483" y="204"/>
                    </a:lnTo>
                    <a:lnTo>
                      <a:pt x="483" y="206"/>
                    </a:lnTo>
                    <a:lnTo>
                      <a:pt x="483" y="207"/>
                    </a:lnTo>
                    <a:lnTo>
                      <a:pt x="483" y="209"/>
                    </a:lnTo>
                    <a:lnTo>
                      <a:pt x="483" y="211"/>
                    </a:lnTo>
                    <a:lnTo>
                      <a:pt x="483" y="212"/>
                    </a:lnTo>
                    <a:lnTo>
                      <a:pt x="483" y="214"/>
                    </a:lnTo>
                    <a:lnTo>
                      <a:pt x="481" y="214"/>
                    </a:lnTo>
                    <a:lnTo>
                      <a:pt x="483" y="215"/>
                    </a:lnTo>
                    <a:lnTo>
                      <a:pt x="485" y="215"/>
                    </a:lnTo>
                    <a:lnTo>
                      <a:pt x="485" y="214"/>
                    </a:lnTo>
                    <a:lnTo>
                      <a:pt x="485" y="215"/>
                    </a:lnTo>
                    <a:lnTo>
                      <a:pt x="486" y="215"/>
                    </a:lnTo>
                    <a:lnTo>
                      <a:pt x="488" y="215"/>
                    </a:lnTo>
                    <a:lnTo>
                      <a:pt x="488" y="214"/>
                    </a:lnTo>
                    <a:lnTo>
                      <a:pt x="488" y="215"/>
                    </a:lnTo>
                    <a:lnTo>
                      <a:pt x="489" y="215"/>
                    </a:lnTo>
                    <a:lnTo>
                      <a:pt x="491" y="215"/>
                    </a:lnTo>
                    <a:lnTo>
                      <a:pt x="491" y="214"/>
                    </a:lnTo>
                    <a:lnTo>
                      <a:pt x="493" y="214"/>
                    </a:lnTo>
                    <a:lnTo>
                      <a:pt x="493" y="215"/>
                    </a:lnTo>
                    <a:lnTo>
                      <a:pt x="494" y="215"/>
                    </a:lnTo>
                    <a:lnTo>
                      <a:pt x="494" y="217"/>
                    </a:lnTo>
                    <a:lnTo>
                      <a:pt x="493" y="217"/>
                    </a:lnTo>
                    <a:lnTo>
                      <a:pt x="493" y="218"/>
                    </a:lnTo>
                    <a:lnTo>
                      <a:pt x="493" y="220"/>
                    </a:lnTo>
                    <a:lnTo>
                      <a:pt x="493" y="222"/>
                    </a:lnTo>
                    <a:lnTo>
                      <a:pt x="493" y="223"/>
                    </a:lnTo>
                    <a:lnTo>
                      <a:pt x="493" y="225"/>
                    </a:lnTo>
                    <a:lnTo>
                      <a:pt x="491" y="226"/>
                    </a:lnTo>
                    <a:lnTo>
                      <a:pt x="493" y="226"/>
                    </a:lnTo>
                    <a:lnTo>
                      <a:pt x="493" y="228"/>
                    </a:lnTo>
                    <a:lnTo>
                      <a:pt x="493" y="230"/>
                    </a:lnTo>
                    <a:lnTo>
                      <a:pt x="493" y="231"/>
                    </a:lnTo>
                    <a:lnTo>
                      <a:pt x="494" y="231"/>
                    </a:lnTo>
                    <a:lnTo>
                      <a:pt x="494" y="233"/>
                    </a:lnTo>
                    <a:lnTo>
                      <a:pt x="493" y="233"/>
                    </a:lnTo>
                    <a:lnTo>
                      <a:pt x="493" y="234"/>
                    </a:lnTo>
                    <a:lnTo>
                      <a:pt x="493" y="236"/>
                    </a:lnTo>
                    <a:lnTo>
                      <a:pt x="491" y="236"/>
                    </a:lnTo>
                    <a:lnTo>
                      <a:pt x="491" y="237"/>
                    </a:lnTo>
                    <a:lnTo>
                      <a:pt x="489" y="239"/>
                    </a:lnTo>
                    <a:lnTo>
                      <a:pt x="491" y="239"/>
                    </a:lnTo>
                    <a:lnTo>
                      <a:pt x="491" y="241"/>
                    </a:lnTo>
                    <a:lnTo>
                      <a:pt x="493" y="241"/>
                    </a:lnTo>
                    <a:lnTo>
                      <a:pt x="493" y="242"/>
                    </a:lnTo>
                    <a:lnTo>
                      <a:pt x="493" y="244"/>
                    </a:lnTo>
                    <a:lnTo>
                      <a:pt x="493" y="245"/>
                    </a:lnTo>
                    <a:lnTo>
                      <a:pt x="491" y="245"/>
                    </a:lnTo>
                    <a:lnTo>
                      <a:pt x="491" y="247"/>
                    </a:lnTo>
                    <a:lnTo>
                      <a:pt x="491" y="249"/>
                    </a:lnTo>
                    <a:lnTo>
                      <a:pt x="491" y="250"/>
                    </a:lnTo>
                    <a:lnTo>
                      <a:pt x="491" y="252"/>
                    </a:lnTo>
                    <a:lnTo>
                      <a:pt x="491" y="253"/>
                    </a:lnTo>
                    <a:lnTo>
                      <a:pt x="489" y="255"/>
                    </a:lnTo>
                    <a:lnTo>
                      <a:pt x="489" y="256"/>
                    </a:lnTo>
                    <a:lnTo>
                      <a:pt x="489" y="258"/>
                    </a:lnTo>
                    <a:lnTo>
                      <a:pt x="489" y="260"/>
                    </a:lnTo>
                    <a:lnTo>
                      <a:pt x="489" y="261"/>
                    </a:lnTo>
                    <a:lnTo>
                      <a:pt x="488" y="261"/>
                    </a:lnTo>
                    <a:lnTo>
                      <a:pt x="488" y="263"/>
                    </a:lnTo>
                    <a:lnTo>
                      <a:pt x="488" y="264"/>
                    </a:lnTo>
                    <a:lnTo>
                      <a:pt x="486" y="266"/>
                    </a:lnTo>
                    <a:lnTo>
                      <a:pt x="486" y="268"/>
                    </a:lnTo>
                    <a:lnTo>
                      <a:pt x="486" y="269"/>
                    </a:lnTo>
                    <a:lnTo>
                      <a:pt x="485" y="269"/>
                    </a:lnTo>
                    <a:lnTo>
                      <a:pt x="486" y="269"/>
                    </a:lnTo>
                    <a:lnTo>
                      <a:pt x="486" y="271"/>
                    </a:lnTo>
                    <a:lnTo>
                      <a:pt x="486" y="272"/>
                    </a:lnTo>
                    <a:lnTo>
                      <a:pt x="486" y="274"/>
                    </a:lnTo>
                    <a:lnTo>
                      <a:pt x="486" y="275"/>
                    </a:lnTo>
                    <a:lnTo>
                      <a:pt x="486" y="277"/>
                    </a:lnTo>
                    <a:lnTo>
                      <a:pt x="486" y="279"/>
                    </a:lnTo>
                    <a:lnTo>
                      <a:pt x="486" y="280"/>
                    </a:lnTo>
                    <a:lnTo>
                      <a:pt x="485" y="280"/>
                    </a:lnTo>
                    <a:lnTo>
                      <a:pt x="485" y="282"/>
                    </a:lnTo>
                    <a:lnTo>
                      <a:pt x="483" y="282"/>
                    </a:lnTo>
                    <a:lnTo>
                      <a:pt x="483" y="283"/>
                    </a:lnTo>
                    <a:lnTo>
                      <a:pt x="483" y="285"/>
                    </a:lnTo>
                    <a:lnTo>
                      <a:pt x="483" y="287"/>
                    </a:lnTo>
                    <a:lnTo>
                      <a:pt x="485" y="287"/>
                    </a:lnTo>
                    <a:lnTo>
                      <a:pt x="485" y="288"/>
                    </a:lnTo>
                    <a:lnTo>
                      <a:pt x="486" y="288"/>
                    </a:lnTo>
                    <a:lnTo>
                      <a:pt x="488" y="288"/>
                    </a:lnTo>
                    <a:lnTo>
                      <a:pt x="488" y="290"/>
                    </a:lnTo>
                    <a:lnTo>
                      <a:pt x="488" y="291"/>
                    </a:lnTo>
                    <a:lnTo>
                      <a:pt x="488" y="293"/>
                    </a:lnTo>
                    <a:lnTo>
                      <a:pt x="488" y="294"/>
                    </a:lnTo>
                    <a:lnTo>
                      <a:pt x="488" y="296"/>
                    </a:lnTo>
                    <a:lnTo>
                      <a:pt x="489" y="298"/>
                    </a:lnTo>
                    <a:lnTo>
                      <a:pt x="491" y="298"/>
                    </a:lnTo>
                    <a:lnTo>
                      <a:pt x="491" y="299"/>
                    </a:lnTo>
                    <a:lnTo>
                      <a:pt x="493" y="299"/>
                    </a:lnTo>
                    <a:lnTo>
                      <a:pt x="493" y="301"/>
                    </a:lnTo>
                    <a:lnTo>
                      <a:pt x="493" y="302"/>
                    </a:lnTo>
                    <a:lnTo>
                      <a:pt x="493" y="304"/>
                    </a:lnTo>
                    <a:lnTo>
                      <a:pt x="493" y="306"/>
                    </a:lnTo>
                    <a:lnTo>
                      <a:pt x="493" y="307"/>
                    </a:lnTo>
                    <a:lnTo>
                      <a:pt x="493" y="309"/>
                    </a:lnTo>
                    <a:lnTo>
                      <a:pt x="493" y="310"/>
                    </a:lnTo>
                    <a:lnTo>
                      <a:pt x="493" y="312"/>
                    </a:lnTo>
                    <a:lnTo>
                      <a:pt x="493" y="313"/>
                    </a:lnTo>
                    <a:lnTo>
                      <a:pt x="493" y="315"/>
                    </a:lnTo>
                    <a:lnTo>
                      <a:pt x="494" y="315"/>
                    </a:lnTo>
                    <a:lnTo>
                      <a:pt x="494" y="317"/>
                    </a:lnTo>
                    <a:lnTo>
                      <a:pt x="494" y="318"/>
                    </a:lnTo>
                    <a:lnTo>
                      <a:pt x="494" y="320"/>
                    </a:lnTo>
                    <a:lnTo>
                      <a:pt x="494" y="321"/>
                    </a:lnTo>
                    <a:lnTo>
                      <a:pt x="494" y="323"/>
                    </a:lnTo>
                    <a:lnTo>
                      <a:pt x="493" y="323"/>
                    </a:lnTo>
                    <a:lnTo>
                      <a:pt x="493" y="325"/>
                    </a:lnTo>
                    <a:lnTo>
                      <a:pt x="493" y="326"/>
                    </a:lnTo>
                    <a:lnTo>
                      <a:pt x="493" y="328"/>
                    </a:lnTo>
                    <a:lnTo>
                      <a:pt x="491" y="329"/>
                    </a:lnTo>
                    <a:lnTo>
                      <a:pt x="491" y="331"/>
                    </a:lnTo>
                    <a:lnTo>
                      <a:pt x="491" y="333"/>
                    </a:lnTo>
                    <a:lnTo>
                      <a:pt x="489" y="333"/>
                    </a:lnTo>
                    <a:lnTo>
                      <a:pt x="488" y="334"/>
                    </a:lnTo>
                    <a:lnTo>
                      <a:pt x="486" y="334"/>
                    </a:lnTo>
                    <a:lnTo>
                      <a:pt x="485" y="334"/>
                    </a:lnTo>
                    <a:lnTo>
                      <a:pt x="483" y="334"/>
                    </a:lnTo>
                    <a:lnTo>
                      <a:pt x="483" y="333"/>
                    </a:lnTo>
                    <a:lnTo>
                      <a:pt x="481" y="333"/>
                    </a:lnTo>
                    <a:lnTo>
                      <a:pt x="480" y="331"/>
                    </a:lnTo>
                    <a:lnTo>
                      <a:pt x="478" y="331"/>
                    </a:lnTo>
                    <a:lnTo>
                      <a:pt x="477" y="331"/>
                    </a:lnTo>
                    <a:lnTo>
                      <a:pt x="477" y="329"/>
                    </a:lnTo>
                    <a:lnTo>
                      <a:pt x="475" y="329"/>
                    </a:lnTo>
                    <a:lnTo>
                      <a:pt x="474" y="329"/>
                    </a:lnTo>
                    <a:lnTo>
                      <a:pt x="472" y="329"/>
                    </a:lnTo>
                    <a:lnTo>
                      <a:pt x="470" y="329"/>
                    </a:lnTo>
                    <a:lnTo>
                      <a:pt x="470" y="331"/>
                    </a:lnTo>
                    <a:lnTo>
                      <a:pt x="470" y="333"/>
                    </a:lnTo>
                    <a:lnTo>
                      <a:pt x="470" y="334"/>
                    </a:lnTo>
                    <a:lnTo>
                      <a:pt x="470" y="336"/>
                    </a:lnTo>
                    <a:lnTo>
                      <a:pt x="470" y="337"/>
                    </a:lnTo>
                    <a:lnTo>
                      <a:pt x="470" y="339"/>
                    </a:lnTo>
                    <a:lnTo>
                      <a:pt x="469" y="340"/>
                    </a:lnTo>
                    <a:lnTo>
                      <a:pt x="469" y="342"/>
                    </a:lnTo>
                    <a:lnTo>
                      <a:pt x="467" y="342"/>
                    </a:lnTo>
                    <a:lnTo>
                      <a:pt x="467" y="344"/>
                    </a:lnTo>
                    <a:lnTo>
                      <a:pt x="467" y="345"/>
                    </a:lnTo>
                    <a:lnTo>
                      <a:pt x="467" y="347"/>
                    </a:lnTo>
                    <a:lnTo>
                      <a:pt x="466" y="348"/>
                    </a:lnTo>
                    <a:lnTo>
                      <a:pt x="466" y="350"/>
                    </a:lnTo>
                    <a:lnTo>
                      <a:pt x="466" y="352"/>
                    </a:lnTo>
                    <a:lnTo>
                      <a:pt x="464" y="352"/>
                    </a:lnTo>
                    <a:lnTo>
                      <a:pt x="464" y="353"/>
                    </a:lnTo>
                    <a:lnTo>
                      <a:pt x="464" y="355"/>
                    </a:lnTo>
                    <a:lnTo>
                      <a:pt x="462" y="356"/>
                    </a:lnTo>
                    <a:lnTo>
                      <a:pt x="462" y="358"/>
                    </a:lnTo>
                    <a:lnTo>
                      <a:pt x="462" y="359"/>
                    </a:lnTo>
                    <a:lnTo>
                      <a:pt x="464" y="361"/>
                    </a:lnTo>
                    <a:lnTo>
                      <a:pt x="464" y="363"/>
                    </a:lnTo>
                    <a:lnTo>
                      <a:pt x="464" y="364"/>
                    </a:lnTo>
                    <a:lnTo>
                      <a:pt x="464" y="366"/>
                    </a:lnTo>
                    <a:lnTo>
                      <a:pt x="464" y="367"/>
                    </a:lnTo>
                    <a:lnTo>
                      <a:pt x="466" y="367"/>
                    </a:lnTo>
                    <a:lnTo>
                      <a:pt x="466" y="369"/>
                    </a:lnTo>
                    <a:lnTo>
                      <a:pt x="467" y="369"/>
                    </a:lnTo>
                    <a:lnTo>
                      <a:pt x="469" y="371"/>
                    </a:lnTo>
                    <a:lnTo>
                      <a:pt x="469" y="372"/>
                    </a:lnTo>
                    <a:lnTo>
                      <a:pt x="469" y="374"/>
                    </a:lnTo>
                    <a:lnTo>
                      <a:pt x="469" y="375"/>
                    </a:lnTo>
                    <a:lnTo>
                      <a:pt x="469" y="377"/>
                    </a:lnTo>
                    <a:lnTo>
                      <a:pt x="469" y="378"/>
                    </a:lnTo>
                    <a:lnTo>
                      <a:pt x="469" y="380"/>
                    </a:lnTo>
                    <a:lnTo>
                      <a:pt x="469" y="382"/>
                    </a:lnTo>
                    <a:lnTo>
                      <a:pt x="469" y="383"/>
                    </a:lnTo>
                    <a:lnTo>
                      <a:pt x="469" y="385"/>
                    </a:lnTo>
                    <a:lnTo>
                      <a:pt x="469" y="386"/>
                    </a:lnTo>
                    <a:lnTo>
                      <a:pt x="469" y="388"/>
                    </a:lnTo>
                    <a:lnTo>
                      <a:pt x="467" y="391"/>
                    </a:lnTo>
                    <a:lnTo>
                      <a:pt x="467" y="393"/>
                    </a:lnTo>
                    <a:lnTo>
                      <a:pt x="467" y="394"/>
                    </a:lnTo>
                    <a:lnTo>
                      <a:pt x="467" y="396"/>
                    </a:lnTo>
                    <a:lnTo>
                      <a:pt x="467" y="397"/>
                    </a:lnTo>
                    <a:lnTo>
                      <a:pt x="467" y="399"/>
                    </a:lnTo>
                    <a:lnTo>
                      <a:pt x="467" y="401"/>
                    </a:lnTo>
                    <a:lnTo>
                      <a:pt x="467" y="402"/>
                    </a:lnTo>
                    <a:lnTo>
                      <a:pt x="467" y="404"/>
                    </a:lnTo>
                    <a:lnTo>
                      <a:pt x="467" y="405"/>
                    </a:lnTo>
                    <a:lnTo>
                      <a:pt x="466" y="405"/>
                    </a:lnTo>
                    <a:lnTo>
                      <a:pt x="466" y="407"/>
                    </a:lnTo>
                    <a:lnTo>
                      <a:pt x="466" y="409"/>
                    </a:lnTo>
                    <a:lnTo>
                      <a:pt x="464" y="409"/>
                    </a:lnTo>
                    <a:lnTo>
                      <a:pt x="464" y="410"/>
                    </a:lnTo>
                    <a:lnTo>
                      <a:pt x="462" y="410"/>
                    </a:lnTo>
                    <a:lnTo>
                      <a:pt x="462" y="412"/>
                    </a:lnTo>
                    <a:lnTo>
                      <a:pt x="462" y="413"/>
                    </a:lnTo>
                    <a:lnTo>
                      <a:pt x="462" y="415"/>
                    </a:lnTo>
                    <a:lnTo>
                      <a:pt x="462" y="416"/>
                    </a:lnTo>
                    <a:lnTo>
                      <a:pt x="462" y="418"/>
                    </a:lnTo>
                    <a:lnTo>
                      <a:pt x="462" y="420"/>
                    </a:lnTo>
                    <a:lnTo>
                      <a:pt x="462" y="421"/>
                    </a:lnTo>
                    <a:lnTo>
                      <a:pt x="461" y="421"/>
                    </a:lnTo>
                    <a:lnTo>
                      <a:pt x="461" y="423"/>
                    </a:lnTo>
                    <a:lnTo>
                      <a:pt x="462" y="423"/>
                    </a:lnTo>
                    <a:lnTo>
                      <a:pt x="462" y="424"/>
                    </a:lnTo>
                    <a:lnTo>
                      <a:pt x="464" y="424"/>
                    </a:lnTo>
                    <a:lnTo>
                      <a:pt x="464" y="426"/>
                    </a:lnTo>
                    <a:lnTo>
                      <a:pt x="466" y="426"/>
                    </a:lnTo>
                    <a:lnTo>
                      <a:pt x="466" y="428"/>
                    </a:lnTo>
                    <a:lnTo>
                      <a:pt x="467" y="428"/>
                    </a:lnTo>
                    <a:lnTo>
                      <a:pt x="467" y="429"/>
                    </a:lnTo>
                    <a:lnTo>
                      <a:pt x="467" y="431"/>
                    </a:lnTo>
                    <a:lnTo>
                      <a:pt x="469" y="431"/>
                    </a:lnTo>
                    <a:lnTo>
                      <a:pt x="469" y="432"/>
                    </a:lnTo>
                    <a:lnTo>
                      <a:pt x="469" y="434"/>
                    </a:lnTo>
                    <a:lnTo>
                      <a:pt x="470" y="434"/>
                    </a:lnTo>
                    <a:lnTo>
                      <a:pt x="470" y="436"/>
                    </a:lnTo>
                    <a:lnTo>
                      <a:pt x="474" y="436"/>
                    </a:lnTo>
                    <a:lnTo>
                      <a:pt x="475" y="436"/>
                    </a:lnTo>
                    <a:lnTo>
                      <a:pt x="477" y="436"/>
                    </a:lnTo>
                    <a:lnTo>
                      <a:pt x="478" y="440"/>
                    </a:lnTo>
                    <a:lnTo>
                      <a:pt x="480" y="450"/>
                    </a:lnTo>
                    <a:lnTo>
                      <a:pt x="480" y="451"/>
                    </a:lnTo>
                    <a:lnTo>
                      <a:pt x="480" y="453"/>
                    </a:lnTo>
                    <a:lnTo>
                      <a:pt x="481" y="453"/>
                    </a:lnTo>
                    <a:lnTo>
                      <a:pt x="481" y="455"/>
                    </a:lnTo>
                    <a:lnTo>
                      <a:pt x="481" y="456"/>
                    </a:lnTo>
                    <a:lnTo>
                      <a:pt x="481" y="458"/>
                    </a:lnTo>
                    <a:lnTo>
                      <a:pt x="481" y="459"/>
                    </a:lnTo>
                    <a:lnTo>
                      <a:pt x="483" y="459"/>
                    </a:lnTo>
                    <a:lnTo>
                      <a:pt x="481" y="459"/>
                    </a:lnTo>
                    <a:lnTo>
                      <a:pt x="481" y="461"/>
                    </a:lnTo>
                    <a:lnTo>
                      <a:pt x="480" y="462"/>
                    </a:lnTo>
                    <a:lnTo>
                      <a:pt x="478" y="462"/>
                    </a:lnTo>
                    <a:lnTo>
                      <a:pt x="478" y="464"/>
                    </a:lnTo>
                    <a:lnTo>
                      <a:pt x="480" y="466"/>
                    </a:lnTo>
                    <a:lnTo>
                      <a:pt x="481" y="466"/>
                    </a:lnTo>
                    <a:lnTo>
                      <a:pt x="483" y="464"/>
                    </a:lnTo>
                    <a:lnTo>
                      <a:pt x="485" y="464"/>
                    </a:lnTo>
                    <a:lnTo>
                      <a:pt x="486" y="464"/>
                    </a:lnTo>
                    <a:lnTo>
                      <a:pt x="486" y="462"/>
                    </a:lnTo>
                    <a:lnTo>
                      <a:pt x="488" y="462"/>
                    </a:lnTo>
                    <a:lnTo>
                      <a:pt x="488" y="464"/>
                    </a:lnTo>
                    <a:lnTo>
                      <a:pt x="489" y="464"/>
                    </a:lnTo>
                    <a:lnTo>
                      <a:pt x="489" y="466"/>
                    </a:lnTo>
                    <a:lnTo>
                      <a:pt x="489" y="467"/>
                    </a:lnTo>
                    <a:lnTo>
                      <a:pt x="489" y="469"/>
                    </a:lnTo>
                    <a:lnTo>
                      <a:pt x="488" y="469"/>
                    </a:lnTo>
                    <a:lnTo>
                      <a:pt x="488" y="470"/>
                    </a:lnTo>
                    <a:lnTo>
                      <a:pt x="488" y="472"/>
                    </a:lnTo>
                    <a:lnTo>
                      <a:pt x="486" y="472"/>
                    </a:lnTo>
                    <a:lnTo>
                      <a:pt x="486" y="474"/>
                    </a:lnTo>
                    <a:lnTo>
                      <a:pt x="485" y="475"/>
                    </a:lnTo>
                    <a:lnTo>
                      <a:pt x="485" y="477"/>
                    </a:lnTo>
                    <a:lnTo>
                      <a:pt x="483" y="477"/>
                    </a:lnTo>
                    <a:lnTo>
                      <a:pt x="483" y="478"/>
                    </a:lnTo>
                    <a:lnTo>
                      <a:pt x="481" y="478"/>
                    </a:lnTo>
                    <a:lnTo>
                      <a:pt x="481" y="480"/>
                    </a:lnTo>
                    <a:lnTo>
                      <a:pt x="483" y="480"/>
                    </a:lnTo>
                    <a:lnTo>
                      <a:pt x="483" y="481"/>
                    </a:lnTo>
                    <a:lnTo>
                      <a:pt x="483" y="483"/>
                    </a:lnTo>
                    <a:lnTo>
                      <a:pt x="481" y="485"/>
                    </a:lnTo>
                    <a:lnTo>
                      <a:pt x="478" y="486"/>
                    </a:lnTo>
                    <a:lnTo>
                      <a:pt x="477" y="485"/>
                    </a:lnTo>
                    <a:lnTo>
                      <a:pt x="475" y="485"/>
                    </a:lnTo>
                    <a:lnTo>
                      <a:pt x="475" y="486"/>
                    </a:lnTo>
                    <a:lnTo>
                      <a:pt x="477" y="486"/>
                    </a:lnTo>
                    <a:lnTo>
                      <a:pt x="477" y="488"/>
                    </a:lnTo>
                    <a:lnTo>
                      <a:pt x="475" y="489"/>
                    </a:lnTo>
                    <a:lnTo>
                      <a:pt x="475" y="491"/>
                    </a:lnTo>
                    <a:lnTo>
                      <a:pt x="475" y="493"/>
                    </a:lnTo>
                    <a:lnTo>
                      <a:pt x="475" y="494"/>
                    </a:lnTo>
                    <a:lnTo>
                      <a:pt x="475" y="496"/>
                    </a:lnTo>
                    <a:lnTo>
                      <a:pt x="477" y="496"/>
                    </a:lnTo>
                    <a:lnTo>
                      <a:pt x="477" y="497"/>
                    </a:lnTo>
                    <a:lnTo>
                      <a:pt x="477" y="499"/>
                    </a:lnTo>
                    <a:lnTo>
                      <a:pt x="478" y="499"/>
                    </a:lnTo>
                    <a:lnTo>
                      <a:pt x="478" y="500"/>
                    </a:lnTo>
                    <a:lnTo>
                      <a:pt x="480" y="500"/>
                    </a:lnTo>
                    <a:lnTo>
                      <a:pt x="480" y="502"/>
                    </a:lnTo>
                    <a:lnTo>
                      <a:pt x="478" y="502"/>
                    </a:lnTo>
                    <a:lnTo>
                      <a:pt x="480" y="502"/>
                    </a:lnTo>
                    <a:lnTo>
                      <a:pt x="478" y="504"/>
                    </a:lnTo>
                    <a:lnTo>
                      <a:pt x="478" y="505"/>
                    </a:lnTo>
                    <a:lnTo>
                      <a:pt x="477" y="507"/>
                    </a:lnTo>
                    <a:lnTo>
                      <a:pt x="477" y="508"/>
                    </a:lnTo>
                    <a:lnTo>
                      <a:pt x="477" y="510"/>
                    </a:lnTo>
                    <a:lnTo>
                      <a:pt x="475" y="510"/>
                    </a:lnTo>
                    <a:lnTo>
                      <a:pt x="474" y="510"/>
                    </a:lnTo>
                    <a:lnTo>
                      <a:pt x="474" y="512"/>
                    </a:lnTo>
                    <a:lnTo>
                      <a:pt x="474" y="513"/>
                    </a:lnTo>
                    <a:lnTo>
                      <a:pt x="474" y="515"/>
                    </a:lnTo>
                    <a:lnTo>
                      <a:pt x="474" y="516"/>
                    </a:lnTo>
                    <a:lnTo>
                      <a:pt x="475" y="516"/>
                    </a:lnTo>
                    <a:lnTo>
                      <a:pt x="475" y="518"/>
                    </a:lnTo>
                    <a:lnTo>
                      <a:pt x="477" y="518"/>
                    </a:lnTo>
                    <a:lnTo>
                      <a:pt x="478" y="518"/>
                    </a:lnTo>
                    <a:lnTo>
                      <a:pt x="480" y="518"/>
                    </a:lnTo>
                    <a:lnTo>
                      <a:pt x="480" y="519"/>
                    </a:lnTo>
                    <a:lnTo>
                      <a:pt x="480" y="521"/>
                    </a:lnTo>
                    <a:lnTo>
                      <a:pt x="480" y="523"/>
                    </a:lnTo>
                    <a:lnTo>
                      <a:pt x="478" y="523"/>
                    </a:lnTo>
                    <a:lnTo>
                      <a:pt x="477" y="524"/>
                    </a:lnTo>
                    <a:lnTo>
                      <a:pt x="477" y="526"/>
                    </a:lnTo>
                    <a:lnTo>
                      <a:pt x="475" y="526"/>
                    </a:lnTo>
                    <a:lnTo>
                      <a:pt x="474" y="526"/>
                    </a:lnTo>
                    <a:lnTo>
                      <a:pt x="474" y="527"/>
                    </a:lnTo>
                    <a:lnTo>
                      <a:pt x="483" y="538"/>
                    </a:lnTo>
                    <a:lnTo>
                      <a:pt x="497" y="538"/>
                    </a:lnTo>
                    <a:lnTo>
                      <a:pt x="504" y="545"/>
                    </a:lnTo>
                    <a:lnTo>
                      <a:pt x="512" y="558"/>
                    </a:lnTo>
                    <a:lnTo>
                      <a:pt x="512" y="569"/>
                    </a:lnTo>
                    <a:lnTo>
                      <a:pt x="512" y="575"/>
                    </a:lnTo>
                    <a:lnTo>
                      <a:pt x="508" y="584"/>
                    </a:lnTo>
                    <a:lnTo>
                      <a:pt x="504" y="600"/>
                    </a:lnTo>
                    <a:lnTo>
                      <a:pt x="489" y="613"/>
                    </a:lnTo>
                    <a:lnTo>
                      <a:pt x="485" y="627"/>
                    </a:lnTo>
                    <a:lnTo>
                      <a:pt x="483" y="641"/>
                    </a:lnTo>
                    <a:lnTo>
                      <a:pt x="481" y="654"/>
                    </a:lnTo>
                    <a:lnTo>
                      <a:pt x="488" y="657"/>
                    </a:lnTo>
                    <a:lnTo>
                      <a:pt x="488" y="662"/>
                    </a:lnTo>
                    <a:lnTo>
                      <a:pt x="488" y="680"/>
                    </a:lnTo>
                    <a:lnTo>
                      <a:pt x="486" y="687"/>
                    </a:lnTo>
                    <a:lnTo>
                      <a:pt x="480" y="692"/>
                    </a:lnTo>
                    <a:lnTo>
                      <a:pt x="478" y="694"/>
                    </a:lnTo>
                    <a:lnTo>
                      <a:pt x="477" y="694"/>
                    </a:lnTo>
                    <a:lnTo>
                      <a:pt x="474" y="694"/>
                    </a:lnTo>
                    <a:lnTo>
                      <a:pt x="472" y="694"/>
                    </a:lnTo>
                    <a:lnTo>
                      <a:pt x="470" y="694"/>
                    </a:lnTo>
                    <a:lnTo>
                      <a:pt x="469" y="695"/>
                    </a:lnTo>
                    <a:lnTo>
                      <a:pt x="467" y="695"/>
                    </a:lnTo>
                    <a:lnTo>
                      <a:pt x="466" y="697"/>
                    </a:lnTo>
                    <a:lnTo>
                      <a:pt x="464" y="697"/>
                    </a:lnTo>
                    <a:lnTo>
                      <a:pt x="462" y="697"/>
                    </a:lnTo>
                    <a:lnTo>
                      <a:pt x="461" y="697"/>
                    </a:lnTo>
                    <a:lnTo>
                      <a:pt x="459" y="697"/>
                    </a:lnTo>
                    <a:lnTo>
                      <a:pt x="458" y="699"/>
                    </a:lnTo>
                    <a:lnTo>
                      <a:pt x="456" y="699"/>
                    </a:lnTo>
                    <a:lnTo>
                      <a:pt x="455" y="697"/>
                    </a:lnTo>
                    <a:lnTo>
                      <a:pt x="451" y="697"/>
                    </a:lnTo>
                    <a:lnTo>
                      <a:pt x="450" y="697"/>
                    </a:lnTo>
                    <a:lnTo>
                      <a:pt x="448" y="697"/>
                    </a:lnTo>
                    <a:lnTo>
                      <a:pt x="447" y="699"/>
                    </a:lnTo>
                    <a:lnTo>
                      <a:pt x="445" y="699"/>
                    </a:lnTo>
                    <a:lnTo>
                      <a:pt x="443" y="699"/>
                    </a:lnTo>
                    <a:lnTo>
                      <a:pt x="442" y="699"/>
                    </a:lnTo>
                    <a:lnTo>
                      <a:pt x="440" y="699"/>
                    </a:lnTo>
                    <a:lnTo>
                      <a:pt x="439" y="699"/>
                    </a:lnTo>
                    <a:lnTo>
                      <a:pt x="437" y="699"/>
                    </a:lnTo>
                    <a:lnTo>
                      <a:pt x="436" y="699"/>
                    </a:lnTo>
                    <a:lnTo>
                      <a:pt x="434" y="699"/>
                    </a:lnTo>
                    <a:lnTo>
                      <a:pt x="434" y="700"/>
                    </a:lnTo>
                    <a:lnTo>
                      <a:pt x="434" y="702"/>
                    </a:lnTo>
                    <a:lnTo>
                      <a:pt x="434" y="703"/>
                    </a:lnTo>
                    <a:lnTo>
                      <a:pt x="432" y="703"/>
                    </a:lnTo>
                    <a:lnTo>
                      <a:pt x="432" y="705"/>
                    </a:lnTo>
                    <a:lnTo>
                      <a:pt x="431" y="706"/>
                    </a:lnTo>
                    <a:lnTo>
                      <a:pt x="429" y="706"/>
                    </a:lnTo>
                    <a:lnTo>
                      <a:pt x="428" y="706"/>
                    </a:lnTo>
                    <a:lnTo>
                      <a:pt x="426" y="706"/>
                    </a:lnTo>
                    <a:lnTo>
                      <a:pt x="426" y="708"/>
                    </a:lnTo>
                    <a:lnTo>
                      <a:pt x="424" y="708"/>
                    </a:lnTo>
                    <a:lnTo>
                      <a:pt x="424" y="710"/>
                    </a:lnTo>
                    <a:lnTo>
                      <a:pt x="423" y="710"/>
                    </a:lnTo>
                    <a:lnTo>
                      <a:pt x="421" y="711"/>
                    </a:lnTo>
                    <a:lnTo>
                      <a:pt x="420" y="711"/>
                    </a:lnTo>
                    <a:lnTo>
                      <a:pt x="418" y="711"/>
                    </a:lnTo>
                    <a:lnTo>
                      <a:pt x="417" y="711"/>
                    </a:lnTo>
                    <a:lnTo>
                      <a:pt x="415" y="711"/>
                    </a:lnTo>
                    <a:lnTo>
                      <a:pt x="413" y="713"/>
                    </a:lnTo>
                    <a:lnTo>
                      <a:pt x="412" y="713"/>
                    </a:lnTo>
                    <a:lnTo>
                      <a:pt x="410" y="713"/>
                    </a:lnTo>
                    <a:lnTo>
                      <a:pt x="409" y="713"/>
                    </a:lnTo>
                    <a:lnTo>
                      <a:pt x="410" y="713"/>
                    </a:lnTo>
                    <a:lnTo>
                      <a:pt x="410" y="711"/>
                    </a:lnTo>
                    <a:lnTo>
                      <a:pt x="410" y="710"/>
                    </a:lnTo>
                    <a:lnTo>
                      <a:pt x="412" y="710"/>
                    </a:lnTo>
                    <a:lnTo>
                      <a:pt x="412" y="708"/>
                    </a:lnTo>
                    <a:lnTo>
                      <a:pt x="412" y="706"/>
                    </a:lnTo>
                    <a:lnTo>
                      <a:pt x="412" y="705"/>
                    </a:lnTo>
                    <a:lnTo>
                      <a:pt x="412" y="703"/>
                    </a:lnTo>
                    <a:lnTo>
                      <a:pt x="412" y="702"/>
                    </a:lnTo>
                    <a:lnTo>
                      <a:pt x="410" y="700"/>
                    </a:lnTo>
                    <a:lnTo>
                      <a:pt x="410" y="699"/>
                    </a:lnTo>
                    <a:lnTo>
                      <a:pt x="409" y="697"/>
                    </a:lnTo>
                    <a:lnTo>
                      <a:pt x="409" y="695"/>
                    </a:lnTo>
                    <a:lnTo>
                      <a:pt x="409" y="694"/>
                    </a:lnTo>
                    <a:lnTo>
                      <a:pt x="409" y="692"/>
                    </a:lnTo>
                    <a:lnTo>
                      <a:pt x="407" y="691"/>
                    </a:lnTo>
                    <a:lnTo>
                      <a:pt x="405" y="691"/>
                    </a:lnTo>
                    <a:lnTo>
                      <a:pt x="404" y="691"/>
                    </a:lnTo>
                    <a:lnTo>
                      <a:pt x="402" y="691"/>
                    </a:lnTo>
                    <a:lnTo>
                      <a:pt x="401" y="691"/>
                    </a:lnTo>
                    <a:lnTo>
                      <a:pt x="399" y="691"/>
                    </a:lnTo>
                    <a:lnTo>
                      <a:pt x="398" y="691"/>
                    </a:lnTo>
                    <a:lnTo>
                      <a:pt x="396" y="691"/>
                    </a:lnTo>
                    <a:lnTo>
                      <a:pt x="394" y="691"/>
                    </a:lnTo>
                    <a:lnTo>
                      <a:pt x="393" y="692"/>
                    </a:lnTo>
                    <a:lnTo>
                      <a:pt x="391" y="692"/>
                    </a:lnTo>
                    <a:lnTo>
                      <a:pt x="390" y="692"/>
                    </a:lnTo>
                    <a:lnTo>
                      <a:pt x="388" y="691"/>
                    </a:lnTo>
                    <a:lnTo>
                      <a:pt x="386" y="691"/>
                    </a:lnTo>
                    <a:lnTo>
                      <a:pt x="385" y="691"/>
                    </a:lnTo>
                    <a:lnTo>
                      <a:pt x="383" y="691"/>
                    </a:lnTo>
                    <a:lnTo>
                      <a:pt x="383" y="689"/>
                    </a:lnTo>
                    <a:lnTo>
                      <a:pt x="382" y="689"/>
                    </a:lnTo>
                    <a:lnTo>
                      <a:pt x="380" y="689"/>
                    </a:lnTo>
                    <a:lnTo>
                      <a:pt x="379" y="689"/>
                    </a:lnTo>
                    <a:lnTo>
                      <a:pt x="377" y="689"/>
                    </a:lnTo>
                    <a:lnTo>
                      <a:pt x="375" y="689"/>
                    </a:lnTo>
                    <a:lnTo>
                      <a:pt x="374" y="689"/>
                    </a:lnTo>
                    <a:lnTo>
                      <a:pt x="372" y="689"/>
                    </a:lnTo>
                    <a:lnTo>
                      <a:pt x="372" y="691"/>
                    </a:lnTo>
                    <a:lnTo>
                      <a:pt x="371" y="691"/>
                    </a:lnTo>
                    <a:lnTo>
                      <a:pt x="371" y="692"/>
                    </a:lnTo>
                    <a:lnTo>
                      <a:pt x="369" y="692"/>
                    </a:lnTo>
                    <a:lnTo>
                      <a:pt x="367" y="692"/>
                    </a:lnTo>
                    <a:lnTo>
                      <a:pt x="367" y="691"/>
                    </a:lnTo>
                    <a:lnTo>
                      <a:pt x="366" y="692"/>
                    </a:lnTo>
                    <a:lnTo>
                      <a:pt x="364" y="692"/>
                    </a:lnTo>
                    <a:lnTo>
                      <a:pt x="363" y="692"/>
                    </a:lnTo>
                    <a:lnTo>
                      <a:pt x="363" y="694"/>
                    </a:lnTo>
                    <a:lnTo>
                      <a:pt x="361" y="694"/>
                    </a:lnTo>
                    <a:lnTo>
                      <a:pt x="360" y="694"/>
                    </a:lnTo>
                    <a:lnTo>
                      <a:pt x="360" y="695"/>
                    </a:lnTo>
                    <a:lnTo>
                      <a:pt x="361" y="695"/>
                    </a:lnTo>
                    <a:lnTo>
                      <a:pt x="361" y="697"/>
                    </a:lnTo>
                    <a:lnTo>
                      <a:pt x="361" y="699"/>
                    </a:lnTo>
                    <a:lnTo>
                      <a:pt x="360" y="699"/>
                    </a:lnTo>
                    <a:lnTo>
                      <a:pt x="360" y="700"/>
                    </a:lnTo>
                    <a:lnTo>
                      <a:pt x="358" y="700"/>
                    </a:lnTo>
                    <a:lnTo>
                      <a:pt x="356" y="700"/>
                    </a:lnTo>
                    <a:lnTo>
                      <a:pt x="355" y="700"/>
                    </a:lnTo>
                    <a:lnTo>
                      <a:pt x="355" y="702"/>
                    </a:lnTo>
                    <a:lnTo>
                      <a:pt x="353" y="700"/>
                    </a:lnTo>
                    <a:lnTo>
                      <a:pt x="353" y="699"/>
                    </a:lnTo>
                    <a:lnTo>
                      <a:pt x="352" y="699"/>
                    </a:lnTo>
                    <a:lnTo>
                      <a:pt x="350" y="699"/>
                    </a:lnTo>
                    <a:lnTo>
                      <a:pt x="350" y="700"/>
                    </a:lnTo>
                    <a:lnTo>
                      <a:pt x="350" y="699"/>
                    </a:lnTo>
                    <a:lnTo>
                      <a:pt x="348" y="699"/>
                    </a:lnTo>
                    <a:lnTo>
                      <a:pt x="347" y="699"/>
                    </a:lnTo>
                    <a:lnTo>
                      <a:pt x="345" y="699"/>
                    </a:lnTo>
                    <a:lnTo>
                      <a:pt x="344" y="700"/>
                    </a:lnTo>
                    <a:lnTo>
                      <a:pt x="342" y="700"/>
                    </a:lnTo>
                    <a:lnTo>
                      <a:pt x="341" y="700"/>
                    </a:lnTo>
                    <a:lnTo>
                      <a:pt x="339" y="700"/>
                    </a:lnTo>
                    <a:lnTo>
                      <a:pt x="337" y="700"/>
                    </a:lnTo>
                    <a:lnTo>
                      <a:pt x="336" y="700"/>
                    </a:lnTo>
                    <a:lnTo>
                      <a:pt x="336" y="699"/>
                    </a:lnTo>
                    <a:lnTo>
                      <a:pt x="334" y="699"/>
                    </a:lnTo>
                    <a:lnTo>
                      <a:pt x="334" y="697"/>
                    </a:lnTo>
                    <a:lnTo>
                      <a:pt x="333" y="695"/>
                    </a:lnTo>
                    <a:lnTo>
                      <a:pt x="333" y="694"/>
                    </a:lnTo>
                    <a:lnTo>
                      <a:pt x="331" y="694"/>
                    </a:lnTo>
                    <a:lnTo>
                      <a:pt x="331" y="692"/>
                    </a:lnTo>
                    <a:lnTo>
                      <a:pt x="329" y="691"/>
                    </a:lnTo>
                    <a:lnTo>
                      <a:pt x="329" y="689"/>
                    </a:lnTo>
                    <a:lnTo>
                      <a:pt x="328" y="689"/>
                    </a:lnTo>
                    <a:lnTo>
                      <a:pt x="328" y="687"/>
                    </a:lnTo>
                    <a:lnTo>
                      <a:pt x="326" y="687"/>
                    </a:lnTo>
                    <a:lnTo>
                      <a:pt x="326" y="686"/>
                    </a:lnTo>
                    <a:lnTo>
                      <a:pt x="325" y="686"/>
                    </a:lnTo>
                    <a:lnTo>
                      <a:pt x="325" y="684"/>
                    </a:lnTo>
                    <a:lnTo>
                      <a:pt x="325" y="683"/>
                    </a:lnTo>
                    <a:lnTo>
                      <a:pt x="325" y="681"/>
                    </a:lnTo>
                    <a:lnTo>
                      <a:pt x="325" y="680"/>
                    </a:lnTo>
                    <a:lnTo>
                      <a:pt x="323" y="678"/>
                    </a:lnTo>
                    <a:lnTo>
                      <a:pt x="323" y="676"/>
                    </a:lnTo>
                    <a:lnTo>
                      <a:pt x="323" y="675"/>
                    </a:lnTo>
                    <a:lnTo>
                      <a:pt x="323" y="673"/>
                    </a:lnTo>
                    <a:lnTo>
                      <a:pt x="323" y="672"/>
                    </a:lnTo>
                    <a:lnTo>
                      <a:pt x="323" y="670"/>
                    </a:lnTo>
                    <a:lnTo>
                      <a:pt x="323" y="667"/>
                    </a:lnTo>
                    <a:lnTo>
                      <a:pt x="323" y="665"/>
                    </a:lnTo>
                    <a:lnTo>
                      <a:pt x="323" y="664"/>
                    </a:lnTo>
                    <a:lnTo>
                      <a:pt x="323" y="662"/>
                    </a:lnTo>
                    <a:lnTo>
                      <a:pt x="323" y="661"/>
                    </a:lnTo>
                    <a:lnTo>
                      <a:pt x="323" y="659"/>
                    </a:lnTo>
                    <a:lnTo>
                      <a:pt x="322" y="659"/>
                    </a:lnTo>
                    <a:lnTo>
                      <a:pt x="322" y="657"/>
                    </a:lnTo>
                    <a:lnTo>
                      <a:pt x="322" y="656"/>
                    </a:lnTo>
                    <a:lnTo>
                      <a:pt x="322" y="654"/>
                    </a:lnTo>
                    <a:lnTo>
                      <a:pt x="322" y="653"/>
                    </a:lnTo>
                    <a:lnTo>
                      <a:pt x="322" y="651"/>
                    </a:lnTo>
                    <a:lnTo>
                      <a:pt x="322" y="649"/>
                    </a:lnTo>
                    <a:lnTo>
                      <a:pt x="322" y="648"/>
                    </a:lnTo>
                    <a:lnTo>
                      <a:pt x="322" y="646"/>
                    </a:lnTo>
                    <a:lnTo>
                      <a:pt x="320" y="646"/>
                    </a:lnTo>
                    <a:lnTo>
                      <a:pt x="320" y="645"/>
                    </a:lnTo>
                    <a:lnTo>
                      <a:pt x="320" y="643"/>
                    </a:lnTo>
                    <a:lnTo>
                      <a:pt x="320" y="641"/>
                    </a:lnTo>
                    <a:lnTo>
                      <a:pt x="320" y="640"/>
                    </a:lnTo>
                    <a:lnTo>
                      <a:pt x="318" y="640"/>
                    </a:lnTo>
                    <a:lnTo>
                      <a:pt x="318" y="638"/>
                    </a:lnTo>
                    <a:lnTo>
                      <a:pt x="318" y="637"/>
                    </a:lnTo>
                    <a:lnTo>
                      <a:pt x="317" y="637"/>
                    </a:lnTo>
                    <a:lnTo>
                      <a:pt x="318" y="635"/>
                    </a:lnTo>
                    <a:lnTo>
                      <a:pt x="318" y="634"/>
                    </a:lnTo>
                    <a:lnTo>
                      <a:pt x="317" y="634"/>
                    </a:lnTo>
                    <a:lnTo>
                      <a:pt x="317" y="632"/>
                    </a:lnTo>
                    <a:lnTo>
                      <a:pt x="317" y="630"/>
                    </a:lnTo>
                  </a:path>
                </a:pathLst>
              </a:custGeom>
              <a:noFill/>
              <a:ln w="476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47" name="Freeform 45"/>
              <p:cNvSpPr>
                <a:spLocks/>
              </p:cNvSpPr>
              <p:nvPr/>
            </p:nvSpPr>
            <p:spPr bwMode="auto">
              <a:xfrm>
                <a:off x="2653" y="1014"/>
                <a:ext cx="632" cy="321"/>
              </a:xfrm>
              <a:custGeom>
                <a:avLst/>
                <a:gdLst>
                  <a:gd name="T0" fmla="*/ 594 w 632"/>
                  <a:gd name="T1" fmla="*/ 302 h 321"/>
                  <a:gd name="T2" fmla="*/ 594 w 632"/>
                  <a:gd name="T3" fmla="*/ 287 h 321"/>
                  <a:gd name="T4" fmla="*/ 613 w 632"/>
                  <a:gd name="T5" fmla="*/ 280 h 321"/>
                  <a:gd name="T6" fmla="*/ 618 w 632"/>
                  <a:gd name="T7" fmla="*/ 268 h 321"/>
                  <a:gd name="T8" fmla="*/ 622 w 632"/>
                  <a:gd name="T9" fmla="*/ 256 h 321"/>
                  <a:gd name="T10" fmla="*/ 626 w 632"/>
                  <a:gd name="T11" fmla="*/ 244 h 321"/>
                  <a:gd name="T12" fmla="*/ 632 w 632"/>
                  <a:gd name="T13" fmla="*/ 228 h 321"/>
                  <a:gd name="T14" fmla="*/ 616 w 632"/>
                  <a:gd name="T15" fmla="*/ 214 h 321"/>
                  <a:gd name="T16" fmla="*/ 605 w 632"/>
                  <a:gd name="T17" fmla="*/ 204 h 321"/>
                  <a:gd name="T18" fmla="*/ 607 w 632"/>
                  <a:gd name="T19" fmla="*/ 182 h 321"/>
                  <a:gd name="T20" fmla="*/ 587 w 632"/>
                  <a:gd name="T21" fmla="*/ 180 h 321"/>
                  <a:gd name="T22" fmla="*/ 572 w 632"/>
                  <a:gd name="T23" fmla="*/ 191 h 321"/>
                  <a:gd name="T24" fmla="*/ 556 w 632"/>
                  <a:gd name="T25" fmla="*/ 187 h 321"/>
                  <a:gd name="T26" fmla="*/ 540 w 632"/>
                  <a:gd name="T27" fmla="*/ 177 h 321"/>
                  <a:gd name="T28" fmla="*/ 540 w 632"/>
                  <a:gd name="T29" fmla="*/ 153 h 321"/>
                  <a:gd name="T30" fmla="*/ 549 w 632"/>
                  <a:gd name="T31" fmla="*/ 136 h 321"/>
                  <a:gd name="T32" fmla="*/ 537 w 632"/>
                  <a:gd name="T33" fmla="*/ 127 h 321"/>
                  <a:gd name="T34" fmla="*/ 526 w 632"/>
                  <a:gd name="T35" fmla="*/ 117 h 321"/>
                  <a:gd name="T36" fmla="*/ 507 w 632"/>
                  <a:gd name="T37" fmla="*/ 115 h 321"/>
                  <a:gd name="T38" fmla="*/ 485 w 632"/>
                  <a:gd name="T39" fmla="*/ 117 h 321"/>
                  <a:gd name="T40" fmla="*/ 461 w 632"/>
                  <a:gd name="T41" fmla="*/ 109 h 321"/>
                  <a:gd name="T42" fmla="*/ 461 w 632"/>
                  <a:gd name="T43" fmla="*/ 95 h 321"/>
                  <a:gd name="T44" fmla="*/ 459 w 632"/>
                  <a:gd name="T45" fmla="*/ 74 h 321"/>
                  <a:gd name="T46" fmla="*/ 451 w 632"/>
                  <a:gd name="T47" fmla="*/ 57 h 321"/>
                  <a:gd name="T48" fmla="*/ 440 w 632"/>
                  <a:gd name="T49" fmla="*/ 38 h 321"/>
                  <a:gd name="T50" fmla="*/ 420 w 632"/>
                  <a:gd name="T51" fmla="*/ 35 h 321"/>
                  <a:gd name="T52" fmla="*/ 401 w 632"/>
                  <a:gd name="T53" fmla="*/ 46 h 321"/>
                  <a:gd name="T54" fmla="*/ 380 w 632"/>
                  <a:gd name="T55" fmla="*/ 50 h 321"/>
                  <a:gd name="T56" fmla="*/ 391 w 632"/>
                  <a:gd name="T57" fmla="*/ 36 h 321"/>
                  <a:gd name="T58" fmla="*/ 405 w 632"/>
                  <a:gd name="T59" fmla="*/ 25 h 321"/>
                  <a:gd name="T60" fmla="*/ 385 w 632"/>
                  <a:gd name="T61" fmla="*/ 24 h 321"/>
                  <a:gd name="T62" fmla="*/ 377 w 632"/>
                  <a:gd name="T63" fmla="*/ 16 h 321"/>
                  <a:gd name="T64" fmla="*/ 366 w 632"/>
                  <a:gd name="T65" fmla="*/ 28 h 321"/>
                  <a:gd name="T66" fmla="*/ 356 w 632"/>
                  <a:gd name="T67" fmla="*/ 30 h 321"/>
                  <a:gd name="T68" fmla="*/ 345 w 632"/>
                  <a:gd name="T69" fmla="*/ 28 h 321"/>
                  <a:gd name="T70" fmla="*/ 344 w 632"/>
                  <a:gd name="T71" fmla="*/ 36 h 321"/>
                  <a:gd name="T72" fmla="*/ 332 w 632"/>
                  <a:gd name="T73" fmla="*/ 39 h 321"/>
                  <a:gd name="T74" fmla="*/ 323 w 632"/>
                  <a:gd name="T75" fmla="*/ 44 h 321"/>
                  <a:gd name="T76" fmla="*/ 310 w 632"/>
                  <a:gd name="T77" fmla="*/ 43 h 321"/>
                  <a:gd name="T78" fmla="*/ 290 w 632"/>
                  <a:gd name="T79" fmla="*/ 47 h 321"/>
                  <a:gd name="T80" fmla="*/ 274 w 632"/>
                  <a:gd name="T81" fmla="*/ 44 h 321"/>
                  <a:gd name="T82" fmla="*/ 260 w 632"/>
                  <a:gd name="T83" fmla="*/ 46 h 321"/>
                  <a:gd name="T84" fmla="*/ 245 w 632"/>
                  <a:gd name="T85" fmla="*/ 41 h 321"/>
                  <a:gd name="T86" fmla="*/ 233 w 632"/>
                  <a:gd name="T87" fmla="*/ 36 h 321"/>
                  <a:gd name="T88" fmla="*/ 210 w 632"/>
                  <a:gd name="T89" fmla="*/ 30 h 321"/>
                  <a:gd name="T90" fmla="*/ 191 w 632"/>
                  <a:gd name="T91" fmla="*/ 11 h 321"/>
                  <a:gd name="T92" fmla="*/ 177 w 632"/>
                  <a:gd name="T93" fmla="*/ 6 h 321"/>
                  <a:gd name="T94" fmla="*/ 171 w 632"/>
                  <a:gd name="T95" fmla="*/ 19 h 321"/>
                  <a:gd name="T96" fmla="*/ 161 w 632"/>
                  <a:gd name="T97" fmla="*/ 35 h 321"/>
                  <a:gd name="T98" fmla="*/ 155 w 632"/>
                  <a:gd name="T99" fmla="*/ 50 h 321"/>
                  <a:gd name="T100" fmla="*/ 142 w 632"/>
                  <a:gd name="T101" fmla="*/ 63 h 321"/>
                  <a:gd name="T102" fmla="*/ 123 w 632"/>
                  <a:gd name="T103" fmla="*/ 69 h 321"/>
                  <a:gd name="T104" fmla="*/ 104 w 632"/>
                  <a:gd name="T105" fmla="*/ 79 h 321"/>
                  <a:gd name="T106" fmla="*/ 85 w 632"/>
                  <a:gd name="T107" fmla="*/ 82 h 321"/>
                  <a:gd name="T108" fmla="*/ 70 w 632"/>
                  <a:gd name="T109" fmla="*/ 82 h 321"/>
                  <a:gd name="T110" fmla="*/ 49 w 632"/>
                  <a:gd name="T111" fmla="*/ 79 h 321"/>
                  <a:gd name="T112" fmla="*/ 39 w 632"/>
                  <a:gd name="T113" fmla="*/ 77 h 321"/>
                  <a:gd name="T114" fmla="*/ 38 w 632"/>
                  <a:gd name="T115" fmla="*/ 74 h 321"/>
                  <a:gd name="T116" fmla="*/ 24 w 632"/>
                  <a:gd name="T117" fmla="*/ 65 h 321"/>
                  <a:gd name="T118" fmla="*/ 8 w 632"/>
                  <a:gd name="T119" fmla="*/ 58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2" h="321">
                    <a:moveTo>
                      <a:pt x="602" y="321"/>
                    </a:moveTo>
                    <a:lnTo>
                      <a:pt x="602" y="320"/>
                    </a:lnTo>
                    <a:lnTo>
                      <a:pt x="600" y="320"/>
                    </a:lnTo>
                    <a:lnTo>
                      <a:pt x="600" y="318"/>
                    </a:lnTo>
                    <a:lnTo>
                      <a:pt x="599" y="318"/>
                    </a:lnTo>
                    <a:lnTo>
                      <a:pt x="599" y="317"/>
                    </a:lnTo>
                    <a:lnTo>
                      <a:pt x="599" y="315"/>
                    </a:lnTo>
                    <a:lnTo>
                      <a:pt x="599" y="313"/>
                    </a:lnTo>
                    <a:lnTo>
                      <a:pt x="599" y="312"/>
                    </a:lnTo>
                    <a:lnTo>
                      <a:pt x="597" y="312"/>
                    </a:lnTo>
                    <a:lnTo>
                      <a:pt x="597" y="310"/>
                    </a:lnTo>
                    <a:lnTo>
                      <a:pt x="597" y="309"/>
                    </a:lnTo>
                    <a:lnTo>
                      <a:pt x="597" y="307"/>
                    </a:lnTo>
                    <a:lnTo>
                      <a:pt x="595" y="307"/>
                    </a:lnTo>
                    <a:lnTo>
                      <a:pt x="595" y="306"/>
                    </a:lnTo>
                    <a:lnTo>
                      <a:pt x="594" y="304"/>
                    </a:lnTo>
                    <a:lnTo>
                      <a:pt x="594" y="302"/>
                    </a:lnTo>
                    <a:lnTo>
                      <a:pt x="592" y="302"/>
                    </a:lnTo>
                    <a:lnTo>
                      <a:pt x="592" y="301"/>
                    </a:lnTo>
                    <a:lnTo>
                      <a:pt x="591" y="299"/>
                    </a:lnTo>
                    <a:lnTo>
                      <a:pt x="591" y="298"/>
                    </a:lnTo>
                    <a:lnTo>
                      <a:pt x="591" y="296"/>
                    </a:lnTo>
                    <a:lnTo>
                      <a:pt x="592" y="296"/>
                    </a:lnTo>
                    <a:lnTo>
                      <a:pt x="592" y="294"/>
                    </a:lnTo>
                    <a:lnTo>
                      <a:pt x="591" y="294"/>
                    </a:lnTo>
                    <a:lnTo>
                      <a:pt x="591" y="293"/>
                    </a:lnTo>
                    <a:lnTo>
                      <a:pt x="589" y="293"/>
                    </a:lnTo>
                    <a:lnTo>
                      <a:pt x="589" y="291"/>
                    </a:lnTo>
                    <a:lnTo>
                      <a:pt x="589" y="290"/>
                    </a:lnTo>
                    <a:lnTo>
                      <a:pt x="589" y="288"/>
                    </a:lnTo>
                    <a:lnTo>
                      <a:pt x="591" y="288"/>
                    </a:lnTo>
                    <a:lnTo>
                      <a:pt x="591" y="287"/>
                    </a:lnTo>
                    <a:lnTo>
                      <a:pt x="592" y="287"/>
                    </a:lnTo>
                    <a:lnTo>
                      <a:pt x="594" y="287"/>
                    </a:lnTo>
                    <a:lnTo>
                      <a:pt x="595" y="287"/>
                    </a:lnTo>
                    <a:lnTo>
                      <a:pt x="595" y="285"/>
                    </a:lnTo>
                    <a:lnTo>
                      <a:pt x="597" y="285"/>
                    </a:lnTo>
                    <a:lnTo>
                      <a:pt x="599" y="285"/>
                    </a:lnTo>
                    <a:lnTo>
                      <a:pt x="600" y="285"/>
                    </a:lnTo>
                    <a:lnTo>
                      <a:pt x="602" y="285"/>
                    </a:lnTo>
                    <a:lnTo>
                      <a:pt x="602" y="283"/>
                    </a:lnTo>
                    <a:lnTo>
                      <a:pt x="603" y="283"/>
                    </a:lnTo>
                    <a:lnTo>
                      <a:pt x="605" y="283"/>
                    </a:lnTo>
                    <a:lnTo>
                      <a:pt x="607" y="283"/>
                    </a:lnTo>
                    <a:lnTo>
                      <a:pt x="607" y="285"/>
                    </a:lnTo>
                    <a:lnTo>
                      <a:pt x="608" y="285"/>
                    </a:lnTo>
                    <a:lnTo>
                      <a:pt x="608" y="283"/>
                    </a:lnTo>
                    <a:lnTo>
                      <a:pt x="610" y="283"/>
                    </a:lnTo>
                    <a:lnTo>
                      <a:pt x="611" y="282"/>
                    </a:lnTo>
                    <a:lnTo>
                      <a:pt x="613" y="282"/>
                    </a:lnTo>
                    <a:lnTo>
                      <a:pt x="613" y="280"/>
                    </a:lnTo>
                    <a:lnTo>
                      <a:pt x="614" y="280"/>
                    </a:lnTo>
                    <a:lnTo>
                      <a:pt x="616" y="280"/>
                    </a:lnTo>
                    <a:lnTo>
                      <a:pt x="618" y="280"/>
                    </a:lnTo>
                    <a:lnTo>
                      <a:pt x="618" y="279"/>
                    </a:lnTo>
                    <a:lnTo>
                      <a:pt x="619" y="279"/>
                    </a:lnTo>
                    <a:lnTo>
                      <a:pt x="619" y="277"/>
                    </a:lnTo>
                    <a:lnTo>
                      <a:pt x="621" y="277"/>
                    </a:lnTo>
                    <a:lnTo>
                      <a:pt x="621" y="275"/>
                    </a:lnTo>
                    <a:lnTo>
                      <a:pt x="622" y="275"/>
                    </a:lnTo>
                    <a:lnTo>
                      <a:pt x="624" y="274"/>
                    </a:lnTo>
                    <a:lnTo>
                      <a:pt x="622" y="274"/>
                    </a:lnTo>
                    <a:lnTo>
                      <a:pt x="622" y="272"/>
                    </a:lnTo>
                    <a:lnTo>
                      <a:pt x="621" y="272"/>
                    </a:lnTo>
                    <a:lnTo>
                      <a:pt x="621" y="271"/>
                    </a:lnTo>
                    <a:lnTo>
                      <a:pt x="619" y="271"/>
                    </a:lnTo>
                    <a:lnTo>
                      <a:pt x="618" y="269"/>
                    </a:lnTo>
                    <a:lnTo>
                      <a:pt x="618" y="268"/>
                    </a:lnTo>
                    <a:lnTo>
                      <a:pt x="616" y="268"/>
                    </a:lnTo>
                    <a:lnTo>
                      <a:pt x="616" y="266"/>
                    </a:lnTo>
                    <a:lnTo>
                      <a:pt x="618" y="264"/>
                    </a:lnTo>
                    <a:lnTo>
                      <a:pt x="619" y="264"/>
                    </a:lnTo>
                    <a:lnTo>
                      <a:pt x="621" y="264"/>
                    </a:lnTo>
                    <a:lnTo>
                      <a:pt x="621" y="266"/>
                    </a:lnTo>
                    <a:lnTo>
                      <a:pt x="622" y="266"/>
                    </a:lnTo>
                    <a:lnTo>
                      <a:pt x="624" y="266"/>
                    </a:lnTo>
                    <a:lnTo>
                      <a:pt x="624" y="264"/>
                    </a:lnTo>
                    <a:lnTo>
                      <a:pt x="624" y="263"/>
                    </a:lnTo>
                    <a:lnTo>
                      <a:pt x="624" y="261"/>
                    </a:lnTo>
                    <a:lnTo>
                      <a:pt x="626" y="261"/>
                    </a:lnTo>
                    <a:lnTo>
                      <a:pt x="626" y="260"/>
                    </a:lnTo>
                    <a:lnTo>
                      <a:pt x="626" y="258"/>
                    </a:lnTo>
                    <a:lnTo>
                      <a:pt x="624" y="258"/>
                    </a:lnTo>
                    <a:lnTo>
                      <a:pt x="624" y="256"/>
                    </a:lnTo>
                    <a:lnTo>
                      <a:pt x="622" y="256"/>
                    </a:lnTo>
                    <a:lnTo>
                      <a:pt x="621" y="256"/>
                    </a:lnTo>
                    <a:lnTo>
                      <a:pt x="621" y="255"/>
                    </a:lnTo>
                    <a:lnTo>
                      <a:pt x="619" y="255"/>
                    </a:lnTo>
                    <a:lnTo>
                      <a:pt x="618" y="255"/>
                    </a:lnTo>
                    <a:lnTo>
                      <a:pt x="616" y="255"/>
                    </a:lnTo>
                    <a:lnTo>
                      <a:pt x="616" y="253"/>
                    </a:lnTo>
                    <a:lnTo>
                      <a:pt x="616" y="252"/>
                    </a:lnTo>
                    <a:lnTo>
                      <a:pt x="618" y="252"/>
                    </a:lnTo>
                    <a:lnTo>
                      <a:pt x="618" y="250"/>
                    </a:lnTo>
                    <a:lnTo>
                      <a:pt x="618" y="249"/>
                    </a:lnTo>
                    <a:lnTo>
                      <a:pt x="619" y="249"/>
                    </a:lnTo>
                    <a:lnTo>
                      <a:pt x="619" y="247"/>
                    </a:lnTo>
                    <a:lnTo>
                      <a:pt x="621" y="247"/>
                    </a:lnTo>
                    <a:lnTo>
                      <a:pt x="622" y="245"/>
                    </a:lnTo>
                    <a:lnTo>
                      <a:pt x="624" y="245"/>
                    </a:lnTo>
                    <a:lnTo>
                      <a:pt x="626" y="245"/>
                    </a:lnTo>
                    <a:lnTo>
                      <a:pt x="626" y="244"/>
                    </a:lnTo>
                    <a:lnTo>
                      <a:pt x="627" y="244"/>
                    </a:lnTo>
                    <a:lnTo>
                      <a:pt x="627" y="242"/>
                    </a:lnTo>
                    <a:lnTo>
                      <a:pt x="627" y="241"/>
                    </a:lnTo>
                    <a:lnTo>
                      <a:pt x="626" y="241"/>
                    </a:lnTo>
                    <a:lnTo>
                      <a:pt x="624" y="239"/>
                    </a:lnTo>
                    <a:lnTo>
                      <a:pt x="621" y="237"/>
                    </a:lnTo>
                    <a:lnTo>
                      <a:pt x="619" y="237"/>
                    </a:lnTo>
                    <a:lnTo>
                      <a:pt x="619" y="236"/>
                    </a:lnTo>
                    <a:lnTo>
                      <a:pt x="621" y="234"/>
                    </a:lnTo>
                    <a:lnTo>
                      <a:pt x="622" y="233"/>
                    </a:lnTo>
                    <a:lnTo>
                      <a:pt x="624" y="233"/>
                    </a:lnTo>
                    <a:lnTo>
                      <a:pt x="626" y="231"/>
                    </a:lnTo>
                    <a:lnTo>
                      <a:pt x="627" y="231"/>
                    </a:lnTo>
                    <a:lnTo>
                      <a:pt x="629" y="229"/>
                    </a:lnTo>
                    <a:lnTo>
                      <a:pt x="629" y="228"/>
                    </a:lnTo>
                    <a:lnTo>
                      <a:pt x="630" y="228"/>
                    </a:lnTo>
                    <a:lnTo>
                      <a:pt x="632" y="228"/>
                    </a:lnTo>
                    <a:lnTo>
                      <a:pt x="632" y="226"/>
                    </a:lnTo>
                    <a:lnTo>
                      <a:pt x="630" y="226"/>
                    </a:lnTo>
                    <a:lnTo>
                      <a:pt x="629" y="226"/>
                    </a:lnTo>
                    <a:lnTo>
                      <a:pt x="629" y="225"/>
                    </a:lnTo>
                    <a:lnTo>
                      <a:pt x="627" y="223"/>
                    </a:lnTo>
                    <a:lnTo>
                      <a:pt x="624" y="223"/>
                    </a:lnTo>
                    <a:lnTo>
                      <a:pt x="622" y="223"/>
                    </a:lnTo>
                    <a:lnTo>
                      <a:pt x="622" y="225"/>
                    </a:lnTo>
                    <a:lnTo>
                      <a:pt x="621" y="225"/>
                    </a:lnTo>
                    <a:lnTo>
                      <a:pt x="619" y="223"/>
                    </a:lnTo>
                    <a:lnTo>
                      <a:pt x="618" y="222"/>
                    </a:lnTo>
                    <a:lnTo>
                      <a:pt x="618" y="220"/>
                    </a:lnTo>
                    <a:lnTo>
                      <a:pt x="618" y="218"/>
                    </a:lnTo>
                    <a:lnTo>
                      <a:pt x="616" y="218"/>
                    </a:lnTo>
                    <a:lnTo>
                      <a:pt x="616" y="217"/>
                    </a:lnTo>
                    <a:lnTo>
                      <a:pt x="616" y="215"/>
                    </a:lnTo>
                    <a:lnTo>
                      <a:pt x="616" y="214"/>
                    </a:lnTo>
                    <a:lnTo>
                      <a:pt x="614" y="214"/>
                    </a:lnTo>
                    <a:lnTo>
                      <a:pt x="613" y="214"/>
                    </a:lnTo>
                    <a:lnTo>
                      <a:pt x="613" y="212"/>
                    </a:lnTo>
                    <a:lnTo>
                      <a:pt x="614" y="212"/>
                    </a:lnTo>
                    <a:lnTo>
                      <a:pt x="614" y="210"/>
                    </a:lnTo>
                    <a:lnTo>
                      <a:pt x="614" y="209"/>
                    </a:lnTo>
                    <a:lnTo>
                      <a:pt x="614" y="207"/>
                    </a:lnTo>
                    <a:lnTo>
                      <a:pt x="613" y="207"/>
                    </a:lnTo>
                    <a:lnTo>
                      <a:pt x="613" y="206"/>
                    </a:lnTo>
                    <a:lnTo>
                      <a:pt x="611" y="206"/>
                    </a:lnTo>
                    <a:lnTo>
                      <a:pt x="611" y="204"/>
                    </a:lnTo>
                    <a:lnTo>
                      <a:pt x="610" y="204"/>
                    </a:lnTo>
                    <a:lnTo>
                      <a:pt x="608" y="204"/>
                    </a:lnTo>
                    <a:lnTo>
                      <a:pt x="607" y="204"/>
                    </a:lnTo>
                    <a:lnTo>
                      <a:pt x="607" y="206"/>
                    </a:lnTo>
                    <a:lnTo>
                      <a:pt x="605" y="206"/>
                    </a:lnTo>
                    <a:lnTo>
                      <a:pt x="605" y="204"/>
                    </a:lnTo>
                    <a:lnTo>
                      <a:pt x="607" y="204"/>
                    </a:lnTo>
                    <a:lnTo>
                      <a:pt x="607" y="203"/>
                    </a:lnTo>
                    <a:lnTo>
                      <a:pt x="607" y="201"/>
                    </a:lnTo>
                    <a:lnTo>
                      <a:pt x="607" y="199"/>
                    </a:lnTo>
                    <a:lnTo>
                      <a:pt x="607" y="198"/>
                    </a:lnTo>
                    <a:lnTo>
                      <a:pt x="607" y="196"/>
                    </a:lnTo>
                    <a:lnTo>
                      <a:pt x="607" y="195"/>
                    </a:lnTo>
                    <a:lnTo>
                      <a:pt x="607" y="193"/>
                    </a:lnTo>
                    <a:lnTo>
                      <a:pt x="607" y="191"/>
                    </a:lnTo>
                    <a:lnTo>
                      <a:pt x="605" y="191"/>
                    </a:lnTo>
                    <a:lnTo>
                      <a:pt x="605" y="190"/>
                    </a:lnTo>
                    <a:lnTo>
                      <a:pt x="605" y="188"/>
                    </a:lnTo>
                    <a:lnTo>
                      <a:pt x="607" y="188"/>
                    </a:lnTo>
                    <a:lnTo>
                      <a:pt x="607" y="187"/>
                    </a:lnTo>
                    <a:lnTo>
                      <a:pt x="607" y="185"/>
                    </a:lnTo>
                    <a:lnTo>
                      <a:pt x="607" y="184"/>
                    </a:lnTo>
                    <a:lnTo>
                      <a:pt x="607" y="182"/>
                    </a:lnTo>
                    <a:lnTo>
                      <a:pt x="605" y="182"/>
                    </a:lnTo>
                    <a:lnTo>
                      <a:pt x="603" y="182"/>
                    </a:lnTo>
                    <a:lnTo>
                      <a:pt x="603" y="180"/>
                    </a:lnTo>
                    <a:lnTo>
                      <a:pt x="602" y="180"/>
                    </a:lnTo>
                    <a:lnTo>
                      <a:pt x="602" y="179"/>
                    </a:lnTo>
                    <a:lnTo>
                      <a:pt x="600" y="179"/>
                    </a:lnTo>
                    <a:lnTo>
                      <a:pt x="599" y="179"/>
                    </a:lnTo>
                    <a:lnTo>
                      <a:pt x="599" y="180"/>
                    </a:lnTo>
                    <a:lnTo>
                      <a:pt x="597" y="180"/>
                    </a:lnTo>
                    <a:lnTo>
                      <a:pt x="595" y="180"/>
                    </a:lnTo>
                    <a:lnTo>
                      <a:pt x="594" y="180"/>
                    </a:lnTo>
                    <a:lnTo>
                      <a:pt x="594" y="179"/>
                    </a:lnTo>
                    <a:lnTo>
                      <a:pt x="592" y="179"/>
                    </a:lnTo>
                    <a:lnTo>
                      <a:pt x="591" y="179"/>
                    </a:lnTo>
                    <a:lnTo>
                      <a:pt x="589" y="179"/>
                    </a:lnTo>
                    <a:lnTo>
                      <a:pt x="589" y="180"/>
                    </a:lnTo>
                    <a:lnTo>
                      <a:pt x="587" y="180"/>
                    </a:lnTo>
                    <a:lnTo>
                      <a:pt x="587" y="182"/>
                    </a:lnTo>
                    <a:lnTo>
                      <a:pt x="586" y="182"/>
                    </a:lnTo>
                    <a:lnTo>
                      <a:pt x="584" y="182"/>
                    </a:lnTo>
                    <a:lnTo>
                      <a:pt x="583" y="182"/>
                    </a:lnTo>
                    <a:lnTo>
                      <a:pt x="581" y="182"/>
                    </a:lnTo>
                    <a:lnTo>
                      <a:pt x="580" y="182"/>
                    </a:lnTo>
                    <a:lnTo>
                      <a:pt x="580" y="184"/>
                    </a:lnTo>
                    <a:lnTo>
                      <a:pt x="580" y="185"/>
                    </a:lnTo>
                    <a:lnTo>
                      <a:pt x="578" y="185"/>
                    </a:lnTo>
                    <a:lnTo>
                      <a:pt x="576" y="185"/>
                    </a:lnTo>
                    <a:lnTo>
                      <a:pt x="575" y="185"/>
                    </a:lnTo>
                    <a:lnTo>
                      <a:pt x="575" y="187"/>
                    </a:lnTo>
                    <a:lnTo>
                      <a:pt x="573" y="187"/>
                    </a:lnTo>
                    <a:lnTo>
                      <a:pt x="573" y="188"/>
                    </a:lnTo>
                    <a:lnTo>
                      <a:pt x="573" y="190"/>
                    </a:lnTo>
                    <a:lnTo>
                      <a:pt x="572" y="190"/>
                    </a:lnTo>
                    <a:lnTo>
                      <a:pt x="572" y="191"/>
                    </a:lnTo>
                    <a:lnTo>
                      <a:pt x="570" y="191"/>
                    </a:lnTo>
                    <a:lnTo>
                      <a:pt x="570" y="193"/>
                    </a:lnTo>
                    <a:lnTo>
                      <a:pt x="568" y="193"/>
                    </a:lnTo>
                    <a:lnTo>
                      <a:pt x="567" y="193"/>
                    </a:lnTo>
                    <a:lnTo>
                      <a:pt x="565" y="193"/>
                    </a:lnTo>
                    <a:lnTo>
                      <a:pt x="564" y="193"/>
                    </a:lnTo>
                    <a:lnTo>
                      <a:pt x="564" y="195"/>
                    </a:lnTo>
                    <a:lnTo>
                      <a:pt x="562" y="195"/>
                    </a:lnTo>
                    <a:lnTo>
                      <a:pt x="562" y="193"/>
                    </a:lnTo>
                    <a:lnTo>
                      <a:pt x="561" y="193"/>
                    </a:lnTo>
                    <a:lnTo>
                      <a:pt x="561" y="191"/>
                    </a:lnTo>
                    <a:lnTo>
                      <a:pt x="559" y="191"/>
                    </a:lnTo>
                    <a:lnTo>
                      <a:pt x="559" y="190"/>
                    </a:lnTo>
                    <a:lnTo>
                      <a:pt x="559" y="188"/>
                    </a:lnTo>
                    <a:lnTo>
                      <a:pt x="557" y="188"/>
                    </a:lnTo>
                    <a:lnTo>
                      <a:pt x="557" y="187"/>
                    </a:lnTo>
                    <a:lnTo>
                      <a:pt x="556" y="187"/>
                    </a:lnTo>
                    <a:lnTo>
                      <a:pt x="554" y="187"/>
                    </a:lnTo>
                    <a:lnTo>
                      <a:pt x="554" y="185"/>
                    </a:lnTo>
                    <a:lnTo>
                      <a:pt x="553" y="185"/>
                    </a:lnTo>
                    <a:lnTo>
                      <a:pt x="551" y="185"/>
                    </a:lnTo>
                    <a:lnTo>
                      <a:pt x="549" y="184"/>
                    </a:lnTo>
                    <a:lnTo>
                      <a:pt x="548" y="184"/>
                    </a:lnTo>
                    <a:lnTo>
                      <a:pt x="548" y="182"/>
                    </a:lnTo>
                    <a:lnTo>
                      <a:pt x="546" y="182"/>
                    </a:lnTo>
                    <a:lnTo>
                      <a:pt x="546" y="184"/>
                    </a:lnTo>
                    <a:lnTo>
                      <a:pt x="545" y="184"/>
                    </a:lnTo>
                    <a:lnTo>
                      <a:pt x="543" y="184"/>
                    </a:lnTo>
                    <a:lnTo>
                      <a:pt x="543" y="182"/>
                    </a:lnTo>
                    <a:lnTo>
                      <a:pt x="542" y="182"/>
                    </a:lnTo>
                    <a:lnTo>
                      <a:pt x="540" y="180"/>
                    </a:lnTo>
                    <a:lnTo>
                      <a:pt x="538" y="179"/>
                    </a:lnTo>
                    <a:lnTo>
                      <a:pt x="540" y="179"/>
                    </a:lnTo>
                    <a:lnTo>
                      <a:pt x="540" y="177"/>
                    </a:lnTo>
                    <a:lnTo>
                      <a:pt x="540" y="176"/>
                    </a:lnTo>
                    <a:lnTo>
                      <a:pt x="540" y="174"/>
                    </a:lnTo>
                    <a:lnTo>
                      <a:pt x="538" y="172"/>
                    </a:lnTo>
                    <a:lnTo>
                      <a:pt x="538" y="171"/>
                    </a:lnTo>
                    <a:lnTo>
                      <a:pt x="538" y="169"/>
                    </a:lnTo>
                    <a:lnTo>
                      <a:pt x="538" y="168"/>
                    </a:lnTo>
                    <a:lnTo>
                      <a:pt x="538" y="166"/>
                    </a:lnTo>
                    <a:lnTo>
                      <a:pt x="538" y="165"/>
                    </a:lnTo>
                    <a:lnTo>
                      <a:pt x="537" y="163"/>
                    </a:lnTo>
                    <a:lnTo>
                      <a:pt x="538" y="163"/>
                    </a:lnTo>
                    <a:lnTo>
                      <a:pt x="538" y="161"/>
                    </a:lnTo>
                    <a:lnTo>
                      <a:pt x="538" y="160"/>
                    </a:lnTo>
                    <a:lnTo>
                      <a:pt x="538" y="158"/>
                    </a:lnTo>
                    <a:lnTo>
                      <a:pt x="538" y="157"/>
                    </a:lnTo>
                    <a:lnTo>
                      <a:pt x="538" y="155"/>
                    </a:lnTo>
                    <a:lnTo>
                      <a:pt x="538" y="153"/>
                    </a:lnTo>
                    <a:lnTo>
                      <a:pt x="540" y="153"/>
                    </a:lnTo>
                    <a:lnTo>
                      <a:pt x="540" y="152"/>
                    </a:lnTo>
                    <a:lnTo>
                      <a:pt x="542" y="152"/>
                    </a:lnTo>
                    <a:lnTo>
                      <a:pt x="542" y="150"/>
                    </a:lnTo>
                    <a:lnTo>
                      <a:pt x="543" y="150"/>
                    </a:lnTo>
                    <a:lnTo>
                      <a:pt x="543" y="149"/>
                    </a:lnTo>
                    <a:lnTo>
                      <a:pt x="545" y="149"/>
                    </a:lnTo>
                    <a:lnTo>
                      <a:pt x="546" y="149"/>
                    </a:lnTo>
                    <a:lnTo>
                      <a:pt x="546" y="147"/>
                    </a:lnTo>
                    <a:lnTo>
                      <a:pt x="548" y="147"/>
                    </a:lnTo>
                    <a:lnTo>
                      <a:pt x="548" y="146"/>
                    </a:lnTo>
                    <a:lnTo>
                      <a:pt x="549" y="146"/>
                    </a:lnTo>
                    <a:lnTo>
                      <a:pt x="549" y="144"/>
                    </a:lnTo>
                    <a:lnTo>
                      <a:pt x="549" y="142"/>
                    </a:lnTo>
                    <a:lnTo>
                      <a:pt x="549" y="141"/>
                    </a:lnTo>
                    <a:lnTo>
                      <a:pt x="549" y="139"/>
                    </a:lnTo>
                    <a:lnTo>
                      <a:pt x="549" y="138"/>
                    </a:lnTo>
                    <a:lnTo>
                      <a:pt x="549" y="136"/>
                    </a:lnTo>
                    <a:lnTo>
                      <a:pt x="549" y="134"/>
                    </a:lnTo>
                    <a:lnTo>
                      <a:pt x="551" y="134"/>
                    </a:lnTo>
                    <a:lnTo>
                      <a:pt x="551" y="133"/>
                    </a:lnTo>
                    <a:lnTo>
                      <a:pt x="549" y="133"/>
                    </a:lnTo>
                    <a:lnTo>
                      <a:pt x="548" y="133"/>
                    </a:lnTo>
                    <a:lnTo>
                      <a:pt x="546" y="133"/>
                    </a:lnTo>
                    <a:lnTo>
                      <a:pt x="545" y="134"/>
                    </a:lnTo>
                    <a:lnTo>
                      <a:pt x="543" y="134"/>
                    </a:lnTo>
                    <a:lnTo>
                      <a:pt x="543" y="133"/>
                    </a:lnTo>
                    <a:lnTo>
                      <a:pt x="542" y="133"/>
                    </a:lnTo>
                    <a:lnTo>
                      <a:pt x="542" y="131"/>
                    </a:lnTo>
                    <a:lnTo>
                      <a:pt x="542" y="130"/>
                    </a:lnTo>
                    <a:lnTo>
                      <a:pt x="540" y="130"/>
                    </a:lnTo>
                    <a:lnTo>
                      <a:pt x="540" y="128"/>
                    </a:lnTo>
                    <a:lnTo>
                      <a:pt x="540" y="127"/>
                    </a:lnTo>
                    <a:lnTo>
                      <a:pt x="538" y="127"/>
                    </a:lnTo>
                    <a:lnTo>
                      <a:pt x="537" y="127"/>
                    </a:lnTo>
                    <a:lnTo>
                      <a:pt x="535" y="127"/>
                    </a:lnTo>
                    <a:lnTo>
                      <a:pt x="534" y="127"/>
                    </a:lnTo>
                    <a:lnTo>
                      <a:pt x="532" y="127"/>
                    </a:lnTo>
                    <a:lnTo>
                      <a:pt x="530" y="127"/>
                    </a:lnTo>
                    <a:lnTo>
                      <a:pt x="529" y="127"/>
                    </a:lnTo>
                    <a:lnTo>
                      <a:pt x="527" y="127"/>
                    </a:lnTo>
                    <a:lnTo>
                      <a:pt x="526" y="127"/>
                    </a:lnTo>
                    <a:lnTo>
                      <a:pt x="526" y="125"/>
                    </a:lnTo>
                    <a:lnTo>
                      <a:pt x="524" y="125"/>
                    </a:lnTo>
                    <a:lnTo>
                      <a:pt x="524" y="123"/>
                    </a:lnTo>
                    <a:lnTo>
                      <a:pt x="526" y="123"/>
                    </a:lnTo>
                    <a:lnTo>
                      <a:pt x="526" y="122"/>
                    </a:lnTo>
                    <a:lnTo>
                      <a:pt x="524" y="122"/>
                    </a:lnTo>
                    <a:lnTo>
                      <a:pt x="524" y="120"/>
                    </a:lnTo>
                    <a:lnTo>
                      <a:pt x="524" y="119"/>
                    </a:lnTo>
                    <a:lnTo>
                      <a:pt x="526" y="119"/>
                    </a:lnTo>
                    <a:lnTo>
                      <a:pt x="526" y="117"/>
                    </a:lnTo>
                    <a:lnTo>
                      <a:pt x="524" y="115"/>
                    </a:lnTo>
                    <a:lnTo>
                      <a:pt x="524" y="114"/>
                    </a:lnTo>
                    <a:lnTo>
                      <a:pt x="524" y="112"/>
                    </a:lnTo>
                    <a:lnTo>
                      <a:pt x="523" y="111"/>
                    </a:lnTo>
                    <a:lnTo>
                      <a:pt x="523" y="109"/>
                    </a:lnTo>
                    <a:lnTo>
                      <a:pt x="521" y="109"/>
                    </a:lnTo>
                    <a:lnTo>
                      <a:pt x="519" y="111"/>
                    </a:lnTo>
                    <a:lnTo>
                      <a:pt x="518" y="111"/>
                    </a:lnTo>
                    <a:lnTo>
                      <a:pt x="518" y="112"/>
                    </a:lnTo>
                    <a:lnTo>
                      <a:pt x="516" y="112"/>
                    </a:lnTo>
                    <a:lnTo>
                      <a:pt x="515" y="114"/>
                    </a:lnTo>
                    <a:lnTo>
                      <a:pt x="513" y="114"/>
                    </a:lnTo>
                    <a:lnTo>
                      <a:pt x="511" y="114"/>
                    </a:lnTo>
                    <a:lnTo>
                      <a:pt x="510" y="114"/>
                    </a:lnTo>
                    <a:lnTo>
                      <a:pt x="508" y="114"/>
                    </a:lnTo>
                    <a:lnTo>
                      <a:pt x="507" y="114"/>
                    </a:lnTo>
                    <a:lnTo>
                      <a:pt x="507" y="115"/>
                    </a:lnTo>
                    <a:lnTo>
                      <a:pt x="507" y="117"/>
                    </a:lnTo>
                    <a:lnTo>
                      <a:pt x="505" y="117"/>
                    </a:lnTo>
                    <a:lnTo>
                      <a:pt x="504" y="117"/>
                    </a:lnTo>
                    <a:lnTo>
                      <a:pt x="502" y="117"/>
                    </a:lnTo>
                    <a:lnTo>
                      <a:pt x="500" y="117"/>
                    </a:lnTo>
                    <a:lnTo>
                      <a:pt x="499" y="117"/>
                    </a:lnTo>
                    <a:lnTo>
                      <a:pt x="497" y="117"/>
                    </a:lnTo>
                    <a:lnTo>
                      <a:pt x="496" y="117"/>
                    </a:lnTo>
                    <a:lnTo>
                      <a:pt x="494" y="119"/>
                    </a:lnTo>
                    <a:lnTo>
                      <a:pt x="491" y="119"/>
                    </a:lnTo>
                    <a:lnTo>
                      <a:pt x="491" y="120"/>
                    </a:lnTo>
                    <a:lnTo>
                      <a:pt x="489" y="119"/>
                    </a:lnTo>
                    <a:lnTo>
                      <a:pt x="488" y="117"/>
                    </a:lnTo>
                    <a:lnTo>
                      <a:pt x="486" y="117"/>
                    </a:lnTo>
                    <a:lnTo>
                      <a:pt x="486" y="119"/>
                    </a:lnTo>
                    <a:lnTo>
                      <a:pt x="485" y="119"/>
                    </a:lnTo>
                    <a:lnTo>
                      <a:pt x="485" y="117"/>
                    </a:lnTo>
                    <a:lnTo>
                      <a:pt x="483" y="117"/>
                    </a:lnTo>
                    <a:lnTo>
                      <a:pt x="481" y="115"/>
                    </a:lnTo>
                    <a:lnTo>
                      <a:pt x="480" y="114"/>
                    </a:lnTo>
                    <a:lnTo>
                      <a:pt x="478" y="114"/>
                    </a:lnTo>
                    <a:lnTo>
                      <a:pt x="477" y="114"/>
                    </a:lnTo>
                    <a:lnTo>
                      <a:pt x="475" y="114"/>
                    </a:lnTo>
                    <a:lnTo>
                      <a:pt x="473" y="114"/>
                    </a:lnTo>
                    <a:lnTo>
                      <a:pt x="472" y="114"/>
                    </a:lnTo>
                    <a:lnTo>
                      <a:pt x="472" y="112"/>
                    </a:lnTo>
                    <a:lnTo>
                      <a:pt x="470" y="112"/>
                    </a:lnTo>
                    <a:lnTo>
                      <a:pt x="469" y="112"/>
                    </a:lnTo>
                    <a:lnTo>
                      <a:pt x="467" y="112"/>
                    </a:lnTo>
                    <a:lnTo>
                      <a:pt x="467" y="111"/>
                    </a:lnTo>
                    <a:lnTo>
                      <a:pt x="466" y="111"/>
                    </a:lnTo>
                    <a:lnTo>
                      <a:pt x="464" y="111"/>
                    </a:lnTo>
                    <a:lnTo>
                      <a:pt x="462" y="109"/>
                    </a:lnTo>
                    <a:lnTo>
                      <a:pt x="461" y="109"/>
                    </a:lnTo>
                    <a:lnTo>
                      <a:pt x="461" y="111"/>
                    </a:lnTo>
                    <a:lnTo>
                      <a:pt x="459" y="111"/>
                    </a:lnTo>
                    <a:lnTo>
                      <a:pt x="459" y="109"/>
                    </a:lnTo>
                    <a:lnTo>
                      <a:pt x="459" y="107"/>
                    </a:lnTo>
                    <a:lnTo>
                      <a:pt x="459" y="106"/>
                    </a:lnTo>
                    <a:lnTo>
                      <a:pt x="459" y="104"/>
                    </a:lnTo>
                    <a:lnTo>
                      <a:pt x="461" y="103"/>
                    </a:lnTo>
                    <a:lnTo>
                      <a:pt x="462" y="101"/>
                    </a:lnTo>
                    <a:lnTo>
                      <a:pt x="462" y="100"/>
                    </a:lnTo>
                    <a:lnTo>
                      <a:pt x="461" y="100"/>
                    </a:lnTo>
                    <a:lnTo>
                      <a:pt x="459" y="98"/>
                    </a:lnTo>
                    <a:lnTo>
                      <a:pt x="461" y="98"/>
                    </a:lnTo>
                    <a:lnTo>
                      <a:pt x="461" y="96"/>
                    </a:lnTo>
                    <a:lnTo>
                      <a:pt x="461" y="98"/>
                    </a:lnTo>
                    <a:lnTo>
                      <a:pt x="462" y="96"/>
                    </a:lnTo>
                    <a:lnTo>
                      <a:pt x="462" y="95"/>
                    </a:lnTo>
                    <a:lnTo>
                      <a:pt x="461" y="95"/>
                    </a:lnTo>
                    <a:lnTo>
                      <a:pt x="461" y="93"/>
                    </a:lnTo>
                    <a:lnTo>
                      <a:pt x="461" y="92"/>
                    </a:lnTo>
                    <a:lnTo>
                      <a:pt x="461" y="90"/>
                    </a:lnTo>
                    <a:lnTo>
                      <a:pt x="462" y="88"/>
                    </a:lnTo>
                    <a:lnTo>
                      <a:pt x="462" y="87"/>
                    </a:lnTo>
                    <a:lnTo>
                      <a:pt x="461" y="85"/>
                    </a:lnTo>
                    <a:lnTo>
                      <a:pt x="459" y="84"/>
                    </a:lnTo>
                    <a:lnTo>
                      <a:pt x="461" y="84"/>
                    </a:lnTo>
                    <a:lnTo>
                      <a:pt x="461" y="82"/>
                    </a:lnTo>
                    <a:lnTo>
                      <a:pt x="459" y="82"/>
                    </a:lnTo>
                    <a:lnTo>
                      <a:pt x="459" y="81"/>
                    </a:lnTo>
                    <a:lnTo>
                      <a:pt x="459" y="79"/>
                    </a:lnTo>
                    <a:lnTo>
                      <a:pt x="461" y="79"/>
                    </a:lnTo>
                    <a:lnTo>
                      <a:pt x="461" y="77"/>
                    </a:lnTo>
                    <a:lnTo>
                      <a:pt x="461" y="76"/>
                    </a:lnTo>
                    <a:lnTo>
                      <a:pt x="461" y="74"/>
                    </a:lnTo>
                    <a:lnTo>
                      <a:pt x="459" y="74"/>
                    </a:lnTo>
                    <a:lnTo>
                      <a:pt x="459" y="73"/>
                    </a:lnTo>
                    <a:lnTo>
                      <a:pt x="459" y="71"/>
                    </a:lnTo>
                    <a:lnTo>
                      <a:pt x="461" y="71"/>
                    </a:lnTo>
                    <a:lnTo>
                      <a:pt x="461" y="69"/>
                    </a:lnTo>
                    <a:lnTo>
                      <a:pt x="459" y="69"/>
                    </a:lnTo>
                    <a:lnTo>
                      <a:pt x="458" y="69"/>
                    </a:lnTo>
                    <a:lnTo>
                      <a:pt x="458" y="68"/>
                    </a:lnTo>
                    <a:lnTo>
                      <a:pt x="456" y="68"/>
                    </a:lnTo>
                    <a:lnTo>
                      <a:pt x="456" y="66"/>
                    </a:lnTo>
                    <a:lnTo>
                      <a:pt x="456" y="65"/>
                    </a:lnTo>
                    <a:lnTo>
                      <a:pt x="456" y="63"/>
                    </a:lnTo>
                    <a:lnTo>
                      <a:pt x="454" y="63"/>
                    </a:lnTo>
                    <a:lnTo>
                      <a:pt x="454" y="62"/>
                    </a:lnTo>
                    <a:lnTo>
                      <a:pt x="453" y="62"/>
                    </a:lnTo>
                    <a:lnTo>
                      <a:pt x="453" y="60"/>
                    </a:lnTo>
                    <a:lnTo>
                      <a:pt x="453" y="58"/>
                    </a:lnTo>
                    <a:lnTo>
                      <a:pt x="451" y="57"/>
                    </a:lnTo>
                    <a:lnTo>
                      <a:pt x="451" y="55"/>
                    </a:lnTo>
                    <a:lnTo>
                      <a:pt x="450" y="54"/>
                    </a:lnTo>
                    <a:lnTo>
                      <a:pt x="450" y="52"/>
                    </a:lnTo>
                    <a:lnTo>
                      <a:pt x="448" y="52"/>
                    </a:lnTo>
                    <a:lnTo>
                      <a:pt x="448" y="50"/>
                    </a:lnTo>
                    <a:lnTo>
                      <a:pt x="448" y="49"/>
                    </a:lnTo>
                    <a:lnTo>
                      <a:pt x="447" y="49"/>
                    </a:lnTo>
                    <a:lnTo>
                      <a:pt x="447" y="47"/>
                    </a:lnTo>
                    <a:lnTo>
                      <a:pt x="445" y="46"/>
                    </a:lnTo>
                    <a:lnTo>
                      <a:pt x="443" y="46"/>
                    </a:lnTo>
                    <a:lnTo>
                      <a:pt x="443" y="44"/>
                    </a:lnTo>
                    <a:lnTo>
                      <a:pt x="443" y="43"/>
                    </a:lnTo>
                    <a:lnTo>
                      <a:pt x="445" y="36"/>
                    </a:lnTo>
                    <a:lnTo>
                      <a:pt x="443" y="36"/>
                    </a:lnTo>
                    <a:lnTo>
                      <a:pt x="442" y="36"/>
                    </a:lnTo>
                    <a:lnTo>
                      <a:pt x="440" y="36"/>
                    </a:lnTo>
                    <a:lnTo>
                      <a:pt x="440" y="38"/>
                    </a:lnTo>
                    <a:lnTo>
                      <a:pt x="439" y="38"/>
                    </a:lnTo>
                    <a:lnTo>
                      <a:pt x="439" y="39"/>
                    </a:lnTo>
                    <a:lnTo>
                      <a:pt x="437" y="39"/>
                    </a:lnTo>
                    <a:lnTo>
                      <a:pt x="435" y="41"/>
                    </a:lnTo>
                    <a:lnTo>
                      <a:pt x="434" y="43"/>
                    </a:lnTo>
                    <a:lnTo>
                      <a:pt x="432" y="43"/>
                    </a:lnTo>
                    <a:lnTo>
                      <a:pt x="431" y="43"/>
                    </a:lnTo>
                    <a:lnTo>
                      <a:pt x="428" y="43"/>
                    </a:lnTo>
                    <a:lnTo>
                      <a:pt x="426" y="43"/>
                    </a:lnTo>
                    <a:lnTo>
                      <a:pt x="424" y="43"/>
                    </a:lnTo>
                    <a:lnTo>
                      <a:pt x="424" y="41"/>
                    </a:lnTo>
                    <a:lnTo>
                      <a:pt x="423" y="41"/>
                    </a:lnTo>
                    <a:lnTo>
                      <a:pt x="421" y="39"/>
                    </a:lnTo>
                    <a:lnTo>
                      <a:pt x="421" y="38"/>
                    </a:lnTo>
                    <a:lnTo>
                      <a:pt x="420" y="38"/>
                    </a:lnTo>
                    <a:lnTo>
                      <a:pt x="420" y="36"/>
                    </a:lnTo>
                    <a:lnTo>
                      <a:pt x="420" y="35"/>
                    </a:lnTo>
                    <a:lnTo>
                      <a:pt x="418" y="35"/>
                    </a:lnTo>
                    <a:lnTo>
                      <a:pt x="416" y="35"/>
                    </a:lnTo>
                    <a:lnTo>
                      <a:pt x="416" y="36"/>
                    </a:lnTo>
                    <a:lnTo>
                      <a:pt x="416" y="38"/>
                    </a:lnTo>
                    <a:lnTo>
                      <a:pt x="415" y="39"/>
                    </a:lnTo>
                    <a:lnTo>
                      <a:pt x="413" y="41"/>
                    </a:lnTo>
                    <a:lnTo>
                      <a:pt x="413" y="43"/>
                    </a:lnTo>
                    <a:lnTo>
                      <a:pt x="412" y="43"/>
                    </a:lnTo>
                    <a:lnTo>
                      <a:pt x="412" y="44"/>
                    </a:lnTo>
                    <a:lnTo>
                      <a:pt x="410" y="44"/>
                    </a:lnTo>
                    <a:lnTo>
                      <a:pt x="410" y="46"/>
                    </a:lnTo>
                    <a:lnTo>
                      <a:pt x="408" y="46"/>
                    </a:lnTo>
                    <a:lnTo>
                      <a:pt x="407" y="46"/>
                    </a:lnTo>
                    <a:lnTo>
                      <a:pt x="405" y="46"/>
                    </a:lnTo>
                    <a:lnTo>
                      <a:pt x="404" y="46"/>
                    </a:lnTo>
                    <a:lnTo>
                      <a:pt x="402" y="46"/>
                    </a:lnTo>
                    <a:lnTo>
                      <a:pt x="401" y="46"/>
                    </a:lnTo>
                    <a:lnTo>
                      <a:pt x="399" y="46"/>
                    </a:lnTo>
                    <a:lnTo>
                      <a:pt x="399" y="47"/>
                    </a:lnTo>
                    <a:lnTo>
                      <a:pt x="397" y="47"/>
                    </a:lnTo>
                    <a:lnTo>
                      <a:pt x="396" y="47"/>
                    </a:lnTo>
                    <a:lnTo>
                      <a:pt x="394" y="49"/>
                    </a:lnTo>
                    <a:lnTo>
                      <a:pt x="393" y="49"/>
                    </a:lnTo>
                    <a:lnTo>
                      <a:pt x="391" y="49"/>
                    </a:lnTo>
                    <a:lnTo>
                      <a:pt x="389" y="49"/>
                    </a:lnTo>
                    <a:lnTo>
                      <a:pt x="388" y="49"/>
                    </a:lnTo>
                    <a:lnTo>
                      <a:pt x="386" y="49"/>
                    </a:lnTo>
                    <a:lnTo>
                      <a:pt x="385" y="49"/>
                    </a:lnTo>
                    <a:lnTo>
                      <a:pt x="385" y="50"/>
                    </a:lnTo>
                    <a:lnTo>
                      <a:pt x="383" y="50"/>
                    </a:lnTo>
                    <a:lnTo>
                      <a:pt x="383" y="52"/>
                    </a:lnTo>
                    <a:lnTo>
                      <a:pt x="382" y="52"/>
                    </a:lnTo>
                    <a:lnTo>
                      <a:pt x="380" y="52"/>
                    </a:lnTo>
                    <a:lnTo>
                      <a:pt x="380" y="50"/>
                    </a:lnTo>
                    <a:lnTo>
                      <a:pt x="382" y="50"/>
                    </a:lnTo>
                    <a:lnTo>
                      <a:pt x="382" y="49"/>
                    </a:lnTo>
                    <a:lnTo>
                      <a:pt x="383" y="49"/>
                    </a:lnTo>
                    <a:lnTo>
                      <a:pt x="383" y="47"/>
                    </a:lnTo>
                    <a:lnTo>
                      <a:pt x="382" y="47"/>
                    </a:lnTo>
                    <a:lnTo>
                      <a:pt x="382" y="46"/>
                    </a:lnTo>
                    <a:lnTo>
                      <a:pt x="382" y="44"/>
                    </a:lnTo>
                    <a:lnTo>
                      <a:pt x="383" y="44"/>
                    </a:lnTo>
                    <a:lnTo>
                      <a:pt x="385" y="44"/>
                    </a:lnTo>
                    <a:lnTo>
                      <a:pt x="386" y="44"/>
                    </a:lnTo>
                    <a:lnTo>
                      <a:pt x="388" y="43"/>
                    </a:lnTo>
                    <a:lnTo>
                      <a:pt x="389" y="43"/>
                    </a:lnTo>
                    <a:lnTo>
                      <a:pt x="389" y="41"/>
                    </a:lnTo>
                    <a:lnTo>
                      <a:pt x="389" y="39"/>
                    </a:lnTo>
                    <a:lnTo>
                      <a:pt x="391" y="39"/>
                    </a:lnTo>
                    <a:lnTo>
                      <a:pt x="391" y="38"/>
                    </a:lnTo>
                    <a:lnTo>
                      <a:pt x="391" y="36"/>
                    </a:lnTo>
                    <a:lnTo>
                      <a:pt x="393" y="36"/>
                    </a:lnTo>
                    <a:lnTo>
                      <a:pt x="394" y="36"/>
                    </a:lnTo>
                    <a:lnTo>
                      <a:pt x="396" y="36"/>
                    </a:lnTo>
                    <a:lnTo>
                      <a:pt x="397" y="36"/>
                    </a:lnTo>
                    <a:lnTo>
                      <a:pt x="397" y="35"/>
                    </a:lnTo>
                    <a:lnTo>
                      <a:pt x="399" y="35"/>
                    </a:lnTo>
                    <a:lnTo>
                      <a:pt x="401" y="35"/>
                    </a:lnTo>
                    <a:lnTo>
                      <a:pt x="402" y="35"/>
                    </a:lnTo>
                    <a:lnTo>
                      <a:pt x="404" y="35"/>
                    </a:lnTo>
                    <a:lnTo>
                      <a:pt x="404" y="33"/>
                    </a:lnTo>
                    <a:lnTo>
                      <a:pt x="405" y="31"/>
                    </a:lnTo>
                    <a:lnTo>
                      <a:pt x="405" y="30"/>
                    </a:lnTo>
                    <a:lnTo>
                      <a:pt x="407" y="30"/>
                    </a:lnTo>
                    <a:lnTo>
                      <a:pt x="407" y="28"/>
                    </a:lnTo>
                    <a:lnTo>
                      <a:pt x="407" y="27"/>
                    </a:lnTo>
                    <a:lnTo>
                      <a:pt x="407" y="25"/>
                    </a:lnTo>
                    <a:lnTo>
                      <a:pt x="405" y="25"/>
                    </a:lnTo>
                    <a:lnTo>
                      <a:pt x="404" y="25"/>
                    </a:lnTo>
                    <a:lnTo>
                      <a:pt x="402" y="25"/>
                    </a:lnTo>
                    <a:lnTo>
                      <a:pt x="401" y="25"/>
                    </a:lnTo>
                    <a:lnTo>
                      <a:pt x="399" y="24"/>
                    </a:lnTo>
                    <a:lnTo>
                      <a:pt x="397" y="24"/>
                    </a:lnTo>
                    <a:lnTo>
                      <a:pt x="396" y="24"/>
                    </a:lnTo>
                    <a:lnTo>
                      <a:pt x="394" y="24"/>
                    </a:lnTo>
                    <a:lnTo>
                      <a:pt x="393" y="24"/>
                    </a:lnTo>
                    <a:lnTo>
                      <a:pt x="391" y="24"/>
                    </a:lnTo>
                    <a:lnTo>
                      <a:pt x="391" y="22"/>
                    </a:lnTo>
                    <a:lnTo>
                      <a:pt x="389" y="22"/>
                    </a:lnTo>
                    <a:lnTo>
                      <a:pt x="389" y="24"/>
                    </a:lnTo>
                    <a:lnTo>
                      <a:pt x="388" y="24"/>
                    </a:lnTo>
                    <a:lnTo>
                      <a:pt x="388" y="25"/>
                    </a:lnTo>
                    <a:lnTo>
                      <a:pt x="386" y="25"/>
                    </a:lnTo>
                    <a:lnTo>
                      <a:pt x="385" y="25"/>
                    </a:lnTo>
                    <a:lnTo>
                      <a:pt x="385" y="24"/>
                    </a:lnTo>
                    <a:lnTo>
                      <a:pt x="385" y="22"/>
                    </a:lnTo>
                    <a:lnTo>
                      <a:pt x="383" y="22"/>
                    </a:lnTo>
                    <a:lnTo>
                      <a:pt x="383" y="20"/>
                    </a:lnTo>
                    <a:lnTo>
                      <a:pt x="382" y="20"/>
                    </a:lnTo>
                    <a:lnTo>
                      <a:pt x="380" y="20"/>
                    </a:lnTo>
                    <a:lnTo>
                      <a:pt x="380" y="22"/>
                    </a:lnTo>
                    <a:lnTo>
                      <a:pt x="380" y="24"/>
                    </a:lnTo>
                    <a:lnTo>
                      <a:pt x="378" y="24"/>
                    </a:lnTo>
                    <a:lnTo>
                      <a:pt x="377" y="24"/>
                    </a:lnTo>
                    <a:lnTo>
                      <a:pt x="377" y="22"/>
                    </a:lnTo>
                    <a:lnTo>
                      <a:pt x="375" y="24"/>
                    </a:lnTo>
                    <a:lnTo>
                      <a:pt x="375" y="22"/>
                    </a:lnTo>
                    <a:lnTo>
                      <a:pt x="375" y="20"/>
                    </a:lnTo>
                    <a:lnTo>
                      <a:pt x="375" y="19"/>
                    </a:lnTo>
                    <a:lnTo>
                      <a:pt x="377" y="19"/>
                    </a:lnTo>
                    <a:lnTo>
                      <a:pt x="377" y="17"/>
                    </a:lnTo>
                    <a:lnTo>
                      <a:pt x="377" y="16"/>
                    </a:lnTo>
                    <a:lnTo>
                      <a:pt x="378" y="16"/>
                    </a:lnTo>
                    <a:lnTo>
                      <a:pt x="377" y="14"/>
                    </a:lnTo>
                    <a:lnTo>
                      <a:pt x="375" y="14"/>
                    </a:lnTo>
                    <a:lnTo>
                      <a:pt x="375" y="16"/>
                    </a:lnTo>
                    <a:lnTo>
                      <a:pt x="374" y="16"/>
                    </a:lnTo>
                    <a:lnTo>
                      <a:pt x="372" y="17"/>
                    </a:lnTo>
                    <a:lnTo>
                      <a:pt x="370" y="17"/>
                    </a:lnTo>
                    <a:lnTo>
                      <a:pt x="370" y="19"/>
                    </a:lnTo>
                    <a:lnTo>
                      <a:pt x="370" y="20"/>
                    </a:lnTo>
                    <a:lnTo>
                      <a:pt x="372" y="20"/>
                    </a:lnTo>
                    <a:lnTo>
                      <a:pt x="370" y="22"/>
                    </a:lnTo>
                    <a:lnTo>
                      <a:pt x="369" y="22"/>
                    </a:lnTo>
                    <a:lnTo>
                      <a:pt x="369" y="24"/>
                    </a:lnTo>
                    <a:lnTo>
                      <a:pt x="367" y="24"/>
                    </a:lnTo>
                    <a:lnTo>
                      <a:pt x="367" y="25"/>
                    </a:lnTo>
                    <a:lnTo>
                      <a:pt x="366" y="27"/>
                    </a:lnTo>
                    <a:lnTo>
                      <a:pt x="366" y="28"/>
                    </a:lnTo>
                    <a:lnTo>
                      <a:pt x="364" y="28"/>
                    </a:lnTo>
                    <a:lnTo>
                      <a:pt x="364" y="30"/>
                    </a:lnTo>
                    <a:lnTo>
                      <a:pt x="363" y="30"/>
                    </a:lnTo>
                    <a:lnTo>
                      <a:pt x="363" y="28"/>
                    </a:lnTo>
                    <a:lnTo>
                      <a:pt x="363" y="27"/>
                    </a:lnTo>
                    <a:lnTo>
                      <a:pt x="361" y="27"/>
                    </a:lnTo>
                    <a:lnTo>
                      <a:pt x="359" y="27"/>
                    </a:lnTo>
                    <a:lnTo>
                      <a:pt x="359" y="25"/>
                    </a:lnTo>
                    <a:lnTo>
                      <a:pt x="361" y="25"/>
                    </a:lnTo>
                    <a:lnTo>
                      <a:pt x="361" y="24"/>
                    </a:lnTo>
                    <a:lnTo>
                      <a:pt x="359" y="24"/>
                    </a:lnTo>
                    <a:lnTo>
                      <a:pt x="359" y="25"/>
                    </a:lnTo>
                    <a:lnTo>
                      <a:pt x="358" y="25"/>
                    </a:lnTo>
                    <a:lnTo>
                      <a:pt x="358" y="27"/>
                    </a:lnTo>
                    <a:lnTo>
                      <a:pt x="356" y="27"/>
                    </a:lnTo>
                    <a:lnTo>
                      <a:pt x="356" y="28"/>
                    </a:lnTo>
                    <a:lnTo>
                      <a:pt x="356" y="30"/>
                    </a:lnTo>
                    <a:lnTo>
                      <a:pt x="355" y="30"/>
                    </a:lnTo>
                    <a:lnTo>
                      <a:pt x="355" y="31"/>
                    </a:lnTo>
                    <a:lnTo>
                      <a:pt x="353" y="31"/>
                    </a:lnTo>
                    <a:lnTo>
                      <a:pt x="353" y="30"/>
                    </a:lnTo>
                    <a:lnTo>
                      <a:pt x="353" y="28"/>
                    </a:lnTo>
                    <a:lnTo>
                      <a:pt x="355" y="27"/>
                    </a:lnTo>
                    <a:lnTo>
                      <a:pt x="355" y="25"/>
                    </a:lnTo>
                    <a:lnTo>
                      <a:pt x="353" y="25"/>
                    </a:lnTo>
                    <a:lnTo>
                      <a:pt x="351" y="25"/>
                    </a:lnTo>
                    <a:lnTo>
                      <a:pt x="350" y="25"/>
                    </a:lnTo>
                    <a:lnTo>
                      <a:pt x="350" y="27"/>
                    </a:lnTo>
                    <a:lnTo>
                      <a:pt x="348" y="27"/>
                    </a:lnTo>
                    <a:lnTo>
                      <a:pt x="348" y="28"/>
                    </a:lnTo>
                    <a:lnTo>
                      <a:pt x="348" y="30"/>
                    </a:lnTo>
                    <a:lnTo>
                      <a:pt x="347" y="30"/>
                    </a:lnTo>
                    <a:lnTo>
                      <a:pt x="345" y="30"/>
                    </a:lnTo>
                    <a:lnTo>
                      <a:pt x="345" y="28"/>
                    </a:lnTo>
                    <a:lnTo>
                      <a:pt x="344" y="27"/>
                    </a:lnTo>
                    <a:lnTo>
                      <a:pt x="342" y="27"/>
                    </a:lnTo>
                    <a:lnTo>
                      <a:pt x="342" y="25"/>
                    </a:lnTo>
                    <a:lnTo>
                      <a:pt x="340" y="25"/>
                    </a:lnTo>
                    <a:lnTo>
                      <a:pt x="340" y="27"/>
                    </a:lnTo>
                    <a:lnTo>
                      <a:pt x="340" y="28"/>
                    </a:lnTo>
                    <a:lnTo>
                      <a:pt x="342" y="28"/>
                    </a:lnTo>
                    <a:lnTo>
                      <a:pt x="342" y="30"/>
                    </a:lnTo>
                    <a:lnTo>
                      <a:pt x="340" y="30"/>
                    </a:lnTo>
                    <a:lnTo>
                      <a:pt x="340" y="31"/>
                    </a:lnTo>
                    <a:lnTo>
                      <a:pt x="340" y="33"/>
                    </a:lnTo>
                    <a:lnTo>
                      <a:pt x="339" y="33"/>
                    </a:lnTo>
                    <a:lnTo>
                      <a:pt x="339" y="35"/>
                    </a:lnTo>
                    <a:lnTo>
                      <a:pt x="340" y="35"/>
                    </a:lnTo>
                    <a:lnTo>
                      <a:pt x="342" y="35"/>
                    </a:lnTo>
                    <a:lnTo>
                      <a:pt x="342" y="36"/>
                    </a:lnTo>
                    <a:lnTo>
                      <a:pt x="344" y="36"/>
                    </a:lnTo>
                    <a:lnTo>
                      <a:pt x="344" y="35"/>
                    </a:lnTo>
                    <a:lnTo>
                      <a:pt x="344" y="36"/>
                    </a:lnTo>
                    <a:lnTo>
                      <a:pt x="342" y="36"/>
                    </a:lnTo>
                    <a:lnTo>
                      <a:pt x="340" y="36"/>
                    </a:lnTo>
                    <a:lnTo>
                      <a:pt x="340" y="38"/>
                    </a:lnTo>
                    <a:lnTo>
                      <a:pt x="340" y="39"/>
                    </a:lnTo>
                    <a:lnTo>
                      <a:pt x="342" y="39"/>
                    </a:lnTo>
                    <a:lnTo>
                      <a:pt x="340" y="39"/>
                    </a:lnTo>
                    <a:lnTo>
                      <a:pt x="339" y="39"/>
                    </a:lnTo>
                    <a:lnTo>
                      <a:pt x="339" y="41"/>
                    </a:lnTo>
                    <a:lnTo>
                      <a:pt x="337" y="41"/>
                    </a:lnTo>
                    <a:lnTo>
                      <a:pt x="337" y="39"/>
                    </a:lnTo>
                    <a:lnTo>
                      <a:pt x="337" y="38"/>
                    </a:lnTo>
                    <a:lnTo>
                      <a:pt x="336" y="38"/>
                    </a:lnTo>
                    <a:lnTo>
                      <a:pt x="334" y="38"/>
                    </a:lnTo>
                    <a:lnTo>
                      <a:pt x="332" y="38"/>
                    </a:lnTo>
                    <a:lnTo>
                      <a:pt x="332" y="39"/>
                    </a:lnTo>
                    <a:lnTo>
                      <a:pt x="334" y="39"/>
                    </a:lnTo>
                    <a:lnTo>
                      <a:pt x="334" y="41"/>
                    </a:lnTo>
                    <a:lnTo>
                      <a:pt x="336" y="41"/>
                    </a:lnTo>
                    <a:lnTo>
                      <a:pt x="334" y="43"/>
                    </a:lnTo>
                    <a:lnTo>
                      <a:pt x="332" y="43"/>
                    </a:lnTo>
                    <a:lnTo>
                      <a:pt x="331" y="43"/>
                    </a:lnTo>
                    <a:lnTo>
                      <a:pt x="331" y="44"/>
                    </a:lnTo>
                    <a:lnTo>
                      <a:pt x="331" y="46"/>
                    </a:lnTo>
                    <a:lnTo>
                      <a:pt x="329" y="46"/>
                    </a:lnTo>
                    <a:lnTo>
                      <a:pt x="328" y="46"/>
                    </a:lnTo>
                    <a:lnTo>
                      <a:pt x="328" y="44"/>
                    </a:lnTo>
                    <a:lnTo>
                      <a:pt x="326" y="46"/>
                    </a:lnTo>
                    <a:lnTo>
                      <a:pt x="326" y="47"/>
                    </a:lnTo>
                    <a:lnTo>
                      <a:pt x="325" y="47"/>
                    </a:lnTo>
                    <a:lnTo>
                      <a:pt x="325" y="46"/>
                    </a:lnTo>
                    <a:lnTo>
                      <a:pt x="325" y="44"/>
                    </a:lnTo>
                    <a:lnTo>
                      <a:pt x="323" y="44"/>
                    </a:lnTo>
                    <a:lnTo>
                      <a:pt x="321" y="44"/>
                    </a:lnTo>
                    <a:lnTo>
                      <a:pt x="320" y="44"/>
                    </a:lnTo>
                    <a:lnTo>
                      <a:pt x="320" y="43"/>
                    </a:lnTo>
                    <a:lnTo>
                      <a:pt x="320" y="41"/>
                    </a:lnTo>
                    <a:lnTo>
                      <a:pt x="318" y="41"/>
                    </a:lnTo>
                    <a:lnTo>
                      <a:pt x="318" y="39"/>
                    </a:lnTo>
                    <a:lnTo>
                      <a:pt x="320" y="39"/>
                    </a:lnTo>
                    <a:lnTo>
                      <a:pt x="318" y="39"/>
                    </a:lnTo>
                    <a:lnTo>
                      <a:pt x="317" y="39"/>
                    </a:lnTo>
                    <a:lnTo>
                      <a:pt x="317" y="41"/>
                    </a:lnTo>
                    <a:lnTo>
                      <a:pt x="317" y="43"/>
                    </a:lnTo>
                    <a:lnTo>
                      <a:pt x="317" y="44"/>
                    </a:lnTo>
                    <a:lnTo>
                      <a:pt x="315" y="44"/>
                    </a:lnTo>
                    <a:lnTo>
                      <a:pt x="315" y="43"/>
                    </a:lnTo>
                    <a:lnTo>
                      <a:pt x="313" y="43"/>
                    </a:lnTo>
                    <a:lnTo>
                      <a:pt x="312" y="43"/>
                    </a:lnTo>
                    <a:lnTo>
                      <a:pt x="310" y="43"/>
                    </a:lnTo>
                    <a:lnTo>
                      <a:pt x="309" y="43"/>
                    </a:lnTo>
                    <a:lnTo>
                      <a:pt x="309" y="44"/>
                    </a:lnTo>
                    <a:lnTo>
                      <a:pt x="307" y="44"/>
                    </a:lnTo>
                    <a:lnTo>
                      <a:pt x="304" y="46"/>
                    </a:lnTo>
                    <a:lnTo>
                      <a:pt x="301" y="46"/>
                    </a:lnTo>
                    <a:lnTo>
                      <a:pt x="301" y="44"/>
                    </a:lnTo>
                    <a:lnTo>
                      <a:pt x="299" y="44"/>
                    </a:lnTo>
                    <a:lnTo>
                      <a:pt x="299" y="43"/>
                    </a:lnTo>
                    <a:lnTo>
                      <a:pt x="298" y="43"/>
                    </a:lnTo>
                    <a:lnTo>
                      <a:pt x="296" y="43"/>
                    </a:lnTo>
                    <a:lnTo>
                      <a:pt x="294" y="43"/>
                    </a:lnTo>
                    <a:lnTo>
                      <a:pt x="294" y="44"/>
                    </a:lnTo>
                    <a:lnTo>
                      <a:pt x="293" y="44"/>
                    </a:lnTo>
                    <a:lnTo>
                      <a:pt x="293" y="46"/>
                    </a:lnTo>
                    <a:lnTo>
                      <a:pt x="291" y="46"/>
                    </a:lnTo>
                    <a:lnTo>
                      <a:pt x="291" y="47"/>
                    </a:lnTo>
                    <a:lnTo>
                      <a:pt x="290" y="47"/>
                    </a:lnTo>
                    <a:lnTo>
                      <a:pt x="288" y="49"/>
                    </a:lnTo>
                    <a:lnTo>
                      <a:pt x="287" y="47"/>
                    </a:lnTo>
                    <a:lnTo>
                      <a:pt x="285" y="47"/>
                    </a:lnTo>
                    <a:lnTo>
                      <a:pt x="285" y="46"/>
                    </a:lnTo>
                    <a:lnTo>
                      <a:pt x="283" y="44"/>
                    </a:lnTo>
                    <a:lnTo>
                      <a:pt x="283" y="43"/>
                    </a:lnTo>
                    <a:lnTo>
                      <a:pt x="282" y="41"/>
                    </a:lnTo>
                    <a:lnTo>
                      <a:pt x="282" y="39"/>
                    </a:lnTo>
                    <a:lnTo>
                      <a:pt x="282" y="38"/>
                    </a:lnTo>
                    <a:lnTo>
                      <a:pt x="280" y="38"/>
                    </a:lnTo>
                    <a:lnTo>
                      <a:pt x="280" y="39"/>
                    </a:lnTo>
                    <a:lnTo>
                      <a:pt x="280" y="41"/>
                    </a:lnTo>
                    <a:lnTo>
                      <a:pt x="280" y="43"/>
                    </a:lnTo>
                    <a:lnTo>
                      <a:pt x="279" y="43"/>
                    </a:lnTo>
                    <a:lnTo>
                      <a:pt x="277" y="43"/>
                    </a:lnTo>
                    <a:lnTo>
                      <a:pt x="275" y="43"/>
                    </a:lnTo>
                    <a:lnTo>
                      <a:pt x="274" y="44"/>
                    </a:lnTo>
                    <a:lnTo>
                      <a:pt x="272" y="44"/>
                    </a:lnTo>
                    <a:lnTo>
                      <a:pt x="271" y="44"/>
                    </a:lnTo>
                    <a:lnTo>
                      <a:pt x="269" y="46"/>
                    </a:lnTo>
                    <a:lnTo>
                      <a:pt x="268" y="46"/>
                    </a:lnTo>
                    <a:lnTo>
                      <a:pt x="268" y="47"/>
                    </a:lnTo>
                    <a:lnTo>
                      <a:pt x="266" y="47"/>
                    </a:lnTo>
                    <a:lnTo>
                      <a:pt x="266" y="49"/>
                    </a:lnTo>
                    <a:lnTo>
                      <a:pt x="264" y="49"/>
                    </a:lnTo>
                    <a:lnTo>
                      <a:pt x="264" y="50"/>
                    </a:lnTo>
                    <a:lnTo>
                      <a:pt x="263" y="50"/>
                    </a:lnTo>
                    <a:lnTo>
                      <a:pt x="263" y="49"/>
                    </a:lnTo>
                    <a:lnTo>
                      <a:pt x="263" y="50"/>
                    </a:lnTo>
                    <a:lnTo>
                      <a:pt x="261" y="50"/>
                    </a:lnTo>
                    <a:lnTo>
                      <a:pt x="261" y="49"/>
                    </a:lnTo>
                    <a:lnTo>
                      <a:pt x="260" y="49"/>
                    </a:lnTo>
                    <a:lnTo>
                      <a:pt x="260" y="47"/>
                    </a:lnTo>
                    <a:lnTo>
                      <a:pt x="260" y="46"/>
                    </a:lnTo>
                    <a:lnTo>
                      <a:pt x="258" y="46"/>
                    </a:lnTo>
                    <a:lnTo>
                      <a:pt x="256" y="46"/>
                    </a:lnTo>
                    <a:lnTo>
                      <a:pt x="256" y="44"/>
                    </a:lnTo>
                    <a:lnTo>
                      <a:pt x="256" y="46"/>
                    </a:lnTo>
                    <a:lnTo>
                      <a:pt x="255" y="46"/>
                    </a:lnTo>
                    <a:lnTo>
                      <a:pt x="253" y="46"/>
                    </a:lnTo>
                    <a:lnTo>
                      <a:pt x="253" y="44"/>
                    </a:lnTo>
                    <a:lnTo>
                      <a:pt x="253" y="46"/>
                    </a:lnTo>
                    <a:lnTo>
                      <a:pt x="252" y="46"/>
                    </a:lnTo>
                    <a:lnTo>
                      <a:pt x="250" y="44"/>
                    </a:lnTo>
                    <a:lnTo>
                      <a:pt x="250" y="43"/>
                    </a:lnTo>
                    <a:lnTo>
                      <a:pt x="250" y="41"/>
                    </a:lnTo>
                    <a:lnTo>
                      <a:pt x="249" y="41"/>
                    </a:lnTo>
                    <a:lnTo>
                      <a:pt x="249" y="39"/>
                    </a:lnTo>
                    <a:lnTo>
                      <a:pt x="247" y="39"/>
                    </a:lnTo>
                    <a:lnTo>
                      <a:pt x="245" y="39"/>
                    </a:lnTo>
                    <a:lnTo>
                      <a:pt x="245" y="41"/>
                    </a:lnTo>
                    <a:lnTo>
                      <a:pt x="244" y="41"/>
                    </a:lnTo>
                    <a:lnTo>
                      <a:pt x="242" y="41"/>
                    </a:lnTo>
                    <a:lnTo>
                      <a:pt x="241" y="41"/>
                    </a:lnTo>
                    <a:lnTo>
                      <a:pt x="239" y="41"/>
                    </a:lnTo>
                    <a:lnTo>
                      <a:pt x="237" y="41"/>
                    </a:lnTo>
                    <a:lnTo>
                      <a:pt x="237" y="43"/>
                    </a:lnTo>
                    <a:lnTo>
                      <a:pt x="236" y="43"/>
                    </a:lnTo>
                    <a:lnTo>
                      <a:pt x="234" y="43"/>
                    </a:lnTo>
                    <a:lnTo>
                      <a:pt x="234" y="44"/>
                    </a:lnTo>
                    <a:lnTo>
                      <a:pt x="233" y="44"/>
                    </a:lnTo>
                    <a:lnTo>
                      <a:pt x="233" y="43"/>
                    </a:lnTo>
                    <a:lnTo>
                      <a:pt x="233" y="41"/>
                    </a:lnTo>
                    <a:lnTo>
                      <a:pt x="231" y="41"/>
                    </a:lnTo>
                    <a:lnTo>
                      <a:pt x="231" y="39"/>
                    </a:lnTo>
                    <a:lnTo>
                      <a:pt x="231" y="38"/>
                    </a:lnTo>
                    <a:lnTo>
                      <a:pt x="233" y="38"/>
                    </a:lnTo>
                    <a:lnTo>
                      <a:pt x="233" y="36"/>
                    </a:lnTo>
                    <a:lnTo>
                      <a:pt x="231" y="36"/>
                    </a:lnTo>
                    <a:lnTo>
                      <a:pt x="231" y="35"/>
                    </a:lnTo>
                    <a:lnTo>
                      <a:pt x="230" y="33"/>
                    </a:lnTo>
                    <a:lnTo>
                      <a:pt x="228" y="33"/>
                    </a:lnTo>
                    <a:lnTo>
                      <a:pt x="226" y="33"/>
                    </a:lnTo>
                    <a:lnTo>
                      <a:pt x="225" y="33"/>
                    </a:lnTo>
                    <a:lnTo>
                      <a:pt x="223" y="33"/>
                    </a:lnTo>
                    <a:lnTo>
                      <a:pt x="222" y="33"/>
                    </a:lnTo>
                    <a:lnTo>
                      <a:pt x="220" y="33"/>
                    </a:lnTo>
                    <a:lnTo>
                      <a:pt x="218" y="31"/>
                    </a:lnTo>
                    <a:lnTo>
                      <a:pt x="217" y="31"/>
                    </a:lnTo>
                    <a:lnTo>
                      <a:pt x="215" y="31"/>
                    </a:lnTo>
                    <a:lnTo>
                      <a:pt x="214" y="31"/>
                    </a:lnTo>
                    <a:lnTo>
                      <a:pt x="214" y="33"/>
                    </a:lnTo>
                    <a:lnTo>
                      <a:pt x="212" y="33"/>
                    </a:lnTo>
                    <a:lnTo>
                      <a:pt x="210" y="31"/>
                    </a:lnTo>
                    <a:lnTo>
                      <a:pt x="210" y="30"/>
                    </a:lnTo>
                    <a:lnTo>
                      <a:pt x="209" y="30"/>
                    </a:lnTo>
                    <a:lnTo>
                      <a:pt x="207" y="28"/>
                    </a:lnTo>
                    <a:lnTo>
                      <a:pt x="207" y="27"/>
                    </a:lnTo>
                    <a:lnTo>
                      <a:pt x="206" y="25"/>
                    </a:lnTo>
                    <a:lnTo>
                      <a:pt x="204" y="24"/>
                    </a:lnTo>
                    <a:lnTo>
                      <a:pt x="203" y="22"/>
                    </a:lnTo>
                    <a:lnTo>
                      <a:pt x="201" y="20"/>
                    </a:lnTo>
                    <a:lnTo>
                      <a:pt x="199" y="19"/>
                    </a:lnTo>
                    <a:lnTo>
                      <a:pt x="198" y="19"/>
                    </a:lnTo>
                    <a:lnTo>
                      <a:pt x="198" y="17"/>
                    </a:lnTo>
                    <a:lnTo>
                      <a:pt x="196" y="17"/>
                    </a:lnTo>
                    <a:lnTo>
                      <a:pt x="196" y="16"/>
                    </a:lnTo>
                    <a:lnTo>
                      <a:pt x="195" y="16"/>
                    </a:lnTo>
                    <a:lnTo>
                      <a:pt x="193" y="14"/>
                    </a:lnTo>
                    <a:lnTo>
                      <a:pt x="191" y="14"/>
                    </a:lnTo>
                    <a:lnTo>
                      <a:pt x="191" y="12"/>
                    </a:lnTo>
                    <a:lnTo>
                      <a:pt x="191" y="11"/>
                    </a:lnTo>
                    <a:lnTo>
                      <a:pt x="190" y="11"/>
                    </a:lnTo>
                    <a:lnTo>
                      <a:pt x="190" y="9"/>
                    </a:lnTo>
                    <a:lnTo>
                      <a:pt x="190" y="8"/>
                    </a:lnTo>
                    <a:lnTo>
                      <a:pt x="188" y="6"/>
                    </a:lnTo>
                    <a:lnTo>
                      <a:pt x="188" y="4"/>
                    </a:lnTo>
                    <a:lnTo>
                      <a:pt x="187" y="3"/>
                    </a:lnTo>
                    <a:lnTo>
                      <a:pt x="187" y="1"/>
                    </a:lnTo>
                    <a:lnTo>
                      <a:pt x="185" y="1"/>
                    </a:lnTo>
                    <a:lnTo>
                      <a:pt x="185" y="0"/>
                    </a:lnTo>
                    <a:lnTo>
                      <a:pt x="184" y="0"/>
                    </a:lnTo>
                    <a:lnTo>
                      <a:pt x="182" y="0"/>
                    </a:lnTo>
                    <a:lnTo>
                      <a:pt x="180" y="0"/>
                    </a:lnTo>
                    <a:lnTo>
                      <a:pt x="180" y="1"/>
                    </a:lnTo>
                    <a:lnTo>
                      <a:pt x="180" y="3"/>
                    </a:lnTo>
                    <a:lnTo>
                      <a:pt x="179" y="3"/>
                    </a:lnTo>
                    <a:lnTo>
                      <a:pt x="177" y="4"/>
                    </a:lnTo>
                    <a:lnTo>
                      <a:pt x="177" y="6"/>
                    </a:lnTo>
                    <a:lnTo>
                      <a:pt x="177" y="8"/>
                    </a:lnTo>
                    <a:lnTo>
                      <a:pt x="176" y="9"/>
                    </a:lnTo>
                    <a:lnTo>
                      <a:pt x="177" y="9"/>
                    </a:lnTo>
                    <a:lnTo>
                      <a:pt x="177" y="11"/>
                    </a:lnTo>
                    <a:lnTo>
                      <a:pt x="176" y="11"/>
                    </a:lnTo>
                    <a:lnTo>
                      <a:pt x="174" y="11"/>
                    </a:lnTo>
                    <a:lnTo>
                      <a:pt x="174" y="12"/>
                    </a:lnTo>
                    <a:lnTo>
                      <a:pt x="176" y="12"/>
                    </a:lnTo>
                    <a:lnTo>
                      <a:pt x="176" y="14"/>
                    </a:lnTo>
                    <a:lnTo>
                      <a:pt x="176" y="12"/>
                    </a:lnTo>
                    <a:lnTo>
                      <a:pt x="174" y="12"/>
                    </a:lnTo>
                    <a:lnTo>
                      <a:pt x="172" y="12"/>
                    </a:lnTo>
                    <a:lnTo>
                      <a:pt x="172" y="14"/>
                    </a:lnTo>
                    <a:lnTo>
                      <a:pt x="172" y="16"/>
                    </a:lnTo>
                    <a:lnTo>
                      <a:pt x="172" y="17"/>
                    </a:lnTo>
                    <a:lnTo>
                      <a:pt x="172" y="19"/>
                    </a:lnTo>
                    <a:lnTo>
                      <a:pt x="171" y="19"/>
                    </a:lnTo>
                    <a:lnTo>
                      <a:pt x="171" y="17"/>
                    </a:lnTo>
                    <a:lnTo>
                      <a:pt x="169" y="17"/>
                    </a:lnTo>
                    <a:lnTo>
                      <a:pt x="169" y="19"/>
                    </a:lnTo>
                    <a:lnTo>
                      <a:pt x="168" y="20"/>
                    </a:lnTo>
                    <a:lnTo>
                      <a:pt x="166" y="20"/>
                    </a:lnTo>
                    <a:lnTo>
                      <a:pt x="166" y="22"/>
                    </a:lnTo>
                    <a:lnTo>
                      <a:pt x="166" y="24"/>
                    </a:lnTo>
                    <a:lnTo>
                      <a:pt x="166" y="25"/>
                    </a:lnTo>
                    <a:lnTo>
                      <a:pt x="165" y="25"/>
                    </a:lnTo>
                    <a:lnTo>
                      <a:pt x="165" y="27"/>
                    </a:lnTo>
                    <a:lnTo>
                      <a:pt x="163" y="27"/>
                    </a:lnTo>
                    <a:lnTo>
                      <a:pt x="163" y="28"/>
                    </a:lnTo>
                    <a:lnTo>
                      <a:pt x="163" y="30"/>
                    </a:lnTo>
                    <a:lnTo>
                      <a:pt x="161" y="30"/>
                    </a:lnTo>
                    <a:lnTo>
                      <a:pt x="161" y="31"/>
                    </a:lnTo>
                    <a:lnTo>
                      <a:pt x="161" y="33"/>
                    </a:lnTo>
                    <a:lnTo>
                      <a:pt x="161" y="35"/>
                    </a:lnTo>
                    <a:lnTo>
                      <a:pt x="160" y="36"/>
                    </a:lnTo>
                    <a:lnTo>
                      <a:pt x="160" y="38"/>
                    </a:lnTo>
                    <a:lnTo>
                      <a:pt x="158" y="38"/>
                    </a:lnTo>
                    <a:lnTo>
                      <a:pt x="158" y="39"/>
                    </a:lnTo>
                    <a:lnTo>
                      <a:pt x="160" y="39"/>
                    </a:lnTo>
                    <a:lnTo>
                      <a:pt x="158" y="39"/>
                    </a:lnTo>
                    <a:lnTo>
                      <a:pt x="158" y="41"/>
                    </a:lnTo>
                    <a:lnTo>
                      <a:pt x="158" y="43"/>
                    </a:lnTo>
                    <a:lnTo>
                      <a:pt x="157" y="43"/>
                    </a:lnTo>
                    <a:lnTo>
                      <a:pt x="157" y="44"/>
                    </a:lnTo>
                    <a:lnTo>
                      <a:pt x="155" y="44"/>
                    </a:lnTo>
                    <a:lnTo>
                      <a:pt x="155" y="46"/>
                    </a:lnTo>
                    <a:lnTo>
                      <a:pt x="157" y="46"/>
                    </a:lnTo>
                    <a:lnTo>
                      <a:pt x="157" y="47"/>
                    </a:lnTo>
                    <a:lnTo>
                      <a:pt x="157" y="49"/>
                    </a:lnTo>
                    <a:lnTo>
                      <a:pt x="155" y="49"/>
                    </a:lnTo>
                    <a:lnTo>
                      <a:pt x="155" y="50"/>
                    </a:lnTo>
                    <a:lnTo>
                      <a:pt x="153" y="50"/>
                    </a:lnTo>
                    <a:lnTo>
                      <a:pt x="153" y="52"/>
                    </a:lnTo>
                    <a:lnTo>
                      <a:pt x="152" y="52"/>
                    </a:lnTo>
                    <a:lnTo>
                      <a:pt x="152" y="54"/>
                    </a:lnTo>
                    <a:lnTo>
                      <a:pt x="152" y="55"/>
                    </a:lnTo>
                    <a:lnTo>
                      <a:pt x="150" y="55"/>
                    </a:lnTo>
                    <a:lnTo>
                      <a:pt x="149" y="55"/>
                    </a:lnTo>
                    <a:lnTo>
                      <a:pt x="147" y="57"/>
                    </a:lnTo>
                    <a:lnTo>
                      <a:pt x="146" y="57"/>
                    </a:lnTo>
                    <a:lnTo>
                      <a:pt x="146" y="58"/>
                    </a:lnTo>
                    <a:lnTo>
                      <a:pt x="146" y="60"/>
                    </a:lnTo>
                    <a:lnTo>
                      <a:pt x="144" y="60"/>
                    </a:lnTo>
                    <a:lnTo>
                      <a:pt x="144" y="62"/>
                    </a:lnTo>
                    <a:lnTo>
                      <a:pt x="144" y="63"/>
                    </a:lnTo>
                    <a:lnTo>
                      <a:pt x="142" y="63"/>
                    </a:lnTo>
                    <a:lnTo>
                      <a:pt x="141" y="63"/>
                    </a:lnTo>
                    <a:lnTo>
                      <a:pt x="142" y="63"/>
                    </a:lnTo>
                    <a:lnTo>
                      <a:pt x="142" y="65"/>
                    </a:lnTo>
                    <a:lnTo>
                      <a:pt x="141" y="65"/>
                    </a:lnTo>
                    <a:lnTo>
                      <a:pt x="139" y="66"/>
                    </a:lnTo>
                    <a:lnTo>
                      <a:pt x="138" y="66"/>
                    </a:lnTo>
                    <a:lnTo>
                      <a:pt x="138" y="68"/>
                    </a:lnTo>
                    <a:lnTo>
                      <a:pt x="136" y="66"/>
                    </a:lnTo>
                    <a:lnTo>
                      <a:pt x="134" y="66"/>
                    </a:lnTo>
                    <a:lnTo>
                      <a:pt x="133" y="65"/>
                    </a:lnTo>
                    <a:lnTo>
                      <a:pt x="133" y="66"/>
                    </a:lnTo>
                    <a:lnTo>
                      <a:pt x="131" y="66"/>
                    </a:lnTo>
                    <a:lnTo>
                      <a:pt x="130" y="66"/>
                    </a:lnTo>
                    <a:lnTo>
                      <a:pt x="130" y="68"/>
                    </a:lnTo>
                    <a:lnTo>
                      <a:pt x="128" y="68"/>
                    </a:lnTo>
                    <a:lnTo>
                      <a:pt x="128" y="69"/>
                    </a:lnTo>
                    <a:lnTo>
                      <a:pt x="127" y="69"/>
                    </a:lnTo>
                    <a:lnTo>
                      <a:pt x="125" y="69"/>
                    </a:lnTo>
                    <a:lnTo>
                      <a:pt x="123" y="69"/>
                    </a:lnTo>
                    <a:lnTo>
                      <a:pt x="123" y="71"/>
                    </a:lnTo>
                    <a:lnTo>
                      <a:pt x="122" y="71"/>
                    </a:lnTo>
                    <a:lnTo>
                      <a:pt x="122" y="73"/>
                    </a:lnTo>
                    <a:lnTo>
                      <a:pt x="120" y="73"/>
                    </a:lnTo>
                    <a:lnTo>
                      <a:pt x="119" y="73"/>
                    </a:lnTo>
                    <a:lnTo>
                      <a:pt x="117" y="73"/>
                    </a:lnTo>
                    <a:lnTo>
                      <a:pt x="115" y="73"/>
                    </a:lnTo>
                    <a:lnTo>
                      <a:pt x="114" y="73"/>
                    </a:lnTo>
                    <a:lnTo>
                      <a:pt x="114" y="74"/>
                    </a:lnTo>
                    <a:lnTo>
                      <a:pt x="112" y="74"/>
                    </a:lnTo>
                    <a:lnTo>
                      <a:pt x="111" y="74"/>
                    </a:lnTo>
                    <a:lnTo>
                      <a:pt x="111" y="76"/>
                    </a:lnTo>
                    <a:lnTo>
                      <a:pt x="109" y="76"/>
                    </a:lnTo>
                    <a:lnTo>
                      <a:pt x="108" y="77"/>
                    </a:lnTo>
                    <a:lnTo>
                      <a:pt x="108" y="79"/>
                    </a:lnTo>
                    <a:lnTo>
                      <a:pt x="106" y="79"/>
                    </a:lnTo>
                    <a:lnTo>
                      <a:pt x="104" y="79"/>
                    </a:lnTo>
                    <a:lnTo>
                      <a:pt x="103" y="79"/>
                    </a:lnTo>
                    <a:lnTo>
                      <a:pt x="101" y="79"/>
                    </a:lnTo>
                    <a:lnTo>
                      <a:pt x="100" y="79"/>
                    </a:lnTo>
                    <a:lnTo>
                      <a:pt x="100" y="77"/>
                    </a:lnTo>
                    <a:lnTo>
                      <a:pt x="98" y="79"/>
                    </a:lnTo>
                    <a:lnTo>
                      <a:pt x="98" y="81"/>
                    </a:lnTo>
                    <a:lnTo>
                      <a:pt x="96" y="81"/>
                    </a:lnTo>
                    <a:lnTo>
                      <a:pt x="95" y="81"/>
                    </a:lnTo>
                    <a:lnTo>
                      <a:pt x="95" y="79"/>
                    </a:lnTo>
                    <a:lnTo>
                      <a:pt x="93" y="79"/>
                    </a:lnTo>
                    <a:lnTo>
                      <a:pt x="92" y="79"/>
                    </a:lnTo>
                    <a:lnTo>
                      <a:pt x="90" y="79"/>
                    </a:lnTo>
                    <a:lnTo>
                      <a:pt x="90" y="81"/>
                    </a:lnTo>
                    <a:lnTo>
                      <a:pt x="89" y="81"/>
                    </a:lnTo>
                    <a:lnTo>
                      <a:pt x="89" y="82"/>
                    </a:lnTo>
                    <a:lnTo>
                      <a:pt x="87" y="82"/>
                    </a:lnTo>
                    <a:lnTo>
                      <a:pt x="85" y="82"/>
                    </a:lnTo>
                    <a:lnTo>
                      <a:pt x="84" y="82"/>
                    </a:lnTo>
                    <a:lnTo>
                      <a:pt x="82" y="82"/>
                    </a:lnTo>
                    <a:lnTo>
                      <a:pt x="81" y="81"/>
                    </a:lnTo>
                    <a:lnTo>
                      <a:pt x="79" y="81"/>
                    </a:lnTo>
                    <a:lnTo>
                      <a:pt x="77" y="81"/>
                    </a:lnTo>
                    <a:lnTo>
                      <a:pt x="77" y="79"/>
                    </a:lnTo>
                    <a:lnTo>
                      <a:pt x="77" y="77"/>
                    </a:lnTo>
                    <a:lnTo>
                      <a:pt x="76" y="77"/>
                    </a:lnTo>
                    <a:lnTo>
                      <a:pt x="76" y="76"/>
                    </a:lnTo>
                    <a:lnTo>
                      <a:pt x="74" y="76"/>
                    </a:lnTo>
                    <a:lnTo>
                      <a:pt x="74" y="77"/>
                    </a:lnTo>
                    <a:lnTo>
                      <a:pt x="73" y="77"/>
                    </a:lnTo>
                    <a:lnTo>
                      <a:pt x="73" y="79"/>
                    </a:lnTo>
                    <a:lnTo>
                      <a:pt x="73" y="81"/>
                    </a:lnTo>
                    <a:lnTo>
                      <a:pt x="71" y="81"/>
                    </a:lnTo>
                    <a:lnTo>
                      <a:pt x="70" y="81"/>
                    </a:lnTo>
                    <a:lnTo>
                      <a:pt x="70" y="82"/>
                    </a:lnTo>
                    <a:lnTo>
                      <a:pt x="68" y="82"/>
                    </a:lnTo>
                    <a:lnTo>
                      <a:pt x="66" y="82"/>
                    </a:lnTo>
                    <a:lnTo>
                      <a:pt x="65" y="82"/>
                    </a:lnTo>
                    <a:lnTo>
                      <a:pt x="63" y="82"/>
                    </a:lnTo>
                    <a:lnTo>
                      <a:pt x="62" y="82"/>
                    </a:lnTo>
                    <a:lnTo>
                      <a:pt x="60" y="82"/>
                    </a:lnTo>
                    <a:lnTo>
                      <a:pt x="58" y="82"/>
                    </a:lnTo>
                    <a:lnTo>
                      <a:pt x="57" y="82"/>
                    </a:lnTo>
                    <a:lnTo>
                      <a:pt x="57" y="81"/>
                    </a:lnTo>
                    <a:lnTo>
                      <a:pt x="55" y="81"/>
                    </a:lnTo>
                    <a:lnTo>
                      <a:pt x="55" y="79"/>
                    </a:lnTo>
                    <a:lnTo>
                      <a:pt x="55" y="77"/>
                    </a:lnTo>
                    <a:lnTo>
                      <a:pt x="54" y="77"/>
                    </a:lnTo>
                    <a:lnTo>
                      <a:pt x="52" y="77"/>
                    </a:lnTo>
                    <a:lnTo>
                      <a:pt x="51" y="77"/>
                    </a:lnTo>
                    <a:lnTo>
                      <a:pt x="49" y="77"/>
                    </a:lnTo>
                    <a:lnTo>
                      <a:pt x="49" y="79"/>
                    </a:lnTo>
                    <a:lnTo>
                      <a:pt x="49" y="81"/>
                    </a:lnTo>
                    <a:lnTo>
                      <a:pt x="47" y="81"/>
                    </a:lnTo>
                    <a:lnTo>
                      <a:pt x="49" y="81"/>
                    </a:lnTo>
                    <a:lnTo>
                      <a:pt x="49" y="79"/>
                    </a:lnTo>
                    <a:lnTo>
                      <a:pt x="47" y="79"/>
                    </a:lnTo>
                    <a:lnTo>
                      <a:pt x="47" y="77"/>
                    </a:lnTo>
                    <a:lnTo>
                      <a:pt x="47" y="76"/>
                    </a:lnTo>
                    <a:lnTo>
                      <a:pt x="46" y="76"/>
                    </a:lnTo>
                    <a:lnTo>
                      <a:pt x="46" y="74"/>
                    </a:lnTo>
                    <a:lnTo>
                      <a:pt x="44" y="74"/>
                    </a:lnTo>
                    <a:lnTo>
                      <a:pt x="44" y="76"/>
                    </a:lnTo>
                    <a:lnTo>
                      <a:pt x="43" y="76"/>
                    </a:lnTo>
                    <a:lnTo>
                      <a:pt x="43" y="77"/>
                    </a:lnTo>
                    <a:lnTo>
                      <a:pt x="41" y="77"/>
                    </a:lnTo>
                    <a:lnTo>
                      <a:pt x="41" y="79"/>
                    </a:lnTo>
                    <a:lnTo>
                      <a:pt x="41" y="77"/>
                    </a:lnTo>
                    <a:lnTo>
                      <a:pt x="39" y="77"/>
                    </a:lnTo>
                    <a:lnTo>
                      <a:pt x="39" y="79"/>
                    </a:lnTo>
                    <a:lnTo>
                      <a:pt x="39" y="81"/>
                    </a:lnTo>
                    <a:lnTo>
                      <a:pt x="39" y="82"/>
                    </a:lnTo>
                    <a:lnTo>
                      <a:pt x="41" y="84"/>
                    </a:lnTo>
                    <a:lnTo>
                      <a:pt x="41" y="85"/>
                    </a:lnTo>
                    <a:lnTo>
                      <a:pt x="39" y="85"/>
                    </a:lnTo>
                    <a:lnTo>
                      <a:pt x="38" y="85"/>
                    </a:lnTo>
                    <a:lnTo>
                      <a:pt x="38" y="84"/>
                    </a:lnTo>
                    <a:lnTo>
                      <a:pt x="38" y="82"/>
                    </a:lnTo>
                    <a:lnTo>
                      <a:pt x="36" y="81"/>
                    </a:lnTo>
                    <a:lnTo>
                      <a:pt x="36" y="79"/>
                    </a:lnTo>
                    <a:lnTo>
                      <a:pt x="35" y="79"/>
                    </a:lnTo>
                    <a:lnTo>
                      <a:pt x="35" y="77"/>
                    </a:lnTo>
                    <a:lnTo>
                      <a:pt x="36" y="77"/>
                    </a:lnTo>
                    <a:lnTo>
                      <a:pt x="38" y="77"/>
                    </a:lnTo>
                    <a:lnTo>
                      <a:pt x="38" y="76"/>
                    </a:lnTo>
                    <a:lnTo>
                      <a:pt x="38" y="74"/>
                    </a:lnTo>
                    <a:lnTo>
                      <a:pt x="38" y="73"/>
                    </a:lnTo>
                    <a:lnTo>
                      <a:pt x="38" y="74"/>
                    </a:lnTo>
                    <a:lnTo>
                      <a:pt x="36" y="74"/>
                    </a:lnTo>
                    <a:lnTo>
                      <a:pt x="35" y="74"/>
                    </a:lnTo>
                    <a:lnTo>
                      <a:pt x="35" y="73"/>
                    </a:lnTo>
                    <a:lnTo>
                      <a:pt x="33" y="73"/>
                    </a:lnTo>
                    <a:lnTo>
                      <a:pt x="33" y="71"/>
                    </a:lnTo>
                    <a:lnTo>
                      <a:pt x="31" y="71"/>
                    </a:lnTo>
                    <a:lnTo>
                      <a:pt x="31" y="69"/>
                    </a:lnTo>
                    <a:lnTo>
                      <a:pt x="30" y="69"/>
                    </a:lnTo>
                    <a:lnTo>
                      <a:pt x="28" y="69"/>
                    </a:lnTo>
                    <a:lnTo>
                      <a:pt x="28" y="68"/>
                    </a:lnTo>
                    <a:lnTo>
                      <a:pt x="28" y="66"/>
                    </a:lnTo>
                    <a:lnTo>
                      <a:pt x="27" y="66"/>
                    </a:lnTo>
                    <a:lnTo>
                      <a:pt x="27" y="65"/>
                    </a:lnTo>
                    <a:lnTo>
                      <a:pt x="25" y="65"/>
                    </a:lnTo>
                    <a:lnTo>
                      <a:pt x="24" y="65"/>
                    </a:lnTo>
                    <a:lnTo>
                      <a:pt x="24" y="63"/>
                    </a:lnTo>
                    <a:lnTo>
                      <a:pt x="22" y="63"/>
                    </a:lnTo>
                    <a:lnTo>
                      <a:pt x="20" y="63"/>
                    </a:lnTo>
                    <a:lnTo>
                      <a:pt x="20" y="62"/>
                    </a:lnTo>
                    <a:lnTo>
                      <a:pt x="19" y="62"/>
                    </a:lnTo>
                    <a:lnTo>
                      <a:pt x="17" y="60"/>
                    </a:lnTo>
                    <a:lnTo>
                      <a:pt x="17" y="62"/>
                    </a:lnTo>
                    <a:lnTo>
                      <a:pt x="16" y="62"/>
                    </a:lnTo>
                    <a:lnTo>
                      <a:pt x="16" y="60"/>
                    </a:lnTo>
                    <a:lnTo>
                      <a:pt x="16" y="62"/>
                    </a:lnTo>
                    <a:lnTo>
                      <a:pt x="14" y="62"/>
                    </a:lnTo>
                    <a:lnTo>
                      <a:pt x="14" y="60"/>
                    </a:lnTo>
                    <a:lnTo>
                      <a:pt x="12" y="60"/>
                    </a:lnTo>
                    <a:lnTo>
                      <a:pt x="11" y="60"/>
                    </a:lnTo>
                    <a:lnTo>
                      <a:pt x="9" y="60"/>
                    </a:lnTo>
                    <a:lnTo>
                      <a:pt x="9" y="58"/>
                    </a:lnTo>
                    <a:lnTo>
                      <a:pt x="8" y="58"/>
                    </a:lnTo>
                    <a:lnTo>
                      <a:pt x="6" y="58"/>
                    </a:lnTo>
                    <a:lnTo>
                      <a:pt x="5" y="58"/>
                    </a:lnTo>
                    <a:lnTo>
                      <a:pt x="3" y="60"/>
                    </a:lnTo>
                    <a:lnTo>
                      <a:pt x="0" y="58"/>
                    </a:lnTo>
                  </a:path>
                </a:pathLst>
              </a:custGeom>
              <a:noFill/>
              <a:ln w="476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48" name="Freeform 46"/>
              <p:cNvSpPr>
                <a:spLocks/>
              </p:cNvSpPr>
              <p:nvPr/>
            </p:nvSpPr>
            <p:spPr bwMode="auto">
              <a:xfrm>
                <a:off x="2447" y="646"/>
                <a:ext cx="491" cy="449"/>
              </a:xfrm>
              <a:custGeom>
                <a:avLst/>
                <a:gdLst>
                  <a:gd name="T0" fmla="*/ 196 w 491"/>
                  <a:gd name="T1" fmla="*/ 431 h 449"/>
                  <a:gd name="T2" fmla="*/ 188 w 491"/>
                  <a:gd name="T3" fmla="*/ 437 h 449"/>
                  <a:gd name="T4" fmla="*/ 179 w 491"/>
                  <a:gd name="T5" fmla="*/ 442 h 449"/>
                  <a:gd name="T6" fmla="*/ 173 w 491"/>
                  <a:gd name="T7" fmla="*/ 445 h 449"/>
                  <a:gd name="T8" fmla="*/ 165 w 491"/>
                  <a:gd name="T9" fmla="*/ 447 h 449"/>
                  <a:gd name="T10" fmla="*/ 155 w 491"/>
                  <a:gd name="T11" fmla="*/ 447 h 449"/>
                  <a:gd name="T12" fmla="*/ 147 w 491"/>
                  <a:gd name="T13" fmla="*/ 445 h 449"/>
                  <a:gd name="T14" fmla="*/ 139 w 491"/>
                  <a:gd name="T15" fmla="*/ 442 h 449"/>
                  <a:gd name="T16" fmla="*/ 133 w 491"/>
                  <a:gd name="T17" fmla="*/ 439 h 449"/>
                  <a:gd name="T18" fmla="*/ 127 w 491"/>
                  <a:gd name="T19" fmla="*/ 436 h 449"/>
                  <a:gd name="T20" fmla="*/ 120 w 491"/>
                  <a:gd name="T21" fmla="*/ 430 h 449"/>
                  <a:gd name="T22" fmla="*/ 112 w 491"/>
                  <a:gd name="T23" fmla="*/ 425 h 449"/>
                  <a:gd name="T24" fmla="*/ 104 w 491"/>
                  <a:gd name="T25" fmla="*/ 420 h 449"/>
                  <a:gd name="T26" fmla="*/ 98 w 491"/>
                  <a:gd name="T27" fmla="*/ 412 h 449"/>
                  <a:gd name="T28" fmla="*/ 89 w 491"/>
                  <a:gd name="T29" fmla="*/ 407 h 449"/>
                  <a:gd name="T30" fmla="*/ 85 w 491"/>
                  <a:gd name="T31" fmla="*/ 396 h 449"/>
                  <a:gd name="T32" fmla="*/ 79 w 491"/>
                  <a:gd name="T33" fmla="*/ 393 h 449"/>
                  <a:gd name="T34" fmla="*/ 70 w 491"/>
                  <a:gd name="T35" fmla="*/ 390 h 449"/>
                  <a:gd name="T36" fmla="*/ 60 w 491"/>
                  <a:gd name="T37" fmla="*/ 387 h 449"/>
                  <a:gd name="T38" fmla="*/ 47 w 491"/>
                  <a:gd name="T39" fmla="*/ 385 h 449"/>
                  <a:gd name="T40" fmla="*/ 36 w 491"/>
                  <a:gd name="T41" fmla="*/ 382 h 449"/>
                  <a:gd name="T42" fmla="*/ 27 w 491"/>
                  <a:gd name="T43" fmla="*/ 379 h 449"/>
                  <a:gd name="T44" fmla="*/ 22 w 491"/>
                  <a:gd name="T45" fmla="*/ 377 h 449"/>
                  <a:gd name="T46" fmla="*/ 17 w 491"/>
                  <a:gd name="T47" fmla="*/ 365 h 449"/>
                  <a:gd name="T48" fmla="*/ 11 w 491"/>
                  <a:gd name="T49" fmla="*/ 355 h 449"/>
                  <a:gd name="T50" fmla="*/ 6 w 491"/>
                  <a:gd name="T51" fmla="*/ 344 h 449"/>
                  <a:gd name="T52" fmla="*/ 3 w 491"/>
                  <a:gd name="T53" fmla="*/ 336 h 449"/>
                  <a:gd name="T54" fmla="*/ 9 w 491"/>
                  <a:gd name="T55" fmla="*/ 319 h 449"/>
                  <a:gd name="T56" fmla="*/ 9 w 491"/>
                  <a:gd name="T57" fmla="*/ 298 h 449"/>
                  <a:gd name="T58" fmla="*/ 6 w 491"/>
                  <a:gd name="T59" fmla="*/ 262 h 449"/>
                  <a:gd name="T60" fmla="*/ 27 w 491"/>
                  <a:gd name="T61" fmla="*/ 201 h 449"/>
                  <a:gd name="T62" fmla="*/ 33 w 491"/>
                  <a:gd name="T63" fmla="*/ 181 h 449"/>
                  <a:gd name="T64" fmla="*/ 49 w 491"/>
                  <a:gd name="T65" fmla="*/ 174 h 449"/>
                  <a:gd name="T66" fmla="*/ 66 w 491"/>
                  <a:gd name="T67" fmla="*/ 171 h 449"/>
                  <a:gd name="T68" fmla="*/ 92 w 491"/>
                  <a:gd name="T69" fmla="*/ 168 h 449"/>
                  <a:gd name="T70" fmla="*/ 117 w 491"/>
                  <a:gd name="T71" fmla="*/ 168 h 449"/>
                  <a:gd name="T72" fmla="*/ 147 w 491"/>
                  <a:gd name="T73" fmla="*/ 176 h 449"/>
                  <a:gd name="T74" fmla="*/ 174 w 491"/>
                  <a:gd name="T75" fmla="*/ 186 h 449"/>
                  <a:gd name="T76" fmla="*/ 192 w 491"/>
                  <a:gd name="T77" fmla="*/ 178 h 449"/>
                  <a:gd name="T78" fmla="*/ 193 w 491"/>
                  <a:gd name="T79" fmla="*/ 152 h 449"/>
                  <a:gd name="T80" fmla="*/ 203 w 491"/>
                  <a:gd name="T81" fmla="*/ 135 h 449"/>
                  <a:gd name="T82" fmla="*/ 218 w 491"/>
                  <a:gd name="T83" fmla="*/ 130 h 449"/>
                  <a:gd name="T84" fmla="*/ 250 w 491"/>
                  <a:gd name="T85" fmla="*/ 133 h 449"/>
                  <a:gd name="T86" fmla="*/ 263 w 491"/>
                  <a:gd name="T87" fmla="*/ 143 h 449"/>
                  <a:gd name="T88" fmla="*/ 274 w 491"/>
                  <a:gd name="T89" fmla="*/ 157 h 449"/>
                  <a:gd name="T90" fmla="*/ 276 w 491"/>
                  <a:gd name="T91" fmla="*/ 176 h 449"/>
                  <a:gd name="T92" fmla="*/ 298 w 491"/>
                  <a:gd name="T93" fmla="*/ 193 h 449"/>
                  <a:gd name="T94" fmla="*/ 309 w 491"/>
                  <a:gd name="T95" fmla="*/ 206 h 449"/>
                  <a:gd name="T96" fmla="*/ 333 w 491"/>
                  <a:gd name="T97" fmla="*/ 167 h 449"/>
                  <a:gd name="T98" fmla="*/ 359 w 491"/>
                  <a:gd name="T99" fmla="*/ 111 h 449"/>
                  <a:gd name="T100" fmla="*/ 375 w 491"/>
                  <a:gd name="T101" fmla="*/ 86 h 449"/>
                  <a:gd name="T102" fmla="*/ 383 w 491"/>
                  <a:gd name="T103" fmla="*/ 75 h 449"/>
                  <a:gd name="T104" fmla="*/ 399 w 491"/>
                  <a:gd name="T105" fmla="*/ 46 h 449"/>
                  <a:gd name="T106" fmla="*/ 418 w 491"/>
                  <a:gd name="T107" fmla="*/ 14 h 449"/>
                  <a:gd name="T108" fmla="*/ 436 w 491"/>
                  <a:gd name="T109" fmla="*/ 10 h 449"/>
                  <a:gd name="T110" fmla="*/ 448 w 491"/>
                  <a:gd name="T111" fmla="*/ 27 h 449"/>
                  <a:gd name="T112" fmla="*/ 456 w 491"/>
                  <a:gd name="T113" fmla="*/ 43 h 449"/>
                  <a:gd name="T114" fmla="*/ 478 w 491"/>
                  <a:gd name="T115" fmla="*/ 54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1" h="449">
                    <a:moveTo>
                      <a:pt x="206" y="426"/>
                    </a:moveTo>
                    <a:lnTo>
                      <a:pt x="204" y="426"/>
                    </a:lnTo>
                    <a:lnTo>
                      <a:pt x="201" y="426"/>
                    </a:lnTo>
                    <a:lnTo>
                      <a:pt x="199" y="426"/>
                    </a:lnTo>
                    <a:lnTo>
                      <a:pt x="198" y="426"/>
                    </a:lnTo>
                    <a:lnTo>
                      <a:pt x="198" y="428"/>
                    </a:lnTo>
                    <a:lnTo>
                      <a:pt x="198" y="430"/>
                    </a:lnTo>
                    <a:lnTo>
                      <a:pt x="196" y="431"/>
                    </a:lnTo>
                    <a:lnTo>
                      <a:pt x="196" y="433"/>
                    </a:lnTo>
                    <a:lnTo>
                      <a:pt x="195" y="434"/>
                    </a:lnTo>
                    <a:lnTo>
                      <a:pt x="193" y="434"/>
                    </a:lnTo>
                    <a:lnTo>
                      <a:pt x="192" y="434"/>
                    </a:lnTo>
                    <a:lnTo>
                      <a:pt x="192" y="436"/>
                    </a:lnTo>
                    <a:lnTo>
                      <a:pt x="192" y="437"/>
                    </a:lnTo>
                    <a:lnTo>
                      <a:pt x="190" y="437"/>
                    </a:lnTo>
                    <a:lnTo>
                      <a:pt x="188" y="437"/>
                    </a:lnTo>
                    <a:lnTo>
                      <a:pt x="187" y="437"/>
                    </a:lnTo>
                    <a:lnTo>
                      <a:pt x="185" y="439"/>
                    </a:lnTo>
                    <a:lnTo>
                      <a:pt x="184" y="439"/>
                    </a:lnTo>
                    <a:lnTo>
                      <a:pt x="182" y="439"/>
                    </a:lnTo>
                    <a:lnTo>
                      <a:pt x="182" y="441"/>
                    </a:lnTo>
                    <a:lnTo>
                      <a:pt x="180" y="441"/>
                    </a:lnTo>
                    <a:lnTo>
                      <a:pt x="180" y="442"/>
                    </a:lnTo>
                    <a:lnTo>
                      <a:pt x="179" y="442"/>
                    </a:lnTo>
                    <a:lnTo>
                      <a:pt x="179" y="444"/>
                    </a:lnTo>
                    <a:lnTo>
                      <a:pt x="179" y="442"/>
                    </a:lnTo>
                    <a:lnTo>
                      <a:pt x="177" y="442"/>
                    </a:lnTo>
                    <a:lnTo>
                      <a:pt x="176" y="442"/>
                    </a:lnTo>
                    <a:lnTo>
                      <a:pt x="174" y="442"/>
                    </a:lnTo>
                    <a:lnTo>
                      <a:pt x="174" y="444"/>
                    </a:lnTo>
                    <a:lnTo>
                      <a:pt x="173" y="444"/>
                    </a:lnTo>
                    <a:lnTo>
                      <a:pt x="173" y="445"/>
                    </a:lnTo>
                    <a:lnTo>
                      <a:pt x="171" y="445"/>
                    </a:lnTo>
                    <a:lnTo>
                      <a:pt x="171" y="444"/>
                    </a:lnTo>
                    <a:lnTo>
                      <a:pt x="169" y="444"/>
                    </a:lnTo>
                    <a:lnTo>
                      <a:pt x="168" y="444"/>
                    </a:lnTo>
                    <a:lnTo>
                      <a:pt x="168" y="445"/>
                    </a:lnTo>
                    <a:lnTo>
                      <a:pt x="168" y="447"/>
                    </a:lnTo>
                    <a:lnTo>
                      <a:pt x="166" y="447"/>
                    </a:lnTo>
                    <a:lnTo>
                      <a:pt x="165" y="447"/>
                    </a:lnTo>
                    <a:lnTo>
                      <a:pt x="163" y="447"/>
                    </a:lnTo>
                    <a:lnTo>
                      <a:pt x="163" y="449"/>
                    </a:lnTo>
                    <a:lnTo>
                      <a:pt x="161" y="449"/>
                    </a:lnTo>
                    <a:lnTo>
                      <a:pt x="160" y="449"/>
                    </a:lnTo>
                    <a:lnTo>
                      <a:pt x="158" y="449"/>
                    </a:lnTo>
                    <a:lnTo>
                      <a:pt x="157" y="449"/>
                    </a:lnTo>
                    <a:lnTo>
                      <a:pt x="155" y="449"/>
                    </a:lnTo>
                    <a:lnTo>
                      <a:pt x="155" y="447"/>
                    </a:lnTo>
                    <a:lnTo>
                      <a:pt x="154" y="447"/>
                    </a:lnTo>
                    <a:lnTo>
                      <a:pt x="152" y="447"/>
                    </a:lnTo>
                    <a:lnTo>
                      <a:pt x="150" y="445"/>
                    </a:lnTo>
                    <a:lnTo>
                      <a:pt x="149" y="445"/>
                    </a:lnTo>
                    <a:lnTo>
                      <a:pt x="149" y="447"/>
                    </a:lnTo>
                    <a:lnTo>
                      <a:pt x="147" y="447"/>
                    </a:lnTo>
                    <a:lnTo>
                      <a:pt x="146" y="447"/>
                    </a:lnTo>
                    <a:lnTo>
                      <a:pt x="147" y="445"/>
                    </a:lnTo>
                    <a:lnTo>
                      <a:pt x="146" y="445"/>
                    </a:lnTo>
                    <a:lnTo>
                      <a:pt x="144" y="445"/>
                    </a:lnTo>
                    <a:lnTo>
                      <a:pt x="144" y="444"/>
                    </a:lnTo>
                    <a:lnTo>
                      <a:pt x="142" y="442"/>
                    </a:lnTo>
                    <a:lnTo>
                      <a:pt x="141" y="442"/>
                    </a:lnTo>
                    <a:lnTo>
                      <a:pt x="141" y="444"/>
                    </a:lnTo>
                    <a:lnTo>
                      <a:pt x="139" y="444"/>
                    </a:lnTo>
                    <a:lnTo>
                      <a:pt x="139" y="442"/>
                    </a:lnTo>
                    <a:lnTo>
                      <a:pt x="138" y="444"/>
                    </a:lnTo>
                    <a:lnTo>
                      <a:pt x="136" y="444"/>
                    </a:lnTo>
                    <a:lnTo>
                      <a:pt x="136" y="442"/>
                    </a:lnTo>
                    <a:lnTo>
                      <a:pt x="136" y="441"/>
                    </a:lnTo>
                    <a:lnTo>
                      <a:pt x="135" y="441"/>
                    </a:lnTo>
                    <a:lnTo>
                      <a:pt x="135" y="442"/>
                    </a:lnTo>
                    <a:lnTo>
                      <a:pt x="133" y="441"/>
                    </a:lnTo>
                    <a:lnTo>
                      <a:pt x="133" y="439"/>
                    </a:lnTo>
                    <a:lnTo>
                      <a:pt x="133" y="437"/>
                    </a:lnTo>
                    <a:lnTo>
                      <a:pt x="131" y="437"/>
                    </a:lnTo>
                    <a:lnTo>
                      <a:pt x="131" y="436"/>
                    </a:lnTo>
                    <a:lnTo>
                      <a:pt x="130" y="436"/>
                    </a:lnTo>
                    <a:lnTo>
                      <a:pt x="130" y="434"/>
                    </a:lnTo>
                    <a:lnTo>
                      <a:pt x="128" y="434"/>
                    </a:lnTo>
                    <a:lnTo>
                      <a:pt x="127" y="434"/>
                    </a:lnTo>
                    <a:lnTo>
                      <a:pt x="127" y="436"/>
                    </a:lnTo>
                    <a:lnTo>
                      <a:pt x="127" y="434"/>
                    </a:lnTo>
                    <a:lnTo>
                      <a:pt x="125" y="434"/>
                    </a:lnTo>
                    <a:lnTo>
                      <a:pt x="125" y="433"/>
                    </a:lnTo>
                    <a:lnTo>
                      <a:pt x="123" y="433"/>
                    </a:lnTo>
                    <a:lnTo>
                      <a:pt x="123" y="431"/>
                    </a:lnTo>
                    <a:lnTo>
                      <a:pt x="122" y="431"/>
                    </a:lnTo>
                    <a:lnTo>
                      <a:pt x="122" y="430"/>
                    </a:lnTo>
                    <a:lnTo>
                      <a:pt x="120" y="430"/>
                    </a:lnTo>
                    <a:lnTo>
                      <a:pt x="119" y="430"/>
                    </a:lnTo>
                    <a:lnTo>
                      <a:pt x="119" y="428"/>
                    </a:lnTo>
                    <a:lnTo>
                      <a:pt x="117" y="428"/>
                    </a:lnTo>
                    <a:lnTo>
                      <a:pt x="117" y="426"/>
                    </a:lnTo>
                    <a:lnTo>
                      <a:pt x="116" y="426"/>
                    </a:lnTo>
                    <a:lnTo>
                      <a:pt x="116" y="425"/>
                    </a:lnTo>
                    <a:lnTo>
                      <a:pt x="114" y="425"/>
                    </a:lnTo>
                    <a:lnTo>
                      <a:pt x="112" y="425"/>
                    </a:lnTo>
                    <a:lnTo>
                      <a:pt x="112" y="423"/>
                    </a:lnTo>
                    <a:lnTo>
                      <a:pt x="111" y="423"/>
                    </a:lnTo>
                    <a:lnTo>
                      <a:pt x="109" y="423"/>
                    </a:lnTo>
                    <a:lnTo>
                      <a:pt x="109" y="422"/>
                    </a:lnTo>
                    <a:lnTo>
                      <a:pt x="108" y="422"/>
                    </a:lnTo>
                    <a:lnTo>
                      <a:pt x="106" y="422"/>
                    </a:lnTo>
                    <a:lnTo>
                      <a:pt x="106" y="420"/>
                    </a:lnTo>
                    <a:lnTo>
                      <a:pt x="104" y="420"/>
                    </a:lnTo>
                    <a:lnTo>
                      <a:pt x="103" y="420"/>
                    </a:lnTo>
                    <a:lnTo>
                      <a:pt x="103" y="418"/>
                    </a:lnTo>
                    <a:lnTo>
                      <a:pt x="101" y="417"/>
                    </a:lnTo>
                    <a:lnTo>
                      <a:pt x="100" y="417"/>
                    </a:lnTo>
                    <a:lnTo>
                      <a:pt x="100" y="415"/>
                    </a:lnTo>
                    <a:lnTo>
                      <a:pt x="100" y="414"/>
                    </a:lnTo>
                    <a:lnTo>
                      <a:pt x="98" y="414"/>
                    </a:lnTo>
                    <a:lnTo>
                      <a:pt x="98" y="412"/>
                    </a:lnTo>
                    <a:lnTo>
                      <a:pt x="97" y="412"/>
                    </a:lnTo>
                    <a:lnTo>
                      <a:pt x="97" y="411"/>
                    </a:lnTo>
                    <a:lnTo>
                      <a:pt x="95" y="411"/>
                    </a:lnTo>
                    <a:lnTo>
                      <a:pt x="95" y="409"/>
                    </a:lnTo>
                    <a:lnTo>
                      <a:pt x="93" y="409"/>
                    </a:lnTo>
                    <a:lnTo>
                      <a:pt x="92" y="409"/>
                    </a:lnTo>
                    <a:lnTo>
                      <a:pt x="90" y="407"/>
                    </a:lnTo>
                    <a:lnTo>
                      <a:pt x="89" y="407"/>
                    </a:lnTo>
                    <a:lnTo>
                      <a:pt x="89" y="406"/>
                    </a:lnTo>
                    <a:lnTo>
                      <a:pt x="89" y="404"/>
                    </a:lnTo>
                    <a:lnTo>
                      <a:pt x="87" y="403"/>
                    </a:lnTo>
                    <a:lnTo>
                      <a:pt x="87" y="401"/>
                    </a:lnTo>
                    <a:lnTo>
                      <a:pt x="87" y="399"/>
                    </a:lnTo>
                    <a:lnTo>
                      <a:pt x="85" y="399"/>
                    </a:lnTo>
                    <a:lnTo>
                      <a:pt x="85" y="398"/>
                    </a:lnTo>
                    <a:lnTo>
                      <a:pt x="85" y="396"/>
                    </a:lnTo>
                    <a:lnTo>
                      <a:pt x="84" y="396"/>
                    </a:lnTo>
                    <a:lnTo>
                      <a:pt x="84" y="395"/>
                    </a:lnTo>
                    <a:lnTo>
                      <a:pt x="82" y="395"/>
                    </a:lnTo>
                    <a:lnTo>
                      <a:pt x="82" y="393"/>
                    </a:lnTo>
                    <a:lnTo>
                      <a:pt x="81" y="393"/>
                    </a:lnTo>
                    <a:lnTo>
                      <a:pt x="81" y="392"/>
                    </a:lnTo>
                    <a:lnTo>
                      <a:pt x="79" y="392"/>
                    </a:lnTo>
                    <a:lnTo>
                      <a:pt x="79" y="393"/>
                    </a:lnTo>
                    <a:lnTo>
                      <a:pt x="78" y="393"/>
                    </a:lnTo>
                    <a:lnTo>
                      <a:pt x="76" y="393"/>
                    </a:lnTo>
                    <a:lnTo>
                      <a:pt x="76" y="392"/>
                    </a:lnTo>
                    <a:lnTo>
                      <a:pt x="74" y="392"/>
                    </a:lnTo>
                    <a:lnTo>
                      <a:pt x="73" y="392"/>
                    </a:lnTo>
                    <a:lnTo>
                      <a:pt x="73" y="390"/>
                    </a:lnTo>
                    <a:lnTo>
                      <a:pt x="71" y="390"/>
                    </a:lnTo>
                    <a:lnTo>
                      <a:pt x="70" y="390"/>
                    </a:lnTo>
                    <a:lnTo>
                      <a:pt x="70" y="388"/>
                    </a:lnTo>
                    <a:lnTo>
                      <a:pt x="68" y="388"/>
                    </a:lnTo>
                    <a:lnTo>
                      <a:pt x="68" y="387"/>
                    </a:lnTo>
                    <a:lnTo>
                      <a:pt x="66" y="387"/>
                    </a:lnTo>
                    <a:lnTo>
                      <a:pt x="65" y="387"/>
                    </a:lnTo>
                    <a:lnTo>
                      <a:pt x="63" y="387"/>
                    </a:lnTo>
                    <a:lnTo>
                      <a:pt x="62" y="387"/>
                    </a:lnTo>
                    <a:lnTo>
                      <a:pt x="60" y="387"/>
                    </a:lnTo>
                    <a:lnTo>
                      <a:pt x="59" y="387"/>
                    </a:lnTo>
                    <a:lnTo>
                      <a:pt x="57" y="387"/>
                    </a:lnTo>
                    <a:lnTo>
                      <a:pt x="55" y="387"/>
                    </a:lnTo>
                    <a:lnTo>
                      <a:pt x="54" y="385"/>
                    </a:lnTo>
                    <a:lnTo>
                      <a:pt x="52" y="385"/>
                    </a:lnTo>
                    <a:lnTo>
                      <a:pt x="51" y="385"/>
                    </a:lnTo>
                    <a:lnTo>
                      <a:pt x="49" y="385"/>
                    </a:lnTo>
                    <a:lnTo>
                      <a:pt x="47" y="385"/>
                    </a:lnTo>
                    <a:lnTo>
                      <a:pt x="46" y="384"/>
                    </a:lnTo>
                    <a:lnTo>
                      <a:pt x="44" y="384"/>
                    </a:lnTo>
                    <a:lnTo>
                      <a:pt x="43" y="384"/>
                    </a:lnTo>
                    <a:lnTo>
                      <a:pt x="41" y="384"/>
                    </a:lnTo>
                    <a:lnTo>
                      <a:pt x="39" y="384"/>
                    </a:lnTo>
                    <a:lnTo>
                      <a:pt x="38" y="384"/>
                    </a:lnTo>
                    <a:lnTo>
                      <a:pt x="36" y="384"/>
                    </a:lnTo>
                    <a:lnTo>
                      <a:pt x="36" y="382"/>
                    </a:lnTo>
                    <a:lnTo>
                      <a:pt x="35" y="382"/>
                    </a:lnTo>
                    <a:lnTo>
                      <a:pt x="33" y="382"/>
                    </a:lnTo>
                    <a:lnTo>
                      <a:pt x="33" y="380"/>
                    </a:lnTo>
                    <a:lnTo>
                      <a:pt x="32" y="380"/>
                    </a:lnTo>
                    <a:lnTo>
                      <a:pt x="30" y="380"/>
                    </a:lnTo>
                    <a:lnTo>
                      <a:pt x="30" y="379"/>
                    </a:lnTo>
                    <a:lnTo>
                      <a:pt x="28" y="379"/>
                    </a:lnTo>
                    <a:lnTo>
                      <a:pt x="27" y="379"/>
                    </a:lnTo>
                    <a:lnTo>
                      <a:pt x="27" y="377"/>
                    </a:lnTo>
                    <a:lnTo>
                      <a:pt x="27" y="379"/>
                    </a:lnTo>
                    <a:lnTo>
                      <a:pt x="25" y="379"/>
                    </a:lnTo>
                    <a:lnTo>
                      <a:pt x="25" y="380"/>
                    </a:lnTo>
                    <a:lnTo>
                      <a:pt x="25" y="379"/>
                    </a:lnTo>
                    <a:lnTo>
                      <a:pt x="24" y="379"/>
                    </a:lnTo>
                    <a:lnTo>
                      <a:pt x="24" y="377"/>
                    </a:lnTo>
                    <a:lnTo>
                      <a:pt x="22" y="377"/>
                    </a:lnTo>
                    <a:lnTo>
                      <a:pt x="20" y="376"/>
                    </a:lnTo>
                    <a:lnTo>
                      <a:pt x="20" y="374"/>
                    </a:lnTo>
                    <a:lnTo>
                      <a:pt x="19" y="372"/>
                    </a:lnTo>
                    <a:lnTo>
                      <a:pt x="19" y="371"/>
                    </a:lnTo>
                    <a:lnTo>
                      <a:pt x="17" y="369"/>
                    </a:lnTo>
                    <a:lnTo>
                      <a:pt x="17" y="368"/>
                    </a:lnTo>
                    <a:lnTo>
                      <a:pt x="17" y="366"/>
                    </a:lnTo>
                    <a:lnTo>
                      <a:pt x="17" y="365"/>
                    </a:lnTo>
                    <a:lnTo>
                      <a:pt x="16" y="363"/>
                    </a:lnTo>
                    <a:lnTo>
                      <a:pt x="16" y="361"/>
                    </a:lnTo>
                    <a:lnTo>
                      <a:pt x="16" y="360"/>
                    </a:lnTo>
                    <a:lnTo>
                      <a:pt x="14" y="360"/>
                    </a:lnTo>
                    <a:lnTo>
                      <a:pt x="13" y="360"/>
                    </a:lnTo>
                    <a:lnTo>
                      <a:pt x="13" y="358"/>
                    </a:lnTo>
                    <a:lnTo>
                      <a:pt x="11" y="357"/>
                    </a:lnTo>
                    <a:lnTo>
                      <a:pt x="11" y="355"/>
                    </a:lnTo>
                    <a:lnTo>
                      <a:pt x="9" y="355"/>
                    </a:lnTo>
                    <a:lnTo>
                      <a:pt x="9" y="353"/>
                    </a:lnTo>
                    <a:lnTo>
                      <a:pt x="8" y="352"/>
                    </a:lnTo>
                    <a:lnTo>
                      <a:pt x="8" y="350"/>
                    </a:lnTo>
                    <a:lnTo>
                      <a:pt x="8" y="349"/>
                    </a:lnTo>
                    <a:lnTo>
                      <a:pt x="8" y="347"/>
                    </a:lnTo>
                    <a:lnTo>
                      <a:pt x="6" y="346"/>
                    </a:lnTo>
                    <a:lnTo>
                      <a:pt x="6" y="344"/>
                    </a:lnTo>
                    <a:lnTo>
                      <a:pt x="8" y="344"/>
                    </a:lnTo>
                    <a:lnTo>
                      <a:pt x="8" y="342"/>
                    </a:lnTo>
                    <a:lnTo>
                      <a:pt x="8" y="341"/>
                    </a:lnTo>
                    <a:lnTo>
                      <a:pt x="8" y="339"/>
                    </a:lnTo>
                    <a:lnTo>
                      <a:pt x="6" y="339"/>
                    </a:lnTo>
                    <a:lnTo>
                      <a:pt x="5" y="339"/>
                    </a:lnTo>
                    <a:lnTo>
                      <a:pt x="5" y="338"/>
                    </a:lnTo>
                    <a:lnTo>
                      <a:pt x="3" y="336"/>
                    </a:lnTo>
                    <a:lnTo>
                      <a:pt x="1" y="334"/>
                    </a:lnTo>
                    <a:lnTo>
                      <a:pt x="0" y="333"/>
                    </a:lnTo>
                    <a:lnTo>
                      <a:pt x="0" y="331"/>
                    </a:lnTo>
                    <a:lnTo>
                      <a:pt x="5" y="325"/>
                    </a:lnTo>
                    <a:lnTo>
                      <a:pt x="5" y="323"/>
                    </a:lnTo>
                    <a:lnTo>
                      <a:pt x="6" y="322"/>
                    </a:lnTo>
                    <a:lnTo>
                      <a:pt x="8" y="320"/>
                    </a:lnTo>
                    <a:lnTo>
                      <a:pt x="9" y="319"/>
                    </a:lnTo>
                    <a:lnTo>
                      <a:pt x="11" y="315"/>
                    </a:lnTo>
                    <a:lnTo>
                      <a:pt x="14" y="312"/>
                    </a:lnTo>
                    <a:lnTo>
                      <a:pt x="14" y="311"/>
                    </a:lnTo>
                    <a:lnTo>
                      <a:pt x="13" y="308"/>
                    </a:lnTo>
                    <a:lnTo>
                      <a:pt x="13" y="304"/>
                    </a:lnTo>
                    <a:lnTo>
                      <a:pt x="11" y="304"/>
                    </a:lnTo>
                    <a:lnTo>
                      <a:pt x="11" y="303"/>
                    </a:lnTo>
                    <a:lnTo>
                      <a:pt x="9" y="298"/>
                    </a:lnTo>
                    <a:lnTo>
                      <a:pt x="6" y="289"/>
                    </a:lnTo>
                    <a:lnTo>
                      <a:pt x="1" y="281"/>
                    </a:lnTo>
                    <a:lnTo>
                      <a:pt x="1" y="279"/>
                    </a:lnTo>
                    <a:lnTo>
                      <a:pt x="0" y="270"/>
                    </a:lnTo>
                    <a:lnTo>
                      <a:pt x="0" y="268"/>
                    </a:lnTo>
                    <a:lnTo>
                      <a:pt x="3" y="263"/>
                    </a:lnTo>
                    <a:lnTo>
                      <a:pt x="5" y="263"/>
                    </a:lnTo>
                    <a:lnTo>
                      <a:pt x="6" y="262"/>
                    </a:lnTo>
                    <a:lnTo>
                      <a:pt x="6" y="260"/>
                    </a:lnTo>
                    <a:lnTo>
                      <a:pt x="14" y="244"/>
                    </a:lnTo>
                    <a:lnTo>
                      <a:pt x="14" y="239"/>
                    </a:lnTo>
                    <a:lnTo>
                      <a:pt x="16" y="236"/>
                    </a:lnTo>
                    <a:lnTo>
                      <a:pt x="16" y="233"/>
                    </a:lnTo>
                    <a:lnTo>
                      <a:pt x="17" y="231"/>
                    </a:lnTo>
                    <a:lnTo>
                      <a:pt x="24" y="212"/>
                    </a:lnTo>
                    <a:lnTo>
                      <a:pt x="27" y="201"/>
                    </a:lnTo>
                    <a:lnTo>
                      <a:pt x="28" y="198"/>
                    </a:lnTo>
                    <a:lnTo>
                      <a:pt x="30" y="192"/>
                    </a:lnTo>
                    <a:lnTo>
                      <a:pt x="32" y="189"/>
                    </a:lnTo>
                    <a:lnTo>
                      <a:pt x="32" y="187"/>
                    </a:lnTo>
                    <a:lnTo>
                      <a:pt x="30" y="186"/>
                    </a:lnTo>
                    <a:lnTo>
                      <a:pt x="32" y="186"/>
                    </a:lnTo>
                    <a:lnTo>
                      <a:pt x="32" y="184"/>
                    </a:lnTo>
                    <a:lnTo>
                      <a:pt x="33" y="181"/>
                    </a:lnTo>
                    <a:lnTo>
                      <a:pt x="33" y="179"/>
                    </a:lnTo>
                    <a:lnTo>
                      <a:pt x="33" y="178"/>
                    </a:lnTo>
                    <a:lnTo>
                      <a:pt x="35" y="178"/>
                    </a:lnTo>
                    <a:lnTo>
                      <a:pt x="36" y="178"/>
                    </a:lnTo>
                    <a:lnTo>
                      <a:pt x="43" y="176"/>
                    </a:lnTo>
                    <a:lnTo>
                      <a:pt x="46" y="176"/>
                    </a:lnTo>
                    <a:lnTo>
                      <a:pt x="47" y="176"/>
                    </a:lnTo>
                    <a:lnTo>
                      <a:pt x="49" y="174"/>
                    </a:lnTo>
                    <a:lnTo>
                      <a:pt x="51" y="173"/>
                    </a:lnTo>
                    <a:lnTo>
                      <a:pt x="52" y="173"/>
                    </a:lnTo>
                    <a:lnTo>
                      <a:pt x="54" y="171"/>
                    </a:lnTo>
                    <a:lnTo>
                      <a:pt x="55" y="171"/>
                    </a:lnTo>
                    <a:lnTo>
                      <a:pt x="57" y="171"/>
                    </a:lnTo>
                    <a:lnTo>
                      <a:pt x="59" y="171"/>
                    </a:lnTo>
                    <a:lnTo>
                      <a:pt x="63" y="171"/>
                    </a:lnTo>
                    <a:lnTo>
                      <a:pt x="66" y="171"/>
                    </a:lnTo>
                    <a:lnTo>
                      <a:pt x="70" y="173"/>
                    </a:lnTo>
                    <a:lnTo>
                      <a:pt x="71" y="173"/>
                    </a:lnTo>
                    <a:lnTo>
                      <a:pt x="74" y="171"/>
                    </a:lnTo>
                    <a:lnTo>
                      <a:pt x="78" y="170"/>
                    </a:lnTo>
                    <a:lnTo>
                      <a:pt x="79" y="168"/>
                    </a:lnTo>
                    <a:lnTo>
                      <a:pt x="82" y="167"/>
                    </a:lnTo>
                    <a:lnTo>
                      <a:pt x="85" y="168"/>
                    </a:lnTo>
                    <a:lnTo>
                      <a:pt x="92" y="168"/>
                    </a:lnTo>
                    <a:lnTo>
                      <a:pt x="98" y="167"/>
                    </a:lnTo>
                    <a:lnTo>
                      <a:pt x="104" y="168"/>
                    </a:lnTo>
                    <a:lnTo>
                      <a:pt x="106" y="168"/>
                    </a:lnTo>
                    <a:lnTo>
                      <a:pt x="106" y="167"/>
                    </a:lnTo>
                    <a:lnTo>
                      <a:pt x="109" y="167"/>
                    </a:lnTo>
                    <a:lnTo>
                      <a:pt x="111" y="168"/>
                    </a:lnTo>
                    <a:lnTo>
                      <a:pt x="112" y="168"/>
                    </a:lnTo>
                    <a:lnTo>
                      <a:pt x="117" y="168"/>
                    </a:lnTo>
                    <a:lnTo>
                      <a:pt x="122" y="167"/>
                    </a:lnTo>
                    <a:lnTo>
                      <a:pt x="125" y="167"/>
                    </a:lnTo>
                    <a:lnTo>
                      <a:pt x="128" y="168"/>
                    </a:lnTo>
                    <a:lnTo>
                      <a:pt x="133" y="170"/>
                    </a:lnTo>
                    <a:lnTo>
                      <a:pt x="136" y="170"/>
                    </a:lnTo>
                    <a:lnTo>
                      <a:pt x="142" y="173"/>
                    </a:lnTo>
                    <a:lnTo>
                      <a:pt x="144" y="174"/>
                    </a:lnTo>
                    <a:lnTo>
                      <a:pt x="147" y="176"/>
                    </a:lnTo>
                    <a:lnTo>
                      <a:pt x="150" y="178"/>
                    </a:lnTo>
                    <a:lnTo>
                      <a:pt x="154" y="179"/>
                    </a:lnTo>
                    <a:lnTo>
                      <a:pt x="157" y="181"/>
                    </a:lnTo>
                    <a:lnTo>
                      <a:pt x="160" y="184"/>
                    </a:lnTo>
                    <a:lnTo>
                      <a:pt x="163" y="186"/>
                    </a:lnTo>
                    <a:lnTo>
                      <a:pt x="166" y="187"/>
                    </a:lnTo>
                    <a:lnTo>
                      <a:pt x="169" y="187"/>
                    </a:lnTo>
                    <a:lnTo>
                      <a:pt x="174" y="186"/>
                    </a:lnTo>
                    <a:lnTo>
                      <a:pt x="176" y="186"/>
                    </a:lnTo>
                    <a:lnTo>
                      <a:pt x="179" y="184"/>
                    </a:lnTo>
                    <a:lnTo>
                      <a:pt x="180" y="182"/>
                    </a:lnTo>
                    <a:lnTo>
                      <a:pt x="184" y="181"/>
                    </a:lnTo>
                    <a:lnTo>
                      <a:pt x="185" y="181"/>
                    </a:lnTo>
                    <a:lnTo>
                      <a:pt x="188" y="181"/>
                    </a:lnTo>
                    <a:lnTo>
                      <a:pt x="190" y="181"/>
                    </a:lnTo>
                    <a:lnTo>
                      <a:pt x="192" y="178"/>
                    </a:lnTo>
                    <a:lnTo>
                      <a:pt x="192" y="174"/>
                    </a:lnTo>
                    <a:lnTo>
                      <a:pt x="192" y="170"/>
                    </a:lnTo>
                    <a:lnTo>
                      <a:pt x="192" y="165"/>
                    </a:lnTo>
                    <a:lnTo>
                      <a:pt x="192" y="159"/>
                    </a:lnTo>
                    <a:lnTo>
                      <a:pt x="192" y="157"/>
                    </a:lnTo>
                    <a:lnTo>
                      <a:pt x="193" y="155"/>
                    </a:lnTo>
                    <a:lnTo>
                      <a:pt x="193" y="154"/>
                    </a:lnTo>
                    <a:lnTo>
                      <a:pt x="193" y="152"/>
                    </a:lnTo>
                    <a:lnTo>
                      <a:pt x="196" y="149"/>
                    </a:lnTo>
                    <a:lnTo>
                      <a:pt x="199" y="144"/>
                    </a:lnTo>
                    <a:lnTo>
                      <a:pt x="201" y="143"/>
                    </a:lnTo>
                    <a:lnTo>
                      <a:pt x="203" y="143"/>
                    </a:lnTo>
                    <a:lnTo>
                      <a:pt x="206" y="140"/>
                    </a:lnTo>
                    <a:lnTo>
                      <a:pt x="204" y="138"/>
                    </a:lnTo>
                    <a:lnTo>
                      <a:pt x="204" y="136"/>
                    </a:lnTo>
                    <a:lnTo>
                      <a:pt x="203" y="135"/>
                    </a:lnTo>
                    <a:lnTo>
                      <a:pt x="204" y="135"/>
                    </a:lnTo>
                    <a:lnTo>
                      <a:pt x="206" y="135"/>
                    </a:lnTo>
                    <a:lnTo>
                      <a:pt x="209" y="135"/>
                    </a:lnTo>
                    <a:lnTo>
                      <a:pt x="212" y="135"/>
                    </a:lnTo>
                    <a:lnTo>
                      <a:pt x="214" y="133"/>
                    </a:lnTo>
                    <a:lnTo>
                      <a:pt x="215" y="132"/>
                    </a:lnTo>
                    <a:lnTo>
                      <a:pt x="217" y="130"/>
                    </a:lnTo>
                    <a:lnTo>
                      <a:pt x="218" y="130"/>
                    </a:lnTo>
                    <a:lnTo>
                      <a:pt x="223" y="130"/>
                    </a:lnTo>
                    <a:lnTo>
                      <a:pt x="226" y="132"/>
                    </a:lnTo>
                    <a:lnTo>
                      <a:pt x="230" y="132"/>
                    </a:lnTo>
                    <a:lnTo>
                      <a:pt x="233" y="133"/>
                    </a:lnTo>
                    <a:lnTo>
                      <a:pt x="239" y="133"/>
                    </a:lnTo>
                    <a:lnTo>
                      <a:pt x="242" y="132"/>
                    </a:lnTo>
                    <a:lnTo>
                      <a:pt x="247" y="132"/>
                    </a:lnTo>
                    <a:lnTo>
                      <a:pt x="250" y="133"/>
                    </a:lnTo>
                    <a:lnTo>
                      <a:pt x="250" y="135"/>
                    </a:lnTo>
                    <a:lnTo>
                      <a:pt x="252" y="135"/>
                    </a:lnTo>
                    <a:lnTo>
                      <a:pt x="255" y="138"/>
                    </a:lnTo>
                    <a:lnTo>
                      <a:pt x="257" y="138"/>
                    </a:lnTo>
                    <a:lnTo>
                      <a:pt x="258" y="140"/>
                    </a:lnTo>
                    <a:lnTo>
                      <a:pt x="261" y="141"/>
                    </a:lnTo>
                    <a:lnTo>
                      <a:pt x="263" y="141"/>
                    </a:lnTo>
                    <a:lnTo>
                      <a:pt x="263" y="143"/>
                    </a:lnTo>
                    <a:lnTo>
                      <a:pt x="264" y="144"/>
                    </a:lnTo>
                    <a:lnTo>
                      <a:pt x="266" y="148"/>
                    </a:lnTo>
                    <a:lnTo>
                      <a:pt x="266" y="151"/>
                    </a:lnTo>
                    <a:lnTo>
                      <a:pt x="268" y="152"/>
                    </a:lnTo>
                    <a:lnTo>
                      <a:pt x="269" y="154"/>
                    </a:lnTo>
                    <a:lnTo>
                      <a:pt x="272" y="155"/>
                    </a:lnTo>
                    <a:lnTo>
                      <a:pt x="272" y="157"/>
                    </a:lnTo>
                    <a:lnTo>
                      <a:pt x="274" y="157"/>
                    </a:lnTo>
                    <a:lnTo>
                      <a:pt x="274" y="160"/>
                    </a:lnTo>
                    <a:lnTo>
                      <a:pt x="276" y="163"/>
                    </a:lnTo>
                    <a:lnTo>
                      <a:pt x="276" y="165"/>
                    </a:lnTo>
                    <a:lnTo>
                      <a:pt x="277" y="165"/>
                    </a:lnTo>
                    <a:lnTo>
                      <a:pt x="277" y="167"/>
                    </a:lnTo>
                    <a:lnTo>
                      <a:pt x="279" y="168"/>
                    </a:lnTo>
                    <a:lnTo>
                      <a:pt x="277" y="171"/>
                    </a:lnTo>
                    <a:lnTo>
                      <a:pt x="276" y="176"/>
                    </a:lnTo>
                    <a:lnTo>
                      <a:pt x="280" y="179"/>
                    </a:lnTo>
                    <a:lnTo>
                      <a:pt x="282" y="181"/>
                    </a:lnTo>
                    <a:lnTo>
                      <a:pt x="285" y="181"/>
                    </a:lnTo>
                    <a:lnTo>
                      <a:pt x="290" y="182"/>
                    </a:lnTo>
                    <a:lnTo>
                      <a:pt x="296" y="187"/>
                    </a:lnTo>
                    <a:lnTo>
                      <a:pt x="298" y="187"/>
                    </a:lnTo>
                    <a:lnTo>
                      <a:pt x="298" y="189"/>
                    </a:lnTo>
                    <a:lnTo>
                      <a:pt x="298" y="193"/>
                    </a:lnTo>
                    <a:lnTo>
                      <a:pt x="298" y="197"/>
                    </a:lnTo>
                    <a:lnTo>
                      <a:pt x="298" y="200"/>
                    </a:lnTo>
                    <a:lnTo>
                      <a:pt x="298" y="201"/>
                    </a:lnTo>
                    <a:lnTo>
                      <a:pt x="301" y="206"/>
                    </a:lnTo>
                    <a:lnTo>
                      <a:pt x="304" y="208"/>
                    </a:lnTo>
                    <a:lnTo>
                      <a:pt x="306" y="208"/>
                    </a:lnTo>
                    <a:lnTo>
                      <a:pt x="307" y="208"/>
                    </a:lnTo>
                    <a:lnTo>
                      <a:pt x="309" y="206"/>
                    </a:lnTo>
                    <a:lnTo>
                      <a:pt x="309" y="205"/>
                    </a:lnTo>
                    <a:lnTo>
                      <a:pt x="310" y="203"/>
                    </a:lnTo>
                    <a:lnTo>
                      <a:pt x="312" y="200"/>
                    </a:lnTo>
                    <a:lnTo>
                      <a:pt x="315" y="193"/>
                    </a:lnTo>
                    <a:lnTo>
                      <a:pt x="318" y="189"/>
                    </a:lnTo>
                    <a:lnTo>
                      <a:pt x="323" y="182"/>
                    </a:lnTo>
                    <a:lnTo>
                      <a:pt x="328" y="176"/>
                    </a:lnTo>
                    <a:lnTo>
                      <a:pt x="333" y="167"/>
                    </a:lnTo>
                    <a:lnTo>
                      <a:pt x="339" y="154"/>
                    </a:lnTo>
                    <a:lnTo>
                      <a:pt x="344" y="146"/>
                    </a:lnTo>
                    <a:lnTo>
                      <a:pt x="344" y="143"/>
                    </a:lnTo>
                    <a:lnTo>
                      <a:pt x="352" y="124"/>
                    </a:lnTo>
                    <a:lnTo>
                      <a:pt x="355" y="119"/>
                    </a:lnTo>
                    <a:lnTo>
                      <a:pt x="356" y="116"/>
                    </a:lnTo>
                    <a:lnTo>
                      <a:pt x="358" y="114"/>
                    </a:lnTo>
                    <a:lnTo>
                      <a:pt x="359" y="111"/>
                    </a:lnTo>
                    <a:lnTo>
                      <a:pt x="361" y="106"/>
                    </a:lnTo>
                    <a:lnTo>
                      <a:pt x="364" y="102"/>
                    </a:lnTo>
                    <a:lnTo>
                      <a:pt x="366" y="98"/>
                    </a:lnTo>
                    <a:lnTo>
                      <a:pt x="369" y="94"/>
                    </a:lnTo>
                    <a:lnTo>
                      <a:pt x="369" y="90"/>
                    </a:lnTo>
                    <a:lnTo>
                      <a:pt x="371" y="87"/>
                    </a:lnTo>
                    <a:lnTo>
                      <a:pt x="374" y="86"/>
                    </a:lnTo>
                    <a:lnTo>
                      <a:pt x="375" y="86"/>
                    </a:lnTo>
                    <a:lnTo>
                      <a:pt x="375" y="84"/>
                    </a:lnTo>
                    <a:lnTo>
                      <a:pt x="375" y="83"/>
                    </a:lnTo>
                    <a:lnTo>
                      <a:pt x="377" y="79"/>
                    </a:lnTo>
                    <a:lnTo>
                      <a:pt x="377" y="78"/>
                    </a:lnTo>
                    <a:lnTo>
                      <a:pt x="378" y="76"/>
                    </a:lnTo>
                    <a:lnTo>
                      <a:pt x="380" y="75"/>
                    </a:lnTo>
                    <a:lnTo>
                      <a:pt x="382" y="75"/>
                    </a:lnTo>
                    <a:lnTo>
                      <a:pt x="383" y="75"/>
                    </a:lnTo>
                    <a:lnTo>
                      <a:pt x="383" y="73"/>
                    </a:lnTo>
                    <a:lnTo>
                      <a:pt x="385" y="71"/>
                    </a:lnTo>
                    <a:lnTo>
                      <a:pt x="386" y="68"/>
                    </a:lnTo>
                    <a:lnTo>
                      <a:pt x="390" y="62"/>
                    </a:lnTo>
                    <a:lnTo>
                      <a:pt x="393" y="59"/>
                    </a:lnTo>
                    <a:lnTo>
                      <a:pt x="396" y="54"/>
                    </a:lnTo>
                    <a:lnTo>
                      <a:pt x="397" y="49"/>
                    </a:lnTo>
                    <a:lnTo>
                      <a:pt x="399" y="46"/>
                    </a:lnTo>
                    <a:lnTo>
                      <a:pt x="401" y="43"/>
                    </a:lnTo>
                    <a:lnTo>
                      <a:pt x="402" y="40"/>
                    </a:lnTo>
                    <a:lnTo>
                      <a:pt x="405" y="37"/>
                    </a:lnTo>
                    <a:lnTo>
                      <a:pt x="409" y="32"/>
                    </a:lnTo>
                    <a:lnTo>
                      <a:pt x="412" y="27"/>
                    </a:lnTo>
                    <a:lnTo>
                      <a:pt x="413" y="24"/>
                    </a:lnTo>
                    <a:lnTo>
                      <a:pt x="416" y="19"/>
                    </a:lnTo>
                    <a:lnTo>
                      <a:pt x="418" y="14"/>
                    </a:lnTo>
                    <a:lnTo>
                      <a:pt x="421" y="11"/>
                    </a:lnTo>
                    <a:lnTo>
                      <a:pt x="423" y="8"/>
                    </a:lnTo>
                    <a:lnTo>
                      <a:pt x="424" y="5"/>
                    </a:lnTo>
                    <a:lnTo>
                      <a:pt x="428" y="0"/>
                    </a:lnTo>
                    <a:lnTo>
                      <a:pt x="432" y="3"/>
                    </a:lnTo>
                    <a:lnTo>
                      <a:pt x="432" y="5"/>
                    </a:lnTo>
                    <a:lnTo>
                      <a:pt x="434" y="8"/>
                    </a:lnTo>
                    <a:lnTo>
                      <a:pt x="436" y="10"/>
                    </a:lnTo>
                    <a:lnTo>
                      <a:pt x="437" y="13"/>
                    </a:lnTo>
                    <a:lnTo>
                      <a:pt x="439" y="16"/>
                    </a:lnTo>
                    <a:lnTo>
                      <a:pt x="440" y="18"/>
                    </a:lnTo>
                    <a:lnTo>
                      <a:pt x="442" y="19"/>
                    </a:lnTo>
                    <a:lnTo>
                      <a:pt x="443" y="21"/>
                    </a:lnTo>
                    <a:lnTo>
                      <a:pt x="445" y="22"/>
                    </a:lnTo>
                    <a:lnTo>
                      <a:pt x="447" y="25"/>
                    </a:lnTo>
                    <a:lnTo>
                      <a:pt x="448" y="27"/>
                    </a:lnTo>
                    <a:lnTo>
                      <a:pt x="450" y="29"/>
                    </a:lnTo>
                    <a:lnTo>
                      <a:pt x="451" y="32"/>
                    </a:lnTo>
                    <a:lnTo>
                      <a:pt x="453" y="35"/>
                    </a:lnTo>
                    <a:lnTo>
                      <a:pt x="455" y="37"/>
                    </a:lnTo>
                    <a:lnTo>
                      <a:pt x="455" y="38"/>
                    </a:lnTo>
                    <a:lnTo>
                      <a:pt x="456" y="40"/>
                    </a:lnTo>
                    <a:lnTo>
                      <a:pt x="456" y="41"/>
                    </a:lnTo>
                    <a:lnTo>
                      <a:pt x="456" y="43"/>
                    </a:lnTo>
                    <a:lnTo>
                      <a:pt x="456" y="45"/>
                    </a:lnTo>
                    <a:lnTo>
                      <a:pt x="458" y="46"/>
                    </a:lnTo>
                    <a:lnTo>
                      <a:pt x="461" y="49"/>
                    </a:lnTo>
                    <a:lnTo>
                      <a:pt x="464" y="51"/>
                    </a:lnTo>
                    <a:lnTo>
                      <a:pt x="467" y="51"/>
                    </a:lnTo>
                    <a:lnTo>
                      <a:pt x="470" y="51"/>
                    </a:lnTo>
                    <a:lnTo>
                      <a:pt x="474" y="52"/>
                    </a:lnTo>
                    <a:lnTo>
                      <a:pt x="478" y="54"/>
                    </a:lnTo>
                    <a:lnTo>
                      <a:pt x="483" y="56"/>
                    </a:lnTo>
                    <a:lnTo>
                      <a:pt x="488" y="59"/>
                    </a:lnTo>
                    <a:lnTo>
                      <a:pt x="489" y="60"/>
                    </a:lnTo>
                    <a:lnTo>
                      <a:pt x="491" y="62"/>
                    </a:lnTo>
                    <a:lnTo>
                      <a:pt x="491" y="64"/>
                    </a:lnTo>
                  </a:path>
                </a:pathLst>
              </a:custGeom>
              <a:noFill/>
              <a:ln w="4763">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49" name="Freeform 47"/>
              <p:cNvSpPr>
                <a:spLocks/>
              </p:cNvSpPr>
              <p:nvPr/>
            </p:nvSpPr>
            <p:spPr bwMode="auto">
              <a:xfrm>
                <a:off x="2103" y="977"/>
                <a:ext cx="1437" cy="1469"/>
              </a:xfrm>
              <a:custGeom>
                <a:avLst/>
                <a:gdLst>
                  <a:gd name="T0" fmla="*/ 415 w 1437"/>
                  <a:gd name="T1" fmla="*/ 59 h 1469"/>
                  <a:gd name="T2" fmla="*/ 477 w 1437"/>
                  <a:gd name="T3" fmla="*/ 110 h 1469"/>
                  <a:gd name="T4" fmla="*/ 555 w 1437"/>
                  <a:gd name="T5" fmla="*/ 95 h 1469"/>
                  <a:gd name="T6" fmla="*/ 601 w 1437"/>
                  <a:gd name="T7" fmla="*/ 114 h 1469"/>
                  <a:gd name="T8" fmla="*/ 680 w 1437"/>
                  <a:gd name="T9" fmla="*/ 103 h 1469"/>
                  <a:gd name="T10" fmla="*/ 724 w 1437"/>
                  <a:gd name="T11" fmla="*/ 49 h 1469"/>
                  <a:gd name="T12" fmla="*/ 791 w 1437"/>
                  <a:gd name="T13" fmla="*/ 78 h 1469"/>
                  <a:gd name="T14" fmla="*/ 862 w 1437"/>
                  <a:gd name="T15" fmla="*/ 80 h 1469"/>
                  <a:gd name="T16" fmla="*/ 898 w 1437"/>
                  <a:gd name="T17" fmla="*/ 64 h 1469"/>
                  <a:gd name="T18" fmla="*/ 943 w 1437"/>
                  <a:gd name="T19" fmla="*/ 61 h 1469"/>
                  <a:gd name="T20" fmla="*/ 966 w 1437"/>
                  <a:gd name="T21" fmla="*/ 75 h 1469"/>
                  <a:gd name="T22" fmla="*/ 1011 w 1437"/>
                  <a:gd name="T23" fmla="*/ 132 h 1469"/>
                  <a:gd name="T24" fmla="*/ 1074 w 1437"/>
                  <a:gd name="T25" fmla="*/ 159 h 1469"/>
                  <a:gd name="T26" fmla="*/ 1096 w 1437"/>
                  <a:gd name="T27" fmla="*/ 221 h 1469"/>
                  <a:gd name="T28" fmla="*/ 1157 w 1437"/>
                  <a:gd name="T29" fmla="*/ 235 h 1469"/>
                  <a:gd name="T30" fmla="*/ 1171 w 1437"/>
                  <a:gd name="T31" fmla="*/ 293 h 1469"/>
                  <a:gd name="T32" fmla="*/ 1145 w 1437"/>
                  <a:gd name="T33" fmla="*/ 344 h 1469"/>
                  <a:gd name="T34" fmla="*/ 1180 w 1437"/>
                  <a:gd name="T35" fmla="*/ 427 h 1469"/>
                  <a:gd name="T36" fmla="*/ 1247 w 1437"/>
                  <a:gd name="T37" fmla="*/ 441 h 1469"/>
                  <a:gd name="T38" fmla="*/ 1315 w 1437"/>
                  <a:gd name="T39" fmla="*/ 461 h 1469"/>
                  <a:gd name="T40" fmla="*/ 1378 w 1437"/>
                  <a:gd name="T41" fmla="*/ 639 h 1469"/>
                  <a:gd name="T42" fmla="*/ 1434 w 1437"/>
                  <a:gd name="T43" fmla="*/ 800 h 1469"/>
                  <a:gd name="T44" fmla="*/ 1424 w 1437"/>
                  <a:gd name="T45" fmla="*/ 984 h 1469"/>
                  <a:gd name="T46" fmla="*/ 1391 w 1437"/>
                  <a:gd name="T47" fmla="*/ 1098 h 1469"/>
                  <a:gd name="T48" fmla="*/ 1334 w 1437"/>
                  <a:gd name="T49" fmla="*/ 1176 h 1469"/>
                  <a:gd name="T50" fmla="*/ 1335 w 1437"/>
                  <a:gd name="T51" fmla="*/ 1334 h 1469"/>
                  <a:gd name="T52" fmla="*/ 1191 w 1437"/>
                  <a:gd name="T53" fmla="*/ 1366 h 1469"/>
                  <a:gd name="T54" fmla="*/ 1218 w 1437"/>
                  <a:gd name="T55" fmla="*/ 1273 h 1469"/>
                  <a:gd name="T56" fmla="*/ 1177 w 1437"/>
                  <a:gd name="T57" fmla="*/ 1244 h 1469"/>
                  <a:gd name="T58" fmla="*/ 1209 w 1437"/>
                  <a:gd name="T59" fmla="*/ 1181 h 1469"/>
                  <a:gd name="T60" fmla="*/ 1153 w 1437"/>
                  <a:gd name="T61" fmla="*/ 1190 h 1469"/>
                  <a:gd name="T62" fmla="*/ 1107 w 1437"/>
                  <a:gd name="T63" fmla="*/ 1225 h 1469"/>
                  <a:gd name="T64" fmla="*/ 1080 w 1437"/>
                  <a:gd name="T65" fmla="*/ 1168 h 1469"/>
                  <a:gd name="T66" fmla="*/ 1031 w 1437"/>
                  <a:gd name="T67" fmla="*/ 1151 h 1469"/>
                  <a:gd name="T68" fmla="*/ 990 w 1437"/>
                  <a:gd name="T69" fmla="*/ 1092 h 1469"/>
                  <a:gd name="T70" fmla="*/ 1039 w 1437"/>
                  <a:gd name="T71" fmla="*/ 1054 h 1469"/>
                  <a:gd name="T72" fmla="*/ 1012 w 1437"/>
                  <a:gd name="T73" fmla="*/ 986 h 1469"/>
                  <a:gd name="T74" fmla="*/ 935 w 1437"/>
                  <a:gd name="T75" fmla="*/ 1006 h 1469"/>
                  <a:gd name="T76" fmla="*/ 895 w 1437"/>
                  <a:gd name="T77" fmla="*/ 1054 h 1469"/>
                  <a:gd name="T78" fmla="*/ 832 w 1437"/>
                  <a:gd name="T79" fmla="*/ 1087 h 1469"/>
                  <a:gd name="T80" fmla="*/ 770 w 1437"/>
                  <a:gd name="T81" fmla="*/ 1119 h 1469"/>
                  <a:gd name="T82" fmla="*/ 702 w 1437"/>
                  <a:gd name="T83" fmla="*/ 1138 h 1469"/>
                  <a:gd name="T84" fmla="*/ 627 w 1437"/>
                  <a:gd name="T85" fmla="*/ 1089 h 1469"/>
                  <a:gd name="T86" fmla="*/ 558 w 1437"/>
                  <a:gd name="T87" fmla="*/ 1060 h 1469"/>
                  <a:gd name="T88" fmla="*/ 504 w 1437"/>
                  <a:gd name="T89" fmla="*/ 1010 h 1469"/>
                  <a:gd name="T90" fmla="*/ 420 w 1437"/>
                  <a:gd name="T91" fmla="*/ 994 h 1469"/>
                  <a:gd name="T92" fmla="*/ 369 w 1437"/>
                  <a:gd name="T93" fmla="*/ 972 h 1469"/>
                  <a:gd name="T94" fmla="*/ 309 w 1437"/>
                  <a:gd name="T95" fmla="*/ 946 h 1469"/>
                  <a:gd name="T96" fmla="*/ 317 w 1437"/>
                  <a:gd name="T97" fmla="*/ 881 h 1469"/>
                  <a:gd name="T98" fmla="*/ 304 w 1437"/>
                  <a:gd name="T99" fmla="*/ 845 h 1469"/>
                  <a:gd name="T100" fmla="*/ 361 w 1437"/>
                  <a:gd name="T101" fmla="*/ 778 h 1469"/>
                  <a:gd name="T102" fmla="*/ 347 w 1437"/>
                  <a:gd name="T103" fmla="*/ 743 h 1469"/>
                  <a:gd name="T104" fmla="*/ 372 w 1437"/>
                  <a:gd name="T105" fmla="*/ 693 h 1469"/>
                  <a:gd name="T106" fmla="*/ 331 w 1437"/>
                  <a:gd name="T107" fmla="*/ 648 h 1469"/>
                  <a:gd name="T108" fmla="*/ 307 w 1437"/>
                  <a:gd name="T109" fmla="*/ 574 h 1469"/>
                  <a:gd name="T110" fmla="*/ 246 w 1437"/>
                  <a:gd name="T111" fmla="*/ 587 h 1469"/>
                  <a:gd name="T112" fmla="*/ 200 w 1437"/>
                  <a:gd name="T113" fmla="*/ 515 h 1469"/>
                  <a:gd name="T114" fmla="*/ 140 w 1437"/>
                  <a:gd name="T115" fmla="*/ 511 h 1469"/>
                  <a:gd name="T116" fmla="*/ 87 w 1437"/>
                  <a:gd name="T117" fmla="*/ 564 h 1469"/>
                  <a:gd name="T118" fmla="*/ 26 w 1437"/>
                  <a:gd name="T119" fmla="*/ 575 h 1469"/>
                  <a:gd name="T120" fmla="*/ 11 w 1437"/>
                  <a:gd name="T121" fmla="*/ 511 h 1469"/>
                  <a:gd name="T122" fmla="*/ 149 w 1437"/>
                  <a:gd name="T123" fmla="*/ 322 h 1469"/>
                  <a:gd name="T124" fmla="*/ 263 w 1437"/>
                  <a:gd name="T125" fmla="*/ 222 h 1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37" h="1469">
                    <a:moveTo>
                      <a:pt x="349" y="8"/>
                    </a:moveTo>
                    <a:lnTo>
                      <a:pt x="350" y="8"/>
                    </a:lnTo>
                    <a:lnTo>
                      <a:pt x="352" y="8"/>
                    </a:lnTo>
                    <a:lnTo>
                      <a:pt x="352" y="10"/>
                    </a:lnTo>
                    <a:lnTo>
                      <a:pt x="352" y="11"/>
                    </a:lnTo>
                    <a:lnTo>
                      <a:pt x="352" y="13"/>
                    </a:lnTo>
                    <a:lnTo>
                      <a:pt x="350" y="13"/>
                    </a:lnTo>
                    <a:lnTo>
                      <a:pt x="350" y="15"/>
                    </a:lnTo>
                    <a:lnTo>
                      <a:pt x="352" y="16"/>
                    </a:lnTo>
                    <a:lnTo>
                      <a:pt x="352" y="18"/>
                    </a:lnTo>
                    <a:lnTo>
                      <a:pt x="352" y="19"/>
                    </a:lnTo>
                    <a:lnTo>
                      <a:pt x="352" y="21"/>
                    </a:lnTo>
                    <a:lnTo>
                      <a:pt x="353" y="22"/>
                    </a:lnTo>
                    <a:lnTo>
                      <a:pt x="353" y="24"/>
                    </a:lnTo>
                    <a:lnTo>
                      <a:pt x="355" y="24"/>
                    </a:lnTo>
                    <a:lnTo>
                      <a:pt x="355" y="26"/>
                    </a:lnTo>
                    <a:lnTo>
                      <a:pt x="357" y="27"/>
                    </a:lnTo>
                    <a:lnTo>
                      <a:pt x="357" y="29"/>
                    </a:lnTo>
                    <a:lnTo>
                      <a:pt x="358" y="29"/>
                    </a:lnTo>
                    <a:lnTo>
                      <a:pt x="360" y="29"/>
                    </a:lnTo>
                    <a:lnTo>
                      <a:pt x="360" y="30"/>
                    </a:lnTo>
                    <a:lnTo>
                      <a:pt x="360" y="32"/>
                    </a:lnTo>
                    <a:lnTo>
                      <a:pt x="361" y="34"/>
                    </a:lnTo>
                    <a:lnTo>
                      <a:pt x="361" y="35"/>
                    </a:lnTo>
                    <a:lnTo>
                      <a:pt x="361" y="37"/>
                    </a:lnTo>
                    <a:lnTo>
                      <a:pt x="361" y="38"/>
                    </a:lnTo>
                    <a:lnTo>
                      <a:pt x="363" y="40"/>
                    </a:lnTo>
                    <a:lnTo>
                      <a:pt x="363" y="41"/>
                    </a:lnTo>
                    <a:lnTo>
                      <a:pt x="364" y="43"/>
                    </a:lnTo>
                    <a:lnTo>
                      <a:pt x="364" y="45"/>
                    </a:lnTo>
                    <a:lnTo>
                      <a:pt x="366" y="46"/>
                    </a:lnTo>
                    <a:lnTo>
                      <a:pt x="368" y="46"/>
                    </a:lnTo>
                    <a:lnTo>
                      <a:pt x="368" y="48"/>
                    </a:lnTo>
                    <a:lnTo>
                      <a:pt x="369" y="48"/>
                    </a:lnTo>
                    <a:lnTo>
                      <a:pt x="369" y="49"/>
                    </a:lnTo>
                    <a:lnTo>
                      <a:pt x="369" y="48"/>
                    </a:lnTo>
                    <a:lnTo>
                      <a:pt x="371" y="48"/>
                    </a:lnTo>
                    <a:lnTo>
                      <a:pt x="371" y="46"/>
                    </a:lnTo>
                    <a:lnTo>
                      <a:pt x="371" y="48"/>
                    </a:lnTo>
                    <a:lnTo>
                      <a:pt x="372" y="48"/>
                    </a:lnTo>
                    <a:lnTo>
                      <a:pt x="374" y="48"/>
                    </a:lnTo>
                    <a:lnTo>
                      <a:pt x="374" y="49"/>
                    </a:lnTo>
                    <a:lnTo>
                      <a:pt x="376" y="49"/>
                    </a:lnTo>
                    <a:lnTo>
                      <a:pt x="377" y="49"/>
                    </a:lnTo>
                    <a:lnTo>
                      <a:pt x="377" y="51"/>
                    </a:lnTo>
                    <a:lnTo>
                      <a:pt x="379" y="51"/>
                    </a:lnTo>
                    <a:lnTo>
                      <a:pt x="380" y="51"/>
                    </a:lnTo>
                    <a:lnTo>
                      <a:pt x="380" y="53"/>
                    </a:lnTo>
                    <a:lnTo>
                      <a:pt x="382" y="53"/>
                    </a:lnTo>
                    <a:lnTo>
                      <a:pt x="383" y="53"/>
                    </a:lnTo>
                    <a:lnTo>
                      <a:pt x="385" y="53"/>
                    </a:lnTo>
                    <a:lnTo>
                      <a:pt x="387" y="53"/>
                    </a:lnTo>
                    <a:lnTo>
                      <a:pt x="388" y="53"/>
                    </a:lnTo>
                    <a:lnTo>
                      <a:pt x="390" y="53"/>
                    </a:lnTo>
                    <a:lnTo>
                      <a:pt x="391" y="54"/>
                    </a:lnTo>
                    <a:lnTo>
                      <a:pt x="393" y="54"/>
                    </a:lnTo>
                    <a:lnTo>
                      <a:pt x="395" y="54"/>
                    </a:lnTo>
                    <a:lnTo>
                      <a:pt x="396" y="54"/>
                    </a:lnTo>
                    <a:lnTo>
                      <a:pt x="398" y="54"/>
                    </a:lnTo>
                    <a:lnTo>
                      <a:pt x="399" y="56"/>
                    </a:lnTo>
                    <a:lnTo>
                      <a:pt x="401" y="56"/>
                    </a:lnTo>
                    <a:lnTo>
                      <a:pt x="403" y="56"/>
                    </a:lnTo>
                    <a:lnTo>
                      <a:pt x="404" y="56"/>
                    </a:lnTo>
                    <a:lnTo>
                      <a:pt x="406" y="56"/>
                    </a:lnTo>
                    <a:lnTo>
                      <a:pt x="407" y="56"/>
                    </a:lnTo>
                    <a:lnTo>
                      <a:pt x="409" y="56"/>
                    </a:lnTo>
                    <a:lnTo>
                      <a:pt x="410" y="56"/>
                    </a:lnTo>
                    <a:lnTo>
                      <a:pt x="412" y="56"/>
                    </a:lnTo>
                    <a:lnTo>
                      <a:pt x="412" y="57"/>
                    </a:lnTo>
                    <a:lnTo>
                      <a:pt x="414" y="57"/>
                    </a:lnTo>
                    <a:lnTo>
                      <a:pt x="414" y="59"/>
                    </a:lnTo>
                    <a:lnTo>
                      <a:pt x="415" y="59"/>
                    </a:lnTo>
                    <a:lnTo>
                      <a:pt x="417" y="59"/>
                    </a:lnTo>
                    <a:lnTo>
                      <a:pt x="417" y="61"/>
                    </a:lnTo>
                    <a:lnTo>
                      <a:pt x="418" y="61"/>
                    </a:lnTo>
                    <a:lnTo>
                      <a:pt x="420" y="61"/>
                    </a:lnTo>
                    <a:lnTo>
                      <a:pt x="420" y="62"/>
                    </a:lnTo>
                    <a:lnTo>
                      <a:pt x="422" y="62"/>
                    </a:lnTo>
                    <a:lnTo>
                      <a:pt x="423" y="62"/>
                    </a:lnTo>
                    <a:lnTo>
                      <a:pt x="423" y="61"/>
                    </a:lnTo>
                    <a:lnTo>
                      <a:pt x="425" y="61"/>
                    </a:lnTo>
                    <a:lnTo>
                      <a:pt x="425" y="62"/>
                    </a:lnTo>
                    <a:lnTo>
                      <a:pt x="426" y="62"/>
                    </a:lnTo>
                    <a:lnTo>
                      <a:pt x="426" y="64"/>
                    </a:lnTo>
                    <a:lnTo>
                      <a:pt x="428" y="64"/>
                    </a:lnTo>
                    <a:lnTo>
                      <a:pt x="428" y="65"/>
                    </a:lnTo>
                    <a:lnTo>
                      <a:pt x="429" y="65"/>
                    </a:lnTo>
                    <a:lnTo>
                      <a:pt x="429" y="67"/>
                    </a:lnTo>
                    <a:lnTo>
                      <a:pt x="429" y="68"/>
                    </a:lnTo>
                    <a:lnTo>
                      <a:pt x="431" y="68"/>
                    </a:lnTo>
                    <a:lnTo>
                      <a:pt x="431" y="70"/>
                    </a:lnTo>
                    <a:lnTo>
                      <a:pt x="431" y="72"/>
                    </a:lnTo>
                    <a:lnTo>
                      <a:pt x="433" y="73"/>
                    </a:lnTo>
                    <a:lnTo>
                      <a:pt x="433" y="75"/>
                    </a:lnTo>
                    <a:lnTo>
                      <a:pt x="433" y="76"/>
                    </a:lnTo>
                    <a:lnTo>
                      <a:pt x="434" y="76"/>
                    </a:lnTo>
                    <a:lnTo>
                      <a:pt x="436" y="78"/>
                    </a:lnTo>
                    <a:lnTo>
                      <a:pt x="437" y="78"/>
                    </a:lnTo>
                    <a:lnTo>
                      <a:pt x="439" y="78"/>
                    </a:lnTo>
                    <a:lnTo>
                      <a:pt x="439" y="80"/>
                    </a:lnTo>
                    <a:lnTo>
                      <a:pt x="441" y="80"/>
                    </a:lnTo>
                    <a:lnTo>
                      <a:pt x="441" y="81"/>
                    </a:lnTo>
                    <a:lnTo>
                      <a:pt x="442" y="81"/>
                    </a:lnTo>
                    <a:lnTo>
                      <a:pt x="442" y="83"/>
                    </a:lnTo>
                    <a:lnTo>
                      <a:pt x="444" y="83"/>
                    </a:lnTo>
                    <a:lnTo>
                      <a:pt x="444" y="84"/>
                    </a:lnTo>
                    <a:lnTo>
                      <a:pt x="444" y="86"/>
                    </a:lnTo>
                    <a:lnTo>
                      <a:pt x="445" y="86"/>
                    </a:lnTo>
                    <a:lnTo>
                      <a:pt x="447" y="87"/>
                    </a:lnTo>
                    <a:lnTo>
                      <a:pt x="447" y="89"/>
                    </a:lnTo>
                    <a:lnTo>
                      <a:pt x="448" y="89"/>
                    </a:lnTo>
                    <a:lnTo>
                      <a:pt x="450" y="89"/>
                    </a:lnTo>
                    <a:lnTo>
                      <a:pt x="450" y="91"/>
                    </a:lnTo>
                    <a:lnTo>
                      <a:pt x="452" y="91"/>
                    </a:lnTo>
                    <a:lnTo>
                      <a:pt x="453" y="91"/>
                    </a:lnTo>
                    <a:lnTo>
                      <a:pt x="453" y="92"/>
                    </a:lnTo>
                    <a:lnTo>
                      <a:pt x="455" y="92"/>
                    </a:lnTo>
                    <a:lnTo>
                      <a:pt x="456" y="92"/>
                    </a:lnTo>
                    <a:lnTo>
                      <a:pt x="456" y="94"/>
                    </a:lnTo>
                    <a:lnTo>
                      <a:pt x="458" y="94"/>
                    </a:lnTo>
                    <a:lnTo>
                      <a:pt x="460" y="94"/>
                    </a:lnTo>
                    <a:lnTo>
                      <a:pt x="460" y="95"/>
                    </a:lnTo>
                    <a:lnTo>
                      <a:pt x="461" y="95"/>
                    </a:lnTo>
                    <a:lnTo>
                      <a:pt x="461" y="97"/>
                    </a:lnTo>
                    <a:lnTo>
                      <a:pt x="463" y="97"/>
                    </a:lnTo>
                    <a:lnTo>
                      <a:pt x="463" y="99"/>
                    </a:lnTo>
                    <a:lnTo>
                      <a:pt x="464" y="99"/>
                    </a:lnTo>
                    <a:lnTo>
                      <a:pt x="466" y="99"/>
                    </a:lnTo>
                    <a:lnTo>
                      <a:pt x="466" y="100"/>
                    </a:lnTo>
                    <a:lnTo>
                      <a:pt x="467" y="100"/>
                    </a:lnTo>
                    <a:lnTo>
                      <a:pt x="467" y="102"/>
                    </a:lnTo>
                    <a:lnTo>
                      <a:pt x="469" y="102"/>
                    </a:lnTo>
                    <a:lnTo>
                      <a:pt x="469" y="103"/>
                    </a:lnTo>
                    <a:lnTo>
                      <a:pt x="471" y="103"/>
                    </a:lnTo>
                    <a:lnTo>
                      <a:pt x="471" y="105"/>
                    </a:lnTo>
                    <a:lnTo>
                      <a:pt x="471" y="103"/>
                    </a:lnTo>
                    <a:lnTo>
                      <a:pt x="472" y="103"/>
                    </a:lnTo>
                    <a:lnTo>
                      <a:pt x="474" y="103"/>
                    </a:lnTo>
                    <a:lnTo>
                      <a:pt x="474" y="105"/>
                    </a:lnTo>
                    <a:lnTo>
                      <a:pt x="475" y="105"/>
                    </a:lnTo>
                    <a:lnTo>
                      <a:pt x="475" y="106"/>
                    </a:lnTo>
                    <a:lnTo>
                      <a:pt x="477" y="106"/>
                    </a:lnTo>
                    <a:lnTo>
                      <a:pt x="477" y="108"/>
                    </a:lnTo>
                    <a:lnTo>
                      <a:pt x="477" y="110"/>
                    </a:lnTo>
                    <a:lnTo>
                      <a:pt x="479" y="111"/>
                    </a:lnTo>
                    <a:lnTo>
                      <a:pt x="479" y="110"/>
                    </a:lnTo>
                    <a:lnTo>
                      <a:pt x="480" y="110"/>
                    </a:lnTo>
                    <a:lnTo>
                      <a:pt x="480" y="111"/>
                    </a:lnTo>
                    <a:lnTo>
                      <a:pt x="480" y="113"/>
                    </a:lnTo>
                    <a:lnTo>
                      <a:pt x="482" y="113"/>
                    </a:lnTo>
                    <a:lnTo>
                      <a:pt x="483" y="111"/>
                    </a:lnTo>
                    <a:lnTo>
                      <a:pt x="483" y="113"/>
                    </a:lnTo>
                    <a:lnTo>
                      <a:pt x="485" y="113"/>
                    </a:lnTo>
                    <a:lnTo>
                      <a:pt x="485" y="111"/>
                    </a:lnTo>
                    <a:lnTo>
                      <a:pt x="486" y="111"/>
                    </a:lnTo>
                    <a:lnTo>
                      <a:pt x="488" y="113"/>
                    </a:lnTo>
                    <a:lnTo>
                      <a:pt x="488" y="114"/>
                    </a:lnTo>
                    <a:lnTo>
                      <a:pt x="490" y="114"/>
                    </a:lnTo>
                    <a:lnTo>
                      <a:pt x="491" y="114"/>
                    </a:lnTo>
                    <a:lnTo>
                      <a:pt x="490" y="116"/>
                    </a:lnTo>
                    <a:lnTo>
                      <a:pt x="491" y="116"/>
                    </a:lnTo>
                    <a:lnTo>
                      <a:pt x="493" y="116"/>
                    </a:lnTo>
                    <a:lnTo>
                      <a:pt x="493" y="114"/>
                    </a:lnTo>
                    <a:lnTo>
                      <a:pt x="494" y="114"/>
                    </a:lnTo>
                    <a:lnTo>
                      <a:pt x="496" y="116"/>
                    </a:lnTo>
                    <a:lnTo>
                      <a:pt x="498" y="116"/>
                    </a:lnTo>
                    <a:lnTo>
                      <a:pt x="499" y="116"/>
                    </a:lnTo>
                    <a:lnTo>
                      <a:pt x="499" y="118"/>
                    </a:lnTo>
                    <a:lnTo>
                      <a:pt x="501" y="118"/>
                    </a:lnTo>
                    <a:lnTo>
                      <a:pt x="502" y="118"/>
                    </a:lnTo>
                    <a:lnTo>
                      <a:pt x="504" y="118"/>
                    </a:lnTo>
                    <a:lnTo>
                      <a:pt x="505" y="118"/>
                    </a:lnTo>
                    <a:lnTo>
                      <a:pt x="507" y="118"/>
                    </a:lnTo>
                    <a:lnTo>
                      <a:pt x="507" y="116"/>
                    </a:lnTo>
                    <a:lnTo>
                      <a:pt x="509" y="116"/>
                    </a:lnTo>
                    <a:lnTo>
                      <a:pt x="510" y="116"/>
                    </a:lnTo>
                    <a:lnTo>
                      <a:pt x="512" y="116"/>
                    </a:lnTo>
                    <a:lnTo>
                      <a:pt x="512" y="114"/>
                    </a:lnTo>
                    <a:lnTo>
                      <a:pt x="512" y="113"/>
                    </a:lnTo>
                    <a:lnTo>
                      <a:pt x="513" y="113"/>
                    </a:lnTo>
                    <a:lnTo>
                      <a:pt x="515" y="113"/>
                    </a:lnTo>
                    <a:lnTo>
                      <a:pt x="515" y="114"/>
                    </a:lnTo>
                    <a:lnTo>
                      <a:pt x="517" y="114"/>
                    </a:lnTo>
                    <a:lnTo>
                      <a:pt x="517" y="113"/>
                    </a:lnTo>
                    <a:lnTo>
                      <a:pt x="518" y="113"/>
                    </a:lnTo>
                    <a:lnTo>
                      <a:pt x="518" y="111"/>
                    </a:lnTo>
                    <a:lnTo>
                      <a:pt x="520" y="111"/>
                    </a:lnTo>
                    <a:lnTo>
                      <a:pt x="521" y="111"/>
                    </a:lnTo>
                    <a:lnTo>
                      <a:pt x="523" y="111"/>
                    </a:lnTo>
                    <a:lnTo>
                      <a:pt x="523" y="113"/>
                    </a:lnTo>
                    <a:lnTo>
                      <a:pt x="523" y="111"/>
                    </a:lnTo>
                    <a:lnTo>
                      <a:pt x="524" y="111"/>
                    </a:lnTo>
                    <a:lnTo>
                      <a:pt x="524" y="110"/>
                    </a:lnTo>
                    <a:lnTo>
                      <a:pt x="526" y="110"/>
                    </a:lnTo>
                    <a:lnTo>
                      <a:pt x="526" y="108"/>
                    </a:lnTo>
                    <a:lnTo>
                      <a:pt x="528" y="108"/>
                    </a:lnTo>
                    <a:lnTo>
                      <a:pt x="529" y="108"/>
                    </a:lnTo>
                    <a:lnTo>
                      <a:pt x="531" y="106"/>
                    </a:lnTo>
                    <a:lnTo>
                      <a:pt x="532" y="106"/>
                    </a:lnTo>
                    <a:lnTo>
                      <a:pt x="534" y="106"/>
                    </a:lnTo>
                    <a:lnTo>
                      <a:pt x="536" y="106"/>
                    </a:lnTo>
                    <a:lnTo>
                      <a:pt x="536" y="105"/>
                    </a:lnTo>
                    <a:lnTo>
                      <a:pt x="536" y="103"/>
                    </a:lnTo>
                    <a:lnTo>
                      <a:pt x="537" y="103"/>
                    </a:lnTo>
                    <a:lnTo>
                      <a:pt x="539" y="103"/>
                    </a:lnTo>
                    <a:lnTo>
                      <a:pt x="540" y="102"/>
                    </a:lnTo>
                    <a:lnTo>
                      <a:pt x="540" y="100"/>
                    </a:lnTo>
                    <a:lnTo>
                      <a:pt x="542" y="99"/>
                    </a:lnTo>
                    <a:lnTo>
                      <a:pt x="542" y="97"/>
                    </a:lnTo>
                    <a:lnTo>
                      <a:pt x="542" y="95"/>
                    </a:lnTo>
                    <a:lnTo>
                      <a:pt x="543" y="95"/>
                    </a:lnTo>
                    <a:lnTo>
                      <a:pt x="545" y="95"/>
                    </a:lnTo>
                    <a:lnTo>
                      <a:pt x="548" y="95"/>
                    </a:lnTo>
                    <a:lnTo>
                      <a:pt x="550" y="95"/>
                    </a:lnTo>
                    <a:lnTo>
                      <a:pt x="553" y="97"/>
                    </a:lnTo>
                    <a:lnTo>
                      <a:pt x="555" y="95"/>
                    </a:lnTo>
                    <a:lnTo>
                      <a:pt x="556" y="95"/>
                    </a:lnTo>
                    <a:lnTo>
                      <a:pt x="558" y="95"/>
                    </a:lnTo>
                    <a:lnTo>
                      <a:pt x="559" y="95"/>
                    </a:lnTo>
                    <a:lnTo>
                      <a:pt x="559" y="97"/>
                    </a:lnTo>
                    <a:lnTo>
                      <a:pt x="561" y="97"/>
                    </a:lnTo>
                    <a:lnTo>
                      <a:pt x="562" y="97"/>
                    </a:lnTo>
                    <a:lnTo>
                      <a:pt x="564" y="97"/>
                    </a:lnTo>
                    <a:lnTo>
                      <a:pt x="564" y="99"/>
                    </a:lnTo>
                    <a:lnTo>
                      <a:pt x="566" y="99"/>
                    </a:lnTo>
                    <a:lnTo>
                      <a:pt x="566" y="97"/>
                    </a:lnTo>
                    <a:lnTo>
                      <a:pt x="566" y="99"/>
                    </a:lnTo>
                    <a:lnTo>
                      <a:pt x="567" y="99"/>
                    </a:lnTo>
                    <a:lnTo>
                      <a:pt x="567" y="97"/>
                    </a:lnTo>
                    <a:lnTo>
                      <a:pt x="569" y="99"/>
                    </a:lnTo>
                    <a:lnTo>
                      <a:pt x="570" y="99"/>
                    </a:lnTo>
                    <a:lnTo>
                      <a:pt x="570" y="100"/>
                    </a:lnTo>
                    <a:lnTo>
                      <a:pt x="572" y="100"/>
                    </a:lnTo>
                    <a:lnTo>
                      <a:pt x="574" y="100"/>
                    </a:lnTo>
                    <a:lnTo>
                      <a:pt x="574" y="102"/>
                    </a:lnTo>
                    <a:lnTo>
                      <a:pt x="575" y="102"/>
                    </a:lnTo>
                    <a:lnTo>
                      <a:pt x="577" y="102"/>
                    </a:lnTo>
                    <a:lnTo>
                      <a:pt x="577" y="103"/>
                    </a:lnTo>
                    <a:lnTo>
                      <a:pt x="578" y="103"/>
                    </a:lnTo>
                    <a:lnTo>
                      <a:pt x="578" y="105"/>
                    </a:lnTo>
                    <a:lnTo>
                      <a:pt x="578" y="106"/>
                    </a:lnTo>
                    <a:lnTo>
                      <a:pt x="580" y="106"/>
                    </a:lnTo>
                    <a:lnTo>
                      <a:pt x="581" y="106"/>
                    </a:lnTo>
                    <a:lnTo>
                      <a:pt x="581" y="108"/>
                    </a:lnTo>
                    <a:lnTo>
                      <a:pt x="583" y="108"/>
                    </a:lnTo>
                    <a:lnTo>
                      <a:pt x="583" y="110"/>
                    </a:lnTo>
                    <a:lnTo>
                      <a:pt x="585" y="110"/>
                    </a:lnTo>
                    <a:lnTo>
                      <a:pt x="585" y="111"/>
                    </a:lnTo>
                    <a:lnTo>
                      <a:pt x="586" y="111"/>
                    </a:lnTo>
                    <a:lnTo>
                      <a:pt x="588" y="111"/>
                    </a:lnTo>
                    <a:lnTo>
                      <a:pt x="588" y="110"/>
                    </a:lnTo>
                    <a:lnTo>
                      <a:pt x="588" y="111"/>
                    </a:lnTo>
                    <a:lnTo>
                      <a:pt x="588" y="113"/>
                    </a:lnTo>
                    <a:lnTo>
                      <a:pt x="588" y="114"/>
                    </a:lnTo>
                    <a:lnTo>
                      <a:pt x="586" y="114"/>
                    </a:lnTo>
                    <a:lnTo>
                      <a:pt x="585" y="114"/>
                    </a:lnTo>
                    <a:lnTo>
                      <a:pt x="585" y="116"/>
                    </a:lnTo>
                    <a:lnTo>
                      <a:pt x="586" y="116"/>
                    </a:lnTo>
                    <a:lnTo>
                      <a:pt x="586" y="118"/>
                    </a:lnTo>
                    <a:lnTo>
                      <a:pt x="588" y="119"/>
                    </a:lnTo>
                    <a:lnTo>
                      <a:pt x="588" y="121"/>
                    </a:lnTo>
                    <a:lnTo>
                      <a:pt x="588" y="122"/>
                    </a:lnTo>
                    <a:lnTo>
                      <a:pt x="589" y="122"/>
                    </a:lnTo>
                    <a:lnTo>
                      <a:pt x="591" y="122"/>
                    </a:lnTo>
                    <a:lnTo>
                      <a:pt x="591" y="121"/>
                    </a:lnTo>
                    <a:lnTo>
                      <a:pt x="589" y="119"/>
                    </a:lnTo>
                    <a:lnTo>
                      <a:pt x="589" y="118"/>
                    </a:lnTo>
                    <a:lnTo>
                      <a:pt x="589" y="116"/>
                    </a:lnTo>
                    <a:lnTo>
                      <a:pt x="589" y="114"/>
                    </a:lnTo>
                    <a:lnTo>
                      <a:pt x="591" y="114"/>
                    </a:lnTo>
                    <a:lnTo>
                      <a:pt x="591" y="116"/>
                    </a:lnTo>
                    <a:lnTo>
                      <a:pt x="591" y="114"/>
                    </a:lnTo>
                    <a:lnTo>
                      <a:pt x="593" y="114"/>
                    </a:lnTo>
                    <a:lnTo>
                      <a:pt x="593" y="113"/>
                    </a:lnTo>
                    <a:lnTo>
                      <a:pt x="594" y="113"/>
                    </a:lnTo>
                    <a:lnTo>
                      <a:pt x="594" y="111"/>
                    </a:lnTo>
                    <a:lnTo>
                      <a:pt x="596" y="111"/>
                    </a:lnTo>
                    <a:lnTo>
                      <a:pt x="596" y="113"/>
                    </a:lnTo>
                    <a:lnTo>
                      <a:pt x="597" y="113"/>
                    </a:lnTo>
                    <a:lnTo>
                      <a:pt x="597" y="114"/>
                    </a:lnTo>
                    <a:lnTo>
                      <a:pt x="597" y="116"/>
                    </a:lnTo>
                    <a:lnTo>
                      <a:pt x="599" y="116"/>
                    </a:lnTo>
                    <a:lnTo>
                      <a:pt x="599" y="118"/>
                    </a:lnTo>
                    <a:lnTo>
                      <a:pt x="597" y="118"/>
                    </a:lnTo>
                    <a:lnTo>
                      <a:pt x="599" y="118"/>
                    </a:lnTo>
                    <a:lnTo>
                      <a:pt x="599" y="116"/>
                    </a:lnTo>
                    <a:lnTo>
                      <a:pt x="599" y="114"/>
                    </a:lnTo>
                    <a:lnTo>
                      <a:pt x="601" y="114"/>
                    </a:lnTo>
                    <a:lnTo>
                      <a:pt x="602" y="114"/>
                    </a:lnTo>
                    <a:lnTo>
                      <a:pt x="604" y="114"/>
                    </a:lnTo>
                    <a:lnTo>
                      <a:pt x="605" y="114"/>
                    </a:lnTo>
                    <a:lnTo>
                      <a:pt x="605" y="116"/>
                    </a:lnTo>
                    <a:lnTo>
                      <a:pt x="605" y="118"/>
                    </a:lnTo>
                    <a:lnTo>
                      <a:pt x="607" y="118"/>
                    </a:lnTo>
                    <a:lnTo>
                      <a:pt x="607" y="119"/>
                    </a:lnTo>
                    <a:lnTo>
                      <a:pt x="608" y="119"/>
                    </a:lnTo>
                    <a:lnTo>
                      <a:pt x="610" y="119"/>
                    </a:lnTo>
                    <a:lnTo>
                      <a:pt x="612" y="119"/>
                    </a:lnTo>
                    <a:lnTo>
                      <a:pt x="613" y="119"/>
                    </a:lnTo>
                    <a:lnTo>
                      <a:pt x="615" y="119"/>
                    </a:lnTo>
                    <a:lnTo>
                      <a:pt x="616" y="119"/>
                    </a:lnTo>
                    <a:lnTo>
                      <a:pt x="618" y="119"/>
                    </a:lnTo>
                    <a:lnTo>
                      <a:pt x="620" y="119"/>
                    </a:lnTo>
                    <a:lnTo>
                      <a:pt x="620" y="118"/>
                    </a:lnTo>
                    <a:lnTo>
                      <a:pt x="621" y="118"/>
                    </a:lnTo>
                    <a:lnTo>
                      <a:pt x="623" y="118"/>
                    </a:lnTo>
                    <a:lnTo>
                      <a:pt x="623" y="116"/>
                    </a:lnTo>
                    <a:lnTo>
                      <a:pt x="623" y="114"/>
                    </a:lnTo>
                    <a:lnTo>
                      <a:pt x="624" y="114"/>
                    </a:lnTo>
                    <a:lnTo>
                      <a:pt x="624" y="113"/>
                    </a:lnTo>
                    <a:lnTo>
                      <a:pt x="626" y="113"/>
                    </a:lnTo>
                    <a:lnTo>
                      <a:pt x="626" y="114"/>
                    </a:lnTo>
                    <a:lnTo>
                      <a:pt x="627" y="114"/>
                    </a:lnTo>
                    <a:lnTo>
                      <a:pt x="627" y="116"/>
                    </a:lnTo>
                    <a:lnTo>
                      <a:pt x="627" y="118"/>
                    </a:lnTo>
                    <a:lnTo>
                      <a:pt x="629" y="118"/>
                    </a:lnTo>
                    <a:lnTo>
                      <a:pt x="631" y="118"/>
                    </a:lnTo>
                    <a:lnTo>
                      <a:pt x="632" y="119"/>
                    </a:lnTo>
                    <a:lnTo>
                      <a:pt x="634" y="119"/>
                    </a:lnTo>
                    <a:lnTo>
                      <a:pt x="635" y="119"/>
                    </a:lnTo>
                    <a:lnTo>
                      <a:pt x="637" y="119"/>
                    </a:lnTo>
                    <a:lnTo>
                      <a:pt x="639" y="119"/>
                    </a:lnTo>
                    <a:lnTo>
                      <a:pt x="639" y="118"/>
                    </a:lnTo>
                    <a:lnTo>
                      <a:pt x="640" y="118"/>
                    </a:lnTo>
                    <a:lnTo>
                      <a:pt x="640" y="116"/>
                    </a:lnTo>
                    <a:lnTo>
                      <a:pt x="642" y="116"/>
                    </a:lnTo>
                    <a:lnTo>
                      <a:pt x="643" y="116"/>
                    </a:lnTo>
                    <a:lnTo>
                      <a:pt x="645" y="116"/>
                    </a:lnTo>
                    <a:lnTo>
                      <a:pt x="645" y="118"/>
                    </a:lnTo>
                    <a:lnTo>
                      <a:pt x="646" y="118"/>
                    </a:lnTo>
                    <a:lnTo>
                      <a:pt x="648" y="118"/>
                    </a:lnTo>
                    <a:lnTo>
                      <a:pt x="648" y="116"/>
                    </a:lnTo>
                    <a:lnTo>
                      <a:pt x="650" y="114"/>
                    </a:lnTo>
                    <a:lnTo>
                      <a:pt x="650" y="116"/>
                    </a:lnTo>
                    <a:lnTo>
                      <a:pt x="651" y="116"/>
                    </a:lnTo>
                    <a:lnTo>
                      <a:pt x="653" y="116"/>
                    </a:lnTo>
                    <a:lnTo>
                      <a:pt x="654" y="116"/>
                    </a:lnTo>
                    <a:lnTo>
                      <a:pt x="656" y="116"/>
                    </a:lnTo>
                    <a:lnTo>
                      <a:pt x="658" y="116"/>
                    </a:lnTo>
                    <a:lnTo>
                      <a:pt x="658" y="114"/>
                    </a:lnTo>
                    <a:lnTo>
                      <a:pt x="659" y="113"/>
                    </a:lnTo>
                    <a:lnTo>
                      <a:pt x="661" y="113"/>
                    </a:lnTo>
                    <a:lnTo>
                      <a:pt x="661" y="111"/>
                    </a:lnTo>
                    <a:lnTo>
                      <a:pt x="662" y="111"/>
                    </a:lnTo>
                    <a:lnTo>
                      <a:pt x="664" y="111"/>
                    </a:lnTo>
                    <a:lnTo>
                      <a:pt x="664" y="110"/>
                    </a:lnTo>
                    <a:lnTo>
                      <a:pt x="665" y="110"/>
                    </a:lnTo>
                    <a:lnTo>
                      <a:pt x="667" y="110"/>
                    </a:lnTo>
                    <a:lnTo>
                      <a:pt x="669" y="110"/>
                    </a:lnTo>
                    <a:lnTo>
                      <a:pt x="670" y="110"/>
                    </a:lnTo>
                    <a:lnTo>
                      <a:pt x="672" y="110"/>
                    </a:lnTo>
                    <a:lnTo>
                      <a:pt x="672" y="108"/>
                    </a:lnTo>
                    <a:lnTo>
                      <a:pt x="673" y="108"/>
                    </a:lnTo>
                    <a:lnTo>
                      <a:pt x="673" y="106"/>
                    </a:lnTo>
                    <a:lnTo>
                      <a:pt x="675" y="106"/>
                    </a:lnTo>
                    <a:lnTo>
                      <a:pt x="677" y="106"/>
                    </a:lnTo>
                    <a:lnTo>
                      <a:pt x="678" y="106"/>
                    </a:lnTo>
                    <a:lnTo>
                      <a:pt x="678" y="105"/>
                    </a:lnTo>
                    <a:lnTo>
                      <a:pt x="680" y="105"/>
                    </a:lnTo>
                    <a:lnTo>
                      <a:pt x="680" y="103"/>
                    </a:lnTo>
                    <a:lnTo>
                      <a:pt x="681" y="103"/>
                    </a:lnTo>
                    <a:lnTo>
                      <a:pt x="683" y="103"/>
                    </a:lnTo>
                    <a:lnTo>
                      <a:pt x="683" y="102"/>
                    </a:lnTo>
                    <a:lnTo>
                      <a:pt x="684" y="103"/>
                    </a:lnTo>
                    <a:lnTo>
                      <a:pt x="686" y="103"/>
                    </a:lnTo>
                    <a:lnTo>
                      <a:pt x="688" y="105"/>
                    </a:lnTo>
                    <a:lnTo>
                      <a:pt x="688" y="103"/>
                    </a:lnTo>
                    <a:lnTo>
                      <a:pt x="689" y="103"/>
                    </a:lnTo>
                    <a:lnTo>
                      <a:pt x="691" y="102"/>
                    </a:lnTo>
                    <a:lnTo>
                      <a:pt x="692" y="102"/>
                    </a:lnTo>
                    <a:lnTo>
                      <a:pt x="692" y="100"/>
                    </a:lnTo>
                    <a:lnTo>
                      <a:pt x="691" y="100"/>
                    </a:lnTo>
                    <a:lnTo>
                      <a:pt x="692" y="100"/>
                    </a:lnTo>
                    <a:lnTo>
                      <a:pt x="694" y="100"/>
                    </a:lnTo>
                    <a:lnTo>
                      <a:pt x="694" y="99"/>
                    </a:lnTo>
                    <a:lnTo>
                      <a:pt x="694" y="97"/>
                    </a:lnTo>
                    <a:lnTo>
                      <a:pt x="696" y="97"/>
                    </a:lnTo>
                    <a:lnTo>
                      <a:pt x="696" y="95"/>
                    </a:lnTo>
                    <a:lnTo>
                      <a:pt x="696" y="94"/>
                    </a:lnTo>
                    <a:lnTo>
                      <a:pt x="697" y="94"/>
                    </a:lnTo>
                    <a:lnTo>
                      <a:pt x="699" y="92"/>
                    </a:lnTo>
                    <a:lnTo>
                      <a:pt x="700" y="92"/>
                    </a:lnTo>
                    <a:lnTo>
                      <a:pt x="702" y="92"/>
                    </a:lnTo>
                    <a:lnTo>
                      <a:pt x="702" y="91"/>
                    </a:lnTo>
                    <a:lnTo>
                      <a:pt x="702" y="89"/>
                    </a:lnTo>
                    <a:lnTo>
                      <a:pt x="703" y="89"/>
                    </a:lnTo>
                    <a:lnTo>
                      <a:pt x="703" y="87"/>
                    </a:lnTo>
                    <a:lnTo>
                      <a:pt x="705" y="87"/>
                    </a:lnTo>
                    <a:lnTo>
                      <a:pt x="705" y="86"/>
                    </a:lnTo>
                    <a:lnTo>
                      <a:pt x="707" y="86"/>
                    </a:lnTo>
                    <a:lnTo>
                      <a:pt x="707" y="84"/>
                    </a:lnTo>
                    <a:lnTo>
                      <a:pt x="707" y="83"/>
                    </a:lnTo>
                    <a:lnTo>
                      <a:pt x="705" y="83"/>
                    </a:lnTo>
                    <a:lnTo>
                      <a:pt x="705" y="81"/>
                    </a:lnTo>
                    <a:lnTo>
                      <a:pt x="707" y="81"/>
                    </a:lnTo>
                    <a:lnTo>
                      <a:pt x="707" y="80"/>
                    </a:lnTo>
                    <a:lnTo>
                      <a:pt x="708" y="80"/>
                    </a:lnTo>
                    <a:lnTo>
                      <a:pt x="708" y="78"/>
                    </a:lnTo>
                    <a:lnTo>
                      <a:pt x="708" y="76"/>
                    </a:lnTo>
                    <a:lnTo>
                      <a:pt x="710" y="76"/>
                    </a:lnTo>
                    <a:lnTo>
                      <a:pt x="708" y="76"/>
                    </a:lnTo>
                    <a:lnTo>
                      <a:pt x="708" y="75"/>
                    </a:lnTo>
                    <a:lnTo>
                      <a:pt x="710" y="75"/>
                    </a:lnTo>
                    <a:lnTo>
                      <a:pt x="710" y="73"/>
                    </a:lnTo>
                    <a:lnTo>
                      <a:pt x="711" y="72"/>
                    </a:lnTo>
                    <a:lnTo>
                      <a:pt x="711" y="70"/>
                    </a:lnTo>
                    <a:lnTo>
                      <a:pt x="711" y="68"/>
                    </a:lnTo>
                    <a:lnTo>
                      <a:pt x="711" y="67"/>
                    </a:lnTo>
                    <a:lnTo>
                      <a:pt x="713" y="67"/>
                    </a:lnTo>
                    <a:lnTo>
                      <a:pt x="713" y="65"/>
                    </a:lnTo>
                    <a:lnTo>
                      <a:pt x="713" y="64"/>
                    </a:lnTo>
                    <a:lnTo>
                      <a:pt x="715" y="64"/>
                    </a:lnTo>
                    <a:lnTo>
                      <a:pt x="715" y="62"/>
                    </a:lnTo>
                    <a:lnTo>
                      <a:pt x="716" y="62"/>
                    </a:lnTo>
                    <a:lnTo>
                      <a:pt x="716" y="61"/>
                    </a:lnTo>
                    <a:lnTo>
                      <a:pt x="716" y="59"/>
                    </a:lnTo>
                    <a:lnTo>
                      <a:pt x="716" y="57"/>
                    </a:lnTo>
                    <a:lnTo>
                      <a:pt x="718" y="57"/>
                    </a:lnTo>
                    <a:lnTo>
                      <a:pt x="719" y="56"/>
                    </a:lnTo>
                    <a:lnTo>
                      <a:pt x="719" y="54"/>
                    </a:lnTo>
                    <a:lnTo>
                      <a:pt x="721" y="54"/>
                    </a:lnTo>
                    <a:lnTo>
                      <a:pt x="721" y="56"/>
                    </a:lnTo>
                    <a:lnTo>
                      <a:pt x="722" y="56"/>
                    </a:lnTo>
                    <a:lnTo>
                      <a:pt x="722" y="54"/>
                    </a:lnTo>
                    <a:lnTo>
                      <a:pt x="722" y="53"/>
                    </a:lnTo>
                    <a:lnTo>
                      <a:pt x="722" y="51"/>
                    </a:lnTo>
                    <a:lnTo>
                      <a:pt x="722" y="49"/>
                    </a:lnTo>
                    <a:lnTo>
                      <a:pt x="724" y="49"/>
                    </a:lnTo>
                    <a:lnTo>
                      <a:pt x="726" y="49"/>
                    </a:lnTo>
                    <a:lnTo>
                      <a:pt x="726" y="51"/>
                    </a:lnTo>
                    <a:lnTo>
                      <a:pt x="726" y="49"/>
                    </a:lnTo>
                    <a:lnTo>
                      <a:pt x="724" y="49"/>
                    </a:lnTo>
                    <a:lnTo>
                      <a:pt x="724" y="48"/>
                    </a:lnTo>
                    <a:lnTo>
                      <a:pt x="726" y="48"/>
                    </a:lnTo>
                    <a:lnTo>
                      <a:pt x="727" y="48"/>
                    </a:lnTo>
                    <a:lnTo>
                      <a:pt x="727" y="46"/>
                    </a:lnTo>
                    <a:lnTo>
                      <a:pt x="726" y="46"/>
                    </a:lnTo>
                    <a:lnTo>
                      <a:pt x="727" y="45"/>
                    </a:lnTo>
                    <a:lnTo>
                      <a:pt x="727" y="43"/>
                    </a:lnTo>
                    <a:lnTo>
                      <a:pt x="727" y="41"/>
                    </a:lnTo>
                    <a:lnTo>
                      <a:pt x="729" y="40"/>
                    </a:lnTo>
                    <a:lnTo>
                      <a:pt x="730" y="40"/>
                    </a:lnTo>
                    <a:lnTo>
                      <a:pt x="730" y="38"/>
                    </a:lnTo>
                    <a:lnTo>
                      <a:pt x="730" y="37"/>
                    </a:lnTo>
                    <a:lnTo>
                      <a:pt x="732" y="37"/>
                    </a:lnTo>
                    <a:lnTo>
                      <a:pt x="734" y="37"/>
                    </a:lnTo>
                    <a:lnTo>
                      <a:pt x="735" y="37"/>
                    </a:lnTo>
                    <a:lnTo>
                      <a:pt x="735" y="38"/>
                    </a:lnTo>
                    <a:lnTo>
                      <a:pt x="737" y="38"/>
                    </a:lnTo>
                    <a:lnTo>
                      <a:pt x="737" y="40"/>
                    </a:lnTo>
                    <a:lnTo>
                      <a:pt x="738" y="41"/>
                    </a:lnTo>
                    <a:lnTo>
                      <a:pt x="738" y="43"/>
                    </a:lnTo>
                    <a:lnTo>
                      <a:pt x="740" y="45"/>
                    </a:lnTo>
                    <a:lnTo>
                      <a:pt x="740" y="46"/>
                    </a:lnTo>
                    <a:lnTo>
                      <a:pt x="740" y="48"/>
                    </a:lnTo>
                    <a:lnTo>
                      <a:pt x="741" y="48"/>
                    </a:lnTo>
                    <a:lnTo>
                      <a:pt x="741" y="49"/>
                    </a:lnTo>
                    <a:lnTo>
                      <a:pt x="741" y="51"/>
                    </a:lnTo>
                    <a:lnTo>
                      <a:pt x="743" y="51"/>
                    </a:lnTo>
                    <a:lnTo>
                      <a:pt x="745" y="53"/>
                    </a:lnTo>
                    <a:lnTo>
                      <a:pt x="746" y="53"/>
                    </a:lnTo>
                    <a:lnTo>
                      <a:pt x="746" y="54"/>
                    </a:lnTo>
                    <a:lnTo>
                      <a:pt x="748" y="54"/>
                    </a:lnTo>
                    <a:lnTo>
                      <a:pt x="748" y="56"/>
                    </a:lnTo>
                    <a:lnTo>
                      <a:pt x="749" y="56"/>
                    </a:lnTo>
                    <a:lnTo>
                      <a:pt x="751" y="57"/>
                    </a:lnTo>
                    <a:lnTo>
                      <a:pt x="753" y="59"/>
                    </a:lnTo>
                    <a:lnTo>
                      <a:pt x="754" y="61"/>
                    </a:lnTo>
                    <a:lnTo>
                      <a:pt x="756" y="62"/>
                    </a:lnTo>
                    <a:lnTo>
                      <a:pt x="757" y="64"/>
                    </a:lnTo>
                    <a:lnTo>
                      <a:pt x="757" y="65"/>
                    </a:lnTo>
                    <a:lnTo>
                      <a:pt x="759" y="67"/>
                    </a:lnTo>
                    <a:lnTo>
                      <a:pt x="760" y="67"/>
                    </a:lnTo>
                    <a:lnTo>
                      <a:pt x="760" y="68"/>
                    </a:lnTo>
                    <a:lnTo>
                      <a:pt x="762" y="70"/>
                    </a:lnTo>
                    <a:lnTo>
                      <a:pt x="764" y="70"/>
                    </a:lnTo>
                    <a:lnTo>
                      <a:pt x="764" y="68"/>
                    </a:lnTo>
                    <a:lnTo>
                      <a:pt x="765" y="68"/>
                    </a:lnTo>
                    <a:lnTo>
                      <a:pt x="767" y="68"/>
                    </a:lnTo>
                    <a:lnTo>
                      <a:pt x="768" y="68"/>
                    </a:lnTo>
                    <a:lnTo>
                      <a:pt x="770" y="70"/>
                    </a:lnTo>
                    <a:lnTo>
                      <a:pt x="772" y="70"/>
                    </a:lnTo>
                    <a:lnTo>
                      <a:pt x="773" y="70"/>
                    </a:lnTo>
                    <a:lnTo>
                      <a:pt x="775" y="70"/>
                    </a:lnTo>
                    <a:lnTo>
                      <a:pt x="776" y="70"/>
                    </a:lnTo>
                    <a:lnTo>
                      <a:pt x="778" y="70"/>
                    </a:lnTo>
                    <a:lnTo>
                      <a:pt x="780" y="70"/>
                    </a:lnTo>
                    <a:lnTo>
                      <a:pt x="781" y="72"/>
                    </a:lnTo>
                    <a:lnTo>
                      <a:pt x="781" y="73"/>
                    </a:lnTo>
                    <a:lnTo>
                      <a:pt x="783" y="73"/>
                    </a:lnTo>
                    <a:lnTo>
                      <a:pt x="783" y="75"/>
                    </a:lnTo>
                    <a:lnTo>
                      <a:pt x="781" y="75"/>
                    </a:lnTo>
                    <a:lnTo>
                      <a:pt x="781" y="76"/>
                    </a:lnTo>
                    <a:lnTo>
                      <a:pt x="781" y="78"/>
                    </a:lnTo>
                    <a:lnTo>
                      <a:pt x="783" y="78"/>
                    </a:lnTo>
                    <a:lnTo>
                      <a:pt x="783" y="80"/>
                    </a:lnTo>
                    <a:lnTo>
                      <a:pt x="783" y="81"/>
                    </a:lnTo>
                    <a:lnTo>
                      <a:pt x="784" y="81"/>
                    </a:lnTo>
                    <a:lnTo>
                      <a:pt x="784" y="80"/>
                    </a:lnTo>
                    <a:lnTo>
                      <a:pt x="786" y="80"/>
                    </a:lnTo>
                    <a:lnTo>
                      <a:pt x="787" y="80"/>
                    </a:lnTo>
                    <a:lnTo>
                      <a:pt x="787" y="78"/>
                    </a:lnTo>
                    <a:lnTo>
                      <a:pt x="789" y="78"/>
                    </a:lnTo>
                    <a:lnTo>
                      <a:pt x="791" y="78"/>
                    </a:lnTo>
                    <a:lnTo>
                      <a:pt x="792" y="78"/>
                    </a:lnTo>
                    <a:lnTo>
                      <a:pt x="794" y="78"/>
                    </a:lnTo>
                    <a:lnTo>
                      <a:pt x="795" y="78"/>
                    </a:lnTo>
                    <a:lnTo>
                      <a:pt x="795" y="76"/>
                    </a:lnTo>
                    <a:lnTo>
                      <a:pt x="797" y="76"/>
                    </a:lnTo>
                    <a:lnTo>
                      <a:pt x="799" y="76"/>
                    </a:lnTo>
                    <a:lnTo>
                      <a:pt x="799" y="78"/>
                    </a:lnTo>
                    <a:lnTo>
                      <a:pt x="800" y="78"/>
                    </a:lnTo>
                    <a:lnTo>
                      <a:pt x="800" y="80"/>
                    </a:lnTo>
                    <a:lnTo>
                      <a:pt x="800" y="81"/>
                    </a:lnTo>
                    <a:lnTo>
                      <a:pt x="802" y="83"/>
                    </a:lnTo>
                    <a:lnTo>
                      <a:pt x="803" y="83"/>
                    </a:lnTo>
                    <a:lnTo>
                      <a:pt x="803" y="81"/>
                    </a:lnTo>
                    <a:lnTo>
                      <a:pt x="803" y="83"/>
                    </a:lnTo>
                    <a:lnTo>
                      <a:pt x="805" y="83"/>
                    </a:lnTo>
                    <a:lnTo>
                      <a:pt x="806" y="83"/>
                    </a:lnTo>
                    <a:lnTo>
                      <a:pt x="806" y="81"/>
                    </a:lnTo>
                    <a:lnTo>
                      <a:pt x="806" y="83"/>
                    </a:lnTo>
                    <a:lnTo>
                      <a:pt x="808" y="83"/>
                    </a:lnTo>
                    <a:lnTo>
                      <a:pt x="810" y="83"/>
                    </a:lnTo>
                    <a:lnTo>
                      <a:pt x="810" y="84"/>
                    </a:lnTo>
                    <a:lnTo>
                      <a:pt x="810" y="86"/>
                    </a:lnTo>
                    <a:lnTo>
                      <a:pt x="811" y="86"/>
                    </a:lnTo>
                    <a:lnTo>
                      <a:pt x="811" y="87"/>
                    </a:lnTo>
                    <a:lnTo>
                      <a:pt x="813" y="87"/>
                    </a:lnTo>
                    <a:lnTo>
                      <a:pt x="813" y="86"/>
                    </a:lnTo>
                    <a:lnTo>
                      <a:pt x="813" y="87"/>
                    </a:lnTo>
                    <a:lnTo>
                      <a:pt x="814" y="87"/>
                    </a:lnTo>
                    <a:lnTo>
                      <a:pt x="814" y="86"/>
                    </a:lnTo>
                    <a:lnTo>
                      <a:pt x="816" y="86"/>
                    </a:lnTo>
                    <a:lnTo>
                      <a:pt x="816" y="84"/>
                    </a:lnTo>
                    <a:lnTo>
                      <a:pt x="818" y="84"/>
                    </a:lnTo>
                    <a:lnTo>
                      <a:pt x="818" y="83"/>
                    </a:lnTo>
                    <a:lnTo>
                      <a:pt x="819" y="83"/>
                    </a:lnTo>
                    <a:lnTo>
                      <a:pt x="821" y="81"/>
                    </a:lnTo>
                    <a:lnTo>
                      <a:pt x="822" y="81"/>
                    </a:lnTo>
                    <a:lnTo>
                      <a:pt x="824" y="81"/>
                    </a:lnTo>
                    <a:lnTo>
                      <a:pt x="825" y="80"/>
                    </a:lnTo>
                    <a:lnTo>
                      <a:pt x="827" y="80"/>
                    </a:lnTo>
                    <a:lnTo>
                      <a:pt x="829" y="80"/>
                    </a:lnTo>
                    <a:lnTo>
                      <a:pt x="830" y="80"/>
                    </a:lnTo>
                    <a:lnTo>
                      <a:pt x="830" y="78"/>
                    </a:lnTo>
                    <a:lnTo>
                      <a:pt x="830" y="76"/>
                    </a:lnTo>
                    <a:lnTo>
                      <a:pt x="830" y="75"/>
                    </a:lnTo>
                    <a:lnTo>
                      <a:pt x="832" y="75"/>
                    </a:lnTo>
                    <a:lnTo>
                      <a:pt x="832" y="76"/>
                    </a:lnTo>
                    <a:lnTo>
                      <a:pt x="832" y="78"/>
                    </a:lnTo>
                    <a:lnTo>
                      <a:pt x="833" y="80"/>
                    </a:lnTo>
                    <a:lnTo>
                      <a:pt x="833" y="81"/>
                    </a:lnTo>
                    <a:lnTo>
                      <a:pt x="835" y="83"/>
                    </a:lnTo>
                    <a:lnTo>
                      <a:pt x="835" y="84"/>
                    </a:lnTo>
                    <a:lnTo>
                      <a:pt x="837" y="84"/>
                    </a:lnTo>
                    <a:lnTo>
                      <a:pt x="838" y="86"/>
                    </a:lnTo>
                    <a:lnTo>
                      <a:pt x="840" y="84"/>
                    </a:lnTo>
                    <a:lnTo>
                      <a:pt x="841" y="84"/>
                    </a:lnTo>
                    <a:lnTo>
                      <a:pt x="841" y="83"/>
                    </a:lnTo>
                    <a:lnTo>
                      <a:pt x="843" y="83"/>
                    </a:lnTo>
                    <a:lnTo>
                      <a:pt x="843" y="81"/>
                    </a:lnTo>
                    <a:lnTo>
                      <a:pt x="844" y="81"/>
                    </a:lnTo>
                    <a:lnTo>
                      <a:pt x="844" y="80"/>
                    </a:lnTo>
                    <a:lnTo>
                      <a:pt x="846" y="80"/>
                    </a:lnTo>
                    <a:lnTo>
                      <a:pt x="848" y="80"/>
                    </a:lnTo>
                    <a:lnTo>
                      <a:pt x="849" y="80"/>
                    </a:lnTo>
                    <a:lnTo>
                      <a:pt x="849" y="81"/>
                    </a:lnTo>
                    <a:lnTo>
                      <a:pt x="851" y="81"/>
                    </a:lnTo>
                    <a:lnTo>
                      <a:pt x="851" y="83"/>
                    </a:lnTo>
                    <a:lnTo>
                      <a:pt x="854" y="83"/>
                    </a:lnTo>
                    <a:lnTo>
                      <a:pt x="857" y="81"/>
                    </a:lnTo>
                    <a:lnTo>
                      <a:pt x="859" y="81"/>
                    </a:lnTo>
                    <a:lnTo>
                      <a:pt x="859" y="80"/>
                    </a:lnTo>
                    <a:lnTo>
                      <a:pt x="860" y="80"/>
                    </a:lnTo>
                    <a:lnTo>
                      <a:pt x="862" y="80"/>
                    </a:lnTo>
                    <a:lnTo>
                      <a:pt x="863" y="80"/>
                    </a:lnTo>
                    <a:lnTo>
                      <a:pt x="865" y="80"/>
                    </a:lnTo>
                    <a:lnTo>
                      <a:pt x="865" y="81"/>
                    </a:lnTo>
                    <a:lnTo>
                      <a:pt x="867" y="81"/>
                    </a:lnTo>
                    <a:lnTo>
                      <a:pt x="867" y="80"/>
                    </a:lnTo>
                    <a:lnTo>
                      <a:pt x="867" y="78"/>
                    </a:lnTo>
                    <a:lnTo>
                      <a:pt x="867" y="76"/>
                    </a:lnTo>
                    <a:lnTo>
                      <a:pt x="868" y="76"/>
                    </a:lnTo>
                    <a:lnTo>
                      <a:pt x="870" y="76"/>
                    </a:lnTo>
                    <a:lnTo>
                      <a:pt x="868" y="76"/>
                    </a:lnTo>
                    <a:lnTo>
                      <a:pt x="868" y="78"/>
                    </a:lnTo>
                    <a:lnTo>
                      <a:pt x="870" y="78"/>
                    </a:lnTo>
                    <a:lnTo>
                      <a:pt x="870" y="80"/>
                    </a:lnTo>
                    <a:lnTo>
                      <a:pt x="870" y="81"/>
                    </a:lnTo>
                    <a:lnTo>
                      <a:pt x="871" y="81"/>
                    </a:lnTo>
                    <a:lnTo>
                      <a:pt x="873" y="81"/>
                    </a:lnTo>
                    <a:lnTo>
                      <a:pt x="875" y="81"/>
                    </a:lnTo>
                    <a:lnTo>
                      <a:pt x="875" y="83"/>
                    </a:lnTo>
                    <a:lnTo>
                      <a:pt x="875" y="84"/>
                    </a:lnTo>
                    <a:lnTo>
                      <a:pt x="876" y="84"/>
                    </a:lnTo>
                    <a:lnTo>
                      <a:pt x="876" y="83"/>
                    </a:lnTo>
                    <a:lnTo>
                      <a:pt x="878" y="81"/>
                    </a:lnTo>
                    <a:lnTo>
                      <a:pt x="878" y="83"/>
                    </a:lnTo>
                    <a:lnTo>
                      <a:pt x="879" y="83"/>
                    </a:lnTo>
                    <a:lnTo>
                      <a:pt x="881" y="83"/>
                    </a:lnTo>
                    <a:lnTo>
                      <a:pt x="881" y="81"/>
                    </a:lnTo>
                    <a:lnTo>
                      <a:pt x="881" y="80"/>
                    </a:lnTo>
                    <a:lnTo>
                      <a:pt x="882" y="80"/>
                    </a:lnTo>
                    <a:lnTo>
                      <a:pt x="884" y="80"/>
                    </a:lnTo>
                    <a:lnTo>
                      <a:pt x="886" y="78"/>
                    </a:lnTo>
                    <a:lnTo>
                      <a:pt x="884" y="78"/>
                    </a:lnTo>
                    <a:lnTo>
                      <a:pt x="884" y="76"/>
                    </a:lnTo>
                    <a:lnTo>
                      <a:pt x="882" y="76"/>
                    </a:lnTo>
                    <a:lnTo>
                      <a:pt x="882" y="75"/>
                    </a:lnTo>
                    <a:lnTo>
                      <a:pt x="884" y="75"/>
                    </a:lnTo>
                    <a:lnTo>
                      <a:pt x="886" y="75"/>
                    </a:lnTo>
                    <a:lnTo>
                      <a:pt x="887" y="75"/>
                    </a:lnTo>
                    <a:lnTo>
                      <a:pt x="887" y="76"/>
                    </a:lnTo>
                    <a:lnTo>
                      <a:pt x="887" y="78"/>
                    </a:lnTo>
                    <a:lnTo>
                      <a:pt x="889" y="78"/>
                    </a:lnTo>
                    <a:lnTo>
                      <a:pt x="889" y="76"/>
                    </a:lnTo>
                    <a:lnTo>
                      <a:pt x="890" y="76"/>
                    </a:lnTo>
                    <a:lnTo>
                      <a:pt x="892" y="76"/>
                    </a:lnTo>
                    <a:lnTo>
                      <a:pt x="890" y="76"/>
                    </a:lnTo>
                    <a:lnTo>
                      <a:pt x="890" y="75"/>
                    </a:lnTo>
                    <a:lnTo>
                      <a:pt x="890" y="73"/>
                    </a:lnTo>
                    <a:lnTo>
                      <a:pt x="892" y="73"/>
                    </a:lnTo>
                    <a:lnTo>
                      <a:pt x="894" y="73"/>
                    </a:lnTo>
                    <a:lnTo>
                      <a:pt x="894" y="72"/>
                    </a:lnTo>
                    <a:lnTo>
                      <a:pt x="894" y="73"/>
                    </a:lnTo>
                    <a:lnTo>
                      <a:pt x="892" y="73"/>
                    </a:lnTo>
                    <a:lnTo>
                      <a:pt x="892" y="72"/>
                    </a:lnTo>
                    <a:lnTo>
                      <a:pt x="890" y="72"/>
                    </a:lnTo>
                    <a:lnTo>
                      <a:pt x="889" y="72"/>
                    </a:lnTo>
                    <a:lnTo>
                      <a:pt x="889" y="70"/>
                    </a:lnTo>
                    <a:lnTo>
                      <a:pt x="890" y="70"/>
                    </a:lnTo>
                    <a:lnTo>
                      <a:pt x="890" y="68"/>
                    </a:lnTo>
                    <a:lnTo>
                      <a:pt x="890" y="67"/>
                    </a:lnTo>
                    <a:lnTo>
                      <a:pt x="892" y="67"/>
                    </a:lnTo>
                    <a:lnTo>
                      <a:pt x="892" y="65"/>
                    </a:lnTo>
                    <a:lnTo>
                      <a:pt x="890" y="65"/>
                    </a:lnTo>
                    <a:lnTo>
                      <a:pt x="890" y="64"/>
                    </a:lnTo>
                    <a:lnTo>
                      <a:pt x="890" y="62"/>
                    </a:lnTo>
                    <a:lnTo>
                      <a:pt x="892" y="62"/>
                    </a:lnTo>
                    <a:lnTo>
                      <a:pt x="892" y="64"/>
                    </a:lnTo>
                    <a:lnTo>
                      <a:pt x="894" y="64"/>
                    </a:lnTo>
                    <a:lnTo>
                      <a:pt x="895" y="65"/>
                    </a:lnTo>
                    <a:lnTo>
                      <a:pt x="895" y="67"/>
                    </a:lnTo>
                    <a:lnTo>
                      <a:pt x="897" y="67"/>
                    </a:lnTo>
                    <a:lnTo>
                      <a:pt x="898" y="67"/>
                    </a:lnTo>
                    <a:lnTo>
                      <a:pt x="898" y="65"/>
                    </a:lnTo>
                    <a:lnTo>
                      <a:pt x="898" y="64"/>
                    </a:lnTo>
                    <a:lnTo>
                      <a:pt x="900" y="64"/>
                    </a:lnTo>
                    <a:lnTo>
                      <a:pt x="900" y="62"/>
                    </a:lnTo>
                    <a:lnTo>
                      <a:pt x="901" y="62"/>
                    </a:lnTo>
                    <a:lnTo>
                      <a:pt x="903" y="62"/>
                    </a:lnTo>
                    <a:lnTo>
                      <a:pt x="905" y="62"/>
                    </a:lnTo>
                    <a:lnTo>
                      <a:pt x="905" y="64"/>
                    </a:lnTo>
                    <a:lnTo>
                      <a:pt x="903" y="65"/>
                    </a:lnTo>
                    <a:lnTo>
                      <a:pt x="903" y="67"/>
                    </a:lnTo>
                    <a:lnTo>
                      <a:pt x="903" y="68"/>
                    </a:lnTo>
                    <a:lnTo>
                      <a:pt x="905" y="68"/>
                    </a:lnTo>
                    <a:lnTo>
                      <a:pt x="905" y="67"/>
                    </a:lnTo>
                    <a:lnTo>
                      <a:pt x="906" y="67"/>
                    </a:lnTo>
                    <a:lnTo>
                      <a:pt x="906" y="65"/>
                    </a:lnTo>
                    <a:lnTo>
                      <a:pt x="906" y="64"/>
                    </a:lnTo>
                    <a:lnTo>
                      <a:pt x="908" y="64"/>
                    </a:lnTo>
                    <a:lnTo>
                      <a:pt x="908" y="62"/>
                    </a:lnTo>
                    <a:lnTo>
                      <a:pt x="909" y="62"/>
                    </a:lnTo>
                    <a:lnTo>
                      <a:pt x="909" y="61"/>
                    </a:lnTo>
                    <a:lnTo>
                      <a:pt x="911" y="61"/>
                    </a:lnTo>
                    <a:lnTo>
                      <a:pt x="911" y="62"/>
                    </a:lnTo>
                    <a:lnTo>
                      <a:pt x="909" y="62"/>
                    </a:lnTo>
                    <a:lnTo>
                      <a:pt x="909" y="64"/>
                    </a:lnTo>
                    <a:lnTo>
                      <a:pt x="911" y="64"/>
                    </a:lnTo>
                    <a:lnTo>
                      <a:pt x="913" y="64"/>
                    </a:lnTo>
                    <a:lnTo>
                      <a:pt x="913" y="65"/>
                    </a:lnTo>
                    <a:lnTo>
                      <a:pt x="913" y="67"/>
                    </a:lnTo>
                    <a:lnTo>
                      <a:pt x="914" y="67"/>
                    </a:lnTo>
                    <a:lnTo>
                      <a:pt x="914" y="65"/>
                    </a:lnTo>
                    <a:lnTo>
                      <a:pt x="916" y="65"/>
                    </a:lnTo>
                    <a:lnTo>
                      <a:pt x="916" y="64"/>
                    </a:lnTo>
                    <a:lnTo>
                      <a:pt x="917" y="62"/>
                    </a:lnTo>
                    <a:lnTo>
                      <a:pt x="917" y="61"/>
                    </a:lnTo>
                    <a:lnTo>
                      <a:pt x="919" y="61"/>
                    </a:lnTo>
                    <a:lnTo>
                      <a:pt x="919" y="59"/>
                    </a:lnTo>
                    <a:lnTo>
                      <a:pt x="920" y="59"/>
                    </a:lnTo>
                    <a:lnTo>
                      <a:pt x="922" y="57"/>
                    </a:lnTo>
                    <a:lnTo>
                      <a:pt x="920" y="57"/>
                    </a:lnTo>
                    <a:lnTo>
                      <a:pt x="920" y="56"/>
                    </a:lnTo>
                    <a:lnTo>
                      <a:pt x="920" y="54"/>
                    </a:lnTo>
                    <a:lnTo>
                      <a:pt x="922" y="54"/>
                    </a:lnTo>
                    <a:lnTo>
                      <a:pt x="924" y="53"/>
                    </a:lnTo>
                    <a:lnTo>
                      <a:pt x="925" y="53"/>
                    </a:lnTo>
                    <a:lnTo>
                      <a:pt x="925" y="51"/>
                    </a:lnTo>
                    <a:lnTo>
                      <a:pt x="927" y="51"/>
                    </a:lnTo>
                    <a:lnTo>
                      <a:pt x="928" y="53"/>
                    </a:lnTo>
                    <a:lnTo>
                      <a:pt x="927" y="53"/>
                    </a:lnTo>
                    <a:lnTo>
                      <a:pt x="927" y="54"/>
                    </a:lnTo>
                    <a:lnTo>
                      <a:pt x="927" y="56"/>
                    </a:lnTo>
                    <a:lnTo>
                      <a:pt x="925" y="56"/>
                    </a:lnTo>
                    <a:lnTo>
                      <a:pt x="925" y="57"/>
                    </a:lnTo>
                    <a:lnTo>
                      <a:pt x="925" y="59"/>
                    </a:lnTo>
                    <a:lnTo>
                      <a:pt x="925" y="61"/>
                    </a:lnTo>
                    <a:lnTo>
                      <a:pt x="927" y="59"/>
                    </a:lnTo>
                    <a:lnTo>
                      <a:pt x="927" y="61"/>
                    </a:lnTo>
                    <a:lnTo>
                      <a:pt x="928" y="61"/>
                    </a:lnTo>
                    <a:lnTo>
                      <a:pt x="930" y="61"/>
                    </a:lnTo>
                    <a:lnTo>
                      <a:pt x="930" y="59"/>
                    </a:lnTo>
                    <a:lnTo>
                      <a:pt x="930" y="57"/>
                    </a:lnTo>
                    <a:lnTo>
                      <a:pt x="932" y="57"/>
                    </a:lnTo>
                    <a:lnTo>
                      <a:pt x="933" y="57"/>
                    </a:lnTo>
                    <a:lnTo>
                      <a:pt x="933" y="59"/>
                    </a:lnTo>
                    <a:lnTo>
                      <a:pt x="935" y="59"/>
                    </a:lnTo>
                    <a:lnTo>
                      <a:pt x="935" y="61"/>
                    </a:lnTo>
                    <a:lnTo>
                      <a:pt x="935" y="62"/>
                    </a:lnTo>
                    <a:lnTo>
                      <a:pt x="936" y="62"/>
                    </a:lnTo>
                    <a:lnTo>
                      <a:pt x="938" y="62"/>
                    </a:lnTo>
                    <a:lnTo>
                      <a:pt x="938" y="61"/>
                    </a:lnTo>
                    <a:lnTo>
                      <a:pt x="939" y="61"/>
                    </a:lnTo>
                    <a:lnTo>
                      <a:pt x="939" y="59"/>
                    </a:lnTo>
                    <a:lnTo>
                      <a:pt x="941" y="59"/>
                    </a:lnTo>
                    <a:lnTo>
                      <a:pt x="941" y="61"/>
                    </a:lnTo>
                    <a:lnTo>
                      <a:pt x="943" y="61"/>
                    </a:lnTo>
                    <a:lnTo>
                      <a:pt x="944" y="61"/>
                    </a:lnTo>
                    <a:lnTo>
                      <a:pt x="946" y="61"/>
                    </a:lnTo>
                    <a:lnTo>
                      <a:pt x="947" y="61"/>
                    </a:lnTo>
                    <a:lnTo>
                      <a:pt x="949" y="61"/>
                    </a:lnTo>
                    <a:lnTo>
                      <a:pt x="951" y="62"/>
                    </a:lnTo>
                    <a:lnTo>
                      <a:pt x="952" y="62"/>
                    </a:lnTo>
                    <a:lnTo>
                      <a:pt x="954" y="62"/>
                    </a:lnTo>
                    <a:lnTo>
                      <a:pt x="955" y="62"/>
                    </a:lnTo>
                    <a:lnTo>
                      <a:pt x="957" y="62"/>
                    </a:lnTo>
                    <a:lnTo>
                      <a:pt x="957" y="64"/>
                    </a:lnTo>
                    <a:lnTo>
                      <a:pt x="957" y="65"/>
                    </a:lnTo>
                    <a:lnTo>
                      <a:pt x="957" y="67"/>
                    </a:lnTo>
                    <a:lnTo>
                      <a:pt x="955" y="67"/>
                    </a:lnTo>
                    <a:lnTo>
                      <a:pt x="955" y="68"/>
                    </a:lnTo>
                    <a:lnTo>
                      <a:pt x="954" y="70"/>
                    </a:lnTo>
                    <a:lnTo>
                      <a:pt x="954" y="72"/>
                    </a:lnTo>
                    <a:lnTo>
                      <a:pt x="952" y="72"/>
                    </a:lnTo>
                    <a:lnTo>
                      <a:pt x="951" y="72"/>
                    </a:lnTo>
                    <a:lnTo>
                      <a:pt x="949" y="72"/>
                    </a:lnTo>
                    <a:lnTo>
                      <a:pt x="947" y="72"/>
                    </a:lnTo>
                    <a:lnTo>
                      <a:pt x="947" y="73"/>
                    </a:lnTo>
                    <a:lnTo>
                      <a:pt x="946" y="73"/>
                    </a:lnTo>
                    <a:lnTo>
                      <a:pt x="944" y="73"/>
                    </a:lnTo>
                    <a:lnTo>
                      <a:pt x="943" y="73"/>
                    </a:lnTo>
                    <a:lnTo>
                      <a:pt x="941" y="73"/>
                    </a:lnTo>
                    <a:lnTo>
                      <a:pt x="941" y="75"/>
                    </a:lnTo>
                    <a:lnTo>
                      <a:pt x="941" y="76"/>
                    </a:lnTo>
                    <a:lnTo>
                      <a:pt x="939" y="76"/>
                    </a:lnTo>
                    <a:lnTo>
                      <a:pt x="939" y="78"/>
                    </a:lnTo>
                    <a:lnTo>
                      <a:pt x="939" y="80"/>
                    </a:lnTo>
                    <a:lnTo>
                      <a:pt x="938" y="80"/>
                    </a:lnTo>
                    <a:lnTo>
                      <a:pt x="936" y="81"/>
                    </a:lnTo>
                    <a:lnTo>
                      <a:pt x="935" y="81"/>
                    </a:lnTo>
                    <a:lnTo>
                      <a:pt x="933" y="81"/>
                    </a:lnTo>
                    <a:lnTo>
                      <a:pt x="932" y="81"/>
                    </a:lnTo>
                    <a:lnTo>
                      <a:pt x="932" y="83"/>
                    </a:lnTo>
                    <a:lnTo>
                      <a:pt x="932" y="84"/>
                    </a:lnTo>
                    <a:lnTo>
                      <a:pt x="933" y="84"/>
                    </a:lnTo>
                    <a:lnTo>
                      <a:pt x="933" y="86"/>
                    </a:lnTo>
                    <a:lnTo>
                      <a:pt x="932" y="86"/>
                    </a:lnTo>
                    <a:lnTo>
                      <a:pt x="932" y="87"/>
                    </a:lnTo>
                    <a:lnTo>
                      <a:pt x="930" y="87"/>
                    </a:lnTo>
                    <a:lnTo>
                      <a:pt x="930" y="89"/>
                    </a:lnTo>
                    <a:lnTo>
                      <a:pt x="932" y="89"/>
                    </a:lnTo>
                    <a:lnTo>
                      <a:pt x="933" y="89"/>
                    </a:lnTo>
                    <a:lnTo>
                      <a:pt x="933" y="87"/>
                    </a:lnTo>
                    <a:lnTo>
                      <a:pt x="935" y="87"/>
                    </a:lnTo>
                    <a:lnTo>
                      <a:pt x="935" y="86"/>
                    </a:lnTo>
                    <a:lnTo>
                      <a:pt x="936" y="86"/>
                    </a:lnTo>
                    <a:lnTo>
                      <a:pt x="938" y="86"/>
                    </a:lnTo>
                    <a:lnTo>
                      <a:pt x="939" y="86"/>
                    </a:lnTo>
                    <a:lnTo>
                      <a:pt x="941" y="86"/>
                    </a:lnTo>
                    <a:lnTo>
                      <a:pt x="943" y="86"/>
                    </a:lnTo>
                    <a:lnTo>
                      <a:pt x="944" y="86"/>
                    </a:lnTo>
                    <a:lnTo>
                      <a:pt x="946" y="84"/>
                    </a:lnTo>
                    <a:lnTo>
                      <a:pt x="947" y="84"/>
                    </a:lnTo>
                    <a:lnTo>
                      <a:pt x="949" y="84"/>
                    </a:lnTo>
                    <a:lnTo>
                      <a:pt x="949" y="83"/>
                    </a:lnTo>
                    <a:lnTo>
                      <a:pt x="951" y="83"/>
                    </a:lnTo>
                    <a:lnTo>
                      <a:pt x="952" y="83"/>
                    </a:lnTo>
                    <a:lnTo>
                      <a:pt x="954" y="83"/>
                    </a:lnTo>
                    <a:lnTo>
                      <a:pt x="955" y="83"/>
                    </a:lnTo>
                    <a:lnTo>
                      <a:pt x="957" y="83"/>
                    </a:lnTo>
                    <a:lnTo>
                      <a:pt x="958" y="83"/>
                    </a:lnTo>
                    <a:lnTo>
                      <a:pt x="960" y="83"/>
                    </a:lnTo>
                    <a:lnTo>
                      <a:pt x="960" y="81"/>
                    </a:lnTo>
                    <a:lnTo>
                      <a:pt x="962" y="81"/>
                    </a:lnTo>
                    <a:lnTo>
                      <a:pt x="962" y="80"/>
                    </a:lnTo>
                    <a:lnTo>
                      <a:pt x="963" y="80"/>
                    </a:lnTo>
                    <a:lnTo>
                      <a:pt x="963" y="78"/>
                    </a:lnTo>
                    <a:lnTo>
                      <a:pt x="965" y="76"/>
                    </a:lnTo>
                    <a:lnTo>
                      <a:pt x="966" y="75"/>
                    </a:lnTo>
                    <a:lnTo>
                      <a:pt x="966" y="73"/>
                    </a:lnTo>
                    <a:lnTo>
                      <a:pt x="966" y="72"/>
                    </a:lnTo>
                    <a:lnTo>
                      <a:pt x="968" y="72"/>
                    </a:lnTo>
                    <a:lnTo>
                      <a:pt x="970" y="72"/>
                    </a:lnTo>
                    <a:lnTo>
                      <a:pt x="970" y="73"/>
                    </a:lnTo>
                    <a:lnTo>
                      <a:pt x="970" y="75"/>
                    </a:lnTo>
                    <a:lnTo>
                      <a:pt x="971" y="75"/>
                    </a:lnTo>
                    <a:lnTo>
                      <a:pt x="971" y="76"/>
                    </a:lnTo>
                    <a:lnTo>
                      <a:pt x="973" y="78"/>
                    </a:lnTo>
                    <a:lnTo>
                      <a:pt x="974" y="78"/>
                    </a:lnTo>
                    <a:lnTo>
                      <a:pt x="974" y="80"/>
                    </a:lnTo>
                    <a:lnTo>
                      <a:pt x="976" y="80"/>
                    </a:lnTo>
                    <a:lnTo>
                      <a:pt x="978" y="80"/>
                    </a:lnTo>
                    <a:lnTo>
                      <a:pt x="981" y="80"/>
                    </a:lnTo>
                    <a:lnTo>
                      <a:pt x="982" y="80"/>
                    </a:lnTo>
                    <a:lnTo>
                      <a:pt x="984" y="80"/>
                    </a:lnTo>
                    <a:lnTo>
                      <a:pt x="985" y="78"/>
                    </a:lnTo>
                    <a:lnTo>
                      <a:pt x="987" y="76"/>
                    </a:lnTo>
                    <a:lnTo>
                      <a:pt x="989" y="76"/>
                    </a:lnTo>
                    <a:lnTo>
                      <a:pt x="989" y="75"/>
                    </a:lnTo>
                    <a:lnTo>
                      <a:pt x="990" y="75"/>
                    </a:lnTo>
                    <a:lnTo>
                      <a:pt x="990" y="73"/>
                    </a:lnTo>
                    <a:lnTo>
                      <a:pt x="992" y="73"/>
                    </a:lnTo>
                    <a:lnTo>
                      <a:pt x="993" y="73"/>
                    </a:lnTo>
                    <a:lnTo>
                      <a:pt x="995" y="73"/>
                    </a:lnTo>
                    <a:lnTo>
                      <a:pt x="993" y="80"/>
                    </a:lnTo>
                    <a:lnTo>
                      <a:pt x="993" y="81"/>
                    </a:lnTo>
                    <a:lnTo>
                      <a:pt x="993" y="83"/>
                    </a:lnTo>
                    <a:lnTo>
                      <a:pt x="995" y="83"/>
                    </a:lnTo>
                    <a:lnTo>
                      <a:pt x="997" y="84"/>
                    </a:lnTo>
                    <a:lnTo>
                      <a:pt x="997" y="86"/>
                    </a:lnTo>
                    <a:lnTo>
                      <a:pt x="998" y="86"/>
                    </a:lnTo>
                    <a:lnTo>
                      <a:pt x="998" y="87"/>
                    </a:lnTo>
                    <a:lnTo>
                      <a:pt x="998" y="89"/>
                    </a:lnTo>
                    <a:lnTo>
                      <a:pt x="1000" y="89"/>
                    </a:lnTo>
                    <a:lnTo>
                      <a:pt x="1000" y="91"/>
                    </a:lnTo>
                    <a:lnTo>
                      <a:pt x="1001" y="92"/>
                    </a:lnTo>
                    <a:lnTo>
                      <a:pt x="1001" y="94"/>
                    </a:lnTo>
                    <a:lnTo>
                      <a:pt x="1003" y="95"/>
                    </a:lnTo>
                    <a:lnTo>
                      <a:pt x="1003" y="97"/>
                    </a:lnTo>
                    <a:lnTo>
                      <a:pt x="1003" y="99"/>
                    </a:lnTo>
                    <a:lnTo>
                      <a:pt x="1004" y="99"/>
                    </a:lnTo>
                    <a:lnTo>
                      <a:pt x="1004" y="100"/>
                    </a:lnTo>
                    <a:lnTo>
                      <a:pt x="1006" y="100"/>
                    </a:lnTo>
                    <a:lnTo>
                      <a:pt x="1006" y="102"/>
                    </a:lnTo>
                    <a:lnTo>
                      <a:pt x="1006" y="103"/>
                    </a:lnTo>
                    <a:lnTo>
                      <a:pt x="1006" y="105"/>
                    </a:lnTo>
                    <a:lnTo>
                      <a:pt x="1008" y="105"/>
                    </a:lnTo>
                    <a:lnTo>
                      <a:pt x="1008" y="106"/>
                    </a:lnTo>
                    <a:lnTo>
                      <a:pt x="1009" y="106"/>
                    </a:lnTo>
                    <a:lnTo>
                      <a:pt x="1011" y="106"/>
                    </a:lnTo>
                    <a:lnTo>
                      <a:pt x="1011" y="108"/>
                    </a:lnTo>
                    <a:lnTo>
                      <a:pt x="1009" y="108"/>
                    </a:lnTo>
                    <a:lnTo>
                      <a:pt x="1009" y="110"/>
                    </a:lnTo>
                    <a:lnTo>
                      <a:pt x="1009" y="111"/>
                    </a:lnTo>
                    <a:lnTo>
                      <a:pt x="1011" y="111"/>
                    </a:lnTo>
                    <a:lnTo>
                      <a:pt x="1011" y="113"/>
                    </a:lnTo>
                    <a:lnTo>
                      <a:pt x="1011" y="114"/>
                    </a:lnTo>
                    <a:lnTo>
                      <a:pt x="1011" y="116"/>
                    </a:lnTo>
                    <a:lnTo>
                      <a:pt x="1009" y="116"/>
                    </a:lnTo>
                    <a:lnTo>
                      <a:pt x="1009" y="118"/>
                    </a:lnTo>
                    <a:lnTo>
                      <a:pt x="1009" y="119"/>
                    </a:lnTo>
                    <a:lnTo>
                      <a:pt x="1011" y="119"/>
                    </a:lnTo>
                    <a:lnTo>
                      <a:pt x="1011" y="121"/>
                    </a:lnTo>
                    <a:lnTo>
                      <a:pt x="1009" y="121"/>
                    </a:lnTo>
                    <a:lnTo>
                      <a:pt x="1011" y="122"/>
                    </a:lnTo>
                    <a:lnTo>
                      <a:pt x="1012" y="124"/>
                    </a:lnTo>
                    <a:lnTo>
                      <a:pt x="1012" y="125"/>
                    </a:lnTo>
                    <a:lnTo>
                      <a:pt x="1011" y="127"/>
                    </a:lnTo>
                    <a:lnTo>
                      <a:pt x="1011" y="129"/>
                    </a:lnTo>
                    <a:lnTo>
                      <a:pt x="1011" y="130"/>
                    </a:lnTo>
                    <a:lnTo>
                      <a:pt x="1011" y="132"/>
                    </a:lnTo>
                    <a:lnTo>
                      <a:pt x="1012" y="132"/>
                    </a:lnTo>
                    <a:lnTo>
                      <a:pt x="1012" y="133"/>
                    </a:lnTo>
                    <a:lnTo>
                      <a:pt x="1011" y="135"/>
                    </a:lnTo>
                    <a:lnTo>
                      <a:pt x="1011" y="133"/>
                    </a:lnTo>
                    <a:lnTo>
                      <a:pt x="1011" y="135"/>
                    </a:lnTo>
                    <a:lnTo>
                      <a:pt x="1009" y="135"/>
                    </a:lnTo>
                    <a:lnTo>
                      <a:pt x="1011" y="137"/>
                    </a:lnTo>
                    <a:lnTo>
                      <a:pt x="1012" y="137"/>
                    </a:lnTo>
                    <a:lnTo>
                      <a:pt x="1012" y="138"/>
                    </a:lnTo>
                    <a:lnTo>
                      <a:pt x="1011" y="140"/>
                    </a:lnTo>
                    <a:lnTo>
                      <a:pt x="1009" y="141"/>
                    </a:lnTo>
                    <a:lnTo>
                      <a:pt x="1009" y="143"/>
                    </a:lnTo>
                    <a:lnTo>
                      <a:pt x="1009" y="144"/>
                    </a:lnTo>
                    <a:lnTo>
                      <a:pt x="1009" y="146"/>
                    </a:lnTo>
                    <a:lnTo>
                      <a:pt x="1009" y="148"/>
                    </a:lnTo>
                    <a:lnTo>
                      <a:pt x="1011" y="148"/>
                    </a:lnTo>
                    <a:lnTo>
                      <a:pt x="1011" y="146"/>
                    </a:lnTo>
                    <a:lnTo>
                      <a:pt x="1012" y="146"/>
                    </a:lnTo>
                    <a:lnTo>
                      <a:pt x="1014" y="148"/>
                    </a:lnTo>
                    <a:lnTo>
                      <a:pt x="1016" y="148"/>
                    </a:lnTo>
                    <a:lnTo>
                      <a:pt x="1017" y="148"/>
                    </a:lnTo>
                    <a:lnTo>
                      <a:pt x="1017" y="149"/>
                    </a:lnTo>
                    <a:lnTo>
                      <a:pt x="1019" y="149"/>
                    </a:lnTo>
                    <a:lnTo>
                      <a:pt x="1020" y="149"/>
                    </a:lnTo>
                    <a:lnTo>
                      <a:pt x="1022" y="149"/>
                    </a:lnTo>
                    <a:lnTo>
                      <a:pt x="1022" y="151"/>
                    </a:lnTo>
                    <a:lnTo>
                      <a:pt x="1023" y="151"/>
                    </a:lnTo>
                    <a:lnTo>
                      <a:pt x="1025" y="151"/>
                    </a:lnTo>
                    <a:lnTo>
                      <a:pt x="1027" y="151"/>
                    </a:lnTo>
                    <a:lnTo>
                      <a:pt x="1028" y="151"/>
                    </a:lnTo>
                    <a:lnTo>
                      <a:pt x="1030" y="151"/>
                    </a:lnTo>
                    <a:lnTo>
                      <a:pt x="1031" y="152"/>
                    </a:lnTo>
                    <a:lnTo>
                      <a:pt x="1033" y="154"/>
                    </a:lnTo>
                    <a:lnTo>
                      <a:pt x="1035" y="154"/>
                    </a:lnTo>
                    <a:lnTo>
                      <a:pt x="1035" y="156"/>
                    </a:lnTo>
                    <a:lnTo>
                      <a:pt x="1036" y="156"/>
                    </a:lnTo>
                    <a:lnTo>
                      <a:pt x="1036" y="154"/>
                    </a:lnTo>
                    <a:lnTo>
                      <a:pt x="1038" y="154"/>
                    </a:lnTo>
                    <a:lnTo>
                      <a:pt x="1039" y="156"/>
                    </a:lnTo>
                    <a:lnTo>
                      <a:pt x="1041" y="157"/>
                    </a:lnTo>
                    <a:lnTo>
                      <a:pt x="1041" y="156"/>
                    </a:lnTo>
                    <a:lnTo>
                      <a:pt x="1044" y="156"/>
                    </a:lnTo>
                    <a:lnTo>
                      <a:pt x="1046" y="154"/>
                    </a:lnTo>
                    <a:lnTo>
                      <a:pt x="1047" y="154"/>
                    </a:lnTo>
                    <a:lnTo>
                      <a:pt x="1049" y="154"/>
                    </a:lnTo>
                    <a:lnTo>
                      <a:pt x="1050" y="154"/>
                    </a:lnTo>
                    <a:lnTo>
                      <a:pt x="1052" y="154"/>
                    </a:lnTo>
                    <a:lnTo>
                      <a:pt x="1054" y="154"/>
                    </a:lnTo>
                    <a:lnTo>
                      <a:pt x="1055" y="154"/>
                    </a:lnTo>
                    <a:lnTo>
                      <a:pt x="1057" y="154"/>
                    </a:lnTo>
                    <a:lnTo>
                      <a:pt x="1057" y="152"/>
                    </a:lnTo>
                    <a:lnTo>
                      <a:pt x="1057" y="151"/>
                    </a:lnTo>
                    <a:lnTo>
                      <a:pt x="1058" y="151"/>
                    </a:lnTo>
                    <a:lnTo>
                      <a:pt x="1060" y="151"/>
                    </a:lnTo>
                    <a:lnTo>
                      <a:pt x="1061" y="151"/>
                    </a:lnTo>
                    <a:lnTo>
                      <a:pt x="1063" y="151"/>
                    </a:lnTo>
                    <a:lnTo>
                      <a:pt x="1065" y="151"/>
                    </a:lnTo>
                    <a:lnTo>
                      <a:pt x="1066" y="149"/>
                    </a:lnTo>
                    <a:lnTo>
                      <a:pt x="1068" y="149"/>
                    </a:lnTo>
                    <a:lnTo>
                      <a:pt x="1068" y="148"/>
                    </a:lnTo>
                    <a:lnTo>
                      <a:pt x="1069" y="148"/>
                    </a:lnTo>
                    <a:lnTo>
                      <a:pt x="1071" y="146"/>
                    </a:lnTo>
                    <a:lnTo>
                      <a:pt x="1073" y="146"/>
                    </a:lnTo>
                    <a:lnTo>
                      <a:pt x="1073" y="148"/>
                    </a:lnTo>
                    <a:lnTo>
                      <a:pt x="1074" y="149"/>
                    </a:lnTo>
                    <a:lnTo>
                      <a:pt x="1074" y="151"/>
                    </a:lnTo>
                    <a:lnTo>
                      <a:pt x="1074" y="152"/>
                    </a:lnTo>
                    <a:lnTo>
                      <a:pt x="1076" y="154"/>
                    </a:lnTo>
                    <a:lnTo>
                      <a:pt x="1076" y="156"/>
                    </a:lnTo>
                    <a:lnTo>
                      <a:pt x="1074" y="156"/>
                    </a:lnTo>
                    <a:lnTo>
                      <a:pt x="1074" y="157"/>
                    </a:lnTo>
                    <a:lnTo>
                      <a:pt x="1074" y="159"/>
                    </a:lnTo>
                    <a:lnTo>
                      <a:pt x="1076" y="159"/>
                    </a:lnTo>
                    <a:lnTo>
                      <a:pt x="1076" y="160"/>
                    </a:lnTo>
                    <a:lnTo>
                      <a:pt x="1074" y="160"/>
                    </a:lnTo>
                    <a:lnTo>
                      <a:pt x="1074" y="162"/>
                    </a:lnTo>
                    <a:lnTo>
                      <a:pt x="1076" y="162"/>
                    </a:lnTo>
                    <a:lnTo>
                      <a:pt x="1076" y="164"/>
                    </a:lnTo>
                    <a:lnTo>
                      <a:pt x="1077" y="164"/>
                    </a:lnTo>
                    <a:lnTo>
                      <a:pt x="1079" y="164"/>
                    </a:lnTo>
                    <a:lnTo>
                      <a:pt x="1080" y="164"/>
                    </a:lnTo>
                    <a:lnTo>
                      <a:pt x="1082" y="164"/>
                    </a:lnTo>
                    <a:lnTo>
                      <a:pt x="1084" y="164"/>
                    </a:lnTo>
                    <a:lnTo>
                      <a:pt x="1085" y="164"/>
                    </a:lnTo>
                    <a:lnTo>
                      <a:pt x="1087" y="164"/>
                    </a:lnTo>
                    <a:lnTo>
                      <a:pt x="1088" y="164"/>
                    </a:lnTo>
                    <a:lnTo>
                      <a:pt x="1090" y="164"/>
                    </a:lnTo>
                    <a:lnTo>
                      <a:pt x="1090" y="165"/>
                    </a:lnTo>
                    <a:lnTo>
                      <a:pt x="1090" y="167"/>
                    </a:lnTo>
                    <a:lnTo>
                      <a:pt x="1092" y="167"/>
                    </a:lnTo>
                    <a:lnTo>
                      <a:pt x="1092" y="168"/>
                    </a:lnTo>
                    <a:lnTo>
                      <a:pt x="1092" y="170"/>
                    </a:lnTo>
                    <a:lnTo>
                      <a:pt x="1093" y="170"/>
                    </a:lnTo>
                    <a:lnTo>
                      <a:pt x="1093" y="171"/>
                    </a:lnTo>
                    <a:lnTo>
                      <a:pt x="1095" y="171"/>
                    </a:lnTo>
                    <a:lnTo>
                      <a:pt x="1096" y="170"/>
                    </a:lnTo>
                    <a:lnTo>
                      <a:pt x="1098" y="170"/>
                    </a:lnTo>
                    <a:lnTo>
                      <a:pt x="1099" y="170"/>
                    </a:lnTo>
                    <a:lnTo>
                      <a:pt x="1101" y="170"/>
                    </a:lnTo>
                    <a:lnTo>
                      <a:pt x="1101" y="171"/>
                    </a:lnTo>
                    <a:lnTo>
                      <a:pt x="1099" y="171"/>
                    </a:lnTo>
                    <a:lnTo>
                      <a:pt x="1099" y="173"/>
                    </a:lnTo>
                    <a:lnTo>
                      <a:pt x="1099" y="175"/>
                    </a:lnTo>
                    <a:lnTo>
                      <a:pt x="1099" y="176"/>
                    </a:lnTo>
                    <a:lnTo>
                      <a:pt x="1099" y="178"/>
                    </a:lnTo>
                    <a:lnTo>
                      <a:pt x="1099" y="179"/>
                    </a:lnTo>
                    <a:lnTo>
                      <a:pt x="1099" y="181"/>
                    </a:lnTo>
                    <a:lnTo>
                      <a:pt x="1099" y="183"/>
                    </a:lnTo>
                    <a:lnTo>
                      <a:pt x="1098" y="183"/>
                    </a:lnTo>
                    <a:lnTo>
                      <a:pt x="1098" y="184"/>
                    </a:lnTo>
                    <a:lnTo>
                      <a:pt x="1096" y="184"/>
                    </a:lnTo>
                    <a:lnTo>
                      <a:pt x="1096" y="186"/>
                    </a:lnTo>
                    <a:lnTo>
                      <a:pt x="1095" y="186"/>
                    </a:lnTo>
                    <a:lnTo>
                      <a:pt x="1093" y="186"/>
                    </a:lnTo>
                    <a:lnTo>
                      <a:pt x="1093" y="187"/>
                    </a:lnTo>
                    <a:lnTo>
                      <a:pt x="1092" y="187"/>
                    </a:lnTo>
                    <a:lnTo>
                      <a:pt x="1092" y="189"/>
                    </a:lnTo>
                    <a:lnTo>
                      <a:pt x="1090" y="189"/>
                    </a:lnTo>
                    <a:lnTo>
                      <a:pt x="1090" y="190"/>
                    </a:lnTo>
                    <a:lnTo>
                      <a:pt x="1088" y="190"/>
                    </a:lnTo>
                    <a:lnTo>
                      <a:pt x="1088" y="192"/>
                    </a:lnTo>
                    <a:lnTo>
                      <a:pt x="1088" y="194"/>
                    </a:lnTo>
                    <a:lnTo>
                      <a:pt x="1088" y="195"/>
                    </a:lnTo>
                    <a:lnTo>
                      <a:pt x="1088" y="197"/>
                    </a:lnTo>
                    <a:lnTo>
                      <a:pt x="1088" y="198"/>
                    </a:lnTo>
                    <a:lnTo>
                      <a:pt x="1088" y="200"/>
                    </a:lnTo>
                    <a:lnTo>
                      <a:pt x="1087" y="200"/>
                    </a:lnTo>
                    <a:lnTo>
                      <a:pt x="1088" y="202"/>
                    </a:lnTo>
                    <a:lnTo>
                      <a:pt x="1088" y="203"/>
                    </a:lnTo>
                    <a:lnTo>
                      <a:pt x="1088" y="205"/>
                    </a:lnTo>
                    <a:lnTo>
                      <a:pt x="1088" y="206"/>
                    </a:lnTo>
                    <a:lnTo>
                      <a:pt x="1088" y="208"/>
                    </a:lnTo>
                    <a:lnTo>
                      <a:pt x="1088" y="209"/>
                    </a:lnTo>
                    <a:lnTo>
                      <a:pt x="1090" y="211"/>
                    </a:lnTo>
                    <a:lnTo>
                      <a:pt x="1090" y="213"/>
                    </a:lnTo>
                    <a:lnTo>
                      <a:pt x="1090" y="214"/>
                    </a:lnTo>
                    <a:lnTo>
                      <a:pt x="1090" y="216"/>
                    </a:lnTo>
                    <a:lnTo>
                      <a:pt x="1088" y="216"/>
                    </a:lnTo>
                    <a:lnTo>
                      <a:pt x="1090" y="217"/>
                    </a:lnTo>
                    <a:lnTo>
                      <a:pt x="1092" y="219"/>
                    </a:lnTo>
                    <a:lnTo>
                      <a:pt x="1093" y="219"/>
                    </a:lnTo>
                    <a:lnTo>
                      <a:pt x="1093" y="221"/>
                    </a:lnTo>
                    <a:lnTo>
                      <a:pt x="1095" y="221"/>
                    </a:lnTo>
                    <a:lnTo>
                      <a:pt x="1096" y="221"/>
                    </a:lnTo>
                    <a:lnTo>
                      <a:pt x="1096" y="219"/>
                    </a:lnTo>
                    <a:lnTo>
                      <a:pt x="1098" y="219"/>
                    </a:lnTo>
                    <a:lnTo>
                      <a:pt x="1098" y="221"/>
                    </a:lnTo>
                    <a:lnTo>
                      <a:pt x="1099" y="221"/>
                    </a:lnTo>
                    <a:lnTo>
                      <a:pt x="1101" y="222"/>
                    </a:lnTo>
                    <a:lnTo>
                      <a:pt x="1103" y="222"/>
                    </a:lnTo>
                    <a:lnTo>
                      <a:pt x="1104" y="222"/>
                    </a:lnTo>
                    <a:lnTo>
                      <a:pt x="1104" y="224"/>
                    </a:lnTo>
                    <a:lnTo>
                      <a:pt x="1106" y="224"/>
                    </a:lnTo>
                    <a:lnTo>
                      <a:pt x="1107" y="224"/>
                    </a:lnTo>
                    <a:lnTo>
                      <a:pt x="1107" y="225"/>
                    </a:lnTo>
                    <a:lnTo>
                      <a:pt x="1109" y="225"/>
                    </a:lnTo>
                    <a:lnTo>
                      <a:pt x="1109" y="227"/>
                    </a:lnTo>
                    <a:lnTo>
                      <a:pt x="1109" y="228"/>
                    </a:lnTo>
                    <a:lnTo>
                      <a:pt x="1111" y="228"/>
                    </a:lnTo>
                    <a:lnTo>
                      <a:pt x="1111" y="230"/>
                    </a:lnTo>
                    <a:lnTo>
                      <a:pt x="1112" y="230"/>
                    </a:lnTo>
                    <a:lnTo>
                      <a:pt x="1112" y="232"/>
                    </a:lnTo>
                    <a:lnTo>
                      <a:pt x="1114" y="232"/>
                    </a:lnTo>
                    <a:lnTo>
                      <a:pt x="1114" y="230"/>
                    </a:lnTo>
                    <a:lnTo>
                      <a:pt x="1115" y="230"/>
                    </a:lnTo>
                    <a:lnTo>
                      <a:pt x="1117" y="230"/>
                    </a:lnTo>
                    <a:lnTo>
                      <a:pt x="1118" y="230"/>
                    </a:lnTo>
                    <a:lnTo>
                      <a:pt x="1120" y="230"/>
                    </a:lnTo>
                    <a:lnTo>
                      <a:pt x="1120" y="228"/>
                    </a:lnTo>
                    <a:lnTo>
                      <a:pt x="1122" y="228"/>
                    </a:lnTo>
                    <a:lnTo>
                      <a:pt x="1122" y="227"/>
                    </a:lnTo>
                    <a:lnTo>
                      <a:pt x="1123" y="227"/>
                    </a:lnTo>
                    <a:lnTo>
                      <a:pt x="1123" y="225"/>
                    </a:lnTo>
                    <a:lnTo>
                      <a:pt x="1123" y="224"/>
                    </a:lnTo>
                    <a:lnTo>
                      <a:pt x="1125" y="224"/>
                    </a:lnTo>
                    <a:lnTo>
                      <a:pt x="1125" y="222"/>
                    </a:lnTo>
                    <a:lnTo>
                      <a:pt x="1126" y="222"/>
                    </a:lnTo>
                    <a:lnTo>
                      <a:pt x="1128" y="222"/>
                    </a:lnTo>
                    <a:lnTo>
                      <a:pt x="1130" y="222"/>
                    </a:lnTo>
                    <a:lnTo>
                      <a:pt x="1130" y="221"/>
                    </a:lnTo>
                    <a:lnTo>
                      <a:pt x="1130" y="219"/>
                    </a:lnTo>
                    <a:lnTo>
                      <a:pt x="1131" y="219"/>
                    </a:lnTo>
                    <a:lnTo>
                      <a:pt x="1133" y="219"/>
                    </a:lnTo>
                    <a:lnTo>
                      <a:pt x="1134" y="219"/>
                    </a:lnTo>
                    <a:lnTo>
                      <a:pt x="1136" y="219"/>
                    </a:lnTo>
                    <a:lnTo>
                      <a:pt x="1137" y="219"/>
                    </a:lnTo>
                    <a:lnTo>
                      <a:pt x="1137" y="217"/>
                    </a:lnTo>
                    <a:lnTo>
                      <a:pt x="1139" y="217"/>
                    </a:lnTo>
                    <a:lnTo>
                      <a:pt x="1139" y="216"/>
                    </a:lnTo>
                    <a:lnTo>
                      <a:pt x="1141" y="216"/>
                    </a:lnTo>
                    <a:lnTo>
                      <a:pt x="1142" y="216"/>
                    </a:lnTo>
                    <a:lnTo>
                      <a:pt x="1144" y="216"/>
                    </a:lnTo>
                    <a:lnTo>
                      <a:pt x="1144" y="217"/>
                    </a:lnTo>
                    <a:lnTo>
                      <a:pt x="1145" y="217"/>
                    </a:lnTo>
                    <a:lnTo>
                      <a:pt x="1147" y="217"/>
                    </a:lnTo>
                    <a:lnTo>
                      <a:pt x="1149" y="217"/>
                    </a:lnTo>
                    <a:lnTo>
                      <a:pt x="1149" y="216"/>
                    </a:lnTo>
                    <a:lnTo>
                      <a:pt x="1150" y="216"/>
                    </a:lnTo>
                    <a:lnTo>
                      <a:pt x="1152" y="216"/>
                    </a:lnTo>
                    <a:lnTo>
                      <a:pt x="1152" y="217"/>
                    </a:lnTo>
                    <a:lnTo>
                      <a:pt x="1153" y="217"/>
                    </a:lnTo>
                    <a:lnTo>
                      <a:pt x="1153" y="219"/>
                    </a:lnTo>
                    <a:lnTo>
                      <a:pt x="1155" y="219"/>
                    </a:lnTo>
                    <a:lnTo>
                      <a:pt x="1157" y="219"/>
                    </a:lnTo>
                    <a:lnTo>
                      <a:pt x="1157" y="221"/>
                    </a:lnTo>
                    <a:lnTo>
                      <a:pt x="1157" y="222"/>
                    </a:lnTo>
                    <a:lnTo>
                      <a:pt x="1157" y="224"/>
                    </a:lnTo>
                    <a:lnTo>
                      <a:pt x="1157" y="225"/>
                    </a:lnTo>
                    <a:lnTo>
                      <a:pt x="1155" y="225"/>
                    </a:lnTo>
                    <a:lnTo>
                      <a:pt x="1155" y="227"/>
                    </a:lnTo>
                    <a:lnTo>
                      <a:pt x="1155" y="228"/>
                    </a:lnTo>
                    <a:lnTo>
                      <a:pt x="1157" y="228"/>
                    </a:lnTo>
                    <a:lnTo>
                      <a:pt x="1157" y="230"/>
                    </a:lnTo>
                    <a:lnTo>
                      <a:pt x="1157" y="232"/>
                    </a:lnTo>
                    <a:lnTo>
                      <a:pt x="1157" y="233"/>
                    </a:lnTo>
                    <a:lnTo>
                      <a:pt x="1157" y="235"/>
                    </a:lnTo>
                    <a:lnTo>
                      <a:pt x="1157" y="236"/>
                    </a:lnTo>
                    <a:lnTo>
                      <a:pt x="1157" y="238"/>
                    </a:lnTo>
                    <a:lnTo>
                      <a:pt x="1157" y="240"/>
                    </a:lnTo>
                    <a:lnTo>
                      <a:pt x="1157" y="241"/>
                    </a:lnTo>
                    <a:lnTo>
                      <a:pt x="1155" y="241"/>
                    </a:lnTo>
                    <a:lnTo>
                      <a:pt x="1155" y="243"/>
                    </a:lnTo>
                    <a:lnTo>
                      <a:pt x="1157" y="243"/>
                    </a:lnTo>
                    <a:lnTo>
                      <a:pt x="1157" y="241"/>
                    </a:lnTo>
                    <a:lnTo>
                      <a:pt x="1158" y="241"/>
                    </a:lnTo>
                    <a:lnTo>
                      <a:pt x="1160" y="241"/>
                    </a:lnTo>
                    <a:lnTo>
                      <a:pt x="1161" y="241"/>
                    </a:lnTo>
                    <a:lnTo>
                      <a:pt x="1161" y="243"/>
                    </a:lnTo>
                    <a:lnTo>
                      <a:pt x="1163" y="243"/>
                    </a:lnTo>
                    <a:lnTo>
                      <a:pt x="1163" y="244"/>
                    </a:lnTo>
                    <a:lnTo>
                      <a:pt x="1164" y="244"/>
                    </a:lnTo>
                    <a:lnTo>
                      <a:pt x="1164" y="246"/>
                    </a:lnTo>
                    <a:lnTo>
                      <a:pt x="1164" y="247"/>
                    </a:lnTo>
                    <a:lnTo>
                      <a:pt x="1164" y="249"/>
                    </a:lnTo>
                    <a:lnTo>
                      <a:pt x="1163" y="249"/>
                    </a:lnTo>
                    <a:lnTo>
                      <a:pt x="1163" y="251"/>
                    </a:lnTo>
                    <a:lnTo>
                      <a:pt x="1164" y="251"/>
                    </a:lnTo>
                    <a:lnTo>
                      <a:pt x="1166" y="251"/>
                    </a:lnTo>
                    <a:lnTo>
                      <a:pt x="1166" y="252"/>
                    </a:lnTo>
                    <a:lnTo>
                      <a:pt x="1166" y="254"/>
                    </a:lnTo>
                    <a:lnTo>
                      <a:pt x="1166" y="255"/>
                    </a:lnTo>
                    <a:lnTo>
                      <a:pt x="1168" y="255"/>
                    </a:lnTo>
                    <a:lnTo>
                      <a:pt x="1168" y="257"/>
                    </a:lnTo>
                    <a:lnTo>
                      <a:pt x="1168" y="259"/>
                    </a:lnTo>
                    <a:lnTo>
                      <a:pt x="1169" y="260"/>
                    </a:lnTo>
                    <a:lnTo>
                      <a:pt x="1171" y="262"/>
                    </a:lnTo>
                    <a:lnTo>
                      <a:pt x="1172" y="262"/>
                    </a:lnTo>
                    <a:lnTo>
                      <a:pt x="1172" y="260"/>
                    </a:lnTo>
                    <a:lnTo>
                      <a:pt x="1174" y="260"/>
                    </a:lnTo>
                    <a:lnTo>
                      <a:pt x="1177" y="260"/>
                    </a:lnTo>
                    <a:lnTo>
                      <a:pt x="1179" y="262"/>
                    </a:lnTo>
                    <a:lnTo>
                      <a:pt x="1179" y="263"/>
                    </a:lnTo>
                    <a:lnTo>
                      <a:pt x="1180" y="263"/>
                    </a:lnTo>
                    <a:lnTo>
                      <a:pt x="1182" y="263"/>
                    </a:lnTo>
                    <a:lnTo>
                      <a:pt x="1182" y="265"/>
                    </a:lnTo>
                    <a:lnTo>
                      <a:pt x="1180" y="265"/>
                    </a:lnTo>
                    <a:lnTo>
                      <a:pt x="1179" y="265"/>
                    </a:lnTo>
                    <a:lnTo>
                      <a:pt x="1179" y="266"/>
                    </a:lnTo>
                    <a:lnTo>
                      <a:pt x="1177" y="268"/>
                    </a:lnTo>
                    <a:lnTo>
                      <a:pt x="1176" y="268"/>
                    </a:lnTo>
                    <a:lnTo>
                      <a:pt x="1174" y="270"/>
                    </a:lnTo>
                    <a:lnTo>
                      <a:pt x="1172" y="270"/>
                    </a:lnTo>
                    <a:lnTo>
                      <a:pt x="1171" y="271"/>
                    </a:lnTo>
                    <a:lnTo>
                      <a:pt x="1169" y="273"/>
                    </a:lnTo>
                    <a:lnTo>
                      <a:pt x="1169" y="274"/>
                    </a:lnTo>
                    <a:lnTo>
                      <a:pt x="1171" y="274"/>
                    </a:lnTo>
                    <a:lnTo>
                      <a:pt x="1174" y="276"/>
                    </a:lnTo>
                    <a:lnTo>
                      <a:pt x="1176" y="278"/>
                    </a:lnTo>
                    <a:lnTo>
                      <a:pt x="1177" y="278"/>
                    </a:lnTo>
                    <a:lnTo>
                      <a:pt x="1177" y="279"/>
                    </a:lnTo>
                    <a:lnTo>
                      <a:pt x="1177" y="281"/>
                    </a:lnTo>
                    <a:lnTo>
                      <a:pt x="1176" y="281"/>
                    </a:lnTo>
                    <a:lnTo>
                      <a:pt x="1176" y="282"/>
                    </a:lnTo>
                    <a:lnTo>
                      <a:pt x="1174" y="282"/>
                    </a:lnTo>
                    <a:lnTo>
                      <a:pt x="1172" y="282"/>
                    </a:lnTo>
                    <a:lnTo>
                      <a:pt x="1171" y="284"/>
                    </a:lnTo>
                    <a:lnTo>
                      <a:pt x="1169" y="284"/>
                    </a:lnTo>
                    <a:lnTo>
                      <a:pt x="1169" y="286"/>
                    </a:lnTo>
                    <a:lnTo>
                      <a:pt x="1168" y="286"/>
                    </a:lnTo>
                    <a:lnTo>
                      <a:pt x="1168" y="287"/>
                    </a:lnTo>
                    <a:lnTo>
                      <a:pt x="1168" y="289"/>
                    </a:lnTo>
                    <a:lnTo>
                      <a:pt x="1166" y="289"/>
                    </a:lnTo>
                    <a:lnTo>
                      <a:pt x="1166" y="290"/>
                    </a:lnTo>
                    <a:lnTo>
                      <a:pt x="1166" y="292"/>
                    </a:lnTo>
                    <a:lnTo>
                      <a:pt x="1168" y="292"/>
                    </a:lnTo>
                    <a:lnTo>
                      <a:pt x="1169" y="292"/>
                    </a:lnTo>
                    <a:lnTo>
                      <a:pt x="1171" y="292"/>
                    </a:lnTo>
                    <a:lnTo>
                      <a:pt x="1171" y="293"/>
                    </a:lnTo>
                    <a:lnTo>
                      <a:pt x="1172" y="293"/>
                    </a:lnTo>
                    <a:lnTo>
                      <a:pt x="1174" y="293"/>
                    </a:lnTo>
                    <a:lnTo>
                      <a:pt x="1174" y="295"/>
                    </a:lnTo>
                    <a:lnTo>
                      <a:pt x="1176" y="295"/>
                    </a:lnTo>
                    <a:lnTo>
                      <a:pt x="1176" y="297"/>
                    </a:lnTo>
                    <a:lnTo>
                      <a:pt x="1176" y="298"/>
                    </a:lnTo>
                    <a:lnTo>
                      <a:pt x="1174" y="298"/>
                    </a:lnTo>
                    <a:lnTo>
                      <a:pt x="1174" y="300"/>
                    </a:lnTo>
                    <a:lnTo>
                      <a:pt x="1174" y="301"/>
                    </a:lnTo>
                    <a:lnTo>
                      <a:pt x="1174" y="303"/>
                    </a:lnTo>
                    <a:lnTo>
                      <a:pt x="1172" y="303"/>
                    </a:lnTo>
                    <a:lnTo>
                      <a:pt x="1171" y="303"/>
                    </a:lnTo>
                    <a:lnTo>
                      <a:pt x="1171" y="301"/>
                    </a:lnTo>
                    <a:lnTo>
                      <a:pt x="1169" y="301"/>
                    </a:lnTo>
                    <a:lnTo>
                      <a:pt x="1168" y="301"/>
                    </a:lnTo>
                    <a:lnTo>
                      <a:pt x="1166" y="303"/>
                    </a:lnTo>
                    <a:lnTo>
                      <a:pt x="1166" y="305"/>
                    </a:lnTo>
                    <a:lnTo>
                      <a:pt x="1168" y="305"/>
                    </a:lnTo>
                    <a:lnTo>
                      <a:pt x="1168" y="306"/>
                    </a:lnTo>
                    <a:lnTo>
                      <a:pt x="1169" y="308"/>
                    </a:lnTo>
                    <a:lnTo>
                      <a:pt x="1171" y="308"/>
                    </a:lnTo>
                    <a:lnTo>
                      <a:pt x="1171" y="309"/>
                    </a:lnTo>
                    <a:lnTo>
                      <a:pt x="1172" y="309"/>
                    </a:lnTo>
                    <a:lnTo>
                      <a:pt x="1172" y="311"/>
                    </a:lnTo>
                    <a:lnTo>
                      <a:pt x="1174" y="311"/>
                    </a:lnTo>
                    <a:lnTo>
                      <a:pt x="1172" y="312"/>
                    </a:lnTo>
                    <a:lnTo>
                      <a:pt x="1171" y="312"/>
                    </a:lnTo>
                    <a:lnTo>
                      <a:pt x="1171" y="314"/>
                    </a:lnTo>
                    <a:lnTo>
                      <a:pt x="1169" y="314"/>
                    </a:lnTo>
                    <a:lnTo>
                      <a:pt x="1169" y="316"/>
                    </a:lnTo>
                    <a:lnTo>
                      <a:pt x="1168" y="316"/>
                    </a:lnTo>
                    <a:lnTo>
                      <a:pt x="1168" y="317"/>
                    </a:lnTo>
                    <a:lnTo>
                      <a:pt x="1166" y="317"/>
                    </a:lnTo>
                    <a:lnTo>
                      <a:pt x="1164" y="317"/>
                    </a:lnTo>
                    <a:lnTo>
                      <a:pt x="1163" y="317"/>
                    </a:lnTo>
                    <a:lnTo>
                      <a:pt x="1163" y="319"/>
                    </a:lnTo>
                    <a:lnTo>
                      <a:pt x="1161" y="319"/>
                    </a:lnTo>
                    <a:lnTo>
                      <a:pt x="1160" y="320"/>
                    </a:lnTo>
                    <a:lnTo>
                      <a:pt x="1158" y="320"/>
                    </a:lnTo>
                    <a:lnTo>
                      <a:pt x="1158" y="322"/>
                    </a:lnTo>
                    <a:lnTo>
                      <a:pt x="1157" y="322"/>
                    </a:lnTo>
                    <a:lnTo>
                      <a:pt x="1157" y="320"/>
                    </a:lnTo>
                    <a:lnTo>
                      <a:pt x="1155" y="320"/>
                    </a:lnTo>
                    <a:lnTo>
                      <a:pt x="1153" y="320"/>
                    </a:lnTo>
                    <a:lnTo>
                      <a:pt x="1152" y="320"/>
                    </a:lnTo>
                    <a:lnTo>
                      <a:pt x="1152" y="322"/>
                    </a:lnTo>
                    <a:lnTo>
                      <a:pt x="1150" y="322"/>
                    </a:lnTo>
                    <a:lnTo>
                      <a:pt x="1149" y="322"/>
                    </a:lnTo>
                    <a:lnTo>
                      <a:pt x="1147" y="322"/>
                    </a:lnTo>
                    <a:lnTo>
                      <a:pt x="1145" y="322"/>
                    </a:lnTo>
                    <a:lnTo>
                      <a:pt x="1145" y="324"/>
                    </a:lnTo>
                    <a:lnTo>
                      <a:pt x="1144" y="324"/>
                    </a:lnTo>
                    <a:lnTo>
                      <a:pt x="1142" y="324"/>
                    </a:lnTo>
                    <a:lnTo>
                      <a:pt x="1141" y="324"/>
                    </a:lnTo>
                    <a:lnTo>
                      <a:pt x="1141" y="325"/>
                    </a:lnTo>
                    <a:lnTo>
                      <a:pt x="1139" y="325"/>
                    </a:lnTo>
                    <a:lnTo>
                      <a:pt x="1139" y="327"/>
                    </a:lnTo>
                    <a:lnTo>
                      <a:pt x="1139" y="328"/>
                    </a:lnTo>
                    <a:lnTo>
                      <a:pt x="1139" y="330"/>
                    </a:lnTo>
                    <a:lnTo>
                      <a:pt x="1141" y="330"/>
                    </a:lnTo>
                    <a:lnTo>
                      <a:pt x="1141" y="331"/>
                    </a:lnTo>
                    <a:lnTo>
                      <a:pt x="1142" y="331"/>
                    </a:lnTo>
                    <a:lnTo>
                      <a:pt x="1142" y="333"/>
                    </a:lnTo>
                    <a:lnTo>
                      <a:pt x="1141" y="333"/>
                    </a:lnTo>
                    <a:lnTo>
                      <a:pt x="1141" y="335"/>
                    </a:lnTo>
                    <a:lnTo>
                      <a:pt x="1141" y="336"/>
                    </a:lnTo>
                    <a:lnTo>
                      <a:pt x="1142" y="338"/>
                    </a:lnTo>
                    <a:lnTo>
                      <a:pt x="1142" y="339"/>
                    </a:lnTo>
                    <a:lnTo>
                      <a:pt x="1144" y="339"/>
                    </a:lnTo>
                    <a:lnTo>
                      <a:pt x="1144" y="341"/>
                    </a:lnTo>
                    <a:lnTo>
                      <a:pt x="1145" y="343"/>
                    </a:lnTo>
                    <a:lnTo>
                      <a:pt x="1145" y="344"/>
                    </a:lnTo>
                    <a:lnTo>
                      <a:pt x="1147" y="344"/>
                    </a:lnTo>
                    <a:lnTo>
                      <a:pt x="1147" y="346"/>
                    </a:lnTo>
                    <a:lnTo>
                      <a:pt x="1147" y="347"/>
                    </a:lnTo>
                    <a:lnTo>
                      <a:pt x="1147" y="349"/>
                    </a:lnTo>
                    <a:lnTo>
                      <a:pt x="1149" y="349"/>
                    </a:lnTo>
                    <a:lnTo>
                      <a:pt x="1149" y="350"/>
                    </a:lnTo>
                    <a:lnTo>
                      <a:pt x="1149" y="352"/>
                    </a:lnTo>
                    <a:lnTo>
                      <a:pt x="1149" y="354"/>
                    </a:lnTo>
                    <a:lnTo>
                      <a:pt x="1149" y="355"/>
                    </a:lnTo>
                    <a:lnTo>
                      <a:pt x="1150" y="355"/>
                    </a:lnTo>
                    <a:lnTo>
                      <a:pt x="1150" y="357"/>
                    </a:lnTo>
                    <a:lnTo>
                      <a:pt x="1152" y="357"/>
                    </a:lnTo>
                    <a:lnTo>
                      <a:pt x="1152" y="358"/>
                    </a:lnTo>
                    <a:lnTo>
                      <a:pt x="1152" y="360"/>
                    </a:lnTo>
                    <a:lnTo>
                      <a:pt x="1152" y="362"/>
                    </a:lnTo>
                    <a:lnTo>
                      <a:pt x="1153" y="362"/>
                    </a:lnTo>
                    <a:lnTo>
                      <a:pt x="1153" y="363"/>
                    </a:lnTo>
                    <a:lnTo>
                      <a:pt x="1152" y="365"/>
                    </a:lnTo>
                    <a:lnTo>
                      <a:pt x="1153" y="365"/>
                    </a:lnTo>
                    <a:lnTo>
                      <a:pt x="1153" y="366"/>
                    </a:lnTo>
                    <a:lnTo>
                      <a:pt x="1153" y="368"/>
                    </a:lnTo>
                    <a:lnTo>
                      <a:pt x="1155" y="368"/>
                    </a:lnTo>
                    <a:lnTo>
                      <a:pt x="1155" y="369"/>
                    </a:lnTo>
                    <a:lnTo>
                      <a:pt x="1155" y="371"/>
                    </a:lnTo>
                    <a:lnTo>
                      <a:pt x="1155" y="373"/>
                    </a:lnTo>
                    <a:lnTo>
                      <a:pt x="1155" y="374"/>
                    </a:lnTo>
                    <a:lnTo>
                      <a:pt x="1157" y="374"/>
                    </a:lnTo>
                    <a:lnTo>
                      <a:pt x="1157" y="376"/>
                    </a:lnTo>
                    <a:lnTo>
                      <a:pt x="1157" y="377"/>
                    </a:lnTo>
                    <a:lnTo>
                      <a:pt x="1157" y="379"/>
                    </a:lnTo>
                    <a:lnTo>
                      <a:pt x="1157" y="381"/>
                    </a:lnTo>
                    <a:lnTo>
                      <a:pt x="1157" y="382"/>
                    </a:lnTo>
                    <a:lnTo>
                      <a:pt x="1157" y="384"/>
                    </a:lnTo>
                    <a:lnTo>
                      <a:pt x="1157" y="385"/>
                    </a:lnTo>
                    <a:lnTo>
                      <a:pt x="1157" y="387"/>
                    </a:lnTo>
                    <a:lnTo>
                      <a:pt x="1158" y="387"/>
                    </a:lnTo>
                    <a:lnTo>
                      <a:pt x="1158" y="389"/>
                    </a:lnTo>
                    <a:lnTo>
                      <a:pt x="1158" y="390"/>
                    </a:lnTo>
                    <a:lnTo>
                      <a:pt x="1158" y="392"/>
                    </a:lnTo>
                    <a:lnTo>
                      <a:pt x="1158" y="393"/>
                    </a:lnTo>
                    <a:lnTo>
                      <a:pt x="1158" y="395"/>
                    </a:lnTo>
                    <a:lnTo>
                      <a:pt x="1158" y="398"/>
                    </a:lnTo>
                    <a:lnTo>
                      <a:pt x="1158" y="400"/>
                    </a:lnTo>
                    <a:lnTo>
                      <a:pt x="1158" y="401"/>
                    </a:lnTo>
                    <a:lnTo>
                      <a:pt x="1158" y="403"/>
                    </a:lnTo>
                    <a:lnTo>
                      <a:pt x="1158" y="404"/>
                    </a:lnTo>
                    <a:lnTo>
                      <a:pt x="1158" y="406"/>
                    </a:lnTo>
                    <a:lnTo>
                      <a:pt x="1160" y="408"/>
                    </a:lnTo>
                    <a:lnTo>
                      <a:pt x="1160" y="409"/>
                    </a:lnTo>
                    <a:lnTo>
                      <a:pt x="1160" y="411"/>
                    </a:lnTo>
                    <a:lnTo>
                      <a:pt x="1160" y="412"/>
                    </a:lnTo>
                    <a:lnTo>
                      <a:pt x="1160" y="414"/>
                    </a:lnTo>
                    <a:lnTo>
                      <a:pt x="1161" y="414"/>
                    </a:lnTo>
                    <a:lnTo>
                      <a:pt x="1161" y="415"/>
                    </a:lnTo>
                    <a:lnTo>
                      <a:pt x="1163" y="415"/>
                    </a:lnTo>
                    <a:lnTo>
                      <a:pt x="1163" y="417"/>
                    </a:lnTo>
                    <a:lnTo>
                      <a:pt x="1164" y="417"/>
                    </a:lnTo>
                    <a:lnTo>
                      <a:pt x="1164" y="419"/>
                    </a:lnTo>
                    <a:lnTo>
                      <a:pt x="1166" y="420"/>
                    </a:lnTo>
                    <a:lnTo>
                      <a:pt x="1166" y="422"/>
                    </a:lnTo>
                    <a:lnTo>
                      <a:pt x="1168" y="422"/>
                    </a:lnTo>
                    <a:lnTo>
                      <a:pt x="1168" y="423"/>
                    </a:lnTo>
                    <a:lnTo>
                      <a:pt x="1169" y="425"/>
                    </a:lnTo>
                    <a:lnTo>
                      <a:pt x="1169" y="427"/>
                    </a:lnTo>
                    <a:lnTo>
                      <a:pt x="1171" y="427"/>
                    </a:lnTo>
                    <a:lnTo>
                      <a:pt x="1171" y="428"/>
                    </a:lnTo>
                    <a:lnTo>
                      <a:pt x="1172" y="428"/>
                    </a:lnTo>
                    <a:lnTo>
                      <a:pt x="1174" y="428"/>
                    </a:lnTo>
                    <a:lnTo>
                      <a:pt x="1176" y="428"/>
                    </a:lnTo>
                    <a:lnTo>
                      <a:pt x="1177" y="428"/>
                    </a:lnTo>
                    <a:lnTo>
                      <a:pt x="1179" y="428"/>
                    </a:lnTo>
                    <a:lnTo>
                      <a:pt x="1180" y="427"/>
                    </a:lnTo>
                    <a:lnTo>
                      <a:pt x="1182" y="427"/>
                    </a:lnTo>
                    <a:lnTo>
                      <a:pt x="1183" y="427"/>
                    </a:lnTo>
                    <a:lnTo>
                      <a:pt x="1185" y="427"/>
                    </a:lnTo>
                    <a:lnTo>
                      <a:pt x="1185" y="428"/>
                    </a:lnTo>
                    <a:lnTo>
                      <a:pt x="1185" y="427"/>
                    </a:lnTo>
                    <a:lnTo>
                      <a:pt x="1187" y="427"/>
                    </a:lnTo>
                    <a:lnTo>
                      <a:pt x="1188" y="427"/>
                    </a:lnTo>
                    <a:lnTo>
                      <a:pt x="1188" y="428"/>
                    </a:lnTo>
                    <a:lnTo>
                      <a:pt x="1190" y="430"/>
                    </a:lnTo>
                    <a:lnTo>
                      <a:pt x="1190" y="428"/>
                    </a:lnTo>
                    <a:lnTo>
                      <a:pt x="1191" y="428"/>
                    </a:lnTo>
                    <a:lnTo>
                      <a:pt x="1193" y="428"/>
                    </a:lnTo>
                    <a:lnTo>
                      <a:pt x="1195" y="428"/>
                    </a:lnTo>
                    <a:lnTo>
                      <a:pt x="1195" y="427"/>
                    </a:lnTo>
                    <a:lnTo>
                      <a:pt x="1196" y="427"/>
                    </a:lnTo>
                    <a:lnTo>
                      <a:pt x="1196" y="425"/>
                    </a:lnTo>
                    <a:lnTo>
                      <a:pt x="1196" y="423"/>
                    </a:lnTo>
                    <a:lnTo>
                      <a:pt x="1195" y="423"/>
                    </a:lnTo>
                    <a:lnTo>
                      <a:pt x="1195" y="422"/>
                    </a:lnTo>
                    <a:lnTo>
                      <a:pt x="1196" y="422"/>
                    </a:lnTo>
                    <a:lnTo>
                      <a:pt x="1198" y="422"/>
                    </a:lnTo>
                    <a:lnTo>
                      <a:pt x="1198" y="420"/>
                    </a:lnTo>
                    <a:lnTo>
                      <a:pt x="1199" y="420"/>
                    </a:lnTo>
                    <a:lnTo>
                      <a:pt x="1201" y="420"/>
                    </a:lnTo>
                    <a:lnTo>
                      <a:pt x="1202" y="419"/>
                    </a:lnTo>
                    <a:lnTo>
                      <a:pt x="1202" y="420"/>
                    </a:lnTo>
                    <a:lnTo>
                      <a:pt x="1204" y="420"/>
                    </a:lnTo>
                    <a:lnTo>
                      <a:pt x="1206" y="420"/>
                    </a:lnTo>
                    <a:lnTo>
                      <a:pt x="1206" y="419"/>
                    </a:lnTo>
                    <a:lnTo>
                      <a:pt x="1207" y="419"/>
                    </a:lnTo>
                    <a:lnTo>
                      <a:pt x="1207" y="417"/>
                    </a:lnTo>
                    <a:lnTo>
                      <a:pt x="1209" y="417"/>
                    </a:lnTo>
                    <a:lnTo>
                      <a:pt x="1210" y="417"/>
                    </a:lnTo>
                    <a:lnTo>
                      <a:pt x="1212" y="417"/>
                    </a:lnTo>
                    <a:lnTo>
                      <a:pt x="1214" y="417"/>
                    </a:lnTo>
                    <a:lnTo>
                      <a:pt x="1215" y="417"/>
                    </a:lnTo>
                    <a:lnTo>
                      <a:pt x="1217" y="417"/>
                    </a:lnTo>
                    <a:lnTo>
                      <a:pt x="1218" y="417"/>
                    </a:lnTo>
                    <a:lnTo>
                      <a:pt x="1218" y="419"/>
                    </a:lnTo>
                    <a:lnTo>
                      <a:pt x="1220" y="419"/>
                    </a:lnTo>
                    <a:lnTo>
                      <a:pt x="1221" y="419"/>
                    </a:lnTo>
                    <a:lnTo>
                      <a:pt x="1223" y="419"/>
                    </a:lnTo>
                    <a:lnTo>
                      <a:pt x="1225" y="420"/>
                    </a:lnTo>
                    <a:lnTo>
                      <a:pt x="1226" y="420"/>
                    </a:lnTo>
                    <a:lnTo>
                      <a:pt x="1228" y="420"/>
                    </a:lnTo>
                    <a:lnTo>
                      <a:pt x="1229" y="419"/>
                    </a:lnTo>
                    <a:lnTo>
                      <a:pt x="1231" y="419"/>
                    </a:lnTo>
                    <a:lnTo>
                      <a:pt x="1233" y="419"/>
                    </a:lnTo>
                    <a:lnTo>
                      <a:pt x="1234" y="419"/>
                    </a:lnTo>
                    <a:lnTo>
                      <a:pt x="1236" y="419"/>
                    </a:lnTo>
                    <a:lnTo>
                      <a:pt x="1237" y="419"/>
                    </a:lnTo>
                    <a:lnTo>
                      <a:pt x="1239" y="419"/>
                    </a:lnTo>
                    <a:lnTo>
                      <a:pt x="1240" y="419"/>
                    </a:lnTo>
                    <a:lnTo>
                      <a:pt x="1242" y="419"/>
                    </a:lnTo>
                    <a:lnTo>
                      <a:pt x="1244" y="420"/>
                    </a:lnTo>
                    <a:lnTo>
                      <a:pt x="1244" y="422"/>
                    </a:lnTo>
                    <a:lnTo>
                      <a:pt x="1244" y="423"/>
                    </a:lnTo>
                    <a:lnTo>
                      <a:pt x="1244" y="425"/>
                    </a:lnTo>
                    <a:lnTo>
                      <a:pt x="1245" y="427"/>
                    </a:lnTo>
                    <a:lnTo>
                      <a:pt x="1245" y="428"/>
                    </a:lnTo>
                    <a:lnTo>
                      <a:pt x="1247" y="430"/>
                    </a:lnTo>
                    <a:lnTo>
                      <a:pt x="1247" y="431"/>
                    </a:lnTo>
                    <a:lnTo>
                      <a:pt x="1247" y="433"/>
                    </a:lnTo>
                    <a:lnTo>
                      <a:pt x="1247" y="434"/>
                    </a:lnTo>
                    <a:lnTo>
                      <a:pt x="1247" y="436"/>
                    </a:lnTo>
                    <a:lnTo>
                      <a:pt x="1247" y="438"/>
                    </a:lnTo>
                    <a:lnTo>
                      <a:pt x="1245" y="438"/>
                    </a:lnTo>
                    <a:lnTo>
                      <a:pt x="1245" y="439"/>
                    </a:lnTo>
                    <a:lnTo>
                      <a:pt x="1245" y="441"/>
                    </a:lnTo>
                    <a:lnTo>
                      <a:pt x="1244" y="441"/>
                    </a:lnTo>
                    <a:lnTo>
                      <a:pt x="1245" y="441"/>
                    </a:lnTo>
                    <a:lnTo>
                      <a:pt x="1247" y="441"/>
                    </a:lnTo>
                    <a:lnTo>
                      <a:pt x="1248" y="441"/>
                    </a:lnTo>
                    <a:lnTo>
                      <a:pt x="1250" y="439"/>
                    </a:lnTo>
                    <a:lnTo>
                      <a:pt x="1252" y="439"/>
                    </a:lnTo>
                    <a:lnTo>
                      <a:pt x="1253" y="439"/>
                    </a:lnTo>
                    <a:lnTo>
                      <a:pt x="1255" y="439"/>
                    </a:lnTo>
                    <a:lnTo>
                      <a:pt x="1256" y="439"/>
                    </a:lnTo>
                    <a:lnTo>
                      <a:pt x="1258" y="438"/>
                    </a:lnTo>
                    <a:lnTo>
                      <a:pt x="1259" y="438"/>
                    </a:lnTo>
                    <a:lnTo>
                      <a:pt x="1259" y="436"/>
                    </a:lnTo>
                    <a:lnTo>
                      <a:pt x="1261" y="436"/>
                    </a:lnTo>
                    <a:lnTo>
                      <a:pt x="1261" y="434"/>
                    </a:lnTo>
                    <a:lnTo>
                      <a:pt x="1263" y="434"/>
                    </a:lnTo>
                    <a:lnTo>
                      <a:pt x="1264" y="434"/>
                    </a:lnTo>
                    <a:lnTo>
                      <a:pt x="1266" y="434"/>
                    </a:lnTo>
                    <a:lnTo>
                      <a:pt x="1267" y="433"/>
                    </a:lnTo>
                    <a:lnTo>
                      <a:pt x="1267" y="431"/>
                    </a:lnTo>
                    <a:lnTo>
                      <a:pt x="1269" y="431"/>
                    </a:lnTo>
                    <a:lnTo>
                      <a:pt x="1269" y="430"/>
                    </a:lnTo>
                    <a:lnTo>
                      <a:pt x="1269" y="428"/>
                    </a:lnTo>
                    <a:lnTo>
                      <a:pt x="1269" y="427"/>
                    </a:lnTo>
                    <a:lnTo>
                      <a:pt x="1271" y="427"/>
                    </a:lnTo>
                    <a:lnTo>
                      <a:pt x="1272" y="427"/>
                    </a:lnTo>
                    <a:lnTo>
                      <a:pt x="1274" y="427"/>
                    </a:lnTo>
                    <a:lnTo>
                      <a:pt x="1275" y="427"/>
                    </a:lnTo>
                    <a:lnTo>
                      <a:pt x="1277" y="427"/>
                    </a:lnTo>
                    <a:lnTo>
                      <a:pt x="1278" y="427"/>
                    </a:lnTo>
                    <a:lnTo>
                      <a:pt x="1280" y="427"/>
                    </a:lnTo>
                    <a:lnTo>
                      <a:pt x="1282" y="427"/>
                    </a:lnTo>
                    <a:lnTo>
                      <a:pt x="1283" y="425"/>
                    </a:lnTo>
                    <a:lnTo>
                      <a:pt x="1285" y="425"/>
                    </a:lnTo>
                    <a:lnTo>
                      <a:pt x="1286" y="425"/>
                    </a:lnTo>
                    <a:lnTo>
                      <a:pt x="1290" y="425"/>
                    </a:lnTo>
                    <a:lnTo>
                      <a:pt x="1291" y="427"/>
                    </a:lnTo>
                    <a:lnTo>
                      <a:pt x="1293" y="427"/>
                    </a:lnTo>
                    <a:lnTo>
                      <a:pt x="1294" y="425"/>
                    </a:lnTo>
                    <a:lnTo>
                      <a:pt x="1296" y="425"/>
                    </a:lnTo>
                    <a:lnTo>
                      <a:pt x="1297" y="425"/>
                    </a:lnTo>
                    <a:lnTo>
                      <a:pt x="1299" y="425"/>
                    </a:lnTo>
                    <a:lnTo>
                      <a:pt x="1301" y="425"/>
                    </a:lnTo>
                    <a:lnTo>
                      <a:pt x="1302" y="423"/>
                    </a:lnTo>
                    <a:lnTo>
                      <a:pt x="1304" y="423"/>
                    </a:lnTo>
                    <a:lnTo>
                      <a:pt x="1305" y="422"/>
                    </a:lnTo>
                    <a:lnTo>
                      <a:pt x="1307" y="422"/>
                    </a:lnTo>
                    <a:lnTo>
                      <a:pt x="1309" y="422"/>
                    </a:lnTo>
                    <a:lnTo>
                      <a:pt x="1312" y="422"/>
                    </a:lnTo>
                    <a:lnTo>
                      <a:pt x="1313" y="422"/>
                    </a:lnTo>
                    <a:lnTo>
                      <a:pt x="1315" y="420"/>
                    </a:lnTo>
                    <a:lnTo>
                      <a:pt x="1316" y="420"/>
                    </a:lnTo>
                    <a:lnTo>
                      <a:pt x="1316" y="422"/>
                    </a:lnTo>
                    <a:lnTo>
                      <a:pt x="1315" y="423"/>
                    </a:lnTo>
                    <a:lnTo>
                      <a:pt x="1315" y="425"/>
                    </a:lnTo>
                    <a:lnTo>
                      <a:pt x="1315" y="427"/>
                    </a:lnTo>
                    <a:lnTo>
                      <a:pt x="1313" y="428"/>
                    </a:lnTo>
                    <a:lnTo>
                      <a:pt x="1312" y="430"/>
                    </a:lnTo>
                    <a:lnTo>
                      <a:pt x="1312" y="431"/>
                    </a:lnTo>
                    <a:lnTo>
                      <a:pt x="1310" y="433"/>
                    </a:lnTo>
                    <a:lnTo>
                      <a:pt x="1310" y="434"/>
                    </a:lnTo>
                    <a:lnTo>
                      <a:pt x="1310" y="436"/>
                    </a:lnTo>
                    <a:lnTo>
                      <a:pt x="1309" y="438"/>
                    </a:lnTo>
                    <a:lnTo>
                      <a:pt x="1309" y="439"/>
                    </a:lnTo>
                    <a:lnTo>
                      <a:pt x="1309" y="441"/>
                    </a:lnTo>
                    <a:lnTo>
                      <a:pt x="1310" y="442"/>
                    </a:lnTo>
                    <a:lnTo>
                      <a:pt x="1310" y="444"/>
                    </a:lnTo>
                    <a:lnTo>
                      <a:pt x="1310" y="447"/>
                    </a:lnTo>
                    <a:lnTo>
                      <a:pt x="1310" y="449"/>
                    </a:lnTo>
                    <a:lnTo>
                      <a:pt x="1310" y="450"/>
                    </a:lnTo>
                    <a:lnTo>
                      <a:pt x="1310" y="452"/>
                    </a:lnTo>
                    <a:lnTo>
                      <a:pt x="1312" y="455"/>
                    </a:lnTo>
                    <a:lnTo>
                      <a:pt x="1312" y="458"/>
                    </a:lnTo>
                    <a:lnTo>
                      <a:pt x="1313" y="458"/>
                    </a:lnTo>
                    <a:lnTo>
                      <a:pt x="1313" y="460"/>
                    </a:lnTo>
                    <a:lnTo>
                      <a:pt x="1315" y="461"/>
                    </a:lnTo>
                    <a:lnTo>
                      <a:pt x="1316" y="465"/>
                    </a:lnTo>
                    <a:lnTo>
                      <a:pt x="1316" y="466"/>
                    </a:lnTo>
                    <a:lnTo>
                      <a:pt x="1320" y="468"/>
                    </a:lnTo>
                    <a:lnTo>
                      <a:pt x="1320" y="469"/>
                    </a:lnTo>
                    <a:lnTo>
                      <a:pt x="1321" y="471"/>
                    </a:lnTo>
                    <a:lnTo>
                      <a:pt x="1321" y="472"/>
                    </a:lnTo>
                    <a:lnTo>
                      <a:pt x="1321" y="474"/>
                    </a:lnTo>
                    <a:lnTo>
                      <a:pt x="1321" y="476"/>
                    </a:lnTo>
                    <a:lnTo>
                      <a:pt x="1321" y="477"/>
                    </a:lnTo>
                    <a:lnTo>
                      <a:pt x="1321" y="479"/>
                    </a:lnTo>
                    <a:lnTo>
                      <a:pt x="1320" y="480"/>
                    </a:lnTo>
                    <a:lnTo>
                      <a:pt x="1320" y="484"/>
                    </a:lnTo>
                    <a:lnTo>
                      <a:pt x="1320" y="485"/>
                    </a:lnTo>
                    <a:lnTo>
                      <a:pt x="1321" y="487"/>
                    </a:lnTo>
                    <a:lnTo>
                      <a:pt x="1321" y="488"/>
                    </a:lnTo>
                    <a:lnTo>
                      <a:pt x="1321" y="490"/>
                    </a:lnTo>
                    <a:lnTo>
                      <a:pt x="1323" y="490"/>
                    </a:lnTo>
                    <a:lnTo>
                      <a:pt x="1324" y="493"/>
                    </a:lnTo>
                    <a:lnTo>
                      <a:pt x="1326" y="495"/>
                    </a:lnTo>
                    <a:lnTo>
                      <a:pt x="1328" y="496"/>
                    </a:lnTo>
                    <a:lnTo>
                      <a:pt x="1328" y="498"/>
                    </a:lnTo>
                    <a:lnTo>
                      <a:pt x="1329" y="499"/>
                    </a:lnTo>
                    <a:lnTo>
                      <a:pt x="1329" y="501"/>
                    </a:lnTo>
                    <a:lnTo>
                      <a:pt x="1329" y="504"/>
                    </a:lnTo>
                    <a:lnTo>
                      <a:pt x="1329" y="506"/>
                    </a:lnTo>
                    <a:lnTo>
                      <a:pt x="1331" y="506"/>
                    </a:lnTo>
                    <a:lnTo>
                      <a:pt x="1331" y="507"/>
                    </a:lnTo>
                    <a:lnTo>
                      <a:pt x="1329" y="509"/>
                    </a:lnTo>
                    <a:lnTo>
                      <a:pt x="1331" y="511"/>
                    </a:lnTo>
                    <a:lnTo>
                      <a:pt x="1331" y="512"/>
                    </a:lnTo>
                    <a:lnTo>
                      <a:pt x="1329" y="517"/>
                    </a:lnTo>
                    <a:lnTo>
                      <a:pt x="1329" y="518"/>
                    </a:lnTo>
                    <a:lnTo>
                      <a:pt x="1329" y="520"/>
                    </a:lnTo>
                    <a:lnTo>
                      <a:pt x="1331" y="522"/>
                    </a:lnTo>
                    <a:lnTo>
                      <a:pt x="1331" y="523"/>
                    </a:lnTo>
                    <a:lnTo>
                      <a:pt x="1331" y="525"/>
                    </a:lnTo>
                    <a:lnTo>
                      <a:pt x="1332" y="525"/>
                    </a:lnTo>
                    <a:lnTo>
                      <a:pt x="1334" y="526"/>
                    </a:lnTo>
                    <a:lnTo>
                      <a:pt x="1334" y="528"/>
                    </a:lnTo>
                    <a:lnTo>
                      <a:pt x="1335" y="528"/>
                    </a:lnTo>
                    <a:lnTo>
                      <a:pt x="1337" y="530"/>
                    </a:lnTo>
                    <a:lnTo>
                      <a:pt x="1337" y="531"/>
                    </a:lnTo>
                    <a:lnTo>
                      <a:pt x="1339" y="531"/>
                    </a:lnTo>
                    <a:lnTo>
                      <a:pt x="1339" y="533"/>
                    </a:lnTo>
                    <a:lnTo>
                      <a:pt x="1339" y="534"/>
                    </a:lnTo>
                    <a:lnTo>
                      <a:pt x="1337" y="534"/>
                    </a:lnTo>
                    <a:lnTo>
                      <a:pt x="1337" y="536"/>
                    </a:lnTo>
                    <a:lnTo>
                      <a:pt x="1335" y="537"/>
                    </a:lnTo>
                    <a:lnTo>
                      <a:pt x="1339" y="541"/>
                    </a:lnTo>
                    <a:lnTo>
                      <a:pt x="1342" y="539"/>
                    </a:lnTo>
                    <a:lnTo>
                      <a:pt x="1345" y="539"/>
                    </a:lnTo>
                    <a:lnTo>
                      <a:pt x="1343" y="550"/>
                    </a:lnTo>
                    <a:lnTo>
                      <a:pt x="1343" y="556"/>
                    </a:lnTo>
                    <a:lnTo>
                      <a:pt x="1343" y="566"/>
                    </a:lnTo>
                    <a:lnTo>
                      <a:pt x="1342" y="572"/>
                    </a:lnTo>
                    <a:lnTo>
                      <a:pt x="1343" y="582"/>
                    </a:lnTo>
                    <a:lnTo>
                      <a:pt x="1348" y="587"/>
                    </a:lnTo>
                    <a:lnTo>
                      <a:pt x="1351" y="591"/>
                    </a:lnTo>
                    <a:lnTo>
                      <a:pt x="1355" y="598"/>
                    </a:lnTo>
                    <a:lnTo>
                      <a:pt x="1359" y="604"/>
                    </a:lnTo>
                    <a:lnTo>
                      <a:pt x="1366" y="609"/>
                    </a:lnTo>
                    <a:lnTo>
                      <a:pt x="1370" y="613"/>
                    </a:lnTo>
                    <a:lnTo>
                      <a:pt x="1375" y="613"/>
                    </a:lnTo>
                    <a:lnTo>
                      <a:pt x="1380" y="621"/>
                    </a:lnTo>
                    <a:lnTo>
                      <a:pt x="1381" y="628"/>
                    </a:lnTo>
                    <a:lnTo>
                      <a:pt x="1380" y="628"/>
                    </a:lnTo>
                    <a:lnTo>
                      <a:pt x="1380" y="629"/>
                    </a:lnTo>
                    <a:lnTo>
                      <a:pt x="1378" y="629"/>
                    </a:lnTo>
                    <a:lnTo>
                      <a:pt x="1378" y="631"/>
                    </a:lnTo>
                    <a:lnTo>
                      <a:pt x="1377" y="633"/>
                    </a:lnTo>
                    <a:lnTo>
                      <a:pt x="1377" y="634"/>
                    </a:lnTo>
                    <a:lnTo>
                      <a:pt x="1378" y="639"/>
                    </a:lnTo>
                    <a:lnTo>
                      <a:pt x="1378" y="640"/>
                    </a:lnTo>
                    <a:lnTo>
                      <a:pt x="1380" y="640"/>
                    </a:lnTo>
                    <a:lnTo>
                      <a:pt x="1380" y="642"/>
                    </a:lnTo>
                    <a:lnTo>
                      <a:pt x="1383" y="645"/>
                    </a:lnTo>
                    <a:lnTo>
                      <a:pt x="1383" y="647"/>
                    </a:lnTo>
                    <a:lnTo>
                      <a:pt x="1385" y="648"/>
                    </a:lnTo>
                    <a:lnTo>
                      <a:pt x="1386" y="650"/>
                    </a:lnTo>
                    <a:lnTo>
                      <a:pt x="1386" y="652"/>
                    </a:lnTo>
                    <a:lnTo>
                      <a:pt x="1388" y="653"/>
                    </a:lnTo>
                    <a:lnTo>
                      <a:pt x="1389" y="656"/>
                    </a:lnTo>
                    <a:lnTo>
                      <a:pt x="1391" y="658"/>
                    </a:lnTo>
                    <a:lnTo>
                      <a:pt x="1391" y="659"/>
                    </a:lnTo>
                    <a:lnTo>
                      <a:pt x="1393" y="661"/>
                    </a:lnTo>
                    <a:lnTo>
                      <a:pt x="1394" y="663"/>
                    </a:lnTo>
                    <a:lnTo>
                      <a:pt x="1396" y="664"/>
                    </a:lnTo>
                    <a:lnTo>
                      <a:pt x="1396" y="666"/>
                    </a:lnTo>
                    <a:lnTo>
                      <a:pt x="1397" y="667"/>
                    </a:lnTo>
                    <a:lnTo>
                      <a:pt x="1397" y="669"/>
                    </a:lnTo>
                    <a:lnTo>
                      <a:pt x="1399" y="672"/>
                    </a:lnTo>
                    <a:lnTo>
                      <a:pt x="1399" y="675"/>
                    </a:lnTo>
                    <a:lnTo>
                      <a:pt x="1399" y="677"/>
                    </a:lnTo>
                    <a:lnTo>
                      <a:pt x="1399" y="682"/>
                    </a:lnTo>
                    <a:lnTo>
                      <a:pt x="1399" y="686"/>
                    </a:lnTo>
                    <a:lnTo>
                      <a:pt x="1399" y="690"/>
                    </a:lnTo>
                    <a:lnTo>
                      <a:pt x="1400" y="691"/>
                    </a:lnTo>
                    <a:lnTo>
                      <a:pt x="1400" y="694"/>
                    </a:lnTo>
                    <a:lnTo>
                      <a:pt x="1400" y="696"/>
                    </a:lnTo>
                    <a:lnTo>
                      <a:pt x="1400" y="697"/>
                    </a:lnTo>
                    <a:lnTo>
                      <a:pt x="1400" y="699"/>
                    </a:lnTo>
                    <a:lnTo>
                      <a:pt x="1399" y="702"/>
                    </a:lnTo>
                    <a:lnTo>
                      <a:pt x="1399" y="705"/>
                    </a:lnTo>
                    <a:lnTo>
                      <a:pt x="1399" y="709"/>
                    </a:lnTo>
                    <a:lnTo>
                      <a:pt x="1399" y="710"/>
                    </a:lnTo>
                    <a:lnTo>
                      <a:pt x="1400" y="712"/>
                    </a:lnTo>
                    <a:lnTo>
                      <a:pt x="1402" y="713"/>
                    </a:lnTo>
                    <a:lnTo>
                      <a:pt x="1404" y="713"/>
                    </a:lnTo>
                    <a:lnTo>
                      <a:pt x="1408" y="715"/>
                    </a:lnTo>
                    <a:lnTo>
                      <a:pt x="1410" y="715"/>
                    </a:lnTo>
                    <a:lnTo>
                      <a:pt x="1412" y="715"/>
                    </a:lnTo>
                    <a:lnTo>
                      <a:pt x="1413" y="715"/>
                    </a:lnTo>
                    <a:lnTo>
                      <a:pt x="1413" y="716"/>
                    </a:lnTo>
                    <a:lnTo>
                      <a:pt x="1413" y="718"/>
                    </a:lnTo>
                    <a:lnTo>
                      <a:pt x="1415" y="720"/>
                    </a:lnTo>
                    <a:lnTo>
                      <a:pt x="1416" y="721"/>
                    </a:lnTo>
                    <a:lnTo>
                      <a:pt x="1418" y="724"/>
                    </a:lnTo>
                    <a:lnTo>
                      <a:pt x="1418" y="726"/>
                    </a:lnTo>
                    <a:lnTo>
                      <a:pt x="1419" y="726"/>
                    </a:lnTo>
                    <a:lnTo>
                      <a:pt x="1421" y="729"/>
                    </a:lnTo>
                    <a:lnTo>
                      <a:pt x="1423" y="732"/>
                    </a:lnTo>
                    <a:lnTo>
                      <a:pt x="1426" y="739"/>
                    </a:lnTo>
                    <a:lnTo>
                      <a:pt x="1427" y="742"/>
                    </a:lnTo>
                    <a:lnTo>
                      <a:pt x="1429" y="743"/>
                    </a:lnTo>
                    <a:lnTo>
                      <a:pt x="1431" y="747"/>
                    </a:lnTo>
                    <a:lnTo>
                      <a:pt x="1432" y="748"/>
                    </a:lnTo>
                    <a:lnTo>
                      <a:pt x="1432" y="750"/>
                    </a:lnTo>
                    <a:lnTo>
                      <a:pt x="1432" y="753"/>
                    </a:lnTo>
                    <a:lnTo>
                      <a:pt x="1434" y="756"/>
                    </a:lnTo>
                    <a:lnTo>
                      <a:pt x="1434" y="758"/>
                    </a:lnTo>
                    <a:lnTo>
                      <a:pt x="1434" y="761"/>
                    </a:lnTo>
                    <a:lnTo>
                      <a:pt x="1434" y="764"/>
                    </a:lnTo>
                    <a:lnTo>
                      <a:pt x="1435" y="766"/>
                    </a:lnTo>
                    <a:lnTo>
                      <a:pt x="1435" y="769"/>
                    </a:lnTo>
                    <a:lnTo>
                      <a:pt x="1435" y="772"/>
                    </a:lnTo>
                    <a:lnTo>
                      <a:pt x="1435" y="774"/>
                    </a:lnTo>
                    <a:lnTo>
                      <a:pt x="1435" y="778"/>
                    </a:lnTo>
                    <a:lnTo>
                      <a:pt x="1437" y="781"/>
                    </a:lnTo>
                    <a:lnTo>
                      <a:pt x="1437" y="783"/>
                    </a:lnTo>
                    <a:lnTo>
                      <a:pt x="1437" y="789"/>
                    </a:lnTo>
                    <a:lnTo>
                      <a:pt x="1437" y="793"/>
                    </a:lnTo>
                    <a:lnTo>
                      <a:pt x="1435" y="796"/>
                    </a:lnTo>
                    <a:lnTo>
                      <a:pt x="1434" y="799"/>
                    </a:lnTo>
                    <a:lnTo>
                      <a:pt x="1434" y="800"/>
                    </a:lnTo>
                    <a:lnTo>
                      <a:pt x="1432" y="804"/>
                    </a:lnTo>
                    <a:lnTo>
                      <a:pt x="1429" y="805"/>
                    </a:lnTo>
                    <a:lnTo>
                      <a:pt x="1427" y="808"/>
                    </a:lnTo>
                    <a:lnTo>
                      <a:pt x="1426" y="812"/>
                    </a:lnTo>
                    <a:lnTo>
                      <a:pt x="1424" y="818"/>
                    </a:lnTo>
                    <a:lnTo>
                      <a:pt x="1421" y="821"/>
                    </a:lnTo>
                    <a:lnTo>
                      <a:pt x="1421" y="823"/>
                    </a:lnTo>
                    <a:lnTo>
                      <a:pt x="1419" y="823"/>
                    </a:lnTo>
                    <a:lnTo>
                      <a:pt x="1416" y="824"/>
                    </a:lnTo>
                    <a:lnTo>
                      <a:pt x="1416" y="826"/>
                    </a:lnTo>
                    <a:lnTo>
                      <a:pt x="1416" y="827"/>
                    </a:lnTo>
                    <a:lnTo>
                      <a:pt x="1418" y="831"/>
                    </a:lnTo>
                    <a:lnTo>
                      <a:pt x="1419" y="832"/>
                    </a:lnTo>
                    <a:lnTo>
                      <a:pt x="1421" y="832"/>
                    </a:lnTo>
                    <a:lnTo>
                      <a:pt x="1423" y="832"/>
                    </a:lnTo>
                    <a:lnTo>
                      <a:pt x="1424" y="832"/>
                    </a:lnTo>
                    <a:lnTo>
                      <a:pt x="1424" y="834"/>
                    </a:lnTo>
                    <a:lnTo>
                      <a:pt x="1426" y="837"/>
                    </a:lnTo>
                    <a:lnTo>
                      <a:pt x="1427" y="838"/>
                    </a:lnTo>
                    <a:lnTo>
                      <a:pt x="1427" y="842"/>
                    </a:lnTo>
                    <a:lnTo>
                      <a:pt x="1427" y="843"/>
                    </a:lnTo>
                    <a:lnTo>
                      <a:pt x="1427" y="845"/>
                    </a:lnTo>
                    <a:lnTo>
                      <a:pt x="1427" y="846"/>
                    </a:lnTo>
                    <a:lnTo>
                      <a:pt x="1427" y="848"/>
                    </a:lnTo>
                    <a:lnTo>
                      <a:pt x="1426" y="851"/>
                    </a:lnTo>
                    <a:lnTo>
                      <a:pt x="1424" y="854"/>
                    </a:lnTo>
                    <a:lnTo>
                      <a:pt x="1423" y="858"/>
                    </a:lnTo>
                    <a:lnTo>
                      <a:pt x="1419" y="864"/>
                    </a:lnTo>
                    <a:lnTo>
                      <a:pt x="1418" y="867"/>
                    </a:lnTo>
                    <a:lnTo>
                      <a:pt x="1416" y="870"/>
                    </a:lnTo>
                    <a:lnTo>
                      <a:pt x="1415" y="872"/>
                    </a:lnTo>
                    <a:lnTo>
                      <a:pt x="1413" y="872"/>
                    </a:lnTo>
                    <a:lnTo>
                      <a:pt x="1413" y="875"/>
                    </a:lnTo>
                    <a:lnTo>
                      <a:pt x="1412" y="877"/>
                    </a:lnTo>
                    <a:lnTo>
                      <a:pt x="1412" y="878"/>
                    </a:lnTo>
                    <a:lnTo>
                      <a:pt x="1412" y="880"/>
                    </a:lnTo>
                    <a:lnTo>
                      <a:pt x="1412" y="881"/>
                    </a:lnTo>
                    <a:lnTo>
                      <a:pt x="1412" y="883"/>
                    </a:lnTo>
                    <a:lnTo>
                      <a:pt x="1413" y="886"/>
                    </a:lnTo>
                    <a:lnTo>
                      <a:pt x="1415" y="888"/>
                    </a:lnTo>
                    <a:lnTo>
                      <a:pt x="1416" y="891"/>
                    </a:lnTo>
                    <a:lnTo>
                      <a:pt x="1418" y="894"/>
                    </a:lnTo>
                    <a:lnTo>
                      <a:pt x="1419" y="896"/>
                    </a:lnTo>
                    <a:lnTo>
                      <a:pt x="1421" y="897"/>
                    </a:lnTo>
                    <a:lnTo>
                      <a:pt x="1423" y="900"/>
                    </a:lnTo>
                    <a:lnTo>
                      <a:pt x="1427" y="905"/>
                    </a:lnTo>
                    <a:lnTo>
                      <a:pt x="1427" y="907"/>
                    </a:lnTo>
                    <a:lnTo>
                      <a:pt x="1426" y="913"/>
                    </a:lnTo>
                    <a:lnTo>
                      <a:pt x="1424" y="918"/>
                    </a:lnTo>
                    <a:lnTo>
                      <a:pt x="1423" y="927"/>
                    </a:lnTo>
                    <a:lnTo>
                      <a:pt x="1423" y="929"/>
                    </a:lnTo>
                    <a:lnTo>
                      <a:pt x="1424" y="935"/>
                    </a:lnTo>
                    <a:lnTo>
                      <a:pt x="1424" y="940"/>
                    </a:lnTo>
                    <a:lnTo>
                      <a:pt x="1426" y="943"/>
                    </a:lnTo>
                    <a:lnTo>
                      <a:pt x="1427" y="946"/>
                    </a:lnTo>
                    <a:lnTo>
                      <a:pt x="1429" y="951"/>
                    </a:lnTo>
                    <a:lnTo>
                      <a:pt x="1431" y="953"/>
                    </a:lnTo>
                    <a:lnTo>
                      <a:pt x="1432" y="959"/>
                    </a:lnTo>
                    <a:lnTo>
                      <a:pt x="1434" y="964"/>
                    </a:lnTo>
                    <a:lnTo>
                      <a:pt x="1432" y="967"/>
                    </a:lnTo>
                    <a:lnTo>
                      <a:pt x="1432" y="968"/>
                    </a:lnTo>
                    <a:lnTo>
                      <a:pt x="1431" y="970"/>
                    </a:lnTo>
                    <a:lnTo>
                      <a:pt x="1427" y="970"/>
                    </a:lnTo>
                    <a:lnTo>
                      <a:pt x="1426" y="970"/>
                    </a:lnTo>
                    <a:lnTo>
                      <a:pt x="1426" y="972"/>
                    </a:lnTo>
                    <a:lnTo>
                      <a:pt x="1426" y="973"/>
                    </a:lnTo>
                    <a:lnTo>
                      <a:pt x="1426" y="975"/>
                    </a:lnTo>
                    <a:lnTo>
                      <a:pt x="1426" y="978"/>
                    </a:lnTo>
                    <a:lnTo>
                      <a:pt x="1426" y="980"/>
                    </a:lnTo>
                    <a:lnTo>
                      <a:pt x="1426" y="981"/>
                    </a:lnTo>
                    <a:lnTo>
                      <a:pt x="1424" y="983"/>
                    </a:lnTo>
                    <a:lnTo>
                      <a:pt x="1424" y="984"/>
                    </a:lnTo>
                    <a:lnTo>
                      <a:pt x="1424" y="986"/>
                    </a:lnTo>
                    <a:lnTo>
                      <a:pt x="1424" y="987"/>
                    </a:lnTo>
                    <a:lnTo>
                      <a:pt x="1424" y="991"/>
                    </a:lnTo>
                    <a:lnTo>
                      <a:pt x="1424" y="992"/>
                    </a:lnTo>
                    <a:lnTo>
                      <a:pt x="1424" y="995"/>
                    </a:lnTo>
                    <a:lnTo>
                      <a:pt x="1423" y="997"/>
                    </a:lnTo>
                    <a:lnTo>
                      <a:pt x="1423" y="999"/>
                    </a:lnTo>
                    <a:lnTo>
                      <a:pt x="1423" y="1002"/>
                    </a:lnTo>
                    <a:lnTo>
                      <a:pt x="1423" y="1008"/>
                    </a:lnTo>
                    <a:lnTo>
                      <a:pt x="1423" y="1011"/>
                    </a:lnTo>
                    <a:lnTo>
                      <a:pt x="1423" y="1013"/>
                    </a:lnTo>
                    <a:lnTo>
                      <a:pt x="1421" y="1018"/>
                    </a:lnTo>
                    <a:lnTo>
                      <a:pt x="1421" y="1019"/>
                    </a:lnTo>
                    <a:lnTo>
                      <a:pt x="1421" y="1022"/>
                    </a:lnTo>
                    <a:lnTo>
                      <a:pt x="1419" y="1025"/>
                    </a:lnTo>
                    <a:lnTo>
                      <a:pt x="1418" y="1030"/>
                    </a:lnTo>
                    <a:lnTo>
                      <a:pt x="1416" y="1032"/>
                    </a:lnTo>
                    <a:lnTo>
                      <a:pt x="1415" y="1035"/>
                    </a:lnTo>
                    <a:lnTo>
                      <a:pt x="1413" y="1040"/>
                    </a:lnTo>
                    <a:lnTo>
                      <a:pt x="1415" y="1043"/>
                    </a:lnTo>
                    <a:lnTo>
                      <a:pt x="1416" y="1046"/>
                    </a:lnTo>
                    <a:lnTo>
                      <a:pt x="1416" y="1048"/>
                    </a:lnTo>
                    <a:lnTo>
                      <a:pt x="1416" y="1051"/>
                    </a:lnTo>
                    <a:lnTo>
                      <a:pt x="1415" y="1054"/>
                    </a:lnTo>
                    <a:lnTo>
                      <a:pt x="1415" y="1056"/>
                    </a:lnTo>
                    <a:lnTo>
                      <a:pt x="1416" y="1056"/>
                    </a:lnTo>
                    <a:lnTo>
                      <a:pt x="1416" y="1057"/>
                    </a:lnTo>
                    <a:lnTo>
                      <a:pt x="1416" y="1059"/>
                    </a:lnTo>
                    <a:lnTo>
                      <a:pt x="1418" y="1060"/>
                    </a:lnTo>
                    <a:lnTo>
                      <a:pt x="1418" y="1062"/>
                    </a:lnTo>
                    <a:lnTo>
                      <a:pt x="1418" y="1063"/>
                    </a:lnTo>
                    <a:lnTo>
                      <a:pt x="1419" y="1065"/>
                    </a:lnTo>
                    <a:lnTo>
                      <a:pt x="1419" y="1067"/>
                    </a:lnTo>
                    <a:lnTo>
                      <a:pt x="1419" y="1068"/>
                    </a:lnTo>
                    <a:lnTo>
                      <a:pt x="1419" y="1070"/>
                    </a:lnTo>
                    <a:lnTo>
                      <a:pt x="1418" y="1070"/>
                    </a:lnTo>
                    <a:lnTo>
                      <a:pt x="1418" y="1071"/>
                    </a:lnTo>
                    <a:lnTo>
                      <a:pt x="1416" y="1071"/>
                    </a:lnTo>
                    <a:lnTo>
                      <a:pt x="1415" y="1071"/>
                    </a:lnTo>
                    <a:lnTo>
                      <a:pt x="1413" y="1071"/>
                    </a:lnTo>
                    <a:lnTo>
                      <a:pt x="1412" y="1071"/>
                    </a:lnTo>
                    <a:lnTo>
                      <a:pt x="1410" y="1070"/>
                    </a:lnTo>
                    <a:lnTo>
                      <a:pt x="1408" y="1070"/>
                    </a:lnTo>
                    <a:lnTo>
                      <a:pt x="1405" y="1070"/>
                    </a:lnTo>
                    <a:lnTo>
                      <a:pt x="1404" y="1068"/>
                    </a:lnTo>
                    <a:lnTo>
                      <a:pt x="1400" y="1068"/>
                    </a:lnTo>
                    <a:lnTo>
                      <a:pt x="1397" y="1067"/>
                    </a:lnTo>
                    <a:lnTo>
                      <a:pt x="1396" y="1067"/>
                    </a:lnTo>
                    <a:lnTo>
                      <a:pt x="1394" y="1067"/>
                    </a:lnTo>
                    <a:lnTo>
                      <a:pt x="1393" y="1067"/>
                    </a:lnTo>
                    <a:lnTo>
                      <a:pt x="1391" y="1068"/>
                    </a:lnTo>
                    <a:lnTo>
                      <a:pt x="1389" y="1068"/>
                    </a:lnTo>
                    <a:lnTo>
                      <a:pt x="1388" y="1068"/>
                    </a:lnTo>
                    <a:lnTo>
                      <a:pt x="1386" y="1068"/>
                    </a:lnTo>
                    <a:lnTo>
                      <a:pt x="1386" y="1070"/>
                    </a:lnTo>
                    <a:lnTo>
                      <a:pt x="1383" y="1070"/>
                    </a:lnTo>
                    <a:lnTo>
                      <a:pt x="1381" y="1071"/>
                    </a:lnTo>
                    <a:lnTo>
                      <a:pt x="1380" y="1071"/>
                    </a:lnTo>
                    <a:lnTo>
                      <a:pt x="1378" y="1073"/>
                    </a:lnTo>
                    <a:lnTo>
                      <a:pt x="1378" y="1078"/>
                    </a:lnTo>
                    <a:lnTo>
                      <a:pt x="1377" y="1079"/>
                    </a:lnTo>
                    <a:lnTo>
                      <a:pt x="1377" y="1081"/>
                    </a:lnTo>
                    <a:lnTo>
                      <a:pt x="1375" y="1083"/>
                    </a:lnTo>
                    <a:lnTo>
                      <a:pt x="1377" y="1086"/>
                    </a:lnTo>
                    <a:lnTo>
                      <a:pt x="1377" y="1089"/>
                    </a:lnTo>
                    <a:lnTo>
                      <a:pt x="1378" y="1089"/>
                    </a:lnTo>
                    <a:lnTo>
                      <a:pt x="1380" y="1092"/>
                    </a:lnTo>
                    <a:lnTo>
                      <a:pt x="1383" y="1094"/>
                    </a:lnTo>
                    <a:lnTo>
                      <a:pt x="1385" y="1095"/>
                    </a:lnTo>
                    <a:lnTo>
                      <a:pt x="1386" y="1097"/>
                    </a:lnTo>
                    <a:lnTo>
                      <a:pt x="1388" y="1097"/>
                    </a:lnTo>
                    <a:lnTo>
                      <a:pt x="1391" y="1098"/>
                    </a:lnTo>
                    <a:lnTo>
                      <a:pt x="1393" y="1098"/>
                    </a:lnTo>
                    <a:lnTo>
                      <a:pt x="1396" y="1102"/>
                    </a:lnTo>
                    <a:lnTo>
                      <a:pt x="1399" y="1103"/>
                    </a:lnTo>
                    <a:lnTo>
                      <a:pt x="1402" y="1105"/>
                    </a:lnTo>
                    <a:lnTo>
                      <a:pt x="1404" y="1105"/>
                    </a:lnTo>
                    <a:lnTo>
                      <a:pt x="1404" y="1106"/>
                    </a:lnTo>
                    <a:lnTo>
                      <a:pt x="1405" y="1108"/>
                    </a:lnTo>
                    <a:lnTo>
                      <a:pt x="1405" y="1111"/>
                    </a:lnTo>
                    <a:lnTo>
                      <a:pt x="1405" y="1116"/>
                    </a:lnTo>
                    <a:lnTo>
                      <a:pt x="1404" y="1121"/>
                    </a:lnTo>
                    <a:lnTo>
                      <a:pt x="1404" y="1125"/>
                    </a:lnTo>
                    <a:lnTo>
                      <a:pt x="1404" y="1128"/>
                    </a:lnTo>
                    <a:lnTo>
                      <a:pt x="1402" y="1128"/>
                    </a:lnTo>
                    <a:lnTo>
                      <a:pt x="1400" y="1132"/>
                    </a:lnTo>
                    <a:lnTo>
                      <a:pt x="1399" y="1133"/>
                    </a:lnTo>
                    <a:lnTo>
                      <a:pt x="1397" y="1135"/>
                    </a:lnTo>
                    <a:lnTo>
                      <a:pt x="1397" y="1136"/>
                    </a:lnTo>
                    <a:lnTo>
                      <a:pt x="1397" y="1138"/>
                    </a:lnTo>
                    <a:lnTo>
                      <a:pt x="1397" y="1140"/>
                    </a:lnTo>
                    <a:lnTo>
                      <a:pt x="1396" y="1141"/>
                    </a:lnTo>
                    <a:lnTo>
                      <a:pt x="1393" y="1144"/>
                    </a:lnTo>
                    <a:lnTo>
                      <a:pt x="1391" y="1146"/>
                    </a:lnTo>
                    <a:lnTo>
                      <a:pt x="1391" y="1147"/>
                    </a:lnTo>
                    <a:lnTo>
                      <a:pt x="1389" y="1151"/>
                    </a:lnTo>
                    <a:lnTo>
                      <a:pt x="1388" y="1152"/>
                    </a:lnTo>
                    <a:lnTo>
                      <a:pt x="1386" y="1154"/>
                    </a:lnTo>
                    <a:lnTo>
                      <a:pt x="1385" y="1155"/>
                    </a:lnTo>
                    <a:lnTo>
                      <a:pt x="1383" y="1157"/>
                    </a:lnTo>
                    <a:lnTo>
                      <a:pt x="1381" y="1159"/>
                    </a:lnTo>
                    <a:lnTo>
                      <a:pt x="1383" y="1160"/>
                    </a:lnTo>
                    <a:lnTo>
                      <a:pt x="1385" y="1163"/>
                    </a:lnTo>
                    <a:lnTo>
                      <a:pt x="1385" y="1166"/>
                    </a:lnTo>
                    <a:lnTo>
                      <a:pt x="1386" y="1168"/>
                    </a:lnTo>
                    <a:lnTo>
                      <a:pt x="1388" y="1171"/>
                    </a:lnTo>
                    <a:lnTo>
                      <a:pt x="1388" y="1173"/>
                    </a:lnTo>
                    <a:lnTo>
                      <a:pt x="1388" y="1174"/>
                    </a:lnTo>
                    <a:lnTo>
                      <a:pt x="1388" y="1176"/>
                    </a:lnTo>
                    <a:lnTo>
                      <a:pt x="1388" y="1178"/>
                    </a:lnTo>
                    <a:lnTo>
                      <a:pt x="1388" y="1179"/>
                    </a:lnTo>
                    <a:lnTo>
                      <a:pt x="1386" y="1179"/>
                    </a:lnTo>
                    <a:lnTo>
                      <a:pt x="1385" y="1179"/>
                    </a:lnTo>
                    <a:lnTo>
                      <a:pt x="1383" y="1179"/>
                    </a:lnTo>
                    <a:lnTo>
                      <a:pt x="1381" y="1179"/>
                    </a:lnTo>
                    <a:lnTo>
                      <a:pt x="1380" y="1179"/>
                    </a:lnTo>
                    <a:lnTo>
                      <a:pt x="1378" y="1179"/>
                    </a:lnTo>
                    <a:lnTo>
                      <a:pt x="1377" y="1179"/>
                    </a:lnTo>
                    <a:lnTo>
                      <a:pt x="1375" y="1179"/>
                    </a:lnTo>
                    <a:lnTo>
                      <a:pt x="1374" y="1178"/>
                    </a:lnTo>
                    <a:lnTo>
                      <a:pt x="1372" y="1178"/>
                    </a:lnTo>
                    <a:lnTo>
                      <a:pt x="1370" y="1178"/>
                    </a:lnTo>
                    <a:lnTo>
                      <a:pt x="1369" y="1178"/>
                    </a:lnTo>
                    <a:lnTo>
                      <a:pt x="1367" y="1178"/>
                    </a:lnTo>
                    <a:lnTo>
                      <a:pt x="1366" y="1178"/>
                    </a:lnTo>
                    <a:lnTo>
                      <a:pt x="1364" y="1176"/>
                    </a:lnTo>
                    <a:lnTo>
                      <a:pt x="1362" y="1176"/>
                    </a:lnTo>
                    <a:lnTo>
                      <a:pt x="1359" y="1176"/>
                    </a:lnTo>
                    <a:lnTo>
                      <a:pt x="1358" y="1174"/>
                    </a:lnTo>
                    <a:lnTo>
                      <a:pt x="1356" y="1174"/>
                    </a:lnTo>
                    <a:lnTo>
                      <a:pt x="1353" y="1174"/>
                    </a:lnTo>
                    <a:lnTo>
                      <a:pt x="1350" y="1173"/>
                    </a:lnTo>
                    <a:lnTo>
                      <a:pt x="1348" y="1171"/>
                    </a:lnTo>
                    <a:lnTo>
                      <a:pt x="1345" y="1171"/>
                    </a:lnTo>
                    <a:lnTo>
                      <a:pt x="1343" y="1171"/>
                    </a:lnTo>
                    <a:lnTo>
                      <a:pt x="1342" y="1170"/>
                    </a:lnTo>
                    <a:lnTo>
                      <a:pt x="1340" y="1170"/>
                    </a:lnTo>
                    <a:lnTo>
                      <a:pt x="1340" y="1171"/>
                    </a:lnTo>
                    <a:lnTo>
                      <a:pt x="1339" y="1171"/>
                    </a:lnTo>
                    <a:lnTo>
                      <a:pt x="1337" y="1171"/>
                    </a:lnTo>
                    <a:lnTo>
                      <a:pt x="1337" y="1173"/>
                    </a:lnTo>
                    <a:lnTo>
                      <a:pt x="1335" y="1173"/>
                    </a:lnTo>
                    <a:lnTo>
                      <a:pt x="1335" y="1174"/>
                    </a:lnTo>
                    <a:lnTo>
                      <a:pt x="1334" y="1176"/>
                    </a:lnTo>
                    <a:lnTo>
                      <a:pt x="1335" y="1181"/>
                    </a:lnTo>
                    <a:lnTo>
                      <a:pt x="1335" y="1182"/>
                    </a:lnTo>
                    <a:lnTo>
                      <a:pt x="1337" y="1185"/>
                    </a:lnTo>
                    <a:lnTo>
                      <a:pt x="1337" y="1189"/>
                    </a:lnTo>
                    <a:lnTo>
                      <a:pt x="1339" y="1192"/>
                    </a:lnTo>
                    <a:lnTo>
                      <a:pt x="1340" y="1193"/>
                    </a:lnTo>
                    <a:lnTo>
                      <a:pt x="1340" y="1197"/>
                    </a:lnTo>
                    <a:lnTo>
                      <a:pt x="1342" y="1198"/>
                    </a:lnTo>
                    <a:lnTo>
                      <a:pt x="1343" y="1201"/>
                    </a:lnTo>
                    <a:lnTo>
                      <a:pt x="1345" y="1205"/>
                    </a:lnTo>
                    <a:lnTo>
                      <a:pt x="1347" y="1208"/>
                    </a:lnTo>
                    <a:lnTo>
                      <a:pt x="1347" y="1212"/>
                    </a:lnTo>
                    <a:lnTo>
                      <a:pt x="1348" y="1214"/>
                    </a:lnTo>
                    <a:lnTo>
                      <a:pt x="1348" y="1217"/>
                    </a:lnTo>
                    <a:lnTo>
                      <a:pt x="1347" y="1219"/>
                    </a:lnTo>
                    <a:lnTo>
                      <a:pt x="1347" y="1220"/>
                    </a:lnTo>
                    <a:lnTo>
                      <a:pt x="1347" y="1224"/>
                    </a:lnTo>
                    <a:lnTo>
                      <a:pt x="1347" y="1225"/>
                    </a:lnTo>
                    <a:lnTo>
                      <a:pt x="1347" y="1227"/>
                    </a:lnTo>
                    <a:lnTo>
                      <a:pt x="1348" y="1230"/>
                    </a:lnTo>
                    <a:lnTo>
                      <a:pt x="1348" y="1231"/>
                    </a:lnTo>
                    <a:lnTo>
                      <a:pt x="1347" y="1236"/>
                    </a:lnTo>
                    <a:lnTo>
                      <a:pt x="1347" y="1239"/>
                    </a:lnTo>
                    <a:lnTo>
                      <a:pt x="1347" y="1243"/>
                    </a:lnTo>
                    <a:lnTo>
                      <a:pt x="1347" y="1247"/>
                    </a:lnTo>
                    <a:lnTo>
                      <a:pt x="1347" y="1249"/>
                    </a:lnTo>
                    <a:lnTo>
                      <a:pt x="1345" y="1252"/>
                    </a:lnTo>
                    <a:lnTo>
                      <a:pt x="1343" y="1255"/>
                    </a:lnTo>
                    <a:lnTo>
                      <a:pt x="1342" y="1258"/>
                    </a:lnTo>
                    <a:lnTo>
                      <a:pt x="1340" y="1260"/>
                    </a:lnTo>
                    <a:lnTo>
                      <a:pt x="1339" y="1262"/>
                    </a:lnTo>
                    <a:lnTo>
                      <a:pt x="1337" y="1263"/>
                    </a:lnTo>
                    <a:lnTo>
                      <a:pt x="1332" y="1266"/>
                    </a:lnTo>
                    <a:lnTo>
                      <a:pt x="1331" y="1266"/>
                    </a:lnTo>
                    <a:lnTo>
                      <a:pt x="1329" y="1268"/>
                    </a:lnTo>
                    <a:lnTo>
                      <a:pt x="1328" y="1269"/>
                    </a:lnTo>
                    <a:lnTo>
                      <a:pt x="1324" y="1273"/>
                    </a:lnTo>
                    <a:lnTo>
                      <a:pt x="1321" y="1274"/>
                    </a:lnTo>
                    <a:lnTo>
                      <a:pt x="1320" y="1276"/>
                    </a:lnTo>
                    <a:lnTo>
                      <a:pt x="1318" y="1277"/>
                    </a:lnTo>
                    <a:lnTo>
                      <a:pt x="1318" y="1279"/>
                    </a:lnTo>
                    <a:lnTo>
                      <a:pt x="1320" y="1282"/>
                    </a:lnTo>
                    <a:lnTo>
                      <a:pt x="1320" y="1284"/>
                    </a:lnTo>
                    <a:lnTo>
                      <a:pt x="1320" y="1285"/>
                    </a:lnTo>
                    <a:lnTo>
                      <a:pt x="1321" y="1285"/>
                    </a:lnTo>
                    <a:lnTo>
                      <a:pt x="1323" y="1285"/>
                    </a:lnTo>
                    <a:lnTo>
                      <a:pt x="1324" y="1285"/>
                    </a:lnTo>
                    <a:lnTo>
                      <a:pt x="1329" y="1285"/>
                    </a:lnTo>
                    <a:lnTo>
                      <a:pt x="1331" y="1287"/>
                    </a:lnTo>
                    <a:lnTo>
                      <a:pt x="1334" y="1288"/>
                    </a:lnTo>
                    <a:lnTo>
                      <a:pt x="1337" y="1290"/>
                    </a:lnTo>
                    <a:lnTo>
                      <a:pt x="1339" y="1292"/>
                    </a:lnTo>
                    <a:lnTo>
                      <a:pt x="1340" y="1292"/>
                    </a:lnTo>
                    <a:lnTo>
                      <a:pt x="1343" y="1295"/>
                    </a:lnTo>
                    <a:lnTo>
                      <a:pt x="1345" y="1296"/>
                    </a:lnTo>
                    <a:lnTo>
                      <a:pt x="1347" y="1298"/>
                    </a:lnTo>
                    <a:lnTo>
                      <a:pt x="1348" y="1298"/>
                    </a:lnTo>
                    <a:lnTo>
                      <a:pt x="1348" y="1300"/>
                    </a:lnTo>
                    <a:lnTo>
                      <a:pt x="1348" y="1301"/>
                    </a:lnTo>
                    <a:lnTo>
                      <a:pt x="1348" y="1304"/>
                    </a:lnTo>
                    <a:lnTo>
                      <a:pt x="1347" y="1306"/>
                    </a:lnTo>
                    <a:lnTo>
                      <a:pt x="1347" y="1309"/>
                    </a:lnTo>
                    <a:lnTo>
                      <a:pt x="1347" y="1312"/>
                    </a:lnTo>
                    <a:lnTo>
                      <a:pt x="1347" y="1314"/>
                    </a:lnTo>
                    <a:lnTo>
                      <a:pt x="1345" y="1315"/>
                    </a:lnTo>
                    <a:lnTo>
                      <a:pt x="1343" y="1319"/>
                    </a:lnTo>
                    <a:lnTo>
                      <a:pt x="1342" y="1322"/>
                    </a:lnTo>
                    <a:lnTo>
                      <a:pt x="1342" y="1325"/>
                    </a:lnTo>
                    <a:lnTo>
                      <a:pt x="1340" y="1327"/>
                    </a:lnTo>
                    <a:lnTo>
                      <a:pt x="1340" y="1328"/>
                    </a:lnTo>
                    <a:lnTo>
                      <a:pt x="1339" y="1331"/>
                    </a:lnTo>
                    <a:lnTo>
                      <a:pt x="1335" y="1334"/>
                    </a:lnTo>
                    <a:lnTo>
                      <a:pt x="1334" y="1336"/>
                    </a:lnTo>
                    <a:lnTo>
                      <a:pt x="1331" y="1339"/>
                    </a:lnTo>
                    <a:lnTo>
                      <a:pt x="1329" y="1341"/>
                    </a:lnTo>
                    <a:lnTo>
                      <a:pt x="1328" y="1341"/>
                    </a:lnTo>
                    <a:lnTo>
                      <a:pt x="1326" y="1344"/>
                    </a:lnTo>
                    <a:lnTo>
                      <a:pt x="1326" y="1347"/>
                    </a:lnTo>
                    <a:lnTo>
                      <a:pt x="1324" y="1347"/>
                    </a:lnTo>
                    <a:lnTo>
                      <a:pt x="1324" y="1349"/>
                    </a:lnTo>
                    <a:lnTo>
                      <a:pt x="1324" y="1350"/>
                    </a:lnTo>
                    <a:lnTo>
                      <a:pt x="1321" y="1350"/>
                    </a:lnTo>
                    <a:lnTo>
                      <a:pt x="1320" y="1350"/>
                    </a:lnTo>
                    <a:lnTo>
                      <a:pt x="1316" y="1350"/>
                    </a:lnTo>
                    <a:lnTo>
                      <a:pt x="1315" y="1352"/>
                    </a:lnTo>
                    <a:lnTo>
                      <a:pt x="1312" y="1352"/>
                    </a:lnTo>
                    <a:lnTo>
                      <a:pt x="1312" y="1353"/>
                    </a:lnTo>
                    <a:lnTo>
                      <a:pt x="1310" y="1357"/>
                    </a:lnTo>
                    <a:lnTo>
                      <a:pt x="1310" y="1363"/>
                    </a:lnTo>
                    <a:lnTo>
                      <a:pt x="1312" y="1372"/>
                    </a:lnTo>
                    <a:lnTo>
                      <a:pt x="1312" y="1384"/>
                    </a:lnTo>
                    <a:lnTo>
                      <a:pt x="1310" y="1395"/>
                    </a:lnTo>
                    <a:lnTo>
                      <a:pt x="1310" y="1407"/>
                    </a:lnTo>
                    <a:lnTo>
                      <a:pt x="1312" y="1418"/>
                    </a:lnTo>
                    <a:lnTo>
                      <a:pt x="1312" y="1428"/>
                    </a:lnTo>
                    <a:lnTo>
                      <a:pt x="1309" y="1430"/>
                    </a:lnTo>
                    <a:lnTo>
                      <a:pt x="1301" y="1434"/>
                    </a:lnTo>
                    <a:lnTo>
                      <a:pt x="1297" y="1434"/>
                    </a:lnTo>
                    <a:lnTo>
                      <a:pt x="1294" y="1436"/>
                    </a:lnTo>
                    <a:lnTo>
                      <a:pt x="1285" y="1437"/>
                    </a:lnTo>
                    <a:lnTo>
                      <a:pt x="1277" y="1441"/>
                    </a:lnTo>
                    <a:lnTo>
                      <a:pt x="1275" y="1444"/>
                    </a:lnTo>
                    <a:lnTo>
                      <a:pt x="1272" y="1444"/>
                    </a:lnTo>
                    <a:lnTo>
                      <a:pt x="1267" y="1441"/>
                    </a:lnTo>
                    <a:lnTo>
                      <a:pt x="1261" y="1441"/>
                    </a:lnTo>
                    <a:lnTo>
                      <a:pt x="1258" y="1444"/>
                    </a:lnTo>
                    <a:lnTo>
                      <a:pt x="1253" y="1452"/>
                    </a:lnTo>
                    <a:lnTo>
                      <a:pt x="1248" y="1458"/>
                    </a:lnTo>
                    <a:lnTo>
                      <a:pt x="1244" y="1461"/>
                    </a:lnTo>
                    <a:lnTo>
                      <a:pt x="1239" y="1463"/>
                    </a:lnTo>
                    <a:lnTo>
                      <a:pt x="1234" y="1461"/>
                    </a:lnTo>
                    <a:lnTo>
                      <a:pt x="1231" y="1455"/>
                    </a:lnTo>
                    <a:lnTo>
                      <a:pt x="1228" y="1449"/>
                    </a:lnTo>
                    <a:lnTo>
                      <a:pt x="1223" y="1444"/>
                    </a:lnTo>
                    <a:lnTo>
                      <a:pt x="1215" y="1439"/>
                    </a:lnTo>
                    <a:lnTo>
                      <a:pt x="1210" y="1439"/>
                    </a:lnTo>
                    <a:lnTo>
                      <a:pt x="1206" y="1445"/>
                    </a:lnTo>
                    <a:lnTo>
                      <a:pt x="1204" y="1456"/>
                    </a:lnTo>
                    <a:lnTo>
                      <a:pt x="1202" y="1464"/>
                    </a:lnTo>
                    <a:lnTo>
                      <a:pt x="1202" y="1468"/>
                    </a:lnTo>
                    <a:lnTo>
                      <a:pt x="1199" y="1468"/>
                    </a:lnTo>
                    <a:lnTo>
                      <a:pt x="1198" y="1463"/>
                    </a:lnTo>
                    <a:lnTo>
                      <a:pt x="1193" y="1458"/>
                    </a:lnTo>
                    <a:lnTo>
                      <a:pt x="1190" y="1456"/>
                    </a:lnTo>
                    <a:lnTo>
                      <a:pt x="1188" y="1455"/>
                    </a:lnTo>
                    <a:lnTo>
                      <a:pt x="1185" y="1461"/>
                    </a:lnTo>
                    <a:lnTo>
                      <a:pt x="1183" y="1468"/>
                    </a:lnTo>
                    <a:lnTo>
                      <a:pt x="1182" y="1469"/>
                    </a:lnTo>
                    <a:lnTo>
                      <a:pt x="1179" y="1464"/>
                    </a:lnTo>
                    <a:lnTo>
                      <a:pt x="1177" y="1458"/>
                    </a:lnTo>
                    <a:lnTo>
                      <a:pt x="1177" y="1450"/>
                    </a:lnTo>
                    <a:lnTo>
                      <a:pt x="1174" y="1442"/>
                    </a:lnTo>
                    <a:lnTo>
                      <a:pt x="1169" y="1434"/>
                    </a:lnTo>
                    <a:lnTo>
                      <a:pt x="1168" y="1430"/>
                    </a:lnTo>
                    <a:lnTo>
                      <a:pt x="1169" y="1425"/>
                    </a:lnTo>
                    <a:lnTo>
                      <a:pt x="1168" y="1417"/>
                    </a:lnTo>
                    <a:lnTo>
                      <a:pt x="1168" y="1409"/>
                    </a:lnTo>
                    <a:lnTo>
                      <a:pt x="1168" y="1404"/>
                    </a:lnTo>
                    <a:lnTo>
                      <a:pt x="1171" y="1398"/>
                    </a:lnTo>
                    <a:lnTo>
                      <a:pt x="1176" y="1393"/>
                    </a:lnTo>
                    <a:lnTo>
                      <a:pt x="1182" y="1385"/>
                    </a:lnTo>
                    <a:lnTo>
                      <a:pt x="1187" y="1376"/>
                    </a:lnTo>
                    <a:lnTo>
                      <a:pt x="1191" y="1369"/>
                    </a:lnTo>
                    <a:lnTo>
                      <a:pt x="1191" y="1366"/>
                    </a:lnTo>
                    <a:lnTo>
                      <a:pt x="1196" y="1361"/>
                    </a:lnTo>
                    <a:lnTo>
                      <a:pt x="1198" y="1355"/>
                    </a:lnTo>
                    <a:lnTo>
                      <a:pt x="1195" y="1347"/>
                    </a:lnTo>
                    <a:lnTo>
                      <a:pt x="1190" y="1342"/>
                    </a:lnTo>
                    <a:lnTo>
                      <a:pt x="1185" y="1339"/>
                    </a:lnTo>
                    <a:lnTo>
                      <a:pt x="1182" y="1341"/>
                    </a:lnTo>
                    <a:lnTo>
                      <a:pt x="1179" y="1341"/>
                    </a:lnTo>
                    <a:lnTo>
                      <a:pt x="1176" y="1341"/>
                    </a:lnTo>
                    <a:lnTo>
                      <a:pt x="1172" y="1339"/>
                    </a:lnTo>
                    <a:lnTo>
                      <a:pt x="1169" y="1336"/>
                    </a:lnTo>
                    <a:lnTo>
                      <a:pt x="1168" y="1330"/>
                    </a:lnTo>
                    <a:lnTo>
                      <a:pt x="1163" y="1322"/>
                    </a:lnTo>
                    <a:lnTo>
                      <a:pt x="1161" y="1314"/>
                    </a:lnTo>
                    <a:lnTo>
                      <a:pt x="1161" y="1308"/>
                    </a:lnTo>
                    <a:lnTo>
                      <a:pt x="1161" y="1301"/>
                    </a:lnTo>
                    <a:lnTo>
                      <a:pt x="1161" y="1298"/>
                    </a:lnTo>
                    <a:lnTo>
                      <a:pt x="1161" y="1296"/>
                    </a:lnTo>
                    <a:lnTo>
                      <a:pt x="1163" y="1295"/>
                    </a:lnTo>
                    <a:lnTo>
                      <a:pt x="1164" y="1296"/>
                    </a:lnTo>
                    <a:lnTo>
                      <a:pt x="1168" y="1296"/>
                    </a:lnTo>
                    <a:lnTo>
                      <a:pt x="1172" y="1303"/>
                    </a:lnTo>
                    <a:lnTo>
                      <a:pt x="1176" y="1306"/>
                    </a:lnTo>
                    <a:lnTo>
                      <a:pt x="1177" y="1306"/>
                    </a:lnTo>
                    <a:lnTo>
                      <a:pt x="1179" y="1303"/>
                    </a:lnTo>
                    <a:lnTo>
                      <a:pt x="1182" y="1301"/>
                    </a:lnTo>
                    <a:lnTo>
                      <a:pt x="1188" y="1301"/>
                    </a:lnTo>
                    <a:lnTo>
                      <a:pt x="1193" y="1304"/>
                    </a:lnTo>
                    <a:lnTo>
                      <a:pt x="1199" y="1306"/>
                    </a:lnTo>
                    <a:lnTo>
                      <a:pt x="1202" y="1301"/>
                    </a:lnTo>
                    <a:lnTo>
                      <a:pt x="1209" y="1295"/>
                    </a:lnTo>
                    <a:lnTo>
                      <a:pt x="1214" y="1290"/>
                    </a:lnTo>
                    <a:lnTo>
                      <a:pt x="1217" y="1290"/>
                    </a:lnTo>
                    <a:lnTo>
                      <a:pt x="1221" y="1288"/>
                    </a:lnTo>
                    <a:lnTo>
                      <a:pt x="1229" y="1290"/>
                    </a:lnTo>
                    <a:lnTo>
                      <a:pt x="1236" y="1292"/>
                    </a:lnTo>
                    <a:lnTo>
                      <a:pt x="1236" y="1293"/>
                    </a:lnTo>
                    <a:lnTo>
                      <a:pt x="1236" y="1292"/>
                    </a:lnTo>
                    <a:lnTo>
                      <a:pt x="1234" y="1292"/>
                    </a:lnTo>
                    <a:lnTo>
                      <a:pt x="1234" y="1290"/>
                    </a:lnTo>
                    <a:lnTo>
                      <a:pt x="1233" y="1290"/>
                    </a:lnTo>
                    <a:lnTo>
                      <a:pt x="1233" y="1288"/>
                    </a:lnTo>
                    <a:lnTo>
                      <a:pt x="1231" y="1288"/>
                    </a:lnTo>
                    <a:lnTo>
                      <a:pt x="1229" y="1288"/>
                    </a:lnTo>
                    <a:lnTo>
                      <a:pt x="1228" y="1288"/>
                    </a:lnTo>
                    <a:lnTo>
                      <a:pt x="1226" y="1288"/>
                    </a:lnTo>
                    <a:lnTo>
                      <a:pt x="1225" y="1288"/>
                    </a:lnTo>
                    <a:lnTo>
                      <a:pt x="1225" y="1287"/>
                    </a:lnTo>
                    <a:lnTo>
                      <a:pt x="1226" y="1287"/>
                    </a:lnTo>
                    <a:lnTo>
                      <a:pt x="1226" y="1285"/>
                    </a:lnTo>
                    <a:lnTo>
                      <a:pt x="1228" y="1285"/>
                    </a:lnTo>
                    <a:lnTo>
                      <a:pt x="1229" y="1285"/>
                    </a:lnTo>
                    <a:lnTo>
                      <a:pt x="1229" y="1284"/>
                    </a:lnTo>
                    <a:lnTo>
                      <a:pt x="1231" y="1284"/>
                    </a:lnTo>
                    <a:lnTo>
                      <a:pt x="1233" y="1284"/>
                    </a:lnTo>
                    <a:lnTo>
                      <a:pt x="1231" y="1284"/>
                    </a:lnTo>
                    <a:lnTo>
                      <a:pt x="1231" y="1282"/>
                    </a:lnTo>
                    <a:lnTo>
                      <a:pt x="1229" y="1282"/>
                    </a:lnTo>
                    <a:lnTo>
                      <a:pt x="1228" y="1282"/>
                    </a:lnTo>
                    <a:lnTo>
                      <a:pt x="1226" y="1282"/>
                    </a:lnTo>
                    <a:lnTo>
                      <a:pt x="1225" y="1282"/>
                    </a:lnTo>
                    <a:lnTo>
                      <a:pt x="1223" y="1281"/>
                    </a:lnTo>
                    <a:lnTo>
                      <a:pt x="1221" y="1281"/>
                    </a:lnTo>
                    <a:lnTo>
                      <a:pt x="1220" y="1281"/>
                    </a:lnTo>
                    <a:lnTo>
                      <a:pt x="1218" y="1281"/>
                    </a:lnTo>
                    <a:lnTo>
                      <a:pt x="1217" y="1281"/>
                    </a:lnTo>
                    <a:lnTo>
                      <a:pt x="1218" y="1279"/>
                    </a:lnTo>
                    <a:lnTo>
                      <a:pt x="1218" y="1277"/>
                    </a:lnTo>
                    <a:lnTo>
                      <a:pt x="1220" y="1276"/>
                    </a:lnTo>
                    <a:lnTo>
                      <a:pt x="1220" y="1274"/>
                    </a:lnTo>
                    <a:lnTo>
                      <a:pt x="1221" y="1273"/>
                    </a:lnTo>
                    <a:lnTo>
                      <a:pt x="1220" y="1273"/>
                    </a:lnTo>
                    <a:lnTo>
                      <a:pt x="1218" y="1273"/>
                    </a:lnTo>
                    <a:lnTo>
                      <a:pt x="1218" y="1271"/>
                    </a:lnTo>
                    <a:lnTo>
                      <a:pt x="1220" y="1271"/>
                    </a:lnTo>
                    <a:lnTo>
                      <a:pt x="1218" y="1271"/>
                    </a:lnTo>
                    <a:lnTo>
                      <a:pt x="1217" y="1271"/>
                    </a:lnTo>
                    <a:lnTo>
                      <a:pt x="1217" y="1269"/>
                    </a:lnTo>
                    <a:lnTo>
                      <a:pt x="1218" y="1269"/>
                    </a:lnTo>
                    <a:lnTo>
                      <a:pt x="1218" y="1268"/>
                    </a:lnTo>
                    <a:lnTo>
                      <a:pt x="1220" y="1266"/>
                    </a:lnTo>
                    <a:lnTo>
                      <a:pt x="1218" y="1266"/>
                    </a:lnTo>
                    <a:lnTo>
                      <a:pt x="1218" y="1265"/>
                    </a:lnTo>
                    <a:lnTo>
                      <a:pt x="1220" y="1265"/>
                    </a:lnTo>
                    <a:lnTo>
                      <a:pt x="1218" y="1265"/>
                    </a:lnTo>
                    <a:lnTo>
                      <a:pt x="1217" y="1263"/>
                    </a:lnTo>
                    <a:lnTo>
                      <a:pt x="1217" y="1265"/>
                    </a:lnTo>
                    <a:lnTo>
                      <a:pt x="1217" y="1263"/>
                    </a:lnTo>
                    <a:lnTo>
                      <a:pt x="1215" y="1263"/>
                    </a:lnTo>
                    <a:lnTo>
                      <a:pt x="1215" y="1265"/>
                    </a:lnTo>
                    <a:lnTo>
                      <a:pt x="1214" y="1263"/>
                    </a:lnTo>
                    <a:lnTo>
                      <a:pt x="1214" y="1265"/>
                    </a:lnTo>
                    <a:lnTo>
                      <a:pt x="1214" y="1263"/>
                    </a:lnTo>
                    <a:lnTo>
                      <a:pt x="1212" y="1263"/>
                    </a:lnTo>
                    <a:lnTo>
                      <a:pt x="1210" y="1262"/>
                    </a:lnTo>
                    <a:lnTo>
                      <a:pt x="1209" y="1262"/>
                    </a:lnTo>
                    <a:lnTo>
                      <a:pt x="1209" y="1260"/>
                    </a:lnTo>
                    <a:lnTo>
                      <a:pt x="1207" y="1260"/>
                    </a:lnTo>
                    <a:lnTo>
                      <a:pt x="1206" y="1258"/>
                    </a:lnTo>
                    <a:lnTo>
                      <a:pt x="1204" y="1258"/>
                    </a:lnTo>
                    <a:lnTo>
                      <a:pt x="1204" y="1257"/>
                    </a:lnTo>
                    <a:lnTo>
                      <a:pt x="1202" y="1257"/>
                    </a:lnTo>
                    <a:lnTo>
                      <a:pt x="1202" y="1258"/>
                    </a:lnTo>
                    <a:lnTo>
                      <a:pt x="1202" y="1260"/>
                    </a:lnTo>
                    <a:lnTo>
                      <a:pt x="1201" y="1260"/>
                    </a:lnTo>
                    <a:lnTo>
                      <a:pt x="1199" y="1260"/>
                    </a:lnTo>
                    <a:lnTo>
                      <a:pt x="1198" y="1260"/>
                    </a:lnTo>
                    <a:lnTo>
                      <a:pt x="1196" y="1260"/>
                    </a:lnTo>
                    <a:lnTo>
                      <a:pt x="1196" y="1258"/>
                    </a:lnTo>
                    <a:lnTo>
                      <a:pt x="1196" y="1257"/>
                    </a:lnTo>
                    <a:lnTo>
                      <a:pt x="1198" y="1257"/>
                    </a:lnTo>
                    <a:lnTo>
                      <a:pt x="1198" y="1255"/>
                    </a:lnTo>
                    <a:lnTo>
                      <a:pt x="1199" y="1255"/>
                    </a:lnTo>
                    <a:lnTo>
                      <a:pt x="1198" y="1255"/>
                    </a:lnTo>
                    <a:lnTo>
                      <a:pt x="1198" y="1254"/>
                    </a:lnTo>
                    <a:lnTo>
                      <a:pt x="1196" y="1254"/>
                    </a:lnTo>
                    <a:lnTo>
                      <a:pt x="1195" y="1254"/>
                    </a:lnTo>
                    <a:lnTo>
                      <a:pt x="1195" y="1252"/>
                    </a:lnTo>
                    <a:lnTo>
                      <a:pt x="1193" y="1252"/>
                    </a:lnTo>
                    <a:lnTo>
                      <a:pt x="1191" y="1252"/>
                    </a:lnTo>
                    <a:lnTo>
                      <a:pt x="1190" y="1252"/>
                    </a:lnTo>
                    <a:lnTo>
                      <a:pt x="1190" y="1254"/>
                    </a:lnTo>
                    <a:lnTo>
                      <a:pt x="1188" y="1254"/>
                    </a:lnTo>
                    <a:lnTo>
                      <a:pt x="1188" y="1252"/>
                    </a:lnTo>
                    <a:lnTo>
                      <a:pt x="1187" y="1252"/>
                    </a:lnTo>
                    <a:lnTo>
                      <a:pt x="1185" y="1252"/>
                    </a:lnTo>
                    <a:lnTo>
                      <a:pt x="1183" y="1252"/>
                    </a:lnTo>
                    <a:lnTo>
                      <a:pt x="1183" y="1254"/>
                    </a:lnTo>
                    <a:lnTo>
                      <a:pt x="1182" y="1254"/>
                    </a:lnTo>
                    <a:lnTo>
                      <a:pt x="1180" y="1254"/>
                    </a:lnTo>
                    <a:lnTo>
                      <a:pt x="1179" y="1254"/>
                    </a:lnTo>
                    <a:lnTo>
                      <a:pt x="1179" y="1255"/>
                    </a:lnTo>
                    <a:lnTo>
                      <a:pt x="1179" y="1254"/>
                    </a:lnTo>
                    <a:lnTo>
                      <a:pt x="1177" y="1254"/>
                    </a:lnTo>
                    <a:lnTo>
                      <a:pt x="1177" y="1252"/>
                    </a:lnTo>
                    <a:lnTo>
                      <a:pt x="1177" y="1250"/>
                    </a:lnTo>
                    <a:lnTo>
                      <a:pt x="1177" y="1249"/>
                    </a:lnTo>
                    <a:lnTo>
                      <a:pt x="1176" y="1249"/>
                    </a:lnTo>
                    <a:lnTo>
                      <a:pt x="1176" y="1247"/>
                    </a:lnTo>
                    <a:lnTo>
                      <a:pt x="1174" y="1247"/>
                    </a:lnTo>
                    <a:lnTo>
                      <a:pt x="1172" y="1246"/>
                    </a:lnTo>
                    <a:lnTo>
                      <a:pt x="1174" y="1246"/>
                    </a:lnTo>
                    <a:lnTo>
                      <a:pt x="1174" y="1244"/>
                    </a:lnTo>
                    <a:lnTo>
                      <a:pt x="1176" y="1244"/>
                    </a:lnTo>
                    <a:lnTo>
                      <a:pt x="1177" y="1244"/>
                    </a:lnTo>
                    <a:lnTo>
                      <a:pt x="1177" y="1243"/>
                    </a:lnTo>
                    <a:lnTo>
                      <a:pt x="1177" y="1241"/>
                    </a:lnTo>
                    <a:lnTo>
                      <a:pt x="1176" y="1241"/>
                    </a:lnTo>
                    <a:lnTo>
                      <a:pt x="1176" y="1239"/>
                    </a:lnTo>
                    <a:lnTo>
                      <a:pt x="1176" y="1238"/>
                    </a:lnTo>
                    <a:lnTo>
                      <a:pt x="1177" y="1238"/>
                    </a:lnTo>
                    <a:lnTo>
                      <a:pt x="1177" y="1236"/>
                    </a:lnTo>
                    <a:lnTo>
                      <a:pt x="1179" y="1236"/>
                    </a:lnTo>
                    <a:lnTo>
                      <a:pt x="1179" y="1235"/>
                    </a:lnTo>
                    <a:lnTo>
                      <a:pt x="1179" y="1233"/>
                    </a:lnTo>
                    <a:lnTo>
                      <a:pt x="1180" y="1235"/>
                    </a:lnTo>
                    <a:lnTo>
                      <a:pt x="1180" y="1236"/>
                    </a:lnTo>
                    <a:lnTo>
                      <a:pt x="1180" y="1238"/>
                    </a:lnTo>
                    <a:lnTo>
                      <a:pt x="1182" y="1238"/>
                    </a:lnTo>
                    <a:lnTo>
                      <a:pt x="1183" y="1238"/>
                    </a:lnTo>
                    <a:lnTo>
                      <a:pt x="1183" y="1236"/>
                    </a:lnTo>
                    <a:lnTo>
                      <a:pt x="1185" y="1236"/>
                    </a:lnTo>
                    <a:lnTo>
                      <a:pt x="1185" y="1235"/>
                    </a:lnTo>
                    <a:lnTo>
                      <a:pt x="1187" y="1233"/>
                    </a:lnTo>
                    <a:lnTo>
                      <a:pt x="1187" y="1231"/>
                    </a:lnTo>
                    <a:lnTo>
                      <a:pt x="1188" y="1231"/>
                    </a:lnTo>
                    <a:lnTo>
                      <a:pt x="1190" y="1231"/>
                    </a:lnTo>
                    <a:lnTo>
                      <a:pt x="1190" y="1230"/>
                    </a:lnTo>
                    <a:lnTo>
                      <a:pt x="1191" y="1230"/>
                    </a:lnTo>
                    <a:lnTo>
                      <a:pt x="1191" y="1231"/>
                    </a:lnTo>
                    <a:lnTo>
                      <a:pt x="1193" y="1231"/>
                    </a:lnTo>
                    <a:lnTo>
                      <a:pt x="1195" y="1231"/>
                    </a:lnTo>
                    <a:lnTo>
                      <a:pt x="1195" y="1230"/>
                    </a:lnTo>
                    <a:lnTo>
                      <a:pt x="1195" y="1228"/>
                    </a:lnTo>
                    <a:lnTo>
                      <a:pt x="1196" y="1228"/>
                    </a:lnTo>
                    <a:lnTo>
                      <a:pt x="1196" y="1227"/>
                    </a:lnTo>
                    <a:lnTo>
                      <a:pt x="1198" y="1225"/>
                    </a:lnTo>
                    <a:lnTo>
                      <a:pt x="1198" y="1224"/>
                    </a:lnTo>
                    <a:lnTo>
                      <a:pt x="1199" y="1224"/>
                    </a:lnTo>
                    <a:lnTo>
                      <a:pt x="1199" y="1222"/>
                    </a:lnTo>
                    <a:lnTo>
                      <a:pt x="1198" y="1222"/>
                    </a:lnTo>
                    <a:lnTo>
                      <a:pt x="1196" y="1220"/>
                    </a:lnTo>
                    <a:lnTo>
                      <a:pt x="1198" y="1219"/>
                    </a:lnTo>
                    <a:lnTo>
                      <a:pt x="1196" y="1219"/>
                    </a:lnTo>
                    <a:lnTo>
                      <a:pt x="1196" y="1217"/>
                    </a:lnTo>
                    <a:lnTo>
                      <a:pt x="1198" y="1217"/>
                    </a:lnTo>
                    <a:lnTo>
                      <a:pt x="1199" y="1217"/>
                    </a:lnTo>
                    <a:lnTo>
                      <a:pt x="1199" y="1216"/>
                    </a:lnTo>
                    <a:lnTo>
                      <a:pt x="1201" y="1216"/>
                    </a:lnTo>
                    <a:lnTo>
                      <a:pt x="1199" y="1216"/>
                    </a:lnTo>
                    <a:lnTo>
                      <a:pt x="1199" y="1214"/>
                    </a:lnTo>
                    <a:lnTo>
                      <a:pt x="1199" y="1212"/>
                    </a:lnTo>
                    <a:lnTo>
                      <a:pt x="1201" y="1212"/>
                    </a:lnTo>
                    <a:lnTo>
                      <a:pt x="1201" y="1211"/>
                    </a:lnTo>
                    <a:lnTo>
                      <a:pt x="1201" y="1209"/>
                    </a:lnTo>
                    <a:lnTo>
                      <a:pt x="1201" y="1208"/>
                    </a:lnTo>
                    <a:lnTo>
                      <a:pt x="1201" y="1206"/>
                    </a:lnTo>
                    <a:lnTo>
                      <a:pt x="1201" y="1205"/>
                    </a:lnTo>
                    <a:lnTo>
                      <a:pt x="1202" y="1205"/>
                    </a:lnTo>
                    <a:lnTo>
                      <a:pt x="1202" y="1203"/>
                    </a:lnTo>
                    <a:lnTo>
                      <a:pt x="1202" y="1201"/>
                    </a:lnTo>
                    <a:lnTo>
                      <a:pt x="1202" y="1200"/>
                    </a:lnTo>
                    <a:lnTo>
                      <a:pt x="1202" y="1198"/>
                    </a:lnTo>
                    <a:lnTo>
                      <a:pt x="1202" y="1197"/>
                    </a:lnTo>
                    <a:lnTo>
                      <a:pt x="1202" y="1195"/>
                    </a:lnTo>
                    <a:lnTo>
                      <a:pt x="1202" y="1193"/>
                    </a:lnTo>
                    <a:lnTo>
                      <a:pt x="1202" y="1192"/>
                    </a:lnTo>
                    <a:lnTo>
                      <a:pt x="1202" y="1190"/>
                    </a:lnTo>
                    <a:lnTo>
                      <a:pt x="1202" y="1189"/>
                    </a:lnTo>
                    <a:lnTo>
                      <a:pt x="1202" y="1187"/>
                    </a:lnTo>
                    <a:lnTo>
                      <a:pt x="1204" y="1187"/>
                    </a:lnTo>
                    <a:lnTo>
                      <a:pt x="1204" y="1185"/>
                    </a:lnTo>
                    <a:lnTo>
                      <a:pt x="1204" y="1184"/>
                    </a:lnTo>
                    <a:lnTo>
                      <a:pt x="1206" y="1182"/>
                    </a:lnTo>
                    <a:lnTo>
                      <a:pt x="1207" y="1182"/>
                    </a:lnTo>
                    <a:lnTo>
                      <a:pt x="1207" y="1181"/>
                    </a:lnTo>
                    <a:lnTo>
                      <a:pt x="1209" y="1181"/>
                    </a:lnTo>
                    <a:lnTo>
                      <a:pt x="1207" y="1179"/>
                    </a:lnTo>
                    <a:lnTo>
                      <a:pt x="1207" y="1178"/>
                    </a:lnTo>
                    <a:lnTo>
                      <a:pt x="1207" y="1176"/>
                    </a:lnTo>
                    <a:lnTo>
                      <a:pt x="1207" y="1174"/>
                    </a:lnTo>
                    <a:lnTo>
                      <a:pt x="1207" y="1173"/>
                    </a:lnTo>
                    <a:lnTo>
                      <a:pt x="1206" y="1173"/>
                    </a:lnTo>
                    <a:lnTo>
                      <a:pt x="1206" y="1171"/>
                    </a:lnTo>
                    <a:lnTo>
                      <a:pt x="1206" y="1170"/>
                    </a:lnTo>
                    <a:lnTo>
                      <a:pt x="1204" y="1170"/>
                    </a:lnTo>
                    <a:lnTo>
                      <a:pt x="1204" y="1168"/>
                    </a:lnTo>
                    <a:lnTo>
                      <a:pt x="1204" y="1166"/>
                    </a:lnTo>
                    <a:lnTo>
                      <a:pt x="1202" y="1166"/>
                    </a:lnTo>
                    <a:lnTo>
                      <a:pt x="1202" y="1165"/>
                    </a:lnTo>
                    <a:lnTo>
                      <a:pt x="1204" y="1163"/>
                    </a:lnTo>
                    <a:lnTo>
                      <a:pt x="1202" y="1163"/>
                    </a:lnTo>
                    <a:lnTo>
                      <a:pt x="1202" y="1162"/>
                    </a:lnTo>
                    <a:lnTo>
                      <a:pt x="1201" y="1160"/>
                    </a:lnTo>
                    <a:lnTo>
                      <a:pt x="1199" y="1159"/>
                    </a:lnTo>
                    <a:lnTo>
                      <a:pt x="1198" y="1159"/>
                    </a:lnTo>
                    <a:lnTo>
                      <a:pt x="1196" y="1159"/>
                    </a:lnTo>
                    <a:lnTo>
                      <a:pt x="1195" y="1160"/>
                    </a:lnTo>
                    <a:lnTo>
                      <a:pt x="1193" y="1160"/>
                    </a:lnTo>
                    <a:lnTo>
                      <a:pt x="1191" y="1160"/>
                    </a:lnTo>
                    <a:lnTo>
                      <a:pt x="1191" y="1162"/>
                    </a:lnTo>
                    <a:lnTo>
                      <a:pt x="1190" y="1162"/>
                    </a:lnTo>
                    <a:lnTo>
                      <a:pt x="1190" y="1160"/>
                    </a:lnTo>
                    <a:lnTo>
                      <a:pt x="1188" y="1160"/>
                    </a:lnTo>
                    <a:lnTo>
                      <a:pt x="1187" y="1162"/>
                    </a:lnTo>
                    <a:lnTo>
                      <a:pt x="1187" y="1163"/>
                    </a:lnTo>
                    <a:lnTo>
                      <a:pt x="1188" y="1163"/>
                    </a:lnTo>
                    <a:lnTo>
                      <a:pt x="1190" y="1163"/>
                    </a:lnTo>
                    <a:lnTo>
                      <a:pt x="1191" y="1163"/>
                    </a:lnTo>
                    <a:lnTo>
                      <a:pt x="1193" y="1163"/>
                    </a:lnTo>
                    <a:lnTo>
                      <a:pt x="1193" y="1165"/>
                    </a:lnTo>
                    <a:lnTo>
                      <a:pt x="1191" y="1165"/>
                    </a:lnTo>
                    <a:lnTo>
                      <a:pt x="1191" y="1166"/>
                    </a:lnTo>
                    <a:lnTo>
                      <a:pt x="1191" y="1168"/>
                    </a:lnTo>
                    <a:lnTo>
                      <a:pt x="1183" y="1168"/>
                    </a:lnTo>
                    <a:lnTo>
                      <a:pt x="1182" y="1166"/>
                    </a:lnTo>
                    <a:lnTo>
                      <a:pt x="1180" y="1166"/>
                    </a:lnTo>
                    <a:lnTo>
                      <a:pt x="1180" y="1168"/>
                    </a:lnTo>
                    <a:lnTo>
                      <a:pt x="1179" y="1168"/>
                    </a:lnTo>
                    <a:lnTo>
                      <a:pt x="1179" y="1170"/>
                    </a:lnTo>
                    <a:lnTo>
                      <a:pt x="1177" y="1170"/>
                    </a:lnTo>
                    <a:lnTo>
                      <a:pt x="1176" y="1170"/>
                    </a:lnTo>
                    <a:lnTo>
                      <a:pt x="1176" y="1171"/>
                    </a:lnTo>
                    <a:lnTo>
                      <a:pt x="1174" y="1171"/>
                    </a:lnTo>
                    <a:lnTo>
                      <a:pt x="1174" y="1173"/>
                    </a:lnTo>
                    <a:lnTo>
                      <a:pt x="1172" y="1173"/>
                    </a:lnTo>
                    <a:lnTo>
                      <a:pt x="1172" y="1174"/>
                    </a:lnTo>
                    <a:lnTo>
                      <a:pt x="1172" y="1176"/>
                    </a:lnTo>
                    <a:lnTo>
                      <a:pt x="1171" y="1178"/>
                    </a:lnTo>
                    <a:lnTo>
                      <a:pt x="1169" y="1178"/>
                    </a:lnTo>
                    <a:lnTo>
                      <a:pt x="1169" y="1176"/>
                    </a:lnTo>
                    <a:lnTo>
                      <a:pt x="1168" y="1176"/>
                    </a:lnTo>
                    <a:lnTo>
                      <a:pt x="1166" y="1174"/>
                    </a:lnTo>
                    <a:lnTo>
                      <a:pt x="1164" y="1176"/>
                    </a:lnTo>
                    <a:lnTo>
                      <a:pt x="1164" y="1178"/>
                    </a:lnTo>
                    <a:lnTo>
                      <a:pt x="1163" y="1178"/>
                    </a:lnTo>
                    <a:lnTo>
                      <a:pt x="1163" y="1179"/>
                    </a:lnTo>
                    <a:lnTo>
                      <a:pt x="1163" y="1181"/>
                    </a:lnTo>
                    <a:lnTo>
                      <a:pt x="1161" y="1182"/>
                    </a:lnTo>
                    <a:lnTo>
                      <a:pt x="1161" y="1184"/>
                    </a:lnTo>
                    <a:lnTo>
                      <a:pt x="1161" y="1185"/>
                    </a:lnTo>
                    <a:lnTo>
                      <a:pt x="1160" y="1185"/>
                    </a:lnTo>
                    <a:lnTo>
                      <a:pt x="1158" y="1185"/>
                    </a:lnTo>
                    <a:lnTo>
                      <a:pt x="1157" y="1185"/>
                    </a:lnTo>
                    <a:lnTo>
                      <a:pt x="1157" y="1187"/>
                    </a:lnTo>
                    <a:lnTo>
                      <a:pt x="1155" y="1187"/>
                    </a:lnTo>
                    <a:lnTo>
                      <a:pt x="1155" y="1189"/>
                    </a:lnTo>
                    <a:lnTo>
                      <a:pt x="1153" y="1189"/>
                    </a:lnTo>
                    <a:lnTo>
                      <a:pt x="1153" y="1190"/>
                    </a:lnTo>
                    <a:lnTo>
                      <a:pt x="1153" y="1192"/>
                    </a:lnTo>
                    <a:lnTo>
                      <a:pt x="1153" y="1193"/>
                    </a:lnTo>
                    <a:lnTo>
                      <a:pt x="1152" y="1192"/>
                    </a:lnTo>
                    <a:lnTo>
                      <a:pt x="1152" y="1193"/>
                    </a:lnTo>
                    <a:lnTo>
                      <a:pt x="1150" y="1193"/>
                    </a:lnTo>
                    <a:lnTo>
                      <a:pt x="1149" y="1193"/>
                    </a:lnTo>
                    <a:lnTo>
                      <a:pt x="1150" y="1193"/>
                    </a:lnTo>
                    <a:lnTo>
                      <a:pt x="1150" y="1195"/>
                    </a:lnTo>
                    <a:lnTo>
                      <a:pt x="1152" y="1195"/>
                    </a:lnTo>
                    <a:lnTo>
                      <a:pt x="1152" y="1197"/>
                    </a:lnTo>
                    <a:lnTo>
                      <a:pt x="1152" y="1198"/>
                    </a:lnTo>
                    <a:lnTo>
                      <a:pt x="1150" y="1198"/>
                    </a:lnTo>
                    <a:lnTo>
                      <a:pt x="1150" y="1200"/>
                    </a:lnTo>
                    <a:lnTo>
                      <a:pt x="1150" y="1201"/>
                    </a:lnTo>
                    <a:lnTo>
                      <a:pt x="1149" y="1201"/>
                    </a:lnTo>
                    <a:lnTo>
                      <a:pt x="1149" y="1203"/>
                    </a:lnTo>
                    <a:lnTo>
                      <a:pt x="1149" y="1205"/>
                    </a:lnTo>
                    <a:lnTo>
                      <a:pt x="1147" y="1205"/>
                    </a:lnTo>
                    <a:lnTo>
                      <a:pt x="1147" y="1206"/>
                    </a:lnTo>
                    <a:lnTo>
                      <a:pt x="1147" y="1208"/>
                    </a:lnTo>
                    <a:lnTo>
                      <a:pt x="1145" y="1208"/>
                    </a:lnTo>
                    <a:lnTo>
                      <a:pt x="1144" y="1208"/>
                    </a:lnTo>
                    <a:lnTo>
                      <a:pt x="1142" y="1208"/>
                    </a:lnTo>
                    <a:lnTo>
                      <a:pt x="1142" y="1209"/>
                    </a:lnTo>
                    <a:lnTo>
                      <a:pt x="1141" y="1209"/>
                    </a:lnTo>
                    <a:lnTo>
                      <a:pt x="1141" y="1211"/>
                    </a:lnTo>
                    <a:lnTo>
                      <a:pt x="1142" y="1212"/>
                    </a:lnTo>
                    <a:lnTo>
                      <a:pt x="1141" y="1212"/>
                    </a:lnTo>
                    <a:lnTo>
                      <a:pt x="1141" y="1214"/>
                    </a:lnTo>
                    <a:lnTo>
                      <a:pt x="1141" y="1212"/>
                    </a:lnTo>
                    <a:lnTo>
                      <a:pt x="1139" y="1214"/>
                    </a:lnTo>
                    <a:lnTo>
                      <a:pt x="1139" y="1216"/>
                    </a:lnTo>
                    <a:lnTo>
                      <a:pt x="1137" y="1216"/>
                    </a:lnTo>
                    <a:lnTo>
                      <a:pt x="1136" y="1216"/>
                    </a:lnTo>
                    <a:lnTo>
                      <a:pt x="1136" y="1217"/>
                    </a:lnTo>
                    <a:lnTo>
                      <a:pt x="1136" y="1219"/>
                    </a:lnTo>
                    <a:lnTo>
                      <a:pt x="1137" y="1219"/>
                    </a:lnTo>
                    <a:lnTo>
                      <a:pt x="1136" y="1219"/>
                    </a:lnTo>
                    <a:lnTo>
                      <a:pt x="1136" y="1220"/>
                    </a:lnTo>
                    <a:lnTo>
                      <a:pt x="1134" y="1220"/>
                    </a:lnTo>
                    <a:lnTo>
                      <a:pt x="1133" y="1220"/>
                    </a:lnTo>
                    <a:lnTo>
                      <a:pt x="1131" y="1220"/>
                    </a:lnTo>
                    <a:lnTo>
                      <a:pt x="1130" y="1220"/>
                    </a:lnTo>
                    <a:lnTo>
                      <a:pt x="1130" y="1222"/>
                    </a:lnTo>
                    <a:lnTo>
                      <a:pt x="1130" y="1224"/>
                    </a:lnTo>
                    <a:lnTo>
                      <a:pt x="1130" y="1225"/>
                    </a:lnTo>
                    <a:lnTo>
                      <a:pt x="1130" y="1227"/>
                    </a:lnTo>
                    <a:lnTo>
                      <a:pt x="1130" y="1228"/>
                    </a:lnTo>
                    <a:lnTo>
                      <a:pt x="1128" y="1228"/>
                    </a:lnTo>
                    <a:lnTo>
                      <a:pt x="1126" y="1228"/>
                    </a:lnTo>
                    <a:lnTo>
                      <a:pt x="1125" y="1228"/>
                    </a:lnTo>
                    <a:lnTo>
                      <a:pt x="1125" y="1227"/>
                    </a:lnTo>
                    <a:lnTo>
                      <a:pt x="1123" y="1227"/>
                    </a:lnTo>
                    <a:lnTo>
                      <a:pt x="1123" y="1225"/>
                    </a:lnTo>
                    <a:lnTo>
                      <a:pt x="1122" y="1225"/>
                    </a:lnTo>
                    <a:lnTo>
                      <a:pt x="1122" y="1224"/>
                    </a:lnTo>
                    <a:lnTo>
                      <a:pt x="1120" y="1224"/>
                    </a:lnTo>
                    <a:lnTo>
                      <a:pt x="1120" y="1225"/>
                    </a:lnTo>
                    <a:lnTo>
                      <a:pt x="1118" y="1225"/>
                    </a:lnTo>
                    <a:lnTo>
                      <a:pt x="1118" y="1227"/>
                    </a:lnTo>
                    <a:lnTo>
                      <a:pt x="1117" y="1227"/>
                    </a:lnTo>
                    <a:lnTo>
                      <a:pt x="1117" y="1225"/>
                    </a:lnTo>
                    <a:lnTo>
                      <a:pt x="1115" y="1225"/>
                    </a:lnTo>
                    <a:lnTo>
                      <a:pt x="1115" y="1227"/>
                    </a:lnTo>
                    <a:lnTo>
                      <a:pt x="1115" y="1228"/>
                    </a:lnTo>
                    <a:lnTo>
                      <a:pt x="1114" y="1228"/>
                    </a:lnTo>
                    <a:lnTo>
                      <a:pt x="1112" y="1228"/>
                    </a:lnTo>
                    <a:lnTo>
                      <a:pt x="1111" y="1228"/>
                    </a:lnTo>
                    <a:lnTo>
                      <a:pt x="1111" y="1227"/>
                    </a:lnTo>
                    <a:lnTo>
                      <a:pt x="1109" y="1227"/>
                    </a:lnTo>
                    <a:lnTo>
                      <a:pt x="1109" y="1225"/>
                    </a:lnTo>
                    <a:lnTo>
                      <a:pt x="1107" y="1225"/>
                    </a:lnTo>
                    <a:lnTo>
                      <a:pt x="1106" y="1225"/>
                    </a:lnTo>
                    <a:lnTo>
                      <a:pt x="1106" y="1224"/>
                    </a:lnTo>
                    <a:lnTo>
                      <a:pt x="1106" y="1222"/>
                    </a:lnTo>
                    <a:lnTo>
                      <a:pt x="1106" y="1220"/>
                    </a:lnTo>
                    <a:lnTo>
                      <a:pt x="1107" y="1220"/>
                    </a:lnTo>
                    <a:lnTo>
                      <a:pt x="1107" y="1219"/>
                    </a:lnTo>
                    <a:lnTo>
                      <a:pt x="1109" y="1217"/>
                    </a:lnTo>
                    <a:lnTo>
                      <a:pt x="1109" y="1216"/>
                    </a:lnTo>
                    <a:lnTo>
                      <a:pt x="1107" y="1216"/>
                    </a:lnTo>
                    <a:lnTo>
                      <a:pt x="1107" y="1214"/>
                    </a:lnTo>
                    <a:lnTo>
                      <a:pt x="1106" y="1214"/>
                    </a:lnTo>
                    <a:lnTo>
                      <a:pt x="1104" y="1214"/>
                    </a:lnTo>
                    <a:lnTo>
                      <a:pt x="1103" y="1214"/>
                    </a:lnTo>
                    <a:lnTo>
                      <a:pt x="1103" y="1212"/>
                    </a:lnTo>
                    <a:lnTo>
                      <a:pt x="1101" y="1212"/>
                    </a:lnTo>
                    <a:lnTo>
                      <a:pt x="1101" y="1211"/>
                    </a:lnTo>
                    <a:lnTo>
                      <a:pt x="1101" y="1209"/>
                    </a:lnTo>
                    <a:lnTo>
                      <a:pt x="1103" y="1209"/>
                    </a:lnTo>
                    <a:lnTo>
                      <a:pt x="1104" y="1209"/>
                    </a:lnTo>
                    <a:lnTo>
                      <a:pt x="1104" y="1208"/>
                    </a:lnTo>
                    <a:lnTo>
                      <a:pt x="1106" y="1208"/>
                    </a:lnTo>
                    <a:lnTo>
                      <a:pt x="1106" y="1206"/>
                    </a:lnTo>
                    <a:lnTo>
                      <a:pt x="1106" y="1205"/>
                    </a:lnTo>
                    <a:lnTo>
                      <a:pt x="1106" y="1203"/>
                    </a:lnTo>
                    <a:lnTo>
                      <a:pt x="1107" y="1203"/>
                    </a:lnTo>
                    <a:lnTo>
                      <a:pt x="1109" y="1203"/>
                    </a:lnTo>
                    <a:lnTo>
                      <a:pt x="1109" y="1201"/>
                    </a:lnTo>
                    <a:lnTo>
                      <a:pt x="1111" y="1201"/>
                    </a:lnTo>
                    <a:lnTo>
                      <a:pt x="1111" y="1200"/>
                    </a:lnTo>
                    <a:lnTo>
                      <a:pt x="1111" y="1198"/>
                    </a:lnTo>
                    <a:lnTo>
                      <a:pt x="1109" y="1198"/>
                    </a:lnTo>
                    <a:lnTo>
                      <a:pt x="1109" y="1197"/>
                    </a:lnTo>
                    <a:lnTo>
                      <a:pt x="1109" y="1195"/>
                    </a:lnTo>
                    <a:lnTo>
                      <a:pt x="1111" y="1195"/>
                    </a:lnTo>
                    <a:lnTo>
                      <a:pt x="1109" y="1195"/>
                    </a:lnTo>
                    <a:lnTo>
                      <a:pt x="1109" y="1193"/>
                    </a:lnTo>
                    <a:lnTo>
                      <a:pt x="1111" y="1193"/>
                    </a:lnTo>
                    <a:lnTo>
                      <a:pt x="1111" y="1192"/>
                    </a:lnTo>
                    <a:lnTo>
                      <a:pt x="1111" y="1190"/>
                    </a:lnTo>
                    <a:lnTo>
                      <a:pt x="1111" y="1189"/>
                    </a:lnTo>
                    <a:lnTo>
                      <a:pt x="1109" y="1189"/>
                    </a:lnTo>
                    <a:lnTo>
                      <a:pt x="1107" y="1189"/>
                    </a:lnTo>
                    <a:lnTo>
                      <a:pt x="1106" y="1189"/>
                    </a:lnTo>
                    <a:lnTo>
                      <a:pt x="1104" y="1189"/>
                    </a:lnTo>
                    <a:lnTo>
                      <a:pt x="1104" y="1187"/>
                    </a:lnTo>
                    <a:lnTo>
                      <a:pt x="1103" y="1187"/>
                    </a:lnTo>
                    <a:lnTo>
                      <a:pt x="1101" y="1187"/>
                    </a:lnTo>
                    <a:lnTo>
                      <a:pt x="1099" y="1187"/>
                    </a:lnTo>
                    <a:lnTo>
                      <a:pt x="1098" y="1187"/>
                    </a:lnTo>
                    <a:lnTo>
                      <a:pt x="1098" y="1185"/>
                    </a:lnTo>
                    <a:lnTo>
                      <a:pt x="1096" y="1185"/>
                    </a:lnTo>
                    <a:lnTo>
                      <a:pt x="1095" y="1185"/>
                    </a:lnTo>
                    <a:lnTo>
                      <a:pt x="1095" y="1184"/>
                    </a:lnTo>
                    <a:lnTo>
                      <a:pt x="1093" y="1184"/>
                    </a:lnTo>
                    <a:lnTo>
                      <a:pt x="1092" y="1182"/>
                    </a:lnTo>
                    <a:lnTo>
                      <a:pt x="1092" y="1181"/>
                    </a:lnTo>
                    <a:lnTo>
                      <a:pt x="1092" y="1179"/>
                    </a:lnTo>
                    <a:lnTo>
                      <a:pt x="1092" y="1178"/>
                    </a:lnTo>
                    <a:lnTo>
                      <a:pt x="1090" y="1178"/>
                    </a:lnTo>
                    <a:lnTo>
                      <a:pt x="1090" y="1176"/>
                    </a:lnTo>
                    <a:lnTo>
                      <a:pt x="1092" y="1176"/>
                    </a:lnTo>
                    <a:lnTo>
                      <a:pt x="1090" y="1176"/>
                    </a:lnTo>
                    <a:lnTo>
                      <a:pt x="1090" y="1174"/>
                    </a:lnTo>
                    <a:lnTo>
                      <a:pt x="1088" y="1174"/>
                    </a:lnTo>
                    <a:lnTo>
                      <a:pt x="1088" y="1173"/>
                    </a:lnTo>
                    <a:lnTo>
                      <a:pt x="1087" y="1173"/>
                    </a:lnTo>
                    <a:lnTo>
                      <a:pt x="1085" y="1173"/>
                    </a:lnTo>
                    <a:lnTo>
                      <a:pt x="1084" y="1173"/>
                    </a:lnTo>
                    <a:lnTo>
                      <a:pt x="1084" y="1171"/>
                    </a:lnTo>
                    <a:lnTo>
                      <a:pt x="1082" y="1171"/>
                    </a:lnTo>
                    <a:lnTo>
                      <a:pt x="1082" y="1170"/>
                    </a:lnTo>
                    <a:lnTo>
                      <a:pt x="1080" y="1168"/>
                    </a:lnTo>
                    <a:lnTo>
                      <a:pt x="1079" y="1170"/>
                    </a:lnTo>
                    <a:lnTo>
                      <a:pt x="1079" y="1171"/>
                    </a:lnTo>
                    <a:lnTo>
                      <a:pt x="1077" y="1171"/>
                    </a:lnTo>
                    <a:lnTo>
                      <a:pt x="1077" y="1173"/>
                    </a:lnTo>
                    <a:lnTo>
                      <a:pt x="1076" y="1173"/>
                    </a:lnTo>
                    <a:lnTo>
                      <a:pt x="1076" y="1174"/>
                    </a:lnTo>
                    <a:lnTo>
                      <a:pt x="1074" y="1174"/>
                    </a:lnTo>
                    <a:lnTo>
                      <a:pt x="1074" y="1176"/>
                    </a:lnTo>
                    <a:lnTo>
                      <a:pt x="1074" y="1178"/>
                    </a:lnTo>
                    <a:lnTo>
                      <a:pt x="1074" y="1179"/>
                    </a:lnTo>
                    <a:lnTo>
                      <a:pt x="1076" y="1179"/>
                    </a:lnTo>
                    <a:lnTo>
                      <a:pt x="1076" y="1181"/>
                    </a:lnTo>
                    <a:lnTo>
                      <a:pt x="1076" y="1182"/>
                    </a:lnTo>
                    <a:lnTo>
                      <a:pt x="1077" y="1182"/>
                    </a:lnTo>
                    <a:lnTo>
                      <a:pt x="1076" y="1184"/>
                    </a:lnTo>
                    <a:lnTo>
                      <a:pt x="1074" y="1182"/>
                    </a:lnTo>
                    <a:lnTo>
                      <a:pt x="1073" y="1182"/>
                    </a:lnTo>
                    <a:lnTo>
                      <a:pt x="1073" y="1181"/>
                    </a:lnTo>
                    <a:lnTo>
                      <a:pt x="1071" y="1181"/>
                    </a:lnTo>
                    <a:lnTo>
                      <a:pt x="1071" y="1179"/>
                    </a:lnTo>
                    <a:lnTo>
                      <a:pt x="1069" y="1179"/>
                    </a:lnTo>
                    <a:lnTo>
                      <a:pt x="1069" y="1178"/>
                    </a:lnTo>
                    <a:lnTo>
                      <a:pt x="1068" y="1178"/>
                    </a:lnTo>
                    <a:lnTo>
                      <a:pt x="1068" y="1179"/>
                    </a:lnTo>
                    <a:lnTo>
                      <a:pt x="1066" y="1179"/>
                    </a:lnTo>
                    <a:lnTo>
                      <a:pt x="1066" y="1181"/>
                    </a:lnTo>
                    <a:lnTo>
                      <a:pt x="1065" y="1181"/>
                    </a:lnTo>
                    <a:lnTo>
                      <a:pt x="1065" y="1182"/>
                    </a:lnTo>
                    <a:lnTo>
                      <a:pt x="1063" y="1184"/>
                    </a:lnTo>
                    <a:lnTo>
                      <a:pt x="1061" y="1184"/>
                    </a:lnTo>
                    <a:lnTo>
                      <a:pt x="1060" y="1184"/>
                    </a:lnTo>
                    <a:lnTo>
                      <a:pt x="1058" y="1184"/>
                    </a:lnTo>
                    <a:lnTo>
                      <a:pt x="1058" y="1182"/>
                    </a:lnTo>
                    <a:lnTo>
                      <a:pt x="1057" y="1182"/>
                    </a:lnTo>
                    <a:lnTo>
                      <a:pt x="1057" y="1181"/>
                    </a:lnTo>
                    <a:lnTo>
                      <a:pt x="1055" y="1181"/>
                    </a:lnTo>
                    <a:lnTo>
                      <a:pt x="1054" y="1181"/>
                    </a:lnTo>
                    <a:lnTo>
                      <a:pt x="1054" y="1179"/>
                    </a:lnTo>
                    <a:lnTo>
                      <a:pt x="1052" y="1179"/>
                    </a:lnTo>
                    <a:lnTo>
                      <a:pt x="1052" y="1178"/>
                    </a:lnTo>
                    <a:lnTo>
                      <a:pt x="1050" y="1178"/>
                    </a:lnTo>
                    <a:lnTo>
                      <a:pt x="1049" y="1178"/>
                    </a:lnTo>
                    <a:lnTo>
                      <a:pt x="1049" y="1176"/>
                    </a:lnTo>
                    <a:lnTo>
                      <a:pt x="1049" y="1174"/>
                    </a:lnTo>
                    <a:lnTo>
                      <a:pt x="1047" y="1174"/>
                    </a:lnTo>
                    <a:lnTo>
                      <a:pt x="1047" y="1173"/>
                    </a:lnTo>
                    <a:lnTo>
                      <a:pt x="1046" y="1173"/>
                    </a:lnTo>
                    <a:lnTo>
                      <a:pt x="1046" y="1171"/>
                    </a:lnTo>
                    <a:lnTo>
                      <a:pt x="1044" y="1171"/>
                    </a:lnTo>
                    <a:lnTo>
                      <a:pt x="1042" y="1171"/>
                    </a:lnTo>
                    <a:lnTo>
                      <a:pt x="1042" y="1170"/>
                    </a:lnTo>
                    <a:lnTo>
                      <a:pt x="1041" y="1170"/>
                    </a:lnTo>
                    <a:lnTo>
                      <a:pt x="1041" y="1168"/>
                    </a:lnTo>
                    <a:lnTo>
                      <a:pt x="1039" y="1168"/>
                    </a:lnTo>
                    <a:lnTo>
                      <a:pt x="1039" y="1166"/>
                    </a:lnTo>
                    <a:lnTo>
                      <a:pt x="1039" y="1168"/>
                    </a:lnTo>
                    <a:lnTo>
                      <a:pt x="1039" y="1166"/>
                    </a:lnTo>
                    <a:lnTo>
                      <a:pt x="1038" y="1166"/>
                    </a:lnTo>
                    <a:lnTo>
                      <a:pt x="1038" y="1165"/>
                    </a:lnTo>
                    <a:lnTo>
                      <a:pt x="1038" y="1163"/>
                    </a:lnTo>
                    <a:lnTo>
                      <a:pt x="1036" y="1163"/>
                    </a:lnTo>
                    <a:lnTo>
                      <a:pt x="1036" y="1162"/>
                    </a:lnTo>
                    <a:lnTo>
                      <a:pt x="1036" y="1160"/>
                    </a:lnTo>
                    <a:lnTo>
                      <a:pt x="1036" y="1159"/>
                    </a:lnTo>
                    <a:lnTo>
                      <a:pt x="1035" y="1159"/>
                    </a:lnTo>
                    <a:lnTo>
                      <a:pt x="1035" y="1157"/>
                    </a:lnTo>
                    <a:lnTo>
                      <a:pt x="1035" y="1155"/>
                    </a:lnTo>
                    <a:lnTo>
                      <a:pt x="1033" y="1155"/>
                    </a:lnTo>
                    <a:lnTo>
                      <a:pt x="1033" y="1154"/>
                    </a:lnTo>
                    <a:lnTo>
                      <a:pt x="1033" y="1152"/>
                    </a:lnTo>
                    <a:lnTo>
                      <a:pt x="1031" y="1152"/>
                    </a:lnTo>
                    <a:lnTo>
                      <a:pt x="1031" y="1151"/>
                    </a:lnTo>
                    <a:lnTo>
                      <a:pt x="1033" y="1151"/>
                    </a:lnTo>
                    <a:lnTo>
                      <a:pt x="1031" y="1149"/>
                    </a:lnTo>
                    <a:lnTo>
                      <a:pt x="1031" y="1147"/>
                    </a:lnTo>
                    <a:lnTo>
                      <a:pt x="1031" y="1146"/>
                    </a:lnTo>
                    <a:lnTo>
                      <a:pt x="1031" y="1144"/>
                    </a:lnTo>
                    <a:lnTo>
                      <a:pt x="1031" y="1143"/>
                    </a:lnTo>
                    <a:lnTo>
                      <a:pt x="1031" y="1141"/>
                    </a:lnTo>
                    <a:lnTo>
                      <a:pt x="1031" y="1138"/>
                    </a:lnTo>
                    <a:lnTo>
                      <a:pt x="1031" y="1140"/>
                    </a:lnTo>
                    <a:lnTo>
                      <a:pt x="1030" y="1140"/>
                    </a:lnTo>
                    <a:lnTo>
                      <a:pt x="1030" y="1138"/>
                    </a:lnTo>
                    <a:lnTo>
                      <a:pt x="1030" y="1136"/>
                    </a:lnTo>
                    <a:lnTo>
                      <a:pt x="1028" y="1136"/>
                    </a:lnTo>
                    <a:lnTo>
                      <a:pt x="1028" y="1135"/>
                    </a:lnTo>
                    <a:lnTo>
                      <a:pt x="1027" y="1135"/>
                    </a:lnTo>
                    <a:lnTo>
                      <a:pt x="1027" y="1133"/>
                    </a:lnTo>
                    <a:lnTo>
                      <a:pt x="1027" y="1132"/>
                    </a:lnTo>
                    <a:lnTo>
                      <a:pt x="1028" y="1132"/>
                    </a:lnTo>
                    <a:lnTo>
                      <a:pt x="1030" y="1130"/>
                    </a:lnTo>
                    <a:lnTo>
                      <a:pt x="1030" y="1128"/>
                    </a:lnTo>
                    <a:lnTo>
                      <a:pt x="1030" y="1127"/>
                    </a:lnTo>
                    <a:lnTo>
                      <a:pt x="1030" y="1125"/>
                    </a:lnTo>
                    <a:lnTo>
                      <a:pt x="1030" y="1124"/>
                    </a:lnTo>
                    <a:lnTo>
                      <a:pt x="1030" y="1122"/>
                    </a:lnTo>
                    <a:lnTo>
                      <a:pt x="1030" y="1121"/>
                    </a:lnTo>
                    <a:lnTo>
                      <a:pt x="1028" y="1119"/>
                    </a:lnTo>
                    <a:lnTo>
                      <a:pt x="1028" y="1117"/>
                    </a:lnTo>
                    <a:lnTo>
                      <a:pt x="1028" y="1116"/>
                    </a:lnTo>
                    <a:lnTo>
                      <a:pt x="1030" y="1116"/>
                    </a:lnTo>
                    <a:lnTo>
                      <a:pt x="1030" y="1114"/>
                    </a:lnTo>
                    <a:lnTo>
                      <a:pt x="1030" y="1113"/>
                    </a:lnTo>
                    <a:lnTo>
                      <a:pt x="1030" y="1111"/>
                    </a:lnTo>
                    <a:lnTo>
                      <a:pt x="1030" y="1109"/>
                    </a:lnTo>
                    <a:lnTo>
                      <a:pt x="1028" y="1109"/>
                    </a:lnTo>
                    <a:lnTo>
                      <a:pt x="1028" y="1108"/>
                    </a:lnTo>
                    <a:lnTo>
                      <a:pt x="1027" y="1108"/>
                    </a:lnTo>
                    <a:lnTo>
                      <a:pt x="1027" y="1106"/>
                    </a:lnTo>
                    <a:lnTo>
                      <a:pt x="1025" y="1106"/>
                    </a:lnTo>
                    <a:lnTo>
                      <a:pt x="1025" y="1105"/>
                    </a:lnTo>
                    <a:lnTo>
                      <a:pt x="1023" y="1105"/>
                    </a:lnTo>
                    <a:lnTo>
                      <a:pt x="1023" y="1103"/>
                    </a:lnTo>
                    <a:lnTo>
                      <a:pt x="1023" y="1105"/>
                    </a:lnTo>
                    <a:lnTo>
                      <a:pt x="1022" y="1105"/>
                    </a:lnTo>
                    <a:lnTo>
                      <a:pt x="1022" y="1106"/>
                    </a:lnTo>
                    <a:lnTo>
                      <a:pt x="1020" y="1105"/>
                    </a:lnTo>
                    <a:lnTo>
                      <a:pt x="1019" y="1105"/>
                    </a:lnTo>
                    <a:lnTo>
                      <a:pt x="1017" y="1105"/>
                    </a:lnTo>
                    <a:lnTo>
                      <a:pt x="1016" y="1103"/>
                    </a:lnTo>
                    <a:lnTo>
                      <a:pt x="1014" y="1103"/>
                    </a:lnTo>
                    <a:lnTo>
                      <a:pt x="1012" y="1103"/>
                    </a:lnTo>
                    <a:lnTo>
                      <a:pt x="1012" y="1102"/>
                    </a:lnTo>
                    <a:lnTo>
                      <a:pt x="1011" y="1102"/>
                    </a:lnTo>
                    <a:lnTo>
                      <a:pt x="1011" y="1100"/>
                    </a:lnTo>
                    <a:lnTo>
                      <a:pt x="1009" y="1100"/>
                    </a:lnTo>
                    <a:lnTo>
                      <a:pt x="1009" y="1102"/>
                    </a:lnTo>
                    <a:lnTo>
                      <a:pt x="1008" y="1102"/>
                    </a:lnTo>
                    <a:lnTo>
                      <a:pt x="1006" y="1100"/>
                    </a:lnTo>
                    <a:lnTo>
                      <a:pt x="1004" y="1100"/>
                    </a:lnTo>
                    <a:lnTo>
                      <a:pt x="1003" y="1100"/>
                    </a:lnTo>
                    <a:lnTo>
                      <a:pt x="1003" y="1098"/>
                    </a:lnTo>
                    <a:lnTo>
                      <a:pt x="1001" y="1098"/>
                    </a:lnTo>
                    <a:lnTo>
                      <a:pt x="1001" y="1097"/>
                    </a:lnTo>
                    <a:lnTo>
                      <a:pt x="1001" y="1098"/>
                    </a:lnTo>
                    <a:lnTo>
                      <a:pt x="1000" y="1097"/>
                    </a:lnTo>
                    <a:lnTo>
                      <a:pt x="998" y="1097"/>
                    </a:lnTo>
                    <a:lnTo>
                      <a:pt x="997" y="1097"/>
                    </a:lnTo>
                    <a:lnTo>
                      <a:pt x="997" y="1095"/>
                    </a:lnTo>
                    <a:lnTo>
                      <a:pt x="995" y="1095"/>
                    </a:lnTo>
                    <a:lnTo>
                      <a:pt x="993" y="1094"/>
                    </a:lnTo>
                    <a:lnTo>
                      <a:pt x="992" y="1094"/>
                    </a:lnTo>
                    <a:lnTo>
                      <a:pt x="992" y="1092"/>
                    </a:lnTo>
                    <a:lnTo>
                      <a:pt x="990" y="1092"/>
                    </a:lnTo>
                    <a:lnTo>
                      <a:pt x="990" y="1090"/>
                    </a:lnTo>
                    <a:lnTo>
                      <a:pt x="989" y="1090"/>
                    </a:lnTo>
                    <a:lnTo>
                      <a:pt x="989" y="1089"/>
                    </a:lnTo>
                    <a:lnTo>
                      <a:pt x="989" y="1087"/>
                    </a:lnTo>
                    <a:lnTo>
                      <a:pt x="989" y="1086"/>
                    </a:lnTo>
                    <a:lnTo>
                      <a:pt x="989" y="1084"/>
                    </a:lnTo>
                    <a:lnTo>
                      <a:pt x="989" y="1083"/>
                    </a:lnTo>
                    <a:lnTo>
                      <a:pt x="989" y="1081"/>
                    </a:lnTo>
                    <a:lnTo>
                      <a:pt x="990" y="1081"/>
                    </a:lnTo>
                    <a:lnTo>
                      <a:pt x="990" y="1083"/>
                    </a:lnTo>
                    <a:lnTo>
                      <a:pt x="992" y="1083"/>
                    </a:lnTo>
                    <a:lnTo>
                      <a:pt x="993" y="1083"/>
                    </a:lnTo>
                    <a:lnTo>
                      <a:pt x="993" y="1084"/>
                    </a:lnTo>
                    <a:lnTo>
                      <a:pt x="995" y="1084"/>
                    </a:lnTo>
                    <a:lnTo>
                      <a:pt x="995" y="1083"/>
                    </a:lnTo>
                    <a:lnTo>
                      <a:pt x="997" y="1083"/>
                    </a:lnTo>
                    <a:lnTo>
                      <a:pt x="997" y="1084"/>
                    </a:lnTo>
                    <a:lnTo>
                      <a:pt x="998" y="1084"/>
                    </a:lnTo>
                    <a:lnTo>
                      <a:pt x="1000" y="1084"/>
                    </a:lnTo>
                    <a:lnTo>
                      <a:pt x="1001" y="1084"/>
                    </a:lnTo>
                    <a:lnTo>
                      <a:pt x="1001" y="1083"/>
                    </a:lnTo>
                    <a:lnTo>
                      <a:pt x="1003" y="1083"/>
                    </a:lnTo>
                    <a:lnTo>
                      <a:pt x="1004" y="1083"/>
                    </a:lnTo>
                    <a:lnTo>
                      <a:pt x="1006" y="1084"/>
                    </a:lnTo>
                    <a:lnTo>
                      <a:pt x="1008" y="1084"/>
                    </a:lnTo>
                    <a:lnTo>
                      <a:pt x="1008" y="1083"/>
                    </a:lnTo>
                    <a:lnTo>
                      <a:pt x="1009" y="1083"/>
                    </a:lnTo>
                    <a:lnTo>
                      <a:pt x="1011" y="1083"/>
                    </a:lnTo>
                    <a:lnTo>
                      <a:pt x="1011" y="1081"/>
                    </a:lnTo>
                    <a:lnTo>
                      <a:pt x="1012" y="1081"/>
                    </a:lnTo>
                    <a:lnTo>
                      <a:pt x="1014" y="1081"/>
                    </a:lnTo>
                    <a:lnTo>
                      <a:pt x="1016" y="1081"/>
                    </a:lnTo>
                    <a:lnTo>
                      <a:pt x="1017" y="1079"/>
                    </a:lnTo>
                    <a:lnTo>
                      <a:pt x="1019" y="1078"/>
                    </a:lnTo>
                    <a:lnTo>
                      <a:pt x="1020" y="1078"/>
                    </a:lnTo>
                    <a:lnTo>
                      <a:pt x="1020" y="1076"/>
                    </a:lnTo>
                    <a:lnTo>
                      <a:pt x="1022" y="1076"/>
                    </a:lnTo>
                    <a:lnTo>
                      <a:pt x="1022" y="1075"/>
                    </a:lnTo>
                    <a:lnTo>
                      <a:pt x="1023" y="1075"/>
                    </a:lnTo>
                    <a:lnTo>
                      <a:pt x="1025" y="1075"/>
                    </a:lnTo>
                    <a:lnTo>
                      <a:pt x="1025" y="1073"/>
                    </a:lnTo>
                    <a:lnTo>
                      <a:pt x="1027" y="1073"/>
                    </a:lnTo>
                    <a:lnTo>
                      <a:pt x="1027" y="1071"/>
                    </a:lnTo>
                    <a:lnTo>
                      <a:pt x="1027" y="1073"/>
                    </a:lnTo>
                    <a:lnTo>
                      <a:pt x="1028" y="1073"/>
                    </a:lnTo>
                    <a:lnTo>
                      <a:pt x="1028" y="1071"/>
                    </a:lnTo>
                    <a:lnTo>
                      <a:pt x="1030" y="1073"/>
                    </a:lnTo>
                    <a:lnTo>
                      <a:pt x="1031" y="1071"/>
                    </a:lnTo>
                    <a:lnTo>
                      <a:pt x="1031" y="1070"/>
                    </a:lnTo>
                    <a:lnTo>
                      <a:pt x="1033" y="1071"/>
                    </a:lnTo>
                    <a:lnTo>
                      <a:pt x="1035" y="1070"/>
                    </a:lnTo>
                    <a:lnTo>
                      <a:pt x="1035" y="1068"/>
                    </a:lnTo>
                    <a:lnTo>
                      <a:pt x="1035" y="1067"/>
                    </a:lnTo>
                    <a:lnTo>
                      <a:pt x="1036" y="1067"/>
                    </a:lnTo>
                    <a:lnTo>
                      <a:pt x="1038" y="1067"/>
                    </a:lnTo>
                    <a:lnTo>
                      <a:pt x="1039" y="1067"/>
                    </a:lnTo>
                    <a:lnTo>
                      <a:pt x="1039" y="1065"/>
                    </a:lnTo>
                    <a:lnTo>
                      <a:pt x="1041" y="1065"/>
                    </a:lnTo>
                    <a:lnTo>
                      <a:pt x="1041" y="1067"/>
                    </a:lnTo>
                    <a:lnTo>
                      <a:pt x="1042" y="1067"/>
                    </a:lnTo>
                    <a:lnTo>
                      <a:pt x="1044" y="1065"/>
                    </a:lnTo>
                    <a:lnTo>
                      <a:pt x="1044" y="1063"/>
                    </a:lnTo>
                    <a:lnTo>
                      <a:pt x="1044" y="1062"/>
                    </a:lnTo>
                    <a:lnTo>
                      <a:pt x="1042" y="1062"/>
                    </a:lnTo>
                    <a:lnTo>
                      <a:pt x="1044" y="1060"/>
                    </a:lnTo>
                    <a:lnTo>
                      <a:pt x="1042" y="1060"/>
                    </a:lnTo>
                    <a:lnTo>
                      <a:pt x="1044" y="1059"/>
                    </a:lnTo>
                    <a:lnTo>
                      <a:pt x="1042" y="1059"/>
                    </a:lnTo>
                    <a:lnTo>
                      <a:pt x="1042" y="1057"/>
                    </a:lnTo>
                    <a:lnTo>
                      <a:pt x="1041" y="1056"/>
                    </a:lnTo>
                    <a:lnTo>
                      <a:pt x="1041" y="1054"/>
                    </a:lnTo>
                    <a:lnTo>
                      <a:pt x="1039" y="1054"/>
                    </a:lnTo>
                    <a:lnTo>
                      <a:pt x="1039" y="1052"/>
                    </a:lnTo>
                    <a:lnTo>
                      <a:pt x="1039" y="1051"/>
                    </a:lnTo>
                    <a:lnTo>
                      <a:pt x="1039" y="1049"/>
                    </a:lnTo>
                    <a:lnTo>
                      <a:pt x="1039" y="1048"/>
                    </a:lnTo>
                    <a:lnTo>
                      <a:pt x="1039" y="1046"/>
                    </a:lnTo>
                    <a:lnTo>
                      <a:pt x="1039" y="1044"/>
                    </a:lnTo>
                    <a:lnTo>
                      <a:pt x="1039" y="1043"/>
                    </a:lnTo>
                    <a:lnTo>
                      <a:pt x="1041" y="1043"/>
                    </a:lnTo>
                    <a:lnTo>
                      <a:pt x="1041" y="1041"/>
                    </a:lnTo>
                    <a:lnTo>
                      <a:pt x="1041" y="1040"/>
                    </a:lnTo>
                    <a:lnTo>
                      <a:pt x="1039" y="1040"/>
                    </a:lnTo>
                    <a:lnTo>
                      <a:pt x="1039" y="1038"/>
                    </a:lnTo>
                    <a:lnTo>
                      <a:pt x="1039" y="1037"/>
                    </a:lnTo>
                    <a:lnTo>
                      <a:pt x="1039" y="1035"/>
                    </a:lnTo>
                    <a:lnTo>
                      <a:pt x="1039" y="1033"/>
                    </a:lnTo>
                    <a:lnTo>
                      <a:pt x="1039" y="1032"/>
                    </a:lnTo>
                    <a:lnTo>
                      <a:pt x="1041" y="1032"/>
                    </a:lnTo>
                    <a:lnTo>
                      <a:pt x="1041" y="1030"/>
                    </a:lnTo>
                    <a:lnTo>
                      <a:pt x="1042" y="1030"/>
                    </a:lnTo>
                    <a:lnTo>
                      <a:pt x="1042" y="1029"/>
                    </a:lnTo>
                    <a:lnTo>
                      <a:pt x="1044" y="1029"/>
                    </a:lnTo>
                    <a:lnTo>
                      <a:pt x="1044" y="1027"/>
                    </a:lnTo>
                    <a:lnTo>
                      <a:pt x="1042" y="1027"/>
                    </a:lnTo>
                    <a:lnTo>
                      <a:pt x="1042" y="1025"/>
                    </a:lnTo>
                    <a:lnTo>
                      <a:pt x="1042" y="1024"/>
                    </a:lnTo>
                    <a:lnTo>
                      <a:pt x="1042" y="1022"/>
                    </a:lnTo>
                    <a:lnTo>
                      <a:pt x="1044" y="1022"/>
                    </a:lnTo>
                    <a:lnTo>
                      <a:pt x="1044" y="1021"/>
                    </a:lnTo>
                    <a:lnTo>
                      <a:pt x="1046" y="1021"/>
                    </a:lnTo>
                    <a:lnTo>
                      <a:pt x="1046" y="1019"/>
                    </a:lnTo>
                    <a:lnTo>
                      <a:pt x="1047" y="1018"/>
                    </a:lnTo>
                    <a:lnTo>
                      <a:pt x="1047" y="1016"/>
                    </a:lnTo>
                    <a:lnTo>
                      <a:pt x="1047" y="1014"/>
                    </a:lnTo>
                    <a:lnTo>
                      <a:pt x="1046" y="1014"/>
                    </a:lnTo>
                    <a:lnTo>
                      <a:pt x="1046" y="1013"/>
                    </a:lnTo>
                    <a:lnTo>
                      <a:pt x="1046" y="1011"/>
                    </a:lnTo>
                    <a:lnTo>
                      <a:pt x="1046" y="1010"/>
                    </a:lnTo>
                    <a:lnTo>
                      <a:pt x="1046" y="1008"/>
                    </a:lnTo>
                    <a:lnTo>
                      <a:pt x="1046" y="1006"/>
                    </a:lnTo>
                    <a:lnTo>
                      <a:pt x="1046" y="1003"/>
                    </a:lnTo>
                    <a:lnTo>
                      <a:pt x="1046" y="1002"/>
                    </a:lnTo>
                    <a:lnTo>
                      <a:pt x="1044" y="1000"/>
                    </a:lnTo>
                    <a:lnTo>
                      <a:pt x="1044" y="999"/>
                    </a:lnTo>
                    <a:lnTo>
                      <a:pt x="1042" y="995"/>
                    </a:lnTo>
                    <a:lnTo>
                      <a:pt x="1042" y="994"/>
                    </a:lnTo>
                    <a:lnTo>
                      <a:pt x="1041" y="994"/>
                    </a:lnTo>
                    <a:lnTo>
                      <a:pt x="1039" y="994"/>
                    </a:lnTo>
                    <a:lnTo>
                      <a:pt x="1038" y="992"/>
                    </a:lnTo>
                    <a:lnTo>
                      <a:pt x="1036" y="992"/>
                    </a:lnTo>
                    <a:lnTo>
                      <a:pt x="1035" y="992"/>
                    </a:lnTo>
                    <a:lnTo>
                      <a:pt x="1033" y="992"/>
                    </a:lnTo>
                    <a:lnTo>
                      <a:pt x="1031" y="992"/>
                    </a:lnTo>
                    <a:lnTo>
                      <a:pt x="1031" y="991"/>
                    </a:lnTo>
                    <a:lnTo>
                      <a:pt x="1030" y="991"/>
                    </a:lnTo>
                    <a:lnTo>
                      <a:pt x="1030" y="992"/>
                    </a:lnTo>
                    <a:lnTo>
                      <a:pt x="1028" y="992"/>
                    </a:lnTo>
                    <a:lnTo>
                      <a:pt x="1027" y="992"/>
                    </a:lnTo>
                    <a:lnTo>
                      <a:pt x="1025" y="992"/>
                    </a:lnTo>
                    <a:lnTo>
                      <a:pt x="1023" y="992"/>
                    </a:lnTo>
                    <a:lnTo>
                      <a:pt x="1022" y="992"/>
                    </a:lnTo>
                    <a:lnTo>
                      <a:pt x="1020" y="992"/>
                    </a:lnTo>
                    <a:lnTo>
                      <a:pt x="1020" y="991"/>
                    </a:lnTo>
                    <a:lnTo>
                      <a:pt x="1019" y="991"/>
                    </a:lnTo>
                    <a:lnTo>
                      <a:pt x="1019" y="989"/>
                    </a:lnTo>
                    <a:lnTo>
                      <a:pt x="1017" y="989"/>
                    </a:lnTo>
                    <a:lnTo>
                      <a:pt x="1016" y="989"/>
                    </a:lnTo>
                    <a:lnTo>
                      <a:pt x="1016" y="987"/>
                    </a:lnTo>
                    <a:lnTo>
                      <a:pt x="1014" y="987"/>
                    </a:lnTo>
                    <a:lnTo>
                      <a:pt x="1014" y="986"/>
                    </a:lnTo>
                    <a:lnTo>
                      <a:pt x="1012" y="986"/>
                    </a:lnTo>
                    <a:lnTo>
                      <a:pt x="1012" y="987"/>
                    </a:lnTo>
                    <a:lnTo>
                      <a:pt x="1012" y="986"/>
                    </a:lnTo>
                    <a:lnTo>
                      <a:pt x="1011" y="986"/>
                    </a:lnTo>
                    <a:lnTo>
                      <a:pt x="1009" y="986"/>
                    </a:lnTo>
                    <a:lnTo>
                      <a:pt x="1008" y="986"/>
                    </a:lnTo>
                    <a:lnTo>
                      <a:pt x="1006" y="986"/>
                    </a:lnTo>
                    <a:lnTo>
                      <a:pt x="1004" y="986"/>
                    </a:lnTo>
                    <a:lnTo>
                      <a:pt x="1003" y="986"/>
                    </a:lnTo>
                    <a:lnTo>
                      <a:pt x="1003" y="987"/>
                    </a:lnTo>
                    <a:lnTo>
                      <a:pt x="1001" y="987"/>
                    </a:lnTo>
                    <a:lnTo>
                      <a:pt x="1000" y="987"/>
                    </a:lnTo>
                    <a:lnTo>
                      <a:pt x="1000" y="989"/>
                    </a:lnTo>
                    <a:lnTo>
                      <a:pt x="998" y="989"/>
                    </a:lnTo>
                    <a:lnTo>
                      <a:pt x="997" y="989"/>
                    </a:lnTo>
                    <a:lnTo>
                      <a:pt x="995" y="989"/>
                    </a:lnTo>
                    <a:lnTo>
                      <a:pt x="995" y="987"/>
                    </a:lnTo>
                    <a:lnTo>
                      <a:pt x="993" y="987"/>
                    </a:lnTo>
                    <a:lnTo>
                      <a:pt x="993" y="989"/>
                    </a:lnTo>
                    <a:lnTo>
                      <a:pt x="992" y="989"/>
                    </a:lnTo>
                    <a:lnTo>
                      <a:pt x="990" y="991"/>
                    </a:lnTo>
                    <a:lnTo>
                      <a:pt x="989" y="991"/>
                    </a:lnTo>
                    <a:lnTo>
                      <a:pt x="989" y="989"/>
                    </a:lnTo>
                    <a:lnTo>
                      <a:pt x="987" y="989"/>
                    </a:lnTo>
                    <a:lnTo>
                      <a:pt x="987" y="991"/>
                    </a:lnTo>
                    <a:lnTo>
                      <a:pt x="987" y="989"/>
                    </a:lnTo>
                    <a:lnTo>
                      <a:pt x="985" y="989"/>
                    </a:lnTo>
                    <a:lnTo>
                      <a:pt x="984" y="989"/>
                    </a:lnTo>
                    <a:lnTo>
                      <a:pt x="982" y="987"/>
                    </a:lnTo>
                    <a:lnTo>
                      <a:pt x="981" y="987"/>
                    </a:lnTo>
                    <a:lnTo>
                      <a:pt x="979" y="987"/>
                    </a:lnTo>
                    <a:lnTo>
                      <a:pt x="978" y="989"/>
                    </a:lnTo>
                    <a:lnTo>
                      <a:pt x="976" y="989"/>
                    </a:lnTo>
                    <a:lnTo>
                      <a:pt x="974" y="989"/>
                    </a:lnTo>
                    <a:lnTo>
                      <a:pt x="973" y="989"/>
                    </a:lnTo>
                    <a:lnTo>
                      <a:pt x="971" y="989"/>
                    </a:lnTo>
                    <a:lnTo>
                      <a:pt x="970" y="989"/>
                    </a:lnTo>
                    <a:lnTo>
                      <a:pt x="968" y="989"/>
                    </a:lnTo>
                    <a:lnTo>
                      <a:pt x="968" y="991"/>
                    </a:lnTo>
                    <a:lnTo>
                      <a:pt x="968" y="989"/>
                    </a:lnTo>
                    <a:lnTo>
                      <a:pt x="966" y="989"/>
                    </a:lnTo>
                    <a:lnTo>
                      <a:pt x="965" y="989"/>
                    </a:lnTo>
                    <a:lnTo>
                      <a:pt x="963" y="989"/>
                    </a:lnTo>
                    <a:lnTo>
                      <a:pt x="962" y="989"/>
                    </a:lnTo>
                    <a:lnTo>
                      <a:pt x="960" y="989"/>
                    </a:lnTo>
                    <a:lnTo>
                      <a:pt x="958" y="989"/>
                    </a:lnTo>
                    <a:lnTo>
                      <a:pt x="957" y="991"/>
                    </a:lnTo>
                    <a:lnTo>
                      <a:pt x="955" y="991"/>
                    </a:lnTo>
                    <a:lnTo>
                      <a:pt x="954" y="991"/>
                    </a:lnTo>
                    <a:lnTo>
                      <a:pt x="952" y="991"/>
                    </a:lnTo>
                    <a:lnTo>
                      <a:pt x="952" y="992"/>
                    </a:lnTo>
                    <a:lnTo>
                      <a:pt x="951" y="992"/>
                    </a:lnTo>
                    <a:lnTo>
                      <a:pt x="949" y="992"/>
                    </a:lnTo>
                    <a:lnTo>
                      <a:pt x="947" y="992"/>
                    </a:lnTo>
                    <a:lnTo>
                      <a:pt x="946" y="992"/>
                    </a:lnTo>
                    <a:lnTo>
                      <a:pt x="944" y="992"/>
                    </a:lnTo>
                    <a:lnTo>
                      <a:pt x="943" y="992"/>
                    </a:lnTo>
                    <a:lnTo>
                      <a:pt x="943" y="994"/>
                    </a:lnTo>
                    <a:lnTo>
                      <a:pt x="941" y="992"/>
                    </a:lnTo>
                    <a:lnTo>
                      <a:pt x="939" y="992"/>
                    </a:lnTo>
                    <a:lnTo>
                      <a:pt x="939" y="994"/>
                    </a:lnTo>
                    <a:lnTo>
                      <a:pt x="938" y="994"/>
                    </a:lnTo>
                    <a:lnTo>
                      <a:pt x="938" y="992"/>
                    </a:lnTo>
                    <a:lnTo>
                      <a:pt x="936" y="992"/>
                    </a:lnTo>
                    <a:lnTo>
                      <a:pt x="935" y="992"/>
                    </a:lnTo>
                    <a:lnTo>
                      <a:pt x="935" y="994"/>
                    </a:lnTo>
                    <a:lnTo>
                      <a:pt x="935" y="995"/>
                    </a:lnTo>
                    <a:lnTo>
                      <a:pt x="936" y="997"/>
                    </a:lnTo>
                    <a:lnTo>
                      <a:pt x="936" y="999"/>
                    </a:lnTo>
                    <a:lnTo>
                      <a:pt x="936" y="1000"/>
                    </a:lnTo>
                    <a:lnTo>
                      <a:pt x="935" y="1000"/>
                    </a:lnTo>
                    <a:lnTo>
                      <a:pt x="935" y="1002"/>
                    </a:lnTo>
                    <a:lnTo>
                      <a:pt x="935" y="1003"/>
                    </a:lnTo>
                    <a:lnTo>
                      <a:pt x="935" y="1005"/>
                    </a:lnTo>
                    <a:lnTo>
                      <a:pt x="935" y="1006"/>
                    </a:lnTo>
                    <a:lnTo>
                      <a:pt x="935" y="1008"/>
                    </a:lnTo>
                    <a:lnTo>
                      <a:pt x="933" y="1008"/>
                    </a:lnTo>
                    <a:lnTo>
                      <a:pt x="932" y="1008"/>
                    </a:lnTo>
                    <a:lnTo>
                      <a:pt x="932" y="1010"/>
                    </a:lnTo>
                    <a:lnTo>
                      <a:pt x="932" y="1011"/>
                    </a:lnTo>
                    <a:lnTo>
                      <a:pt x="933" y="1011"/>
                    </a:lnTo>
                    <a:lnTo>
                      <a:pt x="933" y="1013"/>
                    </a:lnTo>
                    <a:lnTo>
                      <a:pt x="935" y="1013"/>
                    </a:lnTo>
                    <a:lnTo>
                      <a:pt x="935" y="1014"/>
                    </a:lnTo>
                    <a:lnTo>
                      <a:pt x="933" y="1014"/>
                    </a:lnTo>
                    <a:lnTo>
                      <a:pt x="932" y="1014"/>
                    </a:lnTo>
                    <a:lnTo>
                      <a:pt x="930" y="1014"/>
                    </a:lnTo>
                    <a:lnTo>
                      <a:pt x="930" y="1016"/>
                    </a:lnTo>
                    <a:lnTo>
                      <a:pt x="930" y="1018"/>
                    </a:lnTo>
                    <a:lnTo>
                      <a:pt x="930" y="1019"/>
                    </a:lnTo>
                    <a:lnTo>
                      <a:pt x="932" y="1019"/>
                    </a:lnTo>
                    <a:lnTo>
                      <a:pt x="932" y="1021"/>
                    </a:lnTo>
                    <a:lnTo>
                      <a:pt x="930" y="1021"/>
                    </a:lnTo>
                    <a:lnTo>
                      <a:pt x="930" y="1022"/>
                    </a:lnTo>
                    <a:lnTo>
                      <a:pt x="928" y="1022"/>
                    </a:lnTo>
                    <a:lnTo>
                      <a:pt x="928" y="1024"/>
                    </a:lnTo>
                    <a:lnTo>
                      <a:pt x="928" y="1025"/>
                    </a:lnTo>
                    <a:lnTo>
                      <a:pt x="928" y="1027"/>
                    </a:lnTo>
                    <a:lnTo>
                      <a:pt x="928" y="1029"/>
                    </a:lnTo>
                    <a:lnTo>
                      <a:pt x="927" y="1029"/>
                    </a:lnTo>
                    <a:lnTo>
                      <a:pt x="925" y="1029"/>
                    </a:lnTo>
                    <a:lnTo>
                      <a:pt x="925" y="1030"/>
                    </a:lnTo>
                    <a:lnTo>
                      <a:pt x="924" y="1030"/>
                    </a:lnTo>
                    <a:lnTo>
                      <a:pt x="922" y="1030"/>
                    </a:lnTo>
                    <a:lnTo>
                      <a:pt x="922" y="1032"/>
                    </a:lnTo>
                    <a:lnTo>
                      <a:pt x="920" y="1032"/>
                    </a:lnTo>
                    <a:lnTo>
                      <a:pt x="920" y="1033"/>
                    </a:lnTo>
                    <a:lnTo>
                      <a:pt x="919" y="1033"/>
                    </a:lnTo>
                    <a:lnTo>
                      <a:pt x="919" y="1035"/>
                    </a:lnTo>
                    <a:lnTo>
                      <a:pt x="917" y="1035"/>
                    </a:lnTo>
                    <a:lnTo>
                      <a:pt x="917" y="1037"/>
                    </a:lnTo>
                    <a:lnTo>
                      <a:pt x="919" y="1037"/>
                    </a:lnTo>
                    <a:lnTo>
                      <a:pt x="919" y="1038"/>
                    </a:lnTo>
                    <a:lnTo>
                      <a:pt x="920" y="1040"/>
                    </a:lnTo>
                    <a:lnTo>
                      <a:pt x="920" y="1041"/>
                    </a:lnTo>
                    <a:lnTo>
                      <a:pt x="922" y="1043"/>
                    </a:lnTo>
                    <a:lnTo>
                      <a:pt x="920" y="1044"/>
                    </a:lnTo>
                    <a:lnTo>
                      <a:pt x="919" y="1044"/>
                    </a:lnTo>
                    <a:lnTo>
                      <a:pt x="919" y="1046"/>
                    </a:lnTo>
                    <a:lnTo>
                      <a:pt x="920" y="1048"/>
                    </a:lnTo>
                    <a:lnTo>
                      <a:pt x="920" y="1049"/>
                    </a:lnTo>
                    <a:lnTo>
                      <a:pt x="919" y="1049"/>
                    </a:lnTo>
                    <a:lnTo>
                      <a:pt x="919" y="1051"/>
                    </a:lnTo>
                    <a:lnTo>
                      <a:pt x="917" y="1051"/>
                    </a:lnTo>
                    <a:lnTo>
                      <a:pt x="916" y="1051"/>
                    </a:lnTo>
                    <a:lnTo>
                      <a:pt x="916" y="1052"/>
                    </a:lnTo>
                    <a:lnTo>
                      <a:pt x="914" y="1052"/>
                    </a:lnTo>
                    <a:lnTo>
                      <a:pt x="914" y="1054"/>
                    </a:lnTo>
                    <a:lnTo>
                      <a:pt x="913" y="1054"/>
                    </a:lnTo>
                    <a:lnTo>
                      <a:pt x="913" y="1056"/>
                    </a:lnTo>
                    <a:lnTo>
                      <a:pt x="913" y="1057"/>
                    </a:lnTo>
                    <a:lnTo>
                      <a:pt x="911" y="1057"/>
                    </a:lnTo>
                    <a:lnTo>
                      <a:pt x="909" y="1057"/>
                    </a:lnTo>
                    <a:lnTo>
                      <a:pt x="906" y="1057"/>
                    </a:lnTo>
                    <a:lnTo>
                      <a:pt x="906" y="1059"/>
                    </a:lnTo>
                    <a:lnTo>
                      <a:pt x="905" y="1059"/>
                    </a:lnTo>
                    <a:lnTo>
                      <a:pt x="903" y="1059"/>
                    </a:lnTo>
                    <a:lnTo>
                      <a:pt x="903" y="1057"/>
                    </a:lnTo>
                    <a:lnTo>
                      <a:pt x="901" y="1057"/>
                    </a:lnTo>
                    <a:lnTo>
                      <a:pt x="900" y="1057"/>
                    </a:lnTo>
                    <a:lnTo>
                      <a:pt x="900" y="1056"/>
                    </a:lnTo>
                    <a:lnTo>
                      <a:pt x="900" y="1054"/>
                    </a:lnTo>
                    <a:lnTo>
                      <a:pt x="900" y="1052"/>
                    </a:lnTo>
                    <a:lnTo>
                      <a:pt x="898" y="1052"/>
                    </a:lnTo>
                    <a:lnTo>
                      <a:pt x="897" y="1052"/>
                    </a:lnTo>
                    <a:lnTo>
                      <a:pt x="895" y="1052"/>
                    </a:lnTo>
                    <a:lnTo>
                      <a:pt x="895" y="1054"/>
                    </a:lnTo>
                    <a:lnTo>
                      <a:pt x="894" y="1054"/>
                    </a:lnTo>
                    <a:lnTo>
                      <a:pt x="894" y="1056"/>
                    </a:lnTo>
                    <a:lnTo>
                      <a:pt x="894" y="1057"/>
                    </a:lnTo>
                    <a:lnTo>
                      <a:pt x="892" y="1057"/>
                    </a:lnTo>
                    <a:lnTo>
                      <a:pt x="892" y="1059"/>
                    </a:lnTo>
                    <a:lnTo>
                      <a:pt x="892" y="1060"/>
                    </a:lnTo>
                    <a:lnTo>
                      <a:pt x="890" y="1060"/>
                    </a:lnTo>
                    <a:lnTo>
                      <a:pt x="890" y="1062"/>
                    </a:lnTo>
                    <a:lnTo>
                      <a:pt x="890" y="1063"/>
                    </a:lnTo>
                    <a:lnTo>
                      <a:pt x="892" y="1065"/>
                    </a:lnTo>
                    <a:lnTo>
                      <a:pt x="892" y="1067"/>
                    </a:lnTo>
                    <a:lnTo>
                      <a:pt x="890" y="1067"/>
                    </a:lnTo>
                    <a:lnTo>
                      <a:pt x="890" y="1068"/>
                    </a:lnTo>
                    <a:lnTo>
                      <a:pt x="889" y="1068"/>
                    </a:lnTo>
                    <a:lnTo>
                      <a:pt x="889" y="1067"/>
                    </a:lnTo>
                    <a:lnTo>
                      <a:pt x="887" y="1067"/>
                    </a:lnTo>
                    <a:lnTo>
                      <a:pt x="886" y="1067"/>
                    </a:lnTo>
                    <a:lnTo>
                      <a:pt x="886" y="1068"/>
                    </a:lnTo>
                    <a:lnTo>
                      <a:pt x="884" y="1068"/>
                    </a:lnTo>
                    <a:lnTo>
                      <a:pt x="884" y="1070"/>
                    </a:lnTo>
                    <a:lnTo>
                      <a:pt x="884" y="1071"/>
                    </a:lnTo>
                    <a:lnTo>
                      <a:pt x="884" y="1073"/>
                    </a:lnTo>
                    <a:lnTo>
                      <a:pt x="882" y="1073"/>
                    </a:lnTo>
                    <a:lnTo>
                      <a:pt x="881" y="1073"/>
                    </a:lnTo>
                    <a:lnTo>
                      <a:pt x="879" y="1073"/>
                    </a:lnTo>
                    <a:lnTo>
                      <a:pt x="878" y="1071"/>
                    </a:lnTo>
                    <a:lnTo>
                      <a:pt x="876" y="1071"/>
                    </a:lnTo>
                    <a:lnTo>
                      <a:pt x="875" y="1071"/>
                    </a:lnTo>
                    <a:lnTo>
                      <a:pt x="875" y="1073"/>
                    </a:lnTo>
                    <a:lnTo>
                      <a:pt x="873" y="1073"/>
                    </a:lnTo>
                    <a:lnTo>
                      <a:pt x="871" y="1073"/>
                    </a:lnTo>
                    <a:lnTo>
                      <a:pt x="870" y="1073"/>
                    </a:lnTo>
                    <a:lnTo>
                      <a:pt x="870" y="1071"/>
                    </a:lnTo>
                    <a:lnTo>
                      <a:pt x="870" y="1070"/>
                    </a:lnTo>
                    <a:lnTo>
                      <a:pt x="868" y="1070"/>
                    </a:lnTo>
                    <a:lnTo>
                      <a:pt x="868" y="1068"/>
                    </a:lnTo>
                    <a:lnTo>
                      <a:pt x="867" y="1068"/>
                    </a:lnTo>
                    <a:lnTo>
                      <a:pt x="865" y="1068"/>
                    </a:lnTo>
                    <a:lnTo>
                      <a:pt x="865" y="1070"/>
                    </a:lnTo>
                    <a:lnTo>
                      <a:pt x="863" y="1070"/>
                    </a:lnTo>
                    <a:lnTo>
                      <a:pt x="863" y="1071"/>
                    </a:lnTo>
                    <a:lnTo>
                      <a:pt x="862" y="1071"/>
                    </a:lnTo>
                    <a:lnTo>
                      <a:pt x="860" y="1071"/>
                    </a:lnTo>
                    <a:lnTo>
                      <a:pt x="860" y="1073"/>
                    </a:lnTo>
                    <a:lnTo>
                      <a:pt x="859" y="1073"/>
                    </a:lnTo>
                    <a:lnTo>
                      <a:pt x="859" y="1075"/>
                    </a:lnTo>
                    <a:lnTo>
                      <a:pt x="857" y="1075"/>
                    </a:lnTo>
                    <a:lnTo>
                      <a:pt x="856" y="1075"/>
                    </a:lnTo>
                    <a:lnTo>
                      <a:pt x="856" y="1076"/>
                    </a:lnTo>
                    <a:lnTo>
                      <a:pt x="854" y="1076"/>
                    </a:lnTo>
                    <a:lnTo>
                      <a:pt x="854" y="1078"/>
                    </a:lnTo>
                    <a:lnTo>
                      <a:pt x="852" y="1078"/>
                    </a:lnTo>
                    <a:lnTo>
                      <a:pt x="851" y="1078"/>
                    </a:lnTo>
                    <a:lnTo>
                      <a:pt x="851" y="1079"/>
                    </a:lnTo>
                    <a:lnTo>
                      <a:pt x="849" y="1079"/>
                    </a:lnTo>
                    <a:lnTo>
                      <a:pt x="849" y="1081"/>
                    </a:lnTo>
                    <a:lnTo>
                      <a:pt x="848" y="1081"/>
                    </a:lnTo>
                    <a:lnTo>
                      <a:pt x="846" y="1081"/>
                    </a:lnTo>
                    <a:lnTo>
                      <a:pt x="846" y="1083"/>
                    </a:lnTo>
                    <a:lnTo>
                      <a:pt x="846" y="1084"/>
                    </a:lnTo>
                    <a:lnTo>
                      <a:pt x="844" y="1086"/>
                    </a:lnTo>
                    <a:lnTo>
                      <a:pt x="843" y="1086"/>
                    </a:lnTo>
                    <a:lnTo>
                      <a:pt x="841" y="1087"/>
                    </a:lnTo>
                    <a:lnTo>
                      <a:pt x="841" y="1089"/>
                    </a:lnTo>
                    <a:lnTo>
                      <a:pt x="840" y="1089"/>
                    </a:lnTo>
                    <a:lnTo>
                      <a:pt x="838" y="1089"/>
                    </a:lnTo>
                    <a:lnTo>
                      <a:pt x="838" y="1087"/>
                    </a:lnTo>
                    <a:lnTo>
                      <a:pt x="838" y="1086"/>
                    </a:lnTo>
                    <a:lnTo>
                      <a:pt x="837" y="1086"/>
                    </a:lnTo>
                    <a:lnTo>
                      <a:pt x="835" y="1086"/>
                    </a:lnTo>
                    <a:lnTo>
                      <a:pt x="833" y="1086"/>
                    </a:lnTo>
                    <a:lnTo>
                      <a:pt x="832" y="1087"/>
                    </a:lnTo>
                    <a:lnTo>
                      <a:pt x="832" y="1089"/>
                    </a:lnTo>
                    <a:lnTo>
                      <a:pt x="830" y="1090"/>
                    </a:lnTo>
                    <a:lnTo>
                      <a:pt x="830" y="1092"/>
                    </a:lnTo>
                    <a:lnTo>
                      <a:pt x="830" y="1094"/>
                    </a:lnTo>
                    <a:lnTo>
                      <a:pt x="830" y="1095"/>
                    </a:lnTo>
                    <a:lnTo>
                      <a:pt x="829" y="1095"/>
                    </a:lnTo>
                    <a:lnTo>
                      <a:pt x="829" y="1094"/>
                    </a:lnTo>
                    <a:lnTo>
                      <a:pt x="827" y="1094"/>
                    </a:lnTo>
                    <a:lnTo>
                      <a:pt x="825" y="1094"/>
                    </a:lnTo>
                    <a:lnTo>
                      <a:pt x="824" y="1094"/>
                    </a:lnTo>
                    <a:lnTo>
                      <a:pt x="822" y="1094"/>
                    </a:lnTo>
                    <a:lnTo>
                      <a:pt x="821" y="1094"/>
                    </a:lnTo>
                    <a:lnTo>
                      <a:pt x="819" y="1094"/>
                    </a:lnTo>
                    <a:lnTo>
                      <a:pt x="819" y="1095"/>
                    </a:lnTo>
                    <a:lnTo>
                      <a:pt x="819" y="1097"/>
                    </a:lnTo>
                    <a:lnTo>
                      <a:pt x="821" y="1097"/>
                    </a:lnTo>
                    <a:lnTo>
                      <a:pt x="821" y="1098"/>
                    </a:lnTo>
                    <a:lnTo>
                      <a:pt x="819" y="1098"/>
                    </a:lnTo>
                    <a:lnTo>
                      <a:pt x="818" y="1098"/>
                    </a:lnTo>
                    <a:lnTo>
                      <a:pt x="816" y="1098"/>
                    </a:lnTo>
                    <a:lnTo>
                      <a:pt x="814" y="1100"/>
                    </a:lnTo>
                    <a:lnTo>
                      <a:pt x="814" y="1102"/>
                    </a:lnTo>
                    <a:lnTo>
                      <a:pt x="814" y="1103"/>
                    </a:lnTo>
                    <a:lnTo>
                      <a:pt x="814" y="1105"/>
                    </a:lnTo>
                    <a:lnTo>
                      <a:pt x="813" y="1105"/>
                    </a:lnTo>
                    <a:lnTo>
                      <a:pt x="811" y="1105"/>
                    </a:lnTo>
                    <a:lnTo>
                      <a:pt x="811" y="1103"/>
                    </a:lnTo>
                    <a:lnTo>
                      <a:pt x="810" y="1103"/>
                    </a:lnTo>
                    <a:lnTo>
                      <a:pt x="810" y="1105"/>
                    </a:lnTo>
                    <a:lnTo>
                      <a:pt x="810" y="1106"/>
                    </a:lnTo>
                    <a:lnTo>
                      <a:pt x="810" y="1108"/>
                    </a:lnTo>
                    <a:lnTo>
                      <a:pt x="808" y="1108"/>
                    </a:lnTo>
                    <a:lnTo>
                      <a:pt x="806" y="1108"/>
                    </a:lnTo>
                    <a:lnTo>
                      <a:pt x="805" y="1108"/>
                    </a:lnTo>
                    <a:lnTo>
                      <a:pt x="803" y="1108"/>
                    </a:lnTo>
                    <a:lnTo>
                      <a:pt x="802" y="1108"/>
                    </a:lnTo>
                    <a:lnTo>
                      <a:pt x="800" y="1108"/>
                    </a:lnTo>
                    <a:lnTo>
                      <a:pt x="800" y="1109"/>
                    </a:lnTo>
                    <a:lnTo>
                      <a:pt x="799" y="1109"/>
                    </a:lnTo>
                    <a:lnTo>
                      <a:pt x="797" y="1109"/>
                    </a:lnTo>
                    <a:lnTo>
                      <a:pt x="797" y="1111"/>
                    </a:lnTo>
                    <a:lnTo>
                      <a:pt x="795" y="1111"/>
                    </a:lnTo>
                    <a:lnTo>
                      <a:pt x="795" y="1113"/>
                    </a:lnTo>
                    <a:lnTo>
                      <a:pt x="795" y="1114"/>
                    </a:lnTo>
                    <a:lnTo>
                      <a:pt x="794" y="1114"/>
                    </a:lnTo>
                    <a:lnTo>
                      <a:pt x="792" y="1114"/>
                    </a:lnTo>
                    <a:lnTo>
                      <a:pt x="791" y="1114"/>
                    </a:lnTo>
                    <a:lnTo>
                      <a:pt x="789" y="1114"/>
                    </a:lnTo>
                    <a:lnTo>
                      <a:pt x="787" y="1114"/>
                    </a:lnTo>
                    <a:lnTo>
                      <a:pt x="787" y="1116"/>
                    </a:lnTo>
                    <a:lnTo>
                      <a:pt x="786" y="1116"/>
                    </a:lnTo>
                    <a:lnTo>
                      <a:pt x="784" y="1116"/>
                    </a:lnTo>
                    <a:lnTo>
                      <a:pt x="784" y="1117"/>
                    </a:lnTo>
                    <a:lnTo>
                      <a:pt x="783" y="1117"/>
                    </a:lnTo>
                    <a:lnTo>
                      <a:pt x="781" y="1117"/>
                    </a:lnTo>
                    <a:lnTo>
                      <a:pt x="781" y="1116"/>
                    </a:lnTo>
                    <a:lnTo>
                      <a:pt x="780" y="1116"/>
                    </a:lnTo>
                    <a:lnTo>
                      <a:pt x="778" y="1116"/>
                    </a:lnTo>
                    <a:lnTo>
                      <a:pt x="776" y="1116"/>
                    </a:lnTo>
                    <a:lnTo>
                      <a:pt x="776" y="1117"/>
                    </a:lnTo>
                    <a:lnTo>
                      <a:pt x="776" y="1119"/>
                    </a:lnTo>
                    <a:lnTo>
                      <a:pt x="776" y="1121"/>
                    </a:lnTo>
                    <a:lnTo>
                      <a:pt x="778" y="1121"/>
                    </a:lnTo>
                    <a:lnTo>
                      <a:pt x="778" y="1122"/>
                    </a:lnTo>
                    <a:lnTo>
                      <a:pt x="776" y="1124"/>
                    </a:lnTo>
                    <a:lnTo>
                      <a:pt x="775" y="1124"/>
                    </a:lnTo>
                    <a:lnTo>
                      <a:pt x="773" y="1124"/>
                    </a:lnTo>
                    <a:lnTo>
                      <a:pt x="773" y="1122"/>
                    </a:lnTo>
                    <a:lnTo>
                      <a:pt x="772" y="1122"/>
                    </a:lnTo>
                    <a:lnTo>
                      <a:pt x="772" y="1121"/>
                    </a:lnTo>
                    <a:lnTo>
                      <a:pt x="770" y="1121"/>
                    </a:lnTo>
                    <a:lnTo>
                      <a:pt x="770" y="1119"/>
                    </a:lnTo>
                    <a:lnTo>
                      <a:pt x="768" y="1119"/>
                    </a:lnTo>
                    <a:lnTo>
                      <a:pt x="767" y="1119"/>
                    </a:lnTo>
                    <a:lnTo>
                      <a:pt x="765" y="1119"/>
                    </a:lnTo>
                    <a:lnTo>
                      <a:pt x="765" y="1121"/>
                    </a:lnTo>
                    <a:lnTo>
                      <a:pt x="764" y="1121"/>
                    </a:lnTo>
                    <a:lnTo>
                      <a:pt x="762" y="1122"/>
                    </a:lnTo>
                    <a:lnTo>
                      <a:pt x="760" y="1122"/>
                    </a:lnTo>
                    <a:lnTo>
                      <a:pt x="760" y="1124"/>
                    </a:lnTo>
                    <a:lnTo>
                      <a:pt x="759" y="1124"/>
                    </a:lnTo>
                    <a:lnTo>
                      <a:pt x="759" y="1125"/>
                    </a:lnTo>
                    <a:lnTo>
                      <a:pt x="757" y="1125"/>
                    </a:lnTo>
                    <a:lnTo>
                      <a:pt x="756" y="1124"/>
                    </a:lnTo>
                    <a:lnTo>
                      <a:pt x="756" y="1125"/>
                    </a:lnTo>
                    <a:lnTo>
                      <a:pt x="754" y="1125"/>
                    </a:lnTo>
                    <a:lnTo>
                      <a:pt x="754" y="1127"/>
                    </a:lnTo>
                    <a:lnTo>
                      <a:pt x="754" y="1128"/>
                    </a:lnTo>
                    <a:lnTo>
                      <a:pt x="754" y="1130"/>
                    </a:lnTo>
                    <a:lnTo>
                      <a:pt x="753" y="1130"/>
                    </a:lnTo>
                    <a:lnTo>
                      <a:pt x="753" y="1128"/>
                    </a:lnTo>
                    <a:lnTo>
                      <a:pt x="751" y="1128"/>
                    </a:lnTo>
                    <a:lnTo>
                      <a:pt x="749" y="1128"/>
                    </a:lnTo>
                    <a:lnTo>
                      <a:pt x="749" y="1130"/>
                    </a:lnTo>
                    <a:lnTo>
                      <a:pt x="749" y="1132"/>
                    </a:lnTo>
                    <a:lnTo>
                      <a:pt x="748" y="1132"/>
                    </a:lnTo>
                    <a:lnTo>
                      <a:pt x="746" y="1133"/>
                    </a:lnTo>
                    <a:lnTo>
                      <a:pt x="745" y="1135"/>
                    </a:lnTo>
                    <a:lnTo>
                      <a:pt x="745" y="1136"/>
                    </a:lnTo>
                    <a:lnTo>
                      <a:pt x="743" y="1136"/>
                    </a:lnTo>
                    <a:lnTo>
                      <a:pt x="743" y="1138"/>
                    </a:lnTo>
                    <a:lnTo>
                      <a:pt x="741" y="1138"/>
                    </a:lnTo>
                    <a:lnTo>
                      <a:pt x="740" y="1138"/>
                    </a:lnTo>
                    <a:lnTo>
                      <a:pt x="738" y="1138"/>
                    </a:lnTo>
                    <a:lnTo>
                      <a:pt x="738" y="1140"/>
                    </a:lnTo>
                    <a:lnTo>
                      <a:pt x="737" y="1140"/>
                    </a:lnTo>
                    <a:lnTo>
                      <a:pt x="735" y="1140"/>
                    </a:lnTo>
                    <a:lnTo>
                      <a:pt x="734" y="1140"/>
                    </a:lnTo>
                    <a:lnTo>
                      <a:pt x="732" y="1140"/>
                    </a:lnTo>
                    <a:lnTo>
                      <a:pt x="732" y="1141"/>
                    </a:lnTo>
                    <a:lnTo>
                      <a:pt x="730" y="1141"/>
                    </a:lnTo>
                    <a:lnTo>
                      <a:pt x="730" y="1140"/>
                    </a:lnTo>
                    <a:lnTo>
                      <a:pt x="730" y="1141"/>
                    </a:lnTo>
                    <a:lnTo>
                      <a:pt x="729" y="1141"/>
                    </a:lnTo>
                    <a:lnTo>
                      <a:pt x="729" y="1143"/>
                    </a:lnTo>
                    <a:lnTo>
                      <a:pt x="727" y="1143"/>
                    </a:lnTo>
                    <a:lnTo>
                      <a:pt x="726" y="1141"/>
                    </a:lnTo>
                    <a:lnTo>
                      <a:pt x="724" y="1141"/>
                    </a:lnTo>
                    <a:lnTo>
                      <a:pt x="724" y="1140"/>
                    </a:lnTo>
                    <a:lnTo>
                      <a:pt x="722" y="1140"/>
                    </a:lnTo>
                    <a:lnTo>
                      <a:pt x="722" y="1141"/>
                    </a:lnTo>
                    <a:lnTo>
                      <a:pt x="722" y="1143"/>
                    </a:lnTo>
                    <a:lnTo>
                      <a:pt x="722" y="1144"/>
                    </a:lnTo>
                    <a:lnTo>
                      <a:pt x="721" y="1144"/>
                    </a:lnTo>
                    <a:lnTo>
                      <a:pt x="721" y="1146"/>
                    </a:lnTo>
                    <a:lnTo>
                      <a:pt x="719" y="1146"/>
                    </a:lnTo>
                    <a:lnTo>
                      <a:pt x="719" y="1144"/>
                    </a:lnTo>
                    <a:lnTo>
                      <a:pt x="718" y="1144"/>
                    </a:lnTo>
                    <a:lnTo>
                      <a:pt x="716" y="1144"/>
                    </a:lnTo>
                    <a:lnTo>
                      <a:pt x="715" y="1144"/>
                    </a:lnTo>
                    <a:lnTo>
                      <a:pt x="713" y="1144"/>
                    </a:lnTo>
                    <a:lnTo>
                      <a:pt x="711" y="1144"/>
                    </a:lnTo>
                    <a:lnTo>
                      <a:pt x="710" y="1146"/>
                    </a:lnTo>
                    <a:lnTo>
                      <a:pt x="708" y="1146"/>
                    </a:lnTo>
                    <a:lnTo>
                      <a:pt x="707" y="1146"/>
                    </a:lnTo>
                    <a:lnTo>
                      <a:pt x="707" y="1144"/>
                    </a:lnTo>
                    <a:lnTo>
                      <a:pt x="707" y="1143"/>
                    </a:lnTo>
                    <a:lnTo>
                      <a:pt x="705" y="1143"/>
                    </a:lnTo>
                    <a:lnTo>
                      <a:pt x="705" y="1141"/>
                    </a:lnTo>
                    <a:lnTo>
                      <a:pt x="703" y="1140"/>
                    </a:lnTo>
                    <a:lnTo>
                      <a:pt x="702" y="1140"/>
                    </a:lnTo>
                    <a:lnTo>
                      <a:pt x="702" y="1138"/>
                    </a:lnTo>
                    <a:lnTo>
                      <a:pt x="702" y="1140"/>
                    </a:lnTo>
                    <a:lnTo>
                      <a:pt x="702" y="1138"/>
                    </a:lnTo>
                    <a:lnTo>
                      <a:pt x="700" y="1140"/>
                    </a:lnTo>
                    <a:lnTo>
                      <a:pt x="699" y="1140"/>
                    </a:lnTo>
                    <a:lnTo>
                      <a:pt x="697" y="1140"/>
                    </a:lnTo>
                    <a:lnTo>
                      <a:pt x="697" y="1138"/>
                    </a:lnTo>
                    <a:lnTo>
                      <a:pt x="696" y="1138"/>
                    </a:lnTo>
                    <a:lnTo>
                      <a:pt x="694" y="1136"/>
                    </a:lnTo>
                    <a:lnTo>
                      <a:pt x="694" y="1135"/>
                    </a:lnTo>
                    <a:lnTo>
                      <a:pt x="692" y="1135"/>
                    </a:lnTo>
                    <a:lnTo>
                      <a:pt x="692" y="1133"/>
                    </a:lnTo>
                    <a:lnTo>
                      <a:pt x="691" y="1133"/>
                    </a:lnTo>
                    <a:lnTo>
                      <a:pt x="691" y="1132"/>
                    </a:lnTo>
                    <a:lnTo>
                      <a:pt x="689" y="1132"/>
                    </a:lnTo>
                    <a:lnTo>
                      <a:pt x="688" y="1132"/>
                    </a:lnTo>
                    <a:lnTo>
                      <a:pt x="686" y="1132"/>
                    </a:lnTo>
                    <a:lnTo>
                      <a:pt x="686" y="1130"/>
                    </a:lnTo>
                    <a:lnTo>
                      <a:pt x="684" y="1130"/>
                    </a:lnTo>
                    <a:lnTo>
                      <a:pt x="684" y="1128"/>
                    </a:lnTo>
                    <a:lnTo>
                      <a:pt x="684" y="1127"/>
                    </a:lnTo>
                    <a:lnTo>
                      <a:pt x="684" y="1125"/>
                    </a:lnTo>
                    <a:lnTo>
                      <a:pt x="683" y="1125"/>
                    </a:lnTo>
                    <a:lnTo>
                      <a:pt x="681" y="1124"/>
                    </a:lnTo>
                    <a:lnTo>
                      <a:pt x="680" y="1124"/>
                    </a:lnTo>
                    <a:lnTo>
                      <a:pt x="680" y="1122"/>
                    </a:lnTo>
                    <a:lnTo>
                      <a:pt x="678" y="1122"/>
                    </a:lnTo>
                    <a:lnTo>
                      <a:pt x="677" y="1122"/>
                    </a:lnTo>
                    <a:lnTo>
                      <a:pt x="677" y="1121"/>
                    </a:lnTo>
                    <a:lnTo>
                      <a:pt x="677" y="1119"/>
                    </a:lnTo>
                    <a:lnTo>
                      <a:pt x="677" y="1117"/>
                    </a:lnTo>
                    <a:lnTo>
                      <a:pt x="677" y="1116"/>
                    </a:lnTo>
                    <a:lnTo>
                      <a:pt x="675" y="1116"/>
                    </a:lnTo>
                    <a:lnTo>
                      <a:pt x="673" y="1116"/>
                    </a:lnTo>
                    <a:lnTo>
                      <a:pt x="672" y="1116"/>
                    </a:lnTo>
                    <a:lnTo>
                      <a:pt x="670" y="1114"/>
                    </a:lnTo>
                    <a:lnTo>
                      <a:pt x="669" y="1114"/>
                    </a:lnTo>
                    <a:lnTo>
                      <a:pt x="669" y="1113"/>
                    </a:lnTo>
                    <a:lnTo>
                      <a:pt x="667" y="1113"/>
                    </a:lnTo>
                    <a:lnTo>
                      <a:pt x="667" y="1111"/>
                    </a:lnTo>
                    <a:lnTo>
                      <a:pt x="665" y="1111"/>
                    </a:lnTo>
                    <a:lnTo>
                      <a:pt x="665" y="1109"/>
                    </a:lnTo>
                    <a:lnTo>
                      <a:pt x="665" y="1108"/>
                    </a:lnTo>
                    <a:lnTo>
                      <a:pt x="665" y="1106"/>
                    </a:lnTo>
                    <a:lnTo>
                      <a:pt x="664" y="1106"/>
                    </a:lnTo>
                    <a:lnTo>
                      <a:pt x="664" y="1105"/>
                    </a:lnTo>
                    <a:lnTo>
                      <a:pt x="662" y="1105"/>
                    </a:lnTo>
                    <a:lnTo>
                      <a:pt x="662" y="1103"/>
                    </a:lnTo>
                    <a:lnTo>
                      <a:pt x="661" y="1102"/>
                    </a:lnTo>
                    <a:lnTo>
                      <a:pt x="659" y="1100"/>
                    </a:lnTo>
                    <a:lnTo>
                      <a:pt x="658" y="1100"/>
                    </a:lnTo>
                    <a:lnTo>
                      <a:pt x="658" y="1098"/>
                    </a:lnTo>
                    <a:lnTo>
                      <a:pt x="656" y="1098"/>
                    </a:lnTo>
                    <a:lnTo>
                      <a:pt x="654" y="1098"/>
                    </a:lnTo>
                    <a:lnTo>
                      <a:pt x="653" y="1098"/>
                    </a:lnTo>
                    <a:lnTo>
                      <a:pt x="653" y="1100"/>
                    </a:lnTo>
                    <a:lnTo>
                      <a:pt x="651" y="1100"/>
                    </a:lnTo>
                    <a:lnTo>
                      <a:pt x="650" y="1098"/>
                    </a:lnTo>
                    <a:lnTo>
                      <a:pt x="648" y="1098"/>
                    </a:lnTo>
                    <a:lnTo>
                      <a:pt x="646" y="1098"/>
                    </a:lnTo>
                    <a:lnTo>
                      <a:pt x="645" y="1098"/>
                    </a:lnTo>
                    <a:lnTo>
                      <a:pt x="645" y="1097"/>
                    </a:lnTo>
                    <a:lnTo>
                      <a:pt x="643" y="1097"/>
                    </a:lnTo>
                    <a:lnTo>
                      <a:pt x="643" y="1095"/>
                    </a:lnTo>
                    <a:lnTo>
                      <a:pt x="642" y="1095"/>
                    </a:lnTo>
                    <a:lnTo>
                      <a:pt x="640" y="1095"/>
                    </a:lnTo>
                    <a:lnTo>
                      <a:pt x="639" y="1095"/>
                    </a:lnTo>
                    <a:lnTo>
                      <a:pt x="637" y="1095"/>
                    </a:lnTo>
                    <a:lnTo>
                      <a:pt x="635" y="1095"/>
                    </a:lnTo>
                    <a:lnTo>
                      <a:pt x="634" y="1095"/>
                    </a:lnTo>
                    <a:lnTo>
                      <a:pt x="632" y="1094"/>
                    </a:lnTo>
                    <a:lnTo>
                      <a:pt x="631" y="1092"/>
                    </a:lnTo>
                    <a:lnTo>
                      <a:pt x="631" y="1090"/>
                    </a:lnTo>
                    <a:lnTo>
                      <a:pt x="629" y="1090"/>
                    </a:lnTo>
                    <a:lnTo>
                      <a:pt x="627" y="1089"/>
                    </a:lnTo>
                    <a:lnTo>
                      <a:pt x="626" y="1089"/>
                    </a:lnTo>
                    <a:lnTo>
                      <a:pt x="626" y="1087"/>
                    </a:lnTo>
                    <a:lnTo>
                      <a:pt x="624" y="1087"/>
                    </a:lnTo>
                    <a:lnTo>
                      <a:pt x="623" y="1087"/>
                    </a:lnTo>
                    <a:lnTo>
                      <a:pt x="623" y="1086"/>
                    </a:lnTo>
                    <a:lnTo>
                      <a:pt x="621" y="1086"/>
                    </a:lnTo>
                    <a:lnTo>
                      <a:pt x="620" y="1086"/>
                    </a:lnTo>
                    <a:lnTo>
                      <a:pt x="618" y="1086"/>
                    </a:lnTo>
                    <a:lnTo>
                      <a:pt x="616" y="1086"/>
                    </a:lnTo>
                    <a:lnTo>
                      <a:pt x="615" y="1086"/>
                    </a:lnTo>
                    <a:lnTo>
                      <a:pt x="615" y="1087"/>
                    </a:lnTo>
                    <a:lnTo>
                      <a:pt x="613" y="1087"/>
                    </a:lnTo>
                    <a:lnTo>
                      <a:pt x="612" y="1086"/>
                    </a:lnTo>
                    <a:lnTo>
                      <a:pt x="610" y="1086"/>
                    </a:lnTo>
                    <a:lnTo>
                      <a:pt x="608" y="1087"/>
                    </a:lnTo>
                    <a:lnTo>
                      <a:pt x="608" y="1089"/>
                    </a:lnTo>
                    <a:lnTo>
                      <a:pt x="607" y="1090"/>
                    </a:lnTo>
                    <a:lnTo>
                      <a:pt x="607" y="1092"/>
                    </a:lnTo>
                    <a:lnTo>
                      <a:pt x="607" y="1094"/>
                    </a:lnTo>
                    <a:lnTo>
                      <a:pt x="607" y="1095"/>
                    </a:lnTo>
                    <a:lnTo>
                      <a:pt x="605" y="1095"/>
                    </a:lnTo>
                    <a:lnTo>
                      <a:pt x="605" y="1097"/>
                    </a:lnTo>
                    <a:lnTo>
                      <a:pt x="604" y="1097"/>
                    </a:lnTo>
                    <a:lnTo>
                      <a:pt x="602" y="1097"/>
                    </a:lnTo>
                    <a:lnTo>
                      <a:pt x="601" y="1097"/>
                    </a:lnTo>
                    <a:lnTo>
                      <a:pt x="599" y="1097"/>
                    </a:lnTo>
                    <a:lnTo>
                      <a:pt x="599" y="1095"/>
                    </a:lnTo>
                    <a:lnTo>
                      <a:pt x="597" y="1095"/>
                    </a:lnTo>
                    <a:lnTo>
                      <a:pt x="597" y="1094"/>
                    </a:lnTo>
                    <a:lnTo>
                      <a:pt x="596" y="1092"/>
                    </a:lnTo>
                    <a:lnTo>
                      <a:pt x="594" y="1092"/>
                    </a:lnTo>
                    <a:lnTo>
                      <a:pt x="594" y="1090"/>
                    </a:lnTo>
                    <a:lnTo>
                      <a:pt x="593" y="1090"/>
                    </a:lnTo>
                    <a:lnTo>
                      <a:pt x="593" y="1089"/>
                    </a:lnTo>
                    <a:lnTo>
                      <a:pt x="593" y="1087"/>
                    </a:lnTo>
                    <a:lnTo>
                      <a:pt x="591" y="1087"/>
                    </a:lnTo>
                    <a:lnTo>
                      <a:pt x="591" y="1086"/>
                    </a:lnTo>
                    <a:lnTo>
                      <a:pt x="591" y="1084"/>
                    </a:lnTo>
                    <a:lnTo>
                      <a:pt x="591" y="1083"/>
                    </a:lnTo>
                    <a:lnTo>
                      <a:pt x="589" y="1083"/>
                    </a:lnTo>
                    <a:lnTo>
                      <a:pt x="589" y="1081"/>
                    </a:lnTo>
                    <a:lnTo>
                      <a:pt x="588" y="1081"/>
                    </a:lnTo>
                    <a:lnTo>
                      <a:pt x="588" y="1079"/>
                    </a:lnTo>
                    <a:lnTo>
                      <a:pt x="586" y="1079"/>
                    </a:lnTo>
                    <a:lnTo>
                      <a:pt x="585" y="1079"/>
                    </a:lnTo>
                    <a:lnTo>
                      <a:pt x="585" y="1078"/>
                    </a:lnTo>
                    <a:lnTo>
                      <a:pt x="583" y="1078"/>
                    </a:lnTo>
                    <a:lnTo>
                      <a:pt x="583" y="1076"/>
                    </a:lnTo>
                    <a:lnTo>
                      <a:pt x="581" y="1076"/>
                    </a:lnTo>
                    <a:lnTo>
                      <a:pt x="580" y="1076"/>
                    </a:lnTo>
                    <a:lnTo>
                      <a:pt x="578" y="1076"/>
                    </a:lnTo>
                    <a:lnTo>
                      <a:pt x="577" y="1076"/>
                    </a:lnTo>
                    <a:lnTo>
                      <a:pt x="575" y="1076"/>
                    </a:lnTo>
                    <a:lnTo>
                      <a:pt x="574" y="1076"/>
                    </a:lnTo>
                    <a:lnTo>
                      <a:pt x="572" y="1076"/>
                    </a:lnTo>
                    <a:lnTo>
                      <a:pt x="570" y="1075"/>
                    </a:lnTo>
                    <a:lnTo>
                      <a:pt x="569" y="1075"/>
                    </a:lnTo>
                    <a:lnTo>
                      <a:pt x="567" y="1075"/>
                    </a:lnTo>
                    <a:lnTo>
                      <a:pt x="567" y="1073"/>
                    </a:lnTo>
                    <a:lnTo>
                      <a:pt x="566" y="1073"/>
                    </a:lnTo>
                    <a:lnTo>
                      <a:pt x="566" y="1071"/>
                    </a:lnTo>
                    <a:lnTo>
                      <a:pt x="564" y="1071"/>
                    </a:lnTo>
                    <a:lnTo>
                      <a:pt x="564" y="1070"/>
                    </a:lnTo>
                    <a:lnTo>
                      <a:pt x="562" y="1070"/>
                    </a:lnTo>
                    <a:lnTo>
                      <a:pt x="562" y="1068"/>
                    </a:lnTo>
                    <a:lnTo>
                      <a:pt x="561" y="1068"/>
                    </a:lnTo>
                    <a:lnTo>
                      <a:pt x="561" y="1067"/>
                    </a:lnTo>
                    <a:lnTo>
                      <a:pt x="561" y="1065"/>
                    </a:lnTo>
                    <a:lnTo>
                      <a:pt x="559" y="1065"/>
                    </a:lnTo>
                    <a:lnTo>
                      <a:pt x="559" y="1063"/>
                    </a:lnTo>
                    <a:lnTo>
                      <a:pt x="559" y="1062"/>
                    </a:lnTo>
                    <a:lnTo>
                      <a:pt x="558" y="1060"/>
                    </a:lnTo>
                    <a:lnTo>
                      <a:pt x="558" y="1059"/>
                    </a:lnTo>
                    <a:lnTo>
                      <a:pt x="558" y="1057"/>
                    </a:lnTo>
                    <a:lnTo>
                      <a:pt x="558" y="1056"/>
                    </a:lnTo>
                    <a:lnTo>
                      <a:pt x="556" y="1056"/>
                    </a:lnTo>
                    <a:lnTo>
                      <a:pt x="556" y="1054"/>
                    </a:lnTo>
                    <a:lnTo>
                      <a:pt x="555" y="1054"/>
                    </a:lnTo>
                    <a:lnTo>
                      <a:pt x="555" y="1052"/>
                    </a:lnTo>
                    <a:lnTo>
                      <a:pt x="553" y="1051"/>
                    </a:lnTo>
                    <a:lnTo>
                      <a:pt x="553" y="1049"/>
                    </a:lnTo>
                    <a:lnTo>
                      <a:pt x="555" y="1048"/>
                    </a:lnTo>
                    <a:lnTo>
                      <a:pt x="556" y="1048"/>
                    </a:lnTo>
                    <a:lnTo>
                      <a:pt x="556" y="1046"/>
                    </a:lnTo>
                    <a:lnTo>
                      <a:pt x="556" y="1044"/>
                    </a:lnTo>
                    <a:lnTo>
                      <a:pt x="558" y="1044"/>
                    </a:lnTo>
                    <a:lnTo>
                      <a:pt x="558" y="1043"/>
                    </a:lnTo>
                    <a:lnTo>
                      <a:pt x="559" y="1043"/>
                    </a:lnTo>
                    <a:lnTo>
                      <a:pt x="559" y="1041"/>
                    </a:lnTo>
                    <a:lnTo>
                      <a:pt x="559" y="1040"/>
                    </a:lnTo>
                    <a:lnTo>
                      <a:pt x="561" y="1040"/>
                    </a:lnTo>
                    <a:lnTo>
                      <a:pt x="561" y="1038"/>
                    </a:lnTo>
                    <a:lnTo>
                      <a:pt x="562" y="1037"/>
                    </a:lnTo>
                    <a:lnTo>
                      <a:pt x="562" y="1035"/>
                    </a:lnTo>
                    <a:lnTo>
                      <a:pt x="562" y="1033"/>
                    </a:lnTo>
                    <a:lnTo>
                      <a:pt x="562" y="1032"/>
                    </a:lnTo>
                    <a:lnTo>
                      <a:pt x="561" y="1030"/>
                    </a:lnTo>
                    <a:lnTo>
                      <a:pt x="559" y="1030"/>
                    </a:lnTo>
                    <a:lnTo>
                      <a:pt x="559" y="1029"/>
                    </a:lnTo>
                    <a:lnTo>
                      <a:pt x="558" y="1029"/>
                    </a:lnTo>
                    <a:lnTo>
                      <a:pt x="556" y="1027"/>
                    </a:lnTo>
                    <a:lnTo>
                      <a:pt x="555" y="1027"/>
                    </a:lnTo>
                    <a:lnTo>
                      <a:pt x="553" y="1027"/>
                    </a:lnTo>
                    <a:lnTo>
                      <a:pt x="551" y="1027"/>
                    </a:lnTo>
                    <a:lnTo>
                      <a:pt x="550" y="1027"/>
                    </a:lnTo>
                    <a:lnTo>
                      <a:pt x="548" y="1027"/>
                    </a:lnTo>
                    <a:lnTo>
                      <a:pt x="547" y="1027"/>
                    </a:lnTo>
                    <a:lnTo>
                      <a:pt x="545" y="1027"/>
                    </a:lnTo>
                    <a:lnTo>
                      <a:pt x="543" y="1027"/>
                    </a:lnTo>
                    <a:lnTo>
                      <a:pt x="542" y="1027"/>
                    </a:lnTo>
                    <a:lnTo>
                      <a:pt x="540" y="1025"/>
                    </a:lnTo>
                    <a:lnTo>
                      <a:pt x="539" y="1025"/>
                    </a:lnTo>
                    <a:lnTo>
                      <a:pt x="537" y="1025"/>
                    </a:lnTo>
                    <a:lnTo>
                      <a:pt x="536" y="1025"/>
                    </a:lnTo>
                    <a:lnTo>
                      <a:pt x="536" y="1024"/>
                    </a:lnTo>
                    <a:lnTo>
                      <a:pt x="534" y="1024"/>
                    </a:lnTo>
                    <a:lnTo>
                      <a:pt x="532" y="1024"/>
                    </a:lnTo>
                    <a:lnTo>
                      <a:pt x="531" y="1024"/>
                    </a:lnTo>
                    <a:lnTo>
                      <a:pt x="531" y="1022"/>
                    </a:lnTo>
                    <a:lnTo>
                      <a:pt x="529" y="1022"/>
                    </a:lnTo>
                    <a:lnTo>
                      <a:pt x="528" y="1022"/>
                    </a:lnTo>
                    <a:lnTo>
                      <a:pt x="528" y="1021"/>
                    </a:lnTo>
                    <a:lnTo>
                      <a:pt x="526" y="1021"/>
                    </a:lnTo>
                    <a:lnTo>
                      <a:pt x="526" y="1019"/>
                    </a:lnTo>
                    <a:lnTo>
                      <a:pt x="524" y="1019"/>
                    </a:lnTo>
                    <a:lnTo>
                      <a:pt x="524" y="1018"/>
                    </a:lnTo>
                    <a:lnTo>
                      <a:pt x="523" y="1018"/>
                    </a:lnTo>
                    <a:lnTo>
                      <a:pt x="523" y="1016"/>
                    </a:lnTo>
                    <a:lnTo>
                      <a:pt x="521" y="1016"/>
                    </a:lnTo>
                    <a:lnTo>
                      <a:pt x="520" y="1016"/>
                    </a:lnTo>
                    <a:lnTo>
                      <a:pt x="518" y="1016"/>
                    </a:lnTo>
                    <a:lnTo>
                      <a:pt x="517" y="1016"/>
                    </a:lnTo>
                    <a:lnTo>
                      <a:pt x="515" y="1016"/>
                    </a:lnTo>
                    <a:lnTo>
                      <a:pt x="513" y="1016"/>
                    </a:lnTo>
                    <a:lnTo>
                      <a:pt x="512" y="1016"/>
                    </a:lnTo>
                    <a:lnTo>
                      <a:pt x="510" y="1016"/>
                    </a:lnTo>
                    <a:lnTo>
                      <a:pt x="509" y="1016"/>
                    </a:lnTo>
                    <a:lnTo>
                      <a:pt x="507" y="1016"/>
                    </a:lnTo>
                    <a:lnTo>
                      <a:pt x="507" y="1014"/>
                    </a:lnTo>
                    <a:lnTo>
                      <a:pt x="505" y="1014"/>
                    </a:lnTo>
                    <a:lnTo>
                      <a:pt x="505" y="1013"/>
                    </a:lnTo>
                    <a:lnTo>
                      <a:pt x="504" y="1013"/>
                    </a:lnTo>
                    <a:lnTo>
                      <a:pt x="504" y="1011"/>
                    </a:lnTo>
                    <a:lnTo>
                      <a:pt x="504" y="1010"/>
                    </a:lnTo>
                    <a:lnTo>
                      <a:pt x="502" y="1010"/>
                    </a:lnTo>
                    <a:lnTo>
                      <a:pt x="501" y="1010"/>
                    </a:lnTo>
                    <a:lnTo>
                      <a:pt x="501" y="1008"/>
                    </a:lnTo>
                    <a:lnTo>
                      <a:pt x="499" y="1008"/>
                    </a:lnTo>
                    <a:lnTo>
                      <a:pt x="498" y="1006"/>
                    </a:lnTo>
                    <a:lnTo>
                      <a:pt x="496" y="1006"/>
                    </a:lnTo>
                    <a:lnTo>
                      <a:pt x="496" y="1008"/>
                    </a:lnTo>
                    <a:lnTo>
                      <a:pt x="494" y="1008"/>
                    </a:lnTo>
                    <a:lnTo>
                      <a:pt x="493" y="1008"/>
                    </a:lnTo>
                    <a:lnTo>
                      <a:pt x="491" y="1008"/>
                    </a:lnTo>
                    <a:lnTo>
                      <a:pt x="490" y="1008"/>
                    </a:lnTo>
                    <a:lnTo>
                      <a:pt x="488" y="1008"/>
                    </a:lnTo>
                    <a:lnTo>
                      <a:pt x="486" y="1008"/>
                    </a:lnTo>
                    <a:lnTo>
                      <a:pt x="485" y="1008"/>
                    </a:lnTo>
                    <a:lnTo>
                      <a:pt x="483" y="1008"/>
                    </a:lnTo>
                    <a:lnTo>
                      <a:pt x="482" y="1008"/>
                    </a:lnTo>
                    <a:lnTo>
                      <a:pt x="482" y="1006"/>
                    </a:lnTo>
                    <a:lnTo>
                      <a:pt x="480" y="1006"/>
                    </a:lnTo>
                    <a:lnTo>
                      <a:pt x="480" y="1008"/>
                    </a:lnTo>
                    <a:lnTo>
                      <a:pt x="479" y="1008"/>
                    </a:lnTo>
                    <a:lnTo>
                      <a:pt x="477" y="1008"/>
                    </a:lnTo>
                    <a:lnTo>
                      <a:pt x="475" y="1008"/>
                    </a:lnTo>
                    <a:lnTo>
                      <a:pt x="474" y="1008"/>
                    </a:lnTo>
                    <a:lnTo>
                      <a:pt x="472" y="1008"/>
                    </a:lnTo>
                    <a:lnTo>
                      <a:pt x="472" y="1006"/>
                    </a:lnTo>
                    <a:lnTo>
                      <a:pt x="471" y="1006"/>
                    </a:lnTo>
                    <a:lnTo>
                      <a:pt x="471" y="1005"/>
                    </a:lnTo>
                    <a:lnTo>
                      <a:pt x="469" y="1005"/>
                    </a:lnTo>
                    <a:lnTo>
                      <a:pt x="469" y="1003"/>
                    </a:lnTo>
                    <a:lnTo>
                      <a:pt x="469" y="1002"/>
                    </a:lnTo>
                    <a:lnTo>
                      <a:pt x="467" y="1002"/>
                    </a:lnTo>
                    <a:lnTo>
                      <a:pt x="467" y="1000"/>
                    </a:lnTo>
                    <a:lnTo>
                      <a:pt x="466" y="1000"/>
                    </a:lnTo>
                    <a:lnTo>
                      <a:pt x="464" y="1000"/>
                    </a:lnTo>
                    <a:lnTo>
                      <a:pt x="463" y="1000"/>
                    </a:lnTo>
                    <a:lnTo>
                      <a:pt x="461" y="999"/>
                    </a:lnTo>
                    <a:lnTo>
                      <a:pt x="461" y="1000"/>
                    </a:lnTo>
                    <a:lnTo>
                      <a:pt x="460" y="1000"/>
                    </a:lnTo>
                    <a:lnTo>
                      <a:pt x="458" y="1000"/>
                    </a:lnTo>
                    <a:lnTo>
                      <a:pt x="456" y="1000"/>
                    </a:lnTo>
                    <a:lnTo>
                      <a:pt x="456" y="999"/>
                    </a:lnTo>
                    <a:lnTo>
                      <a:pt x="455" y="999"/>
                    </a:lnTo>
                    <a:lnTo>
                      <a:pt x="453" y="999"/>
                    </a:lnTo>
                    <a:lnTo>
                      <a:pt x="452" y="999"/>
                    </a:lnTo>
                    <a:lnTo>
                      <a:pt x="450" y="999"/>
                    </a:lnTo>
                    <a:lnTo>
                      <a:pt x="450" y="1000"/>
                    </a:lnTo>
                    <a:lnTo>
                      <a:pt x="448" y="1000"/>
                    </a:lnTo>
                    <a:lnTo>
                      <a:pt x="448" y="1002"/>
                    </a:lnTo>
                    <a:lnTo>
                      <a:pt x="447" y="1002"/>
                    </a:lnTo>
                    <a:lnTo>
                      <a:pt x="447" y="1000"/>
                    </a:lnTo>
                    <a:lnTo>
                      <a:pt x="445" y="1000"/>
                    </a:lnTo>
                    <a:lnTo>
                      <a:pt x="444" y="999"/>
                    </a:lnTo>
                    <a:lnTo>
                      <a:pt x="442" y="999"/>
                    </a:lnTo>
                    <a:lnTo>
                      <a:pt x="441" y="999"/>
                    </a:lnTo>
                    <a:lnTo>
                      <a:pt x="439" y="999"/>
                    </a:lnTo>
                    <a:lnTo>
                      <a:pt x="439" y="997"/>
                    </a:lnTo>
                    <a:lnTo>
                      <a:pt x="437" y="997"/>
                    </a:lnTo>
                    <a:lnTo>
                      <a:pt x="437" y="995"/>
                    </a:lnTo>
                    <a:lnTo>
                      <a:pt x="437" y="994"/>
                    </a:lnTo>
                    <a:lnTo>
                      <a:pt x="436" y="994"/>
                    </a:lnTo>
                    <a:lnTo>
                      <a:pt x="436" y="992"/>
                    </a:lnTo>
                    <a:lnTo>
                      <a:pt x="434" y="992"/>
                    </a:lnTo>
                    <a:lnTo>
                      <a:pt x="433" y="992"/>
                    </a:lnTo>
                    <a:lnTo>
                      <a:pt x="431" y="992"/>
                    </a:lnTo>
                    <a:lnTo>
                      <a:pt x="431" y="994"/>
                    </a:lnTo>
                    <a:lnTo>
                      <a:pt x="429" y="994"/>
                    </a:lnTo>
                    <a:lnTo>
                      <a:pt x="428" y="994"/>
                    </a:lnTo>
                    <a:lnTo>
                      <a:pt x="426" y="994"/>
                    </a:lnTo>
                    <a:lnTo>
                      <a:pt x="425" y="994"/>
                    </a:lnTo>
                    <a:lnTo>
                      <a:pt x="423" y="994"/>
                    </a:lnTo>
                    <a:lnTo>
                      <a:pt x="422" y="994"/>
                    </a:lnTo>
                    <a:lnTo>
                      <a:pt x="420" y="994"/>
                    </a:lnTo>
                    <a:lnTo>
                      <a:pt x="418" y="994"/>
                    </a:lnTo>
                    <a:lnTo>
                      <a:pt x="417" y="994"/>
                    </a:lnTo>
                    <a:lnTo>
                      <a:pt x="415" y="994"/>
                    </a:lnTo>
                    <a:lnTo>
                      <a:pt x="414" y="994"/>
                    </a:lnTo>
                    <a:lnTo>
                      <a:pt x="414" y="995"/>
                    </a:lnTo>
                    <a:lnTo>
                      <a:pt x="414" y="997"/>
                    </a:lnTo>
                    <a:lnTo>
                      <a:pt x="414" y="999"/>
                    </a:lnTo>
                    <a:lnTo>
                      <a:pt x="412" y="999"/>
                    </a:lnTo>
                    <a:lnTo>
                      <a:pt x="412" y="1000"/>
                    </a:lnTo>
                    <a:lnTo>
                      <a:pt x="410" y="1000"/>
                    </a:lnTo>
                    <a:lnTo>
                      <a:pt x="410" y="1002"/>
                    </a:lnTo>
                    <a:lnTo>
                      <a:pt x="412" y="1002"/>
                    </a:lnTo>
                    <a:lnTo>
                      <a:pt x="412" y="1003"/>
                    </a:lnTo>
                    <a:lnTo>
                      <a:pt x="412" y="1005"/>
                    </a:lnTo>
                    <a:lnTo>
                      <a:pt x="412" y="1006"/>
                    </a:lnTo>
                    <a:lnTo>
                      <a:pt x="410" y="1006"/>
                    </a:lnTo>
                    <a:lnTo>
                      <a:pt x="409" y="1006"/>
                    </a:lnTo>
                    <a:lnTo>
                      <a:pt x="407" y="1008"/>
                    </a:lnTo>
                    <a:lnTo>
                      <a:pt x="406" y="1008"/>
                    </a:lnTo>
                    <a:lnTo>
                      <a:pt x="406" y="1006"/>
                    </a:lnTo>
                    <a:lnTo>
                      <a:pt x="404" y="1006"/>
                    </a:lnTo>
                    <a:lnTo>
                      <a:pt x="404" y="1005"/>
                    </a:lnTo>
                    <a:lnTo>
                      <a:pt x="403" y="1005"/>
                    </a:lnTo>
                    <a:lnTo>
                      <a:pt x="403" y="1003"/>
                    </a:lnTo>
                    <a:lnTo>
                      <a:pt x="403" y="1002"/>
                    </a:lnTo>
                    <a:lnTo>
                      <a:pt x="401" y="1002"/>
                    </a:lnTo>
                    <a:lnTo>
                      <a:pt x="399" y="1000"/>
                    </a:lnTo>
                    <a:lnTo>
                      <a:pt x="399" y="999"/>
                    </a:lnTo>
                    <a:lnTo>
                      <a:pt x="398" y="999"/>
                    </a:lnTo>
                    <a:lnTo>
                      <a:pt x="398" y="997"/>
                    </a:lnTo>
                    <a:lnTo>
                      <a:pt x="396" y="997"/>
                    </a:lnTo>
                    <a:lnTo>
                      <a:pt x="395" y="997"/>
                    </a:lnTo>
                    <a:lnTo>
                      <a:pt x="393" y="995"/>
                    </a:lnTo>
                    <a:lnTo>
                      <a:pt x="391" y="995"/>
                    </a:lnTo>
                    <a:lnTo>
                      <a:pt x="391" y="994"/>
                    </a:lnTo>
                    <a:lnTo>
                      <a:pt x="390" y="994"/>
                    </a:lnTo>
                    <a:lnTo>
                      <a:pt x="390" y="992"/>
                    </a:lnTo>
                    <a:lnTo>
                      <a:pt x="388" y="992"/>
                    </a:lnTo>
                    <a:lnTo>
                      <a:pt x="387" y="992"/>
                    </a:lnTo>
                    <a:lnTo>
                      <a:pt x="385" y="992"/>
                    </a:lnTo>
                    <a:lnTo>
                      <a:pt x="385" y="991"/>
                    </a:lnTo>
                    <a:lnTo>
                      <a:pt x="383" y="991"/>
                    </a:lnTo>
                    <a:lnTo>
                      <a:pt x="382" y="991"/>
                    </a:lnTo>
                    <a:lnTo>
                      <a:pt x="382" y="992"/>
                    </a:lnTo>
                    <a:lnTo>
                      <a:pt x="380" y="992"/>
                    </a:lnTo>
                    <a:lnTo>
                      <a:pt x="379" y="992"/>
                    </a:lnTo>
                    <a:lnTo>
                      <a:pt x="379" y="994"/>
                    </a:lnTo>
                    <a:lnTo>
                      <a:pt x="377" y="994"/>
                    </a:lnTo>
                    <a:lnTo>
                      <a:pt x="376" y="994"/>
                    </a:lnTo>
                    <a:lnTo>
                      <a:pt x="374" y="994"/>
                    </a:lnTo>
                    <a:lnTo>
                      <a:pt x="372" y="994"/>
                    </a:lnTo>
                    <a:lnTo>
                      <a:pt x="371" y="994"/>
                    </a:lnTo>
                    <a:lnTo>
                      <a:pt x="371" y="992"/>
                    </a:lnTo>
                    <a:lnTo>
                      <a:pt x="369" y="992"/>
                    </a:lnTo>
                    <a:lnTo>
                      <a:pt x="369" y="991"/>
                    </a:lnTo>
                    <a:lnTo>
                      <a:pt x="368" y="991"/>
                    </a:lnTo>
                    <a:lnTo>
                      <a:pt x="368" y="989"/>
                    </a:lnTo>
                    <a:lnTo>
                      <a:pt x="368" y="987"/>
                    </a:lnTo>
                    <a:lnTo>
                      <a:pt x="368" y="986"/>
                    </a:lnTo>
                    <a:lnTo>
                      <a:pt x="366" y="986"/>
                    </a:lnTo>
                    <a:lnTo>
                      <a:pt x="366" y="984"/>
                    </a:lnTo>
                    <a:lnTo>
                      <a:pt x="364" y="984"/>
                    </a:lnTo>
                    <a:lnTo>
                      <a:pt x="364" y="983"/>
                    </a:lnTo>
                    <a:lnTo>
                      <a:pt x="364" y="981"/>
                    </a:lnTo>
                    <a:lnTo>
                      <a:pt x="364" y="980"/>
                    </a:lnTo>
                    <a:lnTo>
                      <a:pt x="366" y="978"/>
                    </a:lnTo>
                    <a:lnTo>
                      <a:pt x="366" y="976"/>
                    </a:lnTo>
                    <a:lnTo>
                      <a:pt x="366" y="975"/>
                    </a:lnTo>
                    <a:lnTo>
                      <a:pt x="368" y="975"/>
                    </a:lnTo>
                    <a:lnTo>
                      <a:pt x="368" y="973"/>
                    </a:lnTo>
                    <a:lnTo>
                      <a:pt x="368" y="972"/>
                    </a:lnTo>
                    <a:lnTo>
                      <a:pt x="369" y="972"/>
                    </a:lnTo>
                    <a:lnTo>
                      <a:pt x="369" y="970"/>
                    </a:lnTo>
                    <a:lnTo>
                      <a:pt x="371" y="968"/>
                    </a:lnTo>
                    <a:lnTo>
                      <a:pt x="371" y="967"/>
                    </a:lnTo>
                    <a:lnTo>
                      <a:pt x="372" y="967"/>
                    </a:lnTo>
                    <a:lnTo>
                      <a:pt x="372" y="965"/>
                    </a:lnTo>
                    <a:lnTo>
                      <a:pt x="371" y="965"/>
                    </a:lnTo>
                    <a:lnTo>
                      <a:pt x="371" y="964"/>
                    </a:lnTo>
                    <a:lnTo>
                      <a:pt x="371" y="962"/>
                    </a:lnTo>
                    <a:lnTo>
                      <a:pt x="369" y="962"/>
                    </a:lnTo>
                    <a:lnTo>
                      <a:pt x="369" y="960"/>
                    </a:lnTo>
                    <a:lnTo>
                      <a:pt x="368" y="960"/>
                    </a:lnTo>
                    <a:lnTo>
                      <a:pt x="368" y="959"/>
                    </a:lnTo>
                    <a:lnTo>
                      <a:pt x="368" y="957"/>
                    </a:lnTo>
                    <a:lnTo>
                      <a:pt x="366" y="957"/>
                    </a:lnTo>
                    <a:lnTo>
                      <a:pt x="364" y="959"/>
                    </a:lnTo>
                    <a:lnTo>
                      <a:pt x="363" y="959"/>
                    </a:lnTo>
                    <a:lnTo>
                      <a:pt x="361" y="959"/>
                    </a:lnTo>
                    <a:lnTo>
                      <a:pt x="360" y="959"/>
                    </a:lnTo>
                    <a:lnTo>
                      <a:pt x="358" y="959"/>
                    </a:lnTo>
                    <a:lnTo>
                      <a:pt x="357" y="959"/>
                    </a:lnTo>
                    <a:lnTo>
                      <a:pt x="355" y="959"/>
                    </a:lnTo>
                    <a:lnTo>
                      <a:pt x="355" y="957"/>
                    </a:lnTo>
                    <a:lnTo>
                      <a:pt x="353" y="957"/>
                    </a:lnTo>
                    <a:lnTo>
                      <a:pt x="352" y="957"/>
                    </a:lnTo>
                    <a:lnTo>
                      <a:pt x="352" y="959"/>
                    </a:lnTo>
                    <a:lnTo>
                      <a:pt x="350" y="959"/>
                    </a:lnTo>
                    <a:lnTo>
                      <a:pt x="349" y="959"/>
                    </a:lnTo>
                    <a:lnTo>
                      <a:pt x="347" y="959"/>
                    </a:lnTo>
                    <a:lnTo>
                      <a:pt x="345" y="959"/>
                    </a:lnTo>
                    <a:lnTo>
                      <a:pt x="345" y="960"/>
                    </a:lnTo>
                    <a:lnTo>
                      <a:pt x="345" y="962"/>
                    </a:lnTo>
                    <a:lnTo>
                      <a:pt x="344" y="962"/>
                    </a:lnTo>
                    <a:lnTo>
                      <a:pt x="344" y="964"/>
                    </a:lnTo>
                    <a:lnTo>
                      <a:pt x="344" y="965"/>
                    </a:lnTo>
                    <a:lnTo>
                      <a:pt x="342" y="965"/>
                    </a:lnTo>
                    <a:lnTo>
                      <a:pt x="342" y="967"/>
                    </a:lnTo>
                    <a:lnTo>
                      <a:pt x="341" y="967"/>
                    </a:lnTo>
                    <a:lnTo>
                      <a:pt x="339" y="967"/>
                    </a:lnTo>
                    <a:lnTo>
                      <a:pt x="338" y="967"/>
                    </a:lnTo>
                    <a:lnTo>
                      <a:pt x="338" y="965"/>
                    </a:lnTo>
                    <a:lnTo>
                      <a:pt x="336" y="967"/>
                    </a:lnTo>
                    <a:lnTo>
                      <a:pt x="334" y="967"/>
                    </a:lnTo>
                    <a:lnTo>
                      <a:pt x="333" y="967"/>
                    </a:lnTo>
                    <a:lnTo>
                      <a:pt x="331" y="967"/>
                    </a:lnTo>
                    <a:lnTo>
                      <a:pt x="331" y="965"/>
                    </a:lnTo>
                    <a:lnTo>
                      <a:pt x="330" y="965"/>
                    </a:lnTo>
                    <a:lnTo>
                      <a:pt x="330" y="964"/>
                    </a:lnTo>
                    <a:lnTo>
                      <a:pt x="328" y="964"/>
                    </a:lnTo>
                    <a:lnTo>
                      <a:pt x="328" y="962"/>
                    </a:lnTo>
                    <a:lnTo>
                      <a:pt x="326" y="962"/>
                    </a:lnTo>
                    <a:lnTo>
                      <a:pt x="326" y="960"/>
                    </a:lnTo>
                    <a:lnTo>
                      <a:pt x="325" y="960"/>
                    </a:lnTo>
                    <a:lnTo>
                      <a:pt x="325" y="959"/>
                    </a:lnTo>
                    <a:lnTo>
                      <a:pt x="325" y="957"/>
                    </a:lnTo>
                    <a:lnTo>
                      <a:pt x="323" y="957"/>
                    </a:lnTo>
                    <a:lnTo>
                      <a:pt x="323" y="956"/>
                    </a:lnTo>
                    <a:lnTo>
                      <a:pt x="323" y="954"/>
                    </a:lnTo>
                    <a:lnTo>
                      <a:pt x="322" y="953"/>
                    </a:lnTo>
                    <a:lnTo>
                      <a:pt x="320" y="953"/>
                    </a:lnTo>
                    <a:lnTo>
                      <a:pt x="320" y="951"/>
                    </a:lnTo>
                    <a:lnTo>
                      <a:pt x="319" y="951"/>
                    </a:lnTo>
                    <a:lnTo>
                      <a:pt x="319" y="949"/>
                    </a:lnTo>
                    <a:lnTo>
                      <a:pt x="319" y="948"/>
                    </a:lnTo>
                    <a:lnTo>
                      <a:pt x="319" y="946"/>
                    </a:lnTo>
                    <a:lnTo>
                      <a:pt x="317" y="946"/>
                    </a:lnTo>
                    <a:lnTo>
                      <a:pt x="319" y="945"/>
                    </a:lnTo>
                    <a:lnTo>
                      <a:pt x="317" y="945"/>
                    </a:lnTo>
                    <a:lnTo>
                      <a:pt x="315" y="945"/>
                    </a:lnTo>
                    <a:lnTo>
                      <a:pt x="314" y="946"/>
                    </a:lnTo>
                    <a:lnTo>
                      <a:pt x="312" y="946"/>
                    </a:lnTo>
                    <a:lnTo>
                      <a:pt x="311" y="946"/>
                    </a:lnTo>
                    <a:lnTo>
                      <a:pt x="309" y="946"/>
                    </a:lnTo>
                    <a:lnTo>
                      <a:pt x="307" y="946"/>
                    </a:lnTo>
                    <a:lnTo>
                      <a:pt x="306" y="946"/>
                    </a:lnTo>
                    <a:lnTo>
                      <a:pt x="306" y="945"/>
                    </a:lnTo>
                    <a:lnTo>
                      <a:pt x="304" y="945"/>
                    </a:lnTo>
                    <a:lnTo>
                      <a:pt x="304" y="943"/>
                    </a:lnTo>
                    <a:lnTo>
                      <a:pt x="304" y="941"/>
                    </a:lnTo>
                    <a:lnTo>
                      <a:pt x="303" y="941"/>
                    </a:lnTo>
                    <a:lnTo>
                      <a:pt x="303" y="940"/>
                    </a:lnTo>
                    <a:lnTo>
                      <a:pt x="303" y="938"/>
                    </a:lnTo>
                    <a:lnTo>
                      <a:pt x="303" y="937"/>
                    </a:lnTo>
                    <a:lnTo>
                      <a:pt x="301" y="937"/>
                    </a:lnTo>
                    <a:lnTo>
                      <a:pt x="301" y="938"/>
                    </a:lnTo>
                    <a:lnTo>
                      <a:pt x="300" y="938"/>
                    </a:lnTo>
                    <a:lnTo>
                      <a:pt x="300" y="937"/>
                    </a:lnTo>
                    <a:lnTo>
                      <a:pt x="300" y="935"/>
                    </a:lnTo>
                    <a:lnTo>
                      <a:pt x="301" y="935"/>
                    </a:lnTo>
                    <a:lnTo>
                      <a:pt x="301" y="934"/>
                    </a:lnTo>
                    <a:lnTo>
                      <a:pt x="301" y="932"/>
                    </a:lnTo>
                    <a:lnTo>
                      <a:pt x="301" y="930"/>
                    </a:lnTo>
                    <a:lnTo>
                      <a:pt x="301" y="929"/>
                    </a:lnTo>
                    <a:lnTo>
                      <a:pt x="300" y="929"/>
                    </a:lnTo>
                    <a:lnTo>
                      <a:pt x="300" y="927"/>
                    </a:lnTo>
                    <a:lnTo>
                      <a:pt x="298" y="926"/>
                    </a:lnTo>
                    <a:lnTo>
                      <a:pt x="298" y="924"/>
                    </a:lnTo>
                    <a:lnTo>
                      <a:pt x="296" y="924"/>
                    </a:lnTo>
                    <a:lnTo>
                      <a:pt x="295" y="924"/>
                    </a:lnTo>
                    <a:lnTo>
                      <a:pt x="295" y="922"/>
                    </a:lnTo>
                    <a:lnTo>
                      <a:pt x="295" y="921"/>
                    </a:lnTo>
                    <a:lnTo>
                      <a:pt x="295" y="919"/>
                    </a:lnTo>
                    <a:lnTo>
                      <a:pt x="296" y="919"/>
                    </a:lnTo>
                    <a:lnTo>
                      <a:pt x="296" y="918"/>
                    </a:lnTo>
                    <a:lnTo>
                      <a:pt x="298" y="918"/>
                    </a:lnTo>
                    <a:lnTo>
                      <a:pt x="300" y="918"/>
                    </a:lnTo>
                    <a:lnTo>
                      <a:pt x="301" y="918"/>
                    </a:lnTo>
                    <a:lnTo>
                      <a:pt x="303" y="918"/>
                    </a:lnTo>
                    <a:lnTo>
                      <a:pt x="303" y="916"/>
                    </a:lnTo>
                    <a:lnTo>
                      <a:pt x="301" y="916"/>
                    </a:lnTo>
                    <a:lnTo>
                      <a:pt x="301" y="915"/>
                    </a:lnTo>
                    <a:lnTo>
                      <a:pt x="301" y="913"/>
                    </a:lnTo>
                    <a:lnTo>
                      <a:pt x="301" y="911"/>
                    </a:lnTo>
                    <a:lnTo>
                      <a:pt x="303" y="910"/>
                    </a:lnTo>
                    <a:lnTo>
                      <a:pt x="304" y="910"/>
                    </a:lnTo>
                    <a:lnTo>
                      <a:pt x="306" y="908"/>
                    </a:lnTo>
                    <a:lnTo>
                      <a:pt x="307" y="907"/>
                    </a:lnTo>
                    <a:lnTo>
                      <a:pt x="307" y="905"/>
                    </a:lnTo>
                    <a:lnTo>
                      <a:pt x="306" y="905"/>
                    </a:lnTo>
                    <a:lnTo>
                      <a:pt x="306" y="903"/>
                    </a:lnTo>
                    <a:lnTo>
                      <a:pt x="304" y="903"/>
                    </a:lnTo>
                    <a:lnTo>
                      <a:pt x="304" y="902"/>
                    </a:lnTo>
                    <a:lnTo>
                      <a:pt x="303" y="902"/>
                    </a:lnTo>
                    <a:lnTo>
                      <a:pt x="303" y="900"/>
                    </a:lnTo>
                    <a:lnTo>
                      <a:pt x="304" y="900"/>
                    </a:lnTo>
                    <a:lnTo>
                      <a:pt x="306" y="900"/>
                    </a:lnTo>
                    <a:lnTo>
                      <a:pt x="306" y="899"/>
                    </a:lnTo>
                    <a:lnTo>
                      <a:pt x="306" y="897"/>
                    </a:lnTo>
                    <a:lnTo>
                      <a:pt x="304" y="897"/>
                    </a:lnTo>
                    <a:lnTo>
                      <a:pt x="304" y="896"/>
                    </a:lnTo>
                    <a:lnTo>
                      <a:pt x="304" y="894"/>
                    </a:lnTo>
                    <a:lnTo>
                      <a:pt x="306" y="892"/>
                    </a:lnTo>
                    <a:lnTo>
                      <a:pt x="307" y="891"/>
                    </a:lnTo>
                    <a:lnTo>
                      <a:pt x="307" y="889"/>
                    </a:lnTo>
                    <a:lnTo>
                      <a:pt x="309" y="889"/>
                    </a:lnTo>
                    <a:lnTo>
                      <a:pt x="309" y="888"/>
                    </a:lnTo>
                    <a:lnTo>
                      <a:pt x="309" y="886"/>
                    </a:lnTo>
                    <a:lnTo>
                      <a:pt x="311" y="886"/>
                    </a:lnTo>
                    <a:lnTo>
                      <a:pt x="311" y="884"/>
                    </a:lnTo>
                    <a:lnTo>
                      <a:pt x="312" y="884"/>
                    </a:lnTo>
                    <a:lnTo>
                      <a:pt x="314" y="884"/>
                    </a:lnTo>
                    <a:lnTo>
                      <a:pt x="315" y="884"/>
                    </a:lnTo>
                    <a:lnTo>
                      <a:pt x="315" y="883"/>
                    </a:lnTo>
                    <a:lnTo>
                      <a:pt x="317" y="883"/>
                    </a:lnTo>
                    <a:lnTo>
                      <a:pt x="317" y="881"/>
                    </a:lnTo>
                    <a:lnTo>
                      <a:pt x="319" y="881"/>
                    </a:lnTo>
                    <a:lnTo>
                      <a:pt x="319" y="880"/>
                    </a:lnTo>
                    <a:lnTo>
                      <a:pt x="320" y="880"/>
                    </a:lnTo>
                    <a:lnTo>
                      <a:pt x="320" y="878"/>
                    </a:lnTo>
                    <a:lnTo>
                      <a:pt x="320" y="877"/>
                    </a:lnTo>
                    <a:lnTo>
                      <a:pt x="322" y="877"/>
                    </a:lnTo>
                    <a:lnTo>
                      <a:pt x="322" y="875"/>
                    </a:lnTo>
                    <a:lnTo>
                      <a:pt x="322" y="873"/>
                    </a:lnTo>
                    <a:lnTo>
                      <a:pt x="322" y="872"/>
                    </a:lnTo>
                    <a:lnTo>
                      <a:pt x="322" y="870"/>
                    </a:lnTo>
                    <a:lnTo>
                      <a:pt x="323" y="870"/>
                    </a:lnTo>
                    <a:lnTo>
                      <a:pt x="323" y="869"/>
                    </a:lnTo>
                    <a:lnTo>
                      <a:pt x="322" y="869"/>
                    </a:lnTo>
                    <a:lnTo>
                      <a:pt x="320" y="869"/>
                    </a:lnTo>
                    <a:lnTo>
                      <a:pt x="319" y="869"/>
                    </a:lnTo>
                    <a:lnTo>
                      <a:pt x="317" y="869"/>
                    </a:lnTo>
                    <a:lnTo>
                      <a:pt x="315" y="869"/>
                    </a:lnTo>
                    <a:lnTo>
                      <a:pt x="314" y="869"/>
                    </a:lnTo>
                    <a:lnTo>
                      <a:pt x="312" y="869"/>
                    </a:lnTo>
                    <a:lnTo>
                      <a:pt x="312" y="870"/>
                    </a:lnTo>
                    <a:lnTo>
                      <a:pt x="311" y="870"/>
                    </a:lnTo>
                    <a:lnTo>
                      <a:pt x="311" y="872"/>
                    </a:lnTo>
                    <a:lnTo>
                      <a:pt x="309" y="873"/>
                    </a:lnTo>
                    <a:lnTo>
                      <a:pt x="309" y="875"/>
                    </a:lnTo>
                    <a:lnTo>
                      <a:pt x="307" y="875"/>
                    </a:lnTo>
                    <a:lnTo>
                      <a:pt x="307" y="877"/>
                    </a:lnTo>
                    <a:lnTo>
                      <a:pt x="306" y="877"/>
                    </a:lnTo>
                    <a:lnTo>
                      <a:pt x="306" y="878"/>
                    </a:lnTo>
                    <a:lnTo>
                      <a:pt x="304" y="878"/>
                    </a:lnTo>
                    <a:lnTo>
                      <a:pt x="304" y="880"/>
                    </a:lnTo>
                    <a:lnTo>
                      <a:pt x="303" y="880"/>
                    </a:lnTo>
                    <a:lnTo>
                      <a:pt x="303" y="881"/>
                    </a:lnTo>
                    <a:lnTo>
                      <a:pt x="304" y="881"/>
                    </a:lnTo>
                    <a:lnTo>
                      <a:pt x="303" y="881"/>
                    </a:lnTo>
                    <a:lnTo>
                      <a:pt x="301" y="881"/>
                    </a:lnTo>
                    <a:lnTo>
                      <a:pt x="300" y="881"/>
                    </a:lnTo>
                    <a:lnTo>
                      <a:pt x="298" y="881"/>
                    </a:lnTo>
                    <a:lnTo>
                      <a:pt x="296" y="883"/>
                    </a:lnTo>
                    <a:lnTo>
                      <a:pt x="296" y="881"/>
                    </a:lnTo>
                    <a:lnTo>
                      <a:pt x="295" y="881"/>
                    </a:lnTo>
                    <a:lnTo>
                      <a:pt x="295" y="880"/>
                    </a:lnTo>
                    <a:lnTo>
                      <a:pt x="296" y="880"/>
                    </a:lnTo>
                    <a:lnTo>
                      <a:pt x="296" y="878"/>
                    </a:lnTo>
                    <a:lnTo>
                      <a:pt x="296" y="877"/>
                    </a:lnTo>
                    <a:lnTo>
                      <a:pt x="296" y="875"/>
                    </a:lnTo>
                    <a:lnTo>
                      <a:pt x="296" y="873"/>
                    </a:lnTo>
                    <a:lnTo>
                      <a:pt x="296" y="872"/>
                    </a:lnTo>
                    <a:lnTo>
                      <a:pt x="296" y="870"/>
                    </a:lnTo>
                    <a:lnTo>
                      <a:pt x="296" y="869"/>
                    </a:lnTo>
                    <a:lnTo>
                      <a:pt x="295" y="869"/>
                    </a:lnTo>
                    <a:lnTo>
                      <a:pt x="295" y="867"/>
                    </a:lnTo>
                    <a:lnTo>
                      <a:pt x="295" y="865"/>
                    </a:lnTo>
                    <a:lnTo>
                      <a:pt x="295" y="864"/>
                    </a:lnTo>
                    <a:lnTo>
                      <a:pt x="296" y="864"/>
                    </a:lnTo>
                    <a:lnTo>
                      <a:pt x="298" y="864"/>
                    </a:lnTo>
                    <a:lnTo>
                      <a:pt x="300" y="864"/>
                    </a:lnTo>
                    <a:lnTo>
                      <a:pt x="300" y="862"/>
                    </a:lnTo>
                    <a:lnTo>
                      <a:pt x="300" y="861"/>
                    </a:lnTo>
                    <a:lnTo>
                      <a:pt x="300" y="859"/>
                    </a:lnTo>
                    <a:lnTo>
                      <a:pt x="301" y="859"/>
                    </a:lnTo>
                    <a:lnTo>
                      <a:pt x="303" y="859"/>
                    </a:lnTo>
                    <a:lnTo>
                      <a:pt x="303" y="858"/>
                    </a:lnTo>
                    <a:lnTo>
                      <a:pt x="303" y="856"/>
                    </a:lnTo>
                    <a:lnTo>
                      <a:pt x="303" y="854"/>
                    </a:lnTo>
                    <a:lnTo>
                      <a:pt x="303" y="853"/>
                    </a:lnTo>
                    <a:lnTo>
                      <a:pt x="304" y="853"/>
                    </a:lnTo>
                    <a:lnTo>
                      <a:pt x="304" y="851"/>
                    </a:lnTo>
                    <a:lnTo>
                      <a:pt x="303" y="850"/>
                    </a:lnTo>
                    <a:lnTo>
                      <a:pt x="303" y="848"/>
                    </a:lnTo>
                    <a:lnTo>
                      <a:pt x="303" y="846"/>
                    </a:lnTo>
                    <a:lnTo>
                      <a:pt x="304" y="846"/>
                    </a:lnTo>
                    <a:lnTo>
                      <a:pt x="304" y="845"/>
                    </a:lnTo>
                    <a:lnTo>
                      <a:pt x="306" y="843"/>
                    </a:lnTo>
                    <a:lnTo>
                      <a:pt x="306" y="842"/>
                    </a:lnTo>
                    <a:lnTo>
                      <a:pt x="307" y="842"/>
                    </a:lnTo>
                    <a:lnTo>
                      <a:pt x="307" y="840"/>
                    </a:lnTo>
                    <a:lnTo>
                      <a:pt x="309" y="840"/>
                    </a:lnTo>
                    <a:lnTo>
                      <a:pt x="311" y="838"/>
                    </a:lnTo>
                    <a:lnTo>
                      <a:pt x="309" y="838"/>
                    </a:lnTo>
                    <a:lnTo>
                      <a:pt x="309" y="837"/>
                    </a:lnTo>
                    <a:lnTo>
                      <a:pt x="311" y="835"/>
                    </a:lnTo>
                    <a:lnTo>
                      <a:pt x="312" y="835"/>
                    </a:lnTo>
                    <a:lnTo>
                      <a:pt x="312" y="834"/>
                    </a:lnTo>
                    <a:lnTo>
                      <a:pt x="314" y="834"/>
                    </a:lnTo>
                    <a:lnTo>
                      <a:pt x="314" y="832"/>
                    </a:lnTo>
                    <a:lnTo>
                      <a:pt x="314" y="831"/>
                    </a:lnTo>
                    <a:lnTo>
                      <a:pt x="315" y="831"/>
                    </a:lnTo>
                    <a:lnTo>
                      <a:pt x="315" y="829"/>
                    </a:lnTo>
                    <a:lnTo>
                      <a:pt x="315" y="827"/>
                    </a:lnTo>
                    <a:lnTo>
                      <a:pt x="314" y="827"/>
                    </a:lnTo>
                    <a:lnTo>
                      <a:pt x="314" y="826"/>
                    </a:lnTo>
                    <a:lnTo>
                      <a:pt x="315" y="826"/>
                    </a:lnTo>
                    <a:lnTo>
                      <a:pt x="317" y="824"/>
                    </a:lnTo>
                    <a:lnTo>
                      <a:pt x="319" y="823"/>
                    </a:lnTo>
                    <a:lnTo>
                      <a:pt x="320" y="823"/>
                    </a:lnTo>
                    <a:lnTo>
                      <a:pt x="320" y="821"/>
                    </a:lnTo>
                    <a:lnTo>
                      <a:pt x="322" y="821"/>
                    </a:lnTo>
                    <a:lnTo>
                      <a:pt x="323" y="819"/>
                    </a:lnTo>
                    <a:lnTo>
                      <a:pt x="323" y="818"/>
                    </a:lnTo>
                    <a:lnTo>
                      <a:pt x="325" y="818"/>
                    </a:lnTo>
                    <a:lnTo>
                      <a:pt x="325" y="816"/>
                    </a:lnTo>
                    <a:lnTo>
                      <a:pt x="326" y="816"/>
                    </a:lnTo>
                    <a:lnTo>
                      <a:pt x="328" y="815"/>
                    </a:lnTo>
                    <a:lnTo>
                      <a:pt x="330" y="815"/>
                    </a:lnTo>
                    <a:lnTo>
                      <a:pt x="330" y="813"/>
                    </a:lnTo>
                    <a:lnTo>
                      <a:pt x="331" y="813"/>
                    </a:lnTo>
                    <a:lnTo>
                      <a:pt x="331" y="812"/>
                    </a:lnTo>
                    <a:lnTo>
                      <a:pt x="331" y="810"/>
                    </a:lnTo>
                    <a:lnTo>
                      <a:pt x="333" y="810"/>
                    </a:lnTo>
                    <a:lnTo>
                      <a:pt x="333" y="808"/>
                    </a:lnTo>
                    <a:lnTo>
                      <a:pt x="334" y="808"/>
                    </a:lnTo>
                    <a:lnTo>
                      <a:pt x="334" y="807"/>
                    </a:lnTo>
                    <a:lnTo>
                      <a:pt x="334" y="805"/>
                    </a:lnTo>
                    <a:lnTo>
                      <a:pt x="334" y="804"/>
                    </a:lnTo>
                    <a:lnTo>
                      <a:pt x="336" y="804"/>
                    </a:lnTo>
                    <a:lnTo>
                      <a:pt x="336" y="802"/>
                    </a:lnTo>
                    <a:lnTo>
                      <a:pt x="336" y="800"/>
                    </a:lnTo>
                    <a:lnTo>
                      <a:pt x="338" y="800"/>
                    </a:lnTo>
                    <a:lnTo>
                      <a:pt x="338" y="799"/>
                    </a:lnTo>
                    <a:lnTo>
                      <a:pt x="338" y="797"/>
                    </a:lnTo>
                    <a:lnTo>
                      <a:pt x="339" y="797"/>
                    </a:lnTo>
                    <a:lnTo>
                      <a:pt x="339" y="796"/>
                    </a:lnTo>
                    <a:lnTo>
                      <a:pt x="341" y="794"/>
                    </a:lnTo>
                    <a:lnTo>
                      <a:pt x="341" y="793"/>
                    </a:lnTo>
                    <a:lnTo>
                      <a:pt x="342" y="793"/>
                    </a:lnTo>
                    <a:lnTo>
                      <a:pt x="342" y="791"/>
                    </a:lnTo>
                    <a:lnTo>
                      <a:pt x="344" y="791"/>
                    </a:lnTo>
                    <a:lnTo>
                      <a:pt x="345" y="791"/>
                    </a:lnTo>
                    <a:lnTo>
                      <a:pt x="347" y="791"/>
                    </a:lnTo>
                    <a:lnTo>
                      <a:pt x="349" y="791"/>
                    </a:lnTo>
                    <a:lnTo>
                      <a:pt x="350" y="789"/>
                    </a:lnTo>
                    <a:lnTo>
                      <a:pt x="352" y="788"/>
                    </a:lnTo>
                    <a:lnTo>
                      <a:pt x="353" y="788"/>
                    </a:lnTo>
                    <a:lnTo>
                      <a:pt x="355" y="788"/>
                    </a:lnTo>
                    <a:lnTo>
                      <a:pt x="355" y="786"/>
                    </a:lnTo>
                    <a:lnTo>
                      <a:pt x="355" y="785"/>
                    </a:lnTo>
                    <a:lnTo>
                      <a:pt x="357" y="785"/>
                    </a:lnTo>
                    <a:lnTo>
                      <a:pt x="357" y="783"/>
                    </a:lnTo>
                    <a:lnTo>
                      <a:pt x="358" y="783"/>
                    </a:lnTo>
                    <a:lnTo>
                      <a:pt x="358" y="781"/>
                    </a:lnTo>
                    <a:lnTo>
                      <a:pt x="360" y="781"/>
                    </a:lnTo>
                    <a:lnTo>
                      <a:pt x="360" y="780"/>
                    </a:lnTo>
                    <a:lnTo>
                      <a:pt x="361" y="780"/>
                    </a:lnTo>
                    <a:lnTo>
                      <a:pt x="361" y="778"/>
                    </a:lnTo>
                    <a:lnTo>
                      <a:pt x="361" y="777"/>
                    </a:lnTo>
                    <a:lnTo>
                      <a:pt x="363" y="777"/>
                    </a:lnTo>
                    <a:lnTo>
                      <a:pt x="363" y="775"/>
                    </a:lnTo>
                    <a:lnTo>
                      <a:pt x="364" y="775"/>
                    </a:lnTo>
                    <a:lnTo>
                      <a:pt x="364" y="774"/>
                    </a:lnTo>
                    <a:lnTo>
                      <a:pt x="366" y="774"/>
                    </a:lnTo>
                    <a:lnTo>
                      <a:pt x="368" y="774"/>
                    </a:lnTo>
                    <a:lnTo>
                      <a:pt x="368" y="775"/>
                    </a:lnTo>
                    <a:lnTo>
                      <a:pt x="368" y="777"/>
                    </a:lnTo>
                    <a:lnTo>
                      <a:pt x="368" y="778"/>
                    </a:lnTo>
                    <a:lnTo>
                      <a:pt x="369" y="778"/>
                    </a:lnTo>
                    <a:lnTo>
                      <a:pt x="371" y="778"/>
                    </a:lnTo>
                    <a:lnTo>
                      <a:pt x="371" y="780"/>
                    </a:lnTo>
                    <a:lnTo>
                      <a:pt x="372" y="780"/>
                    </a:lnTo>
                    <a:lnTo>
                      <a:pt x="374" y="780"/>
                    </a:lnTo>
                    <a:lnTo>
                      <a:pt x="376" y="780"/>
                    </a:lnTo>
                    <a:lnTo>
                      <a:pt x="376" y="778"/>
                    </a:lnTo>
                    <a:lnTo>
                      <a:pt x="376" y="777"/>
                    </a:lnTo>
                    <a:lnTo>
                      <a:pt x="377" y="777"/>
                    </a:lnTo>
                    <a:lnTo>
                      <a:pt x="379" y="777"/>
                    </a:lnTo>
                    <a:lnTo>
                      <a:pt x="380" y="778"/>
                    </a:lnTo>
                    <a:lnTo>
                      <a:pt x="380" y="777"/>
                    </a:lnTo>
                    <a:lnTo>
                      <a:pt x="380" y="775"/>
                    </a:lnTo>
                    <a:lnTo>
                      <a:pt x="379" y="774"/>
                    </a:lnTo>
                    <a:lnTo>
                      <a:pt x="379" y="775"/>
                    </a:lnTo>
                    <a:lnTo>
                      <a:pt x="377" y="775"/>
                    </a:lnTo>
                    <a:lnTo>
                      <a:pt x="376" y="774"/>
                    </a:lnTo>
                    <a:lnTo>
                      <a:pt x="374" y="772"/>
                    </a:lnTo>
                    <a:lnTo>
                      <a:pt x="374" y="770"/>
                    </a:lnTo>
                    <a:lnTo>
                      <a:pt x="374" y="769"/>
                    </a:lnTo>
                    <a:lnTo>
                      <a:pt x="374" y="767"/>
                    </a:lnTo>
                    <a:lnTo>
                      <a:pt x="372" y="767"/>
                    </a:lnTo>
                    <a:lnTo>
                      <a:pt x="372" y="766"/>
                    </a:lnTo>
                    <a:lnTo>
                      <a:pt x="371" y="766"/>
                    </a:lnTo>
                    <a:lnTo>
                      <a:pt x="371" y="767"/>
                    </a:lnTo>
                    <a:lnTo>
                      <a:pt x="371" y="766"/>
                    </a:lnTo>
                    <a:lnTo>
                      <a:pt x="369" y="766"/>
                    </a:lnTo>
                    <a:lnTo>
                      <a:pt x="368" y="766"/>
                    </a:lnTo>
                    <a:lnTo>
                      <a:pt x="366" y="766"/>
                    </a:lnTo>
                    <a:lnTo>
                      <a:pt x="364" y="766"/>
                    </a:lnTo>
                    <a:lnTo>
                      <a:pt x="364" y="767"/>
                    </a:lnTo>
                    <a:lnTo>
                      <a:pt x="363" y="767"/>
                    </a:lnTo>
                    <a:lnTo>
                      <a:pt x="361" y="767"/>
                    </a:lnTo>
                    <a:lnTo>
                      <a:pt x="360" y="767"/>
                    </a:lnTo>
                    <a:lnTo>
                      <a:pt x="358" y="767"/>
                    </a:lnTo>
                    <a:lnTo>
                      <a:pt x="358" y="766"/>
                    </a:lnTo>
                    <a:lnTo>
                      <a:pt x="357" y="766"/>
                    </a:lnTo>
                    <a:lnTo>
                      <a:pt x="357" y="764"/>
                    </a:lnTo>
                    <a:lnTo>
                      <a:pt x="355" y="764"/>
                    </a:lnTo>
                    <a:lnTo>
                      <a:pt x="353" y="764"/>
                    </a:lnTo>
                    <a:lnTo>
                      <a:pt x="353" y="762"/>
                    </a:lnTo>
                    <a:lnTo>
                      <a:pt x="353" y="761"/>
                    </a:lnTo>
                    <a:lnTo>
                      <a:pt x="352" y="761"/>
                    </a:lnTo>
                    <a:lnTo>
                      <a:pt x="350" y="761"/>
                    </a:lnTo>
                    <a:lnTo>
                      <a:pt x="350" y="762"/>
                    </a:lnTo>
                    <a:lnTo>
                      <a:pt x="349" y="762"/>
                    </a:lnTo>
                    <a:lnTo>
                      <a:pt x="347" y="764"/>
                    </a:lnTo>
                    <a:lnTo>
                      <a:pt x="347" y="762"/>
                    </a:lnTo>
                    <a:lnTo>
                      <a:pt x="349" y="762"/>
                    </a:lnTo>
                    <a:lnTo>
                      <a:pt x="349" y="761"/>
                    </a:lnTo>
                    <a:lnTo>
                      <a:pt x="349" y="759"/>
                    </a:lnTo>
                    <a:lnTo>
                      <a:pt x="349" y="758"/>
                    </a:lnTo>
                    <a:lnTo>
                      <a:pt x="349" y="756"/>
                    </a:lnTo>
                    <a:lnTo>
                      <a:pt x="349" y="755"/>
                    </a:lnTo>
                    <a:lnTo>
                      <a:pt x="349" y="753"/>
                    </a:lnTo>
                    <a:lnTo>
                      <a:pt x="349" y="751"/>
                    </a:lnTo>
                    <a:lnTo>
                      <a:pt x="349" y="750"/>
                    </a:lnTo>
                    <a:lnTo>
                      <a:pt x="349" y="748"/>
                    </a:lnTo>
                    <a:lnTo>
                      <a:pt x="349" y="747"/>
                    </a:lnTo>
                    <a:lnTo>
                      <a:pt x="349" y="745"/>
                    </a:lnTo>
                    <a:lnTo>
                      <a:pt x="349" y="743"/>
                    </a:lnTo>
                    <a:lnTo>
                      <a:pt x="347" y="743"/>
                    </a:lnTo>
                    <a:lnTo>
                      <a:pt x="347" y="742"/>
                    </a:lnTo>
                    <a:lnTo>
                      <a:pt x="347" y="740"/>
                    </a:lnTo>
                    <a:lnTo>
                      <a:pt x="349" y="740"/>
                    </a:lnTo>
                    <a:lnTo>
                      <a:pt x="349" y="739"/>
                    </a:lnTo>
                    <a:lnTo>
                      <a:pt x="350" y="739"/>
                    </a:lnTo>
                    <a:lnTo>
                      <a:pt x="350" y="737"/>
                    </a:lnTo>
                    <a:lnTo>
                      <a:pt x="352" y="737"/>
                    </a:lnTo>
                    <a:lnTo>
                      <a:pt x="352" y="736"/>
                    </a:lnTo>
                    <a:lnTo>
                      <a:pt x="350" y="734"/>
                    </a:lnTo>
                    <a:lnTo>
                      <a:pt x="350" y="732"/>
                    </a:lnTo>
                    <a:lnTo>
                      <a:pt x="350" y="731"/>
                    </a:lnTo>
                    <a:lnTo>
                      <a:pt x="349" y="731"/>
                    </a:lnTo>
                    <a:lnTo>
                      <a:pt x="349" y="729"/>
                    </a:lnTo>
                    <a:lnTo>
                      <a:pt x="350" y="729"/>
                    </a:lnTo>
                    <a:lnTo>
                      <a:pt x="352" y="729"/>
                    </a:lnTo>
                    <a:lnTo>
                      <a:pt x="352" y="728"/>
                    </a:lnTo>
                    <a:lnTo>
                      <a:pt x="353" y="728"/>
                    </a:lnTo>
                    <a:lnTo>
                      <a:pt x="355" y="728"/>
                    </a:lnTo>
                    <a:lnTo>
                      <a:pt x="355" y="726"/>
                    </a:lnTo>
                    <a:lnTo>
                      <a:pt x="355" y="724"/>
                    </a:lnTo>
                    <a:lnTo>
                      <a:pt x="355" y="723"/>
                    </a:lnTo>
                    <a:lnTo>
                      <a:pt x="355" y="721"/>
                    </a:lnTo>
                    <a:lnTo>
                      <a:pt x="357" y="721"/>
                    </a:lnTo>
                    <a:lnTo>
                      <a:pt x="357" y="723"/>
                    </a:lnTo>
                    <a:lnTo>
                      <a:pt x="358" y="723"/>
                    </a:lnTo>
                    <a:lnTo>
                      <a:pt x="358" y="724"/>
                    </a:lnTo>
                    <a:lnTo>
                      <a:pt x="360" y="724"/>
                    </a:lnTo>
                    <a:lnTo>
                      <a:pt x="360" y="723"/>
                    </a:lnTo>
                    <a:lnTo>
                      <a:pt x="361" y="723"/>
                    </a:lnTo>
                    <a:lnTo>
                      <a:pt x="363" y="723"/>
                    </a:lnTo>
                    <a:lnTo>
                      <a:pt x="363" y="721"/>
                    </a:lnTo>
                    <a:lnTo>
                      <a:pt x="364" y="721"/>
                    </a:lnTo>
                    <a:lnTo>
                      <a:pt x="364" y="720"/>
                    </a:lnTo>
                    <a:lnTo>
                      <a:pt x="366" y="720"/>
                    </a:lnTo>
                    <a:lnTo>
                      <a:pt x="368" y="718"/>
                    </a:lnTo>
                    <a:lnTo>
                      <a:pt x="368" y="716"/>
                    </a:lnTo>
                    <a:lnTo>
                      <a:pt x="368" y="718"/>
                    </a:lnTo>
                    <a:lnTo>
                      <a:pt x="369" y="718"/>
                    </a:lnTo>
                    <a:lnTo>
                      <a:pt x="371" y="718"/>
                    </a:lnTo>
                    <a:lnTo>
                      <a:pt x="372" y="718"/>
                    </a:lnTo>
                    <a:lnTo>
                      <a:pt x="374" y="718"/>
                    </a:lnTo>
                    <a:lnTo>
                      <a:pt x="376" y="718"/>
                    </a:lnTo>
                    <a:lnTo>
                      <a:pt x="376" y="720"/>
                    </a:lnTo>
                    <a:lnTo>
                      <a:pt x="376" y="718"/>
                    </a:lnTo>
                    <a:lnTo>
                      <a:pt x="376" y="716"/>
                    </a:lnTo>
                    <a:lnTo>
                      <a:pt x="377" y="715"/>
                    </a:lnTo>
                    <a:lnTo>
                      <a:pt x="377" y="713"/>
                    </a:lnTo>
                    <a:lnTo>
                      <a:pt x="376" y="713"/>
                    </a:lnTo>
                    <a:lnTo>
                      <a:pt x="376" y="712"/>
                    </a:lnTo>
                    <a:lnTo>
                      <a:pt x="374" y="710"/>
                    </a:lnTo>
                    <a:lnTo>
                      <a:pt x="372" y="710"/>
                    </a:lnTo>
                    <a:lnTo>
                      <a:pt x="371" y="710"/>
                    </a:lnTo>
                    <a:lnTo>
                      <a:pt x="369" y="709"/>
                    </a:lnTo>
                    <a:lnTo>
                      <a:pt x="368" y="709"/>
                    </a:lnTo>
                    <a:lnTo>
                      <a:pt x="369" y="709"/>
                    </a:lnTo>
                    <a:lnTo>
                      <a:pt x="369" y="707"/>
                    </a:lnTo>
                    <a:lnTo>
                      <a:pt x="369" y="705"/>
                    </a:lnTo>
                    <a:lnTo>
                      <a:pt x="371" y="704"/>
                    </a:lnTo>
                    <a:lnTo>
                      <a:pt x="372" y="704"/>
                    </a:lnTo>
                    <a:lnTo>
                      <a:pt x="374" y="704"/>
                    </a:lnTo>
                    <a:lnTo>
                      <a:pt x="376" y="704"/>
                    </a:lnTo>
                    <a:lnTo>
                      <a:pt x="377" y="704"/>
                    </a:lnTo>
                    <a:lnTo>
                      <a:pt x="377" y="702"/>
                    </a:lnTo>
                    <a:lnTo>
                      <a:pt x="377" y="701"/>
                    </a:lnTo>
                    <a:lnTo>
                      <a:pt x="377" y="699"/>
                    </a:lnTo>
                    <a:lnTo>
                      <a:pt x="377" y="697"/>
                    </a:lnTo>
                    <a:lnTo>
                      <a:pt x="376" y="697"/>
                    </a:lnTo>
                    <a:lnTo>
                      <a:pt x="376" y="696"/>
                    </a:lnTo>
                    <a:lnTo>
                      <a:pt x="374" y="696"/>
                    </a:lnTo>
                    <a:lnTo>
                      <a:pt x="374" y="694"/>
                    </a:lnTo>
                    <a:lnTo>
                      <a:pt x="372" y="694"/>
                    </a:lnTo>
                    <a:lnTo>
                      <a:pt x="372" y="693"/>
                    </a:lnTo>
                    <a:lnTo>
                      <a:pt x="371" y="693"/>
                    </a:lnTo>
                    <a:lnTo>
                      <a:pt x="369" y="693"/>
                    </a:lnTo>
                    <a:lnTo>
                      <a:pt x="368" y="693"/>
                    </a:lnTo>
                    <a:lnTo>
                      <a:pt x="368" y="691"/>
                    </a:lnTo>
                    <a:lnTo>
                      <a:pt x="368" y="690"/>
                    </a:lnTo>
                    <a:lnTo>
                      <a:pt x="368" y="688"/>
                    </a:lnTo>
                    <a:lnTo>
                      <a:pt x="368" y="686"/>
                    </a:lnTo>
                    <a:lnTo>
                      <a:pt x="368" y="685"/>
                    </a:lnTo>
                    <a:lnTo>
                      <a:pt x="368" y="683"/>
                    </a:lnTo>
                    <a:lnTo>
                      <a:pt x="368" y="682"/>
                    </a:lnTo>
                    <a:lnTo>
                      <a:pt x="368" y="680"/>
                    </a:lnTo>
                    <a:lnTo>
                      <a:pt x="366" y="680"/>
                    </a:lnTo>
                    <a:lnTo>
                      <a:pt x="366" y="678"/>
                    </a:lnTo>
                    <a:lnTo>
                      <a:pt x="364" y="678"/>
                    </a:lnTo>
                    <a:lnTo>
                      <a:pt x="364" y="677"/>
                    </a:lnTo>
                    <a:lnTo>
                      <a:pt x="364" y="675"/>
                    </a:lnTo>
                    <a:lnTo>
                      <a:pt x="363" y="675"/>
                    </a:lnTo>
                    <a:lnTo>
                      <a:pt x="363" y="674"/>
                    </a:lnTo>
                    <a:lnTo>
                      <a:pt x="361" y="674"/>
                    </a:lnTo>
                    <a:lnTo>
                      <a:pt x="360" y="674"/>
                    </a:lnTo>
                    <a:lnTo>
                      <a:pt x="358" y="672"/>
                    </a:lnTo>
                    <a:lnTo>
                      <a:pt x="358" y="674"/>
                    </a:lnTo>
                    <a:lnTo>
                      <a:pt x="358" y="675"/>
                    </a:lnTo>
                    <a:lnTo>
                      <a:pt x="358" y="677"/>
                    </a:lnTo>
                    <a:lnTo>
                      <a:pt x="358" y="678"/>
                    </a:lnTo>
                    <a:lnTo>
                      <a:pt x="357" y="678"/>
                    </a:lnTo>
                    <a:lnTo>
                      <a:pt x="355" y="678"/>
                    </a:lnTo>
                    <a:lnTo>
                      <a:pt x="353" y="680"/>
                    </a:lnTo>
                    <a:lnTo>
                      <a:pt x="352" y="680"/>
                    </a:lnTo>
                    <a:lnTo>
                      <a:pt x="350" y="680"/>
                    </a:lnTo>
                    <a:lnTo>
                      <a:pt x="349" y="680"/>
                    </a:lnTo>
                    <a:lnTo>
                      <a:pt x="349" y="682"/>
                    </a:lnTo>
                    <a:lnTo>
                      <a:pt x="347" y="682"/>
                    </a:lnTo>
                    <a:lnTo>
                      <a:pt x="345" y="682"/>
                    </a:lnTo>
                    <a:lnTo>
                      <a:pt x="345" y="683"/>
                    </a:lnTo>
                    <a:lnTo>
                      <a:pt x="344" y="683"/>
                    </a:lnTo>
                    <a:lnTo>
                      <a:pt x="342" y="683"/>
                    </a:lnTo>
                    <a:lnTo>
                      <a:pt x="341" y="683"/>
                    </a:lnTo>
                    <a:lnTo>
                      <a:pt x="341" y="685"/>
                    </a:lnTo>
                    <a:lnTo>
                      <a:pt x="339" y="685"/>
                    </a:lnTo>
                    <a:lnTo>
                      <a:pt x="339" y="686"/>
                    </a:lnTo>
                    <a:lnTo>
                      <a:pt x="336" y="685"/>
                    </a:lnTo>
                    <a:lnTo>
                      <a:pt x="334" y="683"/>
                    </a:lnTo>
                    <a:lnTo>
                      <a:pt x="331" y="680"/>
                    </a:lnTo>
                    <a:lnTo>
                      <a:pt x="331" y="678"/>
                    </a:lnTo>
                    <a:lnTo>
                      <a:pt x="330" y="677"/>
                    </a:lnTo>
                    <a:lnTo>
                      <a:pt x="331" y="677"/>
                    </a:lnTo>
                    <a:lnTo>
                      <a:pt x="331" y="675"/>
                    </a:lnTo>
                    <a:lnTo>
                      <a:pt x="333" y="674"/>
                    </a:lnTo>
                    <a:lnTo>
                      <a:pt x="334" y="672"/>
                    </a:lnTo>
                    <a:lnTo>
                      <a:pt x="334" y="671"/>
                    </a:lnTo>
                    <a:lnTo>
                      <a:pt x="336" y="669"/>
                    </a:lnTo>
                    <a:lnTo>
                      <a:pt x="336" y="667"/>
                    </a:lnTo>
                    <a:lnTo>
                      <a:pt x="338" y="667"/>
                    </a:lnTo>
                    <a:lnTo>
                      <a:pt x="338" y="666"/>
                    </a:lnTo>
                    <a:lnTo>
                      <a:pt x="339" y="666"/>
                    </a:lnTo>
                    <a:lnTo>
                      <a:pt x="339" y="664"/>
                    </a:lnTo>
                    <a:lnTo>
                      <a:pt x="341" y="663"/>
                    </a:lnTo>
                    <a:lnTo>
                      <a:pt x="341" y="664"/>
                    </a:lnTo>
                    <a:lnTo>
                      <a:pt x="342" y="663"/>
                    </a:lnTo>
                    <a:lnTo>
                      <a:pt x="342" y="661"/>
                    </a:lnTo>
                    <a:lnTo>
                      <a:pt x="341" y="661"/>
                    </a:lnTo>
                    <a:lnTo>
                      <a:pt x="341" y="659"/>
                    </a:lnTo>
                    <a:lnTo>
                      <a:pt x="339" y="659"/>
                    </a:lnTo>
                    <a:lnTo>
                      <a:pt x="339" y="658"/>
                    </a:lnTo>
                    <a:lnTo>
                      <a:pt x="338" y="656"/>
                    </a:lnTo>
                    <a:lnTo>
                      <a:pt x="336" y="655"/>
                    </a:lnTo>
                    <a:lnTo>
                      <a:pt x="334" y="653"/>
                    </a:lnTo>
                    <a:lnTo>
                      <a:pt x="334" y="652"/>
                    </a:lnTo>
                    <a:lnTo>
                      <a:pt x="333" y="650"/>
                    </a:lnTo>
                    <a:lnTo>
                      <a:pt x="333" y="648"/>
                    </a:lnTo>
                    <a:lnTo>
                      <a:pt x="331" y="648"/>
                    </a:lnTo>
                    <a:lnTo>
                      <a:pt x="330" y="647"/>
                    </a:lnTo>
                    <a:lnTo>
                      <a:pt x="330" y="645"/>
                    </a:lnTo>
                    <a:lnTo>
                      <a:pt x="328" y="645"/>
                    </a:lnTo>
                    <a:lnTo>
                      <a:pt x="328" y="644"/>
                    </a:lnTo>
                    <a:lnTo>
                      <a:pt x="328" y="642"/>
                    </a:lnTo>
                    <a:lnTo>
                      <a:pt x="326" y="642"/>
                    </a:lnTo>
                    <a:lnTo>
                      <a:pt x="326" y="640"/>
                    </a:lnTo>
                    <a:lnTo>
                      <a:pt x="325" y="639"/>
                    </a:lnTo>
                    <a:lnTo>
                      <a:pt x="325" y="637"/>
                    </a:lnTo>
                    <a:lnTo>
                      <a:pt x="326" y="637"/>
                    </a:lnTo>
                    <a:lnTo>
                      <a:pt x="325" y="636"/>
                    </a:lnTo>
                    <a:lnTo>
                      <a:pt x="325" y="634"/>
                    </a:lnTo>
                    <a:lnTo>
                      <a:pt x="325" y="633"/>
                    </a:lnTo>
                    <a:lnTo>
                      <a:pt x="323" y="633"/>
                    </a:lnTo>
                    <a:lnTo>
                      <a:pt x="323" y="631"/>
                    </a:lnTo>
                    <a:lnTo>
                      <a:pt x="322" y="631"/>
                    </a:lnTo>
                    <a:lnTo>
                      <a:pt x="322" y="629"/>
                    </a:lnTo>
                    <a:lnTo>
                      <a:pt x="320" y="629"/>
                    </a:lnTo>
                    <a:lnTo>
                      <a:pt x="319" y="629"/>
                    </a:lnTo>
                    <a:lnTo>
                      <a:pt x="317" y="629"/>
                    </a:lnTo>
                    <a:lnTo>
                      <a:pt x="315" y="629"/>
                    </a:lnTo>
                    <a:lnTo>
                      <a:pt x="315" y="628"/>
                    </a:lnTo>
                    <a:lnTo>
                      <a:pt x="315" y="626"/>
                    </a:lnTo>
                    <a:lnTo>
                      <a:pt x="315" y="625"/>
                    </a:lnTo>
                    <a:lnTo>
                      <a:pt x="314" y="625"/>
                    </a:lnTo>
                    <a:lnTo>
                      <a:pt x="312" y="623"/>
                    </a:lnTo>
                    <a:lnTo>
                      <a:pt x="312" y="621"/>
                    </a:lnTo>
                    <a:lnTo>
                      <a:pt x="311" y="621"/>
                    </a:lnTo>
                    <a:lnTo>
                      <a:pt x="311" y="620"/>
                    </a:lnTo>
                    <a:lnTo>
                      <a:pt x="311" y="618"/>
                    </a:lnTo>
                    <a:lnTo>
                      <a:pt x="311" y="617"/>
                    </a:lnTo>
                    <a:lnTo>
                      <a:pt x="311" y="615"/>
                    </a:lnTo>
                    <a:lnTo>
                      <a:pt x="311" y="613"/>
                    </a:lnTo>
                    <a:lnTo>
                      <a:pt x="311" y="612"/>
                    </a:lnTo>
                    <a:lnTo>
                      <a:pt x="309" y="612"/>
                    </a:lnTo>
                    <a:lnTo>
                      <a:pt x="309" y="610"/>
                    </a:lnTo>
                    <a:lnTo>
                      <a:pt x="309" y="609"/>
                    </a:lnTo>
                    <a:lnTo>
                      <a:pt x="311" y="609"/>
                    </a:lnTo>
                    <a:lnTo>
                      <a:pt x="311" y="607"/>
                    </a:lnTo>
                    <a:lnTo>
                      <a:pt x="311" y="606"/>
                    </a:lnTo>
                    <a:lnTo>
                      <a:pt x="311" y="604"/>
                    </a:lnTo>
                    <a:lnTo>
                      <a:pt x="311" y="602"/>
                    </a:lnTo>
                    <a:lnTo>
                      <a:pt x="309" y="602"/>
                    </a:lnTo>
                    <a:lnTo>
                      <a:pt x="309" y="601"/>
                    </a:lnTo>
                    <a:lnTo>
                      <a:pt x="309" y="599"/>
                    </a:lnTo>
                    <a:lnTo>
                      <a:pt x="309" y="598"/>
                    </a:lnTo>
                    <a:lnTo>
                      <a:pt x="311" y="598"/>
                    </a:lnTo>
                    <a:lnTo>
                      <a:pt x="311" y="596"/>
                    </a:lnTo>
                    <a:lnTo>
                      <a:pt x="309" y="596"/>
                    </a:lnTo>
                    <a:lnTo>
                      <a:pt x="311" y="594"/>
                    </a:lnTo>
                    <a:lnTo>
                      <a:pt x="311" y="593"/>
                    </a:lnTo>
                    <a:lnTo>
                      <a:pt x="311" y="591"/>
                    </a:lnTo>
                    <a:lnTo>
                      <a:pt x="312" y="591"/>
                    </a:lnTo>
                    <a:lnTo>
                      <a:pt x="311" y="591"/>
                    </a:lnTo>
                    <a:lnTo>
                      <a:pt x="311" y="590"/>
                    </a:lnTo>
                    <a:lnTo>
                      <a:pt x="312" y="588"/>
                    </a:lnTo>
                    <a:lnTo>
                      <a:pt x="312" y="587"/>
                    </a:lnTo>
                    <a:lnTo>
                      <a:pt x="311" y="587"/>
                    </a:lnTo>
                    <a:lnTo>
                      <a:pt x="311" y="585"/>
                    </a:lnTo>
                    <a:lnTo>
                      <a:pt x="312" y="585"/>
                    </a:lnTo>
                    <a:lnTo>
                      <a:pt x="312" y="583"/>
                    </a:lnTo>
                    <a:lnTo>
                      <a:pt x="312" y="582"/>
                    </a:lnTo>
                    <a:lnTo>
                      <a:pt x="311" y="582"/>
                    </a:lnTo>
                    <a:lnTo>
                      <a:pt x="311" y="580"/>
                    </a:lnTo>
                    <a:lnTo>
                      <a:pt x="312" y="580"/>
                    </a:lnTo>
                    <a:lnTo>
                      <a:pt x="312" y="579"/>
                    </a:lnTo>
                    <a:lnTo>
                      <a:pt x="311" y="579"/>
                    </a:lnTo>
                    <a:lnTo>
                      <a:pt x="311" y="577"/>
                    </a:lnTo>
                    <a:lnTo>
                      <a:pt x="309" y="577"/>
                    </a:lnTo>
                    <a:lnTo>
                      <a:pt x="309" y="575"/>
                    </a:lnTo>
                    <a:lnTo>
                      <a:pt x="309" y="574"/>
                    </a:lnTo>
                    <a:lnTo>
                      <a:pt x="307" y="574"/>
                    </a:lnTo>
                    <a:lnTo>
                      <a:pt x="307" y="572"/>
                    </a:lnTo>
                    <a:lnTo>
                      <a:pt x="309" y="572"/>
                    </a:lnTo>
                    <a:lnTo>
                      <a:pt x="309" y="571"/>
                    </a:lnTo>
                    <a:lnTo>
                      <a:pt x="309" y="572"/>
                    </a:lnTo>
                    <a:lnTo>
                      <a:pt x="307" y="571"/>
                    </a:lnTo>
                    <a:lnTo>
                      <a:pt x="306" y="571"/>
                    </a:lnTo>
                    <a:lnTo>
                      <a:pt x="306" y="569"/>
                    </a:lnTo>
                    <a:lnTo>
                      <a:pt x="304" y="571"/>
                    </a:lnTo>
                    <a:lnTo>
                      <a:pt x="303" y="572"/>
                    </a:lnTo>
                    <a:lnTo>
                      <a:pt x="301" y="574"/>
                    </a:lnTo>
                    <a:lnTo>
                      <a:pt x="300" y="575"/>
                    </a:lnTo>
                    <a:lnTo>
                      <a:pt x="300" y="577"/>
                    </a:lnTo>
                    <a:lnTo>
                      <a:pt x="298" y="577"/>
                    </a:lnTo>
                    <a:lnTo>
                      <a:pt x="298" y="579"/>
                    </a:lnTo>
                    <a:lnTo>
                      <a:pt x="296" y="579"/>
                    </a:lnTo>
                    <a:lnTo>
                      <a:pt x="296" y="580"/>
                    </a:lnTo>
                    <a:lnTo>
                      <a:pt x="295" y="582"/>
                    </a:lnTo>
                    <a:lnTo>
                      <a:pt x="293" y="583"/>
                    </a:lnTo>
                    <a:lnTo>
                      <a:pt x="292" y="583"/>
                    </a:lnTo>
                    <a:lnTo>
                      <a:pt x="288" y="587"/>
                    </a:lnTo>
                    <a:lnTo>
                      <a:pt x="288" y="588"/>
                    </a:lnTo>
                    <a:lnTo>
                      <a:pt x="287" y="588"/>
                    </a:lnTo>
                    <a:lnTo>
                      <a:pt x="285" y="588"/>
                    </a:lnTo>
                    <a:lnTo>
                      <a:pt x="285" y="590"/>
                    </a:lnTo>
                    <a:lnTo>
                      <a:pt x="284" y="590"/>
                    </a:lnTo>
                    <a:lnTo>
                      <a:pt x="282" y="591"/>
                    </a:lnTo>
                    <a:lnTo>
                      <a:pt x="281" y="591"/>
                    </a:lnTo>
                    <a:lnTo>
                      <a:pt x="281" y="593"/>
                    </a:lnTo>
                    <a:lnTo>
                      <a:pt x="279" y="593"/>
                    </a:lnTo>
                    <a:lnTo>
                      <a:pt x="277" y="594"/>
                    </a:lnTo>
                    <a:lnTo>
                      <a:pt x="276" y="594"/>
                    </a:lnTo>
                    <a:lnTo>
                      <a:pt x="276" y="596"/>
                    </a:lnTo>
                    <a:lnTo>
                      <a:pt x="274" y="596"/>
                    </a:lnTo>
                    <a:lnTo>
                      <a:pt x="274" y="598"/>
                    </a:lnTo>
                    <a:lnTo>
                      <a:pt x="273" y="599"/>
                    </a:lnTo>
                    <a:lnTo>
                      <a:pt x="271" y="601"/>
                    </a:lnTo>
                    <a:lnTo>
                      <a:pt x="269" y="602"/>
                    </a:lnTo>
                    <a:lnTo>
                      <a:pt x="268" y="604"/>
                    </a:lnTo>
                    <a:lnTo>
                      <a:pt x="266" y="606"/>
                    </a:lnTo>
                    <a:lnTo>
                      <a:pt x="265" y="606"/>
                    </a:lnTo>
                    <a:lnTo>
                      <a:pt x="265" y="607"/>
                    </a:lnTo>
                    <a:lnTo>
                      <a:pt x="263" y="607"/>
                    </a:lnTo>
                    <a:lnTo>
                      <a:pt x="263" y="609"/>
                    </a:lnTo>
                    <a:lnTo>
                      <a:pt x="262" y="609"/>
                    </a:lnTo>
                    <a:lnTo>
                      <a:pt x="260" y="609"/>
                    </a:lnTo>
                    <a:lnTo>
                      <a:pt x="260" y="607"/>
                    </a:lnTo>
                    <a:lnTo>
                      <a:pt x="258" y="607"/>
                    </a:lnTo>
                    <a:lnTo>
                      <a:pt x="257" y="607"/>
                    </a:lnTo>
                    <a:lnTo>
                      <a:pt x="255" y="607"/>
                    </a:lnTo>
                    <a:lnTo>
                      <a:pt x="254" y="607"/>
                    </a:lnTo>
                    <a:lnTo>
                      <a:pt x="252" y="607"/>
                    </a:lnTo>
                    <a:lnTo>
                      <a:pt x="252" y="606"/>
                    </a:lnTo>
                    <a:lnTo>
                      <a:pt x="250" y="606"/>
                    </a:lnTo>
                    <a:lnTo>
                      <a:pt x="250" y="604"/>
                    </a:lnTo>
                    <a:lnTo>
                      <a:pt x="249" y="602"/>
                    </a:lnTo>
                    <a:lnTo>
                      <a:pt x="247" y="602"/>
                    </a:lnTo>
                    <a:lnTo>
                      <a:pt x="247" y="601"/>
                    </a:lnTo>
                    <a:lnTo>
                      <a:pt x="247" y="599"/>
                    </a:lnTo>
                    <a:lnTo>
                      <a:pt x="247" y="598"/>
                    </a:lnTo>
                    <a:lnTo>
                      <a:pt x="249" y="598"/>
                    </a:lnTo>
                    <a:lnTo>
                      <a:pt x="247" y="596"/>
                    </a:lnTo>
                    <a:lnTo>
                      <a:pt x="246" y="596"/>
                    </a:lnTo>
                    <a:lnTo>
                      <a:pt x="246" y="594"/>
                    </a:lnTo>
                    <a:lnTo>
                      <a:pt x="247" y="594"/>
                    </a:lnTo>
                    <a:lnTo>
                      <a:pt x="247" y="593"/>
                    </a:lnTo>
                    <a:lnTo>
                      <a:pt x="246" y="593"/>
                    </a:lnTo>
                    <a:lnTo>
                      <a:pt x="246" y="591"/>
                    </a:lnTo>
                    <a:lnTo>
                      <a:pt x="247" y="591"/>
                    </a:lnTo>
                    <a:lnTo>
                      <a:pt x="247" y="590"/>
                    </a:lnTo>
                    <a:lnTo>
                      <a:pt x="247" y="588"/>
                    </a:lnTo>
                    <a:lnTo>
                      <a:pt x="246" y="588"/>
                    </a:lnTo>
                    <a:lnTo>
                      <a:pt x="246" y="587"/>
                    </a:lnTo>
                    <a:lnTo>
                      <a:pt x="246" y="585"/>
                    </a:lnTo>
                    <a:lnTo>
                      <a:pt x="246" y="583"/>
                    </a:lnTo>
                    <a:lnTo>
                      <a:pt x="246" y="582"/>
                    </a:lnTo>
                    <a:lnTo>
                      <a:pt x="244" y="582"/>
                    </a:lnTo>
                    <a:lnTo>
                      <a:pt x="244" y="580"/>
                    </a:lnTo>
                    <a:lnTo>
                      <a:pt x="244" y="579"/>
                    </a:lnTo>
                    <a:lnTo>
                      <a:pt x="244" y="577"/>
                    </a:lnTo>
                    <a:lnTo>
                      <a:pt x="244" y="575"/>
                    </a:lnTo>
                    <a:lnTo>
                      <a:pt x="244" y="574"/>
                    </a:lnTo>
                    <a:lnTo>
                      <a:pt x="243" y="574"/>
                    </a:lnTo>
                    <a:lnTo>
                      <a:pt x="243" y="572"/>
                    </a:lnTo>
                    <a:lnTo>
                      <a:pt x="243" y="571"/>
                    </a:lnTo>
                    <a:lnTo>
                      <a:pt x="241" y="571"/>
                    </a:lnTo>
                    <a:lnTo>
                      <a:pt x="239" y="569"/>
                    </a:lnTo>
                    <a:lnTo>
                      <a:pt x="238" y="569"/>
                    </a:lnTo>
                    <a:lnTo>
                      <a:pt x="238" y="568"/>
                    </a:lnTo>
                    <a:lnTo>
                      <a:pt x="236" y="568"/>
                    </a:lnTo>
                    <a:lnTo>
                      <a:pt x="236" y="566"/>
                    </a:lnTo>
                    <a:lnTo>
                      <a:pt x="236" y="564"/>
                    </a:lnTo>
                    <a:lnTo>
                      <a:pt x="235" y="564"/>
                    </a:lnTo>
                    <a:lnTo>
                      <a:pt x="235" y="563"/>
                    </a:lnTo>
                    <a:lnTo>
                      <a:pt x="233" y="563"/>
                    </a:lnTo>
                    <a:lnTo>
                      <a:pt x="231" y="561"/>
                    </a:lnTo>
                    <a:lnTo>
                      <a:pt x="231" y="560"/>
                    </a:lnTo>
                    <a:lnTo>
                      <a:pt x="230" y="560"/>
                    </a:lnTo>
                    <a:lnTo>
                      <a:pt x="230" y="558"/>
                    </a:lnTo>
                    <a:lnTo>
                      <a:pt x="228" y="560"/>
                    </a:lnTo>
                    <a:lnTo>
                      <a:pt x="227" y="560"/>
                    </a:lnTo>
                    <a:lnTo>
                      <a:pt x="227" y="558"/>
                    </a:lnTo>
                    <a:lnTo>
                      <a:pt x="227" y="556"/>
                    </a:lnTo>
                    <a:lnTo>
                      <a:pt x="227" y="555"/>
                    </a:lnTo>
                    <a:lnTo>
                      <a:pt x="227" y="553"/>
                    </a:lnTo>
                    <a:lnTo>
                      <a:pt x="227" y="552"/>
                    </a:lnTo>
                    <a:lnTo>
                      <a:pt x="225" y="552"/>
                    </a:lnTo>
                    <a:lnTo>
                      <a:pt x="225" y="550"/>
                    </a:lnTo>
                    <a:lnTo>
                      <a:pt x="224" y="550"/>
                    </a:lnTo>
                    <a:lnTo>
                      <a:pt x="224" y="549"/>
                    </a:lnTo>
                    <a:lnTo>
                      <a:pt x="224" y="547"/>
                    </a:lnTo>
                    <a:lnTo>
                      <a:pt x="222" y="547"/>
                    </a:lnTo>
                    <a:lnTo>
                      <a:pt x="222" y="545"/>
                    </a:lnTo>
                    <a:lnTo>
                      <a:pt x="222" y="544"/>
                    </a:lnTo>
                    <a:lnTo>
                      <a:pt x="220" y="544"/>
                    </a:lnTo>
                    <a:lnTo>
                      <a:pt x="220" y="542"/>
                    </a:lnTo>
                    <a:lnTo>
                      <a:pt x="219" y="542"/>
                    </a:lnTo>
                    <a:lnTo>
                      <a:pt x="217" y="542"/>
                    </a:lnTo>
                    <a:lnTo>
                      <a:pt x="216" y="541"/>
                    </a:lnTo>
                    <a:lnTo>
                      <a:pt x="216" y="539"/>
                    </a:lnTo>
                    <a:lnTo>
                      <a:pt x="214" y="539"/>
                    </a:lnTo>
                    <a:lnTo>
                      <a:pt x="214" y="537"/>
                    </a:lnTo>
                    <a:lnTo>
                      <a:pt x="214" y="536"/>
                    </a:lnTo>
                    <a:lnTo>
                      <a:pt x="212" y="536"/>
                    </a:lnTo>
                    <a:lnTo>
                      <a:pt x="211" y="536"/>
                    </a:lnTo>
                    <a:lnTo>
                      <a:pt x="209" y="536"/>
                    </a:lnTo>
                    <a:lnTo>
                      <a:pt x="209" y="534"/>
                    </a:lnTo>
                    <a:lnTo>
                      <a:pt x="208" y="534"/>
                    </a:lnTo>
                    <a:lnTo>
                      <a:pt x="208" y="533"/>
                    </a:lnTo>
                    <a:lnTo>
                      <a:pt x="206" y="533"/>
                    </a:lnTo>
                    <a:lnTo>
                      <a:pt x="206" y="531"/>
                    </a:lnTo>
                    <a:lnTo>
                      <a:pt x="206" y="530"/>
                    </a:lnTo>
                    <a:lnTo>
                      <a:pt x="206" y="528"/>
                    </a:lnTo>
                    <a:lnTo>
                      <a:pt x="204" y="528"/>
                    </a:lnTo>
                    <a:lnTo>
                      <a:pt x="203" y="528"/>
                    </a:lnTo>
                    <a:lnTo>
                      <a:pt x="203" y="526"/>
                    </a:lnTo>
                    <a:lnTo>
                      <a:pt x="203" y="525"/>
                    </a:lnTo>
                    <a:lnTo>
                      <a:pt x="203" y="523"/>
                    </a:lnTo>
                    <a:lnTo>
                      <a:pt x="203" y="522"/>
                    </a:lnTo>
                    <a:lnTo>
                      <a:pt x="203" y="520"/>
                    </a:lnTo>
                    <a:lnTo>
                      <a:pt x="201" y="520"/>
                    </a:lnTo>
                    <a:lnTo>
                      <a:pt x="201" y="518"/>
                    </a:lnTo>
                    <a:lnTo>
                      <a:pt x="201" y="517"/>
                    </a:lnTo>
                    <a:lnTo>
                      <a:pt x="200" y="517"/>
                    </a:lnTo>
                    <a:lnTo>
                      <a:pt x="200" y="515"/>
                    </a:lnTo>
                    <a:lnTo>
                      <a:pt x="201" y="514"/>
                    </a:lnTo>
                    <a:lnTo>
                      <a:pt x="203" y="514"/>
                    </a:lnTo>
                    <a:lnTo>
                      <a:pt x="201" y="514"/>
                    </a:lnTo>
                    <a:lnTo>
                      <a:pt x="201" y="512"/>
                    </a:lnTo>
                    <a:lnTo>
                      <a:pt x="200" y="512"/>
                    </a:lnTo>
                    <a:lnTo>
                      <a:pt x="198" y="512"/>
                    </a:lnTo>
                    <a:lnTo>
                      <a:pt x="197" y="512"/>
                    </a:lnTo>
                    <a:lnTo>
                      <a:pt x="197" y="514"/>
                    </a:lnTo>
                    <a:lnTo>
                      <a:pt x="195" y="514"/>
                    </a:lnTo>
                    <a:lnTo>
                      <a:pt x="195" y="512"/>
                    </a:lnTo>
                    <a:lnTo>
                      <a:pt x="193" y="512"/>
                    </a:lnTo>
                    <a:lnTo>
                      <a:pt x="192" y="512"/>
                    </a:lnTo>
                    <a:lnTo>
                      <a:pt x="192" y="514"/>
                    </a:lnTo>
                    <a:lnTo>
                      <a:pt x="190" y="514"/>
                    </a:lnTo>
                    <a:lnTo>
                      <a:pt x="190" y="512"/>
                    </a:lnTo>
                    <a:lnTo>
                      <a:pt x="189" y="512"/>
                    </a:lnTo>
                    <a:lnTo>
                      <a:pt x="189" y="511"/>
                    </a:lnTo>
                    <a:lnTo>
                      <a:pt x="187" y="511"/>
                    </a:lnTo>
                    <a:lnTo>
                      <a:pt x="185" y="512"/>
                    </a:lnTo>
                    <a:lnTo>
                      <a:pt x="185" y="514"/>
                    </a:lnTo>
                    <a:lnTo>
                      <a:pt x="184" y="514"/>
                    </a:lnTo>
                    <a:lnTo>
                      <a:pt x="182" y="514"/>
                    </a:lnTo>
                    <a:lnTo>
                      <a:pt x="182" y="515"/>
                    </a:lnTo>
                    <a:lnTo>
                      <a:pt x="181" y="515"/>
                    </a:lnTo>
                    <a:lnTo>
                      <a:pt x="181" y="514"/>
                    </a:lnTo>
                    <a:lnTo>
                      <a:pt x="179" y="512"/>
                    </a:lnTo>
                    <a:lnTo>
                      <a:pt x="178" y="512"/>
                    </a:lnTo>
                    <a:lnTo>
                      <a:pt x="176" y="512"/>
                    </a:lnTo>
                    <a:lnTo>
                      <a:pt x="174" y="512"/>
                    </a:lnTo>
                    <a:lnTo>
                      <a:pt x="174" y="511"/>
                    </a:lnTo>
                    <a:lnTo>
                      <a:pt x="173" y="511"/>
                    </a:lnTo>
                    <a:lnTo>
                      <a:pt x="171" y="511"/>
                    </a:lnTo>
                    <a:lnTo>
                      <a:pt x="171" y="512"/>
                    </a:lnTo>
                    <a:lnTo>
                      <a:pt x="170" y="511"/>
                    </a:lnTo>
                    <a:lnTo>
                      <a:pt x="168" y="511"/>
                    </a:lnTo>
                    <a:lnTo>
                      <a:pt x="168" y="509"/>
                    </a:lnTo>
                    <a:lnTo>
                      <a:pt x="168" y="507"/>
                    </a:lnTo>
                    <a:lnTo>
                      <a:pt x="166" y="507"/>
                    </a:lnTo>
                    <a:lnTo>
                      <a:pt x="165" y="507"/>
                    </a:lnTo>
                    <a:lnTo>
                      <a:pt x="163" y="507"/>
                    </a:lnTo>
                    <a:lnTo>
                      <a:pt x="163" y="506"/>
                    </a:lnTo>
                    <a:lnTo>
                      <a:pt x="162" y="506"/>
                    </a:lnTo>
                    <a:lnTo>
                      <a:pt x="160" y="506"/>
                    </a:lnTo>
                    <a:lnTo>
                      <a:pt x="160" y="504"/>
                    </a:lnTo>
                    <a:lnTo>
                      <a:pt x="159" y="506"/>
                    </a:lnTo>
                    <a:lnTo>
                      <a:pt x="157" y="506"/>
                    </a:lnTo>
                    <a:lnTo>
                      <a:pt x="155" y="506"/>
                    </a:lnTo>
                    <a:lnTo>
                      <a:pt x="155" y="504"/>
                    </a:lnTo>
                    <a:lnTo>
                      <a:pt x="155" y="503"/>
                    </a:lnTo>
                    <a:lnTo>
                      <a:pt x="154" y="503"/>
                    </a:lnTo>
                    <a:lnTo>
                      <a:pt x="152" y="503"/>
                    </a:lnTo>
                    <a:lnTo>
                      <a:pt x="152" y="501"/>
                    </a:lnTo>
                    <a:lnTo>
                      <a:pt x="152" y="499"/>
                    </a:lnTo>
                    <a:lnTo>
                      <a:pt x="151" y="499"/>
                    </a:lnTo>
                    <a:lnTo>
                      <a:pt x="151" y="501"/>
                    </a:lnTo>
                    <a:lnTo>
                      <a:pt x="149" y="503"/>
                    </a:lnTo>
                    <a:lnTo>
                      <a:pt x="147" y="503"/>
                    </a:lnTo>
                    <a:lnTo>
                      <a:pt x="146" y="503"/>
                    </a:lnTo>
                    <a:lnTo>
                      <a:pt x="146" y="504"/>
                    </a:lnTo>
                    <a:lnTo>
                      <a:pt x="144" y="504"/>
                    </a:lnTo>
                    <a:lnTo>
                      <a:pt x="144" y="506"/>
                    </a:lnTo>
                    <a:lnTo>
                      <a:pt x="144" y="507"/>
                    </a:lnTo>
                    <a:lnTo>
                      <a:pt x="146" y="509"/>
                    </a:lnTo>
                    <a:lnTo>
                      <a:pt x="144" y="509"/>
                    </a:lnTo>
                    <a:lnTo>
                      <a:pt x="143" y="509"/>
                    </a:lnTo>
                    <a:lnTo>
                      <a:pt x="143" y="507"/>
                    </a:lnTo>
                    <a:lnTo>
                      <a:pt x="143" y="506"/>
                    </a:lnTo>
                    <a:lnTo>
                      <a:pt x="141" y="506"/>
                    </a:lnTo>
                    <a:lnTo>
                      <a:pt x="141" y="507"/>
                    </a:lnTo>
                    <a:lnTo>
                      <a:pt x="141" y="509"/>
                    </a:lnTo>
                    <a:lnTo>
                      <a:pt x="141" y="511"/>
                    </a:lnTo>
                    <a:lnTo>
                      <a:pt x="140" y="511"/>
                    </a:lnTo>
                    <a:lnTo>
                      <a:pt x="140" y="512"/>
                    </a:lnTo>
                    <a:lnTo>
                      <a:pt x="138" y="512"/>
                    </a:lnTo>
                    <a:lnTo>
                      <a:pt x="138" y="514"/>
                    </a:lnTo>
                    <a:lnTo>
                      <a:pt x="138" y="515"/>
                    </a:lnTo>
                    <a:lnTo>
                      <a:pt x="136" y="517"/>
                    </a:lnTo>
                    <a:lnTo>
                      <a:pt x="136" y="518"/>
                    </a:lnTo>
                    <a:lnTo>
                      <a:pt x="136" y="520"/>
                    </a:lnTo>
                    <a:lnTo>
                      <a:pt x="136" y="522"/>
                    </a:lnTo>
                    <a:lnTo>
                      <a:pt x="135" y="522"/>
                    </a:lnTo>
                    <a:lnTo>
                      <a:pt x="135" y="523"/>
                    </a:lnTo>
                    <a:lnTo>
                      <a:pt x="133" y="525"/>
                    </a:lnTo>
                    <a:lnTo>
                      <a:pt x="133" y="526"/>
                    </a:lnTo>
                    <a:lnTo>
                      <a:pt x="133" y="528"/>
                    </a:lnTo>
                    <a:lnTo>
                      <a:pt x="133" y="530"/>
                    </a:lnTo>
                    <a:lnTo>
                      <a:pt x="132" y="530"/>
                    </a:lnTo>
                    <a:lnTo>
                      <a:pt x="132" y="531"/>
                    </a:lnTo>
                    <a:lnTo>
                      <a:pt x="130" y="533"/>
                    </a:lnTo>
                    <a:lnTo>
                      <a:pt x="128" y="533"/>
                    </a:lnTo>
                    <a:lnTo>
                      <a:pt x="127" y="533"/>
                    </a:lnTo>
                    <a:lnTo>
                      <a:pt x="125" y="533"/>
                    </a:lnTo>
                    <a:lnTo>
                      <a:pt x="124" y="533"/>
                    </a:lnTo>
                    <a:lnTo>
                      <a:pt x="124" y="531"/>
                    </a:lnTo>
                    <a:lnTo>
                      <a:pt x="124" y="533"/>
                    </a:lnTo>
                    <a:lnTo>
                      <a:pt x="122" y="533"/>
                    </a:lnTo>
                    <a:lnTo>
                      <a:pt x="121" y="533"/>
                    </a:lnTo>
                    <a:lnTo>
                      <a:pt x="119" y="534"/>
                    </a:lnTo>
                    <a:lnTo>
                      <a:pt x="117" y="534"/>
                    </a:lnTo>
                    <a:lnTo>
                      <a:pt x="116" y="534"/>
                    </a:lnTo>
                    <a:lnTo>
                      <a:pt x="116" y="533"/>
                    </a:lnTo>
                    <a:lnTo>
                      <a:pt x="114" y="533"/>
                    </a:lnTo>
                    <a:lnTo>
                      <a:pt x="113" y="533"/>
                    </a:lnTo>
                    <a:lnTo>
                      <a:pt x="113" y="534"/>
                    </a:lnTo>
                    <a:lnTo>
                      <a:pt x="113" y="536"/>
                    </a:lnTo>
                    <a:lnTo>
                      <a:pt x="113" y="537"/>
                    </a:lnTo>
                    <a:lnTo>
                      <a:pt x="113" y="539"/>
                    </a:lnTo>
                    <a:lnTo>
                      <a:pt x="111" y="539"/>
                    </a:lnTo>
                    <a:lnTo>
                      <a:pt x="111" y="541"/>
                    </a:lnTo>
                    <a:lnTo>
                      <a:pt x="111" y="542"/>
                    </a:lnTo>
                    <a:lnTo>
                      <a:pt x="109" y="544"/>
                    </a:lnTo>
                    <a:lnTo>
                      <a:pt x="109" y="545"/>
                    </a:lnTo>
                    <a:lnTo>
                      <a:pt x="109" y="547"/>
                    </a:lnTo>
                    <a:lnTo>
                      <a:pt x="108" y="547"/>
                    </a:lnTo>
                    <a:lnTo>
                      <a:pt x="106" y="547"/>
                    </a:lnTo>
                    <a:lnTo>
                      <a:pt x="105" y="547"/>
                    </a:lnTo>
                    <a:lnTo>
                      <a:pt x="105" y="549"/>
                    </a:lnTo>
                    <a:lnTo>
                      <a:pt x="103" y="550"/>
                    </a:lnTo>
                    <a:lnTo>
                      <a:pt x="103" y="549"/>
                    </a:lnTo>
                    <a:lnTo>
                      <a:pt x="103" y="550"/>
                    </a:lnTo>
                    <a:lnTo>
                      <a:pt x="103" y="552"/>
                    </a:lnTo>
                    <a:lnTo>
                      <a:pt x="102" y="552"/>
                    </a:lnTo>
                    <a:lnTo>
                      <a:pt x="102" y="553"/>
                    </a:lnTo>
                    <a:lnTo>
                      <a:pt x="102" y="552"/>
                    </a:lnTo>
                    <a:lnTo>
                      <a:pt x="100" y="552"/>
                    </a:lnTo>
                    <a:lnTo>
                      <a:pt x="98" y="552"/>
                    </a:lnTo>
                    <a:lnTo>
                      <a:pt x="98" y="553"/>
                    </a:lnTo>
                    <a:lnTo>
                      <a:pt x="98" y="555"/>
                    </a:lnTo>
                    <a:lnTo>
                      <a:pt x="97" y="555"/>
                    </a:lnTo>
                    <a:lnTo>
                      <a:pt x="95" y="555"/>
                    </a:lnTo>
                    <a:lnTo>
                      <a:pt x="95" y="553"/>
                    </a:lnTo>
                    <a:lnTo>
                      <a:pt x="94" y="553"/>
                    </a:lnTo>
                    <a:lnTo>
                      <a:pt x="94" y="555"/>
                    </a:lnTo>
                    <a:lnTo>
                      <a:pt x="94" y="556"/>
                    </a:lnTo>
                    <a:lnTo>
                      <a:pt x="92" y="556"/>
                    </a:lnTo>
                    <a:lnTo>
                      <a:pt x="92" y="558"/>
                    </a:lnTo>
                    <a:lnTo>
                      <a:pt x="90" y="556"/>
                    </a:lnTo>
                    <a:lnTo>
                      <a:pt x="90" y="558"/>
                    </a:lnTo>
                    <a:lnTo>
                      <a:pt x="89" y="558"/>
                    </a:lnTo>
                    <a:lnTo>
                      <a:pt x="87" y="558"/>
                    </a:lnTo>
                    <a:lnTo>
                      <a:pt x="87" y="560"/>
                    </a:lnTo>
                    <a:lnTo>
                      <a:pt x="87" y="561"/>
                    </a:lnTo>
                    <a:lnTo>
                      <a:pt x="89" y="563"/>
                    </a:lnTo>
                    <a:lnTo>
                      <a:pt x="87" y="564"/>
                    </a:lnTo>
                    <a:lnTo>
                      <a:pt x="89" y="564"/>
                    </a:lnTo>
                    <a:lnTo>
                      <a:pt x="89" y="566"/>
                    </a:lnTo>
                    <a:lnTo>
                      <a:pt x="87" y="566"/>
                    </a:lnTo>
                    <a:lnTo>
                      <a:pt x="86" y="568"/>
                    </a:lnTo>
                    <a:lnTo>
                      <a:pt x="86" y="569"/>
                    </a:lnTo>
                    <a:lnTo>
                      <a:pt x="86" y="571"/>
                    </a:lnTo>
                    <a:lnTo>
                      <a:pt x="84" y="571"/>
                    </a:lnTo>
                    <a:lnTo>
                      <a:pt x="83" y="571"/>
                    </a:lnTo>
                    <a:lnTo>
                      <a:pt x="83" y="572"/>
                    </a:lnTo>
                    <a:lnTo>
                      <a:pt x="81" y="572"/>
                    </a:lnTo>
                    <a:lnTo>
                      <a:pt x="79" y="572"/>
                    </a:lnTo>
                    <a:lnTo>
                      <a:pt x="79" y="574"/>
                    </a:lnTo>
                    <a:lnTo>
                      <a:pt x="81" y="574"/>
                    </a:lnTo>
                    <a:lnTo>
                      <a:pt x="81" y="575"/>
                    </a:lnTo>
                    <a:lnTo>
                      <a:pt x="81" y="577"/>
                    </a:lnTo>
                    <a:lnTo>
                      <a:pt x="79" y="577"/>
                    </a:lnTo>
                    <a:lnTo>
                      <a:pt x="78" y="577"/>
                    </a:lnTo>
                    <a:lnTo>
                      <a:pt x="78" y="575"/>
                    </a:lnTo>
                    <a:lnTo>
                      <a:pt x="76" y="577"/>
                    </a:lnTo>
                    <a:lnTo>
                      <a:pt x="75" y="577"/>
                    </a:lnTo>
                    <a:lnTo>
                      <a:pt x="73" y="577"/>
                    </a:lnTo>
                    <a:lnTo>
                      <a:pt x="73" y="575"/>
                    </a:lnTo>
                    <a:lnTo>
                      <a:pt x="73" y="574"/>
                    </a:lnTo>
                    <a:lnTo>
                      <a:pt x="73" y="572"/>
                    </a:lnTo>
                    <a:lnTo>
                      <a:pt x="71" y="572"/>
                    </a:lnTo>
                    <a:lnTo>
                      <a:pt x="70" y="572"/>
                    </a:lnTo>
                    <a:lnTo>
                      <a:pt x="68" y="572"/>
                    </a:lnTo>
                    <a:lnTo>
                      <a:pt x="67" y="574"/>
                    </a:lnTo>
                    <a:lnTo>
                      <a:pt x="65" y="574"/>
                    </a:lnTo>
                    <a:lnTo>
                      <a:pt x="64" y="574"/>
                    </a:lnTo>
                    <a:lnTo>
                      <a:pt x="64" y="572"/>
                    </a:lnTo>
                    <a:lnTo>
                      <a:pt x="62" y="574"/>
                    </a:lnTo>
                    <a:lnTo>
                      <a:pt x="60" y="574"/>
                    </a:lnTo>
                    <a:lnTo>
                      <a:pt x="60" y="575"/>
                    </a:lnTo>
                    <a:lnTo>
                      <a:pt x="59" y="574"/>
                    </a:lnTo>
                    <a:lnTo>
                      <a:pt x="57" y="572"/>
                    </a:lnTo>
                    <a:lnTo>
                      <a:pt x="57" y="574"/>
                    </a:lnTo>
                    <a:lnTo>
                      <a:pt x="56" y="574"/>
                    </a:lnTo>
                    <a:lnTo>
                      <a:pt x="56" y="575"/>
                    </a:lnTo>
                    <a:lnTo>
                      <a:pt x="54" y="575"/>
                    </a:lnTo>
                    <a:lnTo>
                      <a:pt x="54" y="577"/>
                    </a:lnTo>
                    <a:lnTo>
                      <a:pt x="54" y="575"/>
                    </a:lnTo>
                    <a:lnTo>
                      <a:pt x="52" y="575"/>
                    </a:lnTo>
                    <a:lnTo>
                      <a:pt x="52" y="574"/>
                    </a:lnTo>
                    <a:lnTo>
                      <a:pt x="52" y="575"/>
                    </a:lnTo>
                    <a:lnTo>
                      <a:pt x="51" y="575"/>
                    </a:lnTo>
                    <a:lnTo>
                      <a:pt x="49" y="575"/>
                    </a:lnTo>
                    <a:lnTo>
                      <a:pt x="48" y="575"/>
                    </a:lnTo>
                    <a:lnTo>
                      <a:pt x="46" y="575"/>
                    </a:lnTo>
                    <a:lnTo>
                      <a:pt x="45" y="575"/>
                    </a:lnTo>
                    <a:lnTo>
                      <a:pt x="45" y="577"/>
                    </a:lnTo>
                    <a:lnTo>
                      <a:pt x="43" y="577"/>
                    </a:lnTo>
                    <a:lnTo>
                      <a:pt x="43" y="579"/>
                    </a:lnTo>
                    <a:lnTo>
                      <a:pt x="41" y="579"/>
                    </a:lnTo>
                    <a:lnTo>
                      <a:pt x="40" y="579"/>
                    </a:lnTo>
                    <a:lnTo>
                      <a:pt x="40" y="577"/>
                    </a:lnTo>
                    <a:lnTo>
                      <a:pt x="40" y="575"/>
                    </a:lnTo>
                    <a:lnTo>
                      <a:pt x="38" y="577"/>
                    </a:lnTo>
                    <a:lnTo>
                      <a:pt x="38" y="575"/>
                    </a:lnTo>
                    <a:lnTo>
                      <a:pt x="37" y="575"/>
                    </a:lnTo>
                    <a:lnTo>
                      <a:pt x="37" y="577"/>
                    </a:lnTo>
                    <a:lnTo>
                      <a:pt x="35" y="577"/>
                    </a:lnTo>
                    <a:lnTo>
                      <a:pt x="35" y="579"/>
                    </a:lnTo>
                    <a:lnTo>
                      <a:pt x="33" y="579"/>
                    </a:lnTo>
                    <a:lnTo>
                      <a:pt x="32" y="579"/>
                    </a:lnTo>
                    <a:lnTo>
                      <a:pt x="30" y="579"/>
                    </a:lnTo>
                    <a:lnTo>
                      <a:pt x="29" y="577"/>
                    </a:lnTo>
                    <a:lnTo>
                      <a:pt x="29" y="575"/>
                    </a:lnTo>
                    <a:lnTo>
                      <a:pt x="29" y="574"/>
                    </a:lnTo>
                    <a:lnTo>
                      <a:pt x="27" y="574"/>
                    </a:lnTo>
                    <a:lnTo>
                      <a:pt x="26" y="574"/>
                    </a:lnTo>
                    <a:lnTo>
                      <a:pt x="26" y="575"/>
                    </a:lnTo>
                    <a:lnTo>
                      <a:pt x="24" y="575"/>
                    </a:lnTo>
                    <a:lnTo>
                      <a:pt x="24" y="577"/>
                    </a:lnTo>
                    <a:lnTo>
                      <a:pt x="22" y="577"/>
                    </a:lnTo>
                    <a:lnTo>
                      <a:pt x="21" y="577"/>
                    </a:lnTo>
                    <a:lnTo>
                      <a:pt x="22" y="577"/>
                    </a:lnTo>
                    <a:lnTo>
                      <a:pt x="22" y="575"/>
                    </a:lnTo>
                    <a:lnTo>
                      <a:pt x="21" y="575"/>
                    </a:lnTo>
                    <a:lnTo>
                      <a:pt x="19" y="575"/>
                    </a:lnTo>
                    <a:lnTo>
                      <a:pt x="18" y="575"/>
                    </a:lnTo>
                    <a:lnTo>
                      <a:pt x="18" y="577"/>
                    </a:lnTo>
                    <a:lnTo>
                      <a:pt x="18" y="579"/>
                    </a:lnTo>
                    <a:lnTo>
                      <a:pt x="16" y="579"/>
                    </a:lnTo>
                    <a:lnTo>
                      <a:pt x="16" y="577"/>
                    </a:lnTo>
                    <a:lnTo>
                      <a:pt x="14" y="577"/>
                    </a:lnTo>
                    <a:lnTo>
                      <a:pt x="14" y="575"/>
                    </a:lnTo>
                    <a:lnTo>
                      <a:pt x="13" y="575"/>
                    </a:lnTo>
                    <a:lnTo>
                      <a:pt x="11" y="575"/>
                    </a:lnTo>
                    <a:lnTo>
                      <a:pt x="11" y="574"/>
                    </a:lnTo>
                    <a:lnTo>
                      <a:pt x="10" y="574"/>
                    </a:lnTo>
                    <a:lnTo>
                      <a:pt x="10" y="572"/>
                    </a:lnTo>
                    <a:lnTo>
                      <a:pt x="8" y="572"/>
                    </a:lnTo>
                    <a:lnTo>
                      <a:pt x="8" y="574"/>
                    </a:lnTo>
                    <a:lnTo>
                      <a:pt x="6" y="574"/>
                    </a:lnTo>
                    <a:lnTo>
                      <a:pt x="6" y="572"/>
                    </a:lnTo>
                    <a:lnTo>
                      <a:pt x="6" y="571"/>
                    </a:lnTo>
                    <a:lnTo>
                      <a:pt x="6" y="569"/>
                    </a:lnTo>
                    <a:lnTo>
                      <a:pt x="8" y="569"/>
                    </a:lnTo>
                    <a:lnTo>
                      <a:pt x="8" y="568"/>
                    </a:lnTo>
                    <a:lnTo>
                      <a:pt x="10" y="568"/>
                    </a:lnTo>
                    <a:lnTo>
                      <a:pt x="10" y="566"/>
                    </a:lnTo>
                    <a:lnTo>
                      <a:pt x="10" y="564"/>
                    </a:lnTo>
                    <a:lnTo>
                      <a:pt x="10" y="563"/>
                    </a:lnTo>
                    <a:lnTo>
                      <a:pt x="8" y="564"/>
                    </a:lnTo>
                    <a:lnTo>
                      <a:pt x="6" y="564"/>
                    </a:lnTo>
                    <a:lnTo>
                      <a:pt x="6" y="566"/>
                    </a:lnTo>
                    <a:lnTo>
                      <a:pt x="6" y="564"/>
                    </a:lnTo>
                    <a:lnTo>
                      <a:pt x="6" y="563"/>
                    </a:lnTo>
                    <a:lnTo>
                      <a:pt x="5" y="563"/>
                    </a:lnTo>
                    <a:lnTo>
                      <a:pt x="5" y="561"/>
                    </a:lnTo>
                    <a:lnTo>
                      <a:pt x="3" y="561"/>
                    </a:lnTo>
                    <a:lnTo>
                      <a:pt x="3" y="560"/>
                    </a:lnTo>
                    <a:lnTo>
                      <a:pt x="3" y="558"/>
                    </a:lnTo>
                    <a:lnTo>
                      <a:pt x="3" y="556"/>
                    </a:lnTo>
                    <a:lnTo>
                      <a:pt x="2" y="556"/>
                    </a:lnTo>
                    <a:lnTo>
                      <a:pt x="2" y="555"/>
                    </a:lnTo>
                    <a:lnTo>
                      <a:pt x="2" y="553"/>
                    </a:lnTo>
                    <a:lnTo>
                      <a:pt x="3" y="553"/>
                    </a:lnTo>
                    <a:lnTo>
                      <a:pt x="3" y="552"/>
                    </a:lnTo>
                    <a:lnTo>
                      <a:pt x="5" y="550"/>
                    </a:lnTo>
                    <a:lnTo>
                      <a:pt x="5" y="549"/>
                    </a:lnTo>
                    <a:lnTo>
                      <a:pt x="6" y="549"/>
                    </a:lnTo>
                    <a:lnTo>
                      <a:pt x="8" y="547"/>
                    </a:lnTo>
                    <a:lnTo>
                      <a:pt x="8" y="545"/>
                    </a:lnTo>
                    <a:lnTo>
                      <a:pt x="5" y="544"/>
                    </a:lnTo>
                    <a:lnTo>
                      <a:pt x="5" y="542"/>
                    </a:lnTo>
                    <a:lnTo>
                      <a:pt x="3" y="542"/>
                    </a:lnTo>
                    <a:lnTo>
                      <a:pt x="2" y="541"/>
                    </a:lnTo>
                    <a:lnTo>
                      <a:pt x="2" y="539"/>
                    </a:lnTo>
                    <a:lnTo>
                      <a:pt x="3" y="537"/>
                    </a:lnTo>
                    <a:lnTo>
                      <a:pt x="3" y="536"/>
                    </a:lnTo>
                    <a:lnTo>
                      <a:pt x="3" y="534"/>
                    </a:lnTo>
                    <a:lnTo>
                      <a:pt x="2" y="534"/>
                    </a:lnTo>
                    <a:lnTo>
                      <a:pt x="0" y="534"/>
                    </a:lnTo>
                    <a:lnTo>
                      <a:pt x="3" y="530"/>
                    </a:lnTo>
                    <a:lnTo>
                      <a:pt x="5" y="526"/>
                    </a:lnTo>
                    <a:lnTo>
                      <a:pt x="6" y="525"/>
                    </a:lnTo>
                    <a:lnTo>
                      <a:pt x="6" y="523"/>
                    </a:lnTo>
                    <a:lnTo>
                      <a:pt x="8" y="520"/>
                    </a:lnTo>
                    <a:lnTo>
                      <a:pt x="8" y="518"/>
                    </a:lnTo>
                    <a:lnTo>
                      <a:pt x="8" y="512"/>
                    </a:lnTo>
                    <a:lnTo>
                      <a:pt x="10" y="511"/>
                    </a:lnTo>
                    <a:lnTo>
                      <a:pt x="11" y="511"/>
                    </a:lnTo>
                    <a:lnTo>
                      <a:pt x="14" y="511"/>
                    </a:lnTo>
                    <a:lnTo>
                      <a:pt x="18" y="509"/>
                    </a:lnTo>
                    <a:lnTo>
                      <a:pt x="19" y="507"/>
                    </a:lnTo>
                    <a:lnTo>
                      <a:pt x="19" y="506"/>
                    </a:lnTo>
                    <a:lnTo>
                      <a:pt x="21" y="503"/>
                    </a:lnTo>
                    <a:lnTo>
                      <a:pt x="21" y="501"/>
                    </a:lnTo>
                    <a:lnTo>
                      <a:pt x="21" y="498"/>
                    </a:lnTo>
                    <a:lnTo>
                      <a:pt x="19" y="498"/>
                    </a:lnTo>
                    <a:lnTo>
                      <a:pt x="18" y="495"/>
                    </a:lnTo>
                    <a:lnTo>
                      <a:pt x="19" y="490"/>
                    </a:lnTo>
                    <a:lnTo>
                      <a:pt x="24" y="482"/>
                    </a:lnTo>
                    <a:lnTo>
                      <a:pt x="29" y="474"/>
                    </a:lnTo>
                    <a:lnTo>
                      <a:pt x="33" y="465"/>
                    </a:lnTo>
                    <a:lnTo>
                      <a:pt x="35" y="463"/>
                    </a:lnTo>
                    <a:lnTo>
                      <a:pt x="35" y="461"/>
                    </a:lnTo>
                    <a:lnTo>
                      <a:pt x="37" y="461"/>
                    </a:lnTo>
                    <a:lnTo>
                      <a:pt x="38" y="461"/>
                    </a:lnTo>
                    <a:lnTo>
                      <a:pt x="41" y="461"/>
                    </a:lnTo>
                    <a:lnTo>
                      <a:pt x="43" y="461"/>
                    </a:lnTo>
                    <a:lnTo>
                      <a:pt x="46" y="460"/>
                    </a:lnTo>
                    <a:lnTo>
                      <a:pt x="48" y="457"/>
                    </a:lnTo>
                    <a:lnTo>
                      <a:pt x="48" y="455"/>
                    </a:lnTo>
                    <a:lnTo>
                      <a:pt x="48" y="449"/>
                    </a:lnTo>
                    <a:lnTo>
                      <a:pt x="46" y="447"/>
                    </a:lnTo>
                    <a:lnTo>
                      <a:pt x="46" y="446"/>
                    </a:lnTo>
                    <a:lnTo>
                      <a:pt x="45" y="442"/>
                    </a:lnTo>
                    <a:lnTo>
                      <a:pt x="46" y="442"/>
                    </a:lnTo>
                    <a:lnTo>
                      <a:pt x="46" y="441"/>
                    </a:lnTo>
                    <a:lnTo>
                      <a:pt x="48" y="439"/>
                    </a:lnTo>
                    <a:lnTo>
                      <a:pt x="51" y="434"/>
                    </a:lnTo>
                    <a:lnTo>
                      <a:pt x="56" y="425"/>
                    </a:lnTo>
                    <a:lnTo>
                      <a:pt x="59" y="420"/>
                    </a:lnTo>
                    <a:lnTo>
                      <a:pt x="60" y="419"/>
                    </a:lnTo>
                    <a:lnTo>
                      <a:pt x="67" y="408"/>
                    </a:lnTo>
                    <a:lnTo>
                      <a:pt x="68" y="406"/>
                    </a:lnTo>
                    <a:lnTo>
                      <a:pt x="78" y="390"/>
                    </a:lnTo>
                    <a:lnTo>
                      <a:pt x="79" y="389"/>
                    </a:lnTo>
                    <a:lnTo>
                      <a:pt x="84" y="377"/>
                    </a:lnTo>
                    <a:lnTo>
                      <a:pt x="86" y="376"/>
                    </a:lnTo>
                    <a:lnTo>
                      <a:pt x="89" y="369"/>
                    </a:lnTo>
                    <a:lnTo>
                      <a:pt x="92" y="365"/>
                    </a:lnTo>
                    <a:lnTo>
                      <a:pt x="95" y="360"/>
                    </a:lnTo>
                    <a:lnTo>
                      <a:pt x="98" y="355"/>
                    </a:lnTo>
                    <a:lnTo>
                      <a:pt x="100" y="352"/>
                    </a:lnTo>
                    <a:lnTo>
                      <a:pt x="105" y="344"/>
                    </a:lnTo>
                    <a:lnTo>
                      <a:pt x="106" y="341"/>
                    </a:lnTo>
                    <a:lnTo>
                      <a:pt x="108" y="339"/>
                    </a:lnTo>
                    <a:lnTo>
                      <a:pt x="111" y="339"/>
                    </a:lnTo>
                    <a:lnTo>
                      <a:pt x="116" y="339"/>
                    </a:lnTo>
                    <a:lnTo>
                      <a:pt x="117" y="339"/>
                    </a:lnTo>
                    <a:lnTo>
                      <a:pt x="119" y="338"/>
                    </a:lnTo>
                    <a:lnTo>
                      <a:pt x="121" y="336"/>
                    </a:lnTo>
                    <a:lnTo>
                      <a:pt x="121" y="335"/>
                    </a:lnTo>
                    <a:lnTo>
                      <a:pt x="122" y="331"/>
                    </a:lnTo>
                    <a:lnTo>
                      <a:pt x="121" y="328"/>
                    </a:lnTo>
                    <a:lnTo>
                      <a:pt x="121" y="327"/>
                    </a:lnTo>
                    <a:lnTo>
                      <a:pt x="121" y="324"/>
                    </a:lnTo>
                    <a:lnTo>
                      <a:pt x="122" y="322"/>
                    </a:lnTo>
                    <a:lnTo>
                      <a:pt x="124" y="322"/>
                    </a:lnTo>
                    <a:lnTo>
                      <a:pt x="125" y="322"/>
                    </a:lnTo>
                    <a:lnTo>
                      <a:pt x="127" y="320"/>
                    </a:lnTo>
                    <a:lnTo>
                      <a:pt x="128" y="320"/>
                    </a:lnTo>
                    <a:lnTo>
                      <a:pt x="128" y="319"/>
                    </a:lnTo>
                    <a:lnTo>
                      <a:pt x="130" y="319"/>
                    </a:lnTo>
                    <a:lnTo>
                      <a:pt x="132" y="319"/>
                    </a:lnTo>
                    <a:lnTo>
                      <a:pt x="132" y="320"/>
                    </a:lnTo>
                    <a:lnTo>
                      <a:pt x="133" y="320"/>
                    </a:lnTo>
                    <a:lnTo>
                      <a:pt x="135" y="320"/>
                    </a:lnTo>
                    <a:lnTo>
                      <a:pt x="138" y="320"/>
                    </a:lnTo>
                    <a:lnTo>
                      <a:pt x="141" y="319"/>
                    </a:lnTo>
                    <a:lnTo>
                      <a:pt x="143" y="319"/>
                    </a:lnTo>
                    <a:lnTo>
                      <a:pt x="149" y="322"/>
                    </a:lnTo>
                    <a:lnTo>
                      <a:pt x="152" y="320"/>
                    </a:lnTo>
                    <a:lnTo>
                      <a:pt x="154" y="320"/>
                    </a:lnTo>
                    <a:lnTo>
                      <a:pt x="155" y="320"/>
                    </a:lnTo>
                    <a:lnTo>
                      <a:pt x="157" y="320"/>
                    </a:lnTo>
                    <a:lnTo>
                      <a:pt x="157" y="319"/>
                    </a:lnTo>
                    <a:lnTo>
                      <a:pt x="160" y="319"/>
                    </a:lnTo>
                    <a:lnTo>
                      <a:pt x="165" y="319"/>
                    </a:lnTo>
                    <a:lnTo>
                      <a:pt x="174" y="314"/>
                    </a:lnTo>
                    <a:lnTo>
                      <a:pt x="178" y="314"/>
                    </a:lnTo>
                    <a:lnTo>
                      <a:pt x="181" y="312"/>
                    </a:lnTo>
                    <a:lnTo>
                      <a:pt x="185" y="312"/>
                    </a:lnTo>
                    <a:lnTo>
                      <a:pt x="190" y="311"/>
                    </a:lnTo>
                    <a:lnTo>
                      <a:pt x="193" y="311"/>
                    </a:lnTo>
                    <a:lnTo>
                      <a:pt x="195" y="311"/>
                    </a:lnTo>
                    <a:lnTo>
                      <a:pt x="195" y="309"/>
                    </a:lnTo>
                    <a:lnTo>
                      <a:pt x="197" y="309"/>
                    </a:lnTo>
                    <a:lnTo>
                      <a:pt x="198" y="309"/>
                    </a:lnTo>
                    <a:lnTo>
                      <a:pt x="201" y="308"/>
                    </a:lnTo>
                    <a:lnTo>
                      <a:pt x="206" y="306"/>
                    </a:lnTo>
                    <a:lnTo>
                      <a:pt x="208" y="306"/>
                    </a:lnTo>
                    <a:lnTo>
                      <a:pt x="214" y="305"/>
                    </a:lnTo>
                    <a:lnTo>
                      <a:pt x="219" y="305"/>
                    </a:lnTo>
                    <a:lnTo>
                      <a:pt x="224" y="306"/>
                    </a:lnTo>
                    <a:lnTo>
                      <a:pt x="225" y="306"/>
                    </a:lnTo>
                    <a:lnTo>
                      <a:pt x="227" y="306"/>
                    </a:lnTo>
                    <a:lnTo>
                      <a:pt x="228" y="305"/>
                    </a:lnTo>
                    <a:lnTo>
                      <a:pt x="231" y="305"/>
                    </a:lnTo>
                    <a:lnTo>
                      <a:pt x="233" y="305"/>
                    </a:lnTo>
                    <a:lnTo>
                      <a:pt x="235" y="305"/>
                    </a:lnTo>
                    <a:lnTo>
                      <a:pt x="236" y="305"/>
                    </a:lnTo>
                    <a:lnTo>
                      <a:pt x="238" y="306"/>
                    </a:lnTo>
                    <a:lnTo>
                      <a:pt x="241" y="308"/>
                    </a:lnTo>
                    <a:lnTo>
                      <a:pt x="243" y="309"/>
                    </a:lnTo>
                    <a:lnTo>
                      <a:pt x="244" y="311"/>
                    </a:lnTo>
                    <a:lnTo>
                      <a:pt x="244" y="314"/>
                    </a:lnTo>
                    <a:lnTo>
                      <a:pt x="244" y="316"/>
                    </a:lnTo>
                    <a:lnTo>
                      <a:pt x="246" y="316"/>
                    </a:lnTo>
                    <a:lnTo>
                      <a:pt x="247" y="317"/>
                    </a:lnTo>
                    <a:lnTo>
                      <a:pt x="250" y="316"/>
                    </a:lnTo>
                    <a:lnTo>
                      <a:pt x="252" y="316"/>
                    </a:lnTo>
                    <a:lnTo>
                      <a:pt x="257" y="317"/>
                    </a:lnTo>
                    <a:lnTo>
                      <a:pt x="257" y="316"/>
                    </a:lnTo>
                    <a:lnTo>
                      <a:pt x="258" y="314"/>
                    </a:lnTo>
                    <a:lnTo>
                      <a:pt x="257" y="312"/>
                    </a:lnTo>
                    <a:lnTo>
                      <a:pt x="257" y="311"/>
                    </a:lnTo>
                    <a:lnTo>
                      <a:pt x="258" y="308"/>
                    </a:lnTo>
                    <a:lnTo>
                      <a:pt x="258" y="306"/>
                    </a:lnTo>
                    <a:lnTo>
                      <a:pt x="263" y="298"/>
                    </a:lnTo>
                    <a:lnTo>
                      <a:pt x="263" y="295"/>
                    </a:lnTo>
                    <a:lnTo>
                      <a:pt x="263" y="289"/>
                    </a:lnTo>
                    <a:lnTo>
                      <a:pt x="263" y="287"/>
                    </a:lnTo>
                    <a:lnTo>
                      <a:pt x="263" y="284"/>
                    </a:lnTo>
                    <a:lnTo>
                      <a:pt x="263" y="278"/>
                    </a:lnTo>
                    <a:lnTo>
                      <a:pt x="263" y="276"/>
                    </a:lnTo>
                    <a:lnTo>
                      <a:pt x="263" y="265"/>
                    </a:lnTo>
                    <a:lnTo>
                      <a:pt x="265" y="262"/>
                    </a:lnTo>
                    <a:lnTo>
                      <a:pt x="265" y="260"/>
                    </a:lnTo>
                    <a:lnTo>
                      <a:pt x="265" y="257"/>
                    </a:lnTo>
                    <a:lnTo>
                      <a:pt x="265" y="255"/>
                    </a:lnTo>
                    <a:lnTo>
                      <a:pt x="263" y="252"/>
                    </a:lnTo>
                    <a:lnTo>
                      <a:pt x="260" y="249"/>
                    </a:lnTo>
                    <a:lnTo>
                      <a:pt x="257" y="246"/>
                    </a:lnTo>
                    <a:lnTo>
                      <a:pt x="255" y="243"/>
                    </a:lnTo>
                    <a:lnTo>
                      <a:pt x="255" y="241"/>
                    </a:lnTo>
                    <a:lnTo>
                      <a:pt x="257" y="240"/>
                    </a:lnTo>
                    <a:lnTo>
                      <a:pt x="257" y="236"/>
                    </a:lnTo>
                    <a:lnTo>
                      <a:pt x="258" y="235"/>
                    </a:lnTo>
                    <a:lnTo>
                      <a:pt x="260" y="232"/>
                    </a:lnTo>
                    <a:lnTo>
                      <a:pt x="262" y="228"/>
                    </a:lnTo>
                    <a:lnTo>
                      <a:pt x="262" y="227"/>
                    </a:lnTo>
                    <a:lnTo>
                      <a:pt x="263" y="224"/>
                    </a:lnTo>
                    <a:lnTo>
                      <a:pt x="263" y="222"/>
                    </a:lnTo>
                    <a:lnTo>
                      <a:pt x="265" y="221"/>
                    </a:lnTo>
                    <a:lnTo>
                      <a:pt x="265" y="219"/>
                    </a:lnTo>
                    <a:lnTo>
                      <a:pt x="265" y="213"/>
                    </a:lnTo>
                    <a:lnTo>
                      <a:pt x="266" y="208"/>
                    </a:lnTo>
                    <a:lnTo>
                      <a:pt x="268" y="206"/>
                    </a:lnTo>
                    <a:lnTo>
                      <a:pt x="269" y="197"/>
                    </a:lnTo>
                    <a:lnTo>
                      <a:pt x="274" y="183"/>
                    </a:lnTo>
                    <a:lnTo>
                      <a:pt x="276" y="175"/>
                    </a:lnTo>
                    <a:lnTo>
                      <a:pt x="276" y="173"/>
                    </a:lnTo>
                    <a:lnTo>
                      <a:pt x="279" y="164"/>
                    </a:lnTo>
                    <a:lnTo>
                      <a:pt x="282" y="154"/>
                    </a:lnTo>
                    <a:lnTo>
                      <a:pt x="284" y="144"/>
                    </a:lnTo>
                    <a:lnTo>
                      <a:pt x="285" y="141"/>
                    </a:lnTo>
                    <a:lnTo>
                      <a:pt x="288" y="140"/>
                    </a:lnTo>
                    <a:lnTo>
                      <a:pt x="288" y="138"/>
                    </a:lnTo>
                    <a:lnTo>
                      <a:pt x="292" y="137"/>
                    </a:lnTo>
                    <a:lnTo>
                      <a:pt x="293" y="135"/>
                    </a:lnTo>
                    <a:lnTo>
                      <a:pt x="296" y="129"/>
                    </a:lnTo>
                    <a:lnTo>
                      <a:pt x="306" y="106"/>
                    </a:lnTo>
                    <a:lnTo>
                      <a:pt x="306" y="105"/>
                    </a:lnTo>
                    <a:lnTo>
                      <a:pt x="307" y="102"/>
                    </a:lnTo>
                    <a:lnTo>
                      <a:pt x="307" y="100"/>
                    </a:lnTo>
                    <a:lnTo>
                      <a:pt x="309" y="95"/>
                    </a:lnTo>
                    <a:lnTo>
                      <a:pt x="320" y="72"/>
                    </a:lnTo>
                    <a:lnTo>
                      <a:pt x="320" y="70"/>
                    </a:lnTo>
                    <a:lnTo>
                      <a:pt x="322" y="68"/>
                    </a:lnTo>
                    <a:lnTo>
                      <a:pt x="322" y="67"/>
                    </a:lnTo>
                    <a:lnTo>
                      <a:pt x="322" y="64"/>
                    </a:lnTo>
                    <a:lnTo>
                      <a:pt x="322" y="61"/>
                    </a:lnTo>
                    <a:lnTo>
                      <a:pt x="322" y="56"/>
                    </a:lnTo>
                    <a:lnTo>
                      <a:pt x="322" y="54"/>
                    </a:lnTo>
                    <a:lnTo>
                      <a:pt x="326" y="38"/>
                    </a:lnTo>
                    <a:lnTo>
                      <a:pt x="328" y="37"/>
                    </a:lnTo>
                    <a:lnTo>
                      <a:pt x="334" y="11"/>
                    </a:lnTo>
                    <a:lnTo>
                      <a:pt x="336" y="10"/>
                    </a:lnTo>
                    <a:lnTo>
                      <a:pt x="336" y="8"/>
                    </a:lnTo>
                    <a:lnTo>
                      <a:pt x="341" y="3"/>
                    </a:lnTo>
                    <a:lnTo>
                      <a:pt x="342" y="3"/>
                    </a:lnTo>
                    <a:lnTo>
                      <a:pt x="344" y="0"/>
                    </a:lnTo>
                    <a:lnTo>
                      <a:pt x="344" y="2"/>
                    </a:lnTo>
                    <a:lnTo>
                      <a:pt x="345" y="3"/>
                    </a:lnTo>
                    <a:lnTo>
                      <a:pt x="347" y="5"/>
                    </a:lnTo>
                    <a:lnTo>
                      <a:pt x="349" y="7"/>
                    </a:lnTo>
                    <a:lnTo>
                      <a:pt x="349" y="8"/>
                    </a:lnTo>
                    <a:close/>
                  </a:path>
                </a:pathLst>
              </a:custGeom>
              <a:solidFill>
                <a:srgbClr val="C9F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138"/>
              </a:p>
            </p:txBody>
          </p:sp>
          <p:sp>
            <p:nvSpPr>
              <p:cNvPr id="50" name="Freeform 48"/>
              <p:cNvSpPr>
                <a:spLocks/>
              </p:cNvSpPr>
              <p:nvPr/>
            </p:nvSpPr>
            <p:spPr bwMode="auto">
              <a:xfrm>
                <a:off x="2452" y="985"/>
                <a:ext cx="762" cy="222"/>
              </a:xfrm>
              <a:custGeom>
                <a:avLst/>
                <a:gdLst>
                  <a:gd name="T0" fmla="*/ 8 w 762"/>
                  <a:gd name="T1" fmla="*/ 19 h 222"/>
                  <a:gd name="T2" fmla="*/ 20 w 762"/>
                  <a:gd name="T3" fmla="*/ 40 h 222"/>
                  <a:gd name="T4" fmla="*/ 36 w 762"/>
                  <a:gd name="T5" fmla="*/ 45 h 222"/>
                  <a:gd name="T6" fmla="*/ 63 w 762"/>
                  <a:gd name="T7" fmla="*/ 48 h 222"/>
                  <a:gd name="T8" fmla="*/ 79 w 762"/>
                  <a:gd name="T9" fmla="*/ 56 h 222"/>
                  <a:gd name="T10" fmla="*/ 92 w 762"/>
                  <a:gd name="T11" fmla="*/ 73 h 222"/>
                  <a:gd name="T12" fmla="*/ 107 w 762"/>
                  <a:gd name="T13" fmla="*/ 86 h 222"/>
                  <a:gd name="T14" fmla="*/ 122 w 762"/>
                  <a:gd name="T15" fmla="*/ 95 h 222"/>
                  <a:gd name="T16" fmla="*/ 136 w 762"/>
                  <a:gd name="T17" fmla="*/ 105 h 222"/>
                  <a:gd name="T18" fmla="*/ 153 w 762"/>
                  <a:gd name="T19" fmla="*/ 110 h 222"/>
                  <a:gd name="T20" fmla="*/ 171 w 762"/>
                  <a:gd name="T21" fmla="*/ 103 h 222"/>
                  <a:gd name="T22" fmla="*/ 188 w 762"/>
                  <a:gd name="T23" fmla="*/ 95 h 222"/>
                  <a:gd name="T24" fmla="*/ 212 w 762"/>
                  <a:gd name="T25" fmla="*/ 89 h 222"/>
                  <a:gd name="T26" fmla="*/ 228 w 762"/>
                  <a:gd name="T27" fmla="*/ 95 h 222"/>
                  <a:gd name="T28" fmla="*/ 237 w 762"/>
                  <a:gd name="T29" fmla="*/ 106 h 222"/>
                  <a:gd name="T30" fmla="*/ 242 w 762"/>
                  <a:gd name="T31" fmla="*/ 106 h 222"/>
                  <a:gd name="T32" fmla="*/ 253 w 762"/>
                  <a:gd name="T33" fmla="*/ 106 h 222"/>
                  <a:gd name="T34" fmla="*/ 274 w 762"/>
                  <a:gd name="T35" fmla="*/ 110 h 222"/>
                  <a:gd name="T36" fmla="*/ 290 w 762"/>
                  <a:gd name="T37" fmla="*/ 110 h 222"/>
                  <a:gd name="T38" fmla="*/ 309 w 762"/>
                  <a:gd name="T39" fmla="*/ 106 h 222"/>
                  <a:gd name="T40" fmla="*/ 329 w 762"/>
                  <a:gd name="T41" fmla="*/ 98 h 222"/>
                  <a:gd name="T42" fmla="*/ 345 w 762"/>
                  <a:gd name="T43" fmla="*/ 92 h 222"/>
                  <a:gd name="T44" fmla="*/ 358 w 762"/>
                  <a:gd name="T45" fmla="*/ 76 h 222"/>
                  <a:gd name="T46" fmla="*/ 362 w 762"/>
                  <a:gd name="T47" fmla="*/ 59 h 222"/>
                  <a:gd name="T48" fmla="*/ 373 w 762"/>
                  <a:gd name="T49" fmla="*/ 45 h 222"/>
                  <a:gd name="T50" fmla="*/ 381 w 762"/>
                  <a:gd name="T51" fmla="*/ 32 h 222"/>
                  <a:gd name="T52" fmla="*/ 394 w 762"/>
                  <a:gd name="T53" fmla="*/ 43 h 222"/>
                  <a:gd name="T54" fmla="*/ 415 w 762"/>
                  <a:gd name="T55" fmla="*/ 62 h 222"/>
                  <a:gd name="T56" fmla="*/ 432 w 762"/>
                  <a:gd name="T57" fmla="*/ 68 h 222"/>
                  <a:gd name="T58" fmla="*/ 450 w 762"/>
                  <a:gd name="T59" fmla="*/ 68 h 222"/>
                  <a:gd name="T60" fmla="*/ 462 w 762"/>
                  <a:gd name="T61" fmla="*/ 78 h 222"/>
                  <a:gd name="T62" fmla="*/ 480 w 762"/>
                  <a:gd name="T63" fmla="*/ 72 h 222"/>
                  <a:gd name="T64" fmla="*/ 494 w 762"/>
                  <a:gd name="T65" fmla="*/ 75 h 222"/>
                  <a:gd name="T66" fmla="*/ 516 w 762"/>
                  <a:gd name="T67" fmla="*/ 72 h 222"/>
                  <a:gd name="T68" fmla="*/ 526 w 762"/>
                  <a:gd name="T69" fmla="*/ 76 h 222"/>
                  <a:gd name="T70" fmla="*/ 537 w 762"/>
                  <a:gd name="T71" fmla="*/ 67 h 222"/>
                  <a:gd name="T72" fmla="*/ 541 w 762"/>
                  <a:gd name="T73" fmla="*/ 64 h 222"/>
                  <a:gd name="T74" fmla="*/ 549 w 762"/>
                  <a:gd name="T75" fmla="*/ 59 h 222"/>
                  <a:gd name="T76" fmla="*/ 559 w 762"/>
                  <a:gd name="T77" fmla="*/ 56 h 222"/>
                  <a:gd name="T78" fmla="*/ 568 w 762"/>
                  <a:gd name="T79" fmla="*/ 53 h 222"/>
                  <a:gd name="T80" fmla="*/ 576 w 762"/>
                  <a:gd name="T81" fmla="*/ 48 h 222"/>
                  <a:gd name="T82" fmla="*/ 589 w 762"/>
                  <a:gd name="T83" fmla="*/ 54 h 222"/>
                  <a:gd name="T84" fmla="*/ 608 w 762"/>
                  <a:gd name="T85" fmla="*/ 57 h 222"/>
                  <a:gd name="T86" fmla="*/ 590 w 762"/>
                  <a:gd name="T87" fmla="*/ 68 h 222"/>
                  <a:gd name="T88" fmla="*/ 584 w 762"/>
                  <a:gd name="T89" fmla="*/ 81 h 222"/>
                  <a:gd name="T90" fmla="*/ 606 w 762"/>
                  <a:gd name="T91" fmla="*/ 75 h 222"/>
                  <a:gd name="T92" fmla="*/ 622 w 762"/>
                  <a:gd name="T93" fmla="*/ 67 h 222"/>
                  <a:gd name="T94" fmla="*/ 644 w 762"/>
                  <a:gd name="T95" fmla="*/ 65 h 222"/>
                  <a:gd name="T96" fmla="*/ 654 w 762"/>
                  <a:gd name="T97" fmla="*/ 91 h 222"/>
                  <a:gd name="T98" fmla="*/ 662 w 762"/>
                  <a:gd name="T99" fmla="*/ 106 h 222"/>
                  <a:gd name="T100" fmla="*/ 662 w 762"/>
                  <a:gd name="T101" fmla="*/ 127 h 222"/>
                  <a:gd name="T102" fmla="*/ 667 w 762"/>
                  <a:gd name="T103" fmla="*/ 140 h 222"/>
                  <a:gd name="T104" fmla="*/ 687 w 762"/>
                  <a:gd name="T105" fmla="*/ 146 h 222"/>
                  <a:gd name="T106" fmla="*/ 711 w 762"/>
                  <a:gd name="T107" fmla="*/ 143 h 222"/>
                  <a:gd name="T108" fmla="*/ 725 w 762"/>
                  <a:gd name="T109" fmla="*/ 149 h 222"/>
                  <a:gd name="T110" fmla="*/ 741 w 762"/>
                  <a:gd name="T111" fmla="*/ 157 h 222"/>
                  <a:gd name="T112" fmla="*/ 750 w 762"/>
                  <a:gd name="T113" fmla="*/ 170 h 222"/>
                  <a:gd name="T114" fmla="*/ 739 w 762"/>
                  <a:gd name="T115" fmla="*/ 186 h 222"/>
                  <a:gd name="T116" fmla="*/ 741 w 762"/>
                  <a:gd name="T117" fmla="*/ 209 h 222"/>
                  <a:gd name="T118" fmla="*/ 760 w 762"/>
                  <a:gd name="T119" fmla="*/ 217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62" h="222">
                    <a:moveTo>
                      <a:pt x="0" y="0"/>
                    </a:moveTo>
                    <a:lnTo>
                      <a:pt x="1" y="0"/>
                    </a:lnTo>
                    <a:lnTo>
                      <a:pt x="3" y="0"/>
                    </a:lnTo>
                    <a:lnTo>
                      <a:pt x="3" y="2"/>
                    </a:lnTo>
                    <a:lnTo>
                      <a:pt x="3" y="3"/>
                    </a:lnTo>
                    <a:lnTo>
                      <a:pt x="3" y="5"/>
                    </a:lnTo>
                    <a:lnTo>
                      <a:pt x="1" y="5"/>
                    </a:lnTo>
                    <a:lnTo>
                      <a:pt x="1" y="7"/>
                    </a:lnTo>
                    <a:lnTo>
                      <a:pt x="3" y="8"/>
                    </a:lnTo>
                    <a:lnTo>
                      <a:pt x="3" y="10"/>
                    </a:lnTo>
                    <a:lnTo>
                      <a:pt x="3" y="11"/>
                    </a:lnTo>
                    <a:lnTo>
                      <a:pt x="3" y="13"/>
                    </a:lnTo>
                    <a:lnTo>
                      <a:pt x="4" y="14"/>
                    </a:lnTo>
                    <a:lnTo>
                      <a:pt x="4" y="16"/>
                    </a:lnTo>
                    <a:lnTo>
                      <a:pt x="6" y="16"/>
                    </a:lnTo>
                    <a:lnTo>
                      <a:pt x="6" y="18"/>
                    </a:lnTo>
                    <a:lnTo>
                      <a:pt x="8" y="19"/>
                    </a:lnTo>
                    <a:lnTo>
                      <a:pt x="8" y="21"/>
                    </a:lnTo>
                    <a:lnTo>
                      <a:pt x="9" y="21"/>
                    </a:lnTo>
                    <a:lnTo>
                      <a:pt x="11" y="21"/>
                    </a:lnTo>
                    <a:lnTo>
                      <a:pt x="11" y="22"/>
                    </a:lnTo>
                    <a:lnTo>
                      <a:pt x="11" y="24"/>
                    </a:lnTo>
                    <a:lnTo>
                      <a:pt x="12" y="26"/>
                    </a:lnTo>
                    <a:lnTo>
                      <a:pt x="12" y="27"/>
                    </a:lnTo>
                    <a:lnTo>
                      <a:pt x="12" y="29"/>
                    </a:lnTo>
                    <a:lnTo>
                      <a:pt x="12" y="30"/>
                    </a:lnTo>
                    <a:lnTo>
                      <a:pt x="14" y="32"/>
                    </a:lnTo>
                    <a:lnTo>
                      <a:pt x="14" y="33"/>
                    </a:lnTo>
                    <a:lnTo>
                      <a:pt x="15" y="35"/>
                    </a:lnTo>
                    <a:lnTo>
                      <a:pt x="15" y="37"/>
                    </a:lnTo>
                    <a:lnTo>
                      <a:pt x="17" y="38"/>
                    </a:lnTo>
                    <a:lnTo>
                      <a:pt x="19" y="38"/>
                    </a:lnTo>
                    <a:lnTo>
                      <a:pt x="19" y="40"/>
                    </a:lnTo>
                    <a:lnTo>
                      <a:pt x="20" y="40"/>
                    </a:lnTo>
                    <a:lnTo>
                      <a:pt x="20" y="41"/>
                    </a:lnTo>
                    <a:lnTo>
                      <a:pt x="20" y="40"/>
                    </a:lnTo>
                    <a:lnTo>
                      <a:pt x="22" y="40"/>
                    </a:lnTo>
                    <a:lnTo>
                      <a:pt x="22" y="38"/>
                    </a:lnTo>
                    <a:lnTo>
                      <a:pt x="22" y="40"/>
                    </a:lnTo>
                    <a:lnTo>
                      <a:pt x="23" y="40"/>
                    </a:lnTo>
                    <a:lnTo>
                      <a:pt x="25" y="40"/>
                    </a:lnTo>
                    <a:lnTo>
                      <a:pt x="25" y="41"/>
                    </a:lnTo>
                    <a:lnTo>
                      <a:pt x="27" y="41"/>
                    </a:lnTo>
                    <a:lnTo>
                      <a:pt x="28" y="41"/>
                    </a:lnTo>
                    <a:lnTo>
                      <a:pt x="28" y="43"/>
                    </a:lnTo>
                    <a:lnTo>
                      <a:pt x="30" y="43"/>
                    </a:lnTo>
                    <a:lnTo>
                      <a:pt x="31" y="43"/>
                    </a:lnTo>
                    <a:lnTo>
                      <a:pt x="31" y="45"/>
                    </a:lnTo>
                    <a:lnTo>
                      <a:pt x="33" y="45"/>
                    </a:lnTo>
                    <a:lnTo>
                      <a:pt x="34" y="45"/>
                    </a:lnTo>
                    <a:lnTo>
                      <a:pt x="36" y="45"/>
                    </a:lnTo>
                    <a:lnTo>
                      <a:pt x="38" y="45"/>
                    </a:lnTo>
                    <a:lnTo>
                      <a:pt x="39" y="45"/>
                    </a:lnTo>
                    <a:lnTo>
                      <a:pt x="41" y="45"/>
                    </a:lnTo>
                    <a:lnTo>
                      <a:pt x="42" y="46"/>
                    </a:lnTo>
                    <a:lnTo>
                      <a:pt x="44" y="46"/>
                    </a:lnTo>
                    <a:lnTo>
                      <a:pt x="46" y="46"/>
                    </a:lnTo>
                    <a:lnTo>
                      <a:pt x="47" y="46"/>
                    </a:lnTo>
                    <a:lnTo>
                      <a:pt x="49" y="46"/>
                    </a:lnTo>
                    <a:lnTo>
                      <a:pt x="50" y="48"/>
                    </a:lnTo>
                    <a:lnTo>
                      <a:pt x="52" y="48"/>
                    </a:lnTo>
                    <a:lnTo>
                      <a:pt x="54" y="48"/>
                    </a:lnTo>
                    <a:lnTo>
                      <a:pt x="55" y="48"/>
                    </a:lnTo>
                    <a:lnTo>
                      <a:pt x="57" y="48"/>
                    </a:lnTo>
                    <a:lnTo>
                      <a:pt x="58" y="48"/>
                    </a:lnTo>
                    <a:lnTo>
                      <a:pt x="60" y="48"/>
                    </a:lnTo>
                    <a:lnTo>
                      <a:pt x="61" y="48"/>
                    </a:lnTo>
                    <a:lnTo>
                      <a:pt x="63" y="48"/>
                    </a:lnTo>
                    <a:lnTo>
                      <a:pt x="63" y="49"/>
                    </a:lnTo>
                    <a:lnTo>
                      <a:pt x="65" y="49"/>
                    </a:lnTo>
                    <a:lnTo>
                      <a:pt x="65" y="51"/>
                    </a:lnTo>
                    <a:lnTo>
                      <a:pt x="66" y="51"/>
                    </a:lnTo>
                    <a:lnTo>
                      <a:pt x="68" y="51"/>
                    </a:lnTo>
                    <a:lnTo>
                      <a:pt x="68" y="53"/>
                    </a:lnTo>
                    <a:lnTo>
                      <a:pt x="69" y="53"/>
                    </a:lnTo>
                    <a:lnTo>
                      <a:pt x="71" y="53"/>
                    </a:lnTo>
                    <a:lnTo>
                      <a:pt x="71" y="54"/>
                    </a:lnTo>
                    <a:lnTo>
                      <a:pt x="73" y="54"/>
                    </a:lnTo>
                    <a:lnTo>
                      <a:pt x="74" y="54"/>
                    </a:lnTo>
                    <a:lnTo>
                      <a:pt x="74" y="53"/>
                    </a:lnTo>
                    <a:lnTo>
                      <a:pt x="76" y="53"/>
                    </a:lnTo>
                    <a:lnTo>
                      <a:pt x="76" y="54"/>
                    </a:lnTo>
                    <a:lnTo>
                      <a:pt x="77" y="54"/>
                    </a:lnTo>
                    <a:lnTo>
                      <a:pt x="77" y="56"/>
                    </a:lnTo>
                    <a:lnTo>
                      <a:pt x="79" y="56"/>
                    </a:lnTo>
                    <a:lnTo>
                      <a:pt x="79" y="57"/>
                    </a:lnTo>
                    <a:lnTo>
                      <a:pt x="80" y="57"/>
                    </a:lnTo>
                    <a:lnTo>
                      <a:pt x="80" y="59"/>
                    </a:lnTo>
                    <a:lnTo>
                      <a:pt x="80" y="60"/>
                    </a:lnTo>
                    <a:lnTo>
                      <a:pt x="82" y="60"/>
                    </a:lnTo>
                    <a:lnTo>
                      <a:pt x="82" y="62"/>
                    </a:lnTo>
                    <a:lnTo>
                      <a:pt x="82" y="64"/>
                    </a:lnTo>
                    <a:lnTo>
                      <a:pt x="84" y="65"/>
                    </a:lnTo>
                    <a:lnTo>
                      <a:pt x="84" y="67"/>
                    </a:lnTo>
                    <a:lnTo>
                      <a:pt x="84" y="68"/>
                    </a:lnTo>
                    <a:lnTo>
                      <a:pt x="85" y="68"/>
                    </a:lnTo>
                    <a:lnTo>
                      <a:pt x="87" y="70"/>
                    </a:lnTo>
                    <a:lnTo>
                      <a:pt x="88" y="70"/>
                    </a:lnTo>
                    <a:lnTo>
                      <a:pt x="90" y="70"/>
                    </a:lnTo>
                    <a:lnTo>
                      <a:pt x="90" y="72"/>
                    </a:lnTo>
                    <a:lnTo>
                      <a:pt x="92" y="72"/>
                    </a:lnTo>
                    <a:lnTo>
                      <a:pt x="92" y="73"/>
                    </a:lnTo>
                    <a:lnTo>
                      <a:pt x="93" y="73"/>
                    </a:lnTo>
                    <a:lnTo>
                      <a:pt x="93" y="75"/>
                    </a:lnTo>
                    <a:lnTo>
                      <a:pt x="95" y="75"/>
                    </a:lnTo>
                    <a:lnTo>
                      <a:pt x="95" y="76"/>
                    </a:lnTo>
                    <a:lnTo>
                      <a:pt x="95" y="78"/>
                    </a:lnTo>
                    <a:lnTo>
                      <a:pt x="96" y="78"/>
                    </a:lnTo>
                    <a:lnTo>
                      <a:pt x="98" y="79"/>
                    </a:lnTo>
                    <a:lnTo>
                      <a:pt x="98" y="81"/>
                    </a:lnTo>
                    <a:lnTo>
                      <a:pt x="99" y="81"/>
                    </a:lnTo>
                    <a:lnTo>
                      <a:pt x="101" y="81"/>
                    </a:lnTo>
                    <a:lnTo>
                      <a:pt x="101" y="83"/>
                    </a:lnTo>
                    <a:lnTo>
                      <a:pt x="103" y="83"/>
                    </a:lnTo>
                    <a:lnTo>
                      <a:pt x="104" y="83"/>
                    </a:lnTo>
                    <a:lnTo>
                      <a:pt x="104" y="84"/>
                    </a:lnTo>
                    <a:lnTo>
                      <a:pt x="106" y="84"/>
                    </a:lnTo>
                    <a:lnTo>
                      <a:pt x="107" y="84"/>
                    </a:lnTo>
                    <a:lnTo>
                      <a:pt x="107" y="86"/>
                    </a:lnTo>
                    <a:lnTo>
                      <a:pt x="109" y="86"/>
                    </a:lnTo>
                    <a:lnTo>
                      <a:pt x="111" y="86"/>
                    </a:lnTo>
                    <a:lnTo>
                      <a:pt x="111" y="87"/>
                    </a:lnTo>
                    <a:lnTo>
                      <a:pt x="112" y="87"/>
                    </a:lnTo>
                    <a:lnTo>
                      <a:pt x="112" y="89"/>
                    </a:lnTo>
                    <a:lnTo>
                      <a:pt x="114" y="89"/>
                    </a:lnTo>
                    <a:lnTo>
                      <a:pt x="114" y="91"/>
                    </a:lnTo>
                    <a:lnTo>
                      <a:pt x="115" y="91"/>
                    </a:lnTo>
                    <a:lnTo>
                      <a:pt x="117" y="91"/>
                    </a:lnTo>
                    <a:lnTo>
                      <a:pt x="117" y="92"/>
                    </a:lnTo>
                    <a:lnTo>
                      <a:pt x="118" y="92"/>
                    </a:lnTo>
                    <a:lnTo>
                      <a:pt x="118" y="94"/>
                    </a:lnTo>
                    <a:lnTo>
                      <a:pt x="120" y="94"/>
                    </a:lnTo>
                    <a:lnTo>
                      <a:pt x="120" y="95"/>
                    </a:lnTo>
                    <a:lnTo>
                      <a:pt x="122" y="95"/>
                    </a:lnTo>
                    <a:lnTo>
                      <a:pt x="122" y="97"/>
                    </a:lnTo>
                    <a:lnTo>
                      <a:pt x="122" y="95"/>
                    </a:lnTo>
                    <a:lnTo>
                      <a:pt x="123" y="95"/>
                    </a:lnTo>
                    <a:lnTo>
                      <a:pt x="125" y="95"/>
                    </a:lnTo>
                    <a:lnTo>
                      <a:pt x="125" y="97"/>
                    </a:lnTo>
                    <a:lnTo>
                      <a:pt x="126" y="97"/>
                    </a:lnTo>
                    <a:lnTo>
                      <a:pt x="126" y="98"/>
                    </a:lnTo>
                    <a:lnTo>
                      <a:pt x="128" y="98"/>
                    </a:lnTo>
                    <a:lnTo>
                      <a:pt x="128" y="100"/>
                    </a:lnTo>
                    <a:lnTo>
                      <a:pt x="128" y="102"/>
                    </a:lnTo>
                    <a:lnTo>
                      <a:pt x="130" y="103"/>
                    </a:lnTo>
                    <a:lnTo>
                      <a:pt x="130" y="102"/>
                    </a:lnTo>
                    <a:lnTo>
                      <a:pt x="131" y="102"/>
                    </a:lnTo>
                    <a:lnTo>
                      <a:pt x="131" y="103"/>
                    </a:lnTo>
                    <a:lnTo>
                      <a:pt x="131" y="105"/>
                    </a:lnTo>
                    <a:lnTo>
                      <a:pt x="133" y="105"/>
                    </a:lnTo>
                    <a:lnTo>
                      <a:pt x="134" y="103"/>
                    </a:lnTo>
                    <a:lnTo>
                      <a:pt x="134" y="105"/>
                    </a:lnTo>
                    <a:lnTo>
                      <a:pt x="136" y="105"/>
                    </a:lnTo>
                    <a:lnTo>
                      <a:pt x="136" y="103"/>
                    </a:lnTo>
                    <a:lnTo>
                      <a:pt x="137" y="103"/>
                    </a:lnTo>
                    <a:lnTo>
                      <a:pt x="139" y="105"/>
                    </a:lnTo>
                    <a:lnTo>
                      <a:pt x="139" y="106"/>
                    </a:lnTo>
                    <a:lnTo>
                      <a:pt x="141" y="106"/>
                    </a:lnTo>
                    <a:lnTo>
                      <a:pt x="142" y="106"/>
                    </a:lnTo>
                    <a:lnTo>
                      <a:pt x="141" y="108"/>
                    </a:lnTo>
                    <a:lnTo>
                      <a:pt x="142" y="108"/>
                    </a:lnTo>
                    <a:lnTo>
                      <a:pt x="144" y="108"/>
                    </a:lnTo>
                    <a:lnTo>
                      <a:pt x="144" y="106"/>
                    </a:lnTo>
                    <a:lnTo>
                      <a:pt x="145" y="106"/>
                    </a:lnTo>
                    <a:lnTo>
                      <a:pt x="147" y="108"/>
                    </a:lnTo>
                    <a:lnTo>
                      <a:pt x="149" y="108"/>
                    </a:lnTo>
                    <a:lnTo>
                      <a:pt x="150" y="108"/>
                    </a:lnTo>
                    <a:lnTo>
                      <a:pt x="150" y="110"/>
                    </a:lnTo>
                    <a:lnTo>
                      <a:pt x="152" y="110"/>
                    </a:lnTo>
                    <a:lnTo>
                      <a:pt x="153" y="110"/>
                    </a:lnTo>
                    <a:lnTo>
                      <a:pt x="155" y="110"/>
                    </a:lnTo>
                    <a:lnTo>
                      <a:pt x="156" y="110"/>
                    </a:lnTo>
                    <a:lnTo>
                      <a:pt x="158" y="110"/>
                    </a:lnTo>
                    <a:lnTo>
                      <a:pt x="158" y="108"/>
                    </a:lnTo>
                    <a:lnTo>
                      <a:pt x="160" y="108"/>
                    </a:lnTo>
                    <a:lnTo>
                      <a:pt x="161" y="108"/>
                    </a:lnTo>
                    <a:lnTo>
                      <a:pt x="163" y="108"/>
                    </a:lnTo>
                    <a:lnTo>
                      <a:pt x="163" y="106"/>
                    </a:lnTo>
                    <a:lnTo>
                      <a:pt x="163" y="105"/>
                    </a:lnTo>
                    <a:lnTo>
                      <a:pt x="164" y="105"/>
                    </a:lnTo>
                    <a:lnTo>
                      <a:pt x="166" y="105"/>
                    </a:lnTo>
                    <a:lnTo>
                      <a:pt x="166" y="106"/>
                    </a:lnTo>
                    <a:lnTo>
                      <a:pt x="168" y="106"/>
                    </a:lnTo>
                    <a:lnTo>
                      <a:pt x="168" y="105"/>
                    </a:lnTo>
                    <a:lnTo>
                      <a:pt x="169" y="105"/>
                    </a:lnTo>
                    <a:lnTo>
                      <a:pt x="169" y="103"/>
                    </a:lnTo>
                    <a:lnTo>
                      <a:pt x="171" y="103"/>
                    </a:lnTo>
                    <a:lnTo>
                      <a:pt x="172" y="103"/>
                    </a:lnTo>
                    <a:lnTo>
                      <a:pt x="174" y="103"/>
                    </a:lnTo>
                    <a:lnTo>
                      <a:pt x="174" y="105"/>
                    </a:lnTo>
                    <a:lnTo>
                      <a:pt x="174" y="103"/>
                    </a:lnTo>
                    <a:lnTo>
                      <a:pt x="175" y="103"/>
                    </a:lnTo>
                    <a:lnTo>
                      <a:pt x="175" y="102"/>
                    </a:lnTo>
                    <a:lnTo>
                      <a:pt x="177" y="102"/>
                    </a:lnTo>
                    <a:lnTo>
                      <a:pt x="177" y="100"/>
                    </a:lnTo>
                    <a:lnTo>
                      <a:pt x="179" y="100"/>
                    </a:lnTo>
                    <a:lnTo>
                      <a:pt x="180" y="100"/>
                    </a:lnTo>
                    <a:lnTo>
                      <a:pt x="182" y="98"/>
                    </a:lnTo>
                    <a:lnTo>
                      <a:pt x="183" y="98"/>
                    </a:lnTo>
                    <a:lnTo>
                      <a:pt x="185" y="98"/>
                    </a:lnTo>
                    <a:lnTo>
                      <a:pt x="187" y="98"/>
                    </a:lnTo>
                    <a:lnTo>
                      <a:pt x="187" y="97"/>
                    </a:lnTo>
                    <a:lnTo>
                      <a:pt x="187" y="95"/>
                    </a:lnTo>
                    <a:lnTo>
                      <a:pt x="188" y="95"/>
                    </a:lnTo>
                    <a:lnTo>
                      <a:pt x="190" y="95"/>
                    </a:lnTo>
                    <a:lnTo>
                      <a:pt x="191" y="94"/>
                    </a:lnTo>
                    <a:lnTo>
                      <a:pt x="191" y="92"/>
                    </a:lnTo>
                    <a:lnTo>
                      <a:pt x="193" y="91"/>
                    </a:lnTo>
                    <a:lnTo>
                      <a:pt x="193" y="89"/>
                    </a:lnTo>
                    <a:lnTo>
                      <a:pt x="193" y="87"/>
                    </a:lnTo>
                    <a:lnTo>
                      <a:pt x="194" y="87"/>
                    </a:lnTo>
                    <a:lnTo>
                      <a:pt x="196" y="87"/>
                    </a:lnTo>
                    <a:lnTo>
                      <a:pt x="199" y="87"/>
                    </a:lnTo>
                    <a:lnTo>
                      <a:pt x="201" y="87"/>
                    </a:lnTo>
                    <a:lnTo>
                      <a:pt x="204" y="89"/>
                    </a:lnTo>
                    <a:lnTo>
                      <a:pt x="206" y="87"/>
                    </a:lnTo>
                    <a:lnTo>
                      <a:pt x="207" y="87"/>
                    </a:lnTo>
                    <a:lnTo>
                      <a:pt x="209" y="87"/>
                    </a:lnTo>
                    <a:lnTo>
                      <a:pt x="210" y="87"/>
                    </a:lnTo>
                    <a:lnTo>
                      <a:pt x="210" y="89"/>
                    </a:lnTo>
                    <a:lnTo>
                      <a:pt x="212" y="89"/>
                    </a:lnTo>
                    <a:lnTo>
                      <a:pt x="213" y="89"/>
                    </a:lnTo>
                    <a:lnTo>
                      <a:pt x="215" y="89"/>
                    </a:lnTo>
                    <a:lnTo>
                      <a:pt x="215" y="91"/>
                    </a:lnTo>
                    <a:lnTo>
                      <a:pt x="217" y="91"/>
                    </a:lnTo>
                    <a:lnTo>
                      <a:pt x="217" y="89"/>
                    </a:lnTo>
                    <a:lnTo>
                      <a:pt x="217" y="91"/>
                    </a:lnTo>
                    <a:lnTo>
                      <a:pt x="218" y="91"/>
                    </a:lnTo>
                    <a:lnTo>
                      <a:pt x="218" y="89"/>
                    </a:lnTo>
                    <a:lnTo>
                      <a:pt x="220" y="91"/>
                    </a:lnTo>
                    <a:lnTo>
                      <a:pt x="221" y="91"/>
                    </a:lnTo>
                    <a:lnTo>
                      <a:pt x="221" y="92"/>
                    </a:lnTo>
                    <a:lnTo>
                      <a:pt x="223" y="92"/>
                    </a:lnTo>
                    <a:lnTo>
                      <a:pt x="225" y="92"/>
                    </a:lnTo>
                    <a:lnTo>
                      <a:pt x="225" y="94"/>
                    </a:lnTo>
                    <a:lnTo>
                      <a:pt x="226" y="94"/>
                    </a:lnTo>
                    <a:lnTo>
                      <a:pt x="228" y="94"/>
                    </a:lnTo>
                    <a:lnTo>
                      <a:pt x="228" y="95"/>
                    </a:lnTo>
                    <a:lnTo>
                      <a:pt x="229" y="95"/>
                    </a:lnTo>
                    <a:lnTo>
                      <a:pt x="229" y="97"/>
                    </a:lnTo>
                    <a:lnTo>
                      <a:pt x="229" y="98"/>
                    </a:lnTo>
                    <a:lnTo>
                      <a:pt x="231" y="98"/>
                    </a:lnTo>
                    <a:lnTo>
                      <a:pt x="232" y="98"/>
                    </a:lnTo>
                    <a:lnTo>
                      <a:pt x="232" y="100"/>
                    </a:lnTo>
                    <a:lnTo>
                      <a:pt x="234" y="100"/>
                    </a:lnTo>
                    <a:lnTo>
                      <a:pt x="234" y="102"/>
                    </a:lnTo>
                    <a:lnTo>
                      <a:pt x="236" y="102"/>
                    </a:lnTo>
                    <a:lnTo>
                      <a:pt x="236" y="103"/>
                    </a:lnTo>
                    <a:lnTo>
                      <a:pt x="237" y="103"/>
                    </a:lnTo>
                    <a:lnTo>
                      <a:pt x="239" y="103"/>
                    </a:lnTo>
                    <a:lnTo>
                      <a:pt x="239" y="102"/>
                    </a:lnTo>
                    <a:lnTo>
                      <a:pt x="239" y="103"/>
                    </a:lnTo>
                    <a:lnTo>
                      <a:pt x="239" y="105"/>
                    </a:lnTo>
                    <a:lnTo>
                      <a:pt x="239" y="106"/>
                    </a:lnTo>
                    <a:lnTo>
                      <a:pt x="237" y="106"/>
                    </a:lnTo>
                    <a:lnTo>
                      <a:pt x="236" y="106"/>
                    </a:lnTo>
                    <a:lnTo>
                      <a:pt x="236" y="108"/>
                    </a:lnTo>
                    <a:lnTo>
                      <a:pt x="237" y="108"/>
                    </a:lnTo>
                    <a:lnTo>
                      <a:pt x="237" y="110"/>
                    </a:lnTo>
                    <a:lnTo>
                      <a:pt x="239" y="111"/>
                    </a:lnTo>
                    <a:lnTo>
                      <a:pt x="239" y="113"/>
                    </a:lnTo>
                    <a:lnTo>
                      <a:pt x="239" y="114"/>
                    </a:lnTo>
                    <a:lnTo>
                      <a:pt x="240" y="114"/>
                    </a:lnTo>
                    <a:lnTo>
                      <a:pt x="242" y="114"/>
                    </a:lnTo>
                    <a:lnTo>
                      <a:pt x="242" y="113"/>
                    </a:lnTo>
                    <a:lnTo>
                      <a:pt x="240" y="111"/>
                    </a:lnTo>
                    <a:lnTo>
                      <a:pt x="240" y="110"/>
                    </a:lnTo>
                    <a:lnTo>
                      <a:pt x="240" y="108"/>
                    </a:lnTo>
                    <a:lnTo>
                      <a:pt x="240" y="106"/>
                    </a:lnTo>
                    <a:lnTo>
                      <a:pt x="242" y="106"/>
                    </a:lnTo>
                    <a:lnTo>
                      <a:pt x="242" y="108"/>
                    </a:lnTo>
                    <a:lnTo>
                      <a:pt x="242" y="106"/>
                    </a:lnTo>
                    <a:lnTo>
                      <a:pt x="244" y="106"/>
                    </a:lnTo>
                    <a:lnTo>
                      <a:pt x="244" y="105"/>
                    </a:lnTo>
                    <a:lnTo>
                      <a:pt x="245" y="105"/>
                    </a:lnTo>
                    <a:lnTo>
                      <a:pt x="245" y="103"/>
                    </a:lnTo>
                    <a:lnTo>
                      <a:pt x="247" y="103"/>
                    </a:lnTo>
                    <a:lnTo>
                      <a:pt x="247" y="105"/>
                    </a:lnTo>
                    <a:lnTo>
                      <a:pt x="248" y="105"/>
                    </a:lnTo>
                    <a:lnTo>
                      <a:pt x="248" y="106"/>
                    </a:lnTo>
                    <a:lnTo>
                      <a:pt x="248" y="108"/>
                    </a:lnTo>
                    <a:lnTo>
                      <a:pt x="250" y="108"/>
                    </a:lnTo>
                    <a:lnTo>
                      <a:pt x="250" y="110"/>
                    </a:lnTo>
                    <a:lnTo>
                      <a:pt x="248" y="110"/>
                    </a:lnTo>
                    <a:lnTo>
                      <a:pt x="250" y="110"/>
                    </a:lnTo>
                    <a:lnTo>
                      <a:pt x="250" y="108"/>
                    </a:lnTo>
                    <a:lnTo>
                      <a:pt x="250" y="106"/>
                    </a:lnTo>
                    <a:lnTo>
                      <a:pt x="252" y="106"/>
                    </a:lnTo>
                    <a:lnTo>
                      <a:pt x="253" y="106"/>
                    </a:lnTo>
                    <a:lnTo>
                      <a:pt x="255" y="106"/>
                    </a:lnTo>
                    <a:lnTo>
                      <a:pt x="256" y="106"/>
                    </a:lnTo>
                    <a:lnTo>
                      <a:pt x="256" y="108"/>
                    </a:lnTo>
                    <a:lnTo>
                      <a:pt x="256" y="110"/>
                    </a:lnTo>
                    <a:lnTo>
                      <a:pt x="258" y="110"/>
                    </a:lnTo>
                    <a:lnTo>
                      <a:pt x="258" y="111"/>
                    </a:lnTo>
                    <a:lnTo>
                      <a:pt x="259" y="111"/>
                    </a:lnTo>
                    <a:lnTo>
                      <a:pt x="261" y="111"/>
                    </a:lnTo>
                    <a:lnTo>
                      <a:pt x="263" y="111"/>
                    </a:lnTo>
                    <a:lnTo>
                      <a:pt x="264" y="111"/>
                    </a:lnTo>
                    <a:lnTo>
                      <a:pt x="266" y="111"/>
                    </a:lnTo>
                    <a:lnTo>
                      <a:pt x="267" y="111"/>
                    </a:lnTo>
                    <a:lnTo>
                      <a:pt x="269" y="111"/>
                    </a:lnTo>
                    <a:lnTo>
                      <a:pt x="271" y="111"/>
                    </a:lnTo>
                    <a:lnTo>
                      <a:pt x="271" y="110"/>
                    </a:lnTo>
                    <a:lnTo>
                      <a:pt x="272" y="110"/>
                    </a:lnTo>
                    <a:lnTo>
                      <a:pt x="274" y="110"/>
                    </a:lnTo>
                    <a:lnTo>
                      <a:pt x="274" y="108"/>
                    </a:lnTo>
                    <a:lnTo>
                      <a:pt x="274" y="106"/>
                    </a:lnTo>
                    <a:lnTo>
                      <a:pt x="275" y="106"/>
                    </a:lnTo>
                    <a:lnTo>
                      <a:pt x="275" y="105"/>
                    </a:lnTo>
                    <a:lnTo>
                      <a:pt x="277" y="105"/>
                    </a:lnTo>
                    <a:lnTo>
                      <a:pt x="277" y="106"/>
                    </a:lnTo>
                    <a:lnTo>
                      <a:pt x="278" y="106"/>
                    </a:lnTo>
                    <a:lnTo>
                      <a:pt x="278" y="108"/>
                    </a:lnTo>
                    <a:lnTo>
                      <a:pt x="278" y="110"/>
                    </a:lnTo>
                    <a:lnTo>
                      <a:pt x="280" y="110"/>
                    </a:lnTo>
                    <a:lnTo>
                      <a:pt x="282" y="110"/>
                    </a:lnTo>
                    <a:lnTo>
                      <a:pt x="283" y="111"/>
                    </a:lnTo>
                    <a:lnTo>
                      <a:pt x="285" y="111"/>
                    </a:lnTo>
                    <a:lnTo>
                      <a:pt x="286" y="111"/>
                    </a:lnTo>
                    <a:lnTo>
                      <a:pt x="288" y="111"/>
                    </a:lnTo>
                    <a:lnTo>
                      <a:pt x="290" y="111"/>
                    </a:lnTo>
                    <a:lnTo>
                      <a:pt x="290" y="110"/>
                    </a:lnTo>
                    <a:lnTo>
                      <a:pt x="291" y="110"/>
                    </a:lnTo>
                    <a:lnTo>
                      <a:pt x="291" y="108"/>
                    </a:lnTo>
                    <a:lnTo>
                      <a:pt x="293" y="108"/>
                    </a:lnTo>
                    <a:lnTo>
                      <a:pt x="294" y="108"/>
                    </a:lnTo>
                    <a:lnTo>
                      <a:pt x="296" y="108"/>
                    </a:lnTo>
                    <a:lnTo>
                      <a:pt x="296" y="110"/>
                    </a:lnTo>
                    <a:lnTo>
                      <a:pt x="297" y="110"/>
                    </a:lnTo>
                    <a:lnTo>
                      <a:pt x="299" y="110"/>
                    </a:lnTo>
                    <a:lnTo>
                      <a:pt x="299" y="108"/>
                    </a:lnTo>
                    <a:lnTo>
                      <a:pt x="301" y="106"/>
                    </a:lnTo>
                    <a:lnTo>
                      <a:pt x="301" y="108"/>
                    </a:lnTo>
                    <a:lnTo>
                      <a:pt x="302" y="108"/>
                    </a:lnTo>
                    <a:lnTo>
                      <a:pt x="304" y="108"/>
                    </a:lnTo>
                    <a:lnTo>
                      <a:pt x="305" y="108"/>
                    </a:lnTo>
                    <a:lnTo>
                      <a:pt x="307" y="108"/>
                    </a:lnTo>
                    <a:lnTo>
                      <a:pt x="309" y="108"/>
                    </a:lnTo>
                    <a:lnTo>
                      <a:pt x="309" y="106"/>
                    </a:lnTo>
                    <a:lnTo>
                      <a:pt x="310" y="105"/>
                    </a:lnTo>
                    <a:lnTo>
                      <a:pt x="312" y="105"/>
                    </a:lnTo>
                    <a:lnTo>
                      <a:pt x="312" y="103"/>
                    </a:lnTo>
                    <a:lnTo>
                      <a:pt x="313" y="103"/>
                    </a:lnTo>
                    <a:lnTo>
                      <a:pt x="315" y="103"/>
                    </a:lnTo>
                    <a:lnTo>
                      <a:pt x="315" y="102"/>
                    </a:lnTo>
                    <a:lnTo>
                      <a:pt x="316" y="102"/>
                    </a:lnTo>
                    <a:lnTo>
                      <a:pt x="318" y="102"/>
                    </a:lnTo>
                    <a:lnTo>
                      <a:pt x="320" y="102"/>
                    </a:lnTo>
                    <a:lnTo>
                      <a:pt x="321" y="102"/>
                    </a:lnTo>
                    <a:lnTo>
                      <a:pt x="323" y="102"/>
                    </a:lnTo>
                    <a:lnTo>
                      <a:pt x="323" y="100"/>
                    </a:lnTo>
                    <a:lnTo>
                      <a:pt x="324" y="100"/>
                    </a:lnTo>
                    <a:lnTo>
                      <a:pt x="324" y="98"/>
                    </a:lnTo>
                    <a:lnTo>
                      <a:pt x="326" y="98"/>
                    </a:lnTo>
                    <a:lnTo>
                      <a:pt x="328" y="98"/>
                    </a:lnTo>
                    <a:lnTo>
                      <a:pt x="329" y="98"/>
                    </a:lnTo>
                    <a:lnTo>
                      <a:pt x="329" y="97"/>
                    </a:lnTo>
                    <a:lnTo>
                      <a:pt x="331" y="97"/>
                    </a:lnTo>
                    <a:lnTo>
                      <a:pt x="331" y="95"/>
                    </a:lnTo>
                    <a:lnTo>
                      <a:pt x="332" y="95"/>
                    </a:lnTo>
                    <a:lnTo>
                      <a:pt x="334" y="95"/>
                    </a:lnTo>
                    <a:lnTo>
                      <a:pt x="334" y="94"/>
                    </a:lnTo>
                    <a:lnTo>
                      <a:pt x="335" y="95"/>
                    </a:lnTo>
                    <a:lnTo>
                      <a:pt x="337" y="95"/>
                    </a:lnTo>
                    <a:lnTo>
                      <a:pt x="339" y="97"/>
                    </a:lnTo>
                    <a:lnTo>
                      <a:pt x="339" y="95"/>
                    </a:lnTo>
                    <a:lnTo>
                      <a:pt x="340" y="95"/>
                    </a:lnTo>
                    <a:lnTo>
                      <a:pt x="342" y="94"/>
                    </a:lnTo>
                    <a:lnTo>
                      <a:pt x="343" y="94"/>
                    </a:lnTo>
                    <a:lnTo>
                      <a:pt x="343" y="92"/>
                    </a:lnTo>
                    <a:lnTo>
                      <a:pt x="342" y="92"/>
                    </a:lnTo>
                    <a:lnTo>
                      <a:pt x="343" y="92"/>
                    </a:lnTo>
                    <a:lnTo>
                      <a:pt x="345" y="92"/>
                    </a:lnTo>
                    <a:lnTo>
                      <a:pt x="345" y="91"/>
                    </a:lnTo>
                    <a:lnTo>
                      <a:pt x="345" y="89"/>
                    </a:lnTo>
                    <a:lnTo>
                      <a:pt x="347" y="89"/>
                    </a:lnTo>
                    <a:lnTo>
                      <a:pt x="347" y="87"/>
                    </a:lnTo>
                    <a:lnTo>
                      <a:pt x="347" y="86"/>
                    </a:lnTo>
                    <a:lnTo>
                      <a:pt x="348" y="86"/>
                    </a:lnTo>
                    <a:lnTo>
                      <a:pt x="350" y="84"/>
                    </a:lnTo>
                    <a:lnTo>
                      <a:pt x="351" y="84"/>
                    </a:lnTo>
                    <a:lnTo>
                      <a:pt x="353" y="84"/>
                    </a:lnTo>
                    <a:lnTo>
                      <a:pt x="353" y="83"/>
                    </a:lnTo>
                    <a:lnTo>
                      <a:pt x="353" y="81"/>
                    </a:lnTo>
                    <a:lnTo>
                      <a:pt x="354" y="81"/>
                    </a:lnTo>
                    <a:lnTo>
                      <a:pt x="354" y="79"/>
                    </a:lnTo>
                    <a:lnTo>
                      <a:pt x="356" y="79"/>
                    </a:lnTo>
                    <a:lnTo>
                      <a:pt x="356" y="78"/>
                    </a:lnTo>
                    <a:lnTo>
                      <a:pt x="358" y="78"/>
                    </a:lnTo>
                    <a:lnTo>
                      <a:pt x="358" y="76"/>
                    </a:lnTo>
                    <a:lnTo>
                      <a:pt x="358" y="75"/>
                    </a:lnTo>
                    <a:lnTo>
                      <a:pt x="356" y="75"/>
                    </a:lnTo>
                    <a:lnTo>
                      <a:pt x="356" y="73"/>
                    </a:lnTo>
                    <a:lnTo>
                      <a:pt x="358" y="73"/>
                    </a:lnTo>
                    <a:lnTo>
                      <a:pt x="358" y="72"/>
                    </a:lnTo>
                    <a:lnTo>
                      <a:pt x="359" y="72"/>
                    </a:lnTo>
                    <a:lnTo>
                      <a:pt x="359" y="70"/>
                    </a:lnTo>
                    <a:lnTo>
                      <a:pt x="359" y="68"/>
                    </a:lnTo>
                    <a:lnTo>
                      <a:pt x="361" y="68"/>
                    </a:lnTo>
                    <a:lnTo>
                      <a:pt x="359" y="68"/>
                    </a:lnTo>
                    <a:lnTo>
                      <a:pt x="359" y="67"/>
                    </a:lnTo>
                    <a:lnTo>
                      <a:pt x="361" y="67"/>
                    </a:lnTo>
                    <a:lnTo>
                      <a:pt x="361" y="65"/>
                    </a:lnTo>
                    <a:lnTo>
                      <a:pt x="362" y="64"/>
                    </a:lnTo>
                    <a:lnTo>
                      <a:pt x="362" y="62"/>
                    </a:lnTo>
                    <a:lnTo>
                      <a:pt x="362" y="60"/>
                    </a:lnTo>
                    <a:lnTo>
                      <a:pt x="362" y="59"/>
                    </a:lnTo>
                    <a:lnTo>
                      <a:pt x="364" y="59"/>
                    </a:lnTo>
                    <a:lnTo>
                      <a:pt x="364" y="57"/>
                    </a:lnTo>
                    <a:lnTo>
                      <a:pt x="364" y="56"/>
                    </a:lnTo>
                    <a:lnTo>
                      <a:pt x="366" y="56"/>
                    </a:lnTo>
                    <a:lnTo>
                      <a:pt x="366" y="54"/>
                    </a:lnTo>
                    <a:lnTo>
                      <a:pt x="367" y="54"/>
                    </a:lnTo>
                    <a:lnTo>
                      <a:pt x="367" y="53"/>
                    </a:lnTo>
                    <a:lnTo>
                      <a:pt x="367" y="51"/>
                    </a:lnTo>
                    <a:lnTo>
                      <a:pt x="367" y="49"/>
                    </a:lnTo>
                    <a:lnTo>
                      <a:pt x="369" y="49"/>
                    </a:lnTo>
                    <a:lnTo>
                      <a:pt x="370" y="48"/>
                    </a:lnTo>
                    <a:lnTo>
                      <a:pt x="370" y="46"/>
                    </a:lnTo>
                    <a:lnTo>
                      <a:pt x="372" y="46"/>
                    </a:lnTo>
                    <a:lnTo>
                      <a:pt x="372" y="48"/>
                    </a:lnTo>
                    <a:lnTo>
                      <a:pt x="373" y="48"/>
                    </a:lnTo>
                    <a:lnTo>
                      <a:pt x="373" y="46"/>
                    </a:lnTo>
                    <a:lnTo>
                      <a:pt x="373" y="45"/>
                    </a:lnTo>
                    <a:lnTo>
                      <a:pt x="373" y="43"/>
                    </a:lnTo>
                    <a:lnTo>
                      <a:pt x="373" y="41"/>
                    </a:lnTo>
                    <a:lnTo>
                      <a:pt x="375" y="41"/>
                    </a:lnTo>
                    <a:lnTo>
                      <a:pt x="377" y="41"/>
                    </a:lnTo>
                    <a:lnTo>
                      <a:pt x="377" y="43"/>
                    </a:lnTo>
                    <a:lnTo>
                      <a:pt x="377" y="41"/>
                    </a:lnTo>
                    <a:lnTo>
                      <a:pt x="375" y="41"/>
                    </a:lnTo>
                    <a:lnTo>
                      <a:pt x="375" y="40"/>
                    </a:lnTo>
                    <a:lnTo>
                      <a:pt x="377" y="40"/>
                    </a:lnTo>
                    <a:lnTo>
                      <a:pt x="378" y="40"/>
                    </a:lnTo>
                    <a:lnTo>
                      <a:pt x="378" y="38"/>
                    </a:lnTo>
                    <a:lnTo>
                      <a:pt x="377" y="38"/>
                    </a:lnTo>
                    <a:lnTo>
                      <a:pt x="378" y="37"/>
                    </a:lnTo>
                    <a:lnTo>
                      <a:pt x="378" y="35"/>
                    </a:lnTo>
                    <a:lnTo>
                      <a:pt x="378" y="33"/>
                    </a:lnTo>
                    <a:lnTo>
                      <a:pt x="380" y="32"/>
                    </a:lnTo>
                    <a:lnTo>
                      <a:pt x="381" y="32"/>
                    </a:lnTo>
                    <a:lnTo>
                      <a:pt x="381" y="30"/>
                    </a:lnTo>
                    <a:lnTo>
                      <a:pt x="381" y="29"/>
                    </a:lnTo>
                    <a:lnTo>
                      <a:pt x="383" y="29"/>
                    </a:lnTo>
                    <a:lnTo>
                      <a:pt x="385" y="29"/>
                    </a:lnTo>
                    <a:lnTo>
                      <a:pt x="386" y="29"/>
                    </a:lnTo>
                    <a:lnTo>
                      <a:pt x="386" y="30"/>
                    </a:lnTo>
                    <a:lnTo>
                      <a:pt x="388" y="30"/>
                    </a:lnTo>
                    <a:lnTo>
                      <a:pt x="388" y="32"/>
                    </a:lnTo>
                    <a:lnTo>
                      <a:pt x="389" y="33"/>
                    </a:lnTo>
                    <a:lnTo>
                      <a:pt x="389" y="35"/>
                    </a:lnTo>
                    <a:lnTo>
                      <a:pt x="391" y="37"/>
                    </a:lnTo>
                    <a:lnTo>
                      <a:pt x="391" y="38"/>
                    </a:lnTo>
                    <a:lnTo>
                      <a:pt x="391" y="40"/>
                    </a:lnTo>
                    <a:lnTo>
                      <a:pt x="392" y="40"/>
                    </a:lnTo>
                    <a:lnTo>
                      <a:pt x="392" y="41"/>
                    </a:lnTo>
                    <a:lnTo>
                      <a:pt x="392" y="43"/>
                    </a:lnTo>
                    <a:lnTo>
                      <a:pt x="394" y="43"/>
                    </a:lnTo>
                    <a:lnTo>
                      <a:pt x="396" y="45"/>
                    </a:lnTo>
                    <a:lnTo>
                      <a:pt x="397" y="45"/>
                    </a:lnTo>
                    <a:lnTo>
                      <a:pt x="397" y="46"/>
                    </a:lnTo>
                    <a:lnTo>
                      <a:pt x="399" y="46"/>
                    </a:lnTo>
                    <a:lnTo>
                      <a:pt x="399" y="48"/>
                    </a:lnTo>
                    <a:lnTo>
                      <a:pt x="400" y="48"/>
                    </a:lnTo>
                    <a:lnTo>
                      <a:pt x="402" y="49"/>
                    </a:lnTo>
                    <a:lnTo>
                      <a:pt x="404" y="51"/>
                    </a:lnTo>
                    <a:lnTo>
                      <a:pt x="405" y="53"/>
                    </a:lnTo>
                    <a:lnTo>
                      <a:pt x="407" y="54"/>
                    </a:lnTo>
                    <a:lnTo>
                      <a:pt x="408" y="56"/>
                    </a:lnTo>
                    <a:lnTo>
                      <a:pt x="408" y="57"/>
                    </a:lnTo>
                    <a:lnTo>
                      <a:pt x="410" y="59"/>
                    </a:lnTo>
                    <a:lnTo>
                      <a:pt x="411" y="59"/>
                    </a:lnTo>
                    <a:lnTo>
                      <a:pt x="411" y="60"/>
                    </a:lnTo>
                    <a:lnTo>
                      <a:pt x="413" y="62"/>
                    </a:lnTo>
                    <a:lnTo>
                      <a:pt x="415" y="62"/>
                    </a:lnTo>
                    <a:lnTo>
                      <a:pt x="415" y="60"/>
                    </a:lnTo>
                    <a:lnTo>
                      <a:pt x="416" y="60"/>
                    </a:lnTo>
                    <a:lnTo>
                      <a:pt x="418" y="60"/>
                    </a:lnTo>
                    <a:lnTo>
                      <a:pt x="419" y="60"/>
                    </a:lnTo>
                    <a:lnTo>
                      <a:pt x="421" y="62"/>
                    </a:lnTo>
                    <a:lnTo>
                      <a:pt x="423" y="62"/>
                    </a:lnTo>
                    <a:lnTo>
                      <a:pt x="424" y="62"/>
                    </a:lnTo>
                    <a:lnTo>
                      <a:pt x="426" y="62"/>
                    </a:lnTo>
                    <a:lnTo>
                      <a:pt x="427" y="62"/>
                    </a:lnTo>
                    <a:lnTo>
                      <a:pt x="429" y="62"/>
                    </a:lnTo>
                    <a:lnTo>
                      <a:pt x="431" y="62"/>
                    </a:lnTo>
                    <a:lnTo>
                      <a:pt x="432" y="64"/>
                    </a:lnTo>
                    <a:lnTo>
                      <a:pt x="432" y="65"/>
                    </a:lnTo>
                    <a:lnTo>
                      <a:pt x="434" y="65"/>
                    </a:lnTo>
                    <a:lnTo>
                      <a:pt x="434" y="67"/>
                    </a:lnTo>
                    <a:lnTo>
                      <a:pt x="432" y="67"/>
                    </a:lnTo>
                    <a:lnTo>
                      <a:pt x="432" y="68"/>
                    </a:lnTo>
                    <a:lnTo>
                      <a:pt x="432" y="70"/>
                    </a:lnTo>
                    <a:lnTo>
                      <a:pt x="434" y="70"/>
                    </a:lnTo>
                    <a:lnTo>
                      <a:pt x="434" y="72"/>
                    </a:lnTo>
                    <a:lnTo>
                      <a:pt x="434" y="73"/>
                    </a:lnTo>
                    <a:lnTo>
                      <a:pt x="435" y="73"/>
                    </a:lnTo>
                    <a:lnTo>
                      <a:pt x="435" y="72"/>
                    </a:lnTo>
                    <a:lnTo>
                      <a:pt x="437" y="72"/>
                    </a:lnTo>
                    <a:lnTo>
                      <a:pt x="438" y="72"/>
                    </a:lnTo>
                    <a:lnTo>
                      <a:pt x="438" y="70"/>
                    </a:lnTo>
                    <a:lnTo>
                      <a:pt x="440" y="70"/>
                    </a:lnTo>
                    <a:lnTo>
                      <a:pt x="442" y="70"/>
                    </a:lnTo>
                    <a:lnTo>
                      <a:pt x="443" y="70"/>
                    </a:lnTo>
                    <a:lnTo>
                      <a:pt x="445" y="70"/>
                    </a:lnTo>
                    <a:lnTo>
                      <a:pt x="446" y="70"/>
                    </a:lnTo>
                    <a:lnTo>
                      <a:pt x="446" y="68"/>
                    </a:lnTo>
                    <a:lnTo>
                      <a:pt x="448" y="68"/>
                    </a:lnTo>
                    <a:lnTo>
                      <a:pt x="450" y="68"/>
                    </a:lnTo>
                    <a:lnTo>
                      <a:pt x="450" y="70"/>
                    </a:lnTo>
                    <a:lnTo>
                      <a:pt x="451" y="70"/>
                    </a:lnTo>
                    <a:lnTo>
                      <a:pt x="451" y="72"/>
                    </a:lnTo>
                    <a:lnTo>
                      <a:pt x="451" y="73"/>
                    </a:lnTo>
                    <a:lnTo>
                      <a:pt x="453" y="75"/>
                    </a:lnTo>
                    <a:lnTo>
                      <a:pt x="454" y="75"/>
                    </a:lnTo>
                    <a:lnTo>
                      <a:pt x="454" y="73"/>
                    </a:lnTo>
                    <a:lnTo>
                      <a:pt x="454" y="75"/>
                    </a:lnTo>
                    <a:lnTo>
                      <a:pt x="456" y="75"/>
                    </a:lnTo>
                    <a:lnTo>
                      <a:pt x="457" y="75"/>
                    </a:lnTo>
                    <a:lnTo>
                      <a:pt x="457" y="73"/>
                    </a:lnTo>
                    <a:lnTo>
                      <a:pt x="457" y="75"/>
                    </a:lnTo>
                    <a:lnTo>
                      <a:pt x="459" y="75"/>
                    </a:lnTo>
                    <a:lnTo>
                      <a:pt x="461" y="75"/>
                    </a:lnTo>
                    <a:lnTo>
                      <a:pt x="461" y="76"/>
                    </a:lnTo>
                    <a:lnTo>
                      <a:pt x="461" y="78"/>
                    </a:lnTo>
                    <a:lnTo>
                      <a:pt x="462" y="78"/>
                    </a:lnTo>
                    <a:lnTo>
                      <a:pt x="462" y="79"/>
                    </a:lnTo>
                    <a:lnTo>
                      <a:pt x="464" y="79"/>
                    </a:lnTo>
                    <a:lnTo>
                      <a:pt x="464" y="78"/>
                    </a:lnTo>
                    <a:lnTo>
                      <a:pt x="464" y="79"/>
                    </a:lnTo>
                    <a:lnTo>
                      <a:pt x="465" y="79"/>
                    </a:lnTo>
                    <a:lnTo>
                      <a:pt x="465" y="78"/>
                    </a:lnTo>
                    <a:lnTo>
                      <a:pt x="467" y="78"/>
                    </a:lnTo>
                    <a:lnTo>
                      <a:pt x="467" y="76"/>
                    </a:lnTo>
                    <a:lnTo>
                      <a:pt x="469" y="76"/>
                    </a:lnTo>
                    <a:lnTo>
                      <a:pt x="469" y="75"/>
                    </a:lnTo>
                    <a:lnTo>
                      <a:pt x="470" y="75"/>
                    </a:lnTo>
                    <a:lnTo>
                      <a:pt x="472" y="73"/>
                    </a:lnTo>
                    <a:lnTo>
                      <a:pt x="473" y="73"/>
                    </a:lnTo>
                    <a:lnTo>
                      <a:pt x="475" y="73"/>
                    </a:lnTo>
                    <a:lnTo>
                      <a:pt x="476" y="72"/>
                    </a:lnTo>
                    <a:lnTo>
                      <a:pt x="478" y="72"/>
                    </a:lnTo>
                    <a:lnTo>
                      <a:pt x="480" y="72"/>
                    </a:lnTo>
                    <a:lnTo>
                      <a:pt x="481" y="72"/>
                    </a:lnTo>
                    <a:lnTo>
                      <a:pt x="481" y="70"/>
                    </a:lnTo>
                    <a:lnTo>
                      <a:pt x="481" y="68"/>
                    </a:lnTo>
                    <a:lnTo>
                      <a:pt x="481" y="67"/>
                    </a:lnTo>
                    <a:lnTo>
                      <a:pt x="483" y="67"/>
                    </a:lnTo>
                    <a:lnTo>
                      <a:pt x="483" y="68"/>
                    </a:lnTo>
                    <a:lnTo>
                      <a:pt x="483" y="70"/>
                    </a:lnTo>
                    <a:lnTo>
                      <a:pt x="484" y="72"/>
                    </a:lnTo>
                    <a:lnTo>
                      <a:pt x="484" y="73"/>
                    </a:lnTo>
                    <a:lnTo>
                      <a:pt x="486" y="75"/>
                    </a:lnTo>
                    <a:lnTo>
                      <a:pt x="486" y="76"/>
                    </a:lnTo>
                    <a:lnTo>
                      <a:pt x="488" y="76"/>
                    </a:lnTo>
                    <a:lnTo>
                      <a:pt x="489" y="78"/>
                    </a:lnTo>
                    <a:lnTo>
                      <a:pt x="491" y="76"/>
                    </a:lnTo>
                    <a:lnTo>
                      <a:pt x="492" y="76"/>
                    </a:lnTo>
                    <a:lnTo>
                      <a:pt x="492" y="75"/>
                    </a:lnTo>
                    <a:lnTo>
                      <a:pt x="494" y="75"/>
                    </a:lnTo>
                    <a:lnTo>
                      <a:pt x="494" y="73"/>
                    </a:lnTo>
                    <a:lnTo>
                      <a:pt x="495" y="73"/>
                    </a:lnTo>
                    <a:lnTo>
                      <a:pt x="495" y="72"/>
                    </a:lnTo>
                    <a:lnTo>
                      <a:pt x="497" y="72"/>
                    </a:lnTo>
                    <a:lnTo>
                      <a:pt x="499" y="72"/>
                    </a:lnTo>
                    <a:lnTo>
                      <a:pt x="500" y="72"/>
                    </a:lnTo>
                    <a:lnTo>
                      <a:pt x="500" y="73"/>
                    </a:lnTo>
                    <a:lnTo>
                      <a:pt x="502" y="73"/>
                    </a:lnTo>
                    <a:lnTo>
                      <a:pt x="502" y="75"/>
                    </a:lnTo>
                    <a:lnTo>
                      <a:pt x="505" y="75"/>
                    </a:lnTo>
                    <a:lnTo>
                      <a:pt x="508" y="73"/>
                    </a:lnTo>
                    <a:lnTo>
                      <a:pt x="510" y="73"/>
                    </a:lnTo>
                    <a:lnTo>
                      <a:pt x="510" y="72"/>
                    </a:lnTo>
                    <a:lnTo>
                      <a:pt x="511" y="72"/>
                    </a:lnTo>
                    <a:lnTo>
                      <a:pt x="513" y="72"/>
                    </a:lnTo>
                    <a:lnTo>
                      <a:pt x="514" y="72"/>
                    </a:lnTo>
                    <a:lnTo>
                      <a:pt x="516" y="72"/>
                    </a:lnTo>
                    <a:lnTo>
                      <a:pt x="516" y="73"/>
                    </a:lnTo>
                    <a:lnTo>
                      <a:pt x="518" y="73"/>
                    </a:lnTo>
                    <a:lnTo>
                      <a:pt x="518" y="72"/>
                    </a:lnTo>
                    <a:lnTo>
                      <a:pt x="518" y="70"/>
                    </a:lnTo>
                    <a:lnTo>
                      <a:pt x="518" y="68"/>
                    </a:lnTo>
                    <a:lnTo>
                      <a:pt x="519" y="68"/>
                    </a:lnTo>
                    <a:lnTo>
                      <a:pt x="521" y="68"/>
                    </a:lnTo>
                    <a:lnTo>
                      <a:pt x="519" y="68"/>
                    </a:lnTo>
                    <a:lnTo>
                      <a:pt x="519" y="70"/>
                    </a:lnTo>
                    <a:lnTo>
                      <a:pt x="521" y="70"/>
                    </a:lnTo>
                    <a:lnTo>
                      <a:pt x="521" y="72"/>
                    </a:lnTo>
                    <a:lnTo>
                      <a:pt x="521" y="73"/>
                    </a:lnTo>
                    <a:lnTo>
                      <a:pt x="522" y="73"/>
                    </a:lnTo>
                    <a:lnTo>
                      <a:pt x="524" y="73"/>
                    </a:lnTo>
                    <a:lnTo>
                      <a:pt x="526" y="73"/>
                    </a:lnTo>
                    <a:lnTo>
                      <a:pt x="526" y="75"/>
                    </a:lnTo>
                    <a:lnTo>
                      <a:pt x="526" y="76"/>
                    </a:lnTo>
                    <a:lnTo>
                      <a:pt x="527" y="76"/>
                    </a:lnTo>
                    <a:lnTo>
                      <a:pt x="527" y="75"/>
                    </a:lnTo>
                    <a:lnTo>
                      <a:pt x="529" y="73"/>
                    </a:lnTo>
                    <a:lnTo>
                      <a:pt x="529" y="75"/>
                    </a:lnTo>
                    <a:lnTo>
                      <a:pt x="530" y="75"/>
                    </a:lnTo>
                    <a:lnTo>
                      <a:pt x="532" y="75"/>
                    </a:lnTo>
                    <a:lnTo>
                      <a:pt x="532" y="73"/>
                    </a:lnTo>
                    <a:lnTo>
                      <a:pt x="532" y="72"/>
                    </a:lnTo>
                    <a:lnTo>
                      <a:pt x="533" y="72"/>
                    </a:lnTo>
                    <a:lnTo>
                      <a:pt x="535" y="72"/>
                    </a:lnTo>
                    <a:lnTo>
                      <a:pt x="537" y="70"/>
                    </a:lnTo>
                    <a:lnTo>
                      <a:pt x="535" y="70"/>
                    </a:lnTo>
                    <a:lnTo>
                      <a:pt x="535" y="68"/>
                    </a:lnTo>
                    <a:lnTo>
                      <a:pt x="533" y="68"/>
                    </a:lnTo>
                    <a:lnTo>
                      <a:pt x="533" y="67"/>
                    </a:lnTo>
                    <a:lnTo>
                      <a:pt x="535" y="67"/>
                    </a:lnTo>
                    <a:lnTo>
                      <a:pt x="537" y="67"/>
                    </a:lnTo>
                    <a:lnTo>
                      <a:pt x="538" y="67"/>
                    </a:lnTo>
                    <a:lnTo>
                      <a:pt x="538" y="68"/>
                    </a:lnTo>
                    <a:lnTo>
                      <a:pt x="538" y="70"/>
                    </a:lnTo>
                    <a:lnTo>
                      <a:pt x="540" y="70"/>
                    </a:lnTo>
                    <a:lnTo>
                      <a:pt x="540" y="68"/>
                    </a:lnTo>
                    <a:lnTo>
                      <a:pt x="541" y="68"/>
                    </a:lnTo>
                    <a:lnTo>
                      <a:pt x="543" y="68"/>
                    </a:lnTo>
                    <a:lnTo>
                      <a:pt x="541" y="68"/>
                    </a:lnTo>
                    <a:lnTo>
                      <a:pt x="541" y="67"/>
                    </a:lnTo>
                    <a:lnTo>
                      <a:pt x="541" y="65"/>
                    </a:lnTo>
                    <a:lnTo>
                      <a:pt x="543" y="65"/>
                    </a:lnTo>
                    <a:lnTo>
                      <a:pt x="545" y="65"/>
                    </a:lnTo>
                    <a:lnTo>
                      <a:pt x="545" y="64"/>
                    </a:lnTo>
                    <a:lnTo>
                      <a:pt x="545" y="65"/>
                    </a:lnTo>
                    <a:lnTo>
                      <a:pt x="543" y="65"/>
                    </a:lnTo>
                    <a:lnTo>
                      <a:pt x="543" y="64"/>
                    </a:lnTo>
                    <a:lnTo>
                      <a:pt x="541" y="64"/>
                    </a:lnTo>
                    <a:lnTo>
                      <a:pt x="540" y="64"/>
                    </a:lnTo>
                    <a:lnTo>
                      <a:pt x="540" y="62"/>
                    </a:lnTo>
                    <a:lnTo>
                      <a:pt x="541" y="62"/>
                    </a:lnTo>
                    <a:lnTo>
                      <a:pt x="541" y="60"/>
                    </a:lnTo>
                    <a:lnTo>
                      <a:pt x="541" y="59"/>
                    </a:lnTo>
                    <a:lnTo>
                      <a:pt x="543" y="59"/>
                    </a:lnTo>
                    <a:lnTo>
                      <a:pt x="543" y="57"/>
                    </a:lnTo>
                    <a:lnTo>
                      <a:pt x="541" y="57"/>
                    </a:lnTo>
                    <a:lnTo>
                      <a:pt x="541" y="56"/>
                    </a:lnTo>
                    <a:lnTo>
                      <a:pt x="541" y="54"/>
                    </a:lnTo>
                    <a:lnTo>
                      <a:pt x="543" y="54"/>
                    </a:lnTo>
                    <a:lnTo>
                      <a:pt x="543" y="56"/>
                    </a:lnTo>
                    <a:lnTo>
                      <a:pt x="545" y="56"/>
                    </a:lnTo>
                    <a:lnTo>
                      <a:pt x="546" y="57"/>
                    </a:lnTo>
                    <a:lnTo>
                      <a:pt x="546" y="59"/>
                    </a:lnTo>
                    <a:lnTo>
                      <a:pt x="548" y="59"/>
                    </a:lnTo>
                    <a:lnTo>
                      <a:pt x="549" y="59"/>
                    </a:lnTo>
                    <a:lnTo>
                      <a:pt x="549" y="57"/>
                    </a:lnTo>
                    <a:lnTo>
                      <a:pt x="549" y="56"/>
                    </a:lnTo>
                    <a:lnTo>
                      <a:pt x="551" y="56"/>
                    </a:lnTo>
                    <a:lnTo>
                      <a:pt x="551" y="54"/>
                    </a:lnTo>
                    <a:lnTo>
                      <a:pt x="552" y="54"/>
                    </a:lnTo>
                    <a:lnTo>
                      <a:pt x="554" y="54"/>
                    </a:lnTo>
                    <a:lnTo>
                      <a:pt x="556" y="54"/>
                    </a:lnTo>
                    <a:lnTo>
                      <a:pt x="556" y="56"/>
                    </a:lnTo>
                    <a:lnTo>
                      <a:pt x="554" y="57"/>
                    </a:lnTo>
                    <a:lnTo>
                      <a:pt x="554" y="59"/>
                    </a:lnTo>
                    <a:lnTo>
                      <a:pt x="554" y="60"/>
                    </a:lnTo>
                    <a:lnTo>
                      <a:pt x="556" y="60"/>
                    </a:lnTo>
                    <a:lnTo>
                      <a:pt x="556" y="59"/>
                    </a:lnTo>
                    <a:lnTo>
                      <a:pt x="557" y="59"/>
                    </a:lnTo>
                    <a:lnTo>
                      <a:pt x="557" y="57"/>
                    </a:lnTo>
                    <a:lnTo>
                      <a:pt x="557" y="56"/>
                    </a:lnTo>
                    <a:lnTo>
                      <a:pt x="559" y="56"/>
                    </a:lnTo>
                    <a:lnTo>
                      <a:pt x="559" y="54"/>
                    </a:lnTo>
                    <a:lnTo>
                      <a:pt x="560" y="54"/>
                    </a:lnTo>
                    <a:lnTo>
                      <a:pt x="560" y="53"/>
                    </a:lnTo>
                    <a:lnTo>
                      <a:pt x="562" y="53"/>
                    </a:lnTo>
                    <a:lnTo>
                      <a:pt x="562" y="54"/>
                    </a:lnTo>
                    <a:lnTo>
                      <a:pt x="560" y="54"/>
                    </a:lnTo>
                    <a:lnTo>
                      <a:pt x="560" y="56"/>
                    </a:lnTo>
                    <a:lnTo>
                      <a:pt x="562" y="56"/>
                    </a:lnTo>
                    <a:lnTo>
                      <a:pt x="564" y="56"/>
                    </a:lnTo>
                    <a:lnTo>
                      <a:pt x="564" y="57"/>
                    </a:lnTo>
                    <a:lnTo>
                      <a:pt x="564" y="59"/>
                    </a:lnTo>
                    <a:lnTo>
                      <a:pt x="565" y="59"/>
                    </a:lnTo>
                    <a:lnTo>
                      <a:pt x="565" y="57"/>
                    </a:lnTo>
                    <a:lnTo>
                      <a:pt x="567" y="57"/>
                    </a:lnTo>
                    <a:lnTo>
                      <a:pt x="567" y="56"/>
                    </a:lnTo>
                    <a:lnTo>
                      <a:pt x="568" y="54"/>
                    </a:lnTo>
                    <a:lnTo>
                      <a:pt x="568" y="53"/>
                    </a:lnTo>
                    <a:lnTo>
                      <a:pt x="570" y="53"/>
                    </a:lnTo>
                    <a:lnTo>
                      <a:pt x="570" y="51"/>
                    </a:lnTo>
                    <a:lnTo>
                      <a:pt x="571" y="51"/>
                    </a:lnTo>
                    <a:lnTo>
                      <a:pt x="573" y="49"/>
                    </a:lnTo>
                    <a:lnTo>
                      <a:pt x="571" y="49"/>
                    </a:lnTo>
                    <a:lnTo>
                      <a:pt x="571" y="48"/>
                    </a:lnTo>
                    <a:lnTo>
                      <a:pt x="571" y="46"/>
                    </a:lnTo>
                    <a:lnTo>
                      <a:pt x="573" y="46"/>
                    </a:lnTo>
                    <a:lnTo>
                      <a:pt x="575" y="45"/>
                    </a:lnTo>
                    <a:lnTo>
                      <a:pt x="576" y="45"/>
                    </a:lnTo>
                    <a:lnTo>
                      <a:pt x="576" y="43"/>
                    </a:lnTo>
                    <a:lnTo>
                      <a:pt x="578" y="43"/>
                    </a:lnTo>
                    <a:lnTo>
                      <a:pt x="579" y="45"/>
                    </a:lnTo>
                    <a:lnTo>
                      <a:pt x="578" y="45"/>
                    </a:lnTo>
                    <a:lnTo>
                      <a:pt x="578" y="46"/>
                    </a:lnTo>
                    <a:lnTo>
                      <a:pt x="578" y="48"/>
                    </a:lnTo>
                    <a:lnTo>
                      <a:pt x="576" y="48"/>
                    </a:lnTo>
                    <a:lnTo>
                      <a:pt x="576" y="49"/>
                    </a:lnTo>
                    <a:lnTo>
                      <a:pt x="576" y="51"/>
                    </a:lnTo>
                    <a:lnTo>
                      <a:pt x="576" y="53"/>
                    </a:lnTo>
                    <a:lnTo>
                      <a:pt x="578" y="51"/>
                    </a:lnTo>
                    <a:lnTo>
                      <a:pt x="578" y="53"/>
                    </a:lnTo>
                    <a:lnTo>
                      <a:pt x="579" y="53"/>
                    </a:lnTo>
                    <a:lnTo>
                      <a:pt x="581" y="53"/>
                    </a:lnTo>
                    <a:lnTo>
                      <a:pt x="581" y="51"/>
                    </a:lnTo>
                    <a:lnTo>
                      <a:pt x="581" y="49"/>
                    </a:lnTo>
                    <a:lnTo>
                      <a:pt x="583" y="49"/>
                    </a:lnTo>
                    <a:lnTo>
                      <a:pt x="584" y="49"/>
                    </a:lnTo>
                    <a:lnTo>
                      <a:pt x="584" y="51"/>
                    </a:lnTo>
                    <a:lnTo>
                      <a:pt x="586" y="51"/>
                    </a:lnTo>
                    <a:lnTo>
                      <a:pt x="586" y="53"/>
                    </a:lnTo>
                    <a:lnTo>
                      <a:pt x="586" y="54"/>
                    </a:lnTo>
                    <a:lnTo>
                      <a:pt x="587" y="54"/>
                    </a:lnTo>
                    <a:lnTo>
                      <a:pt x="589" y="54"/>
                    </a:lnTo>
                    <a:lnTo>
                      <a:pt x="589" y="53"/>
                    </a:lnTo>
                    <a:lnTo>
                      <a:pt x="590" y="53"/>
                    </a:lnTo>
                    <a:lnTo>
                      <a:pt x="590" y="51"/>
                    </a:lnTo>
                    <a:lnTo>
                      <a:pt x="592" y="51"/>
                    </a:lnTo>
                    <a:lnTo>
                      <a:pt x="592" y="53"/>
                    </a:lnTo>
                    <a:lnTo>
                      <a:pt x="594" y="53"/>
                    </a:lnTo>
                    <a:lnTo>
                      <a:pt x="595" y="53"/>
                    </a:lnTo>
                    <a:lnTo>
                      <a:pt x="597" y="53"/>
                    </a:lnTo>
                    <a:lnTo>
                      <a:pt x="598" y="53"/>
                    </a:lnTo>
                    <a:lnTo>
                      <a:pt x="600" y="53"/>
                    </a:lnTo>
                    <a:lnTo>
                      <a:pt x="602" y="54"/>
                    </a:lnTo>
                    <a:lnTo>
                      <a:pt x="603" y="54"/>
                    </a:lnTo>
                    <a:lnTo>
                      <a:pt x="605" y="54"/>
                    </a:lnTo>
                    <a:lnTo>
                      <a:pt x="606" y="54"/>
                    </a:lnTo>
                    <a:lnTo>
                      <a:pt x="608" y="54"/>
                    </a:lnTo>
                    <a:lnTo>
                      <a:pt x="608" y="56"/>
                    </a:lnTo>
                    <a:lnTo>
                      <a:pt x="608" y="57"/>
                    </a:lnTo>
                    <a:lnTo>
                      <a:pt x="608" y="59"/>
                    </a:lnTo>
                    <a:lnTo>
                      <a:pt x="606" y="59"/>
                    </a:lnTo>
                    <a:lnTo>
                      <a:pt x="606" y="60"/>
                    </a:lnTo>
                    <a:lnTo>
                      <a:pt x="605" y="62"/>
                    </a:lnTo>
                    <a:lnTo>
                      <a:pt x="605" y="64"/>
                    </a:lnTo>
                    <a:lnTo>
                      <a:pt x="603" y="64"/>
                    </a:lnTo>
                    <a:lnTo>
                      <a:pt x="602" y="64"/>
                    </a:lnTo>
                    <a:lnTo>
                      <a:pt x="600" y="64"/>
                    </a:lnTo>
                    <a:lnTo>
                      <a:pt x="598" y="64"/>
                    </a:lnTo>
                    <a:lnTo>
                      <a:pt x="598" y="65"/>
                    </a:lnTo>
                    <a:lnTo>
                      <a:pt x="597" y="65"/>
                    </a:lnTo>
                    <a:lnTo>
                      <a:pt x="595" y="65"/>
                    </a:lnTo>
                    <a:lnTo>
                      <a:pt x="594" y="65"/>
                    </a:lnTo>
                    <a:lnTo>
                      <a:pt x="592" y="65"/>
                    </a:lnTo>
                    <a:lnTo>
                      <a:pt x="592" y="67"/>
                    </a:lnTo>
                    <a:lnTo>
                      <a:pt x="592" y="68"/>
                    </a:lnTo>
                    <a:lnTo>
                      <a:pt x="590" y="68"/>
                    </a:lnTo>
                    <a:lnTo>
                      <a:pt x="590" y="70"/>
                    </a:lnTo>
                    <a:lnTo>
                      <a:pt x="590" y="72"/>
                    </a:lnTo>
                    <a:lnTo>
                      <a:pt x="589" y="72"/>
                    </a:lnTo>
                    <a:lnTo>
                      <a:pt x="587" y="73"/>
                    </a:lnTo>
                    <a:lnTo>
                      <a:pt x="586" y="73"/>
                    </a:lnTo>
                    <a:lnTo>
                      <a:pt x="584" y="73"/>
                    </a:lnTo>
                    <a:lnTo>
                      <a:pt x="583" y="73"/>
                    </a:lnTo>
                    <a:lnTo>
                      <a:pt x="583" y="75"/>
                    </a:lnTo>
                    <a:lnTo>
                      <a:pt x="583" y="76"/>
                    </a:lnTo>
                    <a:lnTo>
                      <a:pt x="584" y="76"/>
                    </a:lnTo>
                    <a:lnTo>
                      <a:pt x="584" y="78"/>
                    </a:lnTo>
                    <a:lnTo>
                      <a:pt x="583" y="78"/>
                    </a:lnTo>
                    <a:lnTo>
                      <a:pt x="583" y="79"/>
                    </a:lnTo>
                    <a:lnTo>
                      <a:pt x="581" y="79"/>
                    </a:lnTo>
                    <a:lnTo>
                      <a:pt x="581" y="81"/>
                    </a:lnTo>
                    <a:lnTo>
                      <a:pt x="583" y="81"/>
                    </a:lnTo>
                    <a:lnTo>
                      <a:pt x="584" y="81"/>
                    </a:lnTo>
                    <a:lnTo>
                      <a:pt x="584" y="79"/>
                    </a:lnTo>
                    <a:lnTo>
                      <a:pt x="586" y="79"/>
                    </a:lnTo>
                    <a:lnTo>
                      <a:pt x="586" y="78"/>
                    </a:lnTo>
                    <a:lnTo>
                      <a:pt x="587" y="78"/>
                    </a:lnTo>
                    <a:lnTo>
                      <a:pt x="589" y="78"/>
                    </a:lnTo>
                    <a:lnTo>
                      <a:pt x="590" y="78"/>
                    </a:lnTo>
                    <a:lnTo>
                      <a:pt x="592" y="78"/>
                    </a:lnTo>
                    <a:lnTo>
                      <a:pt x="594" y="78"/>
                    </a:lnTo>
                    <a:lnTo>
                      <a:pt x="595" y="78"/>
                    </a:lnTo>
                    <a:lnTo>
                      <a:pt x="597" y="76"/>
                    </a:lnTo>
                    <a:lnTo>
                      <a:pt x="598" y="76"/>
                    </a:lnTo>
                    <a:lnTo>
                      <a:pt x="600" y="76"/>
                    </a:lnTo>
                    <a:lnTo>
                      <a:pt x="600" y="75"/>
                    </a:lnTo>
                    <a:lnTo>
                      <a:pt x="602" y="75"/>
                    </a:lnTo>
                    <a:lnTo>
                      <a:pt x="603" y="75"/>
                    </a:lnTo>
                    <a:lnTo>
                      <a:pt x="605" y="75"/>
                    </a:lnTo>
                    <a:lnTo>
                      <a:pt x="606" y="75"/>
                    </a:lnTo>
                    <a:lnTo>
                      <a:pt x="608" y="75"/>
                    </a:lnTo>
                    <a:lnTo>
                      <a:pt x="609" y="75"/>
                    </a:lnTo>
                    <a:lnTo>
                      <a:pt x="611" y="75"/>
                    </a:lnTo>
                    <a:lnTo>
                      <a:pt x="611" y="73"/>
                    </a:lnTo>
                    <a:lnTo>
                      <a:pt x="613" y="73"/>
                    </a:lnTo>
                    <a:lnTo>
                      <a:pt x="613" y="72"/>
                    </a:lnTo>
                    <a:lnTo>
                      <a:pt x="614" y="72"/>
                    </a:lnTo>
                    <a:lnTo>
                      <a:pt x="614" y="70"/>
                    </a:lnTo>
                    <a:lnTo>
                      <a:pt x="616" y="68"/>
                    </a:lnTo>
                    <a:lnTo>
                      <a:pt x="617" y="67"/>
                    </a:lnTo>
                    <a:lnTo>
                      <a:pt x="617" y="65"/>
                    </a:lnTo>
                    <a:lnTo>
                      <a:pt x="617" y="64"/>
                    </a:lnTo>
                    <a:lnTo>
                      <a:pt x="619" y="64"/>
                    </a:lnTo>
                    <a:lnTo>
                      <a:pt x="621" y="64"/>
                    </a:lnTo>
                    <a:lnTo>
                      <a:pt x="621" y="65"/>
                    </a:lnTo>
                    <a:lnTo>
                      <a:pt x="621" y="67"/>
                    </a:lnTo>
                    <a:lnTo>
                      <a:pt x="622" y="67"/>
                    </a:lnTo>
                    <a:lnTo>
                      <a:pt x="622" y="68"/>
                    </a:lnTo>
                    <a:lnTo>
                      <a:pt x="624" y="70"/>
                    </a:lnTo>
                    <a:lnTo>
                      <a:pt x="625" y="70"/>
                    </a:lnTo>
                    <a:lnTo>
                      <a:pt x="625" y="72"/>
                    </a:lnTo>
                    <a:lnTo>
                      <a:pt x="627" y="72"/>
                    </a:lnTo>
                    <a:lnTo>
                      <a:pt x="629" y="72"/>
                    </a:lnTo>
                    <a:lnTo>
                      <a:pt x="632" y="72"/>
                    </a:lnTo>
                    <a:lnTo>
                      <a:pt x="633" y="72"/>
                    </a:lnTo>
                    <a:lnTo>
                      <a:pt x="635" y="72"/>
                    </a:lnTo>
                    <a:lnTo>
                      <a:pt x="636" y="70"/>
                    </a:lnTo>
                    <a:lnTo>
                      <a:pt x="638" y="68"/>
                    </a:lnTo>
                    <a:lnTo>
                      <a:pt x="640" y="68"/>
                    </a:lnTo>
                    <a:lnTo>
                      <a:pt x="640" y="67"/>
                    </a:lnTo>
                    <a:lnTo>
                      <a:pt x="641" y="67"/>
                    </a:lnTo>
                    <a:lnTo>
                      <a:pt x="641" y="65"/>
                    </a:lnTo>
                    <a:lnTo>
                      <a:pt x="643" y="65"/>
                    </a:lnTo>
                    <a:lnTo>
                      <a:pt x="644" y="65"/>
                    </a:lnTo>
                    <a:lnTo>
                      <a:pt x="646" y="65"/>
                    </a:lnTo>
                    <a:lnTo>
                      <a:pt x="644" y="72"/>
                    </a:lnTo>
                    <a:lnTo>
                      <a:pt x="644" y="73"/>
                    </a:lnTo>
                    <a:lnTo>
                      <a:pt x="644" y="75"/>
                    </a:lnTo>
                    <a:lnTo>
                      <a:pt x="646" y="75"/>
                    </a:lnTo>
                    <a:lnTo>
                      <a:pt x="648" y="76"/>
                    </a:lnTo>
                    <a:lnTo>
                      <a:pt x="648" y="78"/>
                    </a:lnTo>
                    <a:lnTo>
                      <a:pt x="649" y="78"/>
                    </a:lnTo>
                    <a:lnTo>
                      <a:pt x="649" y="79"/>
                    </a:lnTo>
                    <a:lnTo>
                      <a:pt x="649" y="81"/>
                    </a:lnTo>
                    <a:lnTo>
                      <a:pt x="651" y="81"/>
                    </a:lnTo>
                    <a:lnTo>
                      <a:pt x="651" y="83"/>
                    </a:lnTo>
                    <a:lnTo>
                      <a:pt x="652" y="84"/>
                    </a:lnTo>
                    <a:lnTo>
                      <a:pt x="652" y="86"/>
                    </a:lnTo>
                    <a:lnTo>
                      <a:pt x="654" y="87"/>
                    </a:lnTo>
                    <a:lnTo>
                      <a:pt x="654" y="89"/>
                    </a:lnTo>
                    <a:lnTo>
                      <a:pt x="654" y="91"/>
                    </a:lnTo>
                    <a:lnTo>
                      <a:pt x="655" y="91"/>
                    </a:lnTo>
                    <a:lnTo>
                      <a:pt x="655" y="92"/>
                    </a:lnTo>
                    <a:lnTo>
                      <a:pt x="657" y="92"/>
                    </a:lnTo>
                    <a:lnTo>
                      <a:pt x="657" y="94"/>
                    </a:lnTo>
                    <a:lnTo>
                      <a:pt x="657" y="95"/>
                    </a:lnTo>
                    <a:lnTo>
                      <a:pt x="657" y="97"/>
                    </a:lnTo>
                    <a:lnTo>
                      <a:pt x="659" y="97"/>
                    </a:lnTo>
                    <a:lnTo>
                      <a:pt x="659" y="98"/>
                    </a:lnTo>
                    <a:lnTo>
                      <a:pt x="660" y="98"/>
                    </a:lnTo>
                    <a:lnTo>
                      <a:pt x="662" y="98"/>
                    </a:lnTo>
                    <a:lnTo>
                      <a:pt x="662" y="100"/>
                    </a:lnTo>
                    <a:lnTo>
                      <a:pt x="660" y="100"/>
                    </a:lnTo>
                    <a:lnTo>
                      <a:pt x="660" y="102"/>
                    </a:lnTo>
                    <a:lnTo>
                      <a:pt x="660" y="103"/>
                    </a:lnTo>
                    <a:lnTo>
                      <a:pt x="662" y="103"/>
                    </a:lnTo>
                    <a:lnTo>
                      <a:pt x="662" y="105"/>
                    </a:lnTo>
                    <a:lnTo>
                      <a:pt x="662" y="106"/>
                    </a:lnTo>
                    <a:lnTo>
                      <a:pt x="662" y="108"/>
                    </a:lnTo>
                    <a:lnTo>
                      <a:pt x="660" y="108"/>
                    </a:lnTo>
                    <a:lnTo>
                      <a:pt x="660" y="110"/>
                    </a:lnTo>
                    <a:lnTo>
                      <a:pt x="660" y="111"/>
                    </a:lnTo>
                    <a:lnTo>
                      <a:pt x="662" y="111"/>
                    </a:lnTo>
                    <a:lnTo>
                      <a:pt x="662" y="113"/>
                    </a:lnTo>
                    <a:lnTo>
                      <a:pt x="660" y="113"/>
                    </a:lnTo>
                    <a:lnTo>
                      <a:pt x="662" y="114"/>
                    </a:lnTo>
                    <a:lnTo>
                      <a:pt x="663" y="116"/>
                    </a:lnTo>
                    <a:lnTo>
                      <a:pt x="663" y="117"/>
                    </a:lnTo>
                    <a:lnTo>
                      <a:pt x="662" y="119"/>
                    </a:lnTo>
                    <a:lnTo>
                      <a:pt x="662" y="121"/>
                    </a:lnTo>
                    <a:lnTo>
                      <a:pt x="662" y="122"/>
                    </a:lnTo>
                    <a:lnTo>
                      <a:pt x="662" y="124"/>
                    </a:lnTo>
                    <a:lnTo>
                      <a:pt x="663" y="124"/>
                    </a:lnTo>
                    <a:lnTo>
                      <a:pt x="663" y="125"/>
                    </a:lnTo>
                    <a:lnTo>
                      <a:pt x="662" y="127"/>
                    </a:lnTo>
                    <a:lnTo>
                      <a:pt x="662" y="125"/>
                    </a:lnTo>
                    <a:lnTo>
                      <a:pt x="662" y="127"/>
                    </a:lnTo>
                    <a:lnTo>
                      <a:pt x="660" y="127"/>
                    </a:lnTo>
                    <a:lnTo>
                      <a:pt x="662" y="129"/>
                    </a:lnTo>
                    <a:lnTo>
                      <a:pt x="663" y="129"/>
                    </a:lnTo>
                    <a:lnTo>
                      <a:pt x="663" y="130"/>
                    </a:lnTo>
                    <a:lnTo>
                      <a:pt x="662" y="132"/>
                    </a:lnTo>
                    <a:lnTo>
                      <a:pt x="660" y="133"/>
                    </a:lnTo>
                    <a:lnTo>
                      <a:pt x="660" y="135"/>
                    </a:lnTo>
                    <a:lnTo>
                      <a:pt x="660" y="136"/>
                    </a:lnTo>
                    <a:lnTo>
                      <a:pt x="660" y="138"/>
                    </a:lnTo>
                    <a:lnTo>
                      <a:pt x="660" y="140"/>
                    </a:lnTo>
                    <a:lnTo>
                      <a:pt x="662" y="140"/>
                    </a:lnTo>
                    <a:lnTo>
                      <a:pt x="662" y="138"/>
                    </a:lnTo>
                    <a:lnTo>
                      <a:pt x="663" y="138"/>
                    </a:lnTo>
                    <a:lnTo>
                      <a:pt x="665" y="140"/>
                    </a:lnTo>
                    <a:lnTo>
                      <a:pt x="667" y="140"/>
                    </a:lnTo>
                    <a:lnTo>
                      <a:pt x="668" y="140"/>
                    </a:lnTo>
                    <a:lnTo>
                      <a:pt x="668" y="141"/>
                    </a:lnTo>
                    <a:lnTo>
                      <a:pt x="670" y="141"/>
                    </a:lnTo>
                    <a:lnTo>
                      <a:pt x="671" y="141"/>
                    </a:lnTo>
                    <a:lnTo>
                      <a:pt x="673" y="141"/>
                    </a:lnTo>
                    <a:lnTo>
                      <a:pt x="673" y="143"/>
                    </a:lnTo>
                    <a:lnTo>
                      <a:pt x="674" y="143"/>
                    </a:lnTo>
                    <a:lnTo>
                      <a:pt x="676" y="143"/>
                    </a:lnTo>
                    <a:lnTo>
                      <a:pt x="678" y="143"/>
                    </a:lnTo>
                    <a:lnTo>
                      <a:pt x="679" y="143"/>
                    </a:lnTo>
                    <a:lnTo>
                      <a:pt x="681" y="143"/>
                    </a:lnTo>
                    <a:lnTo>
                      <a:pt x="682" y="144"/>
                    </a:lnTo>
                    <a:lnTo>
                      <a:pt x="684" y="146"/>
                    </a:lnTo>
                    <a:lnTo>
                      <a:pt x="686" y="146"/>
                    </a:lnTo>
                    <a:lnTo>
                      <a:pt x="686" y="148"/>
                    </a:lnTo>
                    <a:lnTo>
                      <a:pt x="687" y="148"/>
                    </a:lnTo>
                    <a:lnTo>
                      <a:pt x="687" y="146"/>
                    </a:lnTo>
                    <a:lnTo>
                      <a:pt x="689" y="146"/>
                    </a:lnTo>
                    <a:lnTo>
                      <a:pt x="690" y="148"/>
                    </a:lnTo>
                    <a:lnTo>
                      <a:pt x="692" y="149"/>
                    </a:lnTo>
                    <a:lnTo>
                      <a:pt x="692" y="148"/>
                    </a:lnTo>
                    <a:lnTo>
                      <a:pt x="695" y="148"/>
                    </a:lnTo>
                    <a:lnTo>
                      <a:pt x="697" y="146"/>
                    </a:lnTo>
                    <a:lnTo>
                      <a:pt x="698" y="146"/>
                    </a:lnTo>
                    <a:lnTo>
                      <a:pt x="700" y="146"/>
                    </a:lnTo>
                    <a:lnTo>
                      <a:pt x="701" y="146"/>
                    </a:lnTo>
                    <a:lnTo>
                      <a:pt x="703" y="146"/>
                    </a:lnTo>
                    <a:lnTo>
                      <a:pt x="705" y="146"/>
                    </a:lnTo>
                    <a:lnTo>
                      <a:pt x="706" y="146"/>
                    </a:lnTo>
                    <a:lnTo>
                      <a:pt x="708" y="146"/>
                    </a:lnTo>
                    <a:lnTo>
                      <a:pt x="708" y="144"/>
                    </a:lnTo>
                    <a:lnTo>
                      <a:pt x="708" y="143"/>
                    </a:lnTo>
                    <a:lnTo>
                      <a:pt x="709" y="143"/>
                    </a:lnTo>
                    <a:lnTo>
                      <a:pt x="711" y="143"/>
                    </a:lnTo>
                    <a:lnTo>
                      <a:pt x="712" y="143"/>
                    </a:lnTo>
                    <a:lnTo>
                      <a:pt x="714" y="143"/>
                    </a:lnTo>
                    <a:lnTo>
                      <a:pt x="716" y="143"/>
                    </a:lnTo>
                    <a:lnTo>
                      <a:pt x="717" y="141"/>
                    </a:lnTo>
                    <a:lnTo>
                      <a:pt x="719" y="141"/>
                    </a:lnTo>
                    <a:lnTo>
                      <a:pt x="719" y="140"/>
                    </a:lnTo>
                    <a:lnTo>
                      <a:pt x="720" y="140"/>
                    </a:lnTo>
                    <a:lnTo>
                      <a:pt x="722" y="138"/>
                    </a:lnTo>
                    <a:lnTo>
                      <a:pt x="724" y="138"/>
                    </a:lnTo>
                    <a:lnTo>
                      <a:pt x="724" y="140"/>
                    </a:lnTo>
                    <a:lnTo>
                      <a:pt x="725" y="141"/>
                    </a:lnTo>
                    <a:lnTo>
                      <a:pt x="725" y="143"/>
                    </a:lnTo>
                    <a:lnTo>
                      <a:pt x="725" y="144"/>
                    </a:lnTo>
                    <a:lnTo>
                      <a:pt x="727" y="146"/>
                    </a:lnTo>
                    <a:lnTo>
                      <a:pt x="727" y="148"/>
                    </a:lnTo>
                    <a:lnTo>
                      <a:pt x="725" y="148"/>
                    </a:lnTo>
                    <a:lnTo>
                      <a:pt x="725" y="149"/>
                    </a:lnTo>
                    <a:lnTo>
                      <a:pt x="725" y="151"/>
                    </a:lnTo>
                    <a:lnTo>
                      <a:pt x="727" y="151"/>
                    </a:lnTo>
                    <a:lnTo>
                      <a:pt x="727" y="152"/>
                    </a:lnTo>
                    <a:lnTo>
                      <a:pt x="725" y="152"/>
                    </a:lnTo>
                    <a:lnTo>
                      <a:pt x="725" y="154"/>
                    </a:lnTo>
                    <a:lnTo>
                      <a:pt x="727" y="154"/>
                    </a:lnTo>
                    <a:lnTo>
                      <a:pt x="727" y="156"/>
                    </a:lnTo>
                    <a:lnTo>
                      <a:pt x="728" y="156"/>
                    </a:lnTo>
                    <a:lnTo>
                      <a:pt x="730" y="156"/>
                    </a:lnTo>
                    <a:lnTo>
                      <a:pt x="731" y="156"/>
                    </a:lnTo>
                    <a:lnTo>
                      <a:pt x="733" y="156"/>
                    </a:lnTo>
                    <a:lnTo>
                      <a:pt x="735" y="156"/>
                    </a:lnTo>
                    <a:lnTo>
                      <a:pt x="736" y="156"/>
                    </a:lnTo>
                    <a:lnTo>
                      <a:pt x="738" y="156"/>
                    </a:lnTo>
                    <a:lnTo>
                      <a:pt x="739" y="156"/>
                    </a:lnTo>
                    <a:lnTo>
                      <a:pt x="741" y="156"/>
                    </a:lnTo>
                    <a:lnTo>
                      <a:pt x="741" y="157"/>
                    </a:lnTo>
                    <a:lnTo>
                      <a:pt x="741" y="159"/>
                    </a:lnTo>
                    <a:lnTo>
                      <a:pt x="743" y="159"/>
                    </a:lnTo>
                    <a:lnTo>
                      <a:pt x="743" y="160"/>
                    </a:lnTo>
                    <a:lnTo>
                      <a:pt x="743" y="162"/>
                    </a:lnTo>
                    <a:lnTo>
                      <a:pt x="744" y="162"/>
                    </a:lnTo>
                    <a:lnTo>
                      <a:pt x="744" y="163"/>
                    </a:lnTo>
                    <a:lnTo>
                      <a:pt x="746" y="163"/>
                    </a:lnTo>
                    <a:lnTo>
                      <a:pt x="747" y="162"/>
                    </a:lnTo>
                    <a:lnTo>
                      <a:pt x="749" y="162"/>
                    </a:lnTo>
                    <a:lnTo>
                      <a:pt x="750" y="162"/>
                    </a:lnTo>
                    <a:lnTo>
                      <a:pt x="752" y="162"/>
                    </a:lnTo>
                    <a:lnTo>
                      <a:pt x="752" y="163"/>
                    </a:lnTo>
                    <a:lnTo>
                      <a:pt x="750" y="163"/>
                    </a:lnTo>
                    <a:lnTo>
                      <a:pt x="750" y="165"/>
                    </a:lnTo>
                    <a:lnTo>
                      <a:pt x="750" y="167"/>
                    </a:lnTo>
                    <a:lnTo>
                      <a:pt x="750" y="168"/>
                    </a:lnTo>
                    <a:lnTo>
                      <a:pt x="750" y="170"/>
                    </a:lnTo>
                    <a:lnTo>
                      <a:pt x="750" y="171"/>
                    </a:lnTo>
                    <a:lnTo>
                      <a:pt x="750" y="173"/>
                    </a:lnTo>
                    <a:lnTo>
                      <a:pt x="750" y="175"/>
                    </a:lnTo>
                    <a:lnTo>
                      <a:pt x="749" y="175"/>
                    </a:lnTo>
                    <a:lnTo>
                      <a:pt x="749" y="176"/>
                    </a:lnTo>
                    <a:lnTo>
                      <a:pt x="747" y="176"/>
                    </a:lnTo>
                    <a:lnTo>
                      <a:pt x="747" y="178"/>
                    </a:lnTo>
                    <a:lnTo>
                      <a:pt x="746" y="178"/>
                    </a:lnTo>
                    <a:lnTo>
                      <a:pt x="744" y="178"/>
                    </a:lnTo>
                    <a:lnTo>
                      <a:pt x="744" y="179"/>
                    </a:lnTo>
                    <a:lnTo>
                      <a:pt x="743" y="179"/>
                    </a:lnTo>
                    <a:lnTo>
                      <a:pt x="743" y="181"/>
                    </a:lnTo>
                    <a:lnTo>
                      <a:pt x="741" y="181"/>
                    </a:lnTo>
                    <a:lnTo>
                      <a:pt x="741" y="182"/>
                    </a:lnTo>
                    <a:lnTo>
                      <a:pt x="739" y="182"/>
                    </a:lnTo>
                    <a:lnTo>
                      <a:pt x="739" y="184"/>
                    </a:lnTo>
                    <a:lnTo>
                      <a:pt x="739" y="186"/>
                    </a:lnTo>
                    <a:lnTo>
                      <a:pt x="739" y="187"/>
                    </a:lnTo>
                    <a:lnTo>
                      <a:pt x="739" y="189"/>
                    </a:lnTo>
                    <a:lnTo>
                      <a:pt x="739" y="190"/>
                    </a:lnTo>
                    <a:lnTo>
                      <a:pt x="739" y="192"/>
                    </a:lnTo>
                    <a:lnTo>
                      <a:pt x="738" y="192"/>
                    </a:lnTo>
                    <a:lnTo>
                      <a:pt x="739" y="194"/>
                    </a:lnTo>
                    <a:lnTo>
                      <a:pt x="739" y="195"/>
                    </a:lnTo>
                    <a:lnTo>
                      <a:pt x="739" y="197"/>
                    </a:lnTo>
                    <a:lnTo>
                      <a:pt x="739" y="198"/>
                    </a:lnTo>
                    <a:lnTo>
                      <a:pt x="739" y="200"/>
                    </a:lnTo>
                    <a:lnTo>
                      <a:pt x="739" y="201"/>
                    </a:lnTo>
                    <a:lnTo>
                      <a:pt x="741" y="203"/>
                    </a:lnTo>
                    <a:lnTo>
                      <a:pt x="741" y="205"/>
                    </a:lnTo>
                    <a:lnTo>
                      <a:pt x="741" y="206"/>
                    </a:lnTo>
                    <a:lnTo>
                      <a:pt x="741" y="208"/>
                    </a:lnTo>
                    <a:lnTo>
                      <a:pt x="739" y="208"/>
                    </a:lnTo>
                    <a:lnTo>
                      <a:pt x="741" y="209"/>
                    </a:lnTo>
                    <a:lnTo>
                      <a:pt x="743" y="211"/>
                    </a:lnTo>
                    <a:lnTo>
                      <a:pt x="744" y="211"/>
                    </a:lnTo>
                    <a:lnTo>
                      <a:pt x="744" y="213"/>
                    </a:lnTo>
                    <a:lnTo>
                      <a:pt x="746" y="213"/>
                    </a:lnTo>
                    <a:lnTo>
                      <a:pt x="747" y="213"/>
                    </a:lnTo>
                    <a:lnTo>
                      <a:pt x="747" y="211"/>
                    </a:lnTo>
                    <a:lnTo>
                      <a:pt x="749" y="211"/>
                    </a:lnTo>
                    <a:lnTo>
                      <a:pt x="749" y="213"/>
                    </a:lnTo>
                    <a:lnTo>
                      <a:pt x="750" y="213"/>
                    </a:lnTo>
                    <a:lnTo>
                      <a:pt x="752" y="214"/>
                    </a:lnTo>
                    <a:lnTo>
                      <a:pt x="754" y="214"/>
                    </a:lnTo>
                    <a:lnTo>
                      <a:pt x="755" y="214"/>
                    </a:lnTo>
                    <a:lnTo>
                      <a:pt x="755" y="216"/>
                    </a:lnTo>
                    <a:lnTo>
                      <a:pt x="757" y="216"/>
                    </a:lnTo>
                    <a:lnTo>
                      <a:pt x="758" y="216"/>
                    </a:lnTo>
                    <a:lnTo>
                      <a:pt x="758" y="217"/>
                    </a:lnTo>
                    <a:lnTo>
                      <a:pt x="760" y="217"/>
                    </a:lnTo>
                    <a:lnTo>
                      <a:pt x="760" y="219"/>
                    </a:lnTo>
                    <a:lnTo>
                      <a:pt x="760" y="220"/>
                    </a:lnTo>
                    <a:lnTo>
                      <a:pt x="762" y="220"/>
                    </a:lnTo>
                    <a:lnTo>
                      <a:pt x="762" y="222"/>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51" name="Freeform 49"/>
              <p:cNvSpPr>
                <a:spLocks/>
              </p:cNvSpPr>
              <p:nvPr/>
            </p:nvSpPr>
            <p:spPr bwMode="auto">
              <a:xfrm>
                <a:off x="3214" y="1193"/>
                <a:ext cx="326" cy="1253"/>
              </a:xfrm>
              <a:custGeom>
                <a:avLst/>
                <a:gdLst>
                  <a:gd name="T0" fmla="*/ 14 w 326"/>
                  <a:gd name="T1" fmla="*/ 6 h 1253"/>
                  <a:gd name="T2" fmla="*/ 33 w 326"/>
                  <a:gd name="T3" fmla="*/ 1 h 1253"/>
                  <a:gd name="T4" fmla="*/ 44 w 326"/>
                  <a:gd name="T5" fmla="*/ 11 h 1253"/>
                  <a:gd name="T6" fmla="*/ 50 w 326"/>
                  <a:gd name="T7" fmla="*/ 25 h 1253"/>
                  <a:gd name="T8" fmla="*/ 57 w 326"/>
                  <a:gd name="T9" fmla="*/ 43 h 1253"/>
                  <a:gd name="T10" fmla="*/ 63 w 326"/>
                  <a:gd name="T11" fmla="*/ 54 h 1253"/>
                  <a:gd name="T12" fmla="*/ 58 w 326"/>
                  <a:gd name="T13" fmla="*/ 70 h 1253"/>
                  <a:gd name="T14" fmla="*/ 63 w 326"/>
                  <a:gd name="T15" fmla="*/ 82 h 1253"/>
                  <a:gd name="T16" fmla="*/ 61 w 326"/>
                  <a:gd name="T17" fmla="*/ 95 h 1253"/>
                  <a:gd name="T18" fmla="*/ 46 w 326"/>
                  <a:gd name="T19" fmla="*/ 106 h 1253"/>
                  <a:gd name="T20" fmla="*/ 28 w 326"/>
                  <a:gd name="T21" fmla="*/ 112 h 1253"/>
                  <a:gd name="T22" fmla="*/ 36 w 326"/>
                  <a:gd name="T23" fmla="*/ 131 h 1253"/>
                  <a:gd name="T24" fmla="*/ 42 w 326"/>
                  <a:gd name="T25" fmla="*/ 150 h 1253"/>
                  <a:gd name="T26" fmla="*/ 47 w 326"/>
                  <a:gd name="T27" fmla="*/ 173 h 1253"/>
                  <a:gd name="T28" fmla="*/ 50 w 326"/>
                  <a:gd name="T29" fmla="*/ 199 h 1253"/>
                  <a:gd name="T30" fmla="*/ 68 w 326"/>
                  <a:gd name="T31" fmla="*/ 212 h 1253"/>
                  <a:gd name="T32" fmla="*/ 85 w 326"/>
                  <a:gd name="T33" fmla="*/ 209 h 1253"/>
                  <a:gd name="T34" fmla="*/ 99 w 326"/>
                  <a:gd name="T35" fmla="*/ 201 h 1253"/>
                  <a:gd name="T36" fmla="*/ 125 w 326"/>
                  <a:gd name="T37" fmla="*/ 203 h 1253"/>
                  <a:gd name="T38" fmla="*/ 134 w 326"/>
                  <a:gd name="T39" fmla="*/ 222 h 1253"/>
                  <a:gd name="T40" fmla="*/ 152 w 326"/>
                  <a:gd name="T41" fmla="*/ 218 h 1253"/>
                  <a:gd name="T42" fmla="*/ 172 w 326"/>
                  <a:gd name="T43" fmla="*/ 209 h 1253"/>
                  <a:gd name="T44" fmla="*/ 202 w 326"/>
                  <a:gd name="T45" fmla="*/ 206 h 1253"/>
                  <a:gd name="T46" fmla="*/ 199 w 326"/>
                  <a:gd name="T47" fmla="*/ 228 h 1253"/>
                  <a:gd name="T48" fmla="*/ 210 w 326"/>
                  <a:gd name="T49" fmla="*/ 260 h 1253"/>
                  <a:gd name="T50" fmla="*/ 218 w 326"/>
                  <a:gd name="T51" fmla="*/ 290 h 1253"/>
                  <a:gd name="T52" fmla="*/ 226 w 326"/>
                  <a:gd name="T53" fmla="*/ 315 h 1253"/>
                  <a:gd name="T54" fmla="*/ 244 w 326"/>
                  <a:gd name="T55" fmla="*/ 382 h 1253"/>
                  <a:gd name="T56" fmla="*/ 272 w 326"/>
                  <a:gd name="T57" fmla="*/ 429 h 1253"/>
                  <a:gd name="T58" fmla="*/ 288 w 326"/>
                  <a:gd name="T59" fmla="*/ 461 h 1253"/>
                  <a:gd name="T60" fmla="*/ 299 w 326"/>
                  <a:gd name="T61" fmla="*/ 499 h 1253"/>
                  <a:gd name="T62" fmla="*/ 321 w 326"/>
                  <a:gd name="T63" fmla="*/ 534 h 1253"/>
                  <a:gd name="T64" fmla="*/ 323 w 326"/>
                  <a:gd name="T65" fmla="*/ 584 h 1253"/>
                  <a:gd name="T66" fmla="*/ 313 w 326"/>
                  <a:gd name="T67" fmla="*/ 618 h 1253"/>
                  <a:gd name="T68" fmla="*/ 301 w 326"/>
                  <a:gd name="T69" fmla="*/ 661 h 1253"/>
                  <a:gd name="T70" fmla="*/ 312 w 326"/>
                  <a:gd name="T71" fmla="*/ 713 h 1253"/>
                  <a:gd name="T72" fmla="*/ 315 w 326"/>
                  <a:gd name="T73" fmla="*/ 762 h 1253"/>
                  <a:gd name="T74" fmla="*/ 310 w 326"/>
                  <a:gd name="T75" fmla="*/ 803 h 1253"/>
                  <a:gd name="T76" fmla="*/ 307 w 326"/>
                  <a:gd name="T77" fmla="*/ 846 h 1253"/>
                  <a:gd name="T78" fmla="*/ 286 w 326"/>
                  <a:gd name="T79" fmla="*/ 851 h 1253"/>
                  <a:gd name="T80" fmla="*/ 266 w 326"/>
                  <a:gd name="T81" fmla="*/ 870 h 1253"/>
                  <a:gd name="T82" fmla="*/ 294 w 326"/>
                  <a:gd name="T83" fmla="*/ 900 h 1253"/>
                  <a:gd name="T84" fmla="*/ 275 w 326"/>
                  <a:gd name="T85" fmla="*/ 938 h 1253"/>
                  <a:gd name="T86" fmla="*/ 270 w 326"/>
                  <a:gd name="T87" fmla="*/ 963 h 1253"/>
                  <a:gd name="T88" fmla="*/ 239 w 326"/>
                  <a:gd name="T89" fmla="*/ 957 h 1253"/>
                  <a:gd name="T90" fmla="*/ 228 w 326"/>
                  <a:gd name="T91" fmla="*/ 976 h 1253"/>
                  <a:gd name="T92" fmla="*/ 236 w 326"/>
                  <a:gd name="T93" fmla="*/ 1020 h 1253"/>
                  <a:gd name="T94" fmla="*/ 209 w 326"/>
                  <a:gd name="T95" fmla="*/ 1060 h 1253"/>
                  <a:gd name="T96" fmla="*/ 236 w 326"/>
                  <a:gd name="T97" fmla="*/ 1082 h 1253"/>
                  <a:gd name="T98" fmla="*/ 223 w 326"/>
                  <a:gd name="T99" fmla="*/ 1120 h 1253"/>
                  <a:gd name="T100" fmla="*/ 201 w 326"/>
                  <a:gd name="T101" fmla="*/ 1156 h 1253"/>
                  <a:gd name="T102" fmla="*/ 142 w 326"/>
                  <a:gd name="T103" fmla="*/ 1236 h 1253"/>
                  <a:gd name="T104" fmla="*/ 79 w 326"/>
                  <a:gd name="T105" fmla="*/ 1240 h 1253"/>
                  <a:gd name="T106" fmla="*/ 71 w 326"/>
                  <a:gd name="T107" fmla="*/ 1169 h 1253"/>
                  <a:gd name="T108" fmla="*/ 50 w 326"/>
                  <a:gd name="T109" fmla="*/ 1092 h 1253"/>
                  <a:gd name="T110" fmla="*/ 103 w 326"/>
                  <a:gd name="T111" fmla="*/ 1074 h 1253"/>
                  <a:gd name="T112" fmla="*/ 115 w 326"/>
                  <a:gd name="T113" fmla="*/ 1071 h 1253"/>
                  <a:gd name="T114" fmla="*/ 106 w 326"/>
                  <a:gd name="T115" fmla="*/ 1065 h 1253"/>
                  <a:gd name="T116" fmla="*/ 107 w 326"/>
                  <a:gd name="T117" fmla="*/ 1049 h 1253"/>
                  <a:gd name="T118" fmla="*/ 93 w 326"/>
                  <a:gd name="T119" fmla="*/ 1042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6" h="1253">
                    <a:moveTo>
                      <a:pt x="0" y="14"/>
                    </a:moveTo>
                    <a:lnTo>
                      <a:pt x="1" y="14"/>
                    </a:lnTo>
                    <a:lnTo>
                      <a:pt x="1" y="16"/>
                    </a:lnTo>
                    <a:lnTo>
                      <a:pt x="3" y="16"/>
                    </a:lnTo>
                    <a:lnTo>
                      <a:pt x="3" y="14"/>
                    </a:lnTo>
                    <a:lnTo>
                      <a:pt x="4" y="14"/>
                    </a:lnTo>
                    <a:lnTo>
                      <a:pt x="6" y="14"/>
                    </a:lnTo>
                    <a:lnTo>
                      <a:pt x="7" y="14"/>
                    </a:lnTo>
                    <a:lnTo>
                      <a:pt x="9" y="14"/>
                    </a:lnTo>
                    <a:lnTo>
                      <a:pt x="9" y="12"/>
                    </a:lnTo>
                    <a:lnTo>
                      <a:pt x="11" y="12"/>
                    </a:lnTo>
                    <a:lnTo>
                      <a:pt x="11" y="11"/>
                    </a:lnTo>
                    <a:lnTo>
                      <a:pt x="12" y="11"/>
                    </a:lnTo>
                    <a:lnTo>
                      <a:pt x="12" y="9"/>
                    </a:lnTo>
                    <a:lnTo>
                      <a:pt x="12" y="8"/>
                    </a:lnTo>
                    <a:lnTo>
                      <a:pt x="14" y="8"/>
                    </a:lnTo>
                    <a:lnTo>
                      <a:pt x="14" y="6"/>
                    </a:lnTo>
                    <a:lnTo>
                      <a:pt x="15" y="6"/>
                    </a:lnTo>
                    <a:lnTo>
                      <a:pt x="17" y="6"/>
                    </a:lnTo>
                    <a:lnTo>
                      <a:pt x="19" y="6"/>
                    </a:lnTo>
                    <a:lnTo>
                      <a:pt x="19" y="5"/>
                    </a:lnTo>
                    <a:lnTo>
                      <a:pt x="19" y="3"/>
                    </a:lnTo>
                    <a:lnTo>
                      <a:pt x="20" y="3"/>
                    </a:lnTo>
                    <a:lnTo>
                      <a:pt x="22" y="3"/>
                    </a:lnTo>
                    <a:lnTo>
                      <a:pt x="23" y="3"/>
                    </a:lnTo>
                    <a:lnTo>
                      <a:pt x="25" y="3"/>
                    </a:lnTo>
                    <a:lnTo>
                      <a:pt x="26" y="3"/>
                    </a:lnTo>
                    <a:lnTo>
                      <a:pt x="26" y="1"/>
                    </a:lnTo>
                    <a:lnTo>
                      <a:pt x="28" y="1"/>
                    </a:lnTo>
                    <a:lnTo>
                      <a:pt x="28" y="0"/>
                    </a:lnTo>
                    <a:lnTo>
                      <a:pt x="30" y="0"/>
                    </a:lnTo>
                    <a:lnTo>
                      <a:pt x="31" y="0"/>
                    </a:lnTo>
                    <a:lnTo>
                      <a:pt x="33" y="0"/>
                    </a:lnTo>
                    <a:lnTo>
                      <a:pt x="33" y="1"/>
                    </a:lnTo>
                    <a:lnTo>
                      <a:pt x="34" y="1"/>
                    </a:lnTo>
                    <a:lnTo>
                      <a:pt x="36" y="1"/>
                    </a:lnTo>
                    <a:lnTo>
                      <a:pt x="38" y="1"/>
                    </a:lnTo>
                    <a:lnTo>
                      <a:pt x="38" y="0"/>
                    </a:lnTo>
                    <a:lnTo>
                      <a:pt x="39" y="0"/>
                    </a:lnTo>
                    <a:lnTo>
                      <a:pt x="41" y="0"/>
                    </a:lnTo>
                    <a:lnTo>
                      <a:pt x="41" y="1"/>
                    </a:lnTo>
                    <a:lnTo>
                      <a:pt x="42" y="1"/>
                    </a:lnTo>
                    <a:lnTo>
                      <a:pt x="42" y="3"/>
                    </a:lnTo>
                    <a:lnTo>
                      <a:pt x="44" y="3"/>
                    </a:lnTo>
                    <a:lnTo>
                      <a:pt x="46" y="3"/>
                    </a:lnTo>
                    <a:lnTo>
                      <a:pt x="46" y="5"/>
                    </a:lnTo>
                    <a:lnTo>
                      <a:pt x="46" y="6"/>
                    </a:lnTo>
                    <a:lnTo>
                      <a:pt x="46" y="8"/>
                    </a:lnTo>
                    <a:lnTo>
                      <a:pt x="46" y="9"/>
                    </a:lnTo>
                    <a:lnTo>
                      <a:pt x="44" y="9"/>
                    </a:lnTo>
                    <a:lnTo>
                      <a:pt x="44" y="11"/>
                    </a:lnTo>
                    <a:lnTo>
                      <a:pt x="44" y="12"/>
                    </a:lnTo>
                    <a:lnTo>
                      <a:pt x="46" y="12"/>
                    </a:lnTo>
                    <a:lnTo>
                      <a:pt x="46" y="14"/>
                    </a:lnTo>
                    <a:lnTo>
                      <a:pt x="46" y="16"/>
                    </a:lnTo>
                    <a:lnTo>
                      <a:pt x="46" y="17"/>
                    </a:lnTo>
                    <a:lnTo>
                      <a:pt x="46" y="19"/>
                    </a:lnTo>
                    <a:lnTo>
                      <a:pt x="46" y="20"/>
                    </a:lnTo>
                    <a:lnTo>
                      <a:pt x="46" y="22"/>
                    </a:lnTo>
                    <a:lnTo>
                      <a:pt x="46" y="24"/>
                    </a:lnTo>
                    <a:lnTo>
                      <a:pt x="46" y="25"/>
                    </a:lnTo>
                    <a:lnTo>
                      <a:pt x="44" y="25"/>
                    </a:lnTo>
                    <a:lnTo>
                      <a:pt x="44" y="27"/>
                    </a:lnTo>
                    <a:lnTo>
                      <a:pt x="46" y="27"/>
                    </a:lnTo>
                    <a:lnTo>
                      <a:pt x="46" y="25"/>
                    </a:lnTo>
                    <a:lnTo>
                      <a:pt x="47" y="25"/>
                    </a:lnTo>
                    <a:lnTo>
                      <a:pt x="49" y="25"/>
                    </a:lnTo>
                    <a:lnTo>
                      <a:pt x="50" y="25"/>
                    </a:lnTo>
                    <a:lnTo>
                      <a:pt x="50" y="27"/>
                    </a:lnTo>
                    <a:lnTo>
                      <a:pt x="52" y="27"/>
                    </a:lnTo>
                    <a:lnTo>
                      <a:pt x="52" y="28"/>
                    </a:lnTo>
                    <a:lnTo>
                      <a:pt x="53" y="28"/>
                    </a:lnTo>
                    <a:lnTo>
                      <a:pt x="53" y="30"/>
                    </a:lnTo>
                    <a:lnTo>
                      <a:pt x="53" y="31"/>
                    </a:lnTo>
                    <a:lnTo>
                      <a:pt x="53" y="33"/>
                    </a:lnTo>
                    <a:lnTo>
                      <a:pt x="52" y="33"/>
                    </a:lnTo>
                    <a:lnTo>
                      <a:pt x="52" y="35"/>
                    </a:lnTo>
                    <a:lnTo>
                      <a:pt x="53" y="35"/>
                    </a:lnTo>
                    <a:lnTo>
                      <a:pt x="55" y="35"/>
                    </a:lnTo>
                    <a:lnTo>
                      <a:pt x="55" y="36"/>
                    </a:lnTo>
                    <a:lnTo>
                      <a:pt x="55" y="38"/>
                    </a:lnTo>
                    <a:lnTo>
                      <a:pt x="55" y="39"/>
                    </a:lnTo>
                    <a:lnTo>
                      <a:pt x="57" y="39"/>
                    </a:lnTo>
                    <a:lnTo>
                      <a:pt x="57" y="41"/>
                    </a:lnTo>
                    <a:lnTo>
                      <a:pt x="57" y="43"/>
                    </a:lnTo>
                    <a:lnTo>
                      <a:pt x="58" y="44"/>
                    </a:lnTo>
                    <a:lnTo>
                      <a:pt x="60" y="46"/>
                    </a:lnTo>
                    <a:lnTo>
                      <a:pt x="61" y="46"/>
                    </a:lnTo>
                    <a:lnTo>
                      <a:pt x="61" y="44"/>
                    </a:lnTo>
                    <a:lnTo>
                      <a:pt x="63" y="44"/>
                    </a:lnTo>
                    <a:lnTo>
                      <a:pt x="66" y="44"/>
                    </a:lnTo>
                    <a:lnTo>
                      <a:pt x="68" y="46"/>
                    </a:lnTo>
                    <a:lnTo>
                      <a:pt x="68" y="47"/>
                    </a:lnTo>
                    <a:lnTo>
                      <a:pt x="69" y="47"/>
                    </a:lnTo>
                    <a:lnTo>
                      <a:pt x="71" y="47"/>
                    </a:lnTo>
                    <a:lnTo>
                      <a:pt x="71" y="49"/>
                    </a:lnTo>
                    <a:lnTo>
                      <a:pt x="69" y="49"/>
                    </a:lnTo>
                    <a:lnTo>
                      <a:pt x="68" y="49"/>
                    </a:lnTo>
                    <a:lnTo>
                      <a:pt x="68" y="50"/>
                    </a:lnTo>
                    <a:lnTo>
                      <a:pt x="66" y="52"/>
                    </a:lnTo>
                    <a:lnTo>
                      <a:pt x="65" y="52"/>
                    </a:lnTo>
                    <a:lnTo>
                      <a:pt x="63" y="54"/>
                    </a:lnTo>
                    <a:lnTo>
                      <a:pt x="61" y="54"/>
                    </a:lnTo>
                    <a:lnTo>
                      <a:pt x="60" y="55"/>
                    </a:lnTo>
                    <a:lnTo>
                      <a:pt x="58" y="57"/>
                    </a:lnTo>
                    <a:lnTo>
                      <a:pt x="58" y="58"/>
                    </a:lnTo>
                    <a:lnTo>
                      <a:pt x="60" y="58"/>
                    </a:lnTo>
                    <a:lnTo>
                      <a:pt x="63" y="60"/>
                    </a:lnTo>
                    <a:lnTo>
                      <a:pt x="65" y="62"/>
                    </a:lnTo>
                    <a:lnTo>
                      <a:pt x="66" y="62"/>
                    </a:lnTo>
                    <a:lnTo>
                      <a:pt x="66" y="63"/>
                    </a:lnTo>
                    <a:lnTo>
                      <a:pt x="66" y="65"/>
                    </a:lnTo>
                    <a:lnTo>
                      <a:pt x="65" y="65"/>
                    </a:lnTo>
                    <a:lnTo>
                      <a:pt x="65" y="66"/>
                    </a:lnTo>
                    <a:lnTo>
                      <a:pt x="63" y="66"/>
                    </a:lnTo>
                    <a:lnTo>
                      <a:pt x="61" y="66"/>
                    </a:lnTo>
                    <a:lnTo>
                      <a:pt x="60" y="68"/>
                    </a:lnTo>
                    <a:lnTo>
                      <a:pt x="58" y="68"/>
                    </a:lnTo>
                    <a:lnTo>
                      <a:pt x="58" y="70"/>
                    </a:lnTo>
                    <a:lnTo>
                      <a:pt x="57" y="70"/>
                    </a:lnTo>
                    <a:lnTo>
                      <a:pt x="57" y="71"/>
                    </a:lnTo>
                    <a:lnTo>
                      <a:pt x="57" y="73"/>
                    </a:lnTo>
                    <a:lnTo>
                      <a:pt x="55" y="73"/>
                    </a:lnTo>
                    <a:lnTo>
                      <a:pt x="55" y="74"/>
                    </a:lnTo>
                    <a:lnTo>
                      <a:pt x="55" y="76"/>
                    </a:lnTo>
                    <a:lnTo>
                      <a:pt x="57" y="76"/>
                    </a:lnTo>
                    <a:lnTo>
                      <a:pt x="58" y="76"/>
                    </a:lnTo>
                    <a:lnTo>
                      <a:pt x="60" y="76"/>
                    </a:lnTo>
                    <a:lnTo>
                      <a:pt x="60" y="77"/>
                    </a:lnTo>
                    <a:lnTo>
                      <a:pt x="61" y="77"/>
                    </a:lnTo>
                    <a:lnTo>
                      <a:pt x="63" y="77"/>
                    </a:lnTo>
                    <a:lnTo>
                      <a:pt x="63" y="79"/>
                    </a:lnTo>
                    <a:lnTo>
                      <a:pt x="65" y="79"/>
                    </a:lnTo>
                    <a:lnTo>
                      <a:pt x="65" y="81"/>
                    </a:lnTo>
                    <a:lnTo>
                      <a:pt x="65" y="82"/>
                    </a:lnTo>
                    <a:lnTo>
                      <a:pt x="63" y="82"/>
                    </a:lnTo>
                    <a:lnTo>
                      <a:pt x="63" y="84"/>
                    </a:lnTo>
                    <a:lnTo>
                      <a:pt x="63" y="85"/>
                    </a:lnTo>
                    <a:lnTo>
                      <a:pt x="63" y="87"/>
                    </a:lnTo>
                    <a:lnTo>
                      <a:pt x="61" y="87"/>
                    </a:lnTo>
                    <a:lnTo>
                      <a:pt x="60" y="87"/>
                    </a:lnTo>
                    <a:lnTo>
                      <a:pt x="60" y="85"/>
                    </a:lnTo>
                    <a:lnTo>
                      <a:pt x="58" y="85"/>
                    </a:lnTo>
                    <a:lnTo>
                      <a:pt x="57" y="85"/>
                    </a:lnTo>
                    <a:lnTo>
                      <a:pt x="55" y="87"/>
                    </a:lnTo>
                    <a:lnTo>
                      <a:pt x="55" y="89"/>
                    </a:lnTo>
                    <a:lnTo>
                      <a:pt x="57" y="89"/>
                    </a:lnTo>
                    <a:lnTo>
                      <a:pt x="57" y="90"/>
                    </a:lnTo>
                    <a:lnTo>
                      <a:pt x="58" y="92"/>
                    </a:lnTo>
                    <a:lnTo>
                      <a:pt x="60" y="92"/>
                    </a:lnTo>
                    <a:lnTo>
                      <a:pt x="60" y="93"/>
                    </a:lnTo>
                    <a:lnTo>
                      <a:pt x="61" y="93"/>
                    </a:lnTo>
                    <a:lnTo>
                      <a:pt x="61" y="95"/>
                    </a:lnTo>
                    <a:lnTo>
                      <a:pt x="63" y="95"/>
                    </a:lnTo>
                    <a:lnTo>
                      <a:pt x="61" y="96"/>
                    </a:lnTo>
                    <a:lnTo>
                      <a:pt x="60" y="96"/>
                    </a:lnTo>
                    <a:lnTo>
                      <a:pt x="60" y="98"/>
                    </a:lnTo>
                    <a:lnTo>
                      <a:pt x="58" y="98"/>
                    </a:lnTo>
                    <a:lnTo>
                      <a:pt x="58" y="100"/>
                    </a:lnTo>
                    <a:lnTo>
                      <a:pt x="57" y="100"/>
                    </a:lnTo>
                    <a:lnTo>
                      <a:pt x="57" y="101"/>
                    </a:lnTo>
                    <a:lnTo>
                      <a:pt x="55" y="101"/>
                    </a:lnTo>
                    <a:lnTo>
                      <a:pt x="53" y="101"/>
                    </a:lnTo>
                    <a:lnTo>
                      <a:pt x="52" y="101"/>
                    </a:lnTo>
                    <a:lnTo>
                      <a:pt x="52" y="103"/>
                    </a:lnTo>
                    <a:lnTo>
                      <a:pt x="50" y="103"/>
                    </a:lnTo>
                    <a:lnTo>
                      <a:pt x="49" y="104"/>
                    </a:lnTo>
                    <a:lnTo>
                      <a:pt x="47" y="104"/>
                    </a:lnTo>
                    <a:lnTo>
                      <a:pt x="47" y="106"/>
                    </a:lnTo>
                    <a:lnTo>
                      <a:pt x="46" y="106"/>
                    </a:lnTo>
                    <a:lnTo>
                      <a:pt x="46" y="104"/>
                    </a:lnTo>
                    <a:lnTo>
                      <a:pt x="44" y="104"/>
                    </a:lnTo>
                    <a:lnTo>
                      <a:pt x="42" y="104"/>
                    </a:lnTo>
                    <a:lnTo>
                      <a:pt x="41" y="104"/>
                    </a:lnTo>
                    <a:lnTo>
                      <a:pt x="41" y="106"/>
                    </a:lnTo>
                    <a:lnTo>
                      <a:pt x="39" y="106"/>
                    </a:lnTo>
                    <a:lnTo>
                      <a:pt x="38" y="106"/>
                    </a:lnTo>
                    <a:lnTo>
                      <a:pt x="36" y="106"/>
                    </a:lnTo>
                    <a:lnTo>
                      <a:pt x="34" y="106"/>
                    </a:lnTo>
                    <a:lnTo>
                      <a:pt x="34" y="108"/>
                    </a:lnTo>
                    <a:lnTo>
                      <a:pt x="33" y="108"/>
                    </a:lnTo>
                    <a:lnTo>
                      <a:pt x="31" y="108"/>
                    </a:lnTo>
                    <a:lnTo>
                      <a:pt x="30" y="108"/>
                    </a:lnTo>
                    <a:lnTo>
                      <a:pt x="30" y="109"/>
                    </a:lnTo>
                    <a:lnTo>
                      <a:pt x="28" y="109"/>
                    </a:lnTo>
                    <a:lnTo>
                      <a:pt x="28" y="111"/>
                    </a:lnTo>
                    <a:lnTo>
                      <a:pt x="28" y="112"/>
                    </a:lnTo>
                    <a:lnTo>
                      <a:pt x="28" y="114"/>
                    </a:lnTo>
                    <a:lnTo>
                      <a:pt x="30" y="114"/>
                    </a:lnTo>
                    <a:lnTo>
                      <a:pt x="30" y="115"/>
                    </a:lnTo>
                    <a:lnTo>
                      <a:pt x="31" y="115"/>
                    </a:lnTo>
                    <a:lnTo>
                      <a:pt x="31" y="117"/>
                    </a:lnTo>
                    <a:lnTo>
                      <a:pt x="30" y="117"/>
                    </a:lnTo>
                    <a:lnTo>
                      <a:pt x="30" y="119"/>
                    </a:lnTo>
                    <a:lnTo>
                      <a:pt x="30" y="120"/>
                    </a:lnTo>
                    <a:lnTo>
                      <a:pt x="31" y="122"/>
                    </a:lnTo>
                    <a:lnTo>
                      <a:pt x="31" y="123"/>
                    </a:lnTo>
                    <a:lnTo>
                      <a:pt x="33" y="123"/>
                    </a:lnTo>
                    <a:lnTo>
                      <a:pt x="33" y="125"/>
                    </a:lnTo>
                    <a:lnTo>
                      <a:pt x="34" y="127"/>
                    </a:lnTo>
                    <a:lnTo>
                      <a:pt x="34" y="128"/>
                    </a:lnTo>
                    <a:lnTo>
                      <a:pt x="36" y="128"/>
                    </a:lnTo>
                    <a:lnTo>
                      <a:pt x="36" y="130"/>
                    </a:lnTo>
                    <a:lnTo>
                      <a:pt x="36" y="131"/>
                    </a:lnTo>
                    <a:lnTo>
                      <a:pt x="36" y="133"/>
                    </a:lnTo>
                    <a:lnTo>
                      <a:pt x="38" y="133"/>
                    </a:lnTo>
                    <a:lnTo>
                      <a:pt x="38" y="134"/>
                    </a:lnTo>
                    <a:lnTo>
                      <a:pt x="38" y="136"/>
                    </a:lnTo>
                    <a:lnTo>
                      <a:pt x="38" y="138"/>
                    </a:lnTo>
                    <a:lnTo>
                      <a:pt x="38" y="139"/>
                    </a:lnTo>
                    <a:lnTo>
                      <a:pt x="39" y="139"/>
                    </a:lnTo>
                    <a:lnTo>
                      <a:pt x="39" y="141"/>
                    </a:lnTo>
                    <a:lnTo>
                      <a:pt x="41" y="141"/>
                    </a:lnTo>
                    <a:lnTo>
                      <a:pt x="41" y="142"/>
                    </a:lnTo>
                    <a:lnTo>
                      <a:pt x="41" y="144"/>
                    </a:lnTo>
                    <a:lnTo>
                      <a:pt x="41" y="146"/>
                    </a:lnTo>
                    <a:lnTo>
                      <a:pt x="42" y="146"/>
                    </a:lnTo>
                    <a:lnTo>
                      <a:pt x="42" y="147"/>
                    </a:lnTo>
                    <a:lnTo>
                      <a:pt x="41" y="149"/>
                    </a:lnTo>
                    <a:lnTo>
                      <a:pt x="42" y="149"/>
                    </a:lnTo>
                    <a:lnTo>
                      <a:pt x="42" y="150"/>
                    </a:lnTo>
                    <a:lnTo>
                      <a:pt x="42" y="152"/>
                    </a:lnTo>
                    <a:lnTo>
                      <a:pt x="44" y="152"/>
                    </a:lnTo>
                    <a:lnTo>
                      <a:pt x="44" y="153"/>
                    </a:lnTo>
                    <a:lnTo>
                      <a:pt x="44" y="155"/>
                    </a:lnTo>
                    <a:lnTo>
                      <a:pt x="44" y="157"/>
                    </a:lnTo>
                    <a:lnTo>
                      <a:pt x="44" y="158"/>
                    </a:lnTo>
                    <a:lnTo>
                      <a:pt x="46" y="158"/>
                    </a:lnTo>
                    <a:lnTo>
                      <a:pt x="46" y="160"/>
                    </a:lnTo>
                    <a:lnTo>
                      <a:pt x="46" y="161"/>
                    </a:lnTo>
                    <a:lnTo>
                      <a:pt x="46" y="163"/>
                    </a:lnTo>
                    <a:lnTo>
                      <a:pt x="46" y="165"/>
                    </a:lnTo>
                    <a:lnTo>
                      <a:pt x="46" y="166"/>
                    </a:lnTo>
                    <a:lnTo>
                      <a:pt x="46" y="168"/>
                    </a:lnTo>
                    <a:lnTo>
                      <a:pt x="46" y="169"/>
                    </a:lnTo>
                    <a:lnTo>
                      <a:pt x="46" y="171"/>
                    </a:lnTo>
                    <a:lnTo>
                      <a:pt x="47" y="171"/>
                    </a:lnTo>
                    <a:lnTo>
                      <a:pt x="47" y="173"/>
                    </a:lnTo>
                    <a:lnTo>
                      <a:pt x="47" y="174"/>
                    </a:lnTo>
                    <a:lnTo>
                      <a:pt x="47" y="176"/>
                    </a:lnTo>
                    <a:lnTo>
                      <a:pt x="47" y="177"/>
                    </a:lnTo>
                    <a:lnTo>
                      <a:pt x="47" y="179"/>
                    </a:lnTo>
                    <a:lnTo>
                      <a:pt x="47" y="182"/>
                    </a:lnTo>
                    <a:lnTo>
                      <a:pt x="47" y="184"/>
                    </a:lnTo>
                    <a:lnTo>
                      <a:pt x="47" y="185"/>
                    </a:lnTo>
                    <a:lnTo>
                      <a:pt x="47" y="187"/>
                    </a:lnTo>
                    <a:lnTo>
                      <a:pt x="47" y="188"/>
                    </a:lnTo>
                    <a:lnTo>
                      <a:pt x="47" y="190"/>
                    </a:lnTo>
                    <a:lnTo>
                      <a:pt x="49" y="192"/>
                    </a:lnTo>
                    <a:lnTo>
                      <a:pt x="49" y="193"/>
                    </a:lnTo>
                    <a:lnTo>
                      <a:pt x="49" y="195"/>
                    </a:lnTo>
                    <a:lnTo>
                      <a:pt x="49" y="196"/>
                    </a:lnTo>
                    <a:lnTo>
                      <a:pt x="49" y="198"/>
                    </a:lnTo>
                    <a:lnTo>
                      <a:pt x="50" y="198"/>
                    </a:lnTo>
                    <a:lnTo>
                      <a:pt x="50" y="199"/>
                    </a:lnTo>
                    <a:lnTo>
                      <a:pt x="52" y="199"/>
                    </a:lnTo>
                    <a:lnTo>
                      <a:pt x="52" y="201"/>
                    </a:lnTo>
                    <a:lnTo>
                      <a:pt x="53" y="201"/>
                    </a:lnTo>
                    <a:lnTo>
                      <a:pt x="53" y="203"/>
                    </a:lnTo>
                    <a:lnTo>
                      <a:pt x="55" y="204"/>
                    </a:lnTo>
                    <a:lnTo>
                      <a:pt x="55" y="206"/>
                    </a:lnTo>
                    <a:lnTo>
                      <a:pt x="57" y="206"/>
                    </a:lnTo>
                    <a:lnTo>
                      <a:pt x="57" y="207"/>
                    </a:lnTo>
                    <a:lnTo>
                      <a:pt x="58" y="209"/>
                    </a:lnTo>
                    <a:lnTo>
                      <a:pt x="58" y="211"/>
                    </a:lnTo>
                    <a:lnTo>
                      <a:pt x="60" y="211"/>
                    </a:lnTo>
                    <a:lnTo>
                      <a:pt x="60" y="212"/>
                    </a:lnTo>
                    <a:lnTo>
                      <a:pt x="61" y="212"/>
                    </a:lnTo>
                    <a:lnTo>
                      <a:pt x="63" y="212"/>
                    </a:lnTo>
                    <a:lnTo>
                      <a:pt x="65" y="212"/>
                    </a:lnTo>
                    <a:lnTo>
                      <a:pt x="66" y="212"/>
                    </a:lnTo>
                    <a:lnTo>
                      <a:pt x="68" y="212"/>
                    </a:lnTo>
                    <a:lnTo>
                      <a:pt x="69" y="211"/>
                    </a:lnTo>
                    <a:lnTo>
                      <a:pt x="71" y="211"/>
                    </a:lnTo>
                    <a:lnTo>
                      <a:pt x="72" y="211"/>
                    </a:lnTo>
                    <a:lnTo>
                      <a:pt x="74" y="211"/>
                    </a:lnTo>
                    <a:lnTo>
                      <a:pt x="74" y="212"/>
                    </a:lnTo>
                    <a:lnTo>
                      <a:pt x="74" y="211"/>
                    </a:lnTo>
                    <a:lnTo>
                      <a:pt x="76" y="211"/>
                    </a:lnTo>
                    <a:lnTo>
                      <a:pt x="77" y="211"/>
                    </a:lnTo>
                    <a:lnTo>
                      <a:pt x="77" y="212"/>
                    </a:lnTo>
                    <a:lnTo>
                      <a:pt x="79" y="214"/>
                    </a:lnTo>
                    <a:lnTo>
                      <a:pt x="79" y="212"/>
                    </a:lnTo>
                    <a:lnTo>
                      <a:pt x="80" y="212"/>
                    </a:lnTo>
                    <a:lnTo>
                      <a:pt x="82" y="212"/>
                    </a:lnTo>
                    <a:lnTo>
                      <a:pt x="84" y="212"/>
                    </a:lnTo>
                    <a:lnTo>
                      <a:pt x="84" y="211"/>
                    </a:lnTo>
                    <a:lnTo>
                      <a:pt x="85" y="211"/>
                    </a:lnTo>
                    <a:lnTo>
                      <a:pt x="85" y="209"/>
                    </a:lnTo>
                    <a:lnTo>
                      <a:pt x="85" y="207"/>
                    </a:lnTo>
                    <a:lnTo>
                      <a:pt x="84" y="207"/>
                    </a:lnTo>
                    <a:lnTo>
                      <a:pt x="84" y="206"/>
                    </a:lnTo>
                    <a:lnTo>
                      <a:pt x="85" y="206"/>
                    </a:lnTo>
                    <a:lnTo>
                      <a:pt x="87" y="206"/>
                    </a:lnTo>
                    <a:lnTo>
                      <a:pt x="87" y="204"/>
                    </a:lnTo>
                    <a:lnTo>
                      <a:pt x="88" y="204"/>
                    </a:lnTo>
                    <a:lnTo>
                      <a:pt x="90" y="204"/>
                    </a:lnTo>
                    <a:lnTo>
                      <a:pt x="91" y="203"/>
                    </a:lnTo>
                    <a:lnTo>
                      <a:pt x="91" y="204"/>
                    </a:lnTo>
                    <a:lnTo>
                      <a:pt x="93" y="204"/>
                    </a:lnTo>
                    <a:lnTo>
                      <a:pt x="95" y="204"/>
                    </a:lnTo>
                    <a:lnTo>
                      <a:pt x="95" y="203"/>
                    </a:lnTo>
                    <a:lnTo>
                      <a:pt x="96" y="203"/>
                    </a:lnTo>
                    <a:lnTo>
                      <a:pt x="96" y="201"/>
                    </a:lnTo>
                    <a:lnTo>
                      <a:pt x="98" y="201"/>
                    </a:lnTo>
                    <a:lnTo>
                      <a:pt x="99" y="201"/>
                    </a:lnTo>
                    <a:lnTo>
                      <a:pt x="101" y="201"/>
                    </a:lnTo>
                    <a:lnTo>
                      <a:pt x="103" y="201"/>
                    </a:lnTo>
                    <a:lnTo>
                      <a:pt x="104" y="201"/>
                    </a:lnTo>
                    <a:lnTo>
                      <a:pt x="106" y="201"/>
                    </a:lnTo>
                    <a:lnTo>
                      <a:pt x="107" y="201"/>
                    </a:lnTo>
                    <a:lnTo>
                      <a:pt x="107" y="203"/>
                    </a:lnTo>
                    <a:lnTo>
                      <a:pt x="109" y="203"/>
                    </a:lnTo>
                    <a:lnTo>
                      <a:pt x="110" y="203"/>
                    </a:lnTo>
                    <a:lnTo>
                      <a:pt x="112" y="203"/>
                    </a:lnTo>
                    <a:lnTo>
                      <a:pt x="114" y="204"/>
                    </a:lnTo>
                    <a:lnTo>
                      <a:pt x="115" y="204"/>
                    </a:lnTo>
                    <a:lnTo>
                      <a:pt x="117" y="204"/>
                    </a:lnTo>
                    <a:lnTo>
                      <a:pt x="118" y="203"/>
                    </a:lnTo>
                    <a:lnTo>
                      <a:pt x="120" y="203"/>
                    </a:lnTo>
                    <a:lnTo>
                      <a:pt x="122" y="203"/>
                    </a:lnTo>
                    <a:lnTo>
                      <a:pt x="123" y="203"/>
                    </a:lnTo>
                    <a:lnTo>
                      <a:pt x="125" y="203"/>
                    </a:lnTo>
                    <a:lnTo>
                      <a:pt x="126" y="203"/>
                    </a:lnTo>
                    <a:lnTo>
                      <a:pt x="128" y="203"/>
                    </a:lnTo>
                    <a:lnTo>
                      <a:pt x="129" y="203"/>
                    </a:lnTo>
                    <a:lnTo>
                      <a:pt x="131" y="203"/>
                    </a:lnTo>
                    <a:lnTo>
                      <a:pt x="133" y="204"/>
                    </a:lnTo>
                    <a:lnTo>
                      <a:pt x="133" y="206"/>
                    </a:lnTo>
                    <a:lnTo>
                      <a:pt x="133" y="207"/>
                    </a:lnTo>
                    <a:lnTo>
                      <a:pt x="133" y="209"/>
                    </a:lnTo>
                    <a:lnTo>
                      <a:pt x="134" y="211"/>
                    </a:lnTo>
                    <a:lnTo>
                      <a:pt x="134" y="212"/>
                    </a:lnTo>
                    <a:lnTo>
                      <a:pt x="136" y="214"/>
                    </a:lnTo>
                    <a:lnTo>
                      <a:pt x="136" y="215"/>
                    </a:lnTo>
                    <a:lnTo>
                      <a:pt x="136" y="217"/>
                    </a:lnTo>
                    <a:lnTo>
                      <a:pt x="136" y="218"/>
                    </a:lnTo>
                    <a:lnTo>
                      <a:pt x="136" y="220"/>
                    </a:lnTo>
                    <a:lnTo>
                      <a:pt x="136" y="222"/>
                    </a:lnTo>
                    <a:lnTo>
                      <a:pt x="134" y="222"/>
                    </a:lnTo>
                    <a:lnTo>
                      <a:pt x="134" y="223"/>
                    </a:lnTo>
                    <a:lnTo>
                      <a:pt x="134" y="225"/>
                    </a:lnTo>
                    <a:lnTo>
                      <a:pt x="133" y="225"/>
                    </a:lnTo>
                    <a:lnTo>
                      <a:pt x="134" y="225"/>
                    </a:lnTo>
                    <a:lnTo>
                      <a:pt x="136" y="225"/>
                    </a:lnTo>
                    <a:lnTo>
                      <a:pt x="137" y="225"/>
                    </a:lnTo>
                    <a:lnTo>
                      <a:pt x="139" y="223"/>
                    </a:lnTo>
                    <a:lnTo>
                      <a:pt x="141" y="223"/>
                    </a:lnTo>
                    <a:lnTo>
                      <a:pt x="142" y="223"/>
                    </a:lnTo>
                    <a:lnTo>
                      <a:pt x="144" y="223"/>
                    </a:lnTo>
                    <a:lnTo>
                      <a:pt x="145" y="223"/>
                    </a:lnTo>
                    <a:lnTo>
                      <a:pt x="147" y="222"/>
                    </a:lnTo>
                    <a:lnTo>
                      <a:pt x="148" y="222"/>
                    </a:lnTo>
                    <a:lnTo>
                      <a:pt x="148" y="220"/>
                    </a:lnTo>
                    <a:lnTo>
                      <a:pt x="150" y="220"/>
                    </a:lnTo>
                    <a:lnTo>
                      <a:pt x="150" y="218"/>
                    </a:lnTo>
                    <a:lnTo>
                      <a:pt x="152" y="218"/>
                    </a:lnTo>
                    <a:lnTo>
                      <a:pt x="153" y="218"/>
                    </a:lnTo>
                    <a:lnTo>
                      <a:pt x="155" y="218"/>
                    </a:lnTo>
                    <a:lnTo>
                      <a:pt x="156" y="217"/>
                    </a:lnTo>
                    <a:lnTo>
                      <a:pt x="156" y="215"/>
                    </a:lnTo>
                    <a:lnTo>
                      <a:pt x="158" y="215"/>
                    </a:lnTo>
                    <a:lnTo>
                      <a:pt x="158" y="214"/>
                    </a:lnTo>
                    <a:lnTo>
                      <a:pt x="158" y="212"/>
                    </a:lnTo>
                    <a:lnTo>
                      <a:pt x="158" y="211"/>
                    </a:lnTo>
                    <a:lnTo>
                      <a:pt x="160" y="211"/>
                    </a:lnTo>
                    <a:lnTo>
                      <a:pt x="161" y="211"/>
                    </a:lnTo>
                    <a:lnTo>
                      <a:pt x="163" y="211"/>
                    </a:lnTo>
                    <a:lnTo>
                      <a:pt x="164" y="211"/>
                    </a:lnTo>
                    <a:lnTo>
                      <a:pt x="166" y="211"/>
                    </a:lnTo>
                    <a:lnTo>
                      <a:pt x="167" y="211"/>
                    </a:lnTo>
                    <a:lnTo>
                      <a:pt x="169" y="211"/>
                    </a:lnTo>
                    <a:lnTo>
                      <a:pt x="171" y="211"/>
                    </a:lnTo>
                    <a:lnTo>
                      <a:pt x="172" y="209"/>
                    </a:lnTo>
                    <a:lnTo>
                      <a:pt x="174" y="209"/>
                    </a:lnTo>
                    <a:lnTo>
                      <a:pt x="175" y="209"/>
                    </a:lnTo>
                    <a:lnTo>
                      <a:pt x="179" y="209"/>
                    </a:lnTo>
                    <a:lnTo>
                      <a:pt x="180" y="211"/>
                    </a:lnTo>
                    <a:lnTo>
                      <a:pt x="182" y="211"/>
                    </a:lnTo>
                    <a:lnTo>
                      <a:pt x="183" y="209"/>
                    </a:lnTo>
                    <a:lnTo>
                      <a:pt x="185" y="209"/>
                    </a:lnTo>
                    <a:lnTo>
                      <a:pt x="186" y="209"/>
                    </a:lnTo>
                    <a:lnTo>
                      <a:pt x="188" y="209"/>
                    </a:lnTo>
                    <a:lnTo>
                      <a:pt x="190" y="209"/>
                    </a:lnTo>
                    <a:lnTo>
                      <a:pt x="191" y="207"/>
                    </a:lnTo>
                    <a:lnTo>
                      <a:pt x="193" y="207"/>
                    </a:lnTo>
                    <a:lnTo>
                      <a:pt x="194" y="206"/>
                    </a:lnTo>
                    <a:lnTo>
                      <a:pt x="196" y="206"/>
                    </a:lnTo>
                    <a:lnTo>
                      <a:pt x="198" y="206"/>
                    </a:lnTo>
                    <a:lnTo>
                      <a:pt x="201" y="206"/>
                    </a:lnTo>
                    <a:lnTo>
                      <a:pt x="202" y="206"/>
                    </a:lnTo>
                    <a:lnTo>
                      <a:pt x="204" y="204"/>
                    </a:lnTo>
                    <a:lnTo>
                      <a:pt x="205" y="204"/>
                    </a:lnTo>
                    <a:lnTo>
                      <a:pt x="205" y="206"/>
                    </a:lnTo>
                    <a:lnTo>
                      <a:pt x="204" y="207"/>
                    </a:lnTo>
                    <a:lnTo>
                      <a:pt x="204" y="209"/>
                    </a:lnTo>
                    <a:lnTo>
                      <a:pt x="204" y="211"/>
                    </a:lnTo>
                    <a:lnTo>
                      <a:pt x="202" y="212"/>
                    </a:lnTo>
                    <a:lnTo>
                      <a:pt x="201" y="214"/>
                    </a:lnTo>
                    <a:lnTo>
                      <a:pt x="201" y="215"/>
                    </a:lnTo>
                    <a:lnTo>
                      <a:pt x="199" y="217"/>
                    </a:lnTo>
                    <a:lnTo>
                      <a:pt x="199" y="218"/>
                    </a:lnTo>
                    <a:lnTo>
                      <a:pt x="199" y="220"/>
                    </a:lnTo>
                    <a:lnTo>
                      <a:pt x="198" y="222"/>
                    </a:lnTo>
                    <a:lnTo>
                      <a:pt x="198" y="223"/>
                    </a:lnTo>
                    <a:lnTo>
                      <a:pt x="198" y="225"/>
                    </a:lnTo>
                    <a:lnTo>
                      <a:pt x="199" y="226"/>
                    </a:lnTo>
                    <a:lnTo>
                      <a:pt x="199" y="228"/>
                    </a:lnTo>
                    <a:lnTo>
                      <a:pt x="199" y="231"/>
                    </a:lnTo>
                    <a:lnTo>
                      <a:pt x="199" y="233"/>
                    </a:lnTo>
                    <a:lnTo>
                      <a:pt x="199" y="234"/>
                    </a:lnTo>
                    <a:lnTo>
                      <a:pt x="199" y="236"/>
                    </a:lnTo>
                    <a:lnTo>
                      <a:pt x="201" y="239"/>
                    </a:lnTo>
                    <a:lnTo>
                      <a:pt x="201" y="242"/>
                    </a:lnTo>
                    <a:lnTo>
                      <a:pt x="202" y="242"/>
                    </a:lnTo>
                    <a:lnTo>
                      <a:pt x="202" y="244"/>
                    </a:lnTo>
                    <a:lnTo>
                      <a:pt x="204" y="245"/>
                    </a:lnTo>
                    <a:lnTo>
                      <a:pt x="205" y="249"/>
                    </a:lnTo>
                    <a:lnTo>
                      <a:pt x="205" y="250"/>
                    </a:lnTo>
                    <a:lnTo>
                      <a:pt x="209" y="252"/>
                    </a:lnTo>
                    <a:lnTo>
                      <a:pt x="209" y="253"/>
                    </a:lnTo>
                    <a:lnTo>
                      <a:pt x="210" y="255"/>
                    </a:lnTo>
                    <a:lnTo>
                      <a:pt x="210" y="256"/>
                    </a:lnTo>
                    <a:lnTo>
                      <a:pt x="210" y="258"/>
                    </a:lnTo>
                    <a:lnTo>
                      <a:pt x="210" y="260"/>
                    </a:lnTo>
                    <a:lnTo>
                      <a:pt x="210" y="261"/>
                    </a:lnTo>
                    <a:lnTo>
                      <a:pt x="210" y="263"/>
                    </a:lnTo>
                    <a:lnTo>
                      <a:pt x="209" y="264"/>
                    </a:lnTo>
                    <a:lnTo>
                      <a:pt x="209" y="268"/>
                    </a:lnTo>
                    <a:lnTo>
                      <a:pt x="209" y="269"/>
                    </a:lnTo>
                    <a:lnTo>
                      <a:pt x="210" y="271"/>
                    </a:lnTo>
                    <a:lnTo>
                      <a:pt x="210" y="272"/>
                    </a:lnTo>
                    <a:lnTo>
                      <a:pt x="210" y="274"/>
                    </a:lnTo>
                    <a:lnTo>
                      <a:pt x="212" y="274"/>
                    </a:lnTo>
                    <a:lnTo>
                      <a:pt x="213" y="277"/>
                    </a:lnTo>
                    <a:lnTo>
                      <a:pt x="215" y="279"/>
                    </a:lnTo>
                    <a:lnTo>
                      <a:pt x="217" y="280"/>
                    </a:lnTo>
                    <a:lnTo>
                      <a:pt x="217" y="282"/>
                    </a:lnTo>
                    <a:lnTo>
                      <a:pt x="218" y="283"/>
                    </a:lnTo>
                    <a:lnTo>
                      <a:pt x="218" y="285"/>
                    </a:lnTo>
                    <a:lnTo>
                      <a:pt x="218" y="288"/>
                    </a:lnTo>
                    <a:lnTo>
                      <a:pt x="218" y="290"/>
                    </a:lnTo>
                    <a:lnTo>
                      <a:pt x="220" y="290"/>
                    </a:lnTo>
                    <a:lnTo>
                      <a:pt x="220" y="291"/>
                    </a:lnTo>
                    <a:lnTo>
                      <a:pt x="218" y="293"/>
                    </a:lnTo>
                    <a:lnTo>
                      <a:pt x="220" y="295"/>
                    </a:lnTo>
                    <a:lnTo>
                      <a:pt x="220" y="296"/>
                    </a:lnTo>
                    <a:lnTo>
                      <a:pt x="218" y="301"/>
                    </a:lnTo>
                    <a:lnTo>
                      <a:pt x="218" y="302"/>
                    </a:lnTo>
                    <a:lnTo>
                      <a:pt x="218" y="304"/>
                    </a:lnTo>
                    <a:lnTo>
                      <a:pt x="220" y="306"/>
                    </a:lnTo>
                    <a:lnTo>
                      <a:pt x="220" y="307"/>
                    </a:lnTo>
                    <a:lnTo>
                      <a:pt x="220" y="309"/>
                    </a:lnTo>
                    <a:lnTo>
                      <a:pt x="221" y="309"/>
                    </a:lnTo>
                    <a:lnTo>
                      <a:pt x="223" y="310"/>
                    </a:lnTo>
                    <a:lnTo>
                      <a:pt x="223" y="312"/>
                    </a:lnTo>
                    <a:lnTo>
                      <a:pt x="224" y="312"/>
                    </a:lnTo>
                    <a:lnTo>
                      <a:pt x="226" y="314"/>
                    </a:lnTo>
                    <a:lnTo>
                      <a:pt x="226" y="315"/>
                    </a:lnTo>
                    <a:lnTo>
                      <a:pt x="228" y="315"/>
                    </a:lnTo>
                    <a:lnTo>
                      <a:pt x="228" y="317"/>
                    </a:lnTo>
                    <a:lnTo>
                      <a:pt x="228" y="318"/>
                    </a:lnTo>
                    <a:lnTo>
                      <a:pt x="226" y="318"/>
                    </a:lnTo>
                    <a:lnTo>
                      <a:pt x="226" y="320"/>
                    </a:lnTo>
                    <a:lnTo>
                      <a:pt x="224" y="321"/>
                    </a:lnTo>
                    <a:lnTo>
                      <a:pt x="228" y="325"/>
                    </a:lnTo>
                    <a:lnTo>
                      <a:pt x="231" y="323"/>
                    </a:lnTo>
                    <a:lnTo>
                      <a:pt x="234" y="323"/>
                    </a:lnTo>
                    <a:lnTo>
                      <a:pt x="232" y="334"/>
                    </a:lnTo>
                    <a:lnTo>
                      <a:pt x="232" y="340"/>
                    </a:lnTo>
                    <a:lnTo>
                      <a:pt x="232" y="350"/>
                    </a:lnTo>
                    <a:lnTo>
                      <a:pt x="231" y="356"/>
                    </a:lnTo>
                    <a:lnTo>
                      <a:pt x="232" y="366"/>
                    </a:lnTo>
                    <a:lnTo>
                      <a:pt x="237" y="371"/>
                    </a:lnTo>
                    <a:lnTo>
                      <a:pt x="240" y="375"/>
                    </a:lnTo>
                    <a:lnTo>
                      <a:pt x="244" y="382"/>
                    </a:lnTo>
                    <a:lnTo>
                      <a:pt x="248" y="388"/>
                    </a:lnTo>
                    <a:lnTo>
                      <a:pt x="255" y="393"/>
                    </a:lnTo>
                    <a:lnTo>
                      <a:pt x="259" y="397"/>
                    </a:lnTo>
                    <a:lnTo>
                      <a:pt x="264" y="397"/>
                    </a:lnTo>
                    <a:lnTo>
                      <a:pt x="269" y="405"/>
                    </a:lnTo>
                    <a:lnTo>
                      <a:pt x="270" y="412"/>
                    </a:lnTo>
                    <a:lnTo>
                      <a:pt x="269" y="412"/>
                    </a:lnTo>
                    <a:lnTo>
                      <a:pt x="269" y="413"/>
                    </a:lnTo>
                    <a:lnTo>
                      <a:pt x="267" y="413"/>
                    </a:lnTo>
                    <a:lnTo>
                      <a:pt x="267" y="415"/>
                    </a:lnTo>
                    <a:lnTo>
                      <a:pt x="266" y="417"/>
                    </a:lnTo>
                    <a:lnTo>
                      <a:pt x="266" y="418"/>
                    </a:lnTo>
                    <a:lnTo>
                      <a:pt x="267" y="423"/>
                    </a:lnTo>
                    <a:lnTo>
                      <a:pt x="267" y="424"/>
                    </a:lnTo>
                    <a:lnTo>
                      <a:pt x="269" y="424"/>
                    </a:lnTo>
                    <a:lnTo>
                      <a:pt x="269" y="426"/>
                    </a:lnTo>
                    <a:lnTo>
                      <a:pt x="272" y="429"/>
                    </a:lnTo>
                    <a:lnTo>
                      <a:pt x="272" y="431"/>
                    </a:lnTo>
                    <a:lnTo>
                      <a:pt x="274" y="432"/>
                    </a:lnTo>
                    <a:lnTo>
                      <a:pt x="275" y="434"/>
                    </a:lnTo>
                    <a:lnTo>
                      <a:pt x="275" y="436"/>
                    </a:lnTo>
                    <a:lnTo>
                      <a:pt x="277" y="437"/>
                    </a:lnTo>
                    <a:lnTo>
                      <a:pt x="278" y="440"/>
                    </a:lnTo>
                    <a:lnTo>
                      <a:pt x="280" y="442"/>
                    </a:lnTo>
                    <a:lnTo>
                      <a:pt x="280" y="443"/>
                    </a:lnTo>
                    <a:lnTo>
                      <a:pt x="282" y="445"/>
                    </a:lnTo>
                    <a:lnTo>
                      <a:pt x="283" y="447"/>
                    </a:lnTo>
                    <a:lnTo>
                      <a:pt x="285" y="448"/>
                    </a:lnTo>
                    <a:lnTo>
                      <a:pt x="285" y="450"/>
                    </a:lnTo>
                    <a:lnTo>
                      <a:pt x="286" y="451"/>
                    </a:lnTo>
                    <a:lnTo>
                      <a:pt x="286" y="453"/>
                    </a:lnTo>
                    <a:lnTo>
                      <a:pt x="288" y="456"/>
                    </a:lnTo>
                    <a:lnTo>
                      <a:pt x="288" y="459"/>
                    </a:lnTo>
                    <a:lnTo>
                      <a:pt x="288" y="461"/>
                    </a:lnTo>
                    <a:lnTo>
                      <a:pt x="288" y="466"/>
                    </a:lnTo>
                    <a:lnTo>
                      <a:pt x="288" y="470"/>
                    </a:lnTo>
                    <a:lnTo>
                      <a:pt x="288" y="474"/>
                    </a:lnTo>
                    <a:lnTo>
                      <a:pt x="289" y="475"/>
                    </a:lnTo>
                    <a:lnTo>
                      <a:pt x="289" y="478"/>
                    </a:lnTo>
                    <a:lnTo>
                      <a:pt x="289" y="480"/>
                    </a:lnTo>
                    <a:lnTo>
                      <a:pt x="289" y="481"/>
                    </a:lnTo>
                    <a:lnTo>
                      <a:pt x="289" y="483"/>
                    </a:lnTo>
                    <a:lnTo>
                      <a:pt x="288" y="486"/>
                    </a:lnTo>
                    <a:lnTo>
                      <a:pt x="288" y="489"/>
                    </a:lnTo>
                    <a:lnTo>
                      <a:pt x="288" y="493"/>
                    </a:lnTo>
                    <a:lnTo>
                      <a:pt x="288" y="494"/>
                    </a:lnTo>
                    <a:lnTo>
                      <a:pt x="289" y="496"/>
                    </a:lnTo>
                    <a:lnTo>
                      <a:pt x="291" y="497"/>
                    </a:lnTo>
                    <a:lnTo>
                      <a:pt x="293" y="497"/>
                    </a:lnTo>
                    <a:lnTo>
                      <a:pt x="297" y="499"/>
                    </a:lnTo>
                    <a:lnTo>
                      <a:pt x="299" y="499"/>
                    </a:lnTo>
                    <a:lnTo>
                      <a:pt x="301" y="499"/>
                    </a:lnTo>
                    <a:lnTo>
                      <a:pt x="302" y="499"/>
                    </a:lnTo>
                    <a:lnTo>
                      <a:pt x="302" y="500"/>
                    </a:lnTo>
                    <a:lnTo>
                      <a:pt x="302" y="502"/>
                    </a:lnTo>
                    <a:lnTo>
                      <a:pt x="304" y="504"/>
                    </a:lnTo>
                    <a:lnTo>
                      <a:pt x="305" y="505"/>
                    </a:lnTo>
                    <a:lnTo>
                      <a:pt x="307" y="508"/>
                    </a:lnTo>
                    <a:lnTo>
                      <a:pt x="307" y="510"/>
                    </a:lnTo>
                    <a:lnTo>
                      <a:pt x="308" y="510"/>
                    </a:lnTo>
                    <a:lnTo>
                      <a:pt x="310" y="513"/>
                    </a:lnTo>
                    <a:lnTo>
                      <a:pt x="312" y="516"/>
                    </a:lnTo>
                    <a:lnTo>
                      <a:pt x="315" y="523"/>
                    </a:lnTo>
                    <a:lnTo>
                      <a:pt x="316" y="526"/>
                    </a:lnTo>
                    <a:lnTo>
                      <a:pt x="318" y="527"/>
                    </a:lnTo>
                    <a:lnTo>
                      <a:pt x="320" y="531"/>
                    </a:lnTo>
                    <a:lnTo>
                      <a:pt x="321" y="532"/>
                    </a:lnTo>
                    <a:lnTo>
                      <a:pt x="321" y="534"/>
                    </a:lnTo>
                    <a:lnTo>
                      <a:pt x="321" y="537"/>
                    </a:lnTo>
                    <a:lnTo>
                      <a:pt x="323" y="540"/>
                    </a:lnTo>
                    <a:lnTo>
                      <a:pt x="323" y="542"/>
                    </a:lnTo>
                    <a:lnTo>
                      <a:pt x="323" y="545"/>
                    </a:lnTo>
                    <a:lnTo>
                      <a:pt x="323" y="548"/>
                    </a:lnTo>
                    <a:lnTo>
                      <a:pt x="324" y="550"/>
                    </a:lnTo>
                    <a:lnTo>
                      <a:pt x="324" y="553"/>
                    </a:lnTo>
                    <a:lnTo>
                      <a:pt x="324" y="556"/>
                    </a:lnTo>
                    <a:lnTo>
                      <a:pt x="324" y="558"/>
                    </a:lnTo>
                    <a:lnTo>
                      <a:pt x="324" y="562"/>
                    </a:lnTo>
                    <a:lnTo>
                      <a:pt x="326" y="565"/>
                    </a:lnTo>
                    <a:lnTo>
                      <a:pt x="326" y="567"/>
                    </a:lnTo>
                    <a:lnTo>
                      <a:pt x="326" y="573"/>
                    </a:lnTo>
                    <a:lnTo>
                      <a:pt x="326" y="577"/>
                    </a:lnTo>
                    <a:lnTo>
                      <a:pt x="324" y="580"/>
                    </a:lnTo>
                    <a:lnTo>
                      <a:pt x="323" y="583"/>
                    </a:lnTo>
                    <a:lnTo>
                      <a:pt x="323" y="584"/>
                    </a:lnTo>
                    <a:lnTo>
                      <a:pt x="321" y="588"/>
                    </a:lnTo>
                    <a:lnTo>
                      <a:pt x="318" y="589"/>
                    </a:lnTo>
                    <a:lnTo>
                      <a:pt x="316" y="592"/>
                    </a:lnTo>
                    <a:lnTo>
                      <a:pt x="315" y="596"/>
                    </a:lnTo>
                    <a:lnTo>
                      <a:pt x="313" y="602"/>
                    </a:lnTo>
                    <a:lnTo>
                      <a:pt x="310" y="605"/>
                    </a:lnTo>
                    <a:lnTo>
                      <a:pt x="310" y="607"/>
                    </a:lnTo>
                    <a:lnTo>
                      <a:pt x="308" y="607"/>
                    </a:lnTo>
                    <a:lnTo>
                      <a:pt x="305" y="608"/>
                    </a:lnTo>
                    <a:lnTo>
                      <a:pt x="305" y="610"/>
                    </a:lnTo>
                    <a:lnTo>
                      <a:pt x="305" y="611"/>
                    </a:lnTo>
                    <a:lnTo>
                      <a:pt x="307" y="615"/>
                    </a:lnTo>
                    <a:lnTo>
                      <a:pt x="308" y="616"/>
                    </a:lnTo>
                    <a:lnTo>
                      <a:pt x="310" y="616"/>
                    </a:lnTo>
                    <a:lnTo>
                      <a:pt x="312" y="616"/>
                    </a:lnTo>
                    <a:lnTo>
                      <a:pt x="313" y="616"/>
                    </a:lnTo>
                    <a:lnTo>
                      <a:pt x="313" y="618"/>
                    </a:lnTo>
                    <a:lnTo>
                      <a:pt x="315" y="621"/>
                    </a:lnTo>
                    <a:lnTo>
                      <a:pt x="316" y="622"/>
                    </a:lnTo>
                    <a:lnTo>
                      <a:pt x="316" y="626"/>
                    </a:lnTo>
                    <a:lnTo>
                      <a:pt x="316" y="627"/>
                    </a:lnTo>
                    <a:lnTo>
                      <a:pt x="316" y="629"/>
                    </a:lnTo>
                    <a:lnTo>
                      <a:pt x="316" y="630"/>
                    </a:lnTo>
                    <a:lnTo>
                      <a:pt x="316" y="632"/>
                    </a:lnTo>
                    <a:lnTo>
                      <a:pt x="315" y="635"/>
                    </a:lnTo>
                    <a:lnTo>
                      <a:pt x="313" y="638"/>
                    </a:lnTo>
                    <a:lnTo>
                      <a:pt x="312" y="642"/>
                    </a:lnTo>
                    <a:lnTo>
                      <a:pt x="308" y="648"/>
                    </a:lnTo>
                    <a:lnTo>
                      <a:pt x="307" y="651"/>
                    </a:lnTo>
                    <a:lnTo>
                      <a:pt x="305" y="654"/>
                    </a:lnTo>
                    <a:lnTo>
                      <a:pt x="304" y="656"/>
                    </a:lnTo>
                    <a:lnTo>
                      <a:pt x="302" y="656"/>
                    </a:lnTo>
                    <a:lnTo>
                      <a:pt x="302" y="659"/>
                    </a:lnTo>
                    <a:lnTo>
                      <a:pt x="301" y="661"/>
                    </a:lnTo>
                    <a:lnTo>
                      <a:pt x="301" y="662"/>
                    </a:lnTo>
                    <a:lnTo>
                      <a:pt x="301" y="664"/>
                    </a:lnTo>
                    <a:lnTo>
                      <a:pt x="301" y="665"/>
                    </a:lnTo>
                    <a:lnTo>
                      <a:pt x="301" y="667"/>
                    </a:lnTo>
                    <a:lnTo>
                      <a:pt x="302" y="670"/>
                    </a:lnTo>
                    <a:lnTo>
                      <a:pt x="304" y="672"/>
                    </a:lnTo>
                    <a:lnTo>
                      <a:pt x="305" y="675"/>
                    </a:lnTo>
                    <a:lnTo>
                      <a:pt x="307" y="678"/>
                    </a:lnTo>
                    <a:lnTo>
                      <a:pt x="308" y="680"/>
                    </a:lnTo>
                    <a:lnTo>
                      <a:pt x="310" y="681"/>
                    </a:lnTo>
                    <a:lnTo>
                      <a:pt x="312" y="684"/>
                    </a:lnTo>
                    <a:lnTo>
                      <a:pt x="316" y="689"/>
                    </a:lnTo>
                    <a:lnTo>
                      <a:pt x="316" y="691"/>
                    </a:lnTo>
                    <a:lnTo>
                      <a:pt x="315" y="697"/>
                    </a:lnTo>
                    <a:lnTo>
                      <a:pt x="313" y="702"/>
                    </a:lnTo>
                    <a:lnTo>
                      <a:pt x="312" y="711"/>
                    </a:lnTo>
                    <a:lnTo>
                      <a:pt x="312" y="713"/>
                    </a:lnTo>
                    <a:lnTo>
                      <a:pt x="313" y="719"/>
                    </a:lnTo>
                    <a:lnTo>
                      <a:pt x="313" y="724"/>
                    </a:lnTo>
                    <a:lnTo>
                      <a:pt x="315" y="727"/>
                    </a:lnTo>
                    <a:lnTo>
                      <a:pt x="316" y="730"/>
                    </a:lnTo>
                    <a:lnTo>
                      <a:pt x="318" y="735"/>
                    </a:lnTo>
                    <a:lnTo>
                      <a:pt x="320" y="737"/>
                    </a:lnTo>
                    <a:lnTo>
                      <a:pt x="321" y="743"/>
                    </a:lnTo>
                    <a:lnTo>
                      <a:pt x="323" y="748"/>
                    </a:lnTo>
                    <a:lnTo>
                      <a:pt x="321" y="751"/>
                    </a:lnTo>
                    <a:lnTo>
                      <a:pt x="321" y="752"/>
                    </a:lnTo>
                    <a:lnTo>
                      <a:pt x="320" y="754"/>
                    </a:lnTo>
                    <a:lnTo>
                      <a:pt x="316" y="754"/>
                    </a:lnTo>
                    <a:lnTo>
                      <a:pt x="315" y="754"/>
                    </a:lnTo>
                    <a:lnTo>
                      <a:pt x="315" y="756"/>
                    </a:lnTo>
                    <a:lnTo>
                      <a:pt x="315" y="757"/>
                    </a:lnTo>
                    <a:lnTo>
                      <a:pt x="315" y="759"/>
                    </a:lnTo>
                    <a:lnTo>
                      <a:pt x="315" y="762"/>
                    </a:lnTo>
                    <a:lnTo>
                      <a:pt x="315" y="764"/>
                    </a:lnTo>
                    <a:lnTo>
                      <a:pt x="315" y="765"/>
                    </a:lnTo>
                    <a:lnTo>
                      <a:pt x="313" y="767"/>
                    </a:lnTo>
                    <a:lnTo>
                      <a:pt x="313" y="768"/>
                    </a:lnTo>
                    <a:lnTo>
                      <a:pt x="313" y="770"/>
                    </a:lnTo>
                    <a:lnTo>
                      <a:pt x="313" y="771"/>
                    </a:lnTo>
                    <a:lnTo>
                      <a:pt x="313" y="775"/>
                    </a:lnTo>
                    <a:lnTo>
                      <a:pt x="313" y="776"/>
                    </a:lnTo>
                    <a:lnTo>
                      <a:pt x="313" y="779"/>
                    </a:lnTo>
                    <a:lnTo>
                      <a:pt x="312" y="781"/>
                    </a:lnTo>
                    <a:lnTo>
                      <a:pt x="312" y="783"/>
                    </a:lnTo>
                    <a:lnTo>
                      <a:pt x="312" y="786"/>
                    </a:lnTo>
                    <a:lnTo>
                      <a:pt x="312" y="792"/>
                    </a:lnTo>
                    <a:lnTo>
                      <a:pt x="312" y="795"/>
                    </a:lnTo>
                    <a:lnTo>
                      <a:pt x="312" y="797"/>
                    </a:lnTo>
                    <a:lnTo>
                      <a:pt x="310" y="802"/>
                    </a:lnTo>
                    <a:lnTo>
                      <a:pt x="310" y="803"/>
                    </a:lnTo>
                    <a:lnTo>
                      <a:pt x="310" y="806"/>
                    </a:lnTo>
                    <a:lnTo>
                      <a:pt x="308" y="809"/>
                    </a:lnTo>
                    <a:lnTo>
                      <a:pt x="307" y="814"/>
                    </a:lnTo>
                    <a:lnTo>
                      <a:pt x="305" y="816"/>
                    </a:lnTo>
                    <a:lnTo>
                      <a:pt x="304" y="819"/>
                    </a:lnTo>
                    <a:lnTo>
                      <a:pt x="302" y="824"/>
                    </a:lnTo>
                    <a:lnTo>
                      <a:pt x="304" y="827"/>
                    </a:lnTo>
                    <a:lnTo>
                      <a:pt x="305" y="830"/>
                    </a:lnTo>
                    <a:lnTo>
                      <a:pt x="305" y="832"/>
                    </a:lnTo>
                    <a:lnTo>
                      <a:pt x="305" y="835"/>
                    </a:lnTo>
                    <a:lnTo>
                      <a:pt x="304" y="838"/>
                    </a:lnTo>
                    <a:lnTo>
                      <a:pt x="304" y="840"/>
                    </a:lnTo>
                    <a:lnTo>
                      <a:pt x="305" y="840"/>
                    </a:lnTo>
                    <a:lnTo>
                      <a:pt x="305" y="841"/>
                    </a:lnTo>
                    <a:lnTo>
                      <a:pt x="305" y="843"/>
                    </a:lnTo>
                    <a:lnTo>
                      <a:pt x="307" y="844"/>
                    </a:lnTo>
                    <a:lnTo>
                      <a:pt x="307" y="846"/>
                    </a:lnTo>
                    <a:lnTo>
                      <a:pt x="307" y="847"/>
                    </a:lnTo>
                    <a:lnTo>
                      <a:pt x="308" y="849"/>
                    </a:lnTo>
                    <a:lnTo>
                      <a:pt x="308" y="851"/>
                    </a:lnTo>
                    <a:lnTo>
                      <a:pt x="308" y="852"/>
                    </a:lnTo>
                    <a:lnTo>
                      <a:pt x="308" y="854"/>
                    </a:lnTo>
                    <a:lnTo>
                      <a:pt x="307" y="854"/>
                    </a:lnTo>
                    <a:lnTo>
                      <a:pt x="307" y="855"/>
                    </a:lnTo>
                    <a:lnTo>
                      <a:pt x="305" y="855"/>
                    </a:lnTo>
                    <a:lnTo>
                      <a:pt x="304" y="855"/>
                    </a:lnTo>
                    <a:lnTo>
                      <a:pt x="302" y="855"/>
                    </a:lnTo>
                    <a:lnTo>
                      <a:pt x="301" y="855"/>
                    </a:lnTo>
                    <a:lnTo>
                      <a:pt x="299" y="854"/>
                    </a:lnTo>
                    <a:lnTo>
                      <a:pt x="297" y="854"/>
                    </a:lnTo>
                    <a:lnTo>
                      <a:pt x="294" y="854"/>
                    </a:lnTo>
                    <a:lnTo>
                      <a:pt x="293" y="852"/>
                    </a:lnTo>
                    <a:lnTo>
                      <a:pt x="289" y="852"/>
                    </a:lnTo>
                    <a:lnTo>
                      <a:pt x="286" y="851"/>
                    </a:lnTo>
                    <a:lnTo>
                      <a:pt x="285" y="851"/>
                    </a:lnTo>
                    <a:lnTo>
                      <a:pt x="283" y="851"/>
                    </a:lnTo>
                    <a:lnTo>
                      <a:pt x="282" y="851"/>
                    </a:lnTo>
                    <a:lnTo>
                      <a:pt x="280" y="852"/>
                    </a:lnTo>
                    <a:lnTo>
                      <a:pt x="278" y="852"/>
                    </a:lnTo>
                    <a:lnTo>
                      <a:pt x="277" y="852"/>
                    </a:lnTo>
                    <a:lnTo>
                      <a:pt x="275" y="852"/>
                    </a:lnTo>
                    <a:lnTo>
                      <a:pt x="275" y="854"/>
                    </a:lnTo>
                    <a:lnTo>
                      <a:pt x="272" y="854"/>
                    </a:lnTo>
                    <a:lnTo>
                      <a:pt x="270" y="855"/>
                    </a:lnTo>
                    <a:lnTo>
                      <a:pt x="269" y="855"/>
                    </a:lnTo>
                    <a:lnTo>
                      <a:pt x="267" y="857"/>
                    </a:lnTo>
                    <a:lnTo>
                      <a:pt x="267" y="862"/>
                    </a:lnTo>
                    <a:lnTo>
                      <a:pt x="266" y="863"/>
                    </a:lnTo>
                    <a:lnTo>
                      <a:pt x="266" y="865"/>
                    </a:lnTo>
                    <a:lnTo>
                      <a:pt x="264" y="867"/>
                    </a:lnTo>
                    <a:lnTo>
                      <a:pt x="266" y="870"/>
                    </a:lnTo>
                    <a:lnTo>
                      <a:pt x="266" y="873"/>
                    </a:lnTo>
                    <a:lnTo>
                      <a:pt x="267" y="873"/>
                    </a:lnTo>
                    <a:lnTo>
                      <a:pt x="269" y="876"/>
                    </a:lnTo>
                    <a:lnTo>
                      <a:pt x="272" y="878"/>
                    </a:lnTo>
                    <a:lnTo>
                      <a:pt x="274" y="879"/>
                    </a:lnTo>
                    <a:lnTo>
                      <a:pt x="275" y="881"/>
                    </a:lnTo>
                    <a:lnTo>
                      <a:pt x="277" y="881"/>
                    </a:lnTo>
                    <a:lnTo>
                      <a:pt x="280" y="882"/>
                    </a:lnTo>
                    <a:lnTo>
                      <a:pt x="282" y="882"/>
                    </a:lnTo>
                    <a:lnTo>
                      <a:pt x="285" y="886"/>
                    </a:lnTo>
                    <a:lnTo>
                      <a:pt x="288" y="887"/>
                    </a:lnTo>
                    <a:lnTo>
                      <a:pt x="291" y="889"/>
                    </a:lnTo>
                    <a:lnTo>
                      <a:pt x="293" y="889"/>
                    </a:lnTo>
                    <a:lnTo>
                      <a:pt x="293" y="890"/>
                    </a:lnTo>
                    <a:lnTo>
                      <a:pt x="294" y="892"/>
                    </a:lnTo>
                    <a:lnTo>
                      <a:pt x="294" y="895"/>
                    </a:lnTo>
                    <a:lnTo>
                      <a:pt x="294" y="900"/>
                    </a:lnTo>
                    <a:lnTo>
                      <a:pt x="293" y="905"/>
                    </a:lnTo>
                    <a:lnTo>
                      <a:pt x="293" y="909"/>
                    </a:lnTo>
                    <a:lnTo>
                      <a:pt x="293" y="912"/>
                    </a:lnTo>
                    <a:lnTo>
                      <a:pt x="291" y="912"/>
                    </a:lnTo>
                    <a:lnTo>
                      <a:pt x="289" y="916"/>
                    </a:lnTo>
                    <a:lnTo>
                      <a:pt x="288" y="917"/>
                    </a:lnTo>
                    <a:lnTo>
                      <a:pt x="286" y="919"/>
                    </a:lnTo>
                    <a:lnTo>
                      <a:pt x="286" y="920"/>
                    </a:lnTo>
                    <a:lnTo>
                      <a:pt x="286" y="922"/>
                    </a:lnTo>
                    <a:lnTo>
                      <a:pt x="286" y="924"/>
                    </a:lnTo>
                    <a:lnTo>
                      <a:pt x="285" y="925"/>
                    </a:lnTo>
                    <a:lnTo>
                      <a:pt x="282" y="928"/>
                    </a:lnTo>
                    <a:lnTo>
                      <a:pt x="280" y="930"/>
                    </a:lnTo>
                    <a:lnTo>
                      <a:pt x="280" y="931"/>
                    </a:lnTo>
                    <a:lnTo>
                      <a:pt x="278" y="935"/>
                    </a:lnTo>
                    <a:lnTo>
                      <a:pt x="277" y="936"/>
                    </a:lnTo>
                    <a:lnTo>
                      <a:pt x="275" y="938"/>
                    </a:lnTo>
                    <a:lnTo>
                      <a:pt x="274" y="939"/>
                    </a:lnTo>
                    <a:lnTo>
                      <a:pt x="272" y="941"/>
                    </a:lnTo>
                    <a:lnTo>
                      <a:pt x="270" y="943"/>
                    </a:lnTo>
                    <a:lnTo>
                      <a:pt x="272" y="944"/>
                    </a:lnTo>
                    <a:lnTo>
                      <a:pt x="274" y="947"/>
                    </a:lnTo>
                    <a:lnTo>
                      <a:pt x="274" y="950"/>
                    </a:lnTo>
                    <a:lnTo>
                      <a:pt x="275" y="952"/>
                    </a:lnTo>
                    <a:lnTo>
                      <a:pt x="277" y="955"/>
                    </a:lnTo>
                    <a:lnTo>
                      <a:pt x="277" y="957"/>
                    </a:lnTo>
                    <a:lnTo>
                      <a:pt x="277" y="958"/>
                    </a:lnTo>
                    <a:lnTo>
                      <a:pt x="277" y="960"/>
                    </a:lnTo>
                    <a:lnTo>
                      <a:pt x="277" y="962"/>
                    </a:lnTo>
                    <a:lnTo>
                      <a:pt x="277" y="963"/>
                    </a:lnTo>
                    <a:lnTo>
                      <a:pt x="275" y="963"/>
                    </a:lnTo>
                    <a:lnTo>
                      <a:pt x="274" y="963"/>
                    </a:lnTo>
                    <a:lnTo>
                      <a:pt x="272" y="963"/>
                    </a:lnTo>
                    <a:lnTo>
                      <a:pt x="270" y="963"/>
                    </a:lnTo>
                    <a:lnTo>
                      <a:pt x="269" y="963"/>
                    </a:lnTo>
                    <a:lnTo>
                      <a:pt x="267" y="963"/>
                    </a:lnTo>
                    <a:lnTo>
                      <a:pt x="266" y="963"/>
                    </a:lnTo>
                    <a:lnTo>
                      <a:pt x="264" y="963"/>
                    </a:lnTo>
                    <a:lnTo>
                      <a:pt x="263" y="962"/>
                    </a:lnTo>
                    <a:lnTo>
                      <a:pt x="261" y="962"/>
                    </a:lnTo>
                    <a:lnTo>
                      <a:pt x="259" y="962"/>
                    </a:lnTo>
                    <a:lnTo>
                      <a:pt x="258" y="962"/>
                    </a:lnTo>
                    <a:lnTo>
                      <a:pt x="256" y="962"/>
                    </a:lnTo>
                    <a:lnTo>
                      <a:pt x="255" y="962"/>
                    </a:lnTo>
                    <a:lnTo>
                      <a:pt x="253" y="960"/>
                    </a:lnTo>
                    <a:lnTo>
                      <a:pt x="251" y="960"/>
                    </a:lnTo>
                    <a:lnTo>
                      <a:pt x="248" y="960"/>
                    </a:lnTo>
                    <a:lnTo>
                      <a:pt x="247" y="958"/>
                    </a:lnTo>
                    <a:lnTo>
                      <a:pt x="245" y="958"/>
                    </a:lnTo>
                    <a:lnTo>
                      <a:pt x="242" y="958"/>
                    </a:lnTo>
                    <a:lnTo>
                      <a:pt x="239" y="957"/>
                    </a:lnTo>
                    <a:lnTo>
                      <a:pt x="237" y="955"/>
                    </a:lnTo>
                    <a:lnTo>
                      <a:pt x="234" y="955"/>
                    </a:lnTo>
                    <a:lnTo>
                      <a:pt x="232" y="955"/>
                    </a:lnTo>
                    <a:lnTo>
                      <a:pt x="231" y="954"/>
                    </a:lnTo>
                    <a:lnTo>
                      <a:pt x="229" y="954"/>
                    </a:lnTo>
                    <a:lnTo>
                      <a:pt x="229" y="955"/>
                    </a:lnTo>
                    <a:lnTo>
                      <a:pt x="228" y="955"/>
                    </a:lnTo>
                    <a:lnTo>
                      <a:pt x="226" y="955"/>
                    </a:lnTo>
                    <a:lnTo>
                      <a:pt x="226" y="957"/>
                    </a:lnTo>
                    <a:lnTo>
                      <a:pt x="224" y="957"/>
                    </a:lnTo>
                    <a:lnTo>
                      <a:pt x="224" y="958"/>
                    </a:lnTo>
                    <a:lnTo>
                      <a:pt x="223" y="960"/>
                    </a:lnTo>
                    <a:lnTo>
                      <a:pt x="224" y="965"/>
                    </a:lnTo>
                    <a:lnTo>
                      <a:pt x="224" y="966"/>
                    </a:lnTo>
                    <a:lnTo>
                      <a:pt x="226" y="969"/>
                    </a:lnTo>
                    <a:lnTo>
                      <a:pt x="226" y="973"/>
                    </a:lnTo>
                    <a:lnTo>
                      <a:pt x="228" y="976"/>
                    </a:lnTo>
                    <a:lnTo>
                      <a:pt x="229" y="977"/>
                    </a:lnTo>
                    <a:lnTo>
                      <a:pt x="229" y="981"/>
                    </a:lnTo>
                    <a:lnTo>
                      <a:pt x="231" y="982"/>
                    </a:lnTo>
                    <a:lnTo>
                      <a:pt x="232" y="985"/>
                    </a:lnTo>
                    <a:lnTo>
                      <a:pt x="234" y="989"/>
                    </a:lnTo>
                    <a:lnTo>
                      <a:pt x="236" y="992"/>
                    </a:lnTo>
                    <a:lnTo>
                      <a:pt x="236" y="996"/>
                    </a:lnTo>
                    <a:lnTo>
                      <a:pt x="237" y="998"/>
                    </a:lnTo>
                    <a:lnTo>
                      <a:pt x="237" y="1001"/>
                    </a:lnTo>
                    <a:lnTo>
                      <a:pt x="236" y="1003"/>
                    </a:lnTo>
                    <a:lnTo>
                      <a:pt x="236" y="1004"/>
                    </a:lnTo>
                    <a:lnTo>
                      <a:pt x="236" y="1008"/>
                    </a:lnTo>
                    <a:lnTo>
                      <a:pt x="236" y="1009"/>
                    </a:lnTo>
                    <a:lnTo>
                      <a:pt x="236" y="1011"/>
                    </a:lnTo>
                    <a:lnTo>
                      <a:pt x="237" y="1014"/>
                    </a:lnTo>
                    <a:lnTo>
                      <a:pt x="237" y="1015"/>
                    </a:lnTo>
                    <a:lnTo>
                      <a:pt x="236" y="1020"/>
                    </a:lnTo>
                    <a:lnTo>
                      <a:pt x="236" y="1023"/>
                    </a:lnTo>
                    <a:lnTo>
                      <a:pt x="236" y="1027"/>
                    </a:lnTo>
                    <a:lnTo>
                      <a:pt x="236" y="1031"/>
                    </a:lnTo>
                    <a:lnTo>
                      <a:pt x="236" y="1033"/>
                    </a:lnTo>
                    <a:lnTo>
                      <a:pt x="234" y="1036"/>
                    </a:lnTo>
                    <a:lnTo>
                      <a:pt x="232" y="1039"/>
                    </a:lnTo>
                    <a:lnTo>
                      <a:pt x="231" y="1042"/>
                    </a:lnTo>
                    <a:lnTo>
                      <a:pt x="229" y="1044"/>
                    </a:lnTo>
                    <a:lnTo>
                      <a:pt x="228" y="1046"/>
                    </a:lnTo>
                    <a:lnTo>
                      <a:pt x="226" y="1047"/>
                    </a:lnTo>
                    <a:lnTo>
                      <a:pt x="221" y="1050"/>
                    </a:lnTo>
                    <a:lnTo>
                      <a:pt x="220" y="1050"/>
                    </a:lnTo>
                    <a:lnTo>
                      <a:pt x="218" y="1052"/>
                    </a:lnTo>
                    <a:lnTo>
                      <a:pt x="217" y="1053"/>
                    </a:lnTo>
                    <a:lnTo>
                      <a:pt x="213" y="1057"/>
                    </a:lnTo>
                    <a:lnTo>
                      <a:pt x="210" y="1058"/>
                    </a:lnTo>
                    <a:lnTo>
                      <a:pt x="209" y="1060"/>
                    </a:lnTo>
                    <a:lnTo>
                      <a:pt x="207" y="1061"/>
                    </a:lnTo>
                    <a:lnTo>
                      <a:pt x="207" y="1063"/>
                    </a:lnTo>
                    <a:lnTo>
                      <a:pt x="209" y="1066"/>
                    </a:lnTo>
                    <a:lnTo>
                      <a:pt x="209" y="1068"/>
                    </a:lnTo>
                    <a:lnTo>
                      <a:pt x="209" y="1069"/>
                    </a:lnTo>
                    <a:lnTo>
                      <a:pt x="210" y="1069"/>
                    </a:lnTo>
                    <a:lnTo>
                      <a:pt x="212" y="1069"/>
                    </a:lnTo>
                    <a:lnTo>
                      <a:pt x="213" y="1069"/>
                    </a:lnTo>
                    <a:lnTo>
                      <a:pt x="218" y="1069"/>
                    </a:lnTo>
                    <a:lnTo>
                      <a:pt x="220" y="1071"/>
                    </a:lnTo>
                    <a:lnTo>
                      <a:pt x="223" y="1072"/>
                    </a:lnTo>
                    <a:lnTo>
                      <a:pt x="226" y="1074"/>
                    </a:lnTo>
                    <a:lnTo>
                      <a:pt x="228" y="1076"/>
                    </a:lnTo>
                    <a:lnTo>
                      <a:pt x="229" y="1076"/>
                    </a:lnTo>
                    <a:lnTo>
                      <a:pt x="232" y="1079"/>
                    </a:lnTo>
                    <a:lnTo>
                      <a:pt x="234" y="1080"/>
                    </a:lnTo>
                    <a:lnTo>
                      <a:pt x="236" y="1082"/>
                    </a:lnTo>
                    <a:lnTo>
                      <a:pt x="237" y="1082"/>
                    </a:lnTo>
                    <a:lnTo>
                      <a:pt x="237" y="1084"/>
                    </a:lnTo>
                    <a:lnTo>
                      <a:pt x="237" y="1085"/>
                    </a:lnTo>
                    <a:lnTo>
                      <a:pt x="237" y="1088"/>
                    </a:lnTo>
                    <a:lnTo>
                      <a:pt x="236" y="1090"/>
                    </a:lnTo>
                    <a:lnTo>
                      <a:pt x="236" y="1093"/>
                    </a:lnTo>
                    <a:lnTo>
                      <a:pt x="236" y="1096"/>
                    </a:lnTo>
                    <a:lnTo>
                      <a:pt x="236" y="1098"/>
                    </a:lnTo>
                    <a:lnTo>
                      <a:pt x="234" y="1099"/>
                    </a:lnTo>
                    <a:lnTo>
                      <a:pt x="232" y="1103"/>
                    </a:lnTo>
                    <a:lnTo>
                      <a:pt x="231" y="1106"/>
                    </a:lnTo>
                    <a:lnTo>
                      <a:pt x="231" y="1109"/>
                    </a:lnTo>
                    <a:lnTo>
                      <a:pt x="229" y="1111"/>
                    </a:lnTo>
                    <a:lnTo>
                      <a:pt x="229" y="1112"/>
                    </a:lnTo>
                    <a:lnTo>
                      <a:pt x="228" y="1115"/>
                    </a:lnTo>
                    <a:lnTo>
                      <a:pt x="224" y="1118"/>
                    </a:lnTo>
                    <a:lnTo>
                      <a:pt x="223" y="1120"/>
                    </a:lnTo>
                    <a:lnTo>
                      <a:pt x="220" y="1123"/>
                    </a:lnTo>
                    <a:lnTo>
                      <a:pt x="218" y="1125"/>
                    </a:lnTo>
                    <a:lnTo>
                      <a:pt x="217" y="1125"/>
                    </a:lnTo>
                    <a:lnTo>
                      <a:pt x="215" y="1128"/>
                    </a:lnTo>
                    <a:lnTo>
                      <a:pt x="215" y="1131"/>
                    </a:lnTo>
                    <a:lnTo>
                      <a:pt x="213" y="1131"/>
                    </a:lnTo>
                    <a:lnTo>
                      <a:pt x="213" y="1133"/>
                    </a:lnTo>
                    <a:lnTo>
                      <a:pt x="213" y="1134"/>
                    </a:lnTo>
                    <a:lnTo>
                      <a:pt x="210" y="1134"/>
                    </a:lnTo>
                    <a:lnTo>
                      <a:pt x="209" y="1134"/>
                    </a:lnTo>
                    <a:lnTo>
                      <a:pt x="205" y="1134"/>
                    </a:lnTo>
                    <a:lnTo>
                      <a:pt x="204" y="1136"/>
                    </a:lnTo>
                    <a:lnTo>
                      <a:pt x="201" y="1136"/>
                    </a:lnTo>
                    <a:lnTo>
                      <a:pt x="201" y="1137"/>
                    </a:lnTo>
                    <a:lnTo>
                      <a:pt x="199" y="1141"/>
                    </a:lnTo>
                    <a:lnTo>
                      <a:pt x="199" y="1147"/>
                    </a:lnTo>
                    <a:lnTo>
                      <a:pt x="201" y="1156"/>
                    </a:lnTo>
                    <a:lnTo>
                      <a:pt x="201" y="1168"/>
                    </a:lnTo>
                    <a:lnTo>
                      <a:pt x="199" y="1179"/>
                    </a:lnTo>
                    <a:lnTo>
                      <a:pt x="199" y="1191"/>
                    </a:lnTo>
                    <a:lnTo>
                      <a:pt x="201" y="1202"/>
                    </a:lnTo>
                    <a:lnTo>
                      <a:pt x="201" y="1212"/>
                    </a:lnTo>
                    <a:lnTo>
                      <a:pt x="198" y="1214"/>
                    </a:lnTo>
                    <a:lnTo>
                      <a:pt x="190" y="1218"/>
                    </a:lnTo>
                    <a:lnTo>
                      <a:pt x="186" y="1218"/>
                    </a:lnTo>
                    <a:lnTo>
                      <a:pt x="183" y="1220"/>
                    </a:lnTo>
                    <a:lnTo>
                      <a:pt x="174" y="1221"/>
                    </a:lnTo>
                    <a:lnTo>
                      <a:pt x="166" y="1225"/>
                    </a:lnTo>
                    <a:lnTo>
                      <a:pt x="164" y="1228"/>
                    </a:lnTo>
                    <a:lnTo>
                      <a:pt x="161" y="1228"/>
                    </a:lnTo>
                    <a:lnTo>
                      <a:pt x="156" y="1225"/>
                    </a:lnTo>
                    <a:lnTo>
                      <a:pt x="150" y="1225"/>
                    </a:lnTo>
                    <a:lnTo>
                      <a:pt x="147" y="1228"/>
                    </a:lnTo>
                    <a:lnTo>
                      <a:pt x="142" y="1236"/>
                    </a:lnTo>
                    <a:lnTo>
                      <a:pt x="137" y="1242"/>
                    </a:lnTo>
                    <a:lnTo>
                      <a:pt x="133" y="1245"/>
                    </a:lnTo>
                    <a:lnTo>
                      <a:pt x="128" y="1247"/>
                    </a:lnTo>
                    <a:lnTo>
                      <a:pt x="123" y="1245"/>
                    </a:lnTo>
                    <a:lnTo>
                      <a:pt x="120" y="1239"/>
                    </a:lnTo>
                    <a:lnTo>
                      <a:pt x="117" y="1233"/>
                    </a:lnTo>
                    <a:lnTo>
                      <a:pt x="112" y="1228"/>
                    </a:lnTo>
                    <a:lnTo>
                      <a:pt x="104" y="1223"/>
                    </a:lnTo>
                    <a:lnTo>
                      <a:pt x="99" y="1223"/>
                    </a:lnTo>
                    <a:lnTo>
                      <a:pt x="95" y="1229"/>
                    </a:lnTo>
                    <a:lnTo>
                      <a:pt x="93" y="1240"/>
                    </a:lnTo>
                    <a:lnTo>
                      <a:pt x="91" y="1248"/>
                    </a:lnTo>
                    <a:lnTo>
                      <a:pt x="91" y="1252"/>
                    </a:lnTo>
                    <a:lnTo>
                      <a:pt x="88" y="1252"/>
                    </a:lnTo>
                    <a:lnTo>
                      <a:pt x="87" y="1247"/>
                    </a:lnTo>
                    <a:lnTo>
                      <a:pt x="82" y="1242"/>
                    </a:lnTo>
                    <a:lnTo>
                      <a:pt x="79" y="1240"/>
                    </a:lnTo>
                    <a:lnTo>
                      <a:pt x="77" y="1239"/>
                    </a:lnTo>
                    <a:lnTo>
                      <a:pt x="74" y="1245"/>
                    </a:lnTo>
                    <a:lnTo>
                      <a:pt x="72" y="1252"/>
                    </a:lnTo>
                    <a:lnTo>
                      <a:pt x="71" y="1253"/>
                    </a:lnTo>
                    <a:lnTo>
                      <a:pt x="68" y="1248"/>
                    </a:lnTo>
                    <a:lnTo>
                      <a:pt x="66" y="1242"/>
                    </a:lnTo>
                    <a:lnTo>
                      <a:pt x="66" y="1234"/>
                    </a:lnTo>
                    <a:lnTo>
                      <a:pt x="63" y="1226"/>
                    </a:lnTo>
                    <a:lnTo>
                      <a:pt x="58" y="1218"/>
                    </a:lnTo>
                    <a:lnTo>
                      <a:pt x="57" y="1214"/>
                    </a:lnTo>
                    <a:lnTo>
                      <a:pt x="58" y="1209"/>
                    </a:lnTo>
                    <a:lnTo>
                      <a:pt x="57" y="1201"/>
                    </a:lnTo>
                    <a:lnTo>
                      <a:pt x="57" y="1193"/>
                    </a:lnTo>
                    <a:lnTo>
                      <a:pt x="57" y="1188"/>
                    </a:lnTo>
                    <a:lnTo>
                      <a:pt x="60" y="1182"/>
                    </a:lnTo>
                    <a:lnTo>
                      <a:pt x="65" y="1177"/>
                    </a:lnTo>
                    <a:lnTo>
                      <a:pt x="71" y="1169"/>
                    </a:lnTo>
                    <a:lnTo>
                      <a:pt x="76" y="1160"/>
                    </a:lnTo>
                    <a:lnTo>
                      <a:pt x="80" y="1153"/>
                    </a:lnTo>
                    <a:lnTo>
                      <a:pt x="80" y="1150"/>
                    </a:lnTo>
                    <a:lnTo>
                      <a:pt x="85" y="1145"/>
                    </a:lnTo>
                    <a:lnTo>
                      <a:pt x="87" y="1139"/>
                    </a:lnTo>
                    <a:lnTo>
                      <a:pt x="84" y="1131"/>
                    </a:lnTo>
                    <a:lnTo>
                      <a:pt x="79" y="1126"/>
                    </a:lnTo>
                    <a:lnTo>
                      <a:pt x="74" y="1123"/>
                    </a:lnTo>
                    <a:lnTo>
                      <a:pt x="71" y="1125"/>
                    </a:lnTo>
                    <a:lnTo>
                      <a:pt x="68" y="1125"/>
                    </a:lnTo>
                    <a:lnTo>
                      <a:pt x="65" y="1125"/>
                    </a:lnTo>
                    <a:lnTo>
                      <a:pt x="61" y="1123"/>
                    </a:lnTo>
                    <a:lnTo>
                      <a:pt x="58" y="1120"/>
                    </a:lnTo>
                    <a:lnTo>
                      <a:pt x="57" y="1114"/>
                    </a:lnTo>
                    <a:lnTo>
                      <a:pt x="52" y="1106"/>
                    </a:lnTo>
                    <a:lnTo>
                      <a:pt x="50" y="1098"/>
                    </a:lnTo>
                    <a:lnTo>
                      <a:pt x="50" y="1092"/>
                    </a:lnTo>
                    <a:lnTo>
                      <a:pt x="50" y="1085"/>
                    </a:lnTo>
                    <a:lnTo>
                      <a:pt x="50" y="1082"/>
                    </a:lnTo>
                    <a:lnTo>
                      <a:pt x="50" y="1080"/>
                    </a:lnTo>
                    <a:lnTo>
                      <a:pt x="52" y="1079"/>
                    </a:lnTo>
                    <a:lnTo>
                      <a:pt x="53" y="1080"/>
                    </a:lnTo>
                    <a:lnTo>
                      <a:pt x="57" y="1080"/>
                    </a:lnTo>
                    <a:lnTo>
                      <a:pt x="61" y="1087"/>
                    </a:lnTo>
                    <a:lnTo>
                      <a:pt x="65" y="1090"/>
                    </a:lnTo>
                    <a:lnTo>
                      <a:pt x="66" y="1090"/>
                    </a:lnTo>
                    <a:lnTo>
                      <a:pt x="68" y="1087"/>
                    </a:lnTo>
                    <a:lnTo>
                      <a:pt x="71" y="1085"/>
                    </a:lnTo>
                    <a:lnTo>
                      <a:pt x="77" y="1085"/>
                    </a:lnTo>
                    <a:lnTo>
                      <a:pt x="82" y="1088"/>
                    </a:lnTo>
                    <a:lnTo>
                      <a:pt x="88" y="1090"/>
                    </a:lnTo>
                    <a:lnTo>
                      <a:pt x="91" y="1085"/>
                    </a:lnTo>
                    <a:lnTo>
                      <a:pt x="98" y="1079"/>
                    </a:lnTo>
                    <a:lnTo>
                      <a:pt x="103" y="1074"/>
                    </a:lnTo>
                    <a:lnTo>
                      <a:pt x="106" y="1074"/>
                    </a:lnTo>
                    <a:lnTo>
                      <a:pt x="110" y="1072"/>
                    </a:lnTo>
                    <a:lnTo>
                      <a:pt x="118" y="1074"/>
                    </a:lnTo>
                    <a:lnTo>
                      <a:pt x="125" y="1076"/>
                    </a:lnTo>
                    <a:lnTo>
                      <a:pt x="125" y="1077"/>
                    </a:lnTo>
                    <a:lnTo>
                      <a:pt x="125" y="1076"/>
                    </a:lnTo>
                    <a:lnTo>
                      <a:pt x="123" y="1076"/>
                    </a:lnTo>
                    <a:lnTo>
                      <a:pt x="123" y="1074"/>
                    </a:lnTo>
                    <a:lnTo>
                      <a:pt x="122" y="1074"/>
                    </a:lnTo>
                    <a:lnTo>
                      <a:pt x="122" y="1072"/>
                    </a:lnTo>
                    <a:lnTo>
                      <a:pt x="120" y="1072"/>
                    </a:lnTo>
                    <a:lnTo>
                      <a:pt x="118" y="1072"/>
                    </a:lnTo>
                    <a:lnTo>
                      <a:pt x="117" y="1072"/>
                    </a:lnTo>
                    <a:lnTo>
                      <a:pt x="115" y="1072"/>
                    </a:lnTo>
                    <a:lnTo>
                      <a:pt x="114" y="1072"/>
                    </a:lnTo>
                    <a:lnTo>
                      <a:pt x="114" y="1071"/>
                    </a:lnTo>
                    <a:lnTo>
                      <a:pt x="115" y="1071"/>
                    </a:lnTo>
                    <a:lnTo>
                      <a:pt x="115" y="1069"/>
                    </a:lnTo>
                    <a:lnTo>
                      <a:pt x="117" y="1069"/>
                    </a:lnTo>
                    <a:lnTo>
                      <a:pt x="118" y="1069"/>
                    </a:lnTo>
                    <a:lnTo>
                      <a:pt x="118" y="1068"/>
                    </a:lnTo>
                    <a:lnTo>
                      <a:pt x="120" y="1068"/>
                    </a:lnTo>
                    <a:lnTo>
                      <a:pt x="122" y="1068"/>
                    </a:lnTo>
                    <a:lnTo>
                      <a:pt x="120" y="1068"/>
                    </a:lnTo>
                    <a:lnTo>
                      <a:pt x="120" y="1066"/>
                    </a:lnTo>
                    <a:lnTo>
                      <a:pt x="118" y="1066"/>
                    </a:lnTo>
                    <a:lnTo>
                      <a:pt x="117" y="1066"/>
                    </a:lnTo>
                    <a:lnTo>
                      <a:pt x="115" y="1066"/>
                    </a:lnTo>
                    <a:lnTo>
                      <a:pt x="114" y="1066"/>
                    </a:lnTo>
                    <a:lnTo>
                      <a:pt x="112" y="1065"/>
                    </a:lnTo>
                    <a:lnTo>
                      <a:pt x="110" y="1065"/>
                    </a:lnTo>
                    <a:lnTo>
                      <a:pt x="109" y="1065"/>
                    </a:lnTo>
                    <a:lnTo>
                      <a:pt x="107" y="1065"/>
                    </a:lnTo>
                    <a:lnTo>
                      <a:pt x="106" y="1065"/>
                    </a:lnTo>
                    <a:lnTo>
                      <a:pt x="107" y="1063"/>
                    </a:lnTo>
                    <a:lnTo>
                      <a:pt x="107" y="1061"/>
                    </a:lnTo>
                    <a:lnTo>
                      <a:pt x="109" y="1060"/>
                    </a:lnTo>
                    <a:lnTo>
                      <a:pt x="109" y="1058"/>
                    </a:lnTo>
                    <a:lnTo>
                      <a:pt x="110" y="1057"/>
                    </a:lnTo>
                    <a:lnTo>
                      <a:pt x="109" y="1057"/>
                    </a:lnTo>
                    <a:lnTo>
                      <a:pt x="107" y="1057"/>
                    </a:lnTo>
                    <a:lnTo>
                      <a:pt x="107" y="1055"/>
                    </a:lnTo>
                    <a:lnTo>
                      <a:pt x="109" y="1055"/>
                    </a:lnTo>
                    <a:lnTo>
                      <a:pt x="107" y="1055"/>
                    </a:lnTo>
                    <a:lnTo>
                      <a:pt x="106" y="1055"/>
                    </a:lnTo>
                    <a:lnTo>
                      <a:pt x="106" y="1053"/>
                    </a:lnTo>
                    <a:lnTo>
                      <a:pt x="107" y="1053"/>
                    </a:lnTo>
                    <a:lnTo>
                      <a:pt x="107" y="1052"/>
                    </a:lnTo>
                    <a:lnTo>
                      <a:pt x="109" y="1050"/>
                    </a:lnTo>
                    <a:lnTo>
                      <a:pt x="107" y="1050"/>
                    </a:lnTo>
                    <a:lnTo>
                      <a:pt x="107" y="1049"/>
                    </a:lnTo>
                    <a:lnTo>
                      <a:pt x="109" y="1049"/>
                    </a:lnTo>
                    <a:lnTo>
                      <a:pt x="107" y="1049"/>
                    </a:lnTo>
                    <a:lnTo>
                      <a:pt x="106" y="1047"/>
                    </a:lnTo>
                    <a:lnTo>
                      <a:pt x="106" y="1049"/>
                    </a:lnTo>
                    <a:lnTo>
                      <a:pt x="106" y="1047"/>
                    </a:lnTo>
                    <a:lnTo>
                      <a:pt x="104" y="1047"/>
                    </a:lnTo>
                    <a:lnTo>
                      <a:pt x="104" y="1049"/>
                    </a:lnTo>
                    <a:lnTo>
                      <a:pt x="103" y="1047"/>
                    </a:lnTo>
                    <a:lnTo>
                      <a:pt x="103" y="1049"/>
                    </a:lnTo>
                    <a:lnTo>
                      <a:pt x="103" y="1047"/>
                    </a:lnTo>
                    <a:lnTo>
                      <a:pt x="101" y="1047"/>
                    </a:lnTo>
                    <a:lnTo>
                      <a:pt x="99" y="1046"/>
                    </a:lnTo>
                    <a:lnTo>
                      <a:pt x="98" y="1046"/>
                    </a:lnTo>
                    <a:lnTo>
                      <a:pt x="98" y="1044"/>
                    </a:lnTo>
                    <a:lnTo>
                      <a:pt x="96" y="1044"/>
                    </a:lnTo>
                    <a:lnTo>
                      <a:pt x="95" y="1042"/>
                    </a:lnTo>
                    <a:lnTo>
                      <a:pt x="93" y="1042"/>
                    </a:lnTo>
                    <a:lnTo>
                      <a:pt x="93" y="1041"/>
                    </a:lnTo>
                    <a:lnTo>
                      <a:pt x="91" y="1041"/>
                    </a:lnTo>
                    <a:lnTo>
                      <a:pt x="91" y="1042"/>
                    </a:lnTo>
                    <a:lnTo>
                      <a:pt x="91" y="1044"/>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52" name="Freeform 50"/>
              <p:cNvSpPr>
                <a:spLocks/>
              </p:cNvSpPr>
              <p:nvPr/>
            </p:nvSpPr>
            <p:spPr bwMode="auto">
              <a:xfrm>
                <a:off x="2764" y="1963"/>
                <a:ext cx="548" cy="274"/>
              </a:xfrm>
              <a:custGeom>
                <a:avLst/>
                <a:gdLst>
                  <a:gd name="T0" fmla="*/ 530 w 548"/>
                  <a:gd name="T1" fmla="*/ 266 h 274"/>
                  <a:gd name="T2" fmla="*/ 516 w 548"/>
                  <a:gd name="T3" fmla="*/ 263 h 274"/>
                  <a:gd name="T4" fmla="*/ 518 w 548"/>
                  <a:gd name="T5" fmla="*/ 249 h 274"/>
                  <a:gd name="T6" fmla="*/ 532 w 548"/>
                  <a:gd name="T7" fmla="*/ 245 h 274"/>
                  <a:gd name="T8" fmla="*/ 538 w 548"/>
                  <a:gd name="T9" fmla="*/ 230 h 274"/>
                  <a:gd name="T10" fmla="*/ 541 w 548"/>
                  <a:gd name="T11" fmla="*/ 209 h 274"/>
                  <a:gd name="T12" fmla="*/ 546 w 548"/>
                  <a:gd name="T13" fmla="*/ 187 h 274"/>
                  <a:gd name="T14" fmla="*/ 532 w 548"/>
                  <a:gd name="T15" fmla="*/ 174 h 274"/>
                  <a:gd name="T16" fmla="*/ 521 w 548"/>
                  <a:gd name="T17" fmla="*/ 180 h 274"/>
                  <a:gd name="T18" fmla="*/ 505 w 548"/>
                  <a:gd name="T19" fmla="*/ 188 h 274"/>
                  <a:gd name="T20" fmla="*/ 492 w 548"/>
                  <a:gd name="T21" fmla="*/ 206 h 274"/>
                  <a:gd name="T22" fmla="*/ 486 w 548"/>
                  <a:gd name="T23" fmla="*/ 219 h 274"/>
                  <a:gd name="T24" fmla="*/ 475 w 548"/>
                  <a:gd name="T25" fmla="*/ 231 h 274"/>
                  <a:gd name="T26" fmla="*/ 464 w 548"/>
                  <a:gd name="T27" fmla="*/ 241 h 274"/>
                  <a:gd name="T28" fmla="*/ 450 w 548"/>
                  <a:gd name="T29" fmla="*/ 241 h 274"/>
                  <a:gd name="T30" fmla="*/ 442 w 548"/>
                  <a:gd name="T31" fmla="*/ 226 h 274"/>
                  <a:gd name="T32" fmla="*/ 448 w 548"/>
                  <a:gd name="T33" fmla="*/ 212 h 274"/>
                  <a:gd name="T34" fmla="*/ 438 w 548"/>
                  <a:gd name="T35" fmla="*/ 201 h 274"/>
                  <a:gd name="T36" fmla="*/ 427 w 548"/>
                  <a:gd name="T37" fmla="*/ 187 h 274"/>
                  <a:gd name="T38" fmla="*/ 413 w 548"/>
                  <a:gd name="T39" fmla="*/ 193 h 274"/>
                  <a:gd name="T40" fmla="*/ 404 w 548"/>
                  <a:gd name="T41" fmla="*/ 195 h 274"/>
                  <a:gd name="T42" fmla="*/ 388 w 548"/>
                  <a:gd name="T43" fmla="*/ 188 h 274"/>
                  <a:gd name="T44" fmla="*/ 375 w 548"/>
                  <a:gd name="T45" fmla="*/ 177 h 274"/>
                  <a:gd name="T46" fmla="*/ 370 w 548"/>
                  <a:gd name="T47" fmla="*/ 157 h 274"/>
                  <a:gd name="T48" fmla="*/ 369 w 548"/>
                  <a:gd name="T49" fmla="*/ 138 h 274"/>
                  <a:gd name="T50" fmla="*/ 362 w 548"/>
                  <a:gd name="T51" fmla="*/ 119 h 274"/>
                  <a:gd name="T52" fmla="*/ 345 w 548"/>
                  <a:gd name="T53" fmla="*/ 114 h 274"/>
                  <a:gd name="T54" fmla="*/ 328 w 548"/>
                  <a:gd name="T55" fmla="*/ 104 h 274"/>
                  <a:gd name="T56" fmla="*/ 339 w 548"/>
                  <a:gd name="T57" fmla="*/ 98 h 274"/>
                  <a:gd name="T58" fmla="*/ 359 w 548"/>
                  <a:gd name="T59" fmla="*/ 90 h 274"/>
                  <a:gd name="T60" fmla="*/ 374 w 548"/>
                  <a:gd name="T61" fmla="*/ 81 h 274"/>
                  <a:gd name="T62" fmla="*/ 380 w 548"/>
                  <a:gd name="T63" fmla="*/ 70 h 274"/>
                  <a:gd name="T64" fmla="*/ 378 w 548"/>
                  <a:gd name="T65" fmla="*/ 47 h 274"/>
                  <a:gd name="T66" fmla="*/ 386 w 548"/>
                  <a:gd name="T67" fmla="*/ 30 h 274"/>
                  <a:gd name="T68" fmla="*/ 375 w 548"/>
                  <a:gd name="T69" fmla="*/ 6 h 274"/>
                  <a:gd name="T70" fmla="*/ 355 w 548"/>
                  <a:gd name="T71" fmla="*/ 3 h 274"/>
                  <a:gd name="T72" fmla="*/ 337 w 548"/>
                  <a:gd name="T73" fmla="*/ 3 h 274"/>
                  <a:gd name="T74" fmla="*/ 318 w 548"/>
                  <a:gd name="T75" fmla="*/ 1 h 274"/>
                  <a:gd name="T76" fmla="*/ 294 w 548"/>
                  <a:gd name="T77" fmla="*/ 5 h 274"/>
                  <a:gd name="T78" fmla="*/ 274 w 548"/>
                  <a:gd name="T79" fmla="*/ 6 h 274"/>
                  <a:gd name="T80" fmla="*/ 272 w 548"/>
                  <a:gd name="T81" fmla="*/ 27 h 274"/>
                  <a:gd name="T82" fmla="*/ 267 w 548"/>
                  <a:gd name="T83" fmla="*/ 43 h 274"/>
                  <a:gd name="T84" fmla="*/ 261 w 548"/>
                  <a:gd name="T85" fmla="*/ 57 h 274"/>
                  <a:gd name="T86" fmla="*/ 248 w 548"/>
                  <a:gd name="T87" fmla="*/ 71 h 274"/>
                  <a:gd name="T88" fmla="*/ 233 w 548"/>
                  <a:gd name="T89" fmla="*/ 71 h 274"/>
                  <a:gd name="T90" fmla="*/ 223 w 548"/>
                  <a:gd name="T91" fmla="*/ 84 h 274"/>
                  <a:gd name="T92" fmla="*/ 206 w 548"/>
                  <a:gd name="T93" fmla="*/ 82 h 274"/>
                  <a:gd name="T94" fmla="*/ 190 w 548"/>
                  <a:gd name="T95" fmla="*/ 93 h 274"/>
                  <a:gd name="T96" fmla="*/ 172 w 548"/>
                  <a:gd name="T97" fmla="*/ 100 h 274"/>
                  <a:gd name="T98" fmla="*/ 160 w 548"/>
                  <a:gd name="T99" fmla="*/ 111 h 274"/>
                  <a:gd name="T100" fmla="*/ 145 w 548"/>
                  <a:gd name="T101" fmla="*/ 122 h 274"/>
                  <a:gd name="T102" fmla="*/ 126 w 548"/>
                  <a:gd name="T103" fmla="*/ 130 h 274"/>
                  <a:gd name="T104" fmla="*/ 112 w 548"/>
                  <a:gd name="T105" fmla="*/ 138 h 274"/>
                  <a:gd name="T106" fmla="*/ 95 w 548"/>
                  <a:gd name="T107" fmla="*/ 138 h 274"/>
                  <a:gd name="T108" fmla="*/ 82 w 548"/>
                  <a:gd name="T109" fmla="*/ 152 h 274"/>
                  <a:gd name="T110" fmla="*/ 63 w 548"/>
                  <a:gd name="T111" fmla="*/ 155 h 274"/>
                  <a:gd name="T112" fmla="*/ 46 w 548"/>
                  <a:gd name="T113" fmla="*/ 160 h 274"/>
                  <a:gd name="T114" fmla="*/ 31 w 548"/>
                  <a:gd name="T115" fmla="*/ 149 h 274"/>
                  <a:gd name="T116" fmla="*/ 16 w 548"/>
                  <a:gd name="T117" fmla="*/ 136 h 274"/>
                  <a:gd name="T118" fmla="*/ 3 w 548"/>
                  <a:gd name="T119" fmla="*/ 12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8" h="274">
                    <a:moveTo>
                      <a:pt x="541" y="274"/>
                    </a:moveTo>
                    <a:lnTo>
                      <a:pt x="540" y="274"/>
                    </a:lnTo>
                    <a:lnTo>
                      <a:pt x="538" y="274"/>
                    </a:lnTo>
                    <a:lnTo>
                      <a:pt x="537" y="274"/>
                    </a:lnTo>
                    <a:lnTo>
                      <a:pt x="535" y="274"/>
                    </a:lnTo>
                    <a:lnTo>
                      <a:pt x="535" y="272"/>
                    </a:lnTo>
                    <a:lnTo>
                      <a:pt x="535" y="271"/>
                    </a:lnTo>
                    <a:lnTo>
                      <a:pt x="537" y="271"/>
                    </a:lnTo>
                    <a:lnTo>
                      <a:pt x="537" y="269"/>
                    </a:lnTo>
                    <a:lnTo>
                      <a:pt x="538" y="269"/>
                    </a:lnTo>
                    <a:lnTo>
                      <a:pt x="537" y="269"/>
                    </a:lnTo>
                    <a:lnTo>
                      <a:pt x="537" y="268"/>
                    </a:lnTo>
                    <a:lnTo>
                      <a:pt x="535" y="268"/>
                    </a:lnTo>
                    <a:lnTo>
                      <a:pt x="534" y="268"/>
                    </a:lnTo>
                    <a:lnTo>
                      <a:pt x="534" y="266"/>
                    </a:lnTo>
                    <a:lnTo>
                      <a:pt x="532" y="266"/>
                    </a:lnTo>
                    <a:lnTo>
                      <a:pt x="530" y="266"/>
                    </a:lnTo>
                    <a:lnTo>
                      <a:pt x="529" y="266"/>
                    </a:lnTo>
                    <a:lnTo>
                      <a:pt x="529" y="268"/>
                    </a:lnTo>
                    <a:lnTo>
                      <a:pt x="527" y="268"/>
                    </a:lnTo>
                    <a:lnTo>
                      <a:pt x="527" y="266"/>
                    </a:lnTo>
                    <a:lnTo>
                      <a:pt x="526" y="266"/>
                    </a:lnTo>
                    <a:lnTo>
                      <a:pt x="524" y="266"/>
                    </a:lnTo>
                    <a:lnTo>
                      <a:pt x="522" y="266"/>
                    </a:lnTo>
                    <a:lnTo>
                      <a:pt x="522" y="268"/>
                    </a:lnTo>
                    <a:lnTo>
                      <a:pt x="521" y="268"/>
                    </a:lnTo>
                    <a:lnTo>
                      <a:pt x="519" y="268"/>
                    </a:lnTo>
                    <a:lnTo>
                      <a:pt x="518" y="268"/>
                    </a:lnTo>
                    <a:lnTo>
                      <a:pt x="518" y="269"/>
                    </a:lnTo>
                    <a:lnTo>
                      <a:pt x="518" y="268"/>
                    </a:lnTo>
                    <a:lnTo>
                      <a:pt x="516" y="268"/>
                    </a:lnTo>
                    <a:lnTo>
                      <a:pt x="516" y="266"/>
                    </a:lnTo>
                    <a:lnTo>
                      <a:pt x="516" y="264"/>
                    </a:lnTo>
                    <a:lnTo>
                      <a:pt x="516" y="263"/>
                    </a:lnTo>
                    <a:lnTo>
                      <a:pt x="515" y="263"/>
                    </a:lnTo>
                    <a:lnTo>
                      <a:pt x="515" y="261"/>
                    </a:lnTo>
                    <a:lnTo>
                      <a:pt x="513" y="261"/>
                    </a:lnTo>
                    <a:lnTo>
                      <a:pt x="511" y="260"/>
                    </a:lnTo>
                    <a:lnTo>
                      <a:pt x="513" y="260"/>
                    </a:lnTo>
                    <a:lnTo>
                      <a:pt x="513" y="258"/>
                    </a:lnTo>
                    <a:lnTo>
                      <a:pt x="515" y="258"/>
                    </a:lnTo>
                    <a:lnTo>
                      <a:pt x="516" y="258"/>
                    </a:lnTo>
                    <a:lnTo>
                      <a:pt x="516" y="257"/>
                    </a:lnTo>
                    <a:lnTo>
                      <a:pt x="516" y="255"/>
                    </a:lnTo>
                    <a:lnTo>
                      <a:pt x="515" y="255"/>
                    </a:lnTo>
                    <a:lnTo>
                      <a:pt x="515" y="253"/>
                    </a:lnTo>
                    <a:lnTo>
                      <a:pt x="515" y="252"/>
                    </a:lnTo>
                    <a:lnTo>
                      <a:pt x="516" y="252"/>
                    </a:lnTo>
                    <a:lnTo>
                      <a:pt x="516" y="250"/>
                    </a:lnTo>
                    <a:lnTo>
                      <a:pt x="518" y="250"/>
                    </a:lnTo>
                    <a:lnTo>
                      <a:pt x="518" y="249"/>
                    </a:lnTo>
                    <a:lnTo>
                      <a:pt x="518" y="247"/>
                    </a:lnTo>
                    <a:lnTo>
                      <a:pt x="519" y="249"/>
                    </a:lnTo>
                    <a:lnTo>
                      <a:pt x="519" y="250"/>
                    </a:lnTo>
                    <a:lnTo>
                      <a:pt x="519" y="252"/>
                    </a:lnTo>
                    <a:lnTo>
                      <a:pt x="521" y="252"/>
                    </a:lnTo>
                    <a:lnTo>
                      <a:pt x="522" y="252"/>
                    </a:lnTo>
                    <a:lnTo>
                      <a:pt x="522" y="250"/>
                    </a:lnTo>
                    <a:lnTo>
                      <a:pt x="524" y="250"/>
                    </a:lnTo>
                    <a:lnTo>
                      <a:pt x="524" y="249"/>
                    </a:lnTo>
                    <a:lnTo>
                      <a:pt x="526" y="247"/>
                    </a:lnTo>
                    <a:lnTo>
                      <a:pt x="526" y="245"/>
                    </a:lnTo>
                    <a:lnTo>
                      <a:pt x="527" y="245"/>
                    </a:lnTo>
                    <a:lnTo>
                      <a:pt x="529" y="245"/>
                    </a:lnTo>
                    <a:lnTo>
                      <a:pt x="529" y="244"/>
                    </a:lnTo>
                    <a:lnTo>
                      <a:pt x="530" y="244"/>
                    </a:lnTo>
                    <a:lnTo>
                      <a:pt x="530" y="245"/>
                    </a:lnTo>
                    <a:lnTo>
                      <a:pt x="532" y="245"/>
                    </a:lnTo>
                    <a:lnTo>
                      <a:pt x="534" y="245"/>
                    </a:lnTo>
                    <a:lnTo>
                      <a:pt x="534" y="244"/>
                    </a:lnTo>
                    <a:lnTo>
                      <a:pt x="534" y="242"/>
                    </a:lnTo>
                    <a:lnTo>
                      <a:pt x="535" y="242"/>
                    </a:lnTo>
                    <a:lnTo>
                      <a:pt x="535" y="241"/>
                    </a:lnTo>
                    <a:lnTo>
                      <a:pt x="537" y="239"/>
                    </a:lnTo>
                    <a:lnTo>
                      <a:pt x="537" y="238"/>
                    </a:lnTo>
                    <a:lnTo>
                      <a:pt x="538" y="238"/>
                    </a:lnTo>
                    <a:lnTo>
                      <a:pt x="538" y="236"/>
                    </a:lnTo>
                    <a:lnTo>
                      <a:pt x="537" y="236"/>
                    </a:lnTo>
                    <a:lnTo>
                      <a:pt x="535" y="234"/>
                    </a:lnTo>
                    <a:lnTo>
                      <a:pt x="537" y="233"/>
                    </a:lnTo>
                    <a:lnTo>
                      <a:pt x="535" y="233"/>
                    </a:lnTo>
                    <a:lnTo>
                      <a:pt x="535" y="231"/>
                    </a:lnTo>
                    <a:lnTo>
                      <a:pt x="537" y="231"/>
                    </a:lnTo>
                    <a:lnTo>
                      <a:pt x="538" y="231"/>
                    </a:lnTo>
                    <a:lnTo>
                      <a:pt x="538" y="230"/>
                    </a:lnTo>
                    <a:lnTo>
                      <a:pt x="540" y="230"/>
                    </a:lnTo>
                    <a:lnTo>
                      <a:pt x="538" y="230"/>
                    </a:lnTo>
                    <a:lnTo>
                      <a:pt x="538" y="228"/>
                    </a:lnTo>
                    <a:lnTo>
                      <a:pt x="538" y="226"/>
                    </a:lnTo>
                    <a:lnTo>
                      <a:pt x="540" y="226"/>
                    </a:lnTo>
                    <a:lnTo>
                      <a:pt x="540" y="225"/>
                    </a:lnTo>
                    <a:lnTo>
                      <a:pt x="540" y="223"/>
                    </a:lnTo>
                    <a:lnTo>
                      <a:pt x="540" y="222"/>
                    </a:lnTo>
                    <a:lnTo>
                      <a:pt x="540" y="220"/>
                    </a:lnTo>
                    <a:lnTo>
                      <a:pt x="540" y="219"/>
                    </a:lnTo>
                    <a:lnTo>
                      <a:pt x="541" y="219"/>
                    </a:lnTo>
                    <a:lnTo>
                      <a:pt x="541" y="217"/>
                    </a:lnTo>
                    <a:lnTo>
                      <a:pt x="541" y="215"/>
                    </a:lnTo>
                    <a:lnTo>
                      <a:pt x="541" y="214"/>
                    </a:lnTo>
                    <a:lnTo>
                      <a:pt x="541" y="212"/>
                    </a:lnTo>
                    <a:lnTo>
                      <a:pt x="541" y="211"/>
                    </a:lnTo>
                    <a:lnTo>
                      <a:pt x="541" y="209"/>
                    </a:lnTo>
                    <a:lnTo>
                      <a:pt x="541" y="207"/>
                    </a:lnTo>
                    <a:lnTo>
                      <a:pt x="541" y="206"/>
                    </a:lnTo>
                    <a:lnTo>
                      <a:pt x="541" y="204"/>
                    </a:lnTo>
                    <a:lnTo>
                      <a:pt x="541" y="203"/>
                    </a:lnTo>
                    <a:lnTo>
                      <a:pt x="541" y="201"/>
                    </a:lnTo>
                    <a:lnTo>
                      <a:pt x="543" y="201"/>
                    </a:lnTo>
                    <a:lnTo>
                      <a:pt x="543" y="199"/>
                    </a:lnTo>
                    <a:lnTo>
                      <a:pt x="543" y="198"/>
                    </a:lnTo>
                    <a:lnTo>
                      <a:pt x="545" y="196"/>
                    </a:lnTo>
                    <a:lnTo>
                      <a:pt x="546" y="196"/>
                    </a:lnTo>
                    <a:lnTo>
                      <a:pt x="546" y="195"/>
                    </a:lnTo>
                    <a:lnTo>
                      <a:pt x="548" y="195"/>
                    </a:lnTo>
                    <a:lnTo>
                      <a:pt x="546" y="193"/>
                    </a:lnTo>
                    <a:lnTo>
                      <a:pt x="546" y="192"/>
                    </a:lnTo>
                    <a:lnTo>
                      <a:pt x="546" y="190"/>
                    </a:lnTo>
                    <a:lnTo>
                      <a:pt x="546" y="188"/>
                    </a:lnTo>
                    <a:lnTo>
                      <a:pt x="546" y="187"/>
                    </a:lnTo>
                    <a:lnTo>
                      <a:pt x="545" y="187"/>
                    </a:lnTo>
                    <a:lnTo>
                      <a:pt x="545" y="185"/>
                    </a:lnTo>
                    <a:lnTo>
                      <a:pt x="545" y="184"/>
                    </a:lnTo>
                    <a:lnTo>
                      <a:pt x="543" y="184"/>
                    </a:lnTo>
                    <a:lnTo>
                      <a:pt x="543" y="182"/>
                    </a:lnTo>
                    <a:lnTo>
                      <a:pt x="543" y="180"/>
                    </a:lnTo>
                    <a:lnTo>
                      <a:pt x="541" y="180"/>
                    </a:lnTo>
                    <a:lnTo>
                      <a:pt x="541" y="179"/>
                    </a:lnTo>
                    <a:lnTo>
                      <a:pt x="543" y="177"/>
                    </a:lnTo>
                    <a:lnTo>
                      <a:pt x="541" y="177"/>
                    </a:lnTo>
                    <a:lnTo>
                      <a:pt x="541" y="176"/>
                    </a:lnTo>
                    <a:lnTo>
                      <a:pt x="540" y="174"/>
                    </a:lnTo>
                    <a:lnTo>
                      <a:pt x="538" y="173"/>
                    </a:lnTo>
                    <a:lnTo>
                      <a:pt x="537" y="173"/>
                    </a:lnTo>
                    <a:lnTo>
                      <a:pt x="535" y="173"/>
                    </a:lnTo>
                    <a:lnTo>
                      <a:pt x="534" y="174"/>
                    </a:lnTo>
                    <a:lnTo>
                      <a:pt x="532" y="174"/>
                    </a:lnTo>
                    <a:lnTo>
                      <a:pt x="530" y="174"/>
                    </a:lnTo>
                    <a:lnTo>
                      <a:pt x="530" y="176"/>
                    </a:lnTo>
                    <a:lnTo>
                      <a:pt x="529" y="176"/>
                    </a:lnTo>
                    <a:lnTo>
                      <a:pt x="529" y="174"/>
                    </a:lnTo>
                    <a:lnTo>
                      <a:pt x="527" y="174"/>
                    </a:lnTo>
                    <a:lnTo>
                      <a:pt x="526" y="176"/>
                    </a:lnTo>
                    <a:lnTo>
                      <a:pt x="526" y="177"/>
                    </a:lnTo>
                    <a:lnTo>
                      <a:pt x="527" y="177"/>
                    </a:lnTo>
                    <a:lnTo>
                      <a:pt x="529" y="177"/>
                    </a:lnTo>
                    <a:lnTo>
                      <a:pt x="530" y="177"/>
                    </a:lnTo>
                    <a:lnTo>
                      <a:pt x="532" y="177"/>
                    </a:lnTo>
                    <a:lnTo>
                      <a:pt x="532" y="179"/>
                    </a:lnTo>
                    <a:lnTo>
                      <a:pt x="530" y="179"/>
                    </a:lnTo>
                    <a:lnTo>
                      <a:pt x="530" y="180"/>
                    </a:lnTo>
                    <a:lnTo>
                      <a:pt x="530" y="182"/>
                    </a:lnTo>
                    <a:lnTo>
                      <a:pt x="522" y="182"/>
                    </a:lnTo>
                    <a:lnTo>
                      <a:pt x="521" y="180"/>
                    </a:lnTo>
                    <a:lnTo>
                      <a:pt x="519" y="180"/>
                    </a:lnTo>
                    <a:lnTo>
                      <a:pt x="519" y="182"/>
                    </a:lnTo>
                    <a:lnTo>
                      <a:pt x="518" y="182"/>
                    </a:lnTo>
                    <a:lnTo>
                      <a:pt x="518" y="184"/>
                    </a:lnTo>
                    <a:lnTo>
                      <a:pt x="516" y="184"/>
                    </a:lnTo>
                    <a:lnTo>
                      <a:pt x="515" y="184"/>
                    </a:lnTo>
                    <a:lnTo>
                      <a:pt x="515" y="185"/>
                    </a:lnTo>
                    <a:lnTo>
                      <a:pt x="513" y="185"/>
                    </a:lnTo>
                    <a:lnTo>
                      <a:pt x="513" y="187"/>
                    </a:lnTo>
                    <a:lnTo>
                      <a:pt x="511" y="187"/>
                    </a:lnTo>
                    <a:lnTo>
                      <a:pt x="511" y="188"/>
                    </a:lnTo>
                    <a:lnTo>
                      <a:pt x="511" y="190"/>
                    </a:lnTo>
                    <a:lnTo>
                      <a:pt x="510" y="192"/>
                    </a:lnTo>
                    <a:lnTo>
                      <a:pt x="508" y="192"/>
                    </a:lnTo>
                    <a:lnTo>
                      <a:pt x="508" y="190"/>
                    </a:lnTo>
                    <a:lnTo>
                      <a:pt x="507" y="190"/>
                    </a:lnTo>
                    <a:lnTo>
                      <a:pt x="505" y="188"/>
                    </a:lnTo>
                    <a:lnTo>
                      <a:pt x="503" y="190"/>
                    </a:lnTo>
                    <a:lnTo>
                      <a:pt x="503" y="192"/>
                    </a:lnTo>
                    <a:lnTo>
                      <a:pt x="502" y="192"/>
                    </a:lnTo>
                    <a:lnTo>
                      <a:pt x="502" y="193"/>
                    </a:lnTo>
                    <a:lnTo>
                      <a:pt x="502" y="195"/>
                    </a:lnTo>
                    <a:lnTo>
                      <a:pt x="500" y="196"/>
                    </a:lnTo>
                    <a:lnTo>
                      <a:pt x="500" y="198"/>
                    </a:lnTo>
                    <a:lnTo>
                      <a:pt x="500" y="199"/>
                    </a:lnTo>
                    <a:lnTo>
                      <a:pt x="499" y="199"/>
                    </a:lnTo>
                    <a:lnTo>
                      <a:pt x="497" y="199"/>
                    </a:lnTo>
                    <a:lnTo>
                      <a:pt x="496" y="199"/>
                    </a:lnTo>
                    <a:lnTo>
                      <a:pt x="496" y="201"/>
                    </a:lnTo>
                    <a:lnTo>
                      <a:pt x="494" y="201"/>
                    </a:lnTo>
                    <a:lnTo>
                      <a:pt x="494" y="203"/>
                    </a:lnTo>
                    <a:lnTo>
                      <a:pt x="492" y="203"/>
                    </a:lnTo>
                    <a:lnTo>
                      <a:pt x="492" y="204"/>
                    </a:lnTo>
                    <a:lnTo>
                      <a:pt x="492" y="206"/>
                    </a:lnTo>
                    <a:lnTo>
                      <a:pt x="492" y="207"/>
                    </a:lnTo>
                    <a:lnTo>
                      <a:pt x="491" y="206"/>
                    </a:lnTo>
                    <a:lnTo>
                      <a:pt x="491" y="207"/>
                    </a:lnTo>
                    <a:lnTo>
                      <a:pt x="489" y="207"/>
                    </a:lnTo>
                    <a:lnTo>
                      <a:pt x="488" y="207"/>
                    </a:lnTo>
                    <a:lnTo>
                      <a:pt x="489" y="207"/>
                    </a:lnTo>
                    <a:lnTo>
                      <a:pt x="489" y="209"/>
                    </a:lnTo>
                    <a:lnTo>
                      <a:pt x="491" y="209"/>
                    </a:lnTo>
                    <a:lnTo>
                      <a:pt x="491" y="211"/>
                    </a:lnTo>
                    <a:lnTo>
                      <a:pt x="491" y="212"/>
                    </a:lnTo>
                    <a:lnTo>
                      <a:pt x="489" y="212"/>
                    </a:lnTo>
                    <a:lnTo>
                      <a:pt x="489" y="214"/>
                    </a:lnTo>
                    <a:lnTo>
                      <a:pt x="489" y="215"/>
                    </a:lnTo>
                    <a:lnTo>
                      <a:pt x="488" y="215"/>
                    </a:lnTo>
                    <a:lnTo>
                      <a:pt x="488" y="217"/>
                    </a:lnTo>
                    <a:lnTo>
                      <a:pt x="488" y="219"/>
                    </a:lnTo>
                    <a:lnTo>
                      <a:pt x="486" y="219"/>
                    </a:lnTo>
                    <a:lnTo>
                      <a:pt x="486" y="220"/>
                    </a:lnTo>
                    <a:lnTo>
                      <a:pt x="486" y="222"/>
                    </a:lnTo>
                    <a:lnTo>
                      <a:pt x="484" y="222"/>
                    </a:lnTo>
                    <a:lnTo>
                      <a:pt x="483" y="222"/>
                    </a:lnTo>
                    <a:lnTo>
                      <a:pt x="481" y="222"/>
                    </a:lnTo>
                    <a:lnTo>
                      <a:pt x="481" y="223"/>
                    </a:lnTo>
                    <a:lnTo>
                      <a:pt x="480" y="223"/>
                    </a:lnTo>
                    <a:lnTo>
                      <a:pt x="480" y="225"/>
                    </a:lnTo>
                    <a:lnTo>
                      <a:pt x="481" y="226"/>
                    </a:lnTo>
                    <a:lnTo>
                      <a:pt x="480" y="226"/>
                    </a:lnTo>
                    <a:lnTo>
                      <a:pt x="480" y="228"/>
                    </a:lnTo>
                    <a:lnTo>
                      <a:pt x="480" y="226"/>
                    </a:lnTo>
                    <a:lnTo>
                      <a:pt x="478" y="228"/>
                    </a:lnTo>
                    <a:lnTo>
                      <a:pt x="478" y="230"/>
                    </a:lnTo>
                    <a:lnTo>
                      <a:pt x="476" y="230"/>
                    </a:lnTo>
                    <a:lnTo>
                      <a:pt x="475" y="230"/>
                    </a:lnTo>
                    <a:lnTo>
                      <a:pt x="475" y="231"/>
                    </a:lnTo>
                    <a:lnTo>
                      <a:pt x="475" y="233"/>
                    </a:lnTo>
                    <a:lnTo>
                      <a:pt x="476" y="233"/>
                    </a:lnTo>
                    <a:lnTo>
                      <a:pt x="475" y="233"/>
                    </a:lnTo>
                    <a:lnTo>
                      <a:pt x="475" y="234"/>
                    </a:lnTo>
                    <a:lnTo>
                      <a:pt x="473" y="234"/>
                    </a:lnTo>
                    <a:lnTo>
                      <a:pt x="472" y="234"/>
                    </a:lnTo>
                    <a:lnTo>
                      <a:pt x="470" y="234"/>
                    </a:lnTo>
                    <a:lnTo>
                      <a:pt x="469" y="234"/>
                    </a:lnTo>
                    <a:lnTo>
                      <a:pt x="469" y="236"/>
                    </a:lnTo>
                    <a:lnTo>
                      <a:pt x="469" y="238"/>
                    </a:lnTo>
                    <a:lnTo>
                      <a:pt x="469" y="239"/>
                    </a:lnTo>
                    <a:lnTo>
                      <a:pt x="469" y="241"/>
                    </a:lnTo>
                    <a:lnTo>
                      <a:pt x="469" y="242"/>
                    </a:lnTo>
                    <a:lnTo>
                      <a:pt x="467" y="242"/>
                    </a:lnTo>
                    <a:lnTo>
                      <a:pt x="465" y="242"/>
                    </a:lnTo>
                    <a:lnTo>
                      <a:pt x="464" y="242"/>
                    </a:lnTo>
                    <a:lnTo>
                      <a:pt x="464" y="241"/>
                    </a:lnTo>
                    <a:lnTo>
                      <a:pt x="462" y="241"/>
                    </a:lnTo>
                    <a:lnTo>
                      <a:pt x="462" y="239"/>
                    </a:lnTo>
                    <a:lnTo>
                      <a:pt x="461" y="239"/>
                    </a:lnTo>
                    <a:lnTo>
                      <a:pt x="461" y="238"/>
                    </a:lnTo>
                    <a:lnTo>
                      <a:pt x="459" y="238"/>
                    </a:lnTo>
                    <a:lnTo>
                      <a:pt x="459" y="239"/>
                    </a:lnTo>
                    <a:lnTo>
                      <a:pt x="457" y="239"/>
                    </a:lnTo>
                    <a:lnTo>
                      <a:pt x="457" y="241"/>
                    </a:lnTo>
                    <a:lnTo>
                      <a:pt x="456" y="241"/>
                    </a:lnTo>
                    <a:lnTo>
                      <a:pt x="456" y="239"/>
                    </a:lnTo>
                    <a:lnTo>
                      <a:pt x="454" y="239"/>
                    </a:lnTo>
                    <a:lnTo>
                      <a:pt x="454" y="241"/>
                    </a:lnTo>
                    <a:lnTo>
                      <a:pt x="454" y="242"/>
                    </a:lnTo>
                    <a:lnTo>
                      <a:pt x="453" y="242"/>
                    </a:lnTo>
                    <a:lnTo>
                      <a:pt x="451" y="242"/>
                    </a:lnTo>
                    <a:lnTo>
                      <a:pt x="450" y="242"/>
                    </a:lnTo>
                    <a:lnTo>
                      <a:pt x="450" y="241"/>
                    </a:lnTo>
                    <a:lnTo>
                      <a:pt x="448" y="241"/>
                    </a:lnTo>
                    <a:lnTo>
                      <a:pt x="448" y="239"/>
                    </a:lnTo>
                    <a:lnTo>
                      <a:pt x="446" y="239"/>
                    </a:lnTo>
                    <a:lnTo>
                      <a:pt x="445" y="239"/>
                    </a:lnTo>
                    <a:lnTo>
                      <a:pt x="445" y="238"/>
                    </a:lnTo>
                    <a:lnTo>
                      <a:pt x="445" y="236"/>
                    </a:lnTo>
                    <a:lnTo>
                      <a:pt x="445" y="234"/>
                    </a:lnTo>
                    <a:lnTo>
                      <a:pt x="446" y="234"/>
                    </a:lnTo>
                    <a:lnTo>
                      <a:pt x="446" y="233"/>
                    </a:lnTo>
                    <a:lnTo>
                      <a:pt x="448" y="231"/>
                    </a:lnTo>
                    <a:lnTo>
                      <a:pt x="448" y="230"/>
                    </a:lnTo>
                    <a:lnTo>
                      <a:pt x="446" y="230"/>
                    </a:lnTo>
                    <a:lnTo>
                      <a:pt x="446" y="228"/>
                    </a:lnTo>
                    <a:lnTo>
                      <a:pt x="445" y="228"/>
                    </a:lnTo>
                    <a:lnTo>
                      <a:pt x="443" y="228"/>
                    </a:lnTo>
                    <a:lnTo>
                      <a:pt x="442" y="228"/>
                    </a:lnTo>
                    <a:lnTo>
                      <a:pt x="442" y="226"/>
                    </a:lnTo>
                    <a:lnTo>
                      <a:pt x="440" y="226"/>
                    </a:lnTo>
                    <a:lnTo>
                      <a:pt x="440" y="225"/>
                    </a:lnTo>
                    <a:lnTo>
                      <a:pt x="440" y="223"/>
                    </a:lnTo>
                    <a:lnTo>
                      <a:pt x="442" y="223"/>
                    </a:lnTo>
                    <a:lnTo>
                      <a:pt x="443" y="223"/>
                    </a:lnTo>
                    <a:lnTo>
                      <a:pt x="443" y="222"/>
                    </a:lnTo>
                    <a:lnTo>
                      <a:pt x="445" y="222"/>
                    </a:lnTo>
                    <a:lnTo>
                      <a:pt x="445" y="220"/>
                    </a:lnTo>
                    <a:lnTo>
                      <a:pt x="445" y="219"/>
                    </a:lnTo>
                    <a:lnTo>
                      <a:pt x="445" y="217"/>
                    </a:lnTo>
                    <a:lnTo>
                      <a:pt x="446" y="217"/>
                    </a:lnTo>
                    <a:lnTo>
                      <a:pt x="448" y="217"/>
                    </a:lnTo>
                    <a:lnTo>
                      <a:pt x="448" y="215"/>
                    </a:lnTo>
                    <a:lnTo>
                      <a:pt x="450" y="215"/>
                    </a:lnTo>
                    <a:lnTo>
                      <a:pt x="450" y="214"/>
                    </a:lnTo>
                    <a:lnTo>
                      <a:pt x="450" y="212"/>
                    </a:lnTo>
                    <a:lnTo>
                      <a:pt x="448" y="212"/>
                    </a:lnTo>
                    <a:lnTo>
                      <a:pt x="448" y="211"/>
                    </a:lnTo>
                    <a:lnTo>
                      <a:pt x="448" y="209"/>
                    </a:lnTo>
                    <a:lnTo>
                      <a:pt x="450" y="209"/>
                    </a:lnTo>
                    <a:lnTo>
                      <a:pt x="448" y="209"/>
                    </a:lnTo>
                    <a:lnTo>
                      <a:pt x="448" y="207"/>
                    </a:lnTo>
                    <a:lnTo>
                      <a:pt x="450" y="207"/>
                    </a:lnTo>
                    <a:lnTo>
                      <a:pt x="450" y="206"/>
                    </a:lnTo>
                    <a:lnTo>
                      <a:pt x="450" y="204"/>
                    </a:lnTo>
                    <a:lnTo>
                      <a:pt x="450" y="203"/>
                    </a:lnTo>
                    <a:lnTo>
                      <a:pt x="448" y="203"/>
                    </a:lnTo>
                    <a:lnTo>
                      <a:pt x="446" y="203"/>
                    </a:lnTo>
                    <a:lnTo>
                      <a:pt x="445" y="203"/>
                    </a:lnTo>
                    <a:lnTo>
                      <a:pt x="443" y="203"/>
                    </a:lnTo>
                    <a:lnTo>
                      <a:pt x="443" y="201"/>
                    </a:lnTo>
                    <a:lnTo>
                      <a:pt x="442" y="201"/>
                    </a:lnTo>
                    <a:lnTo>
                      <a:pt x="440" y="201"/>
                    </a:lnTo>
                    <a:lnTo>
                      <a:pt x="438" y="201"/>
                    </a:lnTo>
                    <a:lnTo>
                      <a:pt x="437" y="201"/>
                    </a:lnTo>
                    <a:lnTo>
                      <a:pt x="437" y="199"/>
                    </a:lnTo>
                    <a:lnTo>
                      <a:pt x="435" y="199"/>
                    </a:lnTo>
                    <a:lnTo>
                      <a:pt x="434" y="199"/>
                    </a:lnTo>
                    <a:lnTo>
                      <a:pt x="434" y="198"/>
                    </a:lnTo>
                    <a:lnTo>
                      <a:pt x="432" y="198"/>
                    </a:lnTo>
                    <a:lnTo>
                      <a:pt x="431" y="196"/>
                    </a:lnTo>
                    <a:lnTo>
                      <a:pt x="431" y="195"/>
                    </a:lnTo>
                    <a:lnTo>
                      <a:pt x="431" y="193"/>
                    </a:lnTo>
                    <a:lnTo>
                      <a:pt x="431" y="192"/>
                    </a:lnTo>
                    <a:lnTo>
                      <a:pt x="429" y="192"/>
                    </a:lnTo>
                    <a:lnTo>
                      <a:pt x="429" y="190"/>
                    </a:lnTo>
                    <a:lnTo>
                      <a:pt x="431" y="190"/>
                    </a:lnTo>
                    <a:lnTo>
                      <a:pt x="429" y="190"/>
                    </a:lnTo>
                    <a:lnTo>
                      <a:pt x="429" y="188"/>
                    </a:lnTo>
                    <a:lnTo>
                      <a:pt x="427" y="188"/>
                    </a:lnTo>
                    <a:lnTo>
                      <a:pt x="427" y="187"/>
                    </a:lnTo>
                    <a:lnTo>
                      <a:pt x="426" y="187"/>
                    </a:lnTo>
                    <a:lnTo>
                      <a:pt x="424" y="187"/>
                    </a:lnTo>
                    <a:lnTo>
                      <a:pt x="423" y="187"/>
                    </a:lnTo>
                    <a:lnTo>
                      <a:pt x="423" y="185"/>
                    </a:lnTo>
                    <a:lnTo>
                      <a:pt x="421" y="185"/>
                    </a:lnTo>
                    <a:lnTo>
                      <a:pt x="421" y="184"/>
                    </a:lnTo>
                    <a:lnTo>
                      <a:pt x="419" y="182"/>
                    </a:lnTo>
                    <a:lnTo>
                      <a:pt x="418" y="184"/>
                    </a:lnTo>
                    <a:lnTo>
                      <a:pt x="418" y="185"/>
                    </a:lnTo>
                    <a:lnTo>
                      <a:pt x="416" y="185"/>
                    </a:lnTo>
                    <a:lnTo>
                      <a:pt x="416" y="187"/>
                    </a:lnTo>
                    <a:lnTo>
                      <a:pt x="415" y="187"/>
                    </a:lnTo>
                    <a:lnTo>
                      <a:pt x="415" y="188"/>
                    </a:lnTo>
                    <a:lnTo>
                      <a:pt x="413" y="188"/>
                    </a:lnTo>
                    <a:lnTo>
                      <a:pt x="413" y="190"/>
                    </a:lnTo>
                    <a:lnTo>
                      <a:pt x="413" y="192"/>
                    </a:lnTo>
                    <a:lnTo>
                      <a:pt x="413" y="193"/>
                    </a:lnTo>
                    <a:lnTo>
                      <a:pt x="415" y="193"/>
                    </a:lnTo>
                    <a:lnTo>
                      <a:pt x="415" y="195"/>
                    </a:lnTo>
                    <a:lnTo>
                      <a:pt x="415" y="196"/>
                    </a:lnTo>
                    <a:lnTo>
                      <a:pt x="416" y="196"/>
                    </a:lnTo>
                    <a:lnTo>
                      <a:pt x="415" y="198"/>
                    </a:lnTo>
                    <a:lnTo>
                      <a:pt x="413" y="196"/>
                    </a:lnTo>
                    <a:lnTo>
                      <a:pt x="412" y="196"/>
                    </a:lnTo>
                    <a:lnTo>
                      <a:pt x="412" y="195"/>
                    </a:lnTo>
                    <a:lnTo>
                      <a:pt x="410" y="195"/>
                    </a:lnTo>
                    <a:lnTo>
                      <a:pt x="410" y="193"/>
                    </a:lnTo>
                    <a:lnTo>
                      <a:pt x="408" y="193"/>
                    </a:lnTo>
                    <a:lnTo>
                      <a:pt x="408" y="192"/>
                    </a:lnTo>
                    <a:lnTo>
                      <a:pt x="407" y="192"/>
                    </a:lnTo>
                    <a:lnTo>
                      <a:pt x="407" y="193"/>
                    </a:lnTo>
                    <a:lnTo>
                      <a:pt x="405" y="193"/>
                    </a:lnTo>
                    <a:lnTo>
                      <a:pt x="405" y="195"/>
                    </a:lnTo>
                    <a:lnTo>
                      <a:pt x="404" y="195"/>
                    </a:lnTo>
                    <a:lnTo>
                      <a:pt x="404" y="196"/>
                    </a:lnTo>
                    <a:lnTo>
                      <a:pt x="402" y="198"/>
                    </a:lnTo>
                    <a:lnTo>
                      <a:pt x="400" y="198"/>
                    </a:lnTo>
                    <a:lnTo>
                      <a:pt x="399" y="198"/>
                    </a:lnTo>
                    <a:lnTo>
                      <a:pt x="397" y="198"/>
                    </a:lnTo>
                    <a:lnTo>
                      <a:pt x="397" y="196"/>
                    </a:lnTo>
                    <a:lnTo>
                      <a:pt x="396" y="196"/>
                    </a:lnTo>
                    <a:lnTo>
                      <a:pt x="396" y="195"/>
                    </a:lnTo>
                    <a:lnTo>
                      <a:pt x="394" y="195"/>
                    </a:lnTo>
                    <a:lnTo>
                      <a:pt x="393" y="195"/>
                    </a:lnTo>
                    <a:lnTo>
                      <a:pt x="393" y="193"/>
                    </a:lnTo>
                    <a:lnTo>
                      <a:pt x="391" y="193"/>
                    </a:lnTo>
                    <a:lnTo>
                      <a:pt x="391" y="192"/>
                    </a:lnTo>
                    <a:lnTo>
                      <a:pt x="389" y="192"/>
                    </a:lnTo>
                    <a:lnTo>
                      <a:pt x="388" y="192"/>
                    </a:lnTo>
                    <a:lnTo>
                      <a:pt x="388" y="190"/>
                    </a:lnTo>
                    <a:lnTo>
                      <a:pt x="388" y="188"/>
                    </a:lnTo>
                    <a:lnTo>
                      <a:pt x="386" y="188"/>
                    </a:lnTo>
                    <a:lnTo>
                      <a:pt x="386" y="187"/>
                    </a:lnTo>
                    <a:lnTo>
                      <a:pt x="385" y="187"/>
                    </a:lnTo>
                    <a:lnTo>
                      <a:pt x="385" y="185"/>
                    </a:lnTo>
                    <a:lnTo>
                      <a:pt x="383" y="185"/>
                    </a:lnTo>
                    <a:lnTo>
                      <a:pt x="381" y="185"/>
                    </a:lnTo>
                    <a:lnTo>
                      <a:pt x="381" y="184"/>
                    </a:lnTo>
                    <a:lnTo>
                      <a:pt x="380" y="184"/>
                    </a:lnTo>
                    <a:lnTo>
                      <a:pt x="380" y="182"/>
                    </a:lnTo>
                    <a:lnTo>
                      <a:pt x="378" y="182"/>
                    </a:lnTo>
                    <a:lnTo>
                      <a:pt x="378" y="180"/>
                    </a:lnTo>
                    <a:lnTo>
                      <a:pt x="378" y="182"/>
                    </a:lnTo>
                    <a:lnTo>
                      <a:pt x="378" y="180"/>
                    </a:lnTo>
                    <a:lnTo>
                      <a:pt x="377" y="180"/>
                    </a:lnTo>
                    <a:lnTo>
                      <a:pt x="377" y="179"/>
                    </a:lnTo>
                    <a:lnTo>
                      <a:pt x="377" y="177"/>
                    </a:lnTo>
                    <a:lnTo>
                      <a:pt x="375" y="177"/>
                    </a:lnTo>
                    <a:lnTo>
                      <a:pt x="375" y="176"/>
                    </a:lnTo>
                    <a:lnTo>
                      <a:pt x="375" y="174"/>
                    </a:lnTo>
                    <a:lnTo>
                      <a:pt x="375" y="173"/>
                    </a:lnTo>
                    <a:lnTo>
                      <a:pt x="374" y="173"/>
                    </a:lnTo>
                    <a:lnTo>
                      <a:pt x="374" y="171"/>
                    </a:lnTo>
                    <a:lnTo>
                      <a:pt x="374" y="169"/>
                    </a:lnTo>
                    <a:lnTo>
                      <a:pt x="372" y="169"/>
                    </a:lnTo>
                    <a:lnTo>
                      <a:pt x="372" y="168"/>
                    </a:lnTo>
                    <a:lnTo>
                      <a:pt x="372" y="166"/>
                    </a:lnTo>
                    <a:lnTo>
                      <a:pt x="370" y="166"/>
                    </a:lnTo>
                    <a:lnTo>
                      <a:pt x="370" y="165"/>
                    </a:lnTo>
                    <a:lnTo>
                      <a:pt x="372" y="165"/>
                    </a:lnTo>
                    <a:lnTo>
                      <a:pt x="370" y="163"/>
                    </a:lnTo>
                    <a:lnTo>
                      <a:pt x="370" y="161"/>
                    </a:lnTo>
                    <a:lnTo>
                      <a:pt x="370" y="160"/>
                    </a:lnTo>
                    <a:lnTo>
                      <a:pt x="370" y="158"/>
                    </a:lnTo>
                    <a:lnTo>
                      <a:pt x="370" y="157"/>
                    </a:lnTo>
                    <a:lnTo>
                      <a:pt x="370" y="155"/>
                    </a:lnTo>
                    <a:lnTo>
                      <a:pt x="370" y="152"/>
                    </a:lnTo>
                    <a:lnTo>
                      <a:pt x="370" y="154"/>
                    </a:lnTo>
                    <a:lnTo>
                      <a:pt x="369" y="154"/>
                    </a:lnTo>
                    <a:lnTo>
                      <a:pt x="369" y="152"/>
                    </a:lnTo>
                    <a:lnTo>
                      <a:pt x="369" y="150"/>
                    </a:lnTo>
                    <a:lnTo>
                      <a:pt x="367" y="150"/>
                    </a:lnTo>
                    <a:lnTo>
                      <a:pt x="367" y="149"/>
                    </a:lnTo>
                    <a:lnTo>
                      <a:pt x="366" y="149"/>
                    </a:lnTo>
                    <a:lnTo>
                      <a:pt x="366" y="147"/>
                    </a:lnTo>
                    <a:lnTo>
                      <a:pt x="366" y="146"/>
                    </a:lnTo>
                    <a:lnTo>
                      <a:pt x="367" y="146"/>
                    </a:lnTo>
                    <a:lnTo>
                      <a:pt x="369" y="144"/>
                    </a:lnTo>
                    <a:lnTo>
                      <a:pt x="369" y="142"/>
                    </a:lnTo>
                    <a:lnTo>
                      <a:pt x="369" y="141"/>
                    </a:lnTo>
                    <a:lnTo>
                      <a:pt x="369" y="139"/>
                    </a:lnTo>
                    <a:lnTo>
                      <a:pt x="369" y="138"/>
                    </a:lnTo>
                    <a:lnTo>
                      <a:pt x="369" y="136"/>
                    </a:lnTo>
                    <a:lnTo>
                      <a:pt x="369" y="135"/>
                    </a:lnTo>
                    <a:lnTo>
                      <a:pt x="367" y="133"/>
                    </a:lnTo>
                    <a:lnTo>
                      <a:pt x="367" y="131"/>
                    </a:lnTo>
                    <a:lnTo>
                      <a:pt x="367" y="130"/>
                    </a:lnTo>
                    <a:lnTo>
                      <a:pt x="369" y="130"/>
                    </a:lnTo>
                    <a:lnTo>
                      <a:pt x="369" y="128"/>
                    </a:lnTo>
                    <a:lnTo>
                      <a:pt x="369" y="127"/>
                    </a:lnTo>
                    <a:lnTo>
                      <a:pt x="369" y="125"/>
                    </a:lnTo>
                    <a:lnTo>
                      <a:pt x="369" y="123"/>
                    </a:lnTo>
                    <a:lnTo>
                      <a:pt x="367" y="123"/>
                    </a:lnTo>
                    <a:lnTo>
                      <a:pt x="367" y="122"/>
                    </a:lnTo>
                    <a:lnTo>
                      <a:pt x="366" y="122"/>
                    </a:lnTo>
                    <a:lnTo>
                      <a:pt x="366" y="120"/>
                    </a:lnTo>
                    <a:lnTo>
                      <a:pt x="364" y="120"/>
                    </a:lnTo>
                    <a:lnTo>
                      <a:pt x="364" y="119"/>
                    </a:lnTo>
                    <a:lnTo>
                      <a:pt x="362" y="119"/>
                    </a:lnTo>
                    <a:lnTo>
                      <a:pt x="362" y="117"/>
                    </a:lnTo>
                    <a:lnTo>
                      <a:pt x="362" y="119"/>
                    </a:lnTo>
                    <a:lnTo>
                      <a:pt x="361" y="119"/>
                    </a:lnTo>
                    <a:lnTo>
                      <a:pt x="361" y="120"/>
                    </a:lnTo>
                    <a:lnTo>
                      <a:pt x="359" y="119"/>
                    </a:lnTo>
                    <a:lnTo>
                      <a:pt x="358" y="119"/>
                    </a:lnTo>
                    <a:lnTo>
                      <a:pt x="356" y="119"/>
                    </a:lnTo>
                    <a:lnTo>
                      <a:pt x="355" y="117"/>
                    </a:lnTo>
                    <a:lnTo>
                      <a:pt x="353" y="117"/>
                    </a:lnTo>
                    <a:lnTo>
                      <a:pt x="351" y="117"/>
                    </a:lnTo>
                    <a:lnTo>
                      <a:pt x="351" y="116"/>
                    </a:lnTo>
                    <a:lnTo>
                      <a:pt x="350" y="116"/>
                    </a:lnTo>
                    <a:lnTo>
                      <a:pt x="350" y="114"/>
                    </a:lnTo>
                    <a:lnTo>
                      <a:pt x="348" y="114"/>
                    </a:lnTo>
                    <a:lnTo>
                      <a:pt x="348" y="116"/>
                    </a:lnTo>
                    <a:lnTo>
                      <a:pt x="347" y="116"/>
                    </a:lnTo>
                    <a:lnTo>
                      <a:pt x="345" y="114"/>
                    </a:lnTo>
                    <a:lnTo>
                      <a:pt x="343" y="114"/>
                    </a:lnTo>
                    <a:lnTo>
                      <a:pt x="342" y="114"/>
                    </a:lnTo>
                    <a:lnTo>
                      <a:pt x="342" y="112"/>
                    </a:lnTo>
                    <a:lnTo>
                      <a:pt x="340" y="112"/>
                    </a:lnTo>
                    <a:lnTo>
                      <a:pt x="340" y="111"/>
                    </a:lnTo>
                    <a:lnTo>
                      <a:pt x="340" y="112"/>
                    </a:lnTo>
                    <a:lnTo>
                      <a:pt x="339" y="111"/>
                    </a:lnTo>
                    <a:lnTo>
                      <a:pt x="337" y="111"/>
                    </a:lnTo>
                    <a:lnTo>
                      <a:pt x="336" y="111"/>
                    </a:lnTo>
                    <a:lnTo>
                      <a:pt x="336" y="109"/>
                    </a:lnTo>
                    <a:lnTo>
                      <a:pt x="334" y="109"/>
                    </a:lnTo>
                    <a:lnTo>
                      <a:pt x="332" y="108"/>
                    </a:lnTo>
                    <a:lnTo>
                      <a:pt x="331" y="108"/>
                    </a:lnTo>
                    <a:lnTo>
                      <a:pt x="331" y="106"/>
                    </a:lnTo>
                    <a:lnTo>
                      <a:pt x="329" y="106"/>
                    </a:lnTo>
                    <a:lnTo>
                      <a:pt x="329" y="104"/>
                    </a:lnTo>
                    <a:lnTo>
                      <a:pt x="328" y="104"/>
                    </a:lnTo>
                    <a:lnTo>
                      <a:pt x="328" y="103"/>
                    </a:lnTo>
                    <a:lnTo>
                      <a:pt x="328" y="101"/>
                    </a:lnTo>
                    <a:lnTo>
                      <a:pt x="328" y="100"/>
                    </a:lnTo>
                    <a:lnTo>
                      <a:pt x="328" y="98"/>
                    </a:lnTo>
                    <a:lnTo>
                      <a:pt x="328" y="97"/>
                    </a:lnTo>
                    <a:lnTo>
                      <a:pt x="328" y="95"/>
                    </a:lnTo>
                    <a:lnTo>
                      <a:pt x="329" y="95"/>
                    </a:lnTo>
                    <a:lnTo>
                      <a:pt x="329" y="97"/>
                    </a:lnTo>
                    <a:lnTo>
                      <a:pt x="331" y="97"/>
                    </a:lnTo>
                    <a:lnTo>
                      <a:pt x="332" y="97"/>
                    </a:lnTo>
                    <a:lnTo>
                      <a:pt x="332" y="98"/>
                    </a:lnTo>
                    <a:lnTo>
                      <a:pt x="334" y="98"/>
                    </a:lnTo>
                    <a:lnTo>
                      <a:pt x="334" y="97"/>
                    </a:lnTo>
                    <a:lnTo>
                      <a:pt x="336" y="97"/>
                    </a:lnTo>
                    <a:lnTo>
                      <a:pt x="336" y="98"/>
                    </a:lnTo>
                    <a:lnTo>
                      <a:pt x="337" y="98"/>
                    </a:lnTo>
                    <a:lnTo>
                      <a:pt x="339" y="98"/>
                    </a:lnTo>
                    <a:lnTo>
                      <a:pt x="340" y="98"/>
                    </a:lnTo>
                    <a:lnTo>
                      <a:pt x="340" y="97"/>
                    </a:lnTo>
                    <a:lnTo>
                      <a:pt x="342" y="97"/>
                    </a:lnTo>
                    <a:lnTo>
                      <a:pt x="343" y="97"/>
                    </a:lnTo>
                    <a:lnTo>
                      <a:pt x="345" y="98"/>
                    </a:lnTo>
                    <a:lnTo>
                      <a:pt x="347" y="98"/>
                    </a:lnTo>
                    <a:lnTo>
                      <a:pt x="347" y="97"/>
                    </a:lnTo>
                    <a:lnTo>
                      <a:pt x="348" y="97"/>
                    </a:lnTo>
                    <a:lnTo>
                      <a:pt x="350" y="97"/>
                    </a:lnTo>
                    <a:lnTo>
                      <a:pt x="350" y="95"/>
                    </a:lnTo>
                    <a:lnTo>
                      <a:pt x="351" y="95"/>
                    </a:lnTo>
                    <a:lnTo>
                      <a:pt x="353" y="95"/>
                    </a:lnTo>
                    <a:lnTo>
                      <a:pt x="355" y="95"/>
                    </a:lnTo>
                    <a:lnTo>
                      <a:pt x="356" y="93"/>
                    </a:lnTo>
                    <a:lnTo>
                      <a:pt x="358" y="92"/>
                    </a:lnTo>
                    <a:lnTo>
                      <a:pt x="359" y="92"/>
                    </a:lnTo>
                    <a:lnTo>
                      <a:pt x="359" y="90"/>
                    </a:lnTo>
                    <a:lnTo>
                      <a:pt x="361" y="90"/>
                    </a:lnTo>
                    <a:lnTo>
                      <a:pt x="361" y="89"/>
                    </a:lnTo>
                    <a:lnTo>
                      <a:pt x="362" y="89"/>
                    </a:lnTo>
                    <a:lnTo>
                      <a:pt x="364" y="89"/>
                    </a:lnTo>
                    <a:lnTo>
                      <a:pt x="364" y="87"/>
                    </a:lnTo>
                    <a:lnTo>
                      <a:pt x="366" y="87"/>
                    </a:lnTo>
                    <a:lnTo>
                      <a:pt x="366" y="85"/>
                    </a:lnTo>
                    <a:lnTo>
                      <a:pt x="366" y="87"/>
                    </a:lnTo>
                    <a:lnTo>
                      <a:pt x="367" y="87"/>
                    </a:lnTo>
                    <a:lnTo>
                      <a:pt x="367" y="85"/>
                    </a:lnTo>
                    <a:lnTo>
                      <a:pt x="369" y="87"/>
                    </a:lnTo>
                    <a:lnTo>
                      <a:pt x="370" y="85"/>
                    </a:lnTo>
                    <a:lnTo>
                      <a:pt x="370" y="84"/>
                    </a:lnTo>
                    <a:lnTo>
                      <a:pt x="372" y="85"/>
                    </a:lnTo>
                    <a:lnTo>
                      <a:pt x="374" y="84"/>
                    </a:lnTo>
                    <a:lnTo>
                      <a:pt x="374" y="82"/>
                    </a:lnTo>
                    <a:lnTo>
                      <a:pt x="374" y="81"/>
                    </a:lnTo>
                    <a:lnTo>
                      <a:pt x="375" y="81"/>
                    </a:lnTo>
                    <a:lnTo>
                      <a:pt x="377" y="81"/>
                    </a:lnTo>
                    <a:lnTo>
                      <a:pt x="378" y="81"/>
                    </a:lnTo>
                    <a:lnTo>
                      <a:pt x="378" y="79"/>
                    </a:lnTo>
                    <a:lnTo>
                      <a:pt x="380" y="79"/>
                    </a:lnTo>
                    <a:lnTo>
                      <a:pt x="380" y="81"/>
                    </a:lnTo>
                    <a:lnTo>
                      <a:pt x="381" y="81"/>
                    </a:lnTo>
                    <a:lnTo>
                      <a:pt x="383" y="79"/>
                    </a:lnTo>
                    <a:lnTo>
                      <a:pt x="383" y="77"/>
                    </a:lnTo>
                    <a:lnTo>
                      <a:pt x="383" y="76"/>
                    </a:lnTo>
                    <a:lnTo>
                      <a:pt x="381" y="76"/>
                    </a:lnTo>
                    <a:lnTo>
                      <a:pt x="383" y="74"/>
                    </a:lnTo>
                    <a:lnTo>
                      <a:pt x="381" y="74"/>
                    </a:lnTo>
                    <a:lnTo>
                      <a:pt x="383" y="73"/>
                    </a:lnTo>
                    <a:lnTo>
                      <a:pt x="381" y="73"/>
                    </a:lnTo>
                    <a:lnTo>
                      <a:pt x="381" y="71"/>
                    </a:lnTo>
                    <a:lnTo>
                      <a:pt x="380" y="70"/>
                    </a:lnTo>
                    <a:lnTo>
                      <a:pt x="380" y="68"/>
                    </a:lnTo>
                    <a:lnTo>
                      <a:pt x="378" y="68"/>
                    </a:lnTo>
                    <a:lnTo>
                      <a:pt x="378" y="66"/>
                    </a:lnTo>
                    <a:lnTo>
                      <a:pt x="378" y="65"/>
                    </a:lnTo>
                    <a:lnTo>
                      <a:pt x="378" y="63"/>
                    </a:lnTo>
                    <a:lnTo>
                      <a:pt x="378" y="62"/>
                    </a:lnTo>
                    <a:lnTo>
                      <a:pt x="378" y="60"/>
                    </a:lnTo>
                    <a:lnTo>
                      <a:pt x="378" y="58"/>
                    </a:lnTo>
                    <a:lnTo>
                      <a:pt x="378" y="57"/>
                    </a:lnTo>
                    <a:lnTo>
                      <a:pt x="380" y="57"/>
                    </a:lnTo>
                    <a:lnTo>
                      <a:pt x="380" y="55"/>
                    </a:lnTo>
                    <a:lnTo>
                      <a:pt x="380" y="54"/>
                    </a:lnTo>
                    <a:lnTo>
                      <a:pt x="378" y="54"/>
                    </a:lnTo>
                    <a:lnTo>
                      <a:pt x="378" y="52"/>
                    </a:lnTo>
                    <a:lnTo>
                      <a:pt x="378" y="51"/>
                    </a:lnTo>
                    <a:lnTo>
                      <a:pt x="378" y="49"/>
                    </a:lnTo>
                    <a:lnTo>
                      <a:pt x="378" y="47"/>
                    </a:lnTo>
                    <a:lnTo>
                      <a:pt x="378" y="46"/>
                    </a:lnTo>
                    <a:lnTo>
                      <a:pt x="380" y="46"/>
                    </a:lnTo>
                    <a:lnTo>
                      <a:pt x="380" y="44"/>
                    </a:lnTo>
                    <a:lnTo>
                      <a:pt x="381" y="44"/>
                    </a:lnTo>
                    <a:lnTo>
                      <a:pt x="381" y="43"/>
                    </a:lnTo>
                    <a:lnTo>
                      <a:pt x="383" y="43"/>
                    </a:lnTo>
                    <a:lnTo>
                      <a:pt x="383" y="41"/>
                    </a:lnTo>
                    <a:lnTo>
                      <a:pt x="381" y="41"/>
                    </a:lnTo>
                    <a:lnTo>
                      <a:pt x="381" y="39"/>
                    </a:lnTo>
                    <a:lnTo>
                      <a:pt x="381" y="38"/>
                    </a:lnTo>
                    <a:lnTo>
                      <a:pt x="381" y="36"/>
                    </a:lnTo>
                    <a:lnTo>
                      <a:pt x="383" y="36"/>
                    </a:lnTo>
                    <a:lnTo>
                      <a:pt x="383" y="35"/>
                    </a:lnTo>
                    <a:lnTo>
                      <a:pt x="385" y="35"/>
                    </a:lnTo>
                    <a:lnTo>
                      <a:pt x="385" y="33"/>
                    </a:lnTo>
                    <a:lnTo>
                      <a:pt x="386" y="32"/>
                    </a:lnTo>
                    <a:lnTo>
                      <a:pt x="386" y="30"/>
                    </a:lnTo>
                    <a:lnTo>
                      <a:pt x="386" y="28"/>
                    </a:lnTo>
                    <a:lnTo>
                      <a:pt x="385" y="28"/>
                    </a:lnTo>
                    <a:lnTo>
                      <a:pt x="385" y="27"/>
                    </a:lnTo>
                    <a:lnTo>
                      <a:pt x="385" y="25"/>
                    </a:lnTo>
                    <a:lnTo>
                      <a:pt x="385" y="24"/>
                    </a:lnTo>
                    <a:lnTo>
                      <a:pt x="385" y="22"/>
                    </a:lnTo>
                    <a:lnTo>
                      <a:pt x="385" y="20"/>
                    </a:lnTo>
                    <a:lnTo>
                      <a:pt x="385" y="17"/>
                    </a:lnTo>
                    <a:lnTo>
                      <a:pt x="385" y="16"/>
                    </a:lnTo>
                    <a:lnTo>
                      <a:pt x="383" y="14"/>
                    </a:lnTo>
                    <a:lnTo>
                      <a:pt x="383" y="13"/>
                    </a:lnTo>
                    <a:lnTo>
                      <a:pt x="381" y="9"/>
                    </a:lnTo>
                    <a:lnTo>
                      <a:pt x="381" y="8"/>
                    </a:lnTo>
                    <a:lnTo>
                      <a:pt x="380" y="8"/>
                    </a:lnTo>
                    <a:lnTo>
                      <a:pt x="378" y="8"/>
                    </a:lnTo>
                    <a:lnTo>
                      <a:pt x="377" y="6"/>
                    </a:lnTo>
                    <a:lnTo>
                      <a:pt x="375" y="6"/>
                    </a:lnTo>
                    <a:lnTo>
                      <a:pt x="374" y="6"/>
                    </a:lnTo>
                    <a:lnTo>
                      <a:pt x="372" y="6"/>
                    </a:lnTo>
                    <a:lnTo>
                      <a:pt x="370" y="6"/>
                    </a:lnTo>
                    <a:lnTo>
                      <a:pt x="370" y="5"/>
                    </a:lnTo>
                    <a:lnTo>
                      <a:pt x="369" y="5"/>
                    </a:lnTo>
                    <a:lnTo>
                      <a:pt x="369" y="6"/>
                    </a:lnTo>
                    <a:lnTo>
                      <a:pt x="367" y="6"/>
                    </a:lnTo>
                    <a:lnTo>
                      <a:pt x="366" y="6"/>
                    </a:lnTo>
                    <a:lnTo>
                      <a:pt x="364" y="6"/>
                    </a:lnTo>
                    <a:lnTo>
                      <a:pt x="362" y="6"/>
                    </a:lnTo>
                    <a:lnTo>
                      <a:pt x="361" y="6"/>
                    </a:lnTo>
                    <a:lnTo>
                      <a:pt x="359" y="6"/>
                    </a:lnTo>
                    <a:lnTo>
                      <a:pt x="359" y="5"/>
                    </a:lnTo>
                    <a:lnTo>
                      <a:pt x="358" y="5"/>
                    </a:lnTo>
                    <a:lnTo>
                      <a:pt x="358" y="3"/>
                    </a:lnTo>
                    <a:lnTo>
                      <a:pt x="356" y="3"/>
                    </a:lnTo>
                    <a:lnTo>
                      <a:pt x="355" y="3"/>
                    </a:lnTo>
                    <a:lnTo>
                      <a:pt x="355" y="1"/>
                    </a:lnTo>
                    <a:lnTo>
                      <a:pt x="353" y="1"/>
                    </a:lnTo>
                    <a:lnTo>
                      <a:pt x="353" y="0"/>
                    </a:lnTo>
                    <a:lnTo>
                      <a:pt x="351" y="0"/>
                    </a:lnTo>
                    <a:lnTo>
                      <a:pt x="351" y="1"/>
                    </a:lnTo>
                    <a:lnTo>
                      <a:pt x="351" y="0"/>
                    </a:lnTo>
                    <a:lnTo>
                      <a:pt x="350" y="0"/>
                    </a:lnTo>
                    <a:lnTo>
                      <a:pt x="348" y="0"/>
                    </a:lnTo>
                    <a:lnTo>
                      <a:pt x="347" y="0"/>
                    </a:lnTo>
                    <a:lnTo>
                      <a:pt x="345" y="0"/>
                    </a:lnTo>
                    <a:lnTo>
                      <a:pt x="343" y="0"/>
                    </a:lnTo>
                    <a:lnTo>
                      <a:pt x="342" y="0"/>
                    </a:lnTo>
                    <a:lnTo>
                      <a:pt x="342" y="1"/>
                    </a:lnTo>
                    <a:lnTo>
                      <a:pt x="340" y="1"/>
                    </a:lnTo>
                    <a:lnTo>
                      <a:pt x="339" y="1"/>
                    </a:lnTo>
                    <a:lnTo>
                      <a:pt x="339" y="3"/>
                    </a:lnTo>
                    <a:lnTo>
                      <a:pt x="337" y="3"/>
                    </a:lnTo>
                    <a:lnTo>
                      <a:pt x="336" y="3"/>
                    </a:lnTo>
                    <a:lnTo>
                      <a:pt x="334" y="3"/>
                    </a:lnTo>
                    <a:lnTo>
                      <a:pt x="334" y="1"/>
                    </a:lnTo>
                    <a:lnTo>
                      <a:pt x="332" y="1"/>
                    </a:lnTo>
                    <a:lnTo>
                      <a:pt x="332" y="3"/>
                    </a:lnTo>
                    <a:lnTo>
                      <a:pt x="331" y="3"/>
                    </a:lnTo>
                    <a:lnTo>
                      <a:pt x="329" y="5"/>
                    </a:lnTo>
                    <a:lnTo>
                      <a:pt x="328" y="5"/>
                    </a:lnTo>
                    <a:lnTo>
                      <a:pt x="328" y="3"/>
                    </a:lnTo>
                    <a:lnTo>
                      <a:pt x="326" y="3"/>
                    </a:lnTo>
                    <a:lnTo>
                      <a:pt x="326" y="5"/>
                    </a:lnTo>
                    <a:lnTo>
                      <a:pt x="326" y="3"/>
                    </a:lnTo>
                    <a:lnTo>
                      <a:pt x="324" y="3"/>
                    </a:lnTo>
                    <a:lnTo>
                      <a:pt x="323" y="3"/>
                    </a:lnTo>
                    <a:lnTo>
                      <a:pt x="321" y="1"/>
                    </a:lnTo>
                    <a:lnTo>
                      <a:pt x="320" y="1"/>
                    </a:lnTo>
                    <a:lnTo>
                      <a:pt x="318" y="1"/>
                    </a:lnTo>
                    <a:lnTo>
                      <a:pt x="317" y="3"/>
                    </a:lnTo>
                    <a:lnTo>
                      <a:pt x="315" y="3"/>
                    </a:lnTo>
                    <a:lnTo>
                      <a:pt x="313" y="3"/>
                    </a:lnTo>
                    <a:lnTo>
                      <a:pt x="312" y="3"/>
                    </a:lnTo>
                    <a:lnTo>
                      <a:pt x="310" y="3"/>
                    </a:lnTo>
                    <a:lnTo>
                      <a:pt x="309" y="3"/>
                    </a:lnTo>
                    <a:lnTo>
                      <a:pt x="307" y="3"/>
                    </a:lnTo>
                    <a:lnTo>
                      <a:pt x="307" y="5"/>
                    </a:lnTo>
                    <a:lnTo>
                      <a:pt x="307" y="3"/>
                    </a:lnTo>
                    <a:lnTo>
                      <a:pt x="305" y="3"/>
                    </a:lnTo>
                    <a:lnTo>
                      <a:pt x="304" y="3"/>
                    </a:lnTo>
                    <a:lnTo>
                      <a:pt x="302" y="3"/>
                    </a:lnTo>
                    <a:lnTo>
                      <a:pt x="301" y="3"/>
                    </a:lnTo>
                    <a:lnTo>
                      <a:pt x="299" y="3"/>
                    </a:lnTo>
                    <a:lnTo>
                      <a:pt x="297" y="3"/>
                    </a:lnTo>
                    <a:lnTo>
                      <a:pt x="296" y="5"/>
                    </a:lnTo>
                    <a:lnTo>
                      <a:pt x="294" y="5"/>
                    </a:lnTo>
                    <a:lnTo>
                      <a:pt x="293" y="5"/>
                    </a:lnTo>
                    <a:lnTo>
                      <a:pt x="291" y="5"/>
                    </a:lnTo>
                    <a:lnTo>
                      <a:pt x="291" y="6"/>
                    </a:lnTo>
                    <a:lnTo>
                      <a:pt x="290" y="6"/>
                    </a:lnTo>
                    <a:lnTo>
                      <a:pt x="288" y="6"/>
                    </a:lnTo>
                    <a:lnTo>
                      <a:pt x="286" y="6"/>
                    </a:lnTo>
                    <a:lnTo>
                      <a:pt x="285" y="6"/>
                    </a:lnTo>
                    <a:lnTo>
                      <a:pt x="283" y="6"/>
                    </a:lnTo>
                    <a:lnTo>
                      <a:pt x="282" y="6"/>
                    </a:lnTo>
                    <a:lnTo>
                      <a:pt x="282" y="8"/>
                    </a:lnTo>
                    <a:lnTo>
                      <a:pt x="280" y="6"/>
                    </a:lnTo>
                    <a:lnTo>
                      <a:pt x="278" y="6"/>
                    </a:lnTo>
                    <a:lnTo>
                      <a:pt x="278" y="8"/>
                    </a:lnTo>
                    <a:lnTo>
                      <a:pt x="277" y="8"/>
                    </a:lnTo>
                    <a:lnTo>
                      <a:pt x="277" y="6"/>
                    </a:lnTo>
                    <a:lnTo>
                      <a:pt x="275" y="6"/>
                    </a:lnTo>
                    <a:lnTo>
                      <a:pt x="274" y="6"/>
                    </a:lnTo>
                    <a:lnTo>
                      <a:pt x="274" y="8"/>
                    </a:lnTo>
                    <a:lnTo>
                      <a:pt x="274" y="9"/>
                    </a:lnTo>
                    <a:lnTo>
                      <a:pt x="275" y="11"/>
                    </a:lnTo>
                    <a:lnTo>
                      <a:pt x="275" y="13"/>
                    </a:lnTo>
                    <a:lnTo>
                      <a:pt x="275" y="14"/>
                    </a:lnTo>
                    <a:lnTo>
                      <a:pt x="274" y="14"/>
                    </a:lnTo>
                    <a:lnTo>
                      <a:pt x="274" y="16"/>
                    </a:lnTo>
                    <a:lnTo>
                      <a:pt x="274" y="17"/>
                    </a:lnTo>
                    <a:lnTo>
                      <a:pt x="274" y="19"/>
                    </a:lnTo>
                    <a:lnTo>
                      <a:pt x="274" y="20"/>
                    </a:lnTo>
                    <a:lnTo>
                      <a:pt x="274" y="22"/>
                    </a:lnTo>
                    <a:lnTo>
                      <a:pt x="272" y="22"/>
                    </a:lnTo>
                    <a:lnTo>
                      <a:pt x="271" y="22"/>
                    </a:lnTo>
                    <a:lnTo>
                      <a:pt x="271" y="24"/>
                    </a:lnTo>
                    <a:lnTo>
                      <a:pt x="271" y="25"/>
                    </a:lnTo>
                    <a:lnTo>
                      <a:pt x="272" y="25"/>
                    </a:lnTo>
                    <a:lnTo>
                      <a:pt x="272" y="27"/>
                    </a:lnTo>
                    <a:lnTo>
                      <a:pt x="274" y="27"/>
                    </a:lnTo>
                    <a:lnTo>
                      <a:pt x="274" y="28"/>
                    </a:lnTo>
                    <a:lnTo>
                      <a:pt x="272" y="28"/>
                    </a:lnTo>
                    <a:lnTo>
                      <a:pt x="271" y="28"/>
                    </a:lnTo>
                    <a:lnTo>
                      <a:pt x="269" y="28"/>
                    </a:lnTo>
                    <a:lnTo>
                      <a:pt x="269" y="30"/>
                    </a:lnTo>
                    <a:lnTo>
                      <a:pt x="269" y="32"/>
                    </a:lnTo>
                    <a:lnTo>
                      <a:pt x="269" y="33"/>
                    </a:lnTo>
                    <a:lnTo>
                      <a:pt x="271" y="33"/>
                    </a:lnTo>
                    <a:lnTo>
                      <a:pt x="271" y="35"/>
                    </a:lnTo>
                    <a:lnTo>
                      <a:pt x="269" y="35"/>
                    </a:lnTo>
                    <a:lnTo>
                      <a:pt x="269" y="36"/>
                    </a:lnTo>
                    <a:lnTo>
                      <a:pt x="267" y="36"/>
                    </a:lnTo>
                    <a:lnTo>
                      <a:pt x="267" y="38"/>
                    </a:lnTo>
                    <a:lnTo>
                      <a:pt x="267" y="39"/>
                    </a:lnTo>
                    <a:lnTo>
                      <a:pt x="267" y="41"/>
                    </a:lnTo>
                    <a:lnTo>
                      <a:pt x="267" y="43"/>
                    </a:lnTo>
                    <a:lnTo>
                      <a:pt x="266" y="43"/>
                    </a:lnTo>
                    <a:lnTo>
                      <a:pt x="264" y="43"/>
                    </a:lnTo>
                    <a:lnTo>
                      <a:pt x="264" y="44"/>
                    </a:lnTo>
                    <a:lnTo>
                      <a:pt x="263" y="44"/>
                    </a:lnTo>
                    <a:lnTo>
                      <a:pt x="261" y="44"/>
                    </a:lnTo>
                    <a:lnTo>
                      <a:pt x="261" y="46"/>
                    </a:lnTo>
                    <a:lnTo>
                      <a:pt x="259" y="46"/>
                    </a:lnTo>
                    <a:lnTo>
                      <a:pt x="259" y="47"/>
                    </a:lnTo>
                    <a:lnTo>
                      <a:pt x="258" y="47"/>
                    </a:lnTo>
                    <a:lnTo>
                      <a:pt x="258" y="49"/>
                    </a:lnTo>
                    <a:lnTo>
                      <a:pt x="256" y="49"/>
                    </a:lnTo>
                    <a:lnTo>
                      <a:pt x="256" y="51"/>
                    </a:lnTo>
                    <a:lnTo>
                      <a:pt x="258" y="51"/>
                    </a:lnTo>
                    <a:lnTo>
                      <a:pt x="258" y="52"/>
                    </a:lnTo>
                    <a:lnTo>
                      <a:pt x="259" y="54"/>
                    </a:lnTo>
                    <a:lnTo>
                      <a:pt x="259" y="55"/>
                    </a:lnTo>
                    <a:lnTo>
                      <a:pt x="261" y="57"/>
                    </a:lnTo>
                    <a:lnTo>
                      <a:pt x="259" y="58"/>
                    </a:lnTo>
                    <a:lnTo>
                      <a:pt x="258" y="58"/>
                    </a:lnTo>
                    <a:lnTo>
                      <a:pt x="258" y="60"/>
                    </a:lnTo>
                    <a:lnTo>
                      <a:pt x="259" y="62"/>
                    </a:lnTo>
                    <a:lnTo>
                      <a:pt x="259" y="63"/>
                    </a:lnTo>
                    <a:lnTo>
                      <a:pt x="258" y="63"/>
                    </a:lnTo>
                    <a:lnTo>
                      <a:pt x="258" y="65"/>
                    </a:lnTo>
                    <a:lnTo>
                      <a:pt x="256" y="65"/>
                    </a:lnTo>
                    <a:lnTo>
                      <a:pt x="255" y="65"/>
                    </a:lnTo>
                    <a:lnTo>
                      <a:pt x="255" y="66"/>
                    </a:lnTo>
                    <a:lnTo>
                      <a:pt x="253" y="66"/>
                    </a:lnTo>
                    <a:lnTo>
                      <a:pt x="253" y="68"/>
                    </a:lnTo>
                    <a:lnTo>
                      <a:pt x="252" y="68"/>
                    </a:lnTo>
                    <a:lnTo>
                      <a:pt x="252" y="70"/>
                    </a:lnTo>
                    <a:lnTo>
                      <a:pt x="252" y="71"/>
                    </a:lnTo>
                    <a:lnTo>
                      <a:pt x="250" y="71"/>
                    </a:lnTo>
                    <a:lnTo>
                      <a:pt x="248" y="71"/>
                    </a:lnTo>
                    <a:lnTo>
                      <a:pt x="245" y="71"/>
                    </a:lnTo>
                    <a:lnTo>
                      <a:pt x="245" y="73"/>
                    </a:lnTo>
                    <a:lnTo>
                      <a:pt x="244" y="73"/>
                    </a:lnTo>
                    <a:lnTo>
                      <a:pt x="242" y="73"/>
                    </a:lnTo>
                    <a:lnTo>
                      <a:pt x="242" y="71"/>
                    </a:lnTo>
                    <a:lnTo>
                      <a:pt x="240" y="71"/>
                    </a:lnTo>
                    <a:lnTo>
                      <a:pt x="239" y="71"/>
                    </a:lnTo>
                    <a:lnTo>
                      <a:pt x="239" y="70"/>
                    </a:lnTo>
                    <a:lnTo>
                      <a:pt x="239" y="68"/>
                    </a:lnTo>
                    <a:lnTo>
                      <a:pt x="239" y="66"/>
                    </a:lnTo>
                    <a:lnTo>
                      <a:pt x="237" y="66"/>
                    </a:lnTo>
                    <a:lnTo>
                      <a:pt x="236" y="66"/>
                    </a:lnTo>
                    <a:lnTo>
                      <a:pt x="234" y="66"/>
                    </a:lnTo>
                    <a:lnTo>
                      <a:pt x="234" y="68"/>
                    </a:lnTo>
                    <a:lnTo>
                      <a:pt x="233" y="68"/>
                    </a:lnTo>
                    <a:lnTo>
                      <a:pt x="233" y="70"/>
                    </a:lnTo>
                    <a:lnTo>
                      <a:pt x="233" y="71"/>
                    </a:lnTo>
                    <a:lnTo>
                      <a:pt x="231" y="71"/>
                    </a:lnTo>
                    <a:lnTo>
                      <a:pt x="231" y="73"/>
                    </a:lnTo>
                    <a:lnTo>
                      <a:pt x="231" y="74"/>
                    </a:lnTo>
                    <a:lnTo>
                      <a:pt x="229" y="74"/>
                    </a:lnTo>
                    <a:lnTo>
                      <a:pt x="229" y="76"/>
                    </a:lnTo>
                    <a:lnTo>
                      <a:pt x="229" y="77"/>
                    </a:lnTo>
                    <a:lnTo>
                      <a:pt x="231" y="79"/>
                    </a:lnTo>
                    <a:lnTo>
                      <a:pt x="231" y="81"/>
                    </a:lnTo>
                    <a:lnTo>
                      <a:pt x="229" y="81"/>
                    </a:lnTo>
                    <a:lnTo>
                      <a:pt x="229" y="82"/>
                    </a:lnTo>
                    <a:lnTo>
                      <a:pt x="228" y="82"/>
                    </a:lnTo>
                    <a:lnTo>
                      <a:pt x="228" y="81"/>
                    </a:lnTo>
                    <a:lnTo>
                      <a:pt x="226" y="81"/>
                    </a:lnTo>
                    <a:lnTo>
                      <a:pt x="225" y="81"/>
                    </a:lnTo>
                    <a:lnTo>
                      <a:pt x="225" y="82"/>
                    </a:lnTo>
                    <a:lnTo>
                      <a:pt x="223" y="82"/>
                    </a:lnTo>
                    <a:lnTo>
                      <a:pt x="223" y="84"/>
                    </a:lnTo>
                    <a:lnTo>
                      <a:pt x="223" y="85"/>
                    </a:lnTo>
                    <a:lnTo>
                      <a:pt x="223" y="87"/>
                    </a:lnTo>
                    <a:lnTo>
                      <a:pt x="221" y="87"/>
                    </a:lnTo>
                    <a:lnTo>
                      <a:pt x="220" y="87"/>
                    </a:lnTo>
                    <a:lnTo>
                      <a:pt x="218" y="87"/>
                    </a:lnTo>
                    <a:lnTo>
                      <a:pt x="217" y="85"/>
                    </a:lnTo>
                    <a:lnTo>
                      <a:pt x="215" y="85"/>
                    </a:lnTo>
                    <a:lnTo>
                      <a:pt x="214" y="85"/>
                    </a:lnTo>
                    <a:lnTo>
                      <a:pt x="214" y="87"/>
                    </a:lnTo>
                    <a:lnTo>
                      <a:pt x="212" y="87"/>
                    </a:lnTo>
                    <a:lnTo>
                      <a:pt x="210" y="87"/>
                    </a:lnTo>
                    <a:lnTo>
                      <a:pt x="209" y="87"/>
                    </a:lnTo>
                    <a:lnTo>
                      <a:pt x="209" y="85"/>
                    </a:lnTo>
                    <a:lnTo>
                      <a:pt x="209" y="84"/>
                    </a:lnTo>
                    <a:lnTo>
                      <a:pt x="207" y="84"/>
                    </a:lnTo>
                    <a:lnTo>
                      <a:pt x="207" y="82"/>
                    </a:lnTo>
                    <a:lnTo>
                      <a:pt x="206" y="82"/>
                    </a:lnTo>
                    <a:lnTo>
                      <a:pt x="204" y="82"/>
                    </a:lnTo>
                    <a:lnTo>
                      <a:pt x="204" y="84"/>
                    </a:lnTo>
                    <a:lnTo>
                      <a:pt x="202" y="84"/>
                    </a:lnTo>
                    <a:lnTo>
                      <a:pt x="202" y="85"/>
                    </a:lnTo>
                    <a:lnTo>
                      <a:pt x="201" y="85"/>
                    </a:lnTo>
                    <a:lnTo>
                      <a:pt x="199" y="85"/>
                    </a:lnTo>
                    <a:lnTo>
                      <a:pt x="199" y="87"/>
                    </a:lnTo>
                    <a:lnTo>
                      <a:pt x="198" y="87"/>
                    </a:lnTo>
                    <a:lnTo>
                      <a:pt x="198" y="89"/>
                    </a:lnTo>
                    <a:lnTo>
                      <a:pt x="196" y="89"/>
                    </a:lnTo>
                    <a:lnTo>
                      <a:pt x="195" y="89"/>
                    </a:lnTo>
                    <a:lnTo>
                      <a:pt x="195" y="90"/>
                    </a:lnTo>
                    <a:lnTo>
                      <a:pt x="193" y="90"/>
                    </a:lnTo>
                    <a:lnTo>
                      <a:pt x="193" y="92"/>
                    </a:lnTo>
                    <a:lnTo>
                      <a:pt x="191" y="92"/>
                    </a:lnTo>
                    <a:lnTo>
                      <a:pt x="190" y="92"/>
                    </a:lnTo>
                    <a:lnTo>
                      <a:pt x="190" y="93"/>
                    </a:lnTo>
                    <a:lnTo>
                      <a:pt x="188" y="93"/>
                    </a:lnTo>
                    <a:lnTo>
                      <a:pt x="188" y="95"/>
                    </a:lnTo>
                    <a:lnTo>
                      <a:pt x="187" y="95"/>
                    </a:lnTo>
                    <a:lnTo>
                      <a:pt x="185" y="95"/>
                    </a:lnTo>
                    <a:lnTo>
                      <a:pt x="185" y="97"/>
                    </a:lnTo>
                    <a:lnTo>
                      <a:pt x="185" y="98"/>
                    </a:lnTo>
                    <a:lnTo>
                      <a:pt x="183" y="100"/>
                    </a:lnTo>
                    <a:lnTo>
                      <a:pt x="182" y="100"/>
                    </a:lnTo>
                    <a:lnTo>
                      <a:pt x="180" y="101"/>
                    </a:lnTo>
                    <a:lnTo>
                      <a:pt x="180" y="103"/>
                    </a:lnTo>
                    <a:lnTo>
                      <a:pt x="179" y="103"/>
                    </a:lnTo>
                    <a:lnTo>
                      <a:pt x="177" y="103"/>
                    </a:lnTo>
                    <a:lnTo>
                      <a:pt x="177" y="101"/>
                    </a:lnTo>
                    <a:lnTo>
                      <a:pt x="177" y="100"/>
                    </a:lnTo>
                    <a:lnTo>
                      <a:pt x="176" y="100"/>
                    </a:lnTo>
                    <a:lnTo>
                      <a:pt x="174" y="100"/>
                    </a:lnTo>
                    <a:lnTo>
                      <a:pt x="172" y="100"/>
                    </a:lnTo>
                    <a:lnTo>
                      <a:pt x="171" y="101"/>
                    </a:lnTo>
                    <a:lnTo>
                      <a:pt x="171" y="103"/>
                    </a:lnTo>
                    <a:lnTo>
                      <a:pt x="169" y="104"/>
                    </a:lnTo>
                    <a:lnTo>
                      <a:pt x="169" y="106"/>
                    </a:lnTo>
                    <a:lnTo>
                      <a:pt x="169" y="108"/>
                    </a:lnTo>
                    <a:lnTo>
                      <a:pt x="169" y="109"/>
                    </a:lnTo>
                    <a:lnTo>
                      <a:pt x="168" y="109"/>
                    </a:lnTo>
                    <a:lnTo>
                      <a:pt x="168" y="108"/>
                    </a:lnTo>
                    <a:lnTo>
                      <a:pt x="166" y="108"/>
                    </a:lnTo>
                    <a:lnTo>
                      <a:pt x="164" y="108"/>
                    </a:lnTo>
                    <a:lnTo>
                      <a:pt x="163" y="108"/>
                    </a:lnTo>
                    <a:lnTo>
                      <a:pt x="161" y="108"/>
                    </a:lnTo>
                    <a:lnTo>
                      <a:pt x="160" y="108"/>
                    </a:lnTo>
                    <a:lnTo>
                      <a:pt x="158" y="108"/>
                    </a:lnTo>
                    <a:lnTo>
                      <a:pt x="158" y="109"/>
                    </a:lnTo>
                    <a:lnTo>
                      <a:pt x="158" y="111"/>
                    </a:lnTo>
                    <a:lnTo>
                      <a:pt x="160" y="111"/>
                    </a:lnTo>
                    <a:lnTo>
                      <a:pt x="160" y="112"/>
                    </a:lnTo>
                    <a:lnTo>
                      <a:pt x="158" y="112"/>
                    </a:lnTo>
                    <a:lnTo>
                      <a:pt x="157" y="112"/>
                    </a:lnTo>
                    <a:lnTo>
                      <a:pt x="155" y="112"/>
                    </a:lnTo>
                    <a:lnTo>
                      <a:pt x="153" y="114"/>
                    </a:lnTo>
                    <a:lnTo>
                      <a:pt x="153" y="116"/>
                    </a:lnTo>
                    <a:lnTo>
                      <a:pt x="153" y="117"/>
                    </a:lnTo>
                    <a:lnTo>
                      <a:pt x="153" y="119"/>
                    </a:lnTo>
                    <a:lnTo>
                      <a:pt x="152" y="119"/>
                    </a:lnTo>
                    <a:lnTo>
                      <a:pt x="150" y="119"/>
                    </a:lnTo>
                    <a:lnTo>
                      <a:pt x="150" y="117"/>
                    </a:lnTo>
                    <a:lnTo>
                      <a:pt x="149" y="117"/>
                    </a:lnTo>
                    <a:lnTo>
                      <a:pt x="149" y="119"/>
                    </a:lnTo>
                    <a:lnTo>
                      <a:pt x="149" y="120"/>
                    </a:lnTo>
                    <a:lnTo>
                      <a:pt x="149" y="122"/>
                    </a:lnTo>
                    <a:lnTo>
                      <a:pt x="147" y="122"/>
                    </a:lnTo>
                    <a:lnTo>
                      <a:pt x="145" y="122"/>
                    </a:lnTo>
                    <a:lnTo>
                      <a:pt x="144" y="122"/>
                    </a:lnTo>
                    <a:lnTo>
                      <a:pt x="142" y="122"/>
                    </a:lnTo>
                    <a:lnTo>
                      <a:pt x="141" y="122"/>
                    </a:lnTo>
                    <a:lnTo>
                      <a:pt x="139" y="122"/>
                    </a:lnTo>
                    <a:lnTo>
                      <a:pt x="139" y="123"/>
                    </a:lnTo>
                    <a:lnTo>
                      <a:pt x="138" y="123"/>
                    </a:lnTo>
                    <a:lnTo>
                      <a:pt x="136" y="123"/>
                    </a:lnTo>
                    <a:lnTo>
                      <a:pt x="136" y="125"/>
                    </a:lnTo>
                    <a:lnTo>
                      <a:pt x="134" y="125"/>
                    </a:lnTo>
                    <a:lnTo>
                      <a:pt x="134" y="127"/>
                    </a:lnTo>
                    <a:lnTo>
                      <a:pt x="134" y="128"/>
                    </a:lnTo>
                    <a:lnTo>
                      <a:pt x="133" y="128"/>
                    </a:lnTo>
                    <a:lnTo>
                      <a:pt x="131" y="128"/>
                    </a:lnTo>
                    <a:lnTo>
                      <a:pt x="130" y="128"/>
                    </a:lnTo>
                    <a:lnTo>
                      <a:pt x="128" y="128"/>
                    </a:lnTo>
                    <a:lnTo>
                      <a:pt x="126" y="128"/>
                    </a:lnTo>
                    <a:lnTo>
                      <a:pt x="126" y="130"/>
                    </a:lnTo>
                    <a:lnTo>
                      <a:pt x="125" y="130"/>
                    </a:lnTo>
                    <a:lnTo>
                      <a:pt x="123" y="130"/>
                    </a:lnTo>
                    <a:lnTo>
                      <a:pt x="123" y="131"/>
                    </a:lnTo>
                    <a:lnTo>
                      <a:pt x="122" y="131"/>
                    </a:lnTo>
                    <a:lnTo>
                      <a:pt x="120" y="131"/>
                    </a:lnTo>
                    <a:lnTo>
                      <a:pt x="120" y="130"/>
                    </a:lnTo>
                    <a:lnTo>
                      <a:pt x="119" y="130"/>
                    </a:lnTo>
                    <a:lnTo>
                      <a:pt x="117" y="130"/>
                    </a:lnTo>
                    <a:lnTo>
                      <a:pt x="115" y="130"/>
                    </a:lnTo>
                    <a:lnTo>
                      <a:pt x="115" y="131"/>
                    </a:lnTo>
                    <a:lnTo>
                      <a:pt x="115" y="133"/>
                    </a:lnTo>
                    <a:lnTo>
                      <a:pt x="115" y="135"/>
                    </a:lnTo>
                    <a:lnTo>
                      <a:pt x="117" y="135"/>
                    </a:lnTo>
                    <a:lnTo>
                      <a:pt x="117" y="136"/>
                    </a:lnTo>
                    <a:lnTo>
                      <a:pt x="115" y="138"/>
                    </a:lnTo>
                    <a:lnTo>
                      <a:pt x="114" y="138"/>
                    </a:lnTo>
                    <a:lnTo>
                      <a:pt x="112" y="138"/>
                    </a:lnTo>
                    <a:lnTo>
                      <a:pt x="112" y="136"/>
                    </a:lnTo>
                    <a:lnTo>
                      <a:pt x="111" y="136"/>
                    </a:lnTo>
                    <a:lnTo>
                      <a:pt x="111" y="135"/>
                    </a:lnTo>
                    <a:lnTo>
                      <a:pt x="109" y="135"/>
                    </a:lnTo>
                    <a:lnTo>
                      <a:pt x="109" y="133"/>
                    </a:lnTo>
                    <a:lnTo>
                      <a:pt x="107" y="133"/>
                    </a:lnTo>
                    <a:lnTo>
                      <a:pt x="106" y="133"/>
                    </a:lnTo>
                    <a:lnTo>
                      <a:pt x="104" y="133"/>
                    </a:lnTo>
                    <a:lnTo>
                      <a:pt x="104" y="135"/>
                    </a:lnTo>
                    <a:lnTo>
                      <a:pt x="103" y="135"/>
                    </a:lnTo>
                    <a:lnTo>
                      <a:pt x="101" y="136"/>
                    </a:lnTo>
                    <a:lnTo>
                      <a:pt x="99" y="136"/>
                    </a:lnTo>
                    <a:lnTo>
                      <a:pt x="99" y="138"/>
                    </a:lnTo>
                    <a:lnTo>
                      <a:pt x="98" y="138"/>
                    </a:lnTo>
                    <a:lnTo>
                      <a:pt x="98" y="139"/>
                    </a:lnTo>
                    <a:lnTo>
                      <a:pt x="96" y="139"/>
                    </a:lnTo>
                    <a:lnTo>
                      <a:pt x="95" y="138"/>
                    </a:lnTo>
                    <a:lnTo>
                      <a:pt x="95" y="139"/>
                    </a:lnTo>
                    <a:lnTo>
                      <a:pt x="93" y="139"/>
                    </a:lnTo>
                    <a:lnTo>
                      <a:pt x="93" y="141"/>
                    </a:lnTo>
                    <a:lnTo>
                      <a:pt x="93" y="142"/>
                    </a:lnTo>
                    <a:lnTo>
                      <a:pt x="93" y="144"/>
                    </a:lnTo>
                    <a:lnTo>
                      <a:pt x="92" y="144"/>
                    </a:lnTo>
                    <a:lnTo>
                      <a:pt x="92" y="142"/>
                    </a:lnTo>
                    <a:lnTo>
                      <a:pt x="90" y="142"/>
                    </a:lnTo>
                    <a:lnTo>
                      <a:pt x="88" y="142"/>
                    </a:lnTo>
                    <a:lnTo>
                      <a:pt x="88" y="144"/>
                    </a:lnTo>
                    <a:lnTo>
                      <a:pt x="88" y="146"/>
                    </a:lnTo>
                    <a:lnTo>
                      <a:pt x="87" y="146"/>
                    </a:lnTo>
                    <a:lnTo>
                      <a:pt x="85" y="147"/>
                    </a:lnTo>
                    <a:lnTo>
                      <a:pt x="84" y="149"/>
                    </a:lnTo>
                    <a:lnTo>
                      <a:pt x="84" y="150"/>
                    </a:lnTo>
                    <a:lnTo>
                      <a:pt x="82" y="150"/>
                    </a:lnTo>
                    <a:lnTo>
                      <a:pt x="82" y="152"/>
                    </a:lnTo>
                    <a:lnTo>
                      <a:pt x="80" y="152"/>
                    </a:lnTo>
                    <a:lnTo>
                      <a:pt x="79" y="152"/>
                    </a:lnTo>
                    <a:lnTo>
                      <a:pt x="77" y="152"/>
                    </a:lnTo>
                    <a:lnTo>
                      <a:pt x="77" y="154"/>
                    </a:lnTo>
                    <a:lnTo>
                      <a:pt x="76" y="154"/>
                    </a:lnTo>
                    <a:lnTo>
                      <a:pt x="74" y="154"/>
                    </a:lnTo>
                    <a:lnTo>
                      <a:pt x="73" y="154"/>
                    </a:lnTo>
                    <a:lnTo>
                      <a:pt x="71" y="154"/>
                    </a:lnTo>
                    <a:lnTo>
                      <a:pt x="71" y="155"/>
                    </a:lnTo>
                    <a:lnTo>
                      <a:pt x="69" y="155"/>
                    </a:lnTo>
                    <a:lnTo>
                      <a:pt x="69" y="154"/>
                    </a:lnTo>
                    <a:lnTo>
                      <a:pt x="69" y="155"/>
                    </a:lnTo>
                    <a:lnTo>
                      <a:pt x="68" y="155"/>
                    </a:lnTo>
                    <a:lnTo>
                      <a:pt x="68" y="157"/>
                    </a:lnTo>
                    <a:lnTo>
                      <a:pt x="66" y="157"/>
                    </a:lnTo>
                    <a:lnTo>
                      <a:pt x="65" y="155"/>
                    </a:lnTo>
                    <a:lnTo>
                      <a:pt x="63" y="155"/>
                    </a:lnTo>
                    <a:lnTo>
                      <a:pt x="63" y="154"/>
                    </a:lnTo>
                    <a:lnTo>
                      <a:pt x="61" y="154"/>
                    </a:lnTo>
                    <a:lnTo>
                      <a:pt x="61" y="155"/>
                    </a:lnTo>
                    <a:lnTo>
                      <a:pt x="61" y="157"/>
                    </a:lnTo>
                    <a:lnTo>
                      <a:pt x="61" y="158"/>
                    </a:lnTo>
                    <a:lnTo>
                      <a:pt x="60" y="158"/>
                    </a:lnTo>
                    <a:lnTo>
                      <a:pt x="60" y="160"/>
                    </a:lnTo>
                    <a:lnTo>
                      <a:pt x="58" y="160"/>
                    </a:lnTo>
                    <a:lnTo>
                      <a:pt x="58" y="158"/>
                    </a:lnTo>
                    <a:lnTo>
                      <a:pt x="57" y="158"/>
                    </a:lnTo>
                    <a:lnTo>
                      <a:pt x="55" y="158"/>
                    </a:lnTo>
                    <a:lnTo>
                      <a:pt x="54" y="158"/>
                    </a:lnTo>
                    <a:lnTo>
                      <a:pt x="52" y="158"/>
                    </a:lnTo>
                    <a:lnTo>
                      <a:pt x="50" y="158"/>
                    </a:lnTo>
                    <a:lnTo>
                      <a:pt x="49" y="160"/>
                    </a:lnTo>
                    <a:lnTo>
                      <a:pt x="47" y="160"/>
                    </a:lnTo>
                    <a:lnTo>
                      <a:pt x="46" y="160"/>
                    </a:lnTo>
                    <a:lnTo>
                      <a:pt x="46" y="158"/>
                    </a:lnTo>
                    <a:lnTo>
                      <a:pt x="46" y="157"/>
                    </a:lnTo>
                    <a:lnTo>
                      <a:pt x="44" y="157"/>
                    </a:lnTo>
                    <a:lnTo>
                      <a:pt x="44" y="155"/>
                    </a:lnTo>
                    <a:lnTo>
                      <a:pt x="42" y="154"/>
                    </a:lnTo>
                    <a:lnTo>
                      <a:pt x="41" y="154"/>
                    </a:lnTo>
                    <a:lnTo>
                      <a:pt x="41" y="152"/>
                    </a:lnTo>
                    <a:lnTo>
                      <a:pt x="41" y="154"/>
                    </a:lnTo>
                    <a:lnTo>
                      <a:pt x="41" y="152"/>
                    </a:lnTo>
                    <a:lnTo>
                      <a:pt x="39" y="154"/>
                    </a:lnTo>
                    <a:lnTo>
                      <a:pt x="38" y="154"/>
                    </a:lnTo>
                    <a:lnTo>
                      <a:pt x="36" y="154"/>
                    </a:lnTo>
                    <a:lnTo>
                      <a:pt x="36" y="152"/>
                    </a:lnTo>
                    <a:lnTo>
                      <a:pt x="35" y="152"/>
                    </a:lnTo>
                    <a:lnTo>
                      <a:pt x="33" y="150"/>
                    </a:lnTo>
                    <a:lnTo>
                      <a:pt x="33" y="149"/>
                    </a:lnTo>
                    <a:lnTo>
                      <a:pt x="31" y="149"/>
                    </a:lnTo>
                    <a:lnTo>
                      <a:pt x="31" y="147"/>
                    </a:lnTo>
                    <a:lnTo>
                      <a:pt x="30" y="147"/>
                    </a:lnTo>
                    <a:lnTo>
                      <a:pt x="30" y="146"/>
                    </a:lnTo>
                    <a:lnTo>
                      <a:pt x="28" y="146"/>
                    </a:lnTo>
                    <a:lnTo>
                      <a:pt x="27" y="146"/>
                    </a:lnTo>
                    <a:lnTo>
                      <a:pt x="25" y="146"/>
                    </a:lnTo>
                    <a:lnTo>
                      <a:pt x="25" y="144"/>
                    </a:lnTo>
                    <a:lnTo>
                      <a:pt x="23" y="144"/>
                    </a:lnTo>
                    <a:lnTo>
                      <a:pt x="23" y="142"/>
                    </a:lnTo>
                    <a:lnTo>
                      <a:pt x="23" y="141"/>
                    </a:lnTo>
                    <a:lnTo>
                      <a:pt x="23" y="139"/>
                    </a:lnTo>
                    <a:lnTo>
                      <a:pt x="22" y="139"/>
                    </a:lnTo>
                    <a:lnTo>
                      <a:pt x="20" y="138"/>
                    </a:lnTo>
                    <a:lnTo>
                      <a:pt x="19" y="138"/>
                    </a:lnTo>
                    <a:lnTo>
                      <a:pt x="19" y="136"/>
                    </a:lnTo>
                    <a:lnTo>
                      <a:pt x="17" y="136"/>
                    </a:lnTo>
                    <a:lnTo>
                      <a:pt x="16" y="136"/>
                    </a:lnTo>
                    <a:lnTo>
                      <a:pt x="16" y="135"/>
                    </a:lnTo>
                    <a:lnTo>
                      <a:pt x="16" y="133"/>
                    </a:lnTo>
                    <a:lnTo>
                      <a:pt x="16" y="131"/>
                    </a:lnTo>
                    <a:lnTo>
                      <a:pt x="16" y="130"/>
                    </a:lnTo>
                    <a:lnTo>
                      <a:pt x="14" y="130"/>
                    </a:lnTo>
                    <a:lnTo>
                      <a:pt x="12" y="130"/>
                    </a:lnTo>
                    <a:lnTo>
                      <a:pt x="11" y="130"/>
                    </a:lnTo>
                    <a:lnTo>
                      <a:pt x="9" y="128"/>
                    </a:lnTo>
                    <a:lnTo>
                      <a:pt x="8" y="128"/>
                    </a:lnTo>
                    <a:lnTo>
                      <a:pt x="8" y="127"/>
                    </a:lnTo>
                    <a:lnTo>
                      <a:pt x="6" y="127"/>
                    </a:lnTo>
                    <a:lnTo>
                      <a:pt x="6" y="125"/>
                    </a:lnTo>
                    <a:lnTo>
                      <a:pt x="4" y="125"/>
                    </a:lnTo>
                    <a:lnTo>
                      <a:pt x="4" y="123"/>
                    </a:lnTo>
                    <a:lnTo>
                      <a:pt x="4" y="122"/>
                    </a:lnTo>
                    <a:lnTo>
                      <a:pt x="4" y="120"/>
                    </a:lnTo>
                    <a:lnTo>
                      <a:pt x="3" y="120"/>
                    </a:lnTo>
                    <a:lnTo>
                      <a:pt x="3" y="119"/>
                    </a:lnTo>
                    <a:lnTo>
                      <a:pt x="1" y="119"/>
                    </a:lnTo>
                    <a:lnTo>
                      <a:pt x="1" y="117"/>
                    </a:lnTo>
                    <a:lnTo>
                      <a:pt x="0" y="116"/>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53" name="Freeform 51"/>
              <p:cNvSpPr>
                <a:spLocks/>
              </p:cNvSpPr>
              <p:nvPr/>
            </p:nvSpPr>
            <p:spPr bwMode="auto">
              <a:xfrm>
                <a:off x="2307" y="1505"/>
                <a:ext cx="457" cy="574"/>
              </a:xfrm>
              <a:custGeom>
                <a:avLst/>
                <a:gdLst>
                  <a:gd name="T0" fmla="*/ 438 w 457"/>
                  <a:gd name="T1" fmla="*/ 567 h 574"/>
                  <a:gd name="T2" fmla="*/ 416 w 457"/>
                  <a:gd name="T3" fmla="*/ 558 h 574"/>
                  <a:gd name="T4" fmla="*/ 398 w 457"/>
                  <a:gd name="T5" fmla="*/ 569 h 574"/>
                  <a:gd name="T6" fmla="*/ 385 w 457"/>
                  <a:gd name="T7" fmla="*/ 553 h 574"/>
                  <a:gd name="T8" fmla="*/ 363 w 457"/>
                  <a:gd name="T9" fmla="*/ 547 h 574"/>
                  <a:gd name="T10" fmla="*/ 354 w 457"/>
                  <a:gd name="T11" fmla="*/ 528 h 574"/>
                  <a:gd name="T12" fmla="*/ 357 w 457"/>
                  <a:gd name="T13" fmla="*/ 510 h 574"/>
                  <a:gd name="T14" fmla="*/ 339 w 457"/>
                  <a:gd name="T15" fmla="*/ 499 h 574"/>
                  <a:gd name="T16" fmla="*/ 320 w 457"/>
                  <a:gd name="T17" fmla="*/ 490 h 574"/>
                  <a:gd name="T18" fmla="*/ 300 w 457"/>
                  <a:gd name="T19" fmla="*/ 483 h 574"/>
                  <a:gd name="T20" fmla="*/ 278 w 457"/>
                  <a:gd name="T21" fmla="*/ 480 h 574"/>
                  <a:gd name="T22" fmla="*/ 262 w 457"/>
                  <a:gd name="T23" fmla="*/ 472 h 574"/>
                  <a:gd name="T24" fmla="*/ 243 w 457"/>
                  <a:gd name="T25" fmla="*/ 472 h 574"/>
                  <a:gd name="T26" fmla="*/ 224 w 457"/>
                  <a:gd name="T27" fmla="*/ 466 h 574"/>
                  <a:gd name="T28" fmla="*/ 208 w 457"/>
                  <a:gd name="T29" fmla="*/ 474 h 574"/>
                  <a:gd name="T30" fmla="*/ 194 w 457"/>
                  <a:gd name="T31" fmla="*/ 471 h 574"/>
                  <a:gd name="T32" fmla="*/ 175 w 457"/>
                  <a:gd name="T33" fmla="*/ 464 h 574"/>
                  <a:gd name="T34" fmla="*/ 160 w 457"/>
                  <a:gd name="T35" fmla="*/ 455 h 574"/>
                  <a:gd name="T36" fmla="*/ 167 w 457"/>
                  <a:gd name="T37" fmla="*/ 434 h 574"/>
                  <a:gd name="T38" fmla="*/ 148 w 457"/>
                  <a:gd name="T39" fmla="*/ 431 h 574"/>
                  <a:gd name="T40" fmla="*/ 130 w 457"/>
                  <a:gd name="T41" fmla="*/ 439 h 574"/>
                  <a:gd name="T42" fmla="*/ 116 w 457"/>
                  <a:gd name="T43" fmla="*/ 425 h 574"/>
                  <a:gd name="T44" fmla="*/ 100 w 457"/>
                  <a:gd name="T45" fmla="*/ 417 h 574"/>
                  <a:gd name="T46" fmla="*/ 96 w 457"/>
                  <a:gd name="T47" fmla="*/ 401 h 574"/>
                  <a:gd name="T48" fmla="*/ 97 w 457"/>
                  <a:gd name="T49" fmla="*/ 387 h 574"/>
                  <a:gd name="T50" fmla="*/ 102 w 457"/>
                  <a:gd name="T51" fmla="*/ 369 h 574"/>
                  <a:gd name="T52" fmla="*/ 113 w 457"/>
                  <a:gd name="T53" fmla="*/ 353 h 574"/>
                  <a:gd name="T54" fmla="*/ 111 w 457"/>
                  <a:gd name="T55" fmla="*/ 341 h 574"/>
                  <a:gd name="T56" fmla="*/ 99 w 457"/>
                  <a:gd name="T57" fmla="*/ 353 h 574"/>
                  <a:gd name="T58" fmla="*/ 91 w 457"/>
                  <a:gd name="T59" fmla="*/ 339 h 574"/>
                  <a:gd name="T60" fmla="*/ 99 w 457"/>
                  <a:gd name="T61" fmla="*/ 322 h 574"/>
                  <a:gd name="T62" fmla="*/ 110 w 457"/>
                  <a:gd name="T63" fmla="*/ 304 h 574"/>
                  <a:gd name="T64" fmla="*/ 122 w 457"/>
                  <a:gd name="T65" fmla="*/ 288 h 574"/>
                  <a:gd name="T66" fmla="*/ 134 w 457"/>
                  <a:gd name="T67" fmla="*/ 271 h 574"/>
                  <a:gd name="T68" fmla="*/ 151 w 457"/>
                  <a:gd name="T69" fmla="*/ 257 h 574"/>
                  <a:gd name="T70" fmla="*/ 164 w 457"/>
                  <a:gd name="T71" fmla="*/ 249 h 574"/>
                  <a:gd name="T72" fmla="*/ 173 w 457"/>
                  <a:gd name="T73" fmla="*/ 247 h 574"/>
                  <a:gd name="T74" fmla="*/ 157 w 457"/>
                  <a:gd name="T75" fmla="*/ 239 h 574"/>
                  <a:gd name="T76" fmla="*/ 145 w 457"/>
                  <a:gd name="T77" fmla="*/ 233 h 574"/>
                  <a:gd name="T78" fmla="*/ 146 w 457"/>
                  <a:gd name="T79" fmla="*/ 211 h 574"/>
                  <a:gd name="T80" fmla="*/ 151 w 457"/>
                  <a:gd name="T81" fmla="*/ 193 h 574"/>
                  <a:gd name="T82" fmla="*/ 167 w 457"/>
                  <a:gd name="T83" fmla="*/ 190 h 574"/>
                  <a:gd name="T84" fmla="*/ 165 w 457"/>
                  <a:gd name="T85" fmla="*/ 179 h 574"/>
                  <a:gd name="T86" fmla="*/ 167 w 457"/>
                  <a:gd name="T87" fmla="*/ 165 h 574"/>
                  <a:gd name="T88" fmla="*/ 159 w 457"/>
                  <a:gd name="T89" fmla="*/ 146 h 574"/>
                  <a:gd name="T90" fmla="*/ 141 w 457"/>
                  <a:gd name="T91" fmla="*/ 155 h 574"/>
                  <a:gd name="T92" fmla="*/ 132 w 457"/>
                  <a:gd name="T93" fmla="*/ 141 h 574"/>
                  <a:gd name="T94" fmla="*/ 130 w 457"/>
                  <a:gd name="T95" fmla="*/ 124 h 574"/>
                  <a:gd name="T96" fmla="*/ 119 w 457"/>
                  <a:gd name="T97" fmla="*/ 105 h 574"/>
                  <a:gd name="T98" fmla="*/ 107 w 457"/>
                  <a:gd name="T99" fmla="*/ 89 h 574"/>
                  <a:gd name="T100" fmla="*/ 107 w 457"/>
                  <a:gd name="T101" fmla="*/ 68 h 574"/>
                  <a:gd name="T102" fmla="*/ 108 w 457"/>
                  <a:gd name="T103" fmla="*/ 52 h 574"/>
                  <a:gd name="T104" fmla="*/ 97 w 457"/>
                  <a:gd name="T105" fmla="*/ 46 h 574"/>
                  <a:gd name="T106" fmla="*/ 77 w 457"/>
                  <a:gd name="T107" fmla="*/ 63 h 574"/>
                  <a:gd name="T108" fmla="*/ 58 w 457"/>
                  <a:gd name="T109" fmla="*/ 81 h 574"/>
                  <a:gd name="T110" fmla="*/ 43 w 457"/>
                  <a:gd name="T111" fmla="*/ 68 h 574"/>
                  <a:gd name="T112" fmla="*/ 40 w 457"/>
                  <a:gd name="T113" fmla="*/ 51 h 574"/>
                  <a:gd name="T114" fmla="*/ 27 w 457"/>
                  <a:gd name="T115" fmla="*/ 33 h 574"/>
                  <a:gd name="T116" fmla="*/ 18 w 457"/>
                  <a:gd name="T117" fmla="*/ 17 h 574"/>
                  <a:gd name="T118" fmla="*/ 2 w 457"/>
                  <a:gd name="T119" fmla="*/ 5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57" h="574">
                    <a:moveTo>
                      <a:pt x="457" y="574"/>
                    </a:moveTo>
                    <a:lnTo>
                      <a:pt x="455" y="572"/>
                    </a:lnTo>
                    <a:lnTo>
                      <a:pt x="454" y="572"/>
                    </a:lnTo>
                    <a:lnTo>
                      <a:pt x="454" y="570"/>
                    </a:lnTo>
                    <a:lnTo>
                      <a:pt x="452" y="570"/>
                    </a:lnTo>
                    <a:lnTo>
                      <a:pt x="450" y="570"/>
                    </a:lnTo>
                    <a:lnTo>
                      <a:pt x="449" y="570"/>
                    </a:lnTo>
                    <a:lnTo>
                      <a:pt x="449" y="572"/>
                    </a:lnTo>
                    <a:lnTo>
                      <a:pt x="447" y="572"/>
                    </a:lnTo>
                    <a:lnTo>
                      <a:pt x="446" y="570"/>
                    </a:lnTo>
                    <a:lnTo>
                      <a:pt x="444" y="570"/>
                    </a:lnTo>
                    <a:lnTo>
                      <a:pt x="442" y="570"/>
                    </a:lnTo>
                    <a:lnTo>
                      <a:pt x="441" y="570"/>
                    </a:lnTo>
                    <a:lnTo>
                      <a:pt x="441" y="569"/>
                    </a:lnTo>
                    <a:lnTo>
                      <a:pt x="439" y="569"/>
                    </a:lnTo>
                    <a:lnTo>
                      <a:pt x="439" y="567"/>
                    </a:lnTo>
                    <a:lnTo>
                      <a:pt x="438" y="567"/>
                    </a:lnTo>
                    <a:lnTo>
                      <a:pt x="436" y="567"/>
                    </a:lnTo>
                    <a:lnTo>
                      <a:pt x="435" y="567"/>
                    </a:lnTo>
                    <a:lnTo>
                      <a:pt x="433" y="567"/>
                    </a:lnTo>
                    <a:lnTo>
                      <a:pt x="431" y="567"/>
                    </a:lnTo>
                    <a:lnTo>
                      <a:pt x="430" y="567"/>
                    </a:lnTo>
                    <a:lnTo>
                      <a:pt x="428" y="566"/>
                    </a:lnTo>
                    <a:lnTo>
                      <a:pt x="427" y="564"/>
                    </a:lnTo>
                    <a:lnTo>
                      <a:pt x="427" y="562"/>
                    </a:lnTo>
                    <a:lnTo>
                      <a:pt x="425" y="562"/>
                    </a:lnTo>
                    <a:lnTo>
                      <a:pt x="423" y="561"/>
                    </a:lnTo>
                    <a:lnTo>
                      <a:pt x="422" y="561"/>
                    </a:lnTo>
                    <a:lnTo>
                      <a:pt x="422" y="559"/>
                    </a:lnTo>
                    <a:lnTo>
                      <a:pt x="420" y="559"/>
                    </a:lnTo>
                    <a:lnTo>
                      <a:pt x="419" y="559"/>
                    </a:lnTo>
                    <a:lnTo>
                      <a:pt x="419" y="558"/>
                    </a:lnTo>
                    <a:lnTo>
                      <a:pt x="417" y="558"/>
                    </a:lnTo>
                    <a:lnTo>
                      <a:pt x="416" y="558"/>
                    </a:lnTo>
                    <a:lnTo>
                      <a:pt x="414" y="558"/>
                    </a:lnTo>
                    <a:lnTo>
                      <a:pt x="412" y="558"/>
                    </a:lnTo>
                    <a:lnTo>
                      <a:pt x="411" y="558"/>
                    </a:lnTo>
                    <a:lnTo>
                      <a:pt x="411" y="559"/>
                    </a:lnTo>
                    <a:lnTo>
                      <a:pt x="409" y="559"/>
                    </a:lnTo>
                    <a:lnTo>
                      <a:pt x="408" y="558"/>
                    </a:lnTo>
                    <a:lnTo>
                      <a:pt x="406" y="558"/>
                    </a:lnTo>
                    <a:lnTo>
                      <a:pt x="404" y="559"/>
                    </a:lnTo>
                    <a:lnTo>
                      <a:pt x="404" y="561"/>
                    </a:lnTo>
                    <a:lnTo>
                      <a:pt x="403" y="562"/>
                    </a:lnTo>
                    <a:lnTo>
                      <a:pt x="403" y="564"/>
                    </a:lnTo>
                    <a:lnTo>
                      <a:pt x="403" y="566"/>
                    </a:lnTo>
                    <a:lnTo>
                      <a:pt x="403" y="567"/>
                    </a:lnTo>
                    <a:lnTo>
                      <a:pt x="401" y="567"/>
                    </a:lnTo>
                    <a:lnTo>
                      <a:pt x="401" y="569"/>
                    </a:lnTo>
                    <a:lnTo>
                      <a:pt x="400" y="569"/>
                    </a:lnTo>
                    <a:lnTo>
                      <a:pt x="398" y="569"/>
                    </a:lnTo>
                    <a:lnTo>
                      <a:pt x="397" y="569"/>
                    </a:lnTo>
                    <a:lnTo>
                      <a:pt x="395" y="569"/>
                    </a:lnTo>
                    <a:lnTo>
                      <a:pt x="395" y="567"/>
                    </a:lnTo>
                    <a:lnTo>
                      <a:pt x="393" y="567"/>
                    </a:lnTo>
                    <a:lnTo>
                      <a:pt x="393" y="566"/>
                    </a:lnTo>
                    <a:lnTo>
                      <a:pt x="392" y="564"/>
                    </a:lnTo>
                    <a:lnTo>
                      <a:pt x="390" y="564"/>
                    </a:lnTo>
                    <a:lnTo>
                      <a:pt x="390" y="562"/>
                    </a:lnTo>
                    <a:lnTo>
                      <a:pt x="389" y="562"/>
                    </a:lnTo>
                    <a:lnTo>
                      <a:pt x="389" y="561"/>
                    </a:lnTo>
                    <a:lnTo>
                      <a:pt x="389" y="559"/>
                    </a:lnTo>
                    <a:lnTo>
                      <a:pt x="387" y="559"/>
                    </a:lnTo>
                    <a:lnTo>
                      <a:pt x="387" y="558"/>
                    </a:lnTo>
                    <a:lnTo>
                      <a:pt x="387" y="556"/>
                    </a:lnTo>
                    <a:lnTo>
                      <a:pt x="387" y="555"/>
                    </a:lnTo>
                    <a:lnTo>
                      <a:pt x="385" y="555"/>
                    </a:lnTo>
                    <a:lnTo>
                      <a:pt x="385" y="553"/>
                    </a:lnTo>
                    <a:lnTo>
                      <a:pt x="384" y="553"/>
                    </a:lnTo>
                    <a:lnTo>
                      <a:pt x="384" y="551"/>
                    </a:lnTo>
                    <a:lnTo>
                      <a:pt x="382" y="551"/>
                    </a:lnTo>
                    <a:lnTo>
                      <a:pt x="381" y="551"/>
                    </a:lnTo>
                    <a:lnTo>
                      <a:pt x="381" y="550"/>
                    </a:lnTo>
                    <a:lnTo>
                      <a:pt x="379" y="550"/>
                    </a:lnTo>
                    <a:lnTo>
                      <a:pt x="379" y="548"/>
                    </a:lnTo>
                    <a:lnTo>
                      <a:pt x="377" y="548"/>
                    </a:lnTo>
                    <a:lnTo>
                      <a:pt x="376" y="548"/>
                    </a:lnTo>
                    <a:lnTo>
                      <a:pt x="374" y="548"/>
                    </a:lnTo>
                    <a:lnTo>
                      <a:pt x="373" y="548"/>
                    </a:lnTo>
                    <a:lnTo>
                      <a:pt x="371" y="548"/>
                    </a:lnTo>
                    <a:lnTo>
                      <a:pt x="370" y="548"/>
                    </a:lnTo>
                    <a:lnTo>
                      <a:pt x="368" y="548"/>
                    </a:lnTo>
                    <a:lnTo>
                      <a:pt x="366" y="547"/>
                    </a:lnTo>
                    <a:lnTo>
                      <a:pt x="365" y="547"/>
                    </a:lnTo>
                    <a:lnTo>
                      <a:pt x="363" y="547"/>
                    </a:lnTo>
                    <a:lnTo>
                      <a:pt x="363" y="545"/>
                    </a:lnTo>
                    <a:lnTo>
                      <a:pt x="362" y="545"/>
                    </a:lnTo>
                    <a:lnTo>
                      <a:pt x="362" y="543"/>
                    </a:lnTo>
                    <a:lnTo>
                      <a:pt x="360" y="543"/>
                    </a:lnTo>
                    <a:lnTo>
                      <a:pt x="360" y="542"/>
                    </a:lnTo>
                    <a:lnTo>
                      <a:pt x="358" y="542"/>
                    </a:lnTo>
                    <a:lnTo>
                      <a:pt x="358" y="540"/>
                    </a:lnTo>
                    <a:lnTo>
                      <a:pt x="357" y="540"/>
                    </a:lnTo>
                    <a:lnTo>
                      <a:pt x="357" y="539"/>
                    </a:lnTo>
                    <a:lnTo>
                      <a:pt x="357" y="537"/>
                    </a:lnTo>
                    <a:lnTo>
                      <a:pt x="355" y="537"/>
                    </a:lnTo>
                    <a:lnTo>
                      <a:pt x="355" y="535"/>
                    </a:lnTo>
                    <a:lnTo>
                      <a:pt x="355" y="534"/>
                    </a:lnTo>
                    <a:lnTo>
                      <a:pt x="354" y="532"/>
                    </a:lnTo>
                    <a:lnTo>
                      <a:pt x="354" y="531"/>
                    </a:lnTo>
                    <a:lnTo>
                      <a:pt x="354" y="529"/>
                    </a:lnTo>
                    <a:lnTo>
                      <a:pt x="354" y="528"/>
                    </a:lnTo>
                    <a:lnTo>
                      <a:pt x="352" y="528"/>
                    </a:lnTo>
                    <a:lnTo>
                      <a:pt x="352" y="526"/>
                    </a:lnTo>
                    <a:lnTo>
                      <a:pt x="351" y="526"/>
                    </a:lnTo>
                    <a:lnTo>
                      <a:pt x="351" y="524"/>
                    </a:lnTo>
                    <a:lnTo>
                      <a:pt x="349" y="523"/>
                    </a:lnTo>
                    <a:lnTo>
                      <a:pt x="349" y="521"/>
                    </a:lnTo>
                    <a:lnTo>
                      <a:pt x="351" y="520"/>
                    </a:lnTo>
                    <a:lnTo>
                      <a:pt x="352" y="520"/>
                    </a:lnTo>
                    <a:lnTo>
                      <a:pt x="352" y="518"/>
                    </a:lnTo>
                    <a:lnTo>
                      <a:pt x="352" y="516"/>
                    </a:lnTo>
                    <a:lnTo>
                      <a:pt x="354" y="516"/>
                    </a:lnTo>
                    <a:lnTo>
                      <a:pt x="354" y="515"/>
                    </a:lnTo>
                    <a:lnTo>
                      <a:pt x="355" y="515"/>
                    </a:lnTo>
                    <a:lnTo>
                      <a:pt x="355" y="513"/>
                    </a:lnTo>
                    <a:lnTo>
                      <a:pt x="355" y="512"/>
                    </a:lnTo>
                    <a:lnTo>
                      <a:pt x="357" y="512"/>
                    </a:lnTo>
                    <a:lnTo>
                      <a:pt x="357" y="510"/>
                    </a:lnTo>
                    <a:lnTo>
                      <a:pt x="358" y="509"/>
                    </a:lnTo>
                    <a:lnTo>
                      <a:pt x="358" y="507"/>
                    </a:lnTo>
                    <a:lnTo>
                      <a:pt x="358" y="505"/>
                    </a:lnTo>
                    <a:lnTo>
                      <a:pt x="358" y="504"/>
                    </a:lnTo>
                    <a:lnTo>
                      <a:pt x="357" y="502"/>
                    </a:lnTo>
                    <a:lnTo>
                      <a:pt x="355" y="502"/>
                    </a:lnTo>
                    <a:lnTo>
                      <a:pt x="355" y="501"/>
                    </a:lnTo>
                    <a:lnTo>
                      <a:pt x="354" y="501"/>
                    </a:lnTo>
                    <a:lnTo>
                      <a:pt x="352" y="499"/>
                    </a:lnTo>
                    <a:lnTo>
                      <a:pt x="351" y="499"/>
                    </a:lnTo>
                    <a:lnTo>
                      <a:pt x="349" y="499"/>
                    </a:lnTo>
                    <a:lnTo>
                      <a:pt x="347" y="499"/>
                    </a:lnTo>
                    <a:lnTo>
                      <a:pt x="346" y="499"/>
                    </a:lnTo>
                    <a:lnTo>
                      <a:pt x="344" y="499"/>
                    </a:lnTo>
                    <a:lnTo>
                      <a:pt x="343" y="499"/>
                    </a:lnTo>
                    <a:lnTo>
                      <a:pt x="341" y="499"/>
                    </a:lnTo>
                    <a:lnTo>
                      <a:pt x="339" y="499"/>
                    </a:lnTo>
                    <a:lnTo>
                      <a:pt x="338" y="499"/>
                    </a:lnTo>
                    <a:lnTo>
                      <a:pt x="336" y="497"/>
                    </a:lnTo>
                    <a:lnTo>
                      <a:pt x="335" y="497"/>
                    </a:lnTo>
                    <a:lnTo>
                      <a:pt x="333" y="497"/>
                    </a:lnTo>
                    <a:lnTo>
                      <a:pt x="332" y="497"/>
                    </a:lnTo>
                    <a:lnTo>
                      <a:pt x="332" y="496"/>
                    </a:lnTo>
                    <a:lnTo>
                      <a:pt x="330" y="496"/>
                    </a:lnTo>
                    <a:lnTo>
                      <a:pt x="328" y="496"/>
                    </a:lnTo>
                    <a:lnTo>
                      <a:pt x="327" y="496"/>
                    </a:lnTo>
                    <a:lnTo>
                      <a:pt x="327" y="494"/>
                    </a:lnTo>
                    <a:lnTo>
                      <a:pt x="325" y="494"/>
                    </a:lnTo>
                    <a:lnTo>
                      <a:pt x="324" y="494"/>
                    </a:lnTo>
                    <a:lnTo>
                      <a:pt x="324" y="493"/>
                    </a:lnTo>
                    <a:lnTo>
                      <a:pt x="322" y="493"/>
                    </a:lnTo>
                    <a:lnTo>
                      <a:pt x="322" y="491"/>
                    </a:lnTo>
                    <a:lnTo>
                      <a:pt x="320" y="491"/>
                    </a:lnTo>
                    <a:lnTo>
                      <a:pt x="320" y="490"/>
                    </a:lnTo>
                    <a:lnTo>
                      <a:pt x="319" y="490"/>
                    </a:lnTo>
                    <a:lnTo>
                      <a:pt x="319" y="488"/>
                    </a:lnTo>
                    <a:lnTo>
                      <a:pt x="317" y="488"/>
                    </a:lnTo>
                    <a:lnTo>
                      <a:pt x="316" y="488"/>
                    </a:lnTo>
                    <a:lnTo>
                      <a:pt x="314" y="488"/>
                    </a:lnTo>
                    <a:lnTo>
                      <a:pt x="313" y="488"/>
                    </a:lnTo>
                    <a:lnTo>
                      <a:pt x="311" y="488"/>
                    </a:lnTo>
                    <a:lnTo>
                      <a:pt x="309" y="488"/>
                    </a:lnTo>
                    <a:lnTo>
                      <a:pt x="308" y="488"/>
                    </a:lnTo>
                    <a:lnTo>
                      <a:pt x="306" y="488"/>
                    </a:lnTo>
                    <a:lnTo>
                      <a:pt x="305" y="488"/>
                    </a:lnTo>
                    <a:lnTo>
                      <a:pt x="303" y="488"/>
                    </a:lnTo>
                    <a:lnTo>
                      <a:pt x="303" y="486"/>
                    </a:lnTo>
                    <a:lnTo>
                      <a:pt x="301" y="486"/>
                    </a:lnTo>
                    <a:lnTo>
                      <a:pt x="301" y="485"/>
                    </a:lnTo>
                    <a:lnTo>
                      <a:pt x="300" y="485"/>
                    </a:lnTo>
                    <a:lnTo>
                      <a:pt x="300" y="483"/>
                    </a:lnTo>
                    <a:lnTo>
                      <a:pt x="300" y="482"/>
                    </a:lnTo>
                    <a:lnTo>
                      <a:pt x="298" y="482"/>
                    </a:lnTo>
                    <a:lnTo>
                      <a:pt x="297" y="482"/>
                    </a:lnTo>
                    <a:lnTo>
                      <a:pt x="297" y="480"/>
                    </a:lnTo>
                    <a:lnTo>
                      <a:pt x="295" y="480"/>
                    </a:lnTo>
                    <a:lnTo>
                      <a:pt x="294" y="478"/>
                    </a:lnTo>
                    <a:lnTo>
                      <a:pt x="292" y="478"/>
                    </a:lnTo>
                    <a:lnTo>
                      <a:pt x="292" y="480"/>
                    </a:lnTo>
                    <a:lnTo>
                      <a:pt x="290" y="480"/>
                    </a:lnTo>
                    <a:lnTo>
                      <a:pt x="289" y="480"/>
                    </a:lnTo>
                    <a:lnTo>
                      <a:pt x="287" y="480"/>
                    </a:lnTo>
                    <a:lnTo>
                      <a:pt x="286" y="480"/>
                    </a:lnTo>
                    <a:lnTo>
                      <a:pt x="284" y="480"/>
                    </a:lnTo>
                    <a:lnTo>
                      <a:pt x="282" y="480"/>
                    </a:lnTo>
                    <a:lnTo>
                      <a:pt x="281" y="480"/>
                    </a:lnTo>
                    <a:lnTo>
                      <a:pt x="279" y="480"/>
                    </a:lnTo>
                    <a:lnTo>
                      <a:pt x="278" y="480"/>
                    </a:lnTo>
                    <a:lnTo>
                      <a:pt x="278" y="478"/>
                    </a:lnTo>
                    <a:lnTo>
                      <a:pt x="276" y="478"/>
                    </a:lnTo>
                    <a:lnTo>
                      <a:pt x="276" y="480"/>
                    </a:lnTo>
                    <a:lnTo>
                      <a:pt x="275" y="480"/>
                    </a:lnTo>
                    <a:lnTo>
                      <a:pt x="273" y="480"/>
                    </a:lnTo>
                    <a:lnTo>
                      <a:pt x="271" y="480"/>
                    </a:lnTo>
                    <a:lnTo>
                      <a:pt x="270" y="480"/>
                    </a:lnTo>
                    <a:lnTo>
                      <a:pt x="268" y="480"/>
                    </a:lnTo>
                    <a:lnTo>
                      <a:pt x="268" y="478"/>
                    </a:lnTo>
                    <a:lnTo>
                      <a:pt x="267" y="478"/>
                    </a:lnTo>
                    <a:lnTo>
                      <a:pt x="267" y="477"/>
                    </a:lnTo>
                    <a:lnTo>
                      <a:pt x="265" y="477"/>
                    </a:lnTo>
                    <a:lnTo>
                      <a:pt x="265" y="475"/>
                    </a:lnTo>
                    <a:lnTo>
                      <a:pt x="265" y="474"/>
                    </a:lnTo>
                    <a:lnTo>
                      <a:pt x="263" y="474"/>
                    </a:lnTo>
                    <a:lnTo>
                      <a:pt x="263" y="472"/>
                    </a:lnTo>
                    <a:lnTo>
                      <a:pt x="262" y="472"/>
                    </a:lnTo>
                    <a:lnTo>
                      <a:pt x="260" y="472"/>
                    </a:lnTo>
                    <a:lnTo>
                      <a:pt x="259" y="472"/>
                    </a:lnTo>
                    <a:lnTo>
                      <a:pt x="257" y="471"/>
                    </a:lnTo>
                    <a:lnTo>
                      <a:pt x="257" y="472"/>
                    </a:lnTo>
                    <a:lnTo>
                      <a:pt x="256" y="472"/>
                    </a:lnTo>
                    <a:lnTo>
                      <a:pt x="254" y="472"/>
                    </a:lnTo>
                    <a:lnTo>
                      <a:pt x="252" y="472"/>
                    </a:lnTo>
                    <a:lnTo>
                      <a:pt x="252" y="471"/>
                    </a:lnTo>
                    <a:lnTo>
                      <a:pt x="251" y="471"/>
                    </a:lnTo>
                    <a:lnTo>
                      <a:pt x="249" y="471"/>
                    </a:lnTo>
                    <a:lnTo>
                      <a:pt x="248" y="471"/>
                    </a:lnTo>
                    <a:lnTo>
                      <a:pt x="246" y="471"/>
                    </a:lnTo>
                    <a:lnTo>
                      <a:pt x="246" y="472"/>
                    </a:lnTo>
                    <a:lnTo>
                      <a:pt x="244" y="472"/>
                    </a:lnTo>
                    <a:lnTo>
                      <a:pt x="244" y="474"/>
                    </a:lnTo>
                    <a:lnTo>
                      <a:pt x="243" y="474"/>
                    </a:lnTo>
                    <a:lnTo>
                      <a:pt x="243" y="472"/>
                    </a:lnTo>
                    <a:lnTo>
                      <a:pt x="241" y="472"/>
                    </a:lnTo>
                    <a:lnTo>
                      <a:pt x="240" y="471"/>
                    </a:lnTo>
                    <a:lnTo>
                      <a:pt x="238" y="471"/>
                    </a:lnTo>
                    <a:lnTo>
                      <a:pt x="237" y="471"/>
                    </a:lnTo>
                    <a:lnTo>
                      <a:pt x="235" y="471"/>
                    </a:lnTo>
                    <a:lnTo>
                      <a:pt x="235" y="469"/>
                    </a:lnTo>
                    <a:lnTo>
                      <a:pt x="233" y="469"/>
                    </a:lnTo>
                    <a:lnTo>
                      <a:pt x="233" y="467"/>
                    </a:lnTo>
                    <a:lnTo>
                      <a:pt x="233" y="466"/>
                    </a:lnTo>
                    <a:lnTo>
                      <a:pt x="232" y="466"/>
                    </a:lnTo>
                    <a:lnTo>
                      <a:pt x="232" y="464"/>
                    </a:lnTo>
                    <a:lnTo>
                      <a:pt x="230" y="464"/>
                    </a:lnTo>
                    <a:lnTo>
                      <a:pt x="229" y="464"/>
                    </a:lnTo>
                    <a:lnTo>
                      <a:pt x="227" y="464"/>
                    </a:lnTo>
                    <a:lnTo>
                      <a:pt x="227" y="466"/>
                    </a:lnTo>
                    <a:lnTo>
                      <a:pt x="225" y="466"/>
                    </a:lnTo>
                    <a:lnTo>
                      <a:pt x="224" y="466"/>
                    </a:lnTo>
                    <a:lnTo>
                      <a:pt x="222" y="466"/>
                    </a:lnTo>
                    <a:lnTo>
                      <a:pt x="221" y="466"/>
                    </a:lnTo>
                    <a:lnTo>
                      <a:pt x="219" y="466"/>
                    </a:lnTo>
                    <a:lnTo>
                      <a:pt x="218" y="466"/>
                    </a:lnTo>
                    <a:lnTo>
                      <a:pt x="216" y="466"/>
                    </a:lnTo>
                    <a:lnTo>
                      <a:pt x="214" y="466"/>
                    </a:lnTo>
                    <a:lnTo>
                      <a:pt x="213" y="466"/>
                    </a:lnTo>
                    <a:lnTo>
                      <a:pt x="211" y="466"/>
                    </a:lnTo>
                    <a:lnTo>
                      <a:pt x="210" y="466"/>
                    </a:lnTo>
                    <a:lnTo>
                      <a:pt x="210" y="467"/>
                    </a:lnTo>
                    <a:lnTo>
                      <a:pt x="210" y="469"/>
                    </a:lnTo>
                    <a:lnTo>
                      <a:pt x="210" y="471"/>
                    </a:lnTo>
                    <a:lnTo>
                      <a:pt x="208" y="471"/>
                    </a:lnTo>
                    <a:lnTo>
                      <a:pt x="208" y="472"/>
                    </a:lnTo>
                    <a:lnTo>
                      <a:pt x="206" y="472"/>
                    </a:lnTo>
                    <a:lnTo>
                      <a:pt x="206" y="474"/>
                    </a:lnTo>
                    <a:lnTo>
                      <a:pt x="208" y="474"/>
                    </a:lnTo>
                    <a:lnTo>
                      <a:pt x="208" y="475"/>
                    </a:lnTo>
                    <a:lnTo>
                      <a:pt x="208" y="477"/>
                    </a:lnTo>
                    <a:lnTo>
                      <a:pt x="208" y="478"/>
                    </a:lnTo>
                    <a:lnTo>
                      <a:pt x="206" y="478"/>
                    </a:lnTo>
                    <a:lnTo>
                      <a:pt x="205" y="478"/>
                    </a:lnTo>
                    <a:lnTo>
                      <a:pt x="203" y="480"/>
                    </a:lnTo>
                    <a:lnTo>
                      <a:pt x="202" y="480"/>
                    </a:lnTo>
                    <a:lnTo>
                      <a:pt x="202" y="478"/>
                    </a:lnTo>
                    <a:lnTo>
                      <a:pt x="200" y="478"/>
                    </a:lnTo>
                    <a:lnTo>
                      <a:pt x="200" y="477"/>
                    </a:lnTo>
                    <a:lnTo>
                      <a:pt x="199" y="477"/>
                    </a:lnTo>
                    <a:lnTo>
                      <a:pt x="199" y="475"/>
                    </a:lnTo>
                    <a:lnTo>
                      <a:pt x="199" y="474"/>
                    </a:lnTo>
                    <a:lnTo>
                      <a:pt x="197" y="474"/>
                    </a:lnTo>
                    <a:lnTo>
                      <a:pt x="195" y="472"/>
                    </a:lnTo>
                    <a:lnTo>
                      <a:pt x="195" y="471"/>
                    </a:lnTo>
                    <a:lnTo>
                      <a:pt x="194" y="471"/>
                    </a:lnTo>
                    <a:lnTo>
                      <a:pt x="194" y="469"/>
                    </a:lnTo>
                    <a:lnTo>
                      <a:pt x="192" y="469"/>
                    </a:lnTo>
                    <a:lnTo>
                      <a:pt x="191" y="469"/>
                    </a:lnTo>
                    <a:lnTo>
                      <a:pt x="189" y="467"/>
                    </a:lnTo>
                    <a:lnTo>
                      <a:pt x="187" y="467"/>
                    </a:lnTo>
                    <a:lnTo>
                      <a:pt x="187" y="466"/>
                    </a:lnTo>
                    <a:lnTo>
                      <a:pt x="186" y="466"/>
                    </a:lnTo>
                    <a:lnTo>
                      <a:pt x="186" y="464"/>
                    </a:lnTo>
                    <a:lnTo>
                      <a:pt x="184" y="464"/>
                    </a:lnTo>
                    <a:lnTo>
                      <a:pt x="183" y="464"/>
                    </a:lnTo>
                    <a:lnTo>
                      <a:pt x="181" y="464"/>
                    </a:lnTo>
                    <a:lnTo>
                      <a:pt x="181" y="463"/>
                    </a:lnTo>
                    <a:lnTo>
                      <a:pt x="179" y="463"/>
                    </a:lnTo>
                    <a:lnTo>
                      <a:pt x="178" y="463"/>
                    </a:lnTo>
                    <a:lnTo>
                      <a:pt x="178" y="464"/>
                    </a:lnTo>
                    <a:lnTo>
                      <a:pt x="176" y="464"/>
                    </a:lnTo>
                    <a:lnTo>
                      <a:pt x="175" y="464"/>
                    </a:lnTo>
                    <a:lnTo>
                      <a:pt x="175" y="466"/>
                    </a:lnTo>
                    <a:lnTo>
                      <a:pt x="173" y="466"/>
                    </a:lnTo>
                    <a:lnTo>
                      <a:pt x="172" y="466"/>
                    </a:lnTo>
                    <a:lnTo>
                      <a:pt x="170" y="466"/>
                    </a:lnTo>
                    <a:lnTo>
                      <a:pt x="168" y="466"/>
                    </a:lnTo>
                    <a:lnTo>
                      <a:pt x="167" y="466"/>
                    </a:lnTo>
                    <a:lnTo>
                      <a:pt x="167" y="464"/>
                    </a:lnTo>
                    <a:lnTo>
                      <a:pt x="165" y="464"/>
                    </a:lnTo>
                    <a:lnTo>
                      <a:pt x="165" y="463"/>
                    </a:lnTo>
                    <a:lnTo>
                      <a:pt x="164" y="463"/>
                    </a:lnTo>
                    <a:lnTo>
                      <a:pt x="164" y="461"/>
                    </a:lnTo>
                    <a:lnTo>
                      <a:pt x="164" y="459"/>
                    </a:lnTo>
                    <a:lnTo>
                      <a:pt x="164" y="458"/>
                    </a:lnTo>
                    <a:lnTo>
                      <a:pt x="162" y="458"/>
                    </a:lnTo>
                    <a:lnTo>
                      <a:pt x="162" y="456"/>
                    </a:lnTo>
                    <a:lnTo>
                      <a:pt x="160" y="456"/>
                    </a:lnTo>
                    <a:lnTo>
                      <a:pt x="160" y="455"/>
                    </a:lnTo>
                    <a:lnTo>
                      <a:pt x="160" y="453"/>
                    </a:lnTo>
                    <a:lnTo>
                      <a:pt x="160" y="452"/>
                    </a:lnTo>
                    <a:lnTo>
                      <a:pt x="162" y="450"/>
                    </a:lnTo>
                    <a:lnTo>
                      <a:pt x="162" y="448"/>
                    </a:lnTo>
                    <a:lnTo>
                      <a:pt x="162" y="447"/>
                    </a:lnTo>
                    <a:lnTo>
                      <a:pt x="164" y="447"/>
                    </a:lnTo>
                    <a:lnTo>
                      <a:pt x="164" y="445"/>
                    </a:lnTo>
                    <a:lnTo>
                      <a:pt x="164" y="444"/>
                    </a:lnTo>
                    <a:lnTo>
                      <a:pt x="165" y="444"/>
                    </a:lnTo>
                    <a:lnTo>
                      <a:pt x="165" y="442"/>
                    </a:lnTo>
                    <a:lnTo>
                      <a:pt x="167" y="440"/>
                    </a:lnTo>
                    <a:lnTo>
                      <a:pt x="167" y="439"/>
                    </a:lnTo>
                    <a:lnTo>
                      <a:pt x="168" y="439"/>
                    </a:lnTo>
                    <a:lnTo>
                      <a:pt x="168" y="437"/>
                    </a:lnTo>
                    <a:lnTo>
                      <a:pt x="167" y="437"/>
                    </a:lnTo>
                    <a:lnTo>
                      <a:pt x="167" y="436"/>
                    </a:lnTo>
                    <a:lnTo>
                      <a:pt x="167" y="434"/>
                    </a:lnTo>
                    <a:lnTo>
                      <a:pt x="165" y="434"/>
                    </a:lnTo>
                    <a:lnTo>
                      <a:pt x="165" y="432"/>
                    </a:lnTo>
                    <a:lnTo>
                      <a:pt x="164" y="432"/>
                    </a:lnTo>
                    <a:lnTo>
                      <a:pt x="164" y="431"/>
                    </a:lnTo>
                    <a:lnTo>
                      <a:pt x="164" y="429"/>
                    </a:lnTo>
                    <a:lnTo>
                      <a:pt x="162" y="429"/>
                    </a:lnTo>
                    <a:lnTo>
                      <a:pt x="160" y="431"/>
                    </a:lnTo>
                    <a:lnTo>
                      <a:pt x="159" y="431"/>
                    </a:lnTo>
                    <a:lnTo>
                      <a:pt x="157" y="431"/>
                    </a:lnTo>
                    <a:lnTo>
                      <a:pt x="156" y="431"/>
                    </a:lnTo>
                    <a:lnTo>
                      <a:pt x="154" y="431"/>
                    </a:lnTo>
                    <a:lnTo>
                      <a:pt x="153" y="431"/>
                    </a:lnTo>
                    <a:lnTo>
                      <a:pt x="151" y="431"/>
                    </a:lnTo>
                    <a:lnTo>
                      <a:pt x="151" y="429"/>
                    </a:lnTo>
                    <a:lnTo>
                      <a:pt x="149" y="429"/>
                    </a:lnTo>
                    <a:lnTo>
                      <a:pt x="148" y="429"/>
                    </a:lnTo>
                    <a:lnTo>
                      <a:pt x="148" y="431"/>
                    </a:lnTo>
                    <a:lnTo>
                      <a:pt x="146" y="431"/>
                    </a:lnTo>
                    <a:lnTo>
                      <a:pt x="145" y="431"/>
                    </a:lnTo>
                    <a:lnTo>
                      <a:pt x="143" y="431"/>
                    </a:lnTo>
                    <a:lnTo>
                      <a:pt x="141" y="431"/>
                    </a:lnTo>
                    <a:lnTo>
                      <a:pt x="141" y="432"/>
                    </a:lnTo>
                    <a:lnTo>
                      <a:pt x="141" y="434"/>
                    </a:lnTo>
                    <a:lnTo>
                      <a:pt x="140" y="434"/>
                    </a:lnTo>
                    <a:lnTo>
                      <a:pt x="140" y="436"/>
                    </a:lnTo>
                    <a:lnTo>
                      <a:pt x="140" y="437"/>
                    </a:lnTo>
                    <a:lnTo>
                      <a:pt x="138" y="437"/>
                    </a:lnTo>
                    <a:lnTo>
                      <a:pt x="138" y="439"/>
                    </a:lnTo>
                    <a:lnTo>
                      <a:pt x="137" y="439"/>
                    </a:lnTo>
                    <a:lnTo>
                      <a:pt x="135" y="439"/>
                    </a:lnTo>
                    <a:lnTo>
                      <a:pt x="134" y="439"/>
                    </a:lnTo>
                    <a:lnTo>
                      <a:pt x="134" y="437"/>
                    </a:lnTo>
                    <a:lnTo>
                      <a:pt x="132" y="439"/>
                    </a:lnTo>
                    <a:lnTo>
                      <a:pt x="130" y="439"/>
                    </a:lnTo>
                    <a:lnTo>
                      <a:pt x="129" y="439"/>
                    </a:lnTo>
                    <a:lnTo>
                      <a:pt x="127" y="439"/>
                    </a:lnTo>
                    <a:lnTo>
                      <a:pt x="127" y="437"/>
                    </a:lnTo>
                    <a:lnTo>
                      <a:pt x="126" y="437"/>
                    </a:lnTo>
                    <a:lnTo>
                      <a:pt x="126" y="436"/>
                    </a:lnTo>
                    <a:lnTo>
                      <a:pt x="124" y="436"/>
                    </a:lnTo>
                    <a:lnTo>
                      <a:pt x="124" y="434"/>
                    </a:lnTo>
                    <a:lnTo>
                      <a:pt x="122" y="434"/>
                    </a:lnTo>
                    <a:lnTo>
                      <a:pt x="122" y="432"/>
                    </a:lnTo>
                    <a:lnTo>
                      <a:pt x="121" y="432"/>
                    </a:lnTo>
                    <a:lnTo>
                      <a:pt x="121" y="431"/>
                    </a:lnTo>
                    <a:lnTo>
                      <a:pt x="121" y="429"/>
                    </a:lnTo>
                    <a:lnTo>
                      <a:pt x="119" y="429"/>
                    </a:lnTo>
                    <a:lnTo>
                      <a:pt x="119" y="428"/>
                    </a:lnTo>
                    <a:lnTo>
                      <a:pt x="119" y="426"/>
                    </a:lnTo>
                    <a:lnTo>
                      <a:pt x="118" y="425"/>
                    </a:lnTo>
                    <a:lnTo>
                      <a:pt x="116" y="425"/>
                    </a:lnTo>
                    <a:lnTo>
                      <a:pt x="116" y="423"/>
                    </a:lnTo>
                    <a:lnTo>
                      <a:pt x="115" y="423"/>
                    </a:lnTo>
                    <a:lnTo>
                      <a:pt x="115" y="421"/>
                    </a:lnTo>
                    <a:lnTo>
                      <a:pt x="115" y="420"/>
                    </a:lnTo>
                    <a:lnTo>
                      <a:pt x="115" y="418"/>
                    </a:lnTo>
                    <a:lnTo>
                      <a:pt x="113" y="418"/>
                    </a:lnTo>
                    <a:lnTo>
                      <a:pt x="115" y="417"/>
                    </a:lnTo>
                    <a:lnTo>
                      <a:pt x="113" y="417"/>
                    </a:lnTo>
                    <a:lnTo>
                      <a:pt x="111" y="417"/>
                    </a:lnTo>
                    <a:lnTo>
                      <a:pt x="110" y="418"/>
                    </a:lnTo>
                    <a:lnTo>
                      <a:pt x="108" y="418"/>
                    </a:lnTo>
                    <a:lnTo>
                      <a:pt x="107" y="418"/>
                    </a:lnTo>
                    <a:lnTo>
                      <a:pt x="105" y="418"/>
                    </a:lnTo>
                    <a:lnTo>
                      <a:pt x="103" y="418"/>
                    </a:lnTo>
                    <a:lnTo>
                      <a:pt x="102" y="418"/>
                    </a:lnTo>
                    <a:lnTo>
                      <a:pt x="102" y="417"/>
                    </a:lnTo>
                    <a:lnTo>
                      <a:pt x="100" y="417"/>
                    </a:lnTo>
                    <a:lnTo>
                      <a:pt x="100" y="415"/>
                    </a:lnTo>
                    <a:lnTo>
                      <a:pt x="100" y="413"/>
                    </a:lnTo>
                    <a:lnTo>
                      <a:pt x="99" y="413"/>
                    </a:lnTo>
                    <a:lnTo>
                      <a:pt x="99" y="412"/>
                    </a:lnTo>
                    <a:lnTo>
                      <a:pt x="99" y="410"/>
                    </a:lnTo>
                    <a:lnTo>
                      <a:pt x="99" y="409"/>
                    </a:lnTo>
                    <a:lnTo>
                      <a:pt x="97" y="409"/>
                    </a:lnTo>
                    <a:lnTo>
                      <a:pt x="97" y="410"/>
                    </a:lnTo>
                    <a:lnTo>
                      <a:pt x="96" y="410"/>
                    </a:lnTo>
                    <a:lnTo>
                      <a:pt x="96" y="409"/>
                    </a:lnTo>
                    <a:lnTo>
                      <a:pt x="96" y="407"/>
                    </a:lnTo>
                    <a:lnTo>
                      <a:pt x="97" y="407"/>
                    </a:lnTo>
                    <a:lnTo>
                      <a:pt x="97" y="406"/>
                    </a:lnTo>
                    <a:lnTo>
                      <a:pt x="97" y="404"/>
                    </a:lnTo>
                    <a:lnTo>
                      <a:pt x="97" y="402"/>
                    </a:lnTo>
                    <a:lnTo>
                      <a:pt x="97" y="401"/>
                    </a:lnTo>
                    <a:lnTo>
                      <a:pt x="96" y="401"/>
                    </a:lnTo>
                    <a:lnTo>
                      <a:pt x="96" y="399"/>
                    </a:lnTo>
                    <a:lnTo>
                      <a:pt x="94" y="398"/>
                    </a:lnTo>
                    <a:lnTo>
                      <a:pt x="94" y="396"/>
                    </a:lnTo>
                    <a:lnTo>
                      <a:pt x="92" y="396"/>
                    </a:lnTo>
                    <a:lnTo>
                      <a:pt x="91" y="396"/>
                    </a:lnTo>
                    <a:lnTo>
                      <a:pt x="91" y="394"/>
                    </a:lnTo>
                    <a:lnTo>
                      <a:pt x="91" y="393"/>
                    </a:lnTo>
                    <a:lnTo>
                      <a:pt x="91" y="391"/>
                    </a:lnTo>
                    <a:lnTo>
                      <a:pt x="92" y="391"/>
                    </a:lnTo>
                    <a:lnTo>
                      <a:pt x="92" y="390"/>
                    </a:lnTo>
                    <a:lnTo>
                      <a:pt x="94" y="390"/>
                    </a:lnTo>
                    <a:lnTo>
                      <a:pt x="96" y="390"/>
                    </a:lnTo>
                    <a:lnTo>
                      <a:pt x="97" y="390"/>
                    </a:lnTo>
                    <a:lnTo>
                      <a:pt x="99" y="390"/>
                    </a:lnTo>
                    <a:lnTo>
                      <a:pt x="99" y="388"/>
                    </a:lnTo>
                    <a:lnTo>
                      <a:pt x="97" y="388"/>
                    </a:lnTo>
                    <a:lnTo>
                      <a:pt x="97" y="387"/>
                    </a:lnTo>
                    <a:lnTo>
                      <a:pt x="97" y="385"/>
                    </a:lnTo>
                    <a:lnTo>
                      <a:pt x="97" y="383"/>
                    </a:lnTo>
                    <a:lnTo>
                      <a:pt x="99" y="382"/>
                    </a:lnTo>
                    <a:lnTo>
                      <a:pt x="100" y="382"/>
                    </a:lnTo>
                    <a:lnTo>
                      <a:pt x="102" y="380"/>
                    </a:lnTo>
                    <a:lnTo>
                      <a:pt x="103" y="379"/>
                    </a:lnTo>
                    <a:lnTo>
                      <a:pt x="103" y="377"/>
                    </a:lnTo>
                    <a:lnTo>
                      <a:pt x="102" y="377"/>
                    </a:lnTo>
                    <a:lnTo>
                      <a:pt x="102" y="375"/>
                    </a:lnTo>
                    <a:lnTo>
                      <a:pt x="100" y="375"/>
                    </a:lnTo>
                    <a:lnTo>
                      <a:pt x="100" y="374"/>
                    </a:lnTo>
                    <a:lnTo>
                      <a:pt x="99" y="374"/>
                    </a:lnTo>
                    <a:lnTo>
                      <a:pt x="99" y="372"/>
                    </a:lnTo>
                    <a:lnTo>
                      <a:pt x="100" y="372"/>
                    </a:lnTo>
                    <a:lnTo>
                      <a:pt x="102" y="372"/>
                    </a:lnTo>
                    <a:lnTo>
                      <a:pt x="102" y="371"/>
                    </a:lnTo>
                    <a:lnTo>
                      <a:pt x="102" y="369"/>
                    </a:lnTo>
                    <a:lnTo>
                      <a:pt x="100" y="369"/>
                    </a:lnTo>
                    <a:lnTo>
                      <a:pt x="100" y="368"/>
                    </a:lnTo>
                    <a:lnTo>
                      <a:pt x="100" y="366"/>
                    </a:lnTo>
                    <a:lnTo>
                      <a:pt x="102" y="364"/>
                    </a:lnTo>
                    <a:lnTo>
                      <a:pt x="103" y="363"/>
                    </a:lnTo>
                    <a:lnTo>
                      <a:pt x="103" y="361"/>
                    </a:lnTo>
                    <a:lnTo>
                      <a:pt x="105" y="361"/>
                    </a:lnTo>
                    <a:lnTo>
                      <a:pt x="105" y="360"/>
                    </a:lnTo>
                    <a:lnTo>
                      <a:pt x="105" y="358"/>
                    </a:lnTo>
                    <a:lnTo>
                      <a:pt x="107" y="358"/>
                    </a:lnTo>
                    <a:lnTo>
                      <a:pt x="107" y="356"/>
                    </a:lnTo>
                    <a:lnTo>
                      <a:pt x="108" y="356"/>
                    </a:lnTo>
                    <a:lnTo>
                      <a:pt x="110" y="356"/>
                    </a:lnTo>
                    <a:lnTo>
                      <a:pt x="111" y="356"/>
                    </a:lnTo>
                    <a:lnTo>
                      <a:pt x="111" y="355"/>
                    </a:lnTo>
                    <a:lnTo>
                      <a:pt x="113" y="355"/>
                    </a:lnTo>
                    <a:lnTo>
                      <a:pt x="113" y="353"/>
                    </a:lnTo>
                    <a:lnTo>
                      <a:pt x="115" y="353"/>
                    </a:lnTo>
                    <a:lnTo>
                      <a:pt x="115" y="352"/>
                    </a:lnTo>
                    <a:lnTo>
                      <a:pt x="116" y="352"/>
                    </a:lnTo>
                    <a:lnTo>
                      <a:pt x="116" y="350"/>
                    </a:lnTo>
                    <a:lnTo>
                      <a:pt x="116" y="349"/>
                    </a:lnTo>
                    <a:lnTo>
                      <a:pt x="118" y="349"/>
                    </a:lnTo>
                    <a:lnTo>
                      <a:pt x="118" y="347"/>
                    </a:lnTo>
                    <a:lnTo>
                      <a:pt x="118" y="345"/>
                    </a:lnTo>
                    <a:lnTo>
                      <a:pt x="118" y="344"/>
                    </a:lnTo>
                    <a:lnTo>
                      <a:pt x="118" y="342"/>
                    </a:lnTo>
                    <a:lnTo>
                      <a:pt x="119" y="342"/>
                    </a:lnTo>
                    <a:lnTo>
                      <a:pt x="119" y="341"/>
                    </a:lnTo>
                    <a:lnTo>
                      <a:pt x="118" y="341"/>
                    </a:lnTo>
                    <a:lnTo>
                      <a:pt x="116" y="341"/>
                    </a:lnTo>
                    <a:lnTo>
                      <a:pt x="115" y="341"/>
                    </a:lnTo>
                    <a:lnTo>
                      <a:pt x="113" y="341"/>
                    </a:lnTo>
                    <a:lnTo>
                      <a:pt x="111" y="341"/>
                    </a:lnTo>
                    <a:lnTo>
                      <a:pt x="110" y="341"/>
                    </a:lnTo>
                    <a:lnTo>
                      <a:pt x="108" y="341"/>
                    </a:lnTo>
                    <a:lnTo>
                      <a:pt x="108" y="342"/>
                    </a:lnTo>
                    <a:lnTo>
                      <a:pt x="107" y="342"/>
                    </a:lnTo>
                    <a:lnTo>
                      <a:pt x="107" y="344"/>
                    </a:lnTo>
                    <a:lnTo>
                      <a:pt x="105" y="345"/>
                    </a:lnTo>
                    <a:lnTo>
                      <a:pt x="105" y="347"/>
                    </a:lnTo>
                    <a:lnTo>
                      <a:pt x="103" y="347"/>
                    </a:lnTo>
                    <a:lnTo>
                      <a:pt x="103" y="349"/>
                    </a:lnTo>
                    <a:lnTo>
                      <a:pt x="102" y="349"/>
                    </a:lnTo>
                    <a:lnTo>
                      <a:pt x="102" y="350"/>
                    </a:lnTo>
                    <a:lnTo>
                      <a:pt x="100" y="350"/>
                    </a:lnTo>
                    <a:lnTo>
                      <a:pt x="100" y="352"/>
                    </a:lnTo>
                    <a:lnTo>
                      <a:pt x="99" y="352"/>
                    </a:lnTo>
                    <a:lnTo>
                      <a:pt x="99" y="353"/>
                    </a:lnTo>
                    <a:lnTo>
                      <a:pt x="100" y="353"/>
                    </a:lnTo>
                    <a:lnTo>
                      <a:pt x="99" y="353"/>
                    </a:lnTo>
                    <a:lnTo>
                      <a:pt x="97" y="353"/>
                    </a:lnTo>
                    <a:lnTo>
                      <a:pt x="96" y="353"/>
                    </a:lnTo>
                    <a:lnTo>
                      <a:pt x="94" y="353"/>
                    </a:lnTo>
                    <a:lnTo>
                      <a:pt x="92" y="355"/>
                    </a:lnTo>
                    <a:lnTo>
                      <a:pt x="92" y="353"/>
                    </a:lnTo>
                    <a:lnTo>
                      <a:pt x="91" y="353"/>
                    </a:lnTo>
                    <a:lnTo>
                      <a:pt x="91" y="352"/>
                    </a:lnTo>
                    <a:lnTo>
                      <a:pt x="92" y="352"/>
                    </a:lnTo>
                    <a:lnTo>
                      <a:pt x="92" y="350"/>
                    </a:lnTo>
                    <a:lnTo>
                      <a:pt x="92" y="349"/>
                    </a:lnTo>
                    <a:lnTo>
                      <a:pt x="92" y="347"/>
                    </a:lnTo>
                    <a:lnTo>
                      <a:pt x="92" y="345"/>
                    </a:lnTo>
                    <a:lnTo>
                      <a:pt x="92" y="344"/>
                    </a:lnTo>
                    <a:lnTo>
                      <a:pt x="92" y="342"/>
                    </a:lnTo>
                    <a:lnTo>
                      <a:pt x="92" y="341"/>
                    </a:lnTo>
                    <a:lnTo>
                      <a:pt x="91" y="341"/>
                    </a:lnTo>
                    <a:lnTo>
                      <a:pt x="91" y="339"/>
                    </a:lnTo>
                    <a:lnTo>
                      <a:pt x="91" y="337"/>
                    </a:lnTo>
                    <a:lnTo>
                      <a:pt x="91" y="336"/>
                    </a:lnTo>
                    <a:lnTo>
                      <a:pt x="92" y="336"/>
                    </a:lnTo>
                    <a:lnTo>
                      <a:pt x="94" y="336"/>
                    </a:lnTo>
                    <a:lnTo>
                      <a:pt x="96" y="336"/>
                    </a:lnTo>
                    <a:lnTo>
                      <a:pt x="96" y="334"/>
                    </a:lnTo>
                    <a:lnTo>
                      <a:pt x="96" y="333"/>
                    </a:lnTo>
                    <a:lnTo>
                      <a:pt x="96" y="331"/>
                    </a:lnTo>
                    <a:lnTo>
                      <a:pt x="97" y="331"/>
                    </a:lnTo>
                    <a:lnTo>
                      <a:pt x="99" y="331"/>
                    </a:lnTo>
                    <a:lnTo>
                      <a:pt x="99" y="330"/>
                    </a:lnTo>
                    <a:lnTo>
                      <a:pt x="99" y="328"/>
                    </a:lnTo>
                    <a:lnTo>
                      <a:pt x="99" y="326"/>
                    </a:lnTo>
                    <a:lnTo>
                      <a:pt x="99" y="325"/>
                    </a:lnTo>
                    <a:lnTo>
                      <a:pt x="100" y="325"/>
                    </a:lnTo>
                    <a:lnTo>
                      <a:pt x="100" y="323"/>
                    </a:lnTo>
                    <a:lnTo>
                      <a:pt x="99" y="322"/>
                    </a:lnTo>
                    <a:lnTo>
                      <a:pt x="99" y="320"/>
                    </a:lnTo>
                    <a:lnTo>
                      <a:pt x="99" y="318"/>
                    </a:lnTo>
                    <a:lnTo>
                      <a:pt x="100" y="318"/>
                    </a:lnTo>
                    <a:lnTo>
                      <a:pt x="100" y="317"/>
                    </a:lnTo>
                    <a:lnTo>
                      <a:pt x="102" y="315"/>
                    </a:lnTo>
                    <a:lnTo>
                      <a:pt x="102" y="314"/>
                    </a:lnTo>
                    <a:lnTo>
                      <a:pt x="103" y="314"/>
                    </a:lnTo>
                    <a:lnTo>
                      <a:pt x="103" y="312"/>
                    </a:lnTo>
                    <a:lnTo>
                      <a:pt x="105" y="312"/>
                    </a:lnTo>
                    <a:lnTo>
                      <a:pt x="107" y="310"/>
                    </a:lnTo>
                    <a:lnTo>
                      <a:pt x="105" y="310"/>
                    </a:lnTo>
                    <a:lnTo>
                      <a:pt x="105" y="309"/>
                    </a:lnTo>
                    <a:lnTo>
                      <a:pt x="107" y="307"/>
                    </a:lnTo>
                    <a:lnTo>
                      <a:pt x="108" y="307"/>
                    </a:lnTo>
                    <a:lnTo>
                      <a:pt x="108" y="306"/>
                    </a:lnTo>
                    <a:lnTo>
                      <a:pt x="110" y="306"/>
                    </a:lnTo>
                    <a:lnTo>
                      <a:pt x="110" y="304"/>
                    </a:lnTo>
                    <a:lnTo>
                      <a:pt x="110" y="303"/>
                    </a:lnTo>
                    <a:lnTo>
                      <a:pt x="111" y="303"/>
                    </a:lnTo>
                    <a:lnTo>
                      <a:pt x="111" y="301"/>
                    </a:lnTo>
                    <a:lnTo>
                      <a:pt x="111" y="299"/>
                    </a:lnTo>
                    <a:lnTo>
                      <a:pt x="110" y="299"/>
                    </a:lnTo>
                    <a:lnTo>
                      <a:pt x="110" y="298"/>
                    </a:lnTo>
                    <a:lnTo>
                      <a:pt x="111" y="298"/>
                    </a:lnTo>
                    <a:lnTo>
                      <a:pt x="113" y="296"/>
                    </a:lnTo>
                    <a:lnTo>
                      <a:pt x="115" y="295"/>
                    </a:lnTo>
                    <a:lnTo>
                      <a:pt x="116" y="295"/>
                    </a:lnTo>
                    <a:lnTo>
                      <a:pt x="116" y="293"/>
                    </a:lnTo>
                    <a:lnTo>
                      <a:pt x="118" y="293"/>
                    </a:lnTo>
                    <a:lnTo>
                      <a:pt x="119" y="291"/>
                    </a:lnTo>
                    <a:lnTo>
                      <a:pt x="119" y="290"/>
                    </a:lnTo>
                    <a:lnTo>
                      <a:pt x="121" y="290"/>
                    </a:lnTo>
                    <a:lnTo>
                      <a:pt x="121" y="288"/>
                    </a:lnTo>
                    <a:lnTo>
                      <a:pt x="122" y="288"/>
                    </a:lnTo>
                    <a:lnTo>
                      <a:pt x="124" y="287"/>
                    </a:lnTo>
                    <a:lnTo>
                      <a:pt x="126" y="287"/>
                    </a:lnTo>
                    <a:lnTo>
                      <a:pt x="126" y="285"/>
                    </a:lnTo>
                    <a:lnTo>
                      <a:pt x="127" y="285"/>
                    </a:lnTo>
                    <a:lnTo>
                      <a:pt x="127" y="284"/>
                    </a:lnTo>
                    <a:lnTo>
                      <a:pt x="127" y="282"/>
                    </a:lnTo>
                    <a:lnTo>
                      <a:pt x="129" y="282"/>
                    </a:lnTo>
                    <a:lnTo>
                      <a:pt x="129" y="280"/>
                    </a:lnTo>
                    <a:lnTo>
                      <a:pt x="130" y="280"/>
                    </a:lnTo>
                    <a:lnTo>
                      <a:pt x="130" y="279"/>
                    </a:lnTo>
                    <a:lnTo>
                      <a:pt x="130" y="277"/>
                    </a:lnTo>
                    <a:lnTo>
                      <a:pt x="130" y="276"/>
                    </a:lnTo>
                    <a:lnTo>
                      <a:pt x="132" y="276"/>
                    </a:lnTo>
                    <a:lnTo>
                      <a:pt x="132" y="274"/>
                    </a:lnTo>
                    <a:lnTo>
                      <a:pt x="132" y="272"/>
                    </a:lnTo>
                    <a:lnTo>
                      <a:pt x="134" y="272"/>
                    </a:lnTo>
                    <a:lnTo>
                      <a:pt x="134" y="271"/>
                    </a:lnTo>
                    <a:lnTo>
                      <a:pt x="134" y="269"/>
                    </a:lnTo>
                    <a:lnTo>
                      <a:pt x="135" y="269"/>
                    </a:lnTo>
                    <a:lnTo>
                      <a:pt x="135" y="268"/>
                    </a:lnTo>
                    <a:lnTo>
                      <a:pt x="137" y="266"/>
                    </a:lnTo>
                    <a:lnTo>
                      <a:pt x="137" y="265"/>
                    </a:lnTo>
                    <a:lnTo>
                      <a:pt x="138" y="265"/>
                    </a:lnTo>
                    <a:lnTo>
                      <a:pt x="138" y="263"/>
                    </a:lnTo>
                    <a:lnTo>
                      <a:pt x="140" y="263"/>
                    </a:lnTo>
                    <a:lnTo>
                      <a:pt x="141" y="263"/>
                    </a:lnTo>
                    <a:lnTo>
                      <a:pt x="143" y="263"/>
                    </a:lnTo>
                    <a:lnTo>
                      <a:pt x="145" y="263"/>
                    </a:lnTo>
                    <a:lnTo>
                      <a:pt x="146" y="261"/>
                    </a:lnTo>
                    <a:lnTo>
                      <a:pt x="148" y="260"/>
                    </a:lnTo>
                    <a:lnTo>
                      <a:pt x="149" y="260"/>
                    </a:lnTo>
                    <a:lnTo>
                      <a:pt x="151" y="260"/>
                    </a:lnTo>
                    <a:lnTo>
                      <a:pt x="151" y="258"/>
                    </a:lnTo>
                    <a:lnTo>
                      <a:pt x="151" y="257"/>
                    </a:lnTo>
                    <a:lnTo>
                      <a:pt x="153" y="257"/>
                    </a:lnTo>
                    <a:lnTo>
                      <a:pt x="153" y="255"/>
                    </a:lnTo>
                    <a:lnTo>
                      <a:pt x="154" y="255"/>
                    </a:lnTo>
                    <a:lnTo>
                      <a:pt x="154" y="253"/>
                    </a:lnTo>
                    <a:lnTo>
                      <a:pt x="156" y="253"/>
                    </a:lnTo>
                    <a:lnTo>
                      <a:pt x="156" y="252"/>
                    </a:lnTo>
                    <a:lnTo>
                      <a:pt x="157" y="252"/>
                    </a:lnTo>
                    <a:lnTo>
                      <a:pt x="157" y="250"/>
                    </a:lnTo>
                    <a:lnTo>
                      <a:pt x="157" y="249"/>
                    </a:lnTo>
                    <a:lnTo>
                      <a:pt x="159" y="249"/>
                    </a:lnTo>
                    <a:lnTo>
                      <a:pt x="159" y="247"/>
                    </a:lnTo>
                    <a:lnTo>
                      <a:pt x="160" y="247"/>
                    </a:lnTo>
                    <a:lnTo>
                      <a:pt x="160" y="246"/>
                    </a:lnTo>
                    <a:lnTo>
                      <a:pt x="162" y="246"/>
                    </a:lnTo>
                    <a:lnTo>
                      <a:pt x="164" y="246"/>
                    </a:lnTo>
                    <a:lnTo>
                      <a:pt x="164" y="247"/>
                    </a:lnTo>
                    <a:lnTo>
                      <a:pt x="164" y="249"/>
                    </a:lnTo>
                    <a:lnTo>
                      <a:pt x="164" y="250"/>
                    </a:lnTo>
                    <a:lnTo>
                      <a:pt x="165" y="250"/>
                    </a:lnTo>
                    <a:lnTo>
                      <a:pt x="167" y="250"/>
                    </a:lnTo>
                    <a:lnTo>
                      <a:pt x="167" y="252"/>
                    </a:lnTo>
                    <a:lnTo>
                      <a:pt x="168" y="252"/>
                    </a:lnTo>
                    <a:lnTo>
                      <a:pt x="170" y="252"/>
                    </a:lnTo>
                    <a:lnTo>
                      <a:pt x="172" y="252"/>
                    </a:lnTo>
                    <a:lnTo>
                      <a:pt x="172" y="250"/>
                    </a:lnTo>
                    <a:lnTo>
                      <a:pt x="172" y="249"/>
                    </a:lnTo>
                    <a:lnTo>
                      <a:pt x="173" y="249"/>
                    </a:lnTo>
                    <a:lnTo>
                      <a:pt x="175" y="249"/>
                    </a:lnTo>
                    <a:lnTo>
                      <a:pt x="176" y="250"/>
                    </a:lnTo>
                    <a:lnTo>
                      <a:pt x="176" y="249"/>
                    </a:lnTo>
                    <a:lnTo>
                      <a:pt x="176" y="247"/>
                    </a:lnTo>
                    <a:lnTo>
                      <a:pt x="175" y="246"/>
                    </a:lnTo>
                    <a:lnTo>
                      <a:pt x="175" y="247"/>
                    </a:lnTo>
                    <a:lnTo>
                      <a:pt x="173" y="247"/>
                    </a:lnTo>
                    <a:lnTo>
                      <a:pt x="172" y="246"/>
                    </a:lnTo>
                    <a:lnTo>
                      <a:pt x="170" y="244"/>
                    </a:lnTo>
                    <a:lnTo>
                      <a:pt x="170" y="242"/>
                    </a:lnTo>
                    <a:lnTo>
                      <a:pt x="170" y="241"/>
                    </a:lnTo>
                    <a:lnTo>
                      <a:pt x="170" y="239"/>
                    </a:lnTo>
                    <a:lnTo>
                      <a:pt x="168" y="239"/>
                    </a:lnTo>
                    <a:lnTo>
                      <a:pt x="168" y="238"/>
                    </a:lnTo>
                    <a:lnTo>
                      <a:pt x="167" y="238"/>
                    </a:lnTo>
                    <a:lnTo>
                      <a:pt x="167" y="239"/>
                    </a:lnTo>
                    <a:lnTo>
                      <a:pt x="167" y="238"/>
                    </a:lnTo>
                    <a:lnTo>
                      <a:pt x="165" y="238"/>
                    </a:lnTo>
                    <a:lnTo>
                      <a:pt x="164" y="238"/>
                    </a:lnTo>
                    <a:lnTo>
                      <a:pt x="162" y="238"/>
                    </a:lnTo>
                    <a:lnTo>
                      <a:pt x="160" y="238"/>
                    </a:lnTo>
                    <a:lnTo>
                      <a:pt x="160" y="239"/>
                    </a:lnTo>
                    <a:lnTo>
                      <a:pt x="159" y="239"/>
                    </a:lnTo>
                    <a:lnTo>
                      <a:pt x="157" y="239"/>
                    </a:lnTo>
                    <a:lnTo>
                      <a:pt x="156" y="239"/>
                    </a:lnTo>
                    <a:lnTo>
                      <a:pt x="154" y="239"/>
                    </a:lnTo>
                    <a:lnTo>
                      <a:pt x="154" y="238"/>
                    </a:lnTo>
                    <a:lnTo>
                      <a:pt x="153" y="238"/>
                    </a:lnTo>
                    <a:lnTo>
                      <a:pt x="153" y="236"/>
                    </a:lnTo>
                    <a:lnTo>
                      <a:pt x="151" y="236"/>
                    </a:lnTo>
                    <a:lnTo>
                      <a:pt x="149" y="236"/>
                    </a:lnTo>
                    <a:lnTo>
                      <a:pt x="149" y="234"/>
                    </a:lnTo>
                    <a:lnTo>
                      <a:pt x="149" y="233"/>
                    </a:lnTo>
                    <a:lnTo>
                      <a:pt x="148" y="233"/>
                    </a:lnTo>
                    <a:lnTo>
                      <a:pt x="146" y="233"/>
                    </a:lnTo>
                    <a:lnTo>
                      <a:pt x="146" y="234"/>
                    </a:lnTo>
                    <a:lnTo>
                      <a:pt x="145" y="234"/>
                    </a:lnTo>
                    <a:lnTo>
                      <a:pt x="143" y="236"/>
                    </a:lnTo>
                    <a:lnTo>
                      <a:pt x="143" y="234"/>
                    </a:lnTo>
                    <a:lnTo>
                      <a:pt x="145" y="234"/>
                    </a:lnTo>
                    <a:lnTo>
                      <a:pt x="145" y="233"/>
                    </a:lnTo>
                    <a:lnTo>
                      <a:pt x="145" y="231"/>
                    </a:lnTo>
                    <a:lnTo>
                      <a:pt x="145" y="230"/>
                    </a:lnTo>
                    <a:lnTo>
                      <a:pt x="145" y="228"/>
                    </a:lnTo>
                    <a:lnTo>
                      <a:pt x="145" y="227"/>
                    </a:lnTo>
                    <a:lnTo>
                      <a:pt x="145" y="225"/>
                    </a:lnTo>
                    <a:lnTo>
                      <a:pt x="145" y="223"/>
                    </a:lnTo>
                    <a:lnTo>
                      <a:pt x="145" y="222"/>
                    </a:lnTo>
                    <a:lnTo>
                      <a:pt x="145" y="220"/>
                    </a:lnTo>
                    <a:lnTo>
                      <a:pt x="145" y="219"/>
                    </a:lnTo>
                    <a:lnTo>
                      <a:pt x="145" y="217"/>
                    </a:lnTo>
                    <a:lnTo>
                      <a:pt x="145" y="215"/>
                    </a:lnTo>
                    <a:lnTo>
                      <a:pt x="143" y="215"/>
                    </a:lnTo>
                    <a:lnTo>
                      <a:pt x="143" y="214"/>
                    </a:lnTo>
                    <a:lnTo>
                      <a:pt x="143" y="212"/>
                    </a:lnTo>
                    <a:lnTo>
                      <a:pt x="145" y="212"/>
                    </a:lnTo>
                    <a:lnTo>
                      <a:pt x="145" y="211"/>
                    </a:lnTo>
                    <a:lnTo>
                      <a:pt x="146" y="211"/>
                    </a:lnTo>
                    <a:lnTo>
                      <a:pt x="146" y="209"/>
                    </a:lnTo>
                    <a:lnTo>
                      <a:pt x="148" y="209"/>
                    </a:lnTo>
                    <a:lnTo>
                      <a:pt x="148" y="208"/>
                    </a:lnTo>
                    <a:lnTo>
                      <a:pt x="146" y="206"/>
                    </a:lnTo>
                    <a:lnTo>
                      <a:pt x="146" y="204"/>
                    </a:lnTo>
                    <a:lnTo>
                      <a:pt x="146" y="203"/>
                    </a:lnTo>
                    <a:lnTo>
                      <a:pt x="145" y="203"/>
                    </a:lnTo>
                    <a:lnTo>
                      <a:pt x="145" y="201"/>
                    </a:lnTo>
                    <a:lnTo>
                      <a:pt x="146" y="201"/>
                    </a:lnTo>
                    <a:lnTo>
                      <a:pt x="148" y="201"/>
                    </a:lnTo>
                    <a:lnTo>
                      <a:pt x="148" y="200"/>
                    </a:lnTo>
                    <a:lnTo>
                      <a:pt x="149" y="200"/>
                    </a:lnTo>
                    <a:lnTo>
                      <a:pt x="151" y="200"/>
                    </a:lnTo>
                    <a:lnTo>
                      <a:pt x="151" y="198"/>
                    </a:lnTo>
                    <a:lnTo>
                      <a:pt x="151" y="196"/>
                    </a:lnTo>
                    <a:lnTo>
                      <a:pt x="151" y="195"/>
                    </a:lnTo>
                    <a:lnTo>
                      <a:pt x="151" y="193"/>
                    </a:lnTo>
                    <a:lnTo>
                      <a:pt x="153" y="193"/>
                    </a:lnTo>
                    <a:lnTo>
                      <a:pt x="153" y="195"/>
                    </a:lnTo>
                    <a:lnTo>
                      <a:pt x="154" y="195"/>
                    </a:lnTo>
                    <a:lnTo>
                      <a:pt x="154" y="196"/>
                    </a:lnTo>
                    <a:lnTo>
                      <a:pt x="156" y="196"/>
                    </a:lnTo>
                    <a:lnTo>
                      <a:pt x="156" y="195"/>
                    </a:lnTo>
                    <a:lnTo>
                      <a:pt x="157" y="195"/>
                    </a:lnTo>
                    <a:lnTo>
                      <a:pt x="159" y="195"/>
                    </a:lnTo>
                    <a:lnTo>
                      <a:pt x="159" y="193"/>
                    </a:lnTo>
                    <a:lnTo>
                      <a:pt x="160" y="193"/>
                    </a:lnTo>
                    <a:lnTo>
                      <a:pt x="160" y="192"/>
                    </a:lnTo>
                    <a:lnTo>
                      <a:pt x="162" y="192"/>
                    </a:lnTo>
                    <a:lnTo>
                      <a:pt x="164" y="190"/>
                    </a:lnTo>
                    <a:lnTo>
                      <a:pt x="164" y="188"/>
                    </a:lnTo>
                    <a:lnTo>
                      <a:pt x="164" y="190"/>
                    </a:lnTo>
                    <a:lnTo>
                      <a:pt x="165" y="190"/>
                    </a:lnTo>
                    <a:lnTo>
                      <a:pt x="167" y="190"/>
                    </a:lnTo>
                    <a:lnTo>
                      <a:pt x="168" y="190"/>
                    </a:lnTo>
                    <a:lnTo>
                      <a:pt x="170" y="190"/>
                    </a:lnTo>
                    <a:lnTo>
                      <a:pt x="172" y="190"/>
                    </a:lnTo>
                    <a:lnTo>
                      <a:pt x="172" y="192"/>
                    </a:lnTo>
                    <a:lnTo>
                      <a:pt x="172" y="190"/>
                    </a:lnTo>
                    <a:lnTo>
                      <a:pt x="172" y="188"/>
                    </a:lnTo>
                    <a:lnTo>
                      <a:pt x="173" y="187"/>
                    </a:lnTo>
                    <a:lnTo>
                      <a:pt x="173" y="185"/>
                    </a:lnTo>
                    <a:lnTo>
                      <a:pt x="172" y="185"/>
                    </a:lnTo>
                    <a:lnTo>
                      <a:pt x="172" y="184"/>
                    </a:lnTo>
                    <a:lnTo>
                      <a:pt x="170" y="182"/>
                    </a:lnTo>
                    <a:lnTo>
                      <a:pt x="168" y="182"/>
                    </a:lnTo>
                    <a:lnTo>
                      <a:pt x="167" y="182"/>
                    </a:lnTo>
                    <a:lnTo>
                      <a:pt x="165" y="181"/>
                    </a:lnTo>
                    <a:lnTo>
                      <a:pt x="164" y="181"/>
                    </a:lnTo>
                    <a:lnTo>
                      <a:pt x="165" y="181"/>
                    </a:lnTo>
                    <a:lnTo>
                      <a:pt x="165" y="179"/>
                    </a:lnTo>
                    <a:lnTo>
                      <a:pt x="165" y="177"/>
                    </a:lnTo>
                    <a:lnTo>
                      <a:pt x="167" y="176"/>
                    </a:lnTo>
                    <a:lnTo>
                      <a:pt x="168" y="176"/>
                    </a:lnTo>
                    <a:lnTo>
                      <a:pt x="170" y="176"/>
                    </a:lnTo>
                    <a:lnTo>
                      <a:pt x="172" y="176"/>
                    </a:lnTo>
                    <a:lnTo>
                      <a:pt x="173" y="176"/>
                    </a:lnTo>
                    <a:lnTo>
                      <a:pt x="173" y="174"/>
                    </a:lnTo>
                    <a:lnTo>
                      <a:pt x="173" y="173"/>
                    </a:lnTo>
                    <a:lnTo>
                      <a:pt x="173" y="171"/>
                    </a:lnTo>
                    <a:lnTo>
                      <a:pt x="173" y="169"/>
                    </a:lnTo>
                    <a:lnTo>
                      <a:pt x="172" y="169"/>
                    </a:lnTo>
                    <a:lnTo>
                      <a:pt x="172" y="168"/>
                    </a:lnTo>
                    <a:lnTo>
                      <a:pt x="170" y="168"/>
                    </a:lnTo>
                    <a:lnTo>
                      <a:pt x="170" y="166"/>
                    </a:lnTo>
                    <a:lnTo>
                      <a:pt x="168" y="166"/>
                    </a:lnTo>
                    <a:lnTo>
                      <a:pt x="168" y="165"/>
                    </a:lnTo>
                    <a:lnTo>
                      <a:pt x="167" y="165"/>
                    </a:lnTo>
                    <a:lnTo>
                      <a:pt x="165" y="165"/>
                    </a:lnTo>
                    <a:lnTo>
                      <a:pt x="164" y="165"/>
                    </a:lnTo>
                    <a:lnTo>
                      <a:pt x="164" y="163"/>
                    </a:lnTo>
                    <a:lnTo>
                      <a:pt x="164" y="162"/>
                    </a:lnTo>
                    <a:lnTo>
                      <a:pt x="164" y="160"/>
                    </a:lnTo>
                    <a:lnTo>
                      <a:pt x="164" y="158"/>
                    </a:lnTo>
                    <a:lnTo>
                      <a:pt x="164" y="157"/>
                    </a:lnTo>
                    <a:lnTo>
                      <a:pt x="164" y="155"/>
                    </a:lnTo>
                    <a:lnTo>
                      <a:pt x="164" y="154"/>
                    </a:lnTo>
                    <a:lnTo>
                      <a:pt x="164" y="152"/>
                    </a:lnTo>
                    <a:lnTo>
                      <a:pt x="162" y="152"/>
                    </a:lnTo>
                    <a:lnTo>
                      <a:pt x="162" y="150"/>
                    </a:lnTo>
                    <a:lnTo>
                      <a:pt x="160" y="150"/>
                    </a:lnTo>
                    <a:lnTo>
                      <a:pt x="160" y="149"/>
                    </a:lnTo>
                    <a:lnTo>
                      <a:pt x="160" y="147"/>
                    </a:lnTo>
                    <a:lnTo>
                      <a:pt x="159" y="147"/>
                    </a:lnTo>
                    <a:lnTo>
                      <a:pt x="159" y="146"/>
                    </a:lnTo>
                    <a:lnTo>
                      <a:pt x="157" y="146"/>
                    </a:lnTo>
                    <a:lnTo>
                      <a:pt x="156" y="146"/>
                    </a:lnTo>
                    <a:lnTo>
                      <a:pt x="154" y="144"/>
                    </a:lnTo>
                    <a:lnTo>
                      <a:pt x="154" y="146"/>
                    </a:lnTo>
                    <a:lnTo>
                      <a:pt x="154" y="147"/>
                    </a:lnTo>
                    <a:lnTo>
                      <a:pt x="154" y="149"/>
                    </a:lnTo>
                    <a:lnTo>
                      <a:pt x="154" y="150"/>
                    </a:lnTo>
                    <a:lnTo>
                      <a:pt x="153" y="150"/>
                    </a:lnTo>
                    <a:lnTo>
                      <a:pt x="151" y="150"/>
                    </a:lnTo>
                    <a:lnTo>
                      <a:pt x="149" y="152"/>
                    </a:lnTo>
                    <a:lnTo>
                      <a:pt x="148" y="152"/>
                    </a:lnTo>
                    <a:lnTo>
                      <a:pt x="146" y="152"/>
                    </a:lnTo>
                    <a:lnTo>
                      <a:pt x="145" y="152"/>
                    </a:lnTo>
                    <a:lnTo>
                      <a:pt x="145" y="154"/>
                    </a:lnTo>
                    <a:lnTo>
                      <a:pt x="143" y="154"/>
                    </a:lnTo>
                    <a:lnTo>
                      <a:pt x="141" y="154"/>
                    </a:lnTo>
                    <a:lnTo>
                      <a:pt x="141" y="155"/>
                    </a:lnTo>
                    <a:lnTo>
                      <a:pt x="140" y="155"/>
                    </a:lnTo>
                    <a:lnTo>
                      <a:pt x="138" y="155"/>
                    </a:lnTo>
                    <a:lnTo>
                      <a:pt x="137" y="155"/>
                    </a:lnTo>
                    <a:lnTo>
                      <a:pt x="137" y="157"/>
                    </a:lnTo>
                    <a:lnTo>
                      <a:pt x="135" y="157"/>
                    </a:lnTo>
                    <a:lnTo>
                      <a:pt x="135" y="158"/>
                    </a:lnTo>
                    <a:lnTo>
                      <a:pt x="132" y="157"/>
                    </a:lnTo>
                    <a:lnTo>
                      <a:pt x="130" y="155"/>
                    </a:lnTo>
                    <a:lnTo>
                      <a:pt x="127" y="152"/>
                    </a:lnTo>
                    <a:lnTo>
                      <a:pt x="127" y="150"/>
                    </a:lnTo>
                    <a:lnTo>
                      <a:pt x="126" y="149"/>
                    </a:lnTo>
                    <a:lnTo>
                      <a:pt x="127" y="149"/>
                    </a:lnTo>
                    <a:lnTo>
                      <a:pt x="127" y="147"/>
                    </a:lnTo>
                    <a:lnTo>
                      <a:pt x="129" y="146"/>
                    </a:lnTo>
                    <a:lnTo>
                      <a:pt x="130" y="144"/>
                    </a:lnTo>
                    <a:lnTo>
                      <a:pt x="130" y="143"/>
                    </a:lnTo>
                    <a:lnTo>
                      <a:pt x="132" y="141"/>
                    </a:lnTo>
                    <a:lnTo>
                      <a:pt x="132" y="139"/>
                    </a:lnTo>
                    <a:lnTo>
                      <a:pt x="134" y="139"/>
                    </a:lnTo>
                    <a:lnTo>
                      <a:pt x="134" y="138"/>
                    </a:lnTo>
                    <a:lnTo>
                      <a:pt x="135" y="138"/>
                    </a:lnTo>
                    <a:lnTo>
                      <a:pt x="135" y="136"/>
                    </a:lnTo>
                    <a:lnTo>
                      <a:pt x="137" y="135"/>
                    </a:lnTo>
                    <a:lnTo>
                      <a:pt x="137" y="136"/>
                    </a:lnTo>
                    <a:lnTo>
                      <a:pt x="138" y="135"/>
                    </a:lnTo>
                    <a:lnTo>
                      <a:pt x="138" y="133"/>
                    </a:lnTo>
                    <a:lnTo>
                      <a:pt x="137" y="133"/>
                    </a:lnTo>
                    <a:lnTo>
                      <a:pt x="137" y="131"/>
                    </a:lnTo>
                    <a:lnTo>
                      <a:pt x="135" y="131"/>
                    </a:lnTo>
                    <a:lnTo>
                      <a:pt x="135" y="130"/>
                    </a:lnTo>
                    <a:lnTo>
                      <a:pt x="134" y="128"/>
                    </a:lnTo>
                    <a:lnTo>
                      <a:pt x="132" y="127"/>
                    </a:lnTo>
                    <a:lnTo>
                      <a:pt x="130" y="125"/>
                    </a:lnTo>
                    <a:lnTo>
                      <a:pt x="130" y="124"/>
                    </a:lnTo>
                    <a:lnTo>
                      <a:pt x="129" y="122"/>
                    </a:lnTo>
                    <a:lnTo>
                      <a:pt x="129" y="120"/>
                    </a:lnTo>
                    <a:lnTo>
                      <a:pt x="127" y="120"/>
                    </a:lnTo>
                    <a:lnTo>
                      <a:pt x="126" y="119"/>
                    </a:lnTo>
                    <a:lnTo>
                      <a:pt x="126" y="117"/>
                    </a:lnTo>
                    <a:lnTo>
                      <a:pt x="124" y="117"/>
                    </a:lnTo>
                    <a:lnTo>
                      <a:pt x="124" y="116"/>
                    </a:lnTo>
                    <a:lnTo>
                      <a:pt x="124" y="114"/>
                    </a:lnTo>
                    <a:lnTo>
                      <a:pt x="122" y="114"/>
                    </a:lnTo>
                    <a:lnTo>
                      <a:pt x="122" y="112"/>
                    </a:lnTo>
                    <a:lnTo>
                      <a:pt x="121" y="111"/>
                    </a:lnTo>
                    <a:lnTo>
                      <a:pt x="121" y="109"/>
                    </a:lnTo>
                    <a:lnTo>
                      <a:pt x="122" y="109"/>
                    </a:lnTo>
                    <a:lnTo>
                      <a:pt x="121" y="108"/>
                    </a:lnTo>
                    <a:lnTo>
                      <a:pt x="121" y="106"/>
                    </a:lnTo>
                    <a:lnTo>
                      <a:pt x="121" y="105"/>
                    </a:lnTo>
                    <a:lnTo>
                      <a:pt x="119" y="105"/>
                    </a:lnTo>
                    <a:lnTo>
                      <a:pt x="119" y="103"/>
                    </a:lnTo>
                    <a:lnTo>
                      <a:pt x="118" y="103"/>
                    </a:lnTo>
                    <a:lnTo>
                      <a:pt x="118" y="101"/>
                    </a:lnTo>
                    <a:lnTo>
                      <a:pt x="116" y="101"/>
                    </a:lnTo>
                    <a:lnTo>
                      <a:pt x="115" y="101"/>
                    </a:lnTo>
                    <a:lnTo>
                      <a:pt x="113" y="101"/>
                    </a:lnTo>
                    <a:lnTo>
                      <a:pt x="111" y="101"/>
                    </a:lnTo>
                    <a:lnTo>
                      <a:pt x="111" y="100"/>
                    </a:lnTo>
                    <a:lnTo>
                      <a:pt x="111" y="98"/>
                    </a:lnTo>
                    <a:lnTo>
                      <a:pt x="111" y="97"/>
                    </a:lnTo>
                    <a:lnTo>
                      <a:pt x="110" y="97"/>
                    </a:lnTo>
                    <a:lnTo>
                      <a:pt x="108" y="95"/>
                    </a:lnTo>
                    <a:lnTo>
                      <a:pt x="108" y="93"/>
                    </a:lnTo>
                    <a:lnTo>
                      <a:pt x="107" y="93"/>
                    </a:lnTo>
                    <a:lnTo>
                      <a:pt x="107" y="92"/>
                    </a:lnTo>
                    <a:lnTo>
                      <a:pt x="107" y="90"/>
                    </a:lnTo>
                    <a:lnTo>
                      <a:pt x="107" y="89"/>
                    </a:lnTo>
                    <a:lnTo>
                      <a:pt x="107" y="87"/>
                    </a:lnTo>
                    <a:lnTo>
                      <a:pt x="107" y="85"/>
                    </a:lnTo>
                    <a:lnTo>
                      <a:pt x="107" y="84"/>
                    </a:lnTo>
                    <a:lnTo>
                      <a:pt x="105" y="84"/>
                    </a:lnTo>
                    <a:lnTo>
                      <a:pt x="105" y="82"/>
                    </a:lnTo>
                    <a:lnTo>
                      <a:pt x="105" y="81"/>
                    </a:lnTo>
                    <a:lnTo>
                      <a:pt x="107" y="81"/>
                    </a:lnTo>
                    <a:lnTo>
                      <a:pt x="107" y="79"/>
                    </a:lnTo>
                    <a:lnTo>
                      <a:pt x="107" y="78"/>
                    </a:lnTo>
                    <a:lnTo>
                      <a:pt x="107" y="76"/>
                    </a:lnTo>
                    <a:lnTo>
                      <a:pt x="107" y="74"/>
                    </a:lnTo>
                    <a:lnTo>
                      <a:pt x="105" y="74"/>
                    </a:lnTo>
                    <a:lnTo>
                      <a:pt x="105" y="73"/>
                    </a:lnTo>
                    <a:lnTo>
                      <a:pt x="105" y="71"/>
                    </a:lnTo>
                    <a:lnTo>
                      <a:pt x="105" y="70"/>
                    </a:lnTo>
                    <a:lnTo>
                      <a:pt x="107" y="70"/>
                    </a:lnTo>
                    <a:lnTo>
                      <a:pt x="107" y="68"/>
                    </a:lnTo>
                    <a:lnTo>
                      <a:pt x="105" y="68"/>
                    </a:lnTo>
                    <a:lnTo>
                      <a:pt x="107" y="66"/>
                    </a:lnTo>
                    <a:lnTo>
                      <a:pt x="107" y="65"/>
                    </a:lnTo>
                    <a:lnTo>
                      <a:pt x="107" y="63"/>
                    </a:lnTo>
                    <a:lnTo>
                      <a:pt x="108" y="63"/>
                    </a:lnTo>
                    <a:lnTo>
                      <a:pt x="107" y="63"/>
                    </a:lnTo>
                    <a:lnTo>
                      <a:pt x="107" y="62"/>
                    </a:lnTo>
                    <a:lnTo>
                      <a:pt x="108" y="60"/>
                    </a:lnTo>
                    <a:lnTo>
                      <a:pt x="108" y="59"/>
                    </a:lnTo>
                    <a:lnTo>
                      <a:pt x="107" y="59"/>
                    </a:lnTo>
                    <a:lnTo>
                      <a:pt x="107" y="57"/>
                    </a:lnTo>
                    <a:lnTo>
                      <a:pt x="108" y="57"/>
                    </a:lnTo>
                    <a:lnTo>
                      <a:pt x="108" y="55"/>
                    </a:lnTo>
                    <a:lnTo>
                      <a:pt x="108" y="54"/>
                    </a:lnTo>
                    <a:lnTo>
                      <a:pt x="107" y="54"/>
                    </a:lnTo>
                    <a:lnTo>
                      <a:pt x="107" y="52"/>
                    </a:lnTo>
                    <a:lnTo>
                      <a:pt x="108" y="52"/>
                    </a:lnTo>
                    <a:lnTo>
                      <a:pt x="108" y="51"/>
                    </a:lnTo>
                    <a:lnTo>
                      <a:pt x="107" y="51"/>
                    </a:lnTo>
                    <a:lnTo>
                      <a:pt x="107" y="49"/>
                    </a:lnTo>
                    <a:lnTo>
                      <a:pt x="105" y="49"/>
                    </a:lnTo>
                    <a:lnTo>
                      <a:pt x="105" y="47"/>
                    </a:lnTo>
                    <a:lnTo>
                      <a:pt x="105" y="46"/>
                    </a:lnTo>
                    <a:lnTo>
                      <a:pt x="103" y="46"/>
                    </a:lnTo>
                    <a:lnTo>
                      <a:pt x="103" y="44"/>
                    </a:lnTo>
                    <a:lnTo>
                      <a:pt x="105" y="44"/>
                    </a:lnTo>
                    <a:lnTo>
                      <a:pt x="105" y="43"/>
                    </a:lnTo>
                    <a:lnTo>
                      <a:pt x="105" y="44"/>
                    </a:lnTo>
                    <a:lnTo>
                      <a:pt x="103" y="43"/>
                    </a:lnTo>
                    <a:lnTo>
                      <a:pt x="102" y="43"/>
                    </a:lnTo>
                    <a:lnTo>
                      <a:pt x="102" y="41"/>
                    </a:lnTo>
                    <a:lnTo>
                      <a:pt x="100" y="43"/>
                    </a:lnTo>
                    <a:lnTo>
                      <a:pt x="99" y="44"/>
                    </a:lnTo>
                    <a:lnTo>
                      <a:pt x="97" y="46"/>
                    </a:lnTo>
                    <a:lnTo>
                      <a:pt x="96" y="47"/>
                    </a:lnTo>
                    <a:lnTo>
                      <a:pt x="96" y="49"/>
                    </a:lnTo>
                    <a:lnTo>
                      <a:pt x="94" y="49"/>
                    </a:lnTo>
                    <a:lnTo>
                      <a:pt x="94" y="51"/>
                    </a:lnTo>
                    <a:lnTo>
                      <a:pt x="92" y="51"/>
                    </a:lnTo>
                    <a:lnTo>
                      <a:pt x="92" y="52"/>
                    </a:lnTo>
                    <a:lnTo>
                      <a:pt x="91" y="54"/>
                    </a:lnTo>
                    <a:lnTo>
                      <a:pt x="89" y="55"/>
                    </a:lnTo>
                    <a:lnTo>
                      <a:pt x="88" y="55"/>
                    </a:lnTo>
                    <a:lnTo>
                      <a:pt x="84" y="59"/>
                    </a:lnTo>
                    <a:lnTo>
                      <a:pt x="84" y="60"/>
                    </a:lnTo>
                    <a:lnTo>
                      <a:pt x="83" y="60"/>
                    </a:lnTo>
                    <a:lnTo>
                      <a:pt x="81" y="60"/>
                    </a:lnTo>
                    <a:lnTo>
                      <a:pt x="81" y="62"/>
                    </a:lnTo>
                    <a:lnTo>
                      <a:pt x="80" y="62"/>
                    </a:lnTo>
                    <a:lnTo>
                      <a:pt x="78" y="63"/>
                    </a:lnTo>
                    <a:lnTo>
                      <a:pt x="77" y="63"/>
                    </a:lnTo>
                    <a:lnTo>
                      <a:pt x="77" y="65"/>
                    </a:lnTo>
                    <a:lnTo>
                      <a:pt x="75" y="65"/>
                    </a:lnTo>
                    <a:lnTo>
                      <a:pt x="73" y="66"/>
                    </a:lnTo>
                    <a:lnTo>
                      <a:pt x="72" y="66"/>
                    </a:lnTo>
                    <a:lnTo>
                      <a:pt x="72" y="68"/>
                    </a:lnTo>
                    <a:lnTo>
                      <a:pt x="70" y="68"/>
                    </a:lnTo>
                    <a:lnTo>
                      <a:pt x="70" y="70"/>
                    </a:lnTo>
                    <a:lnTo>
                      <a:pt x="69" y="71"/>
                    </a:lnTo>
                    <a:lnTo>
                      <a:pt x="67" y="73"/>
                    </a:lnTo>
                    <a:lnTo>
                      <a:pt x="65" y="74"/>
                    </a:lnTo>
                    <a:lnTo>
                      <a:pt x="64" y="76"/>
                    </a:lnTo>
                    <a:lnTo>
                      <a:pt x="62" y="78"/>
                    </a:lnTo>
                    <a:lnTo>
                      <a:pt x="61" y="78"/>
                    </a:lnTo>
                    <a:lnTo>
                      <a:pt x="61" y="79"/>
                    </a:lnTo>
                    <a:lnTo>
                      <a:pt x="59" y="79"/>
                    </a:lnTo>
                    <a:lnTo>
                      <a:pt x="59" y="81"/>
                    </a:lnTo>
                    <a:lnTo>
                      <a:pt x="58" y="81"/>
                    </a:lnTo>
                    <a:lnTo>
                      <a:pt x="56" y="81"/>
                    </a:lnTo>
                    <a:lnTo>
                      <a:pt x="56" y="79"/>
                    </a:lnTo>
                    <a:lnTo>
                      <a:pt x="54" y="79"/>
                    </a:lnTo>
                    <a:lnTo>
                      <a:pt x="53" y="79"/>
                    </a:lnTo>
                    <a:lnTo>
                      <a:pt x="51" y="79"/>
                    </a:lnTo>
                    <a:lnTo>
                      <a:pt x="50" y="79"/>
                    </a:lnTo>
                    <a:lnTo>
                      <a:pt x="48" y="79"/>
                    </a:lnTo>
                    <a:lnTo>
                      <a:pt x="48" y="78"/>
                    </a:lnTo>
                    <a:lnTo>
                      <a:pt x="46" y="78"/>
                    </a:lnTo>
                    <a:lnTo>
                      <a:pt x="46" y="76"/>
                    </a:lnTo>
                    <a:lnTo>
                      <a:pt x="45" y="74"/>
                    </a:lnTo>
                    <a:lnTo>
                      <a:pt x="43" y="74"/>
                    </a:lnTo>
                    <a:lnTo>
                      <a:pt x="43" y="73"/>
                    </a:lnTo>
                    <a:lnTo>
                      <a:pt x="43" y="71"/>
                    </a:lnTo>
                    <a:lnTo>
                      <a:pt x="43" y="70"/>
                    </a:lnTo>
                    <a:lnTo>
                      <a:pt x="45" y="70"/>
                    </a:lnTo>
                    <a:lnTo>
                      <a:pt x="43" y="68"/>
                    </a:lnTo>
                    <a:lnTo>
                      <a:pt x="42" y="68"/>
                    </a:lnTo>
                    <a:lnTo>
                      <a:pt x="42" y="66"/>
                    </a:lnTo>
                    <a:lnTo>
                      <a:pt x="43" y="66"/>
                    </a:lnTo>
                    <a:lnTo>
                      <a:pt x="43" y="65"/>
                    </a:lnTo>
                    <a:lnTo>
                      <a:pt x="42" y="65"/>
                    </a:lnTo>
                    <a:lnTo>
                      <a:pt x="42" y="63"/>
                    </a:lnTo>
                    <a:lnTo>
                      <a:pt x="43" y="63"/>
                    </a:lnTo>
                    <a:lnTo>
                      <a:pt x="43" y="62"/>
                    </a:lnTo>
                    <a:lnTo>
                      <a:pt x="43" y="60"/>
                    </a:lnTo>
                    <a:lnTo>
                      <a:pt x="42" y="60"/>
                    </a:lnTo>
                    <a:lnTo>
                      <a:pt x="42" y="59"/>
                    </a:lnTo>
                    <a:lnTo>
                      <a:pt x="42" y="57"/>
                    </a:lnTo>
                    <a:lnTo>
                      <a:pt x="42" y="55"/>
                    </a:lnTo>
                    <a:lnTo>
                      <a:pt x="42" y="54"/>
                    </a:lnTo>
                    <a:lnTo>
                      <a:pt x="40" y="54"/>
                    </a:lnTo>
                    <a:lnTo>
                      <a:pt x="40" y="52"/>
                    </a:lnTo>
                    <a:lnTo>
                      <a:pt x="40" y="51"/>
                    </a:lnTo>
                    <a:lnTo>
                      <a:pt x="40" y="49"/>
                    </a:lnTo>
                    <a:lnTo>
                      <a:pt x="40" y="47"/>
                    </a:lnTo>
                    <a:lnTo>
                      <a:pt x="40" y="46"/>
                    </a:lnTo>
                    <a:lnTo>
                      <a:pt x="39" y="46"/>
                    </a:lnTo>
                    <a:lnTo>
                      <a:pt x="39" y="44"/>
                    </a:lnTo>
                    <a:lnTo>
                      <a:pt x="39" y="43"/>
                    </a:lnTo>
                    <a:lnTo>
                      <a:pt x="37" y="43"/>
                    </a:lnTo>
                    <a:lnTo>
                      <a:pt x="35" y="41"/>
                    </a:lnTo>
                    <a:lnTo>
                      <a:pt x="34" y="41"/>
                    </a:lnTo>
                    <a:lnTo>
                      <a:pt x="34" y="40"/>
                    </a:lnTo>
                    <a:lnTo>
                      <a:pt x="32" y="40"/>
                    </a:lnTo>
                    <a:lnTo>
                      <a:pt x="32" y="38"/>
                    </a:lnTo>
                    <a:lnTo>
                      <a:pt x="32" y="36"/>
                    </a:lnTo>
                    <a:lnTo>
                      <a:pt x="31" y="36"/>
                    </a:lnTo>
                    <a:lnTo>
                      <a:pt x="31" y="35"/>
                    </a:lnTo>
                    <a:lnTo>
                      <a:pt x="29" y="35"/>
                    </a:lnTo>
                    <a:lnTo>
                      <a:pt x="27" y="33"/>
                    </a:lnTo>
                    <a:lnTo>
                      <a:pt x="27" y="32"/>
                    </a:lnTo>
                    <a:lnTo>
                      <a:pt x="26" y="32"/>
                    </a:lnTo>
                    <a:lnTo>
                      <a:pt x="26" y="30"/>
                    </a:lnTo>
                    <a:lnTo>
                      <a:pt x="24" y="32"/>
                    </a:lnTo>
                    <a:lnTo>
                      <a:pt x="23" y="32"/>
                    </a:lnTo>
                    <a:lnTo>
                      <a:pt x="23" y="30"/>
                    </a:lnTo>
                    <a:lnTo>
                      <a:pt x="23" y="28"/>
                    </a:lnTo>
                    <a:lnTo>
                      <a:pt x="23" y="27"/>
                    </a:lnTo>
                    <a:lnTo>
                      <a:pt x="23" y="25"/>
                    </a:lnTo>
                    <a:lnTo>
                      <a:pt x="23" y="24"/>
                    </a:lnTo>
                    <a:lnTo>
                      <a:pt x="21" y="24"/>
                    </a:lnTo>
                    <a:lnTo>
                      <a:pt x="21" y="22"/>
                    </a:lnTo>
                    <a:lnTo>
                      <a:pt x="20" y="22"/>
                    </a:lnTo>
                    <a:lnTo>
                      <a:pt x="20" y="21"/>
                    </a:lnTo>
                    <a:lnTo>
                      <a:pt x="20" y="19"/>
                    </a:lnTo>
                    <a:lnTo>
                      <a:pt x="18" y="19"/>
                    </a:lnTo>
                    <a:lnTo>
                      <a:pt x="18" y="17"/>
                    </a:lnTo>
                    <a:lnTo>
                      <a:pt x="18" y="16"/>
                    </a:lnTo>
                    <a:lnTo>
                      <a:pt x="16" y="16"/>
                    </a:lnTo>
                    <a:lnTo>
                      <a:pt x="16" y="14"/>
                    </a:lnTo>
                    <a:lnTo>
                      <a:pt x="15" y="14"/>
                    </a:lnTo>
                    <a:lnTo>
                      <a:pt x="13" y="14"/>
                    </a:lnTo>
                    <a:lnTo>
                      <a:pt x="12" y="13"/>
                    </a:lnTo>
                    <a:lnTo>
                      <a:pt x="12" y="11"/>
                    </a:lnTo>
                    <a:lnTo>
                      <a:pt x="10" y="11"/>
                    </a:lnTo>
                    <a:lnTo>
                      <a:pt x="10" y="9"/>
                    </a:lnTo>
                    <a:lnTo>
                      <a:pt x="10" y="8"/>
                    </a:lnTo>
                    <a:lnTo>
                      <a:pt x="8" y="8"/>
                    </a:lnTo>
                    <a:lnTo>
                      <a:pt x="7" y="8"/>
                    </a:lnTo>
                    <a:lnTo>
                      <a:pt x="5" y="8"/>
                    </a:lnTo>
                    <a:lnTo>
                      <a:pt x="5" y="6"/>
                    </a:lnTo>
                    <a:lnTo>
                      <a:pt x="4" y="6"/>
                    </a:lnTo>
                    <a:lnTo>
                      <a:pt x="4" y="5"/>
                    </a:lnTo>
                    <a:lnTo>
                      <a:pt x="2" y="5"/>
                    </a:lnTo>
                    <a:lnTo>
                      <a:pt x="2" y="3"/>
                    </a:lnTo>
                    <a:lnTo>
                      <a:pt x="2" y="2"/>
                    </a:lnTo>
                    <a:lnTo>
                      <a:pt x="2" y="0"/>
                    </a:lnTo>
                    <a:lnTo>
                      <a:pt x="0"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54" name="Freeform 52"/>
              <p:cNvSpPr>
                <a:spLocks/>
              </p:cNvSpPr>
              <p:nvPr/>
            </p:nvSpPr>
            <p:spPr bwMode="auto">
              <a:xfrm>
                <a:off x="2103" y="977"/>
                <a:ext cx="349" cy="579"/>
              </a:xfrm>
              <a:custGeom>
                <a:avLst/>
                <a:gdLst>
                  <a:gd name="T0" fmla="*/ 201 w 349"/>
                  <a:gd name="T1" fmla="*/ 520 h 579"/>
                  <a:gd name="T2" fmla="*/ 201 w 349"/>
                  <a:gd name="T3" fmla="*/ 512 h 579"/>
                  <a:gd name="T4" fmla="*/ 192 w 349"/>
                  <a:gd name="T5" fmla="*/ 512 h 579"/>
                  <a:gd name="T6" fmla="*/ 185 w 349"/>
                  <a:gd name="T7" fmla="*/ 514 h 579"/>
                  <a:gd name="T8" fmla="*/ 176 w 349"/>
                  <a:gd name="T9" fmla="*/ 512 h 579"/>
                  <a:gd name="T10" fmla="*/ 168 w 349"/>
                  <a:gd name="T11" fmla="*/ 509 h 579"/>
                  <a:gd name="T12" fmla="*/ 160 w 349"/>
                  <a:gd name="T13" fmla="*/ 504 h 579"/>
                  <a:gd name="T14" fmla="*/ 152 w 349"/>
                  <a:gd name="T15" fmla="*/ 501 h 579"/>
                  <a:gd name="T16" fmla="*/ 144 w 349"/>
                  <a:gd name="T17" fmla="*/ 504 h 579"/>
                  <a:gd name="T18" fmla="*/ 141 w 349"/>
                  <a:gd name="T19" fmla="*/ 506 h 579"/>
                  <a:gd name="T20" fmla="*/ 138 w 349"/>
                  <a:gd name="T21" fmla="*/ 515 h 579"/>
                  <a:gd name="T22" fmla="*/ 133 w 349"/>
                  <a:gd name="T23" fmla="*/ 526 h 579"/>
                  <a:gd name="T24" fmla="*/ 125 w 349"/>
                  <a:gd name="T25" fmla="*/ 533 h 579"/>
                  <a:gd name="T26" fmla="*/ 116 w 349"/>
                  <a:gd name="T27" fmla="*/ 534 h 579"/>
                  <a:gd name="T28" fmla="*/ 111 w 349"/>
                  <a:gd name="T29" fmla="*/ 539 h 579"/>
                  <a:gd name="T30" fmla="*/ 105 w 349"/>
                  <a:gd name="T31" fmla="*/ 547 h 579"/>
                  <a:gd name="T32" fmla="*/ 102 w 349"/>
                  <a:gd name="T33" fmla="*/ 552 h 579"/>
                  <a:gd name="T34" fmla="*/ 94 w 349"/>
                  <a:gd name="T35" fmla="*/ 553 h 579"/>
                  <a:gd name="T36" fmla="*/ 87 w 349"/>
                  <a:gd name="T37" fmla="*/ 558 h 579"/>
                  <a:gd name="T38" fmla="*/ 86 w 349"/>
                  <a:gd name="T39" fmla="*/ 568 h 579"/>
                  <a:gd name="T40" fmla="*/ 79 w 349"/>
                  <a:gd name="T41" fmla="*/ 574 h 579"/>
                  <a:gd name="T42" fmla="*/ 75 w 349"/>
                  <a:gd name="T43" fmla="*/ 577 h 579"/>
                  <a:gd name="T44" fmla="*/ 67 w 349"/>
                  <a:gd name="T45" fmla="*/ 574 h 579"/>
                  <a:gd name="T46" fmla="*/ 57 w 349"/>
                  <a:gd name="T47" fmla="*/ 572 h 579"/>
                  <a:gd name="T48" fmla="*/ 52 w 349"/>
                  <a:gd name="T49" fmla="*/ 574 h 579"/>
                  <a:gd name="T50" fmla="*/ 43 w 349"/>
                  <a:gd name="T51" fmla="*/ 577 h 579"/>
                  <a:gd name="T52" fmla="*/ 37 w 349"/>
                  <a:gd name="T53" fmla="*/ 575 h 579"/>
                  <a:gd name="T54" fmla="*/ 29 w 349"/>
                  <a:gd name="T55" fmla="*/ 575 h 579"/>
                  <a:gd name="T56" fmla="*/ 21 w 349"/>
                  <a:gd name="T57" fmla="*/ 577 h 579"/>
                  <a:gd name="T58" fmla="*/ 16 w 349"/>
                  <a:gd name="T59" fmla="*/ 579 h 579"/>
                  <a:gd name="T60" fmla="*/ 10 w 349"/>
                  <a:gd name="T61" fmla="*/ 572 h 579"/>
                  <a:gd name="T62" fmla="*/ 8 w 349"/>
                  <a:gd name="T63" fmla="*/ 568 h 579"/>
                  <a:gd name="T64" fmla="*/ 6 w 349"/>
                  <a:gd name="T65" fmla="*/ 564 h 579"/>
                  <a:gd name="T66" fmla="*/ 2 w 349"/>
                  <a:gd name="T67" fmla="*/ 556 h 579"/>
                  <a:gd name="T68" fmla="*/ 8 w 349"/>
                  <a:gd name="T69" fmla="*/ 547 h 579"/>
                  <a:gd name="T70" fmla="*/ 3 w 349"/>
                  <a:gd name="T71" fmla="*/ 536 h 579"/>
                  <a:gd name="T72" fmla="*/ 8 w 349"/>
                  <a:gd name="T73" fmla="*/ 520 h 579"/>
                  <a:gd name="T74" fmla="*/ 19 w 349"/>
                  <a:gd name="T75" fmla="*/ 506 h 579"/>
                  <a:gd name="T76" fmla="*/ 29 w 349"/>
                  <a:gd name="T77" fmla="*/ 474 h 579"/>
                  <a:gd name="T78" fmla="*/ 46 w 349"/>
                  <a:gd name="T79" fmla="*/ 460 h 579"/>
                  <a:gd name="T80" fmla="*/ 46 w 349"/>
                  <a:gd name="T81" fmla="*/ 441 h 579"/>
                  <a:gd name="T82" fmla="*/ 78 w 349"/>
                  <a:gd name="T83" fmla="*/ 390 h 579"/>
                  <a:gd name="T84" fmla="*/ 100 w 349"/>
                  <a:gd name="T85" fmla="*/ 352 h 579"/>
                  <a:gd name="T86" fmla="*/ 121 w 349"/>
                  <a:gd name="T87" fmla="*/ 336 h 579"/>
                  <a:gd name="T88" fmla="*/ 125 w 349"/>
                  <a:gd name="T89" fmla="*/ 322 h 579"/>
                  <a:gd name="T90" fmla="*/ 135 w 349"/>
                  <a:gd name="T91" fmla="*/ 320 h 579"/>
                  <a:gd name="T92" fmla="*/ 157 w 349"/>
                  <a:gd name="T93" fmla="*/ 320 h 579"/>
                  <a:gd name="T94" fmla="*/ 190 w 349"/>
                  <a:gd name="T95" fmla="*/ 311 h 579"/>
                  <a:gd name="T96" fmla="*/ 208 w 349"/>
                  <a:gd name="T97" fmla="*/ 306 h 579"/>
                  <a:gd name="T98" fmla="*/ 233 w 349"/>
                  <a:gd name="T99" fmla="*/ 305 h 579"/>
                  <a:gd name="T100" fmla="*/ 244 w 349"/>
                  <a:gd name="T101" fmla="*/ 316 h 579"/>
                  <a:gd name="T102" fmla="*/ 257 w 349"/>
                  <a:gd name="T103" fmla="*/ 312 h 579"/>
                  <a:gd name="T104" fmla="*/ 263 w 349"/>
                  <a:gd name="T105" fmla="*/ 284 h 579"/>
                  <a:gd name="T106" fmla="*/ 263 w 349"/>
                  <a:gd name="T107" fmla="*/ 252 h 579"/>
                  <a:gd name="T108" fmla="*/ 260 w 349"/>
                  <a:gd name="T109" fmla="*/ 232 h 579"/>
                  <a:gd name="T110" fmla="*/ 266 w 349"/>
                  <a:gd name="T111" fmla="*/ 208 h 579"/>
                  <a:gd name="T112" fmla="*/ 284 w 349"/>
                  <a:gd name="T113" fmla="*/ 144 h 579"/>
                  <a:gd name="T114" fmla="*/ 306 w 349"/>
                  <a:gd name="T115" fmla="*/ 105 h 579"/>
                  <a:gd name="T116" fmla="*/ 322 w 349"/>
                  <a:gd name="T117" fmla="*/ 64 h 579"/>
                  <a:gd name="T118" fmla="*/ 336 w 349"/>
                  <a:gd name="T119" fmla="*/ 8 h 579"/>
                  <a:gd name="T120" fmla="*/ 349 w 349"/>
                  <a:gd name="T121" fmla="*/ 8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49" h="579">
                    <a:moveTo>
                      <a:pt x="204" y="528"/>
                    </a:moveTo>
                    <a:lnTo>
                      <a:pt x="203" y="528"/>
                    </a:lnTo>
                    <a:lnTo>
                      <a:pt x="203" y="526"/>
                    </a:lnTo>
                    <a:lnTo>
                      <a:pt x="203" y="525"/>
                    </a:lnTo>
                    <a:lnTo>
                      <a:pt x="203" y="523"/>
                    </a:lnTo>
                    <a:lnTo>
                      <a:pt x="203" y="522"/>
                    </a:lnTo>
                    <a:lnTo>
                      <a:pt x="203" y="520"/>
                    </a:lnTo>
                    <a:lnTo>
                      <a:pt x="201" y="520"/>
                    </a:lnTo>
                    <a:lnTo>
                      <a:pt x="201" y="518"/>
                    </a:lnTo>
                    <a:lnTo>
                      <a:pt x="201" y="517"/>
                    </a:lnTo>
                    <a:lnTo>
                      <a:pt x="200" y="517"/>
                    </a:lnTo>
                    <a:lnTo>
                      <a:pt x="200" y="515"/>
                    </a:lnTo>
                    <a:lnTo>
                      <a:pt x="201" y="514"/>
                    </a:lnTo>
                    <a:lnTo>
                      <a:pt x="203" y="514"/>
                    </a:lnTo>
                    <a:lnTo>
                      <a:pt x="201" y="514"/>
                    </a:lnTo>
                    <a:lnTo>
                      <a:pt x="201" y="512"/>
                    </a:lnTo>
                    <a:lnTo>
                      <a:pt x="200" y="512"/>
                    </a:lnTo>
                    <a:lnTo>
                      <a:pt x="198" y="512"/>
                    </a:lnTo>
                    <a:lnTo>
                      <a:pt x="197" y="512"/>
                    </a:lnTo>
                    <a:lnTo>
                      <a:pt x="197" y="514"/>
                    </a:lnTo>
                    <a:lnTo>
                      <a:pt x="195" y="514"/>
                    </a:lnTo>
                    <a:lnTo>
                      <a:pt x="195" y="512"/>
                    </a:lnTo>
                    <a:lnTo>
                      <a:pt x="193" y="512"/>
                    </a:lnTo>
                    <a:lnTo>
                      <a:pt x="192" y="512"/>
                    </a:lnTo>
                    <a:lnTo>
                      <a:pt x="192" y="514"/>
                    </a:lnTo>
                    <a:lnTo>
                      <a:pt x="190" y="514"/>
                    </a:lnTo>
                    <a:lnTo>
                      <a:pt x="190" y="512"/>
                    </a:lnTo>
                    <a:lnTo>
                      <a:pt x="189" y="512"/>
                    </a:lnTo>
                    <a:lnTo>
                      <a:pt x="189" y="511"/>
                    </a:lnTo>
                    <a:lnTo>
                      <a:pt x="187" y="511"/>
                    </a:lnTo>
                    <a:lnTo>
                      <a:pt x="185" y="512"/>
                    </a:lnTo>
                    <a:lnTo>
                      <a:pt x="185" y="514"/>
                    </a:lnTo>
                    <a:lnTo>
                      <a:pt x="184" y="514"/>
                    </a:lnTo>
                    <a:lnTo>
                      <a:pt x="182" y="514"/>
                    </a:lnTo>
                    <a:lnTo>
                      <a:pt x="182" y="515"/>
                    </a:lnTo>
                    <a:lnTo>
                      <a:pt x="181" y="515"/>
                    </a:lnTo>
                    <a:lnTo>
                      <a:pt x="181" y="514"/>
                    </a:lnTo>
                    <a:lnTo>
                      <a:pt x="179" y="512"/>
                    </a:lnTo>
                    <a:lnTo>
                      <a:pt x="178" y="512"/>
                    </a:lnTo>
                    <a:lnTo>
                      <a:pt x="176" y="512"/>
                    </a:lnTo>
                    <a:lnTo>
                      <a:pt x="174" y="512"/>
                    </a:lnTo>
                    <a:lnTo>
                      <a:pt x="174" y="511"/>
                    </a:lnTo>
                    <a:lnTo>
                      <a:pt x="173" y="511"/>
                    </a:lnTo>
                    <a:lnTo>
                      <a:pt x="171" y="511"/>
                    </a:lnTo>
                    <a:lnTo>
                      <a:pt x="171" y="512"/>
                    </a:lnTo>
                    <a:lnTo>
                      <a:pt x="170" y="511"/>
                    </a:lnTo>
                    <a:lnTo>
                      <a:pt x="168" y="511"/>
                    </a:lnTo>
                    <a:lnTo>
                      <a:pt x="168" y="509"/>
                    </a:lnTo>
                    <a:lnTo>
                      <a:pt x="168" y="507"/>
                    </a:lnTo>
                    <a:lnTo>
                      <a:pt x="166" y="507"/>
                    </a:lnTo>
                    <a:lnTo>
                      <a:pt x="165" y="507"/>
                    </a:lnTo>
                    <a:lnTo>
                      <a:pt x="163" y="507"/>
                    </a:lnTo>
                    <a:lnTo>
                      <a:pt x="163" y="506"/>
                    </a:lnTo>
                    <a:lnTo>
                      <a:pt x="162" y="506"/>
                    </a:lnTo>
                    <a:lnTo>
                      <a:pt x="160" y="506"/>
                    </a:lnTo>
                    <a:lnTo>
                      <a:pt x="160" y="504"/>
                    </a:lnTo>
                    <a:lnTo>
                      <a:pt x="159" y="506"/>
                    </a:lnTo>
                    <a:lnTo>
                      <a:pt x="157" y="506"/>
                    </a:lnTo>
                    <a:lnTo>
                      <a:pt x="155" y="506"/>
                    </a:lnTo>
                    <a:lnTo>
                      <a:pt x="155" y="504"/>
                    </a:lnTo>
                    <a:lnTo>
                      <a:pt x="155" y="503"/>
                    </a:lnTo>
                    <a:lnTo>
                      <a:pt x="154" y="503"/>
                    </a:lnTo>
                    <a:lnTo>
                      <a:pt x="152" y="503"/>
                    </a:lnTo>
                    <a:lnTo>
                      <a:pt x="152" y="501"/>
                    </a:lnTo>
                    <a:lnTo>
                      <a:pt x="152" y="499"/>
                    </a:lnTo>
                    <a:lnTo>
                      <a:pt x="151" y="499"/>
                    </a:lnTo>
                    <a:lnTo>
                      <a:pt x="151" y="501"/>
                    </a:lnTo>
                    <a:lnTo>
                      <a:pt x="149" y="503"/>
                    </a:lnTo>
                    <a:lnTo>
                      <a:pt x="147" y="503"/>
                    </a:lnTo>
                    <a:lnTo>
                      <a:pt x="146" y="503"/>
                    </a:lnTo>
                    <a:lnTo>
                      <a:pt x="146" y="504"/>
                    </a:lnTo>
                    <a:lnTo>
                      <a:pt x="144" y="504"/>
                    </a:lnTo>
                    <a:lnTo>
                      <a:pt x="144" y="506"/>
                    </a:lnTo>
                    <a:lnTo>
                      <a:pt x="144" y="507"/>
                    </a:lnTo>
                    <a:lnTo>
                      <a:pt x="146" y="509"/>
                    </a:lnTo>
                    <a:lnTo>
                      <a:pt x="144" y="509"/>
                    </a:lnTo>
                    <a:lnTo>
                      <a:pt x="143" y="509"/>
                    </a:lnTo>
                    <a:lnTo>
                      <a:pt x="143" y="507"/>
                    </a:lnTo>
                    <a:lnTo>
                      <a:pt x="143" y="506"/>
                    </a:lnTo>
                    <a:lnTo>
                      <a:pt x="141" y="506"/>
                    </a:lnTo>
                    <a:lnTo>
                      <a:pt x="141" y="507"/>
                    </a:lnTo>
                    <a:lnTo>
                      <a:pt x="141" y="509"/>
                    </a:lnTo>
                    <a:lnTo>
                      <a:pt x="141" y="511"/>
                    </a:lnTo>
                    <a:lnTo>
                      <a:pt x="140" y="511"/>
                    </a:lnTo>
                    <a:lnTo>
                      <a:pt x="140" y="512"/>
                    </a:lnTo>
                    <a:lnTo>
                      <a:pt x="138" y="512"/>
                    </a:lnTo>
                    <a:lnTo>
                      <a:pt x="138" y="514"/>
                    </a:lnTo>
                    <a:lnTo>
                      <a:pt x="138" y="515"/>
                    </a:lnTo>
                    <a:lnTo>
                      <a:pt x="136" y="517"/>
                    </a:lnTo>
                    <a:lnTo>
                      <a:pt x="136" y="518"/>
                    </a:lnTo>
                    <a:lnTo>
                      <a:pt x="136" y="520"/>
                    </a:lnTo>
                    <a:lnTo>
                      <a:pt x="136" y="522"/>
                    </a:lnTo>
                    <a:lnTo>
                      <a:pt x="135" y="522"/>
                    </a:lnTo>
                    <a:lnTo>
                      <a:pt x="135" y="523"/>
                    </a:lnTo>
                    <a:lnTo>
                      <a:pt x="133" y="525"/>
                    </a:lnTo>
                    <a:lnTo>
                      <a:pt x="133" y="526"/>
                    </a:lnTo>
                    <a:lnTo>
                      <a:pt x="133" y="528"/>
                    </a:lnTo>
                    <a:lnTo>
                      <a:pt x="133" y="530"/>
                    </a:lnTo>
                    <a:lnTo>
                      <a:pt x="132" y="530"/>
                    </a:lnTo>
                    <a:lnTo>
                      <a:pt x="132" y="531"/>
                    </a:lnTo>
                    <a:lnTo>
                      <a:pt x="130" y="533"/>
                    </a:lnTo>
                    <a:lnTo>
                      <a:pt x="128" y="533"/>
                    </a:lnTo>
                    <a:lnTo>
                      <a:pt x="127" y="533"/>
                    </a:lnTo>
                    <a:lnTo>
                      <a:pt x="125" y="533"/>
                    </a:lnTo>
                    <a:lnTo>
                      <a:pt x="124" y="533"/>
                    </a:lnTo>
                    <a:lnTo>
                      <a:pt x="124" y="531"/>
                    </a:lnTo>
                    <a:lnTo>
                      <a:pt x="124" y="533"/>
                    </a:lnTo>
                    <a:lnTo>
                      <a:pt x="122" y="533"/>
                    </a:lnTo>
                    <a:lnTo>
                      <a:pt x="121" y="533"/>
                    </a:lnTo>
                    <a:lnTo>
                      <a:pt x="119" y="534"/>
                    </a:lnTo>
                    <a:lnTo>
                      <a:pt x="117" y="534"/>
                    </a:lnTo>
                    <a:lnTo>
                      <a:pt x="116" y="534"/>
                    </a:lnTo>
                    <a:lnTo>
                      <a:pt x="116" y="533"/>
                    </a:lnTo>
                    <a:lnTo>
                      <a:pt x="114" y="533"/>
                    </a:lnTo>
                    <a:lnTo>
                      <a:pt x="113" y="533"/>
                    </a:lnTo>
                    <a:lnTo>
                      <a:pt x="113" y="534"/>
                    </a:lnTo>
                    <a:lnTo>
                      <a:pt x="113" y="536"/>
                    </a:lnTo>
                    <a:lnTo>
                      <a:pt x="113" y="537"/>
                    </a:lnTo>
                    <a:lnTo>
                      <a:pt x="113" y="539"/>
                    </a:lnTo>
                    <a:lnTo>
                      <a:pt x="111" y="539"/>
                    </a:lnTo>
                    <a:lnTo>
                      <a:pt x="111" y="541"/>
                    </a:lnTo>
                    <a:lnTo>
                      <a:pt x="111" y="542"/>
                    </a:lnTo>
                    <a:lnTo>
                      <a:pt x="109" y="544"/>
                    </a:lnTo>
                    <a:lnTo>
                      <a:pt x="109" y="545"/>
                    </a:lnTo>
                    <a:lnTo>
                      <a:pt x="109" y="547"/>
                    </a:lnTo>
                    <a:lnTo>
                      <a:pt x="108" y="547"/>
                    </a:lnTo>
                    <a:lnTo>
                      <a:pt x="106" y="547"/>
                    </a:lnTo>
                    <a:lnTo>
                      <a:pt x="105" y="547"/>
                    </a:lnTo>
                    <a:lnTo>
                      <a:pt x="105" y="549"/>
                    </a:lnTo>
                    <a:lnTo>
                      <a:pt x="103" y="550"/>
                    </a:lnTo>
                    <a:lnTo>
                      <a:pt x="103" y="549"/>
                    </a:lnTo>
                    <a:lnTo>
                      <a:pt x="103" y="550"/>
                    </a:lnTo>
                    <a:lnTo>
                      <a:pt x="103" y="552"/>
                    </a:lnTo>
                    <a:lnTo>
                      <a:pt x="102" y="552"/>
                    </a:lnTo>
                    <a:lnTo>
                      <a:pt x="102" y="553"/>
                    </a:lnTo>
                    <a:lnTo>
                      <a:pt x="102" y="552"/>
                    </a:lnTo>
                    <a:lnTo>
                      <a:pt x="100" y="552"/>
                    </a:lnTo>
                    <a:lnTo>
                      <a:pt x="98" y="552"/>
                    </a:lnTo>
                    <a:lnTo>
                      <a:pt x="98" y="553"/>
                    </a:lnTo>
                    <a:lnTo>
                      <a:pt x="98" y="555"/>
                    </a:lnTo>
                    <a:lnTo>
                      <a:pt x="97" y="555"/>
                    </a:lnTo>
                    <a:lnTo>
                      <a:pt x="95" y="555"/>
                    </a:lnTo>
                    <a:lnTo>
                      <a:pt x="95" y="553"/>
                    </a:lnTo>
                    <a:lnTo>
                      <a:pt x="94" y="553"/>
                    </a:lnTo>
                    <a:lnTo>
                      <a:pt x="94" y="555"/>
                    </a:lnTo>
                    <a:lnTo>
                      <a:pt x="94" y="556"/>
                    </a:lnTo>
                    <a:lnTo>
                      <a:pt x="92" y="556"/>
                    </a:lnTo>
                    <a:lnTo>
                      <a:pt x="92" y="558"/>
                    </a:lnTo>
                    <a:lnTo>
                      <a:pt x="90" y="556"/>
                    </a:lnTo>
                    <a:lnTo>
                      <a:pt x="90" y="558"/>
                    </a:lnTo>
                    <a:lnTo>
                      <a:pt x="89" y="558"/>
                    </a:lnTo>
                    <a:lnTo>
                      <a:pt x="87" y="558"/>
                    </a:lnTo>
                    <a:lnTo>
                      <a:pt x="87" y="560"/>
                    </a:lnTo>
                    <a:lnTo>
                      <a:pt x="87" y="561"/>
                    </a:lnTo>
                    <a:lnTo>
                      <a:pt x="89" y="563"/>
                    </a:lnTo>
                    <a:lnTo>
                      <a:pt x="87" y="564"/>
                    </a:lnTo>
                    <a:lnTo>
                      <a:pt x="89" y="564"/>
                    </a:lnTo>
                    <a:lnTo>
                      <a:pt x="89" y="566"/>
                    </a:lnTo>
                    <a:lnTo>
                      <a:pt x="87" y="566"/>
                    </a:lnTo>
                    <a:lnTo>
                      <a:pt x="86" y="568"/>
                    </a:lnTo>
                    <a:lnTo>
                      <a:pt x="86" y="569"/>
                    </a:lnTo>
                    <a:lnTo>
                      <a:pt x="86" y="571"/>
                    </a:lnTo>
                    <a:lnTo>
                      <a:pt x="84" y="571"/>
                    </a:lnTo>
                    <a:lnTo>
                      <a:pt x="83" y="571"/>
                    </a:lnTo>
                    <a:lnTo>
                      <a:pt x="83" y="572"/>
                    </a:lnTo>
                    <a:lnTo>
                      <a:pt x="81" y="572"/>
                    </a:lnTo>
                    <a:lnTo>
                      <a:pt x="79" y="572"/>
                    </a:lnTo>
                    <a:lnTo>
                      <a:pt x="79" y="574"/>
                    </a:lnTo>
                    <a:lnTo>
                      <a:pt x="81" y="574"/>
                    </a:lnTo>
                    <a:lnTo>
                      <a:pt x="81" y="575"/>
                    </a:lnTo>
                    <a:lnTo>
                      <a:pt x="81" y="577"/>
                    </a:lnTo>
                    <a:lnTo>
                      <a:pt x="79" y="577"/>
                    </a:lnTo>
                    <a:lnTo>
                      <a:pt x="78" y="577"/>
                    </a:lnTo>
                    <a:lnTo>
                      <a:pt x="78" y="575"/>
                    </a:lnTo>
                    <a:lnTo>
                      <a:pt x="76" y="577"/>
                    </a:lnTo>
                    <a:lnTo>
                      <a:pt x="75" y="577"/>
                    </a:lnTo>
                    <a:lnTo>
                      <a:pt x="73" y="577"/>
                    </a:lnTo>
                    <a:lnTo>
                      <a:pt x="73" y="575"/>
                    </a:lnTo>
                    <a:lnTo>
                      <a:pt x="73" y="574"/>
                    </a:lnTo>
                    <a:lnTo>
                      <a:pt x="73" y="572"/>
                    </a:lnTo>
                    <a:lnTo>
                      <a:pt x="71" y="572"/>
                    </a:lnTo>
                    <a:lnTo>
                      <a:pt x="70" y="572"/>
                    </a:lnTo>
                    <a:lnTo>
                      <a:pt x="68" y="572"/>
                    </a:lnTo>
                    <a:lnTo>
                      <a:pt x="67" y="574"/>
                    </a:lnTo>
                    <a:lnTo>
                      <a:pt x="65" y="574"/>
                    </a:lnTo>
                    <a:lnTo>
                      <a:pt x="64" y="574"/>
                    </a:lnTo>
                    <a:lnTo>
                      <a:pt x="64" y="572"/>
                    </a:lnTo>
                    <a:lnTo>
                      <a:pt x="62" y="574"/>
                    </a:lnTo>
                    <a:lnTo>
                      <a:pt x="60" y="574"/>
                    </a:lnTo>
                    <a:lnTo>
                      <a:pt x="60" y="575"/>
                    </a:lnTo>
                    <a:lnTo>
                      <a:pt x="59" y="574"/>
                    </a:lnTo>
                    <a:lnTo>
                      <a:pt x="57" y="572"/>
                    </a:lnTo>
                    <a:lnTo>
                      <a:pt x="57" y="574"/>
                    </a:lnTo>
                    <a:lnTo>
                      <a:pt x="56" y="574"/>
                    </a:lnTo>
                    <a:lnTo>
                      <a:pt x="56" y="575"/>
                    </a:lnTo>
                    <a:lnTo>
                      <a:pt x="54" y="575"/>
                    </a:lnTo>
                    <a:lnTo>
                      <a:pt x="54" y="577"/>
                    </a:lnTo>
                    <a:lnTo>
                      <a:pt x="54" y="575"/>
                    </a:lnTo>
                    <a:lnTo>
                      <a:pt x="52" y="575"/>
                    </a:lnTo>
                    <a:lnTo>
                      <a:pt x="52" y="574"/>
                    </a:lnTo>
                    <a:lnTo>
                      <a:pt x="52" y="575"/>
                    </a:lnTo>
                    <a:lnTo>
                      <a:pt x="51" y="575"/>
                    </a:lnTo>
                    <a:lnTo>
                      <a:pt x="49" y="575"/>
                    </a:lnTo>
                    <a:lnTo>
                      <a:pt x="48" y="575"/>
                    </a:lnTo>
                    <a:lnTo>
                      <a:pt x="46" y="575"/>
                    </a:lnTo>
                    <a:lnTo>
                      <a:pt x="45" y="575"/>
                    </a:lnTo>
                    <a:lnTo>
                      <a:pt x="45" y="577"/>
                    </a:lnTo>
                    <a:lnTo>
                      <a:pt x="43" y="577"/>
                    </a:lnTo>
                    <a:lnTo>
                      <a:pt x="43" y="579"/>
                    </a:lnTo>
                    <a:lnTo>
                      <a:pt x="41" y="579"/>
                    </a:lnTo>
                    <a:lnTo>
                      <a:pt x="40" y="579"/>
                    </a:lnTo>
                    <a:lnTo>
                      <a:pt x="40" y="577"/>
                    </a:lnTo>
                    <a:lnTo>
                      <a:pt x="40" y="575"/>
                    </a:lnTo>
                    <a:lnTo>
                      <a:pt x="38" y="577"/>
                    </a:lnTo>
                    <a:lnTo>
                      <a:pt x="38" y="575"/>
                    </a:lnTo>
                    <a:lnTo>
                      <a:pt x="37" y="575"/>
                    </a:lnTo>
                    <a:lnTo>
                      <a:pt x="37" y="577"/>
                    </a:lnTo>
                    <a:lnTo>
                      <a:pt x="35" y="577"/>
                    </a:lnTo>
                    <a:lnTo>
                      <a:pt x="35" y="579"/>
                    </a:lnTo>
                    <a:lnTo>
                      <a:pt x="33" y="579"/>
                    </a:lnTo>
                    <a:lnTo>
                      <a:pt x="32" y="579"/>
                    </a:lnTo>
                    <a:lnTo>
                      <a:pt x="30" y="579"/>
                    </a:lnTo>
                    <a:lnTo>
                      <a:pt x="29" y="577"/>
                    </a:lnTo>
                    <a:lnTo>
                      <a:pt x="29" y="575"/>
                    </a:lnTo>
                    <a:lnTo>
                      <a:pt x="29" y="574"/>
                    </a:lnTo>
                    <a:lnTo>
                      <a:pt x="27" y="574"/>
                    </a:lnTo>
                    <a:lnTo>
                      <a:pt x="26" y="574"/>
                    </a:lnTo>
                    <a:lnTo>
                      <a:pt x="26" y="575"/>
                    </a:lnTo>
                    <a:lnTo>
                      <a:pt x="24" y="575"/>
                    </a:lnTo>
                    <a:lnTo>
                      <a:pt x="24" y="577"/>
                    </a:lnTo>
                    <a:lnTo>
                      <a:pt x="22" y="577"/>
                    </a:lnTo>
                    <a:lnTo>
                      <a:pt x="21" y="577"/>
                    </a:lnTo>
                    <a:lnTo>
                      <a:pt x="22" y="577"/>
                    </a:lnTo>
                    <a:lnTo>
                      <a:pt x="22" y="575"/>
                    </a:lnTo>
                    <a:lnTo>
                      <a:pt x="21" y="575"/>
                    </a:lnTo>
                    <a:lnTo>
                      <a:pt x="19" y="575"/>
                    </a:lnTo>
                    <a:lnTo>
                      <a:pt x="18" y="575"/>
                    </a:lnTo>
                    <a:lnTo>
                      <a:pt x="18" y="577"/>
                    </a:lnTo>
                    <a:lnTo>
                      <a:pt x="18" y="579"/>
                    </a:lnTo>
                    <a:lnTo>
                      <a:pt x="16" y="579"/>
                    </a:lnTo>
                    <a:lnTo>
                      <a:pt x="16" y="577"/>
                    </a:lnTo>
                    <a:lnTo>
                      <a:pt x="14" y="577"/>
                    </a:lnTo>
                    <a:lnTo>
                      <a:pt x="14" y="575"/>
                    </a:lnTo>
                    <a:lnTo>
                      <a:pt x="13" y="575"/>
                    </a:lnTo>
                    <a:lnTo>
                      <a:pt x="11" y="575"/>
                    </a:lnTo>
                    <a:lnTo>
                      <a:pt x="11" y="574"/>
                    </a:lnTo>
                    <a:lnTo>
                      <a:pt x="10" y="574"/>
                    </a:lnTo>
                    <a:lnTo>
                      <a:pt x="10" y="572"/>
                    </a:lnTo>
                    <a:lnTo>
                      <a:pt x="8" y="572"/>
                    </a:lnTo>
                    <a:lnTo>
                      <a:pt x="8" y="574"/>
                    </a:lnTo>
                    <a:lnTo>
                      <a:pt x="6" y="574"/>
                    </a:lnTo>
                    <a:lnTo>
                      <a:pt x="6" y="572"/>
                    </a:lnTo>
                    <a:lnTo>
                      <a:pt x="6" y="571"/>
                    </a:lnTo>
                    <a:lnTo>
                      <a:pt x="6" y="569"/>
                    </a:lnTo>
                    <a:lnTo>
                      <a:pt x="8" y="569"/>
                    </a:lnTo>
                    <a:lnTo>
                      <a:pt x="8" y="568"/>
                    </a:lnTo>
                    <a:lnTo>
                      <a:pt x="10" y="568"/>
                    </a:lnTo>
                    <a:lnTo>
                      <a:pt x="10" y="566"/>
                    </a:lnTo>
                    <a:lnTo>
                      <a:pt x="10" y="564"/>
                    </a:lnTo>
                    <a:lnTo>
                      <a:pt x="10" y="563"/>
                    </a:lnTo>
                    <a:lnTo>
                      <a:pt x="8" y="564"/>
                    </a:lnTo>
                    <a:lnTo>
                      <a:pt x="6" y="564"/>
                    </a:lnTo>
                    <a:lnTo>
                      <a:pt x="6" y="566"/>
                    </a:lnTo>
                    <a:lnTo>
                      <a:pt x="6" y="564"/>
                    </a:lnTo>
                    <a:lnTo>
                      <a:pt x="6" y="563"/>
                    </a:lnTo>
                    <a:lnTo>
                      <a:pt x="5" y="563"/>
                    </a:lnTo>
                    <a:lnTo>
                      <a:pt x="5" y="561"/>
                    </a:lnTo>
                    <a:lnTo>
                      <a:pt x="3" y="561"/>
                    </a:lnTo>
                    <a:lnTo>
                      <a:pt x="3" y="560"/>
                    </a:lnTo>
                    <a:lnTo>
                      <a:pt x="3" y="558"/>
                    </a:lnTo>
                    <a:lnTo>
                      <a:pt x="3" y="556"/>
                    </a:lnTo>
                    <a:lnTo>
                      <a:pt x="2" y="556"/>
                    </a:lnTo>
                    <a:lnTo>
                      <a:pt x="2" y="555"/>
                    </a:lnTo>
                    <a:lnTo>
                      <a:pt x="2" y="553"/>
                    </a:lnTo>
                    <a:lnTo>
                      <a:pt x="3" y="553"/>
                    </a:lnTo>
                    <a:lnTo>
                      <a:pt x="3" y="552"/>
                    </a:lnTo>
                    <a:lnTo>
                      <a:pt x="5" y="550"/>
                    </a:lnTo>
                    <a:lnTo>
                      <a:pt x="5" y="549"/>
                    </a:lnTo>
                    <a:lnTo>
                      <a:pt x="6" y="549"/>
                    </a:lnTo>
                    <a:lnTo>
                      <a:pt x="8" y="547"/>
                    </a:lnTo>
                    <a:lnTo>
                      <a:pt x="8" y="545"/>
                    </a:lnTo>
                    <a:lnTo>
                      <a:pt x="5" y="544"/>
                    </a:lnTo>
                    <a:lnTo>
                      <a:pt x="5" y="542"/>
                    </a:lnTo>
                    <a:lnTo>
                      <a:pt x="3" y="542"/>
                    </a:lnTo>
                    <a:lnTo>
                      <a:pt x="2" y="541"/>
                    </a:lnTo>
                    <a:lnTo>
                      <a:pt x="2" y="539"/>
                    </a:lnTo>
                    <a:lnTo>
                      <a:pt x="3" y="537"/>
                    </a:lnTo>
                    <a:lnTo>
                      <a:pt x="3" y="536"/>
                    </a:lnTo>
                    <a:lnTo>
                      <a:pt x="3" y="534"/>
                    </a:lnTo>
                    <a:lnTo>
                      <a:pt x="2" y="534"/>
                    </a:lnTo>
                    <a:lnTo>
                      <a:pt x="0" y="534"/>
                    </a:lnTo>
                    <a:lnTo>
                      <a:pt x="3" y="530"/>
                    </a:lnTo>
                    <a:lnTo>
                      <a:pt x="5" y="526"/>
                    </a:lnTo>
                    <a:lnTo>
                      <a:pt x="6" y="525"/>
                    </a:lnTo>
                    <a:lnTo>
                      <a:pt x="6" y="523"/>
                    </a:lnTo>
                    <a:lnTo>
                      <a:pt x="8" y="520"/>
                    </a:lnTo>
                    <a:lnTo>
                      <a:pt x="8" y="518"/>
                    </a:lnTo>
                    <a:lnTo>
                      <a:pt x="8" y="512"/>
                    </a:lnTo>
                    <a:lnTo>
                      <a:pt x="10" y="511"/>
                    </a:lnTo>
                    <a:lnTo>
                      <a:pt x="11" y="511"/>
                    </a:lnTo>
                    <a:lnTo>
                      <a:pt x="14" y="511"/>
                    </a:lnTo>
                    <a:lnTo>
                      <a:pt x="18" y="509"/>
                    </a:lnTo>
                    <a:lnTo>
                      <a:pt x="19" y="507"/>
                    </a:lnTo>
                    <a:lnTo>
                      <a:pt x="19" y="506"/>
                    </a:lnTo>
                    <a:lnTo>
                      <a:pt x="21" y="503"/>
                    </a:lnTo>
                    <a:lnTo>
                      <a:pt x="21" y="501"/>
                    </a:lnTo>
                    <a:lnTo>
                      <a:pt x="21" y="498"/>
                    </a:lnTo>
                    <a:lnTo>
                      <a:pt x="19" y="498"/>
                    </a:lnTo>
                    <a:lnTo>
                      <a:pt x="18" y="495"/>
                    </a:lnTo>
                    <a:lnTo>
                      <a:pt x="19" y="490"/>
                    </a:lnTo>
                    <a:lnTo>
                      <a:pt x="24" y="482"/>
                    </a:lnTo>
                    <a:lnTo>
                      <a:pt x="29" y="474"/>
                    </a:lnTo>
                    <a:lnTo>
                      <a:pt x="33" y="465"/>
                    </a:lnTo>
                    <a:lnTo>
                      <a:pt x="35" y="463"/>
                    </a:lnTo>
                    <a:lnTo>
                      <a:pt x="35" y="461"/>
                    </a:lnTo>
                    <a:lnTo>
                      <a:pt x="37" y="461"/>
                    </a:lnTo>
                    <a:lnTo>
                      <a:pt x="38" y="461"/>
                    </a:lnTo>
                    <a:lnTo>
                      <a:pt x="41" y="461"/>
                    </a:lnTo>
                    <a:lnTo>
                      <a:pt x="43" y="461"/>
                    </a:lnTo>
                    <a:lnTo>
                      <a:pt x="46" y="460"/>
                    </a:lnTo>
                    <a:lnTo>
                      <a:pt x="48" y="457"/>
                    </a:lnTo>
                    <a:lnTo>
                      <a:pt x="48" y="455"/>
                    </a:lnTo>
                    <a:lnTo>
                      <a:pt x="48" y="449"/>
                    </a:lnTo>
                    <a:lnTo>
                      <a:pt x="46" y="447"/>
                    </a:lnTo>
                    <a:lnTo>
                      <a:pt x="46" y="446"/>
                    </a:lnTo>
                    <a:lnTo>
                      <a:pt x="45" y="442"/>
                    </a:lnTo>
                    <a:lnTo>
                      <a:pt x="46" y="442"/>
                    </a:lnTo>
                    <a:lnTo>
                      <a:pt x="46" y="441"/>
                    </a:lnTo>
                    <a:lnTo>
                      <a:pt x="48" y="439"/>
                    </a:lnTo>
                    <a:lnTo>
                      <a:pt x="51" y="434"/>
                    </a:lnTo>
                    <a:lnTo>
                      <a:pt x="56" y="425"/>
                    </a:lnTo>
                    <a:lnTo>
                      <a:pt x="59" y="420"/>
                    </a:lnTo>
                    <a:lnTo>
                      <a:pt x="60" y="419"/>
                    </a:lnTo>
                    <a:lnTo>
                      <a:pt x="67" y="408"/>
                    </a:lnTo>
                    <a:lnTo>
                      <a:pt x="68" y="406"/>
                    </a:lnTo>
                    <a:lnTo>
                      <a:pt x="78" y="390"/>
                    </a:lnTo>
                    <a:lnTo>
                      <a:pt x="79" y="389"/>
                    </a:lnTo>
                    <a:lnTo>
                      <a:pt x="84" y="377"/>
                    </a:lnTo>
                    <a:lnTo>
                      <a:pt x="86" y="376"/>
                    </a:lnTo>
                    <a:lnTo>
                      <a:pt x="89" y="369"/>
                    </a:lnTo>
                    <a:lnTo>
                      <a:pt x="92" y="365"/>
                    </a:lnTo>
                    <a:lnTo>
                      <a:pt x="95" y="360"/>
                    </a:lnTo>
                    <a:lnTo>
                      <a:pt x="98" y="355"/>
                    </a:lnTo>
                    <a:lnTo>
                      <a:pt x="100" y="352"/>
                    </a:lnTo>
                    <a:lnTo>
                      <a:pt x="105" y="344"/>
                    </a:lnTo>
                    <a:lnTo>
                      <a:pt x="106" y="341"/>
                    </a:lnTo>
                    <a:lnTo>
                      <a:pt x="108" y="339"/>
                    </a:lnTo>
                    <a:lnTo>
                      <a:pt x="111" y="339"/>
                    </a:lnTo>
                    <a:lnTo>
                      <a:pt x="116" y="339"/>
                    </a:lnTo>
                    <a:lnTo>
                      <a:pt x="117" y="339"/>
                    </a:lnTo>
                    <a:lnTo>
                      <a:pt x="119" y="338"/>
                    </a:lnTo>
                    <a:lnTo>
                      <a:pt x="121" y="336"/>
                    </a:lnTo>
                    <a:lnTo>
                      <a:pt x="121" y="335"/>
                    </a:lnTo>
                    <a:lnTo>
                      <a:pt x="122" y="331"/>
                    </a:lnTo>
                    <a:lnTo>
                      <a:pt x="121" y="328"/>
                    </a:lnTo>
                    <a:lnTo>
                      <a:pt x="121" y="327"/>
                    </a:lnTo>
                    <a:lnTo>
                      <a:pt x="121" y="324"/>
                    </a:lnTo>
                    <a:lnTo>
                      <a:pt x="122" y="322"/>
                    </a:lnTo>
                    <a:lnTo>
                      <a:pt x="124" y="322"/>
                    </a:lnTo>
                    <a:lnTo>
                      <a:pt x="125" y="322"/>
                    </a:lnTo>
                    <a:lnTo>
                      <a:pt x="127" y="320"/>
                    </a:lnTo>
                    <a:lnTo>
                      <a:pt x="128" y="320"/>
                    </a:lnTo>
                    <a:lnTo>
                      <a:pt x="128" y="319"/>
                    </a:lnTo>
                    <a:lnTo>
                      <a:pt x="130" y="319"/>
                    </a:lnTo>
                    <a:lnTo>
                      <a:pt x="132" y="319"/>
                    </a:lnTo>
                    <a:lnTo>
                      <a:pt x="132" y="320"/>
                    </a:lnTo>
                    <a:lnTo>
                      <a:pt x="133" y="320"/>
                    </a:lnTo>
                    <a:lnTo>
                      <a:pt x="135" y="320"/>
                    </a:lnTo>
                    <a:lnTo>
                      <a:pt x="138" y="320"/>
                    </a:lnTo>
                    <a:lnTo>
                      <a:pt x="141" y="319"/>
                    </a:lnTo>
                    <a:lnTo>
                      <a:pt x="143" y="319"/>
                    </a:lnTo>
                    <a:lnTo>
                      <a:pt x="149" y="322"/>
                    </a:lnTo>
                    <a:lnTo>
                      <a:pt x="152" y="320"/>
                    </a:lnTo>
                    <a:lnTo>
                      <a:pt x="154" y="320"/>
                    </a:lnTo>
                    <a:lnTo>
                      <a:pt x="155" y="320"/>
                    </a:lnTo>
                    <a:lnTo>
                      <a:pt x="157" y="320"/>
                    </a:lnTo>
                    <a:lnTo>
                      <a:pt x="157" y="319"/>
                    </a:lnTo>
                    <a:lnTo>
                      <a:pt x="160" y="319"/>
                    </a:lnTo>
                    <a:lnTo>
                      <a:pt x="165" y="319"/>
                    </a:lnTo>
                    <a:lnTo>
                      <a:pt x="174" y="314"/>
                    </a:lnTo>
                    <a:lnTo>
                      <a:pt x="178" y="314"/>
                    </a:lnTo>
                    <a:lnTo>
                      <a:pt x="181" y="312"/>
                    </a:lnTo>
                    <a:lnTo>
                      <a:pt x="185" y="312"/>
                    </a:lnTo>
                    <a:lnTo>
                      <a:pt x="190" y="311"/>
                    </a:lnTo>
                    <a:lnTo>
                      <a:pt x="193" y="311"/>
                    </a:lnTo>
                    <a:lnTo>
                      <a:pt x="195" y="311"/>
                    </a:lnTo>
                    <a:lnTo>
                      <a:pt x="195" y="309"/>
                    </a:lnTo>
                    <a:lnTo>
                      <a:pt x="197" y="309"/>
                    </a:lnTo>
                    <a:lnTo>
                      <a:pt x="198" y="309"/>
                    </a:lnTo>
                    <a:lnTo>
                      <a:pt x="201" y="308"/>
                    </a:lnTo>
                    <a:lnTo>
                      <a:pt x="206" y="306"/>
                    </a:lnTo>
                    <a:lnTo>
                      <a:pt x="208" y="306"/>
                    </a:lnTo>
                    <a:lnTo>
                      <a:pt x="214" y="305"/>
                    </a:lnTo>
                    <a:lnTo>
                      <a:pt x="219" y="305"/>
                    </a:lnTo>
                    <a:lnTo>
                      <a:pt x="224" y="306"/>
                    </a:lnTo>
                    <a:lnTo>
                      <a:pt x="225" y="306"/>
                    </a:lnTo>
                    <a:lnTo>
                      <a:pt x="227" y="306"/>
                    </a:lnTo>
                    <a:lnTo>
                      <a:pt x="228" y="305"/>
                    </a:lnTo>
                    <a:lnTo>
                      <a:pt x="231" y="305"/>
                    </a:lnTo>
                    <a:lnTo>
                      <a:pt x="233" y="305"/>
                    </a:lnTo>
                    <a:lnTo>
                      <a:pt x="235" y="305"/>
                    </a:lnTo>
                    <a:lnTo>
                      <a:pt x="236" y="305"/>
                    </a:lnTo>
                    <a:lnTo>
                      <a:pt x="238" y="306"/>
                    </a:lnTo>
                    <a:lnTo>
                      <a:pt x="241" y="308"/>
                    </a:lnTo>
                    <a:lnTo>
                      <a:pt x="243" y="309"/>
                    </a:lnTo>
                    <a:lnTo>
                      <a:pt x="244" y="311"/>
                    </a:lnTo>
                    <a:lnTo>
                      <a:pt x="244" y="314"/>
                    </a:lnTo>
                    <a:lnTo>
                      <a:pt x="244" y="316"/>
                    </a:lnTo>
                    <a:lnTo>
                      <a:pt x="246" y="316"/>
                    </a:lnTo>
                    <a:lnTo>
                      <a:pt x="247" y="317"/>
                    </a:lnTo>
                    <a:lnTo>
                      <a:pt x="250" y="316"/>
                    </a:lnTo>
                    <a:lnTo>
                      <a:pt x="252" y="316"/>
                    </a:lnTo>
                    <a:lnTo>
                      <a:pt x="257" y="317"/>
                    </a:lnTo>
                    <a:lnTo>
                      <a:pt x="257" y="316"/>
                    </a:lnTo>
                    <a:lnTo>
                      <a:pt x="258" y="314"/>
                    </a:lnTo>
                    <a:lnTo>
                      <a:pt x="257" y="312"/>
                    </a:lnTo>
                    <a:lnTo>
                      <a:pt x="257" y="311"/>
                    </a:lnTo>
                    <a:lnTo>
                      <a:pt x="258" y="308"/>
                    </a:lnTo>
                    <a:lnTo>
                      <a:pt x="258" y="306"/>
                    </a:lnTo>
                    <a:lnTo>
                      <a:pt x="263" y="298"/>
                    </a:lnTo>
                    <a:lnTo>
                      <a:pt x="263" y="295"/>
                    </a:lnTo>
                    <a:lnTo>
                      <a:pt x="263" y="289"/>
                    </a:lnTo>
                    <a:lnTo>
                      <a:pt x="263" y="287"/>
                    </a:lnTo>
                    <a:lnTo>
                      <a:pt x="263" y="284"/>
                    </a:lnTo>
                    <a:lnTo>
                      <a:pt x="263" y="278"/>
                    </a:lnTo>
                    <a:lnTo>
                      <a:pt x="263" y="276"/>
                    </a:lnTo>
                    <a:lnTo>
                      <a:pt x="263" y="265"/>
                    </a:lnTo>
                    <a:lnTo>
                      <a:pt x="265" y="262"/>
                    </a:lnTo>
                    <a:lnTo>
                      <a:pt x="265" y="260"/>
                    </a:lnTo>
                    <a:lnTo>
                      <a:pt x="265" y="257"/>
                    </a:lnTo>
                    <a:lnTo>
                      <a:pt x="265" y="255"/>
                    </a:lnTo>
                    <a:lnTo>
                      <a:pt x="263" y="252"/>
                    </a:lnTo>
                    <a:lnTo>
                      <a:pt x="260" y="249"/>
                    </a:lnTo>
                    <a:lnTo>
                      <a:pt x="257" y="246"/>
                    </a:lnTo>
                    <a:lnTo>
                      <a:pt x="255" y="243"/>
                    </a:lnTo>
                    <a:lnTo>
                      <a:pt x="255" y="241"/>
                    </a:lnTo>
                    <a:lnTo>
                      <a:pt x="257" y="240"/>
                    </a:lnTo>
                    <a:lnTo>
                      <a:pt x="257" y="236"/>
                    </a:lnTo>
                    <a:lnTo>
                      <a:pt x="258" y="235"/>
                    </a:lnTo>
                    <a:lnTo>
                      <a:pt x="260" y="232"/>
                    </a:lnTo>
                    <a:lnTo>
                      <a:pt x="262" y="228"/>
                    </a:lnTo>
                    <a:lnTo>
                      <a:pt x="262" y="227"/>
                    </a:lnTo>
                    <a:lnTo>
                      <a:pt x="263" y="224"/>
                    </a:lnTo>
                    <a:lnTo>
                      <a:pt x="263" y="222"/>
                    </a:lnTo>
                    <a:lnTo>
                      <a:pt x="265" y="221"/>
                    </a:lnTo>
                    <a:lnTo>
                      <a:pt x="265" y="219"/>
                    </a:lnTo>
                    <a:lnTo>
                      <a:pt x="265" y="213"/>
                    </a:lnTo>
                    <a:lnTo>
                      <a:pt x="266" y="208"/>
                    </a:lnTo>
                    <a:lnTo>
                      <a:pt x="268" y="206"/>
                    </a:lnTo>
                    <a:lnTo>
                      <a:pt x="269" y="197"/>
                    </a:lnTo>
                    <a:lnTo>
                      <a:pt x="274" y="183"/>
                    </a:lnTo>
                    <a:lnTo>
                      <a:pt x="276" y="175"/>
                    </a:lnTo>
                    <a:lnTo>
                      <a:pt x="276" y="173"/>
                    </a:lnTo>
                    <a:lnTo>
                      <a:pt x="279" y="164"/>
                    </a:lnTo>
                    <a:lnTo>
                      <a:pt x="282" y="154"/>
                    </a:lnTo>
                    <a:lnTo>
                      <a:pt x="284" y="144"/>
                    </a:lnTo>
                    <a:lnTo>
                      <a:pt x="285" y="141"/>
                    </a:lnTo>
                    <a:lnTo>
                      <a:pt x="288" y="140"/>
                    </a:lnTo>
                    <a:lnTo>
                      <a:pt x="288" y="138"/>
                    </a:lnTo>
                    <a:lnTo>
                      <a:pt x="292" y="137"/>
                    </a:lnTo>
                    <a:lnTo>
                      <a:pt x="293" y="135"/>
                    </a:lnTo>
                    <a:lnTo>
                      <a:pt x="296" y="129"/>
                    </a:lnTo>
                    <a:lnTo>
                      <a:pt x="306" y="106"/>
                    </a:lnTo>
                    <a:lnTo>
                      <a:pt x="306" y="105"/>
                    </a:lnTo>
                    <a:lnTo>
                      <a:pt x="307" y="102"/>
                    </a:lnTo>
                    <a:lnTo>
                      <a:pt x="307" y="100"/>
                    </a:lnTo>
                    <a:lnTo>
                      <a:pt x="309" y="95"/>
                    </a:lnTo>
                    <a:lnTo>
                      <a:pt x="320" y="72"/>
                    </a:lnTo>
                    <a:lnTo>
                      <a:pt x="320" y="70"/>
                    </a:lnTo>
                    <a:lnTo>
                      <a:pt x="322" y="68"/>
                    </a:lnTo>
                    <a:lnTo>
                      <a:pt x="322" y="67"/>
                    </a:lnTo>
                    <a:lnTo>
                      <a:pt x="322" y="64"/>
                    </a:lnTo>
                    <a:lnTo>
                      <a:pt x="322" y="61"/>
                    </a:lnTo>
                    <a:lnTo>
                      <a:pt x="322" y="56"/>
                    </a:lnTo>
                    <a:lnTo>
                      <a:pt x="322" y="54"/>
                    </a:lnTo>
                    <a:lnTo>
                      <a:pt x="326" y="38"/>
                    </a:lnTo>
                    <a:lnTo>
                      <a:pt x="328" y="37"/>
                    </a:lnTo>
                    <a:lnTo>
                      <a:pt x="334" y="11"/>
                    </a:lnTo>
                    <a:lnTo>
                      <a:pt x="336" y="10"/>
                    </a:lnTo>
                    <a:lnTo>
                      <a:pt x="336" y="8"/>
                    </a:lnTo>
                    <a:lnTo>
                      <a:pt x="341" y="3"/>
                    </a:lnTo>
                    <a:lnTo>
                      <a:pt x="342" y="3"/>
                    </a:lnTo>
                    <a:lnTo>
                      <a:pt x="344" y="0"/>
                    </a:lnTo>
                    <a:lnTo>
                      <a:pt x="344" y="2"/>
                    </a:lnTo>
                    <a:lnTo>
                      <a:pt x="345" y="3"/>
                    </a:lnTo>
                    <a:lnTo>
                      <a:pt x="347" y="5"/>
                    </a:lnTo>
                    <a:lnTo>
                      <a:pt x="349" y="7"/>
                    </a:lnTo>
                    <a:lnTo>
                      <a:pt x="349" y="8"/>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55" name="Freeform 53"/>
              <p:cNvSpPr>
                <a:spLocks noEditPoints="1"/>
              </p:cNvSpPr>
              <p:nvPr/>
            </p:nvSpPr>
            <p:spPr bwMode="auto">
              <a:xfrm>
                <a:off x="1769" y="1963"/>
                <a:ext cx="2564" cy="2007"/>
              </a:xfrm>
              <a:custGeom>
                <a:avLst/>
                <a:gdLst>
                  <a:gd name="T0" fmla="*/ 1378 w 2564"/>
                  <a:gd name="T1" fmla="*/ 79 h 2007"/>
                  <a:gd name="T2" fmla="*/ 1354 w 2564"/>
                  <a:gd name="T3" fmla="*/ 119 h 2007"/>
                  <a:gd name="T4" fmla="*/ 1397 w 2564"/>
                  <a:gd name="T5" fmla="*/ 198 h 2007"/>
                  <a:gd name="T6" fmla="*/ 1437 w 2564"/>
                  <a:gd name="T7" fmla="*/ 228 h 2007"/>
                  <a:gd name="T8" fmla="*/ 1489 w 2564"/>
                  <a:gd name="T9" fmla="*/ 201 h 2007"/>
                  <a:gd name="T10" fmla="*/ 1535 w 2564"/>
                  <a:gd name="T11" fmla="*/ 219 h 2007"/>
                  <a:gd name="T12" fmla="*/ 1530 w 2564"/>
                  <a:gd name="T13" fmla="*/ 271 h 2007"/>
                  <a:gd name="T14" fmla="*/ 1506 w 2564"/>
                  <a:gd name="T15" fmla="*/ 317 h 2007"/>
                  <a:gd name="T16" fmla="*/ 1666 w 2564"/>
                  <a:gd name="T17" fmla="*/ 364 h 2007"/>
                  <a:gd name="T18" fmla="*/ 1947 w 2564"/>
                  <a:gd name="T19" fmla="*/ 290 h 2007"/>
                  <a:gd name="T20" fmla="*/ 2351 w 2564"/>
                  <a:gd name="T21" fmla="*/ 217 h 2007"/>
                  <a:gd name="T22" fmla="*/ 2555 w 2564"/>
                  <a:gd name="T23" fmla="*/ 580 h 2007"/>
                  <a:gd name="T24" fmla="*/ 2317 w 2564"/>
                  <a:gd name="T25" fmla="*/ 1035 h 2007"/>
                  <a:gd name="T26" fmla="*/ 1879 w 2564"/>
                  <a:gd name="T27" fmla="*/ 1440 h 2007"/>
                  <a:gd name="T28" fmla="*/ 1324 w 2564"/>
                  <a:gd name="T29" fmla="*/ 1980 h 2007"/>
                  <a:gd name="T30" fmla="*/ 971 w 2564"/>
                  <a:gd name="T31" fmla="*/ 1839 h 2007"/>
                  <a:gd name="T32" fmla="*/ 808 w 2564"/>
                  <a:gd name="T33" fmla="*/ 1567 h 2007"/>
                  <a:gd name="T34" fmla="*/ 1123 w 2564"/>
                  <a:gd name="T35" fmla="*/ 1301 h 2007"/>
                  <a:gd name="T36" fmla="*/ 1183 w 2564"/>
                  <a:gd name="T37" fmla="*/ 1196 h 2007"/>
                  <a:gd name="T38" fmla="*/ 1262 w 2564"/>
                  <a:gd name="T39" fmla="*/ 1158 h 2007"/>
                  <a:gd name="T40" fmla="*/ 1373 w 2564"/>
                  <a:gd name="T41" fmla="*/ 1079 h 2007"/>
                  <a:gd name="T42" fmla="*/ 1150 w 2564"/>
                  <a:gd name="T43" fmla="*/ 963 h 2007"/>
                  <a:gd name="T44" fmla="*/ 1305 w 2564"/>
                  <a:gd name="T45" fmla="*/ 623 h 2007"/>
                  <a:gd name="T46" fmla="*/ 1115 w 2564"/>
                  <a:gd name="T47" fmla="*/ 589 h 2007"/>
                  <a:gd name="T48" fmla="*/ 952 w 2564"/>
                  <a:gd name="T49" fmla="*/ 700 h 2007"/>
                  <a:gd name="T50" fmla="*/ 605 w 2564"/>
                  <a:gd name="T51" fmla="*/ 841 h 2007"/>
                  <a:gd name="T52" fmla="*/ 396 w 2564"/>
                  <a:gd name="T53" fmla="*/ 732 h 2007"/>
                  <a:gd name="T54" fmla="*/ 239 w 2564"/>
                  <a:gd name="T55" fmla="*/ 689 h 2007"/>
                  <a:gd name="T56" fmla="*/ 5 w 2564"/>
                  <a:gd name="T57" fmla="*/ 483 h 2007"/>
                  <a:gd name="T58" fmla="*/ 74 w 2564"/>
                  <a:gd name="T59" fmla="*/ 339 h 2007"/>
                  <a:gd name="T60" fmla="*/ 74 w 2564"/>
                  <a:gd name="T61" fmla="*/ 277 h 2007"/>
                  <a:gd name="T62" fmla="*/ 89 w 2564"/>
                  <a:gd name="T63" fmla="*/ 223 h 2007"/>
                  <a:gd name="T64" fmla="*/ 163 w 2564"/>
                  <a:gd name="T65" fmla="*/ 234 h 2007"/>
                  <a:gd name="T66" fmla="*/ 198 w 2564"/>
                  <a:gd name="T67" fmla="*/ 176 h 2007"/>
                  <a:gd name="T68" fmla="*/ 220 w 2564"/>
                  <a:gd name="T69" fmla="*/ 101 h 2007"/>
                  <a:gd name="T70" fmla="*/ 287 w 2564"/>
                  <a:gd name="T71" fmla="*/ 123 h 2007"/>
                  <a:gd name="T72" fmla="*/ 369 w 2564"/>
                  <a:gd name="T73" fmla="*/ 158 h 2007"/>
                  <a:gd name="T74" fmla="*/ 407 w 2564"/>
                  <a:gd name="T75" fmla="*/ 206 h 2007"/>
                  <a:gd name="T76" fmla="*/ 470 w 2564"/>
                  <a:gd name="T77" fmla="*/ 263 h 2007"/>
                  <a:gd name="T78" fmla="*/ 518 w 2564"/>
                  <a:gd name="T79" fmla="*/ 307 h 2007"/>
                  <a:gd name="T80" fmla="*/ 584 w 2564"/>
                  <a:gd name="T81" fmla="*/ 367 h 2007"/>
                  <a:gd name="T82" fmla="*/ 600 w 2564"/>
                  <a:gd name="T83" fmla="*/ 310 h 2007"/>
                  <a:gd name="T84" fmla="*/ 637 w 2564"/>
                  <a:gd name="T85" fmla="*/ 266 h 2007"/>
                  <a:gd name="T86" fmla="*/ 581 w 2564"/>
                  <a:gd name="T87" fmla="*/ 204 h 2007"/>
                  <a:gd name="T88" fmla="*/ 583 w 2564"/>
                  <a:gd name="T89" fmla="*/ 123 h 2007"/>
                  <a:gd name="T90" fmla="*/ 651 w 2564"/>
                  <a:gd name="T91" fmla="*/ 58 h 2007"/>
                  <a:gd name="T92" fmla="*/ 706 w 2564"/>
                  <a:gd name="T93" fmla="*/ 32 h 2007"/>
                  <a:gd name="T94" fmla="*/ 775 w 2564"/>
                  <a:gd name="T95" fmla="*/ 30 h 2007"/>
                  <a:gd name="T96" fmla="*/ 841 w 2564"/>
                  <a:gd name="T97" fmla="*/ 47 h 2007"/>
                  <a:gd name="T98" fmla="*/ 895 w 2564"/>
                  <a:gd name="T99" fmla="*/ 82 h 2007"/>
                  <a:gd name="T100" fmla="*/ 990 w 2564"/>
                  <a:gd name="T101" fmla="*/ 112 h 2007"/>
                  <a:gd name="T102" fmla="*/ 1071 w 2564"/>
                  <a:gd name="T103" fmla="*/ 154 h 2007"/>
                  <a:gd name="T104" fmla="*/ 1153 w 2564"/>
                  <a:gd name="T105" fmla="*/ 112 h 2007"/>
                  <a:gd name="T106" fmla="*/ 1228 w 2564"/>
                  <a:gd name="T107" fmla="*/ 70 h 2007"/>
                  <a:gd name="T108" fmla="*/ 1273 w 2564"/>
                  <a:gd name="T109" fmla="*/ 8 h 2007"/>
                  <a:gd name="T110" fmla="*/ 656 w 2564"/>
                  <a:gd name="T111" fmla="*/ 279 h 2007"/>
                  <a:gd name="T112" fmla="*/ 679 w 2564"/>
                  <a:gd name="T113" fmla="*/ 253 h 2007"/>
                  <a:gd name="T114" fmla="*/ 1357 w 2564"/>
                  <a:gd name="T115" fmla="*/ 450 h 2007"/>
                  <a:gd name="T116" fmla="*/ 1376 w 2564"/>
                  <a:gd name="T117" fmla="*/ 382 h 2007"/>
                  <a:gd name="T118" fmla="*/ 596 w 2564"/>
                  <a:gd name="T119" fmla="*/ 407 h 2007"/>
                  <a:gd name="T120" fmla="*/ 548 w 2564"/>
                  <a:gd name="T121" fmla="*/ 432 h 2007"/>
                  <a:gd name="T122" fmla="*/ 618 w 2564"/>
                  <a:gd name="T123" fmla="*/ 466 h 2007"/>
                  <a:gd name="T124" fmla="*/ 2328 w 2564"/>
                  <a:gd name="T125" fmla="*/ 298 h 20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64" h="2007">
                    <a:moveTo>
                      <a:pt x="1340" y="0"/>
                    </a:moveTo>
                    <a:lnTo>
                      <a:pt x="1342" y="0"/>
                    </a:lnTo>
                    <a:lnTo>
                      <a:pt x="1343" y="0"/>
                    </a:lnTo>
                    <a:lnTo>
                      <a:pt x="1345" y="0"/>
                    </a:lnTo>
                    <a:lnTo>
                      <a:pt x="1346" y="0"/>
                    </a:lnTo>
                    <a:lnTo>
                      <a:pt x="1346" y="1"/>
                    </a:lnTo>
                    <a:lnTo>
                      <a:pt x="1346" y="0"/>
                    </a:lnTo>
                    <a:lnTo>
                      <a:pt x="1348" y="0"/>
                    </a:lnTo>
                    <a:lnTo>
                      <a:pt x="1348" y="1"/>
                    </a:lnTo>
                    <a:lnTo>
                      <a:pt x="1350" y="1"/>
                    </a:lnTo>
                    <a:lnTo>
                      <a:pt x="1350" y="3"/>
                    </a:lnTo>
                    <a:lnTo>
                      <a:pt x="1351" y="3"/>
                    </a:lnTo>
                    <a:lnTo>
                      <a:pt x="1353" y="3"/>
                    </a:lnTo>
                    <a:lnTo>
                      <a:pt x="1353" y="5"/>
                    </a:lnTo>
                    <a:lnTo>
                      <a:pt x="1354" y="5"/>
                    </a:lnTo>
                    <a:lnTo>
                      <a:pt x="1354" y="6"/>
                    </a:lnTo>
                    <a:lnTo>
                      <a:pt x="1356" y="6"/>
                    </a:lnTo>
                    <a:lnTo>
                      <a:pt x="1357" y="6"/>
                    </a:lnTo>
                    <a:lnTo>
                      <a:pt x="1359" y="6"/>
                    </a:lnTo>
                    <a:lnTo>
                      <a:pt x="1361" y="6"/>
                    </a:lnTo>
                    <a:lnTo>
                      <a:pt x="1362" y="6"/>
                    </a:lnTo>
                    <a:lnTo>
                      <a:pt x="1364" y="6"/>
                    </a:lnTo>
                    <a:lnTo>
                      <a:pt x="1364" y="5"/>
                    </a:lnTo>
                    <a:lnTo>
                      <a:pt x="1365" y="5"/>
                    </a:lnTo>
                    <a:lnTo>
                      <a:pt x="1365" y="6"/>
                    </a:lnTo>
                    <a:lnTo>
                      <a:pt x="1367" y="6"/>
                    </a:lnTo>
                    <a:lnTo>
                      <a:pt x="1369" y="6"/>
                    </a:lnTo>
                    <a:lnTo>
                      <a:pt x="1370" y="6"/>
                    </a:lnTo>
                    <a:lnTo>
                      <a:pt x="1372" y="6"/>
                    </a:lnTo>
                    <a:lnTo>
                      <a:pt x="1373" y="8"/>
                    </a:lnTo>
                    <a:lnTo>
                      <a:pt x="1375" y="8"/>
                    </a:lnTo>
                    <a:lnTo>
                      <a:pt x="1376" y="8"/>
                    </a:lnTo>
                    <a:lnTo>
                      <a:pt x="1376" y="9"/>
                    </a:lnTo>
                    <a:lnTo>
                      <a:pt x="1378" y="13"/>
                    </a:lnTo>
                    <a:lnTo>
                      <a:pt x="1378" y="14"/>
                    </a:lnTo>
                    <a:lnTo>
                      <a:pt x="1380" y="16"/>
                    </a:lnTo>
                    <a:lnTo>
                      <a:pt x="1380" y="17"/>
                    </a:lnTo>
                    <a:lnTo>
                      <a:pt x="1380" y="20"/>
                    </a:lnTo>
                    <a:lnTo>
                      <a:pt x="1380" y="22"/>
                    </a:lnTo>
                    <a:lnTo>
                      <a:pt x="1380" y="24"/>
                    </a:lnTo>
                    <a:lnTo>
                      <a:pt x="1380" y="25"/>
                    </a:lnTo>
                    <a:lnTo>
                      <a:pt x="1380" y="27"/>
                    </a:lnTo>
                    <a:lnTo>
                      <a:pt x="1380" y="28"/>
                    </a:lnTo>
                    <a:lnTo>
                      <a:pt x="1381" y="28"/>
                    </a:lnTo>
                    <a:lnTo>
                      <a:pt x="1381" y="30"/>
                    </a:lnTo>
                    <a:lnTo>
                      <a:pt x="1381" y="32"/>
                    </a:lnTo>
                    <a:lnTo>
                      <a:pt x="1380" y="33"/>
                    </a:lnTo>
                    <a:lnTo>
                      <a:pt x="1380" y="35"/>
                    </a:lnTo>
                    <a:lnTo>
                      <a:pt x="1378" y="35"/>
                    </a:lnTo>
                    <a:lnTo>
                      <a:pt x="1378" y="36"/>
                    </a:lnTo>
                    <a:lnTo>
                      <a:pt x="1376" y="36"/>
                    </a:lnTo>
                    <a:lnTo>
                      <a:pt x="1376" y="38"/>
                    </a:lnTo>
                    <a:lnTo>
                      <a:pt x="1376" y="39"/>
                    </a:lnTo>
                    <a:lnTo>
                      <a:pt x="1376" y="41"/>
                    </a:lnTo>
                    <a:lnTo>
                      <a:pt x="1378" y="41"/>
                    </a:lnTo>
                    <a:lnTo>
                      <a:pt x="1378" y="43"/>
                    </a:lnTo>
                    <a:lnTo>
                      <a:pt x="1376" y="43"/>
                    </a:lnTo>
                    <a:lnTo>
                      <a:pt x="1376" y="44"/>
                    </a:lnTo>
                    <a:lnTo>
                      <a:pt x="1375" y="44"/>
                    </a:lnTo>
                    <a:lnTo>
                      <a:pt x="1375" y="46"/>
                    </a:lnTo>
                    <a:lnTo>
                      <a:pt x="1373" y="46"/>
                    </a:lnTo>
                    <a:lnTo>
                      <a:pt x="1373" y="47"/>
                    </a:lnTo>
                    <a:lnTo>
                      <a:pt x="1373" y="49"/>
                    </a:lnTo>
                    <a:lnTo>
                      <a:pt x="1373" y="51"/>
                    </a:lnTo>
                    <a:lnTo>
                      <a:pt x="1373" y="52"/>
                    </a:lnTo>
                    <a:lnTo>
                      <a:pt x="1373" y="54"/>
                    </a:lnTo>
                    <a:lnTo>
                      <a:pt x="1375" y="54"/>
                    </a:lnTo>
                    <a:lnTo>
                      <a:pt x="1375" y="55"/>
                    </a:lnTo>
                    <a:lnTo>
                      <a:pt x="1375" y="57"/>
                    </a:lnTo>
                    <a:lnTo>
                      <a:pt x="1373" y="57"/>
                    </a:lnTo>
                    <a:lnTo>
                      <a:pt x="1373" y="58"/>
                    </a:lnTo>
                    <a:lnTo>
                      <a:pt x="1373" y="60"/>
                    </a:lnTo>
                    <a:lnTo>
                      <a:pt x="1373" y="62"/>
                    </a:lnTo>
                    <a:lnTo>
                      <a:pt x="1373" y="63"/>
                    </a:lnTo>
                    <a:lnTo>
                      <a:pt x="1373" y="65"/>
                    </a:lnTo>
                    <a:lnTo>
                      <a:pt x="1373" y="66"/>
                    </a:lnTo>
                    <a:lnTo>
                      <a:pt x="1373" y="68"/>
                    </a:lnTo>
                    <a:lnTo>
                      <a:pt x="1375" y="68"/>
                    </a:lnTo>
                    <a:lnTo>
                      <a:pt x="1375" y="70"/>
                    </a:lnTo>
                    <a:lnTo>
                      <a:pt x="1376" y="71"/>
                    </a:lnTo>
                    <a:lnTo>
                      <a:pt x="1376" y="73"/>
                    </a:lnTo>
                    <a:lnTo>
                      <a:pt x="1378" y="73"/>
                    </a:lnTo>
                    <a:lnTo>
                      <a:pt x="1376" y="74"/>
                    </a:lnTo>
                    <a:lnTo>
                      <a:pt x="1378" y="74"/>
                    </a:lnTo>
                    <a:lnTo>
                      <a:pt x="1376" y="76"/>
                    </a:lnTo>
                    <a:lnTo>
                      <a:pt x="1378" y="76"/>
                    </a:lnTo>
                    <a:lnTo>
                      <a:pt x="1378" y="77"/>
                    </a:lnTo>
                    <a:lnTo>
                      <a:pt x="1378" y="79"/>
                    </a:lnTo>
                    <a:lnTo>
                      <a:pt x="1376" y="81"/>
                    </a:lnTo>
                    <a:lnTo>
                      <a:pt x="1375" y="81"/>
                    </a:lnTo>
                    <a:lnTo>
                      <a:pt x="1375" y="79"/>
                    </a:lnTo>
                    <a:lnTo>
                      <a:pt x="1373" y="79"/>
                    </a:lnTo>
                    <a:lnTo>
                      <a:pt x="1373" y="81"/>
                    </a:lnTo>
                    <a:lnTo>
                      <a:pt x="1372" y="81"/>
                    </a:lnTo>
                    <a:lnTo>
                      <a:pt x="1370" y="81"/>
                    </a:lnTo>
                    <a:lnTo>
                      <a:pt x="1369" y="81"/>
                    </a:lnTo>
                    <a:lnTo>
                      <a:pt x="1369" y="82"/>
                    </a:lnTo>
                    <a:lnTo>
                      <a:pt x="1369" y="84"/>
                    </a:lnTo>
                    <a:lnTo>
                      <a:pt x="1367" y="85"/>
                    </a:lnTo>
                    <a:lnTo>
                      <a:pt x="1365" y="84"/>
                    </a:lnTo>
                    <a:lnTo>
                      <a:pt x="1365" y="85"/>
                    </a:lnTo>
                    <a:lnTo>
                      <a:pt x="1364" y="87"/>
                    </a:lnTo>
                    <a:lnTo>
                      <a:pt x="1362" y="85"/>
                    </a:lnTo>
                    <a:lnTo>
                      <a:pt x="1362" y="87"/>
                    </a:lnTo>
                    <a:lnTo>
                      <a:pt x="1361" y="87"/>
                    </a:lnTo>
                    <a:lnTo>
                      <a:pt x="1361" y="85"/>
                    </a:lnTo>
                    <a:lnTo>
                      <a:pt x="1361" y="87"/>
                    </a:lnTo>
                    <a:lnTo>
                      <a:pt x="1359" y="87"/>
                    </a:lnTo>
                    <a:lnTo>
                      <a:pt x="1359" y="89"/>
                    </a:lnTo>
                    <a:lnTo>
                      <a:pt x="1357" y="89"/>
                    </a:lnTo>
                    <a:lnTo>
                      <a:pt x="1356" y="89"/>
                    </a:lnTo>
                    <a:lnTo>
                      <a:pt x="1356" y="90"/>
                    </a:lnTo>
                    <a:lnTo>
                      <a:pt x="1354" y="90"/>
                    </a:lnTo>
                    <a:lnTo>
                      <a:pt x="1354" y="92"/>
                    </a:lnTo>
                    <a:lnTo>
                      <a:pt x="1353" y="92"/>
                    </a:lnTo>
                    <a:lnTo>
                      <a:pt x="1351" y="93"/>
                    </a:lnTo>
                    <a:lnTo>
                      <a:pt x="1350" y="95"/>
                    </a:lnTo>
                    <a:lnTo>
                      <a:pt x="1348" y="95"/>
                    </a:lnTo>
                    <a:lnTo>
                      <a:pt x="1346" y="95"/>
                    </a:lnTo>
                    <a:lnTo>
                      <a:pt x="1345" y="95"/>
                    </a:lnTo>
                    <a:lnTo>
                      <a:pt x="1345" y="97"/>
                    </a:lnTo>
                    <a:lnTo>
                      <a:pt x="1343" y="97"/>
                    </a:lnTo>
                    <a:lnTo>
                      <a:pt x="1342" y="97"/>
                    </a:lnTo>
                    <a:lnTo>
                      <a:pt x="1342" y="98"/>
                    </a:lnTo>
                    <a:lnTo>
                      <a:pt x="1340" y="98"/>
                    </a:lnTo>
                    <a:lnTo>
                      <a:pt x="1338" y="97"/>
                    </a:lnTo>
                    <a:lnTo>
                      <a:pt x="1337" y="97"/>
                    </a:lnTo>
                    <a:lnTo>
                      <a:pt x="1335" y="97"/>
                    </a:lnTo>
                    <a:lnTo>
                      <a:pt x="1335" y="98"/>
                    </a:lnTo>
                    <a:lnTo>
                      <a:pt x="1334" y="98"/>
                    </a:lnTo>
                    <a:lnTo>
                      <a:pt x="1332" y="98"/>
                    </a:lnTo>
                    <a:lnTo>
                      <a:pt x="1331" y="98"/>
                    </a:lnTo>
                    <a:lnTo>
                      <a:pt x="1331" y="97"/>
                    </a:lnTo>
                    <a:lnTo>
                      <a:pt x="1329" y="97"/>
                    </a:lnTo>
                    <a:lnTo>
                      <a:pt x="1329" y="98"/>
                    </a:lnTo>
                    <a:lnTo>
                      <a:pt x="1327" y="98"/>
                    </a:lnTo>
                    <a:lnTo>
                      <a:pt x="1327" y="97"/>
                    </a:lnTo>
                    <a:lnTo>
                      <a:pt x="1326" y="97"/>
                    </a:lnTo>
                    <a:lnTo>
                      <a:pt x="1324" y="97"/>
                    </a:lnTo>
                    <a:lnTo>
                      <a:pt x="1324" y="95"/>
                    </a:lnTo>
                    <a:lnTo>
                      <a:pt x="1323" y="95"/>
                    </a:lnTo>
                    <a:lnTo>
                      <a:pt x="1323" y="97"/>
                    </a:lnTo>
                    <a:lnTo>
                      <a:pt x="1323" y="98"/>
                    </a:lnTo>
                    <a:lnTo>
                      <a:pt x="1323" y="100"/>
                    </a:lnTo>
                    <a:lnTo>
                      <a:pt x="1323" y="101"/>
                    </a:lnTo>
                    <a:lnTo>
                      <a:pt x="1323" y="103"/>
                    </a:lnTo>
                    <a:lnTo>
                      <a:pt x="1323" y="104"/>
                    </a:lnTo>
                    <a:lnTo>
                      <a:pt x="1324" y="104"/>
                    </a:lnTo>
                    <a:lnTo>
                      <a:pt x="1324" y="106"/>
                    </a:lnTo>
                    <a:lnTo>
                      <a:pt x="1326" y="106"/>
                    </a:lnTo>
                    <a:lnTo>
                      <a:pt x="1326" y="108"/>
                    </a:lnTo>
                    <a:lnTo>
                      <a:pt x="1327" y="108"/>
                    </a:lnTo>
                    <a:lnTo>
                      <a:pt x="1329" y="109"/>
                    </a:lnTo>
                    <a:lnTo>
                      <a:pt x="1331" y="109"/>
                    </a:lnTo>
                    <a:lnTo>
                      <a:pt x="1331" y="111"/>
                    </a:lnTo>
                    <a:lnTo>
                      <a:pt x="1332" y="111"/>
                    </a:lnTo>
                    <a:lnTo>
                      <a:pt x="1334" y="111"/>
                    </a:lnTo>
                    <a:lnTo>
                      <a:pt x="1335" y="112"/>
                    </a:lnTo>
                    <a:lnTo>
                      <a:pt x="1335" y="111"/>
                    </a:lnTo>
                    <a:lnTo>
                      <a:pt x="1335" y="112"/>
                    </a:lnTo>
                    <a:lnTo>
                      <a:pt x="1337" y="112"/>
                    </a:lnTo>
                    <a:lnTo>
                      <a:pt x="1337" y="114"/>
                    </a:lnTo>
                    <a:lnTo>
                      <a:pt x="1338" y="114"/>
                    </a:lnTo>
                    <a:lnTo>
                      <a:pt x="1340" y="114"/>
                    </a:lnTo>
                    <a:lnTo>
                      <a:pt x="1342" y="116"/>
                    </a:lnTo>
                    <a:lnTo>
                      <a:pt x="1343" y="116"/>
                    </a:lnTo>
                    <a:lnTo>
                      <a:pt x="1343" y="114"/>
                    </a:lnTo>
                    <a:lnTo>
                      <a:pt x="1345" y="114"/>
                    </a:lnTo>
                    <a:lnTo>
                      <a:pt x="1345" y="116"/>
                    </a:lnTo>
                    <a:lnTo>
                      <a:pt x="1346" y="116"/>
                    </a:lnTo>
                    <a:lnTo>
                      <a:pt x="1346" y="117"/>
                    </a:lnTo>
                    <a:lnTo>
                      <a:pt x="1348" y="117"/>
                    </a:lnTo>
                    <a:lnTo>
                      <a:pt x="1350" y="117"/>
                    </a:lnTo>
                    <a:lnTo>
                      <a:pt x="1351" y="119"/>
                    </a:lnTo>
                    <a:lnTo>
                      <a:pt x="1353" y="119"/>
                    </a:lnTo>
                    <a:lnTo>
                      <a:pt x="1354" y="119"/>
                    </a:lnTo>
                    <a:lnTo>
                      <a:pt x="1356" y="120"/>
                    </a:lnTo>
                    <a:lnTo>
                      <a:pt x="1356" y="119"/>
                    </a:lnTo>
                    <a:lnTo>
                      <a:pt x="1357" y="119"/>
                    </a:lnTo>
                    <a:lnTo>
                      <a:pt x="1357" y="117"/>
                    </a:lnTo>
                    <a:lnTo>
                      <a:pt x="1357" y="119"/>
                    </a:lnTo>
                    <a:lnTo>
                      <a:pt x="1359" y="119"/>
                    </a:lnTo>
                    <a:lnTo>
                      <a:pt x="1359" y="120"/>
                    </a:lnTo>
                    <a:lnTo>
                      <a:pt x="1361" y="120"/>
                    </a:lnTo>
                    <a:lnTo>
                      <a:pt x="1361" y="122"/>
                    </a:lnTo>
                    <a:lnTo>
                      <a:pt x="1362" y="122"/>
                    </a:lnTo>
                    <a:lnTo>
                      <a:pt x="1362" y="123"/>
                    </a:lnTo>
                    <a:lnTo>
                      <a:pt x="1364" y="123"/>
                    </a:lnTo>
                    <a:lnTo>
                      <a:pt x="1364" y="125"/>
                    </a:lnTo>
                    <a:lnTo>
                      <a:pt x="1364" y="127"/>
                    </a:lnTo>
                    <a:lnTo>
                      <a:pt x="1364" y="128"/>
                    </a:lnTo>
                    <a:lnTo>
                      <a:pt x="1364" y="130"/>
                    </a:lnTo>
                    <a:lnTo>
                      <a:pt x="1362" y="130"/>
                    </a:lnTo>
                    <a:lnTo>
                      <a:pt x="1362" y="131"/>
                    </a:lnTo>
                    <a:lnTo>
                      <a:pt x="1362" y="133"/>
                    </a:lnTo>
                    <a:lnTo>
                      <a:pt x="1364" y="135"/>
                    </a:lnTo>
                    <a:lnTo>
                      <a:pt x="1364" y="136"/>
                    </a:lnTo>
                    <a:lnTo>
                      <a:pt x="1364" y="138"/>
                    </a:lnTo>
                    <a:lnTo>
                      <a:pt x="1364" y="139"/>
                    </a:lnTo>
                    <a:lnTo>
                      <a:pt x="1364" y="141"/>
                    </a:lnTo>
                    <a:lnTo>
                      <a:pt x="1364" y="142"/>
                    </a:lnTo>
                    <a:lnTo>
                      <a:pt x="1364" y="144"/>
                    </a:lnTo>
                    <a:lnTo>
                      <a:pt x="1362" y="146"/>
                    </a:lnTo>
                    <a:lnTo>
                      <a:pt x="1361" y="146"/>
                    </a:lnTo>
                    <a:lnTo>
                      <a:pt x="1361" y="147"/>
                    </a:lnTo>
                    <a:lnTo>
                      <a:pt x="1361" y="149"/>
                    </a:lnTo>
                    <a:lnTo>
                      <a:pt x="1362" y="149"/>
                    </a:lnTo>
                    <a:lnTo>
                      <a:pt x="1362" y="150"/>
                    </a:lnTo>
                    <a:lnTo>
                      <a:pt x="1364" y="150"/>
                    </a:lnTo>
                    <a:lnTo>
                      <a:pt x="1364" y="152"/>
                    </a:lnTo>
                    <a:lnTo>
                      <a:pt x="1364" y="154"/>
                    </a:lnTo>
                    <a:lnTo>
                      <a:pt x="1365" y="154"/>
                    </a:lnTo>
                    <a:lnTo>
                      <a:pt x="1365" y="152"/>
                    </a:lnTo>
                    <a:lnTo>
                      <a:pt x="1365" y="155"/>
                    </a:lnTo>
                    <a:lnTo>
                      <a:pt x="1365" y="157"/>
                    </a:lnTo>
                    <a:lnTo>
                      <a:pt x="1365" y="158"/>
                    </a:lnTo>
                    <a:lnTo>
                      <a:pt x="1365" y="160"/>
                    </a:lnTo>
                    <a:lnTo>
                      <a:pt x="1365" y="161"/>
                    </a:lnTo>
                    <a:lnTo>
                      <a:pt x="1365" y="163"/>
                    </a:lnTo>
                    <a:lnTo>
                      <a:pt x="1367" y="165"/>
                    </a:lnTo>
                    <a:lnTo>
                      <a:pt x="1365" y="165"/>
                    </a:lnTo>
                    <a:lnTo>
                      <a:pt x="1365" y="166"/>
                    </a:lnTo>
                    <a:lnTo>
                      <a:pt x="1367" y="166"/>
                    </a:lnTo>
                    <a:lnTo>
                      <a:pt x="1367" y="168"/>
                    </a:lnTo>
                    <a:lnTo>
                      <a:pt x="1367" y="169"/>
                    </a:lnTo>
                    <a:lnTo>
                      <a:pt x="1369" y="169"/>
                    </a:lnTo>
                    <a:lnTo>
                      <a:pt x="1369" y="171"/>
                    </a:lnTo>
                    <a:lnTo>
                      <a:pt x="1369" y="173"/>
                    </a:lnTo>
                    <a:lnTo>
                      <a:pt x="1370" y="173"/>
                    </a:lnTo>
                    <a:lnTo>
                      <a:pt x="1370" y="174"/>
                    </a:lnTo>
                    <a:lnTo>
                      <a:pt x="1370" y="176"/>
                    </a:lnTo>
                    <a:lnTo>
                      <a:pt x="1370" y="177"/>
                    </a:lnTo>
                    <a:lnTo>
                      <a:pt x="1372" y="177"/>
                    </a:lnTo>
                    <a:lnTo>
                      <a:pt x="1372" y="179"/>
                    </a:lnTo>
                    <a:lnTo>
                      <a:pt x="1372" y="180"/>
                    </a:lnTo>
                    <a:lnTo>
                      <a:pt x="1373" y="180"/>
                    </a:lnTo>
                    <a:lnTo>
                      <a:pt x="1373" y="182"/>
                    </a:lnTo>
                    <a:lnTo>
                      <a:pt x="1373" y="180"/>
                    </a:lnTo>
                    <a:lnTo>
                      <a:pt x="1373" y="182"/>
                    </a:lnTo>
                    <a:lnTo>
                      <a:pt x="1375" y="182"/>
                    </a:lnTo>
                    <a:lnTo>
                      <a:pt x="1375" y="184"/>
                    </a:lnTo>
                    <a:lnTo>
                      <a:pt x="1376" y="184"/>
                    </a:lnTo>
                    <a:lnTo>
                      <a:pt x="1376" y="185"/>
                    </a:lnTo>
                    <a:lnTo>
                      <a:pt x="1378" y="185"/>
                    </a:lnTo>
                    <a:lnTo>
                      <a:pt x="1380" y="185"/>
                    </a:lnTo>
                    <a:lnTo>
                      <a:pt x="1380" y="187"/>
                    </a:lnTo>
                    <a:lnTo>
                      <a:pt x="1381" y="187"/>
                    </a:lnTo>
                    <a:lnTo>
                      <a:pt x="1381" y="188"/>
                    </a:lnTo>
                    <a:lnTo>
                      <a:pt x="1383" y="188"/>
                    </a:lnTo>
                    <a:lnTo>
                      <a:pt x="1383" y="190"/>
                    </a:lnTo>
                    <a:lnTo>
                      <a:pt x="1383" y="192"/>
                    </a:lnTo>
                    <a:lnTo>
                      <a:pt x="1384" y="192"/>
                    </a:lnTo>
                    <a:lnTo>
                      <a:pt x="1386" y="192"/>
                    </a:lnTo>
                    <a:lnTo>
                      <a:pt x="1386" y="193"/>
                    </a:lnTo>
                    <a:lnTo>
                      <a:pt x="1388" y="193"/>
                    </a:lnTo>
                    <a:lnTo>
                      <a:pt x="1388" y="195"/>
                    </a:lnTo>
                    <a:lnTo>
                      <a:pt x="1389" y="195"/>
                    </a:lnTo>
                    <a:lnTo>
                      <a:pt x="1391" y="195"/>
                    </a:lnTo>
                    <a:lnTo>
                      <a:pt x="1391" y="196"/>
                    </a:lnTo>
                    <a:lnTo>
                      <a:pt x="1392" y="196"/>
                    </a:lnTo>
                    <a:lnTo>
                      <a:pt x="1392" y="198"/>
                    </a:lnTo>
                    <a:lnTo>
                      <a:pt x="1394" y="198"/>
                    </a:lnTo>
                    <a:lnTo>
                      <a:pt x="1395" y="198"/>
                    </a:lnTo>
                    <a:lnTo>
                      <a:pt x="1397" y="198"/>
                    </a:lnTo>
                    <a:lnTo>
                      <a:pt x="1399" y="196"/>
                    </a:lnTo>
                    <a:lnTo>
                      <a:pt x="1399" y="195"/>
                    </a:lnTo>
                    <a:lnTo>
                      <a:pt x="1400" y="195"/>
                    </a:lnTo>
                    <a:lnTo>
                      <a:pt x="1400" y="193"/>
                    </a:lnTo>
                    <a:lnTo>
                      <a:pt x="1402" y="193"/>
                    </a:lnTo>
                    <a:lnTo>
                      <a:pt x="1402" y="192"/>
                    </a:lnTo>
                    <a:lnTo>
                      <a:pt x="1403" y="192"/>
                    </a:lnTo>
                    <a:lnTo>
                      <a:pt x="1403" y="193"/>
                    </a:lnTo>
                    <a:lnTo>
                      <a:pt x="1405" y="193"/>
                    </a:lnTo>
                    <a:lnTo>
                      <a:pt x="1405" y="195"/>
                    </a:lnTo>
                    <a:lnTo>
                      <a:pt x="1407" y="195"/>
                    </a:lnTo>
                    <a:lnTo>
                      <a:pt x="1407" y="196"/>
                    </a:lnTo>
                    <a:lnTo>
                      <a:pt x="1408" y="196"/>
                    </a:lnTo>
                    <a:lnTo>
                      <a:pt x="1410" y="198"/>
                    </a:lnTo>
                    <a:lnTo>
                      <a:pt x="1411" y="196"/>
                    </a:lnTo>
                    <a:lnTo>
                      <a:pt x="1410" y="196"/>
                    </a:lnTo>
                    <a:lnTo>
                      <a:pt x="1410" y="195"/>
                    </a:lnTo>
                    <a:lnTo>
                      <a:pt x="1410" y="193"/>
                    </a:lnTo>
                    <a:lnTo>
                      <a:pt x="1408" y="193"/>
                    </a:lnTo>
                    <a:lnTo>
                      <a:pt x="1408" y="192"/>
                    </a:lnTo>
                    <a:lnTo>
                      <a:pt x="1408" y="190"/>
                    </a:lnTo>
                    <a:lnTo>
                      <a:pt x="1408" y="188"/>
                    </a:lnTo>
                    <a:lnTo>
                      <a:pt x="1410" y="188"/>
                    </a:lnTo>
                    <a:lnTo>
                      <a:pt x="1410" y="187"/>
                    </a:lnTo>
                    <a:lnTo>
                      <a:pt x="1411" y="187"/>
                    </a:lnTo>
                    <a:lnTo>
                      <a:pt x="1411" y="185"/>
                    </a:lnTo>
                    <a:lnTo>
                      <a:pt x="1413" y="185"/>
                    </a:lnTo>
                    <a:lnTo>
                      <a:pt x="1413" y="184"/>
                    </a:lnTo>
                    <a:lnTo>
                      <a:pt x="1414" y="182"/>
                    </a:lnTo>
                    <a:lnTo>
                      <a:pt x="1416" y="184"/>
                    </a:lnTo>
                    <a:lnTo>
                      <a:pt x="1416" y="185"/>
                    </a:lnTo>
                    <a:lnTo>
                      <a:pt x="1418" y="185"/>
                    </a:lnTo>
                    <a:lnTo>
                      <a:pt x="1418" y="187"/>
                    </a:lnTo>
                    <a:lnTo>
                      <a:pt x="1419" y="187"/>
                    </a:lnTo>
                    <a:lnTo>
                      <a:pt x="1421" y="187"/>
                    </a:lnTo>
                    <a:lnTo>
                      <a:pt x="1422" y="187"/>
                    </a:lnTo>
                    <a:lnTo>
                      <a:pt x="1422" y="188"/>
                    </a:lnTo>
                    <a:lnTo>
                      <a:pt x="1424" y="188"/>
                    </a:lnTo>
                    <a:lnTo>
                      <a:pt x="1424" y="190"/>
                    </a:lnTo>
                    <a:lnTo>
                      <a:pt x="1426" y="190"/>
                    </a:lnTo>
                    <a:lnTo>
                      <a:pt x="1424" y="190"/>
                    </a:lnTo>
                    <a:lnTo>
                      <a:pt x="1424" y="192"/>
                    </a:lnTo>
                    <a:lnTo>
                      <a:pt x="1426" y="192"/>
                    </a:lnTo>
                    <a:lnTo>
                      <a:pt x="1426" y="193"/>
                    </a:lnTo>
                    <a:lnTo>
                      <a:pt x="1426" y="195"/>
                    </a:lnTo>
                    <a:lnTo>
                      <a:pt x="1426" y="196"/>
                    </a:lnTo>
                    <a:lnTo>
                      <a:pt x="1427" y="198"/>
                    </a:lnTo>
                    <a:lnTo>
                      <a:pt x="1429" y="198"/>
                    </a:lnTo>
                    <a:lnTo>
                      <a:pt x="1429" y="199"/>
                    </a:lnTo>
                    <a:lnTo>
                      <a:pt x="1430" y="199"/>
                    </a:lnTo>
                    <a:lnTo>
                      <a:pt x="1432" y="199"/>
                    </a:lnTo>
                    <a:lnTo>
                      <a:pt x="1432" y="201"/>
                    </a:lnTo>
                    <a:lnTo>
                      <a:pt x="1433" y="201"/>
                    </a:lnTo>
                    <a:lnTo>
                      <a:pt x="1435" y="201"/>
                    </a:lnTo>
                    <a:lnTo>
                      <a:pt x="1437" y="201"/>
                    </a:lnTo>
                    <a:lnTo>
                      <a:pt x="1438" y="201"/>
                    </a:lnTo>
                    <a:lnTo>
                      <a:pt x="1438" y="203"/>
                    </a:lnTo>
                    <a:lnTo>
                      <a:pt x="1440" y="203"/>
                    </a:lnTo>
                    <a:lnTo>
                      <a:pt x="1441" y="203"/>
                    </a:lnTo>
                    <a:lnTo>
                      <a:pt x="1443" y="203"/>
                    </a:lnTo>
                    <a:lnTo>
                      <a:pt x="1445" y="203"/>
                    </a:lnTo>
                    <a:lnTo>
                      <a:pt x="1445" y="204"/>
                    </a:lnTo>
                    <a:lnTo>
                      <a:pt x="1445" y="206"/>
                    </a:lnTo>
                    <a:lnTo>
                      <a:pt x="1445" y="207"/>
                    </a:lnTo>
                    <a:lnTo>
                      <a:pt x="1443" y="207"/>
                    </a:lnTo>
                    <a:lnTo>
                      <a:pt x="1443" y="209"/>
                    </a:lnTo>
                    <a:lnTo>
                      <a:pt x="1445" y="209"/>
                    </a:lnTo>
                    <a:lnTo>
                      <a:pt x="1443" y="209"/>
                    </a:lnTo>
                    <a:lnTo>
                      <a:pt x="1443" y="211"/>
                    </a:lnTo>
                    <a:lnTo>
                      <a:pt x="1443" y="212"/>
                    </a:lnTo>
                    <a:lnTo>
                      <a:pt x="1445" y="212"/>
                    </a:lnTo>
                    <a:lnTo>
                      <a:pt x="1445" y="214"/>
                    </a:lnTo>
                    <a:lnTo>
                      <a:pt x="1445" y="215"/>
                    </a:lnTo>
                    <a:lnTo>
                      <a:pt x="1443" y="215"/>
                    </a:lnTo>
                    <a:lnTo>
                      <a:pt x="1443" y="217"/>
                    </a:lnTo>
                    <a:lnTo>
                      <a:pt x="1441" y="217"/>
                    </a:lnTo>
                    <a:lnTo>
                      <a:pt x="1440" y="217"/>
                    </a:lnTo>
                    <a:lnTo>
                      <a:pt x="1440" y="219"/>
                    </a:lnTo>
                    <a:lnTo>
                      <a:pt x="1440" y="220"/>
                    </a:lnTo>
                    <a:lnTo>
                      <a:pt x="1440" y="222"/>
                    </a:lnTo>
                    <a:lnTo>
                      <a:pt x="1438" y="222"/>
                    </a:lnTo>
                    <a:lnTo>
                      <a:pt x="1438" y="223"/>
                    </a:lnTo>
                    <a:lnTo>
                      <a:pt x="1437" y="223"/>
                    </a:lnTo>
                    <a:lnTo>
                      <a:pt x="1435" y="223"/>
                    </a:lnTo>
                    <a:lnTo>
                      <a:pt x="1435" y="225"/>
                    </a:lnTo>
                    <a:lnTo>
                      <a:pt x="1435" y="226"/>
                    </a:lnTo>
                    <a:lnTo>
                      <a:pt x="1437" y="226"/>
                    </a:lnTo>
                    <a:lnTo>
                      <a:pt x="1437" y="228"/>
                    </a:lnTo>
                    <a:lnTo>
                      <a:pt x="1438" y="228"/>
                    </a:lnTo>
                    <a:lnTo>
                      <a:pt x="1440" y="228"/>
                    </a:lnTo>
                    <a:lnTo>
                      <a:pt x="1441" y="228"/>
                    </a:lnTo>
                    <a:lnTo>
                      <a:pt x="1441" y="230"/>
                    </a:lnTo>
                    <a:lnTo>
                      <a:pt x="1443" y="230"/>
                    </a:lnTo>
                    <a:lnTo>
                      <a:pt x="1443" y="231"/>
                    </a:lnTo>
                    <a:lnTo>
                      <a:pt x="1441" y="233"/>
                    </a:lnTo>
                    <a:lnTo>
                      <a:pt x="1441" y="234"/>
                    </a:lnTo>
                    <a:lnTo>
                      <a:pt x="1440" y="234"/>
                    </a:lnTo>
                    <a:lnTo>
                      <a:pt x="1440" y="236"/>
                    </a:lnTo>
                    <a:lnTo>
                      <a:pt x="1440" y="238"/>
                    </a:lnTo>
                    <a:lnTo>
                      <a:pt x="1440" y="239"/>
                    </a:lnTo>
                    <a:lnTo>
                      <a:pt x="1441" y="239"/>
                    </a:lnTo>
                    <a:lnTo>
                      <a:pt x="1443" y="239"/>
                    </a:lnTo>
                    <a:lnTo>
                      <a:pt x="1443" y="241"/>
                    </a:lnTo>
                    <a:lnTo>
                      <a:pt x="1445" y="241"/>
                    </a:lnTo>
                    <a:lnTo>
                      <a:pt x="1445" y="242"/>
                    </a:lnTo>
                    <a:lnTo>
                      <a:pt x="1446" y="242"/>
                    </a:lnTo>
                    <a:lnTo>
                      <a:pt x="1448" y="242"/>
                    </a:lnTo>
                    <a:lnTo>
                      <a:pt x="1449" y="242"/>
                    </a:lnTo>
                    <a:lnTo>
                      <a:pt x="1449" y="241"/>
                    </a:lnTo>
                    <a:lnTo>
                      <a:pt x="1449" y="239"/>
                    </a:lnTo>
                    <a:lnTo>
                      <a:pt x="1451" y="239"/>
                    </a:lnTo>
                    <a:lnTo>
                      <a:pt x="1451" y="241"/>
                    </a:lnTo>
                    <a:lnTo>
                      <a:pt x="1452" y="241"/>
                    </a:lnTo>
                    <a:lnTo>
                      <a:pt x="1452" y="239"/>
                    </a:lnTo>
                    <a:lnTo>
                      <a:pt x="1454" y="239"/>
                    </a:lnTo>
                    <a:lnTo>
                      <a:pt x="1454" y="238"/>
                    </a:lnTo>
                    <a:lnTo>
                      <a:pt x="1456" y="238"/>
                    </a:lnTo>
                    <a:lnTo>
                      <a:pt x="1456" y="239"/>
                    </a:lnTo>
                    <a:lnTo>
                      <a:pt x="1457" y="239"/>
                    </a:lnTo>
                    <a:lnTo>
                      <a:pt x="1457" y="241"/>
                    </a:lnTo>
                    <a:lnTo>
                      <a:pt x="1459" y="241"/>
                    </a:lnTo>
                    <a:lnTo>
                      <a:pt x="1459" y="242"/>
                    </a:lnTo>
                    <a:lnTo>
                      <a:pt x="1460" y="242"/>
                    </a:lnTo>
                    <a:lnTo>
                      <a:pt x="1462" y="242"/>
                    </a:lnTo>
                    <a:lnTo>
                      <a:pt x="1464" y="242"/>
                    </a:lnTo>
                    <a:lnTo>
                      <a:pt x="1464" y="241"/>
                    </a:lnTo>
                    <a:lnTo>
                      <a:pt x="1464" y="239"/>
                    </a:lnTo>
                    <a:lnTo>
                      <a:pt x="1464" y="238"/>
                    </a:lnTo>
                    <a:lnTo>
                      <a:pt x="1464" y="236"/>
                    </a:lnTo>
                    <a:lnTo>
                      <a:pt x="1464" y="234"/>
                    </a:lnTo>
                    <a:lnTo>
                      <a:pt x="1465" y="234"/>
                    </a:lnTo>
                    <a:lnTo>
                      <a:pt x="1467" y="234"/>
                    </a:lnTo>
                    <a:lnTo>
                      <a:pt x="1468" y="234"/>
                    </a:lnTo>
                    <a:lnTo>
                      <a:pt x="1470" y="234"/>
                    </a:lnTo>
                    <a:lnTo>
                      <a:pt x="1470" y="233"/>
                    </a:lnTo>
                    <a:lnTo>
                      <a:pt x="1471" y="233"/>
                    </a:lnTo>
                    <a:lnTo>
                      <a:pt x="1470" y="233"/>
                    </a:lnTo>
                    <a:lnTo>
                      <a:pt x="1470" y="231"/>
                    </a:lnTo>
                    <a:lnTo>
                      <a:pt x="1470" y="230"/>
                    </a:lnTo>
                    <a:lnTo>
                      <a:pt x="1471" y="230"/>
                    </a:lnTo>
                    <a:lnTo>
                      <a:pt x="1473" y="230"/>
                    </a:lnTo>
                    <a:lnTo>
                      <a:pt x="1473" y="228"/>
                    </a:lnTo>
                    <a:lnTo>
                      <a:pt x="1475" y="226"/>
                    </a:lnTo>
                    <a:lnTo>
                      <a:pt x="1475" y="228"/>
                    </a:lnTo>
                    <a:lnTo>
                      <a:pt x="1475" y="226"/>
                    </a:lnTo>
                    <a:lnTo>
                      <a:pt x="1476" y="226"/>
                    </a:lnTo>
                    <a:lnTo>
                      <a:pt x="1475" y="225"/>
                    </a:lnTo>
                    <a:lnTo>
                      <a:pt x="1475" y="223"/>
                    </a:lnTo>
                    <a:lnTo>
                      <a:pt x="1476" y="223"/>
                    </a:lnTo>
                    <a:lnTo>
                      <a:pt x="1476" y="222"/>
                    </a:lnTo>
                    <a:lnTo>
                      <a:pt x="1478" y="222"/>
                    </a:lnTo>
                    <a:lnTo>
                      <a:pt x="1479" y="222"/>
                    </a:lnTo>
                    <a:lnTo>
                      <a:pt x="1481" y="222"/>
                    </a:lnTo>
                    <a:lnTo>
                      <a:pt x="1481" y="220"/>
                    </a:lnTo>
                    <a:lnTo>
                      <a:pt x="1481" y="219"/>
                    </a:lnTo>
                    <a:lnTo>
                      <a:pt x="1483" y="219"/>
                    </a:lnTo>
                    <a:lnTo>
                      <a:pt x="1483" y="217"/>
                    </a:lnTo>
                    <a:lnTo>
                      <a:pt x="1483" y="215"/>
                    </a:lnTo>
                    <a:lnTo>
                      <a:pt x="1484" y="215"/>
                    </a:lnTo>
                    <a:lnTo>
                      <a:pt x="1484" y="214"/>
                    </a:lnTo>
                    <a:lnTo>
                      <a:pt x="1484" y="212"/>
                    </a:lnTo>
                    <a:lnTo>
                      <a:pt x="1486" y="212"/>
                    </a:lnTo>
                    <a:lnTo>
                      <a:pt x="1486" y="211"/>
                    </a:lnTo>
                    <a:lnTo>
                      <a:pt x="1486" y="209"/>
                    </a:lnTo>
                    <a:lnTo>
                      <a:pt x="1484" y="209"/>
                    </a:lnTo>
                    <a:lnTo>
                      <a:pt x="1484" y="207"/>
                    </a:lnTo>
                    <a:lnTo>
                      <a:pt x="1483" y="207"/>
                    </a:lnTo>
                    <a:lnTo>
                      <a:pt x="1484" y="207"/>
                    </a:lnTo>
                    <a:lnTo>
                      <a:pt x="1486" y="207"/>
                    </a:lnTo>
                    <a:lnTo>
                      <a:pt x="1486" y="206"/>
                    </a:lnTo>
                    <a:lnTo>
                      <a:pt x="1487" y="207"/>
                    </a:lnTo>
                    <a:lnTo>
                      <a:pt x="1487" y="206"/>
                    </a:lnTo>
                    <a:lnTo>
                      <a:pt x="1487" y="204"/>
                    </a:lnTo>
                    <a:lnTo>
                      <a:pt x="1487" y="203"/>
                    </a:lnTo>
                    <a:lnTo>
                      <a:pt x="1489" y="203"/>
                    </a:lnTo>
                    <a:lnTo>
                      <a:pt x="1489" y="201"/>
                    </a:lnTo>
                    <a:lnTo>
                      <a:pt x="1491" y="201"/>
                    </a:lnTo>
                    <a:lnTo>
                      <a:pt x="1491" y="199"/>
                    </a:lnTo>
                    <a:lnTo>
                      <a:pt x="1492" y="199"/>
                    </a:lnTo>
                    <a:lnTo>
                      <a:pt x="1494" y="199"/>
                    </a:lnTo>
                    <a:lnTo>
                      <a:pt x="1495" y="199"/>
                    </a:lnTo>
                    <a:lnTo>
                      <a:pt x="1495" y="198"/>
                    </a:lnTo>
                    <a:lnTo>
                      <a:pt x="1495" y="196"/>
                    </a:lnTo>
                    <a:lnTo>
                      <a:pt x="1497" y="195"/>
                    </a:lnTo>
                    <a:lnTo>
                      <a:pt x="1497" y="193"/>
                    </a:lnTo>
                    <a:lnTo>
                      <a:pt x="1497" y="192"/>
                    </a:lnTo>
                    <a:lnTo>
                      <a:pt x="1498" y="192"/>
                    </a:lnTo>
                    <a:lnTo>
                      <a:pt x="1498" y="190"/>
                    </a:lnTo>
                    <a:lnTo>
                      <a:pt x="1500" y="188"/>
                    </a:lnTo>
                    <a:lnTo>
                      <a:pt x="1502" y="190"/>
                    </a:lnTo>
                    <a:lnTo>
                      <a:pt x="1503" y="190"/>
                    </a:lnTo>
                    <a:lnTo>
                      <a:pt x="1503" y="192"/>
                    </a:lnTo>
                    <a:lnTo>
                      <a:pt x="1505" y="192"/>
                    </a:lnTo>
                    <a:lnTo>
                      <a:pt x="1506" y="190"/>
                    </a:lnTo>
                    <a:lnTo>
                      <a:pt x="1506" y="188"/>
                    </a:lnTo>
                    <a:lnTo>
                      <a:pt x="1506" y="187"/>
                    </a:lnTo>
                    <a:lnTo>
                      <a:pt x="1508" y="187"/>
                    </a:lnTo>
                    <a:lnTo>
                      <a:pt x="1508" y="185"/>
                    </a:lnTo>
                    <a:lnTo>
                      <a:pt x="1510" y="185"/>
                    </a:lnTo>
                    <a:lnTo>
                      <a:pt x="1510" y="184"/>
                    </a:lnTo>
                    <a:lnTo>
                      <a:pt x="1511" y="184"/>
                    </a:lnTo>
                    <a:lnTo>
                      <a:pt x="1513" y="184"/>
                    </a:lnTo>
                    <a:lnTo>
                      <a:pt x="1513" y="182"/>
                    </a:lnTo>
                    <a:lnTo>
                      <a:pt x="1514" y="182"/>
                    </a:lnTo>
                    <a:lnTo>
                      <a:pt x="1514" y="180"/>
                    </a:lnTo>
                    <a:lnTo>
                      <a:pt x="1516" y="180"/>
                    </a:lnTo>
                    <a:lnTo>
                      <a:pt x="1517" y="182"/>
                    </a:lnTo>
                    <a:lnTo>
                      <a:pt x="1525" y="182"/>
                    </a:lnTo>
                    <a:lnTo>
                      <a:pt x="1525" y="180"/>
                    </a:lnTo>
                    <a:lnTo>
                      <a:pt x="1525" y="179"/>
                    </a:lnTo>
                    <a:lnTo>
                      <a:pt x="1527" y="179"/>
                    </a:lnTo>
                    <a:lnTo>
                      <a:pt x="1527" y="177"/>
                    </a:lnTo>
                    <a:lnTo>
                      <a:pt x="1525" y="177"/>
                    </a:lnTo>
                    <a:lnTo>
                      <a:pt x="1524" y="177"/>
                    </a:lnTo>
                    <a:lnTo>
                      <a:pt x="1522" y="177"/>
                    </a:lnTo>
                    <a:lnTo>
                      <a:pt x="1521" y="177"/>
                    </a:lnTo>
                    <a:lnTo>
                      <a:pt x="1521" y="176"/>
                    </a:lnTo>
                    <a:lnTo>
                      <a:pt x="1522" y="174"/>
                    </a:lnTo>
                    <a:lnTo>
                      <a:pt x="1524" y="174"/>
                    </a:lnTo>
                    <a:lnTo>
                      <a:pt x="1524" y="176"/>
                    </a:lnTo>
                    <a:lnTo>
                      <a:pt x="1525" y="176"/>
                    </a:lnTo>
                    <a:lnTo>
                      <a:pt x="1525" y="174"/>
                    </a:lnTo>
                    <a:lnTo>
                      <a:pt x="1527" y="174"/>
                    </a:lnTo>
                    <a:lnTo>
                      <a:pt x="1529" y="174"/>
                    </a:lnTo>
                    <a:lnTo>
                      <a:pt x="1530" y="173"/>
                    </a:lnTo>
                    <a:lnTo>
                      <a:pt x="1532" y="173"/>
                    </a:lnTo>
                    <a:lnTo>
                      <a:pt x="1533" y="173"/>
                    </a:lnTo>
                    <a:lnTo>
                      <a:pt x="1535" y="174"/>
                    </a:lnTo>
                    <a:lnTo>
                      <a:pt x="1536" y="176"/>
                    </a:lnTo>
                    <a:lnTo>
                      <a:pt x="1536" y="177"/>
                    </a:lnTo>
                    <a:lnTo>
                      <a:pt x="1538" y="177"/>
                    </a:lnTo>
                    <a:lnTo>
                      <a:pt x="1536" y="179"/>
                    </a:lnTo>
                    <a:lnTo>
                      <a:pt x="1536" y="180"/>
                    </a:lnTo>
                    <a:lnTo>
                      <a:pt x="1538" y="180"/>
                    </a:lnTo>
                    <a:lnTo>
                      <a:pt x="1538" y="182"/>
                    </a:lnTo>
                    <a:lnTo>
                      <a:pt x="1538" y="184"/>
                    </a:lnTo>
                    <a:lnTo>
                      <a:pt x="1540" y="184"/>
                    </a:lnTo>
                    <a:lnTo>
                      <a:pt x="1540" y="185"/>
                    </a:lnTo>
                    <a:lnTo>
                      <a:pt x="1540" y="187"/>
                    </a:lnTo>
                    <a:lnTo>
                      <a:pt x="1541" y="187"/>
                    </a:lnTo>
                    <a:lnTo>
                      <a:pt x="1541" y="188"/>
                    </a:lnTo>
                    <a:lnTo>
                      <a:pt x="1541" y="190"/>
                    </a:lnTo>
                    <a:lnTo>
                      <a:pt x="1541" y="192"/>
                    </a:lnTo>
                    <a:lnTo>
                      <a:pt x="1541" y="193"/>
                    </a:lnTo>
                    <a:lnTo>
                      <a:pt x="1543" y="195"/>
                    </a:lnTo>
                    <a:lnTo>
                      <a:pt x="1541" y="195"/>
                    </a:lnTo>
                    <a:lnTo>
                      <a:pt x="1541" y="196"/>
                    </a:lnTo>
                    <a:lnTo>
                      <a:pt x="1540" y="196"/>
                    </a:lnTo>
                    <a:lnTo>
                      <a:pt x="1538" y="198"/>
                    </a:lnTo>
                    <a:lnTo>
                      <a:pt x="1538" y="199"/>
                    </a:lnTo>
                    <a:lnTo>
                      <a:pt x="1538" y="201"/>
                    </a:lnTo>
                    <a:lnTo>
                      <a:pt x="1536" y="201"/>
                    </a:lnTo>
                    <a:lnTo>
                      <a:pt x="1536" y="203"/>
                    </a:lnTo>
                    <a:lnTo>
                      <a:pt x="1536" y="204"/>
                    </a:lnTo>
                    <a:lnTo>
                      <a:pt x="1536" y="206"/>
                    </a:lnTo>
                    <a:lnTo>
                      <a:pt x="1536" y="207"/>
                    </a:lnTo>
                    <a:lnTo>
                      <a:pt x="1536" y="209"/>
                    </a:lnTo>
                    <a:lnTo>
                      <a:pt x="1536" y="211"/>
                    </a:lnTo>
                    <a:lnTo>
                      <a:pt x="1536" y="212"/>
                    </a:lnTo>
                    <a:lnTo>
                      <a:pt x="1536" y="214"/>
                    </a:lnTo>
                    <a:lnTo>
                      <a:pt x="1536" y="215"/>
                    </a:lnTo>
                    <a:lnTo>
                      <a:pt x="1536" y="217"/>
                    </a:lnTo>
                    <a:lnTo>
                      <a:pt x="1536" y="219"/>
                    </a:lnTo>
                    <a:lnTo>
                      <a:pt x="1535" y="219"/>
                    </a:lnTo>
                    <a:lnTo>
                      <a:pt x="1535" y="220"/>
                    </a:lnTo>
                    <a:lnTo>
                      <a:pt x="1535" y="222"/>
                    </a:lnTo>
                    <a:lnTo>
                      <a:pt x="1535" y="223"/>
                    </a:lnTo>
                    <a:lnTo>
                      <a:pt x="1535" y="225"/>
                    </a:lnTo>
                    <a:lnTo>
                      <a:pt x="1535" y="226"/>
                    </a:lnTo>
                    <a:lnTo>
                      <a:pt x="1533" y="226"/>
                    </a:lnTo>
                    <a:lnTo>
                      <a:pt x="1533" y="228"/>
                    </a:lnTo>
                    <a:lnTo>
                      <a:pt x="1533" y="230"/>
                    </a:lnTo>
                    <a:lnTo>
                      <a:pt x="1535" y="230"/>
                    </a:lnTo>
                    <a:lnTo>
                      <a:pt x="1533" y="230"/>
                    </a:lnTo>
                    <a:lnTo>
                      <a:pt x="1533" y="231"/>
                    </a:lnTo>
                    <a:lnTo>
                      <a:pt x="1532" y="231"/>
                    </a:lnTo>
                    <a:lnTo>
                      <a:pt x="1530" y="231"/>
                    </a:lnTo>
                    <a:lnTo>
                      <a:pt x="1530" y="233"/>
                    </a:lnTo>
                    <a:lnTo>
                      <a:pt x="1532" y="233"/>
                    </a:lnTo>
                    <a:lnTo>
                      <a:pt x="1530" y="234"/>
                    </a:lnTo>
                    <a:lnTo>
                      <a:pt x="1532" y="236"/>
                    </a:lnTo>
                    <a:lnTo>
                      <a:pt x="1533" y="236"/>
                    </a:lnTo>
                    <a:lnTo>
                      <a:pt x="1533" y="238"/>
                    </a:lnTo>
                    <a:lnTo>
                      <a:pt x="1532" y="238"/>
                    </a:lnTo>
                    <a:lnTo>
                      <a:pt x="1532" y="239"/>
                    </a:lnTo>
                    <a:lnTo>
                      <a:pt x="1530" y="241"/>
                    </a:lnTo>
                    <a:lnTo>
                      <a:pt x="1530" y="242"/>
                    </a:lnTo>
                    <a:lnTo>
                      <a:pt x="1529" y="242"/>
                    </a:lnTo>
                    <a:lnTo>
                      <a:pt x="1529" y="244"/>
                    </a:lnTo>
                    <a:lnTo>
                      <a:pt x="1529" y="245"/>
                    </a:lnTo>
                    <a:lnTo>
                      <a:pt x="1527" y="245"/>
                    </a:lnTo>
                    <a:lnTo>
                      <a:pt x="1525" y="245"/>
                    </a:lnTo>
                    <a:lnTo>
                      <a:pt x="1525" y="244"/>
                    </a:lnTo>
                    <a:lnTo>
                      <a:pt x="1524" y="244"/>
                    </a:lnTo>
                    <a:lnTo>
                      <a:pt x="1524" y="245"/>
                    </a:lnTo>
                    <a:lnTo>
                      <a:pt x="1522" y="245"/>
                    </a:lnTo>
                    <a:lnTo>
                      <a:pt x="1521" y="245"/>
                    </a:lnTo>
                    <a:lnTo>
                      <a:pt x="1521" y="247"/>
                    </a:lnTo>
                    <a:lnTo>
                      <a:pt x="1519" y="249"/>
                    </a:lnTo>
                    <a:lnTo>
                      <a:pt x="1519" y="250"/>
                    </a:lnTo>
                    <a:lnTo>
                      <a:pt x="1517" y="250"/>
                    </a:lnTo>
                    <a:lnTo>
                      <a:pt x="1517" y="252"/>
                    </a:lnTo>
                    <a:lnTo>
                      <a:pt x="1516" y="252"/>
                    </a:lnTo>
                    <a:lnTo>
                      <a:pt x="1514" y="252"/>
                    </a:lnTo>
                    <a:lnTo>
                      <a:pt x="1514" y="250"/>
                    </a:lnTo>
                    <a:lnTo>
                      <a:pt x="1514" y="249"/>
                    </a:lnTo>
                    <a:lnTo>
                      <a:pt x="1513" y="247"/>
                    </a:lnTo>
                    <a:lnTo>
                      <a:pt x="1513" y="249"/>
                    </a:lnTo>
                    <a:lnTo>
                      <a:pt x="1513" y="250"/>
                    </a:lnTo>
                    <a:lnTo>
                      <a:pt x="1511" y="250"/>
                    </a:lnTo>
                    <a:lnTo>
                      <a:pt x="1511" y="252"/>
                    </a:lnTo>
                    <a:lnTo>
                      <a:pt x="1510" y="252"/>
                    </a:lnTo>
                    <a:lnTo>
                      <a:pt x="1510" y="253"/>
                    </a:lnTo>
                    <a:lnTo>
                      <a:pt x="1510" y="255"/>
                    </a:lnTo>
                    <a:lnTo>
                      <a:pt x="1511" y="255"/>
                    </a:lnTo>
                    <a:lnTo>
                      <a:pt x="1511" y="257"/>
                    </a:lnTo>
                    <a:lnTo>
                      <a:pt x="1511" y="258"/>
                    </a:lnTo>
                    <a:lnTo>
                      <a:pt x="1510" y="258"/>
                    </a:lnTo>
                    <a:lnTo>
                      <a:pt x="1508" y="258"/>
                    </a:lnTo>
                    <a:lnTo>
                      <a:pt x="1508" y="260"/>
                    </a:lnTo>
                    <a:lnTo>
                      <a:pt x="1506" y="260"/>
                    </a:lnTo>
                    <a:lnTo>
                      <a:pt x="1508" y="261"/>
                    </a:lnTo>
                    <a:lnTo>
                      <a:pt x="1510" y="261"/>
                    </a:lnTo>
                    <a:lnTo>
                      <a:pt x="1510" y="263"/>
                    </a:lnTo>
                    <a:lnTo>
                      <a:pt x="1511" y="263"/>
                    </a:lnTo>
                    <a:lnTo>
                      <a:pt x="1511" y="264"/>
                    </a:lnTo>
                    <a:lnTo>
                      <a:pt x="1511" y="266"/>
                    </a:lnTo>
                    <a:lnTo>
                      <a:pt x="1511" y="268"/>
                    </a:lnTo>
                    <a:lnTo>
                      <a:pt x="1513" y="268"/>
                    </a:lnTo>
                    <a:lnTo>
                      <a:pt x="1513" y="269"/>
                    </a:lnTo>
                    <a:lnTo>
                      <a:pt x="1513" y="268"/>
                    </a:lnTo>
                    <a:lnTo>
                      <a:pt x="1514" y="268"/>
                    </a:lnTo>
                    <a:lnTo>
                      <a:pt x="1516" y="268"/>
                    </a:lnTo>
                    <a:lnTo>
                      <a:pt x="1517" y="268"/>
                    </a:lnTo>
                    <a:lnTo>
                      <a:pt x="1517" y="266"/>
                    </a:lnTo>
                    <a:lnTo>
                      <a:pt x="1519" y="266"/>
                    </a:lnTo>
                    <a:lnTo>
                      <a:pt x="1521" y="266"/>
                    </a:lnTo>
                    <a:lnTo>
                      <a:pt x="1522" y="266"/>
                    </a:lnTo>
                    <a:lnTo>
                      <a:pt x="1522" y="268"/>
                    </a:lnTo>
                    <a:lnTo>
                      <a:pt x="1524" y="268"/>
                    </a:lnTo>
                    <a:lnTo>
                      <a:pt x="1524" y="266"/>
                    </a:lnTo>
                    <a:lnTo>
                      <a:pt x="1525" y="266"/>
                    </a:lnTo>
                    <a:lnTo>
                      <a:pt x="1527" y="266"/>
                    </a:lnTo>
                    <a:lnTo>
                      <a:pt x="1529" y="266"/>
                    </a:lnTo>
                    <a:lnTo>
                      <a:pt x="1529" y="268"/>
                    </a:lnTo>
                    <a:lnTo>
                      <a:pt x="1530" y="268"/>
                    </a:lnTo>
                    <a:lnTo>
                      <a:pt x="1532" y="268"/>
                    </a:lnTo>
                    <a:lnTo>
                      <a:pt x="1532" y="269"/>
                    </a:lnTo>
                    <a:lnTo>
                      <a:pt x="1533" y="269"/>
                    </a:lnTo>
                    <a:lnTo>
                      <a:pt x="1532" y="269"/>
                    </a:lnTo>
                    <a:lnTo>
                      <a:pt x="1532" y="271"/>
                    </a:lnTo>
                    <a:lnTo>
                      <a:pt x="1530" y="271"/>
                    </a:lnTo>
                    <a:lnTo>
                      <a:pt x="1530" y="272"/>
                    </a:lnTo>
                    <a:lnTo>
                      <a:pt x="1530" y="274"/>
                    </a:lnTo>
                    <a:lnTo>
                      <a:pt x="1532" y="274"/>
                    </a:lnTo>
                    <a:lnTo>
                      <a:pt x="1533" y="274"/>
                    </a:lnTo>
                    <a:lnTo>
                      <a:pt x="1535" y="274"/>
                    </a:lnTo>
                    <a:lnTo>
                      <a:pt x="1536" y="274"/>
                    </a:lnTo>
                    <a:lnTo>
                      <a:pt x="1536" y="272"/>
                    </a:lnTo>
                    <a:lnTo>
                      <a:pt x="1536" y="271"/>
                    </a:lnTo>
                    <a:lnTo>
                      <a:pt x="1538" y="271"/>
                    </a:lnTo>
                    <a:lnTo>
                      <a:pt x="1538" y="272"/>
                    </a:lnTo>
                    <a:lnTo>
                      <a:pt x="1540" y="272"/>
                    </a:lnTo>
                    <a:lnTo>
                      <a:pt x="1541" y="274"/>
                    </a:lnTo>
                    <a:lnTo>
                      <a:pt x="1543" y="274"/>
                    </a:lnTo>
                    <a:lnTo>
                      <a:pt x="1543" y="276"/>
                    </a:lnTo>
                    <a:lnTo>
                      <a:pt x="1544" y="276"/>
                    </a:lnTo>
                    <a:lnTo>
                      <a:pt x="1546" y="277"/>
                    </a:lnTo>
                    <a:lnTo>
                      <a:pt x="1548" y="277"/>
                    </a:lnTo>
                    <a:lnTo>
                      <a:pt x="1548" y="279"/>
                    </a:lnTo>
                    <a:lnTo>
                      <a:pt x="1548" y="277"/>
                    </a:lnTo>
                    <a:lnTo>
                      <a:pt x="1549" y="279"/>
                    </a:lnTo>
                    <a:lnTo>
                      <a:pt x="1549" y="277"/>
                    </a:lnTo>
                    <a:lnTo>
                      <a:pt x="1551" y="277"/>
                    </a:lnTo>
                    <a:lnTo>
                      <a:pt x="1551" y="279"/>
                    </a:lnTo>
                    <a:lnTo>
                      <a:pt x="1551" y="277"/>
                    </a:lnTo>
                    <a:lnTo>
                      <a:pt x="1552" y="279"/>
                    </a:lnTo>
                    <a:lnTo>
                      <a:pt x="1554" y="279"/>
                    </a:lnTo>
                    <a:lnTo>
                      <a:pt x="1552" y="279"/>
                    </a:lnTo>
                    <a:lnTo>
                      <a:pt x="1552" y="280"/>
                    </a:lnTo>
                    <a:lnTo>
                      <a:pt x="1554" y="280"/>
                    </a:lnTo>
                    <a:lnTo>
                      <a:pt x="1552" y="282"/>
                    </a:lnTo>
                    <a:lnTo>
                      <a:pt x="1552" y="283"/>
                    </a:lnTo>
                    <a:lnTo>
                      <a:pt x="1551" y="283"/>
                    </a:lnTo>
                    <a:lnTo>
                      <a:pt x="1551" y="285"/>
                    </a:lnTo>
                    <a:lnTo>
                      <a:pt x="1552" y="285"/>
                    </a:lnTo>
                    <a:lnTo>
                      <a:pt x="1554" y="285"/>
                    </a:lnTo>
                    <a:lnTo>
                      <a:pt x="1552" y="285"/>
                    </a:lnTo>
                    <a:lnTo>
                      <a:pt x="1552" y="287"/>
                    </a:lnTo>
                    <a:lnTo>
                      <a:pt x="1554" y="287"/>
                    </a:lnTo>
                    <a:lnTo>
                      <a:pt x="1555" y="287"/>
                    </a:lnTo>
                    <a:lnTo>
                      <a:pt x="1554" y="288"/>
                    </a:lnTo>
                    <a:lnTo>
                      <a:pt x="1554" y="290"/>
                    </a:lnTo>
                    <a:lnTo>
                      <a:pt x="1552" y="291"/>
                    </a:lnTo>
                    <a:lnTo>
                      <a:pt x="1552" y="293"/>
                    </a:lnTo>
                    <a:lnTo>
                      <a:pt x="1551" y="295"/>
                    </a:lnTo>
                    <a:lnTo>
                      <a:pt x="1552" y="295"/>
                    </a:lnTo>
                    <a:lnTo>
                      <a:pt x="1554" y="295"/>
                    </a:lnTo>
                    <a:lnTo>
                      <a:pt x="1555" y="295"/>
                    </a:lnTo>
                    <a:lnTo>
                      <a:pt x="1557" y="295"/>
                    </a:lnTo>
                    <a:lnTo>
                      <a:pt x="1559" y="296"/>
                    </a:lnTo>
                    <a:lnTo>
                      <a:pt x="1560" y="296"/>
                    </a:lnTo>
                    <a:lnTo>
                      <a:pt x="1562" y="296"/>
                    </a:lnTo>
                    <a:lnTo>
                      <a:pt x="1563" y="296"/>
                    </a:lnTo>
                    <a:lnTo>
                      <a:pt x="1565" y="296"/>
                    </a:lnTo>
                    <a:lnTo>
                      <a:pt x="1565" y="298"/>
                    </a:lnTo>
                    <a:lnTo>
                      <a:pt x="1567" y="298"/>
                    </a:lnTo>
                    <a:lnTo>
                      <a:pt x="1565" y="298"/>
                    </a:lnTo>
                    <a:lnTo>
                      <a:pt x="1563" y="298"/>
                    </a:lnTo>
                    <a:lnTo>
                      <a:pt x="1563" y="299"/>
                    </a:lnTo>
                    <a:lnTo>
                      <a:pt x="1562" y="299"/>
                    </a:lnTo>
                    <a:lnTo>
                      <a:pt x="1560" y="299"/>
                    </a:lnTo>
                    <a:lnTo>
                      <a:pt x="1560" y="301"/>
                    </a:lnTo>
                    <a:lnTo>
                      <a:pt x="1559" y="301"/>
                    </a:lnTo>
                    <a:lnTo>
                      <a:pt x="1559" y="302"/>
                    </a:lnTo>
                    <a:lnTo>
                      <a:pt x="1560" y="302"/>
                    </a:lnTo>
                    <a:lnTo>
                      <a:pt x="1562" y="302"/>
                    </a:lnTo>
                    <a:lnTo>
                      <a:pt x="1563" y="302"/>
                    </a:lnTo>
                    <a:lnTo>
                      <a:pt x="1565" y="302"/>
                    </a:lnTo>
                    <a:lnTo>
                      <a:pt x="1567" y="302"/>
                    </a:lnTo>
                    <a:lnTo>
                      <a:pt x="1567" y="304"/>
                    </a:lnTo>
                    <a:lnTo>
                      <a:pt x="1568" y="304"/>
                    </a:lnTo>
                    <a:lnTo>
                      <a:pt x="1568" y="306"/>
                    </a:lnTo>
                    <a:lnTo>
                      <a:pt x="1570" y="306"/>
                    </a:lnTo>
                    <a:lnTo>
                      <a:pt x="1570" y="307"/>
                    </a:lnTo>
                    <a:lnTo>
                      <a:pt x="1570" y="306"/>
                    </a:lnTo>
                    <a:lnTo>
                      <a:pt x="1563" y="304"/>
                    </a:lnTo>
                    <a:lnTo>
                      <a:pt x="1555" y="302"/>
                    </a:lnTo>
                    <a:lnTo>
                      <a:pt x="1551" y="304"/>
                    </a:lnTo>
                    <a:lnTo>
                      <a:pt x="1548" y="304"/>
                    </a:lnTo>
                    <a:lnTo>
                      <a:pt x="1543" y="309"/>
                    </a:lnTo>
                    <a:lnTo>
                      <a:pt x="1536" y="315"/>
                    </a:lnTo>
                    <a:lnTo>
                      <a:pt x="1533" y="320"/>
                    </a:lnTo>
                    <a:lnTo>
                      <a:pt x="1527" y="318"/>
                    </a:lnTo>
                    <a:lnTo>
                      <a:pt x="1522" y="315"/>
                    </a:lnTo>
                    <a:lnTo>
                      <a:pt x="1516" y="315"/>
                    </a:lnTo>
                    <a:lnTo>
                      <a:pt x="1513" y="317"/>
                    </a:lnTo>
                    <a:lnTo>
                      <a:pt x="1511" y="320"/>
                    </a:lnTo>
                    <a:lnTo>
                      <a:pt x="1510" y="320"/>
                    </a:lnTo>
                    <a:lnTo>
                      <a:pt x="1506" y="317"/>
                    </a:lnTo>
                    <a:lnTo>
                      <a:pt x="1502" y="310"/>
                    </a:lnTo>
                    <a:lnTo>
                      <a:pt x="1498" y="310"/>
                    </a:lnTo>
                    <a:lnTo>
                      <a:pt x="1497" y="309"/>
                    </a:lnTo>
                    <a:lnTo>
                      <a:pt x="1495" y="310"/>
                    </a:lnTo>
                    <a:lnTo>
                      <a:pt x="1495" y="312"/>
                    </a:lnTo>
                    <a:lnTo>
                      <a:pt x="1495" y="315"/>
                    </a:lnTo>
                    <a:lnTo>
                      <a:pt x="1495" y="322"/>
                    </a:lnTo>
                    <a:lnTo>
                      <a:pt x="1495" y="328"/>
                    </a:lnTo>
                    <a:lnTo>
                      <a:pt x="1497" y="336"/>
                    </a:lnTo>
                    <a:lnTo>
                      <a:pt x="1502" y="344"/>
                    </a:lnTo>
                    <a:lnTo>
                      <a:pt x="1503" y="350"/>
                    </a:lnTo>
                    <a:lnTo>
                      <a:pt x="1506" y="353"/>
                    </a:lnTo>
                    <a:lnTo>
                      <a:pt x="1510" y="355"/>
                    </a:lnTo>
                    <a:lnTo>
                      <a:pt x="1513" y="355"/>
                    </a:lnTo>
                    <a:lnTo>
                      <a:pt x="1516" y="355"/>
                    </a:lnTo>
                    <a:lnTo>
                      <a:pt x="1519" y="353"/>
                    </a:lnTo>
                    <a:lnTo>
                      <a:pt x="1524" y="356"/>
                    </a:lnTo>
                    <a:lnTo>
                      <a:pt x="1529" y="361"/>
                    </a:lnTo>
                    <a:lnTo>
                      <a:pt x="1532" y="369"/>
                    </a:lnTo>
                    <a:lnTo>
                      <a:pt x="1530" y="375"/>
                    </a:lnTo>
                    <a:lnTo>
                      <a:pt x="1525" y="380"/>
                    </a:lnTo>
                    <a:lnTo>
                      <a:pt x="1525" y="383"/>
                    </a:lnTo>
                    <a:lnTo>
                      <a:pt x="1521" y="390"/>
                    </a:lnTo>
                    <a:lnTo>
                      <a:pt x="1516" y="399"/>
                    </a:lnTo>
                    <a:lnTo>
                      <a:pt x="1510" y="407"/>
                    </a:lnTo>
                    <a:lnTo>
                      <a:pt x="1505" y="412"/>
                    </a:lnTo>
                    <a:lnTo>
                      <a:pt x="1502" y="418"/>
                    </a:lnTo>
                    <a:lnTo>
                      <a:pt x="1502" y="423"/>
                    </a:lnTo>
                    <a:lnTo>
                      <a:pt x="1502" y="431"/>
                    </a:lnTo>
                    <a:lnTo>
                      <a:pt x="1503" y="439"/>
                    </a:lnTo>
                    <a:lnTo>
                      <a:pt x="1502" y="444"/>
                    </a:lnTo>
                    <a:lnTo>
                      <a:pt x="1503" y="448"/>
                    </a:lnTo>
                    <a:lnTo>
                      <a:pt x="1508" y="456"/>
                    </a:lnTo>
                    <a:lnTo>
                      <a:pt x="1511" y="464"/>
                    </a:lnTo>
                    <a:lnTo>
                      <a:pt x="1511" y="472"/>
                    </a:lnTo>
                    <a:lnTo>
                      <a:pt x="1513" y="478"/>
                    </a:lnTo>
                    <a:lnTo>
                      <a:pt x="1516" y="483"/>
                    </a:lnTo>
                    <a:lnTo>
                      <a:pt x="1517" y="482"/>
                    </a:lnTo>
                    <a:lnTo>
                      <a:pt x="1519" y="475"/>
                    </a:lnTo>
                    <a:lnTo>
                      <a:pt x="1522" y="469"/>
                    </a:lnTo>
                    <a:lnTo>
                      <a:pt x="1524" y="470"/>
                    </a:lnTo>
                    <a:lnTo>
                      <a:pt x="1527" y="472"/>
                    </a:lnTo>
                    <a:lnTo>
                      <a:pt x="1532" y="477"/>
                    </a:lnTo>
                    <a:lnTo>
                      <a:pt x="1533" y="482"/>
                    </a:lnTo>
                    <a:lnTo>
                      <a:pt x="1536" y="482"/>
                    </a:lnTo>
                    <a:lnTo>
                      <a:pt x="1536" y="478"/>
                    </a:lnTo>
                    <a:lnTo>
                      <a:pt x="1538" y="470"/>
                    </a:lnTo>
                    <a:lnTo>
                      <a:pt x="1540" y="459"/>
                    </a:lnTo>
                    <a:lnTo>
                      <a:pt x="1544" y="453"/>
                    </a:lnTo>
                    <a:lnTo>
                      <a:pt x="1549" y="453"/>
                    </a:lnTo>
                    <a:lnTo>
                      <a:pt x="1557" y="458"/>
                    </a:lnTo>
                    <a:lnTo>
                      <a:pt x="1562" y="463"/>
                    </a:lnTo>
                    <a:lnTo>
                      <a:pt x="1565" y="469"/>
                    </a:lnTo>
                    <a:lnTo>
                      <a:pt x="1568" y="475"/>
                    </a:lnTo>
                    <a:lnTo>
                      <a:pt x="1573" y="477"/>
                    </a:lnTo>
                    <a:lnTo>
                      <a:pt x="1578" y="475"/>
                    </a:lnTo>
                    <a:lnTo>
                      <a:pt x="1582" y="472"/>
                    </a:lnTo>
                    <a:lnTo>
                      <a:pt x="1587" y="466"/>
                    </a:lnTo>
                    <a:lnTo>
                      <a:pt x="1592" y="458"/>
                    </a:lnTo>
                    <a:lnTo>
                      <a:pt x="1595" y="455"/>
                    </a:lnTo>
                    <a:lnTo>
                      <a:pt x="1601" y="455"/>
                    </a:lnTo>
                    <a:lnTo>
                      <a:pt x="1606" y="458"/>
                    </a:lnTo>
                    <a:lnTo>
                      <a:pt x="1609" y="458"/>
                    </a:lnTo>
                    <a:lnTo>
                      <a:pt x="1611" y="455"/>
                    </a:lnTo>
                    <a:lnTo>
                      <a:pt x="1619" y="451"/>
                    </a:lnTo>
                    <a:lnTo>
                      <a:pt x="1628" y="450"/>
                    </a:lnTo>
                    <a:lnTo>
                      <a:pt x="1631" y="448"/>
                    </a:lnTo>
                    <a:lnTo>
                      <a:pt x="1635" y="448"/>
                    </a:lnTo>
                    <a:lnTo>
                      <a:pt x="1643" y="444"/>
                    </a:lnTo>
                    <a:lnTo>
                      <a:pt x="1646" y="442"/>
                    </a:lnTo>
                    <a:lnTo>
                      <a:pt x="1646" y="432"/>
                    </a:lnTo>
                    <a:lnTo>
                      <a:pt x="1644" y="421"/>
                    </a:lnTo>
                    <a:lnTo>
                      <a:pt x="1644" y="409"/>
                    </a:lnTo>
                    <a:lnTo>
                      <a:pt x="1646" y="398"/>
                    </a:lnTo>
                    <a:lnTo>
                      <a:pt x="1646" y="386"/>
                    </a:lnTo>
                    <a:lnTo>
                      <a:pt x="1644" y="377"/>
                    </a:lnTo>
                    <a:lnTo>
                      <a:pt x="1644" y="371"/>
                    </a:lnTo>
                    <a:lnTo>
                      <a:pt x="1646" y="367"/>
                    </a:lnTo>
                    <a:lnTo>
                      <a:pt x="1646" y="366"/>
                    </a:lnTo>
                    <a:lnTo>
                      <a:pt x="1649" y="366"/>
                    </a:lnTo>
                    <a:lnTo>
                      <a:pt x="1650" y="364"/>
                    </a:lnTo>
                    <a:lnTo>
                      <a:pt x="1654" y="364"/>
                    </a:lnTo>
                    <a:lnTo>
                      <a:pt x="1655" y="364"/>
                    </a:lnTo>
                    <a:lnTo>
                      <a:pt x="1658" y="364"/>
                    </a:lnTo>
                    <a:lnTo>
                      <a:pt x="1660" y="364"/>
                    </a:lnTo>
                    <a:lnTo>
                      <a:pt x="1663" y="364"/>
                    </a:lnTo>
                    <a:lnTo>
                      <a:pt x="1665" y="364"/>
                    </a:lnTo>
                    <a:lnTo>
                      <a:pt x="1666" y="364"/>
                    </a:lnTo>
                    <a:lnTo>
                      <a:pt x="1669" y="364"/>
                    </a:lnTo>
                    <a:lnTo>
                      <a:pt x="1674" y="363"/>
                    </a:lnTo>
                    <a:lnTo>
                      <a:pt x="1677" y="363"/>
                    </a:lnTo>
                    <a:lnTo>
                      <a:pt x="1684" y="364"/>
                    </a:lnTo>
                    <a:lnTo>
                      <a:pt x="1687" y="366"/>
                    </a:lnTo>
                    <a:lnTo>
                      <a:pt x="1687" y="367"/>
                    </a:lnTo>
                    <a:lnTo>
                      <a:pt x="1687" y="369"/>
                    </a:lnTo>
                    <a:lnTo>
                      <a:pt x="1689" y="375"/>
                    </a:lnTo>
                    <a:lnTo>
                      <a:pt x="1690" y="385"/>
                    </a:lnTo>
                    <a:lnTo>
                      <a:pt x="1693" y="388"/>
                    </a:lnTo>
                    <a:lnTo>
                      <a:pt x="1696" y="391"/>
                    </a:lnTo>
                    <a:lnTo>
                      <a:pt x="1700" y="396"/>
                    </a:lnTo>
                    <a:lnTo>
                      <a:pt x="1700" y="401"/>
                    </a:lnTo>
                    <a:lnTo>
                      <a:pt x="1698" y="404"/>
                    </a:lnTo>
                    <a:lnTo>
                      <a:pt x="1704" y="404"/>
                    </a:lnTo>
                    <a:lnTo>
                      <a:pt x="1714" y="402"/>
                    </a:lnTo>
                    <a:lnTo>
                      <a:pt x="1720" y="404"/>
                    </a:lnTo>
                    <a:lnTo>
                      <a:pt x="1723" y="405"/>
                    </a:lnTo>
                    <a:lnTo>
                      <a:pt x="1728" y="410"/>
                    </a:lnTo>
                    <a:lnTo>
                      <a:pt x="1728" y="417"/>
                    </a:lnTo>
                    <a:lnTo>
                      <a:pt x="1727" y="421"/>
                    </a:lnTo>
                    <a:lnTo>
                      <a:pt x="1725" y="428"/>
                    </a:lnTo>
                    <a:lnTo>
                      <a:pt x="1725" y="432"/>
                    </a:lnTo>
                    <a:lnTo>
                      <a:pt x="1720" y="437"/>
                    </a:lnTo>
                    <a:lnTo>
                      <a:pt x="1717" y="442"/>
                    </a:lnTo>
                    <a:lnTo>
                      <a:pt x="1717" y="447"/>
                    </a:lnTo>
                    <a:lnTo>
                      <a:pt x="1720" y="450"/>
                    </a:lnTo>
                    <a:lnTo>
                      <a:pt x="1725" y="451"/>
                    </a:lnTo>
                    <a:lnTo>
                      <a:pt x="1728" y="451"/>
                    </a:lnTo>
                    <a:lnTo>
                      <a:pt x="1733" y="450"/>
                    </a:lnTo>
                    <a:lnTo>
                      <a:pt x="1734" y="450"/>
                    </a:lnTo>
                    <a:lnTo>
                      <a:pt x="1738" y="448"/>
                    </a:lnTo>
                    <a:lnTo>
                      <a:pt x="1741" y="445"/>
                    </a:lnTo>
                    <a:lnTo>
                      <a:pt x="1744" y="440"/>
                    </a:lnTo>
                    <a:lnTo>
                      <a:pt x="1749" y="436"/>
                    </a:lnTo>
                    <a:lnTo>
                      <a:pt x="1755" y="428"/>
                    </a:lnTo>
                    <a:lnTo>
                      <a:pt x="1758" y="424"/>
                    </a:lnTo>
                    <a:lnTo>
                      <a:pt x="1761" y="420"/>
                    </a:lnTo>
                    <a:lnTo>
                      <a:pt x="1761" y="418"/>
                    </a:lnTo>
                    <a:lnTo>
                      <a:pt x="1763" y="415"/>
                    </a:lnTo>
                    <a:lnTo>
                      <a:pt x="1765" y="413"/>
                    </a:lnTo>
                    <a:lnTo>
                      <a:pt x="1769" y="412"/>
                    </a:lnTo>
                    <a:lnTo>
                      <a:pt x="1772" y="410"/>
                    </a:lnTo>
                    <a:lnTo>
                      <a:pt x="1774" y="410"/>
                    </a:lnTo>
                    <a:lnTo>
                      <a:pt x="1779" y="409"/>
                    </a:lnTo>
                    <a:lnTo>
                      <a:pt x="1784" y="405"/>
                    </a:lnTo>
                    <a:lnTo>
                      <a:pt x="1785" y="401"/>
                    </a:lnTo>
                    <a:lnTo>
                      <a:pt x="1785" y="394"/>
                    </a:lnTo>
                    <a:lnTo>
                      <a:pt x="1785" y="388"/>
                    </a:lnTo>
                    <a:lnTo>
                      <a:pt x="1785" y="383"/>
                    </a:lnTo>
                    <a:lnTo>
                      <a:pt x="1788" y="380"/>
                    </a:lnTo>
                    <a:lnTo>
                      <a:pt x="1793" y="375"/>
                    </a:lnTo>
                    <a:lnTo>
                      <a:pt x="1801" y="367"/>
                    </a:lnTo>
                    <a:lnTo>
                      <a:pt x="1809" y="360"/>
                    </a:lnTo>
                    <a:lnTo>
                      <a:pt x="1815" y="350"/>
                    </a:lnTo>
                    <a:lnTo>
                      <a:pt x="1822" y="341"/>
                    </a:lnTo>
                    <a:lnTo>
                      <a:pt x="1828" y="329"/>
                    </a:lnTo>
                    <a:lnTo>
                      <a:pt x="1833" y="323"/>
                    </a:lnTo>
                    <a:lnTo>
                      <a:pt x="1837" y="315"/>
                    </a:lnTo>
                    <a:lnTo>
                      <a:pt x="1845" y="309"/>
                    </a:lnTo>
                    <a:lnTo>
                      <a:pt x="1852" y="301"/>
                    </a:lnTo>
                    <a:lnTo>
                      <a:pt x="1860" y="295"/>
                    </a:lnTo>
                    <a:lnTo>
                      <a:pt x="1868" y="291"/>
                    </a:lnTo>
                    <a:lnTo>
                      <a:pt x="1879" y="291"/>
                    </a:lnTo>
                    <a:lnTo>
                      <a:pt x="1891" y="290"/>
                    </a:lnTo>
                    <a:lnTo>
                      <a:pt x="1899" y="288"/>
                    </a:lnTo>
                    <a:lnTo>
                      <a:pt x="1906" y="287"/>
                    </a:lnTo>
                    <a:lnTo>
                      <a:pt x="1910" y="282"/>
                    </a:lnTo>
                    <a:lnTo>
                      <a:pt x="1913" y="279"/>
                    </a:lnTo>
                    <a:lnTo>
                      <a:pt x="1915" y="277"/>
                    </a:lnTo>
                    <a:lnTo>
                      <a:pt x="1917" y="276"/>
                    </a:lnTo>
                    <a:lnTo>
                      <a:pt x="1918" y="274"/>
                    </a:lnTo>
                    <a:lnTo>
                      <a:pt x="1920" y="274"/>
                    </a:lnTo>
                    <a:lnTo>
                      <a:pt x="1925" y="276"/>
                    </a:lnTo>
                    <a:lnTo>
                      <a:pt x="1932" y="274"/>
                    </a:lnTo>
                    <a:lnTo>
                      <a:pt x="1942" y="274"/>
                    </a:lnTo>
                    <a:lnTo>
                      <a:pt x="1951" y="272"/>
                    </a:lnTo>
                    <a:lnTo>
                      <a:pt x="1959" y="269"/>
                    </a:lnTo>
                    <a:lnTo>
                      <a:pt x="1966" y="269"/>
                    </a:lnTo>
                    <a:lnTo>
                      <a:pt x="1974" y="274"/>
                    </a:lnTo>
                    <a:lnTo>
                      <a:pt x="1982" y="282"/>
                    </a:lnTo>
                    <a:lnTo>
                      <a:pt x="1985" y="287"/>
                    </a:lnTo>
                    <a:lnTo>
                      <a:pt x="1980" y="288"/>
                    </a:lnTo>
                    <a:lnTo>
                      <a:pt x="1974" y="291"/>
                    </a:lnTo>
                    <a:lnTo>
                      <a:pt x="1964" y="291"/>
                    </a:lnTo>
                    <a:lnTo>
                      <a:pt x="1959" y="291"/>
                    </a:lnTo>
                    <a:lnTo>
                      <a:pt x="1956" y="290"/>
                    </a:lnTo>
                    <a:lnTo>
                      <a:pt x="1947" y="290"/>
                    </a:lnTo>
                    <a:lnTo>
                      <a:pt x="1944" y="291"/>
                    </a:lnTo>
                    <a:lnTo>
                      <a:pt x="1945" y="298"/>
                    </a:lnTo>
                    <a:lnTo>
                      <a:pt x="1947" y="304"/>
                    </a:lnTo>
                    <a:lnTo>
                      <a:pt x="1950" y="309"/>
                    </a:lnTo>
                    <a:lnTo>
                      <a:pt x="1951" y="314"/>
                    </a:lnTo>
                    <a:lnTo>
                      <a:pt x="1955" y="315"/>
                    </a:lnTo>
                    <a:lnTo>
                      <a:pt x="1959" y="315"/>
                    </a:lnTo>
                    <a:lnTo>
                      <a:pt x="1969" y="314"/>
                    </a:lnTo>
                    <a:lnTo>
                      <a:pt x="1977" y="312"/>
                    </a:lnTo>
                    <a:lnTo>
                      <a:pt x="1985" y="310"/>
                    </a:lnTo>
                    <a:lnTo>
                      <a:pt x="1993" y="307"/>
                    </a:lnTo>
                    <a:lnTo>
                      <a:pt x="1997" y="302"/>
                    </a:lnTo>
                    <a:lnTo>
                      <a:pt x="1999" y="302"/>
                    </a:lnTo>
                    <a:lnTo>
                      <a:pt x="2004" y="301"/>
                    </a:lnTo>
                    <a:lnTo>
                      <a:pt x="2010" y="301"/>
                    </a:lnTo>
                    <a:lnTo>
                      <a:pt x="2015" y="296"/>
                    </a:lnTo>
                    <a:lnTo>
                      <a:pt x="2023" y="290"/>
                    </a:lnTo>
                    <a:lnTo>
                      <a:pt x="2031" y="287"/>
                    </a:lnTo>
                    <a:lnTo>
                      <a:pt x="2039" y="283"/>
                    </a:lnTo>
                    <a:lnTo>
                      <a:pt x="2048" y="280"/>
                    </a:lnTo>
                    <a:lnTo>
                      <a:pt x="2056" y="276"/>
                    </a:lnTo>
                    <a:lnTo>
                      <a:pt x="2062" y="269"/>
                    </a:lnTo>
                    <a:lnTo>
                      <a:pt x="2067" y="264"/>
                    </a:lnTo>
                    <a:lnTo>
                      <a:pt x="2069" y="263"/>
                    </a:lnTo>
                    <a:lnTo>
                      <a:pt x="2070" y="261"/>
                    </a:lnTo>
                    <a:lnTo>
                      <a:pt x="2072" y="260"/>
                    </a:lnTo>
                    <a:lnTo>
                      <a:pt x="2073" y="260"/>
                    </a:lnTo>
                    <a:lnTo>
                      <a:pt x="2075" y="260"/>
                    </a:lnTo>
                    <a:lnTo>
                      <a:pt x="2078" y="258"/>
                    </a:lnTo>
                    <a:lnTo>
                      <a:pt x="2080" y="258"/>
                    </a:lnTo>
                    <a:lnTo>
                      <a:pt x="2081" y="258"/>
                    </a:lnTo>
                    <a:lnTo>
                      <a:pt x="2083" y="258"/>
                    </a:lnTo>
                    <a:lnTo>
                      <a:pt x="2088" y="258"/>
                    </a:lnTo>
                    <a:lnTo>
                      <a:pt x="2096" y="258"/>
                    </a:lnTo>
                    <a:lnTo>
                      <a:pt x="2104" y="260"/>
                    </a:lnTo>
                    <a:lnTo>
                      <a:pt x="2110" y="261"/>
                    </a:lnTo>
                    <a:lnTo>
                      <a:pt x="2121" y="263"/>
                    </a:lnTo>
                    <a:lnTo>
                      <a:pt x="2132" y="266"/>
                    </a:lnTo>
                    <a:lnTo>
                      <a:pt x="2140" y="268"/>
                    </a:lnTo>
                    <a:lnTo>
                      <a:pt x="2145" y="271"/>
                    </a:lnTo>
                    <a:lnTo>
                      <a:pt x="2149" y="271"/>
                    </a:lnTo>
                    <a:lnTo>
                      <a:pt x="2154" y="268"/>
                    </a:lnTo>
                    <a:lnTo>
                      <a:pt x="2157" y="263"/>
                    </a:lnTo>
                    <a:lnTo>
                      <a:pt x="2164" y="258"/>
                    </a:lnTo>
                    <a:lnTo>
                      <a:pt x="2170" y="257"/>
                    </a:lnTo>
                    <a:lnTo>
                      <a:pt x="2180" y="255"/>
                    </a:lnTo>
                    <a:lnTo>
                      <a:pt x="2191" y="255"/>
                    </a:lnTo>
                    <a:lnTo>
                      <a:pt x="2194" y="255"/>
                    </a:lnTo>
                    <a:lnTo>
                      <a:pt x="2197" y="264"/>
                    </a:lnTo>
                    <a:lnTo>
                      <a:pt x="2202" y="268"/>
                    </a:lnTo>
                    <a:lnTo>
                      <a:pt x="2211" y="268"/>
                    </a:lnTo>
                    <a:lnTo>
                      <a:pt x="2216" y="268"/>
                    </a:lnTo>
                    <a:lnTo>
                      <a:pt x="2221" y="268"/>
                    </a:lnTo>
                    <a:lnTo>
                      <a:pt x="2225" y="263"/>
                    </a:lnTo>
                    <a:lnTo>
                      <a:pt x="2232" y="261"/>
                    </a:lnTo>
                    <a:lnTo>
                      <a:pt x="2237" y="261"/>
                    </a:lnTo>
                    <a:lnTo>
                      <a:pt x="2243" y="266"/>
                    </a:lnTo>
                    <a:lnTo>
                      <a:pt x="2251" y="264"/>
                    </a:lnTo>
                    <a:lnTo>
                      <a:pt x="2257" y="263"/>
                    </a:lnTo>
                    <a:lnTo>
                      <a:pt x="2264" y="264"/>
                    </a:lnTo>
                    <a:lnTo>
                      <a:pt x="2271" y="266"/>
                    </a:lnTo>
                    <a:lnTo>
                      <a:pt x="2279" y="264"/>
                    </a:lnTo>
                    <a:lnTo>
                      <a:pt x="2284" y="261"/>
                    </a:lnTo>
                    <a:lnTo>
                      <a:pt x="2292" y="257"/>
                    </a:lnTo>
                    <a:lnTo>
                      <a:pt x="2295" y="257"/>
                    </a:lnTo>
                    <a:lnTo>
                      <a:pt x="2297" y="257"/>
                    </a:lnTo>
                    <a:lnTo>
                      <a:pt x="2298" y="257"/>
                    </a:lnTo>
                    <a:lnTo>
                      <a:pt x="2303" y="257"/>
                    </a:lnTo>
                    <a:lnTo>
                      <a:pt x="2306" y="257"/>
                    </a:lnTo>
                    <a:lnTo>
                      <a:pt x="2311" y="260"/>
                    </a:lnTo>
                    <a:lnTo>
                      <a:pt x="2313" y="261"/>
                    </a:lnTo>
                    <a:lnTo>
                      <a:pt x="2314" y="263"/>
                    </a:lnTo>
                    <a:lnTo>
                      <a:pt x="2317" y="266"/>
                    </a:lnTo>
                    <a:lnTo>
                      <a:pt x="2319" y="266"/>
                    </a:lnTo>
                    <a:lnTo>
                      <a:pt x="2321" y="261"/>
                    </a:lnTo>
                    <a:lnTo>
                      <a:pt x="2325" y="258"/>
                    </a:lnTo>
                    <a:lnTo>
                      <a:pt x="2330" y="257"/>
                    </a:lnTo>
                    <a:lnTo>
                      <a:pt x="2333" y="253"/>
                    </a:lnTo>
                    <a:lnTo>
                      <a:pt x="2338" y="249"/>
                    </a:lnTo>
                    <a:lnTo>
                      <a:pt x="2343" y="242"/>
                    </a:lnTo>
                    <a:lnTo>
                      <a:pt x="2340" y="238"/>
                    </a:lnTo>
                    <a:lnTo>
                      <a:pt x="2336" y="234"/>
                    </a:lnTo>
                    <a:lnTo>
                      <a:pt x="2335" y="231"/>
                    </a:lnTo>
                    <a:lnTo>
                      <a:pt x="2335" y="230"/>
                    </a:lnTo>
                    <a:lnTo>
                      <a:pt x="2333" y="225"/>
                    </a:lnTo>
                    <a:lnTo>
                      <a:pt x="2340" y="223"/>
                    </a:lnTo>
                    <a:lnTo>
                      <a:pt x="2344" y="220"/>
                    </a:lnTo>
                    <a:lnTo>
                      <a:pt x="2351" y="217"/>
                    </a:lnTo>
                    <a:lnTo>
                      <a:pt x="2355" y="214"/>
                    </a:lnTo>
                    <a:lnTo>
                      <a:pt x="2362" y="214"/>
                    </a:lnTo>
                    <a:lnTo>
                      <a:pt x="2368" y="212"/>
                    </a:lnTo>
                    <a:lnTo>
                      <a:pt x="2373" y="214"/>
                    </a:lnTo>
                    <a:lnTo>
                      <a:pt x="2373" y="215"/>
                    </a:lnTo>
                    <a:lnTo>
                      <a:pt x="2374" y="212"/>
                    </a:lnTo>
                    <a:lnTo>
                      <a:pt x="2378" y="211"/>
                    </a:lnTo>
                    <a:lnTo>
                      <a:pt x="2381" y="207"/>
                    </a:lnTo>
                    <a:lnTo>
                      <a:pt x="2385" y="203"/>
                    </a:lnTo>
                    <a:lnTo>
                      <a:pt x="2389" y="201"/>
                    </a:lnTo>
                    <a:lnTo>
                      <a:pt x="2390" y="198"/>
                    </a:lnTo>
                    <a:lnTo>
                      <a:pt x="2393" y="196"/>
                    </a:lnTo>
                    <a:lnTo>
                      <a:pt x="2395" y="196"/>
                    </a:lnTo>
                    <a:lnTo>
                      <a:pt x="2397" y="195"/>
                    </a:lnTo>
                    <a:lnTo>
                      <a:pt x="2398" y="195"/>
                    </a:lnTo>
                    <a:lnTo>
                      <a:pt x="2401" y="195"/>
                    </a:lnTo>
                    <a:lnTo>
                      <a:pt x="2408" y="196"/>
                    </a:lnTo>
                    <a:lnTo>
                      <a:pt x="2409" y="203"/>
                    </a:lnTo>
                    <a:lnTo>
                      <a:pt x="2411" y="212"/>
                    </a:lnTo>
                    <a:lnTo>
                      <a:pt x="2412" y="220"/>
                    </a:lnTo>
                    <a:lnTo>
                      <a:pt x="2411" y="231"/>
                    </a:lnTo>
                    <a:lnTo>
                      <a:pt x="2409" y="238"/>
                    </a:lnTo>
                    <a:lnTo>
                      <a:pt x="2409" y="239"/>
                    </a:lnTo>
                    <a:lnTo>
                      <a:pt x="2411" y="239"/>
                    </a:lnTo>
                    <a:lnTo>
                      <a:pt x="2414" y="238"/>
                    </a:lnTo>
                    <a:lnTo>
                      <a:pt x="2416" y="238"/>
                    </a:lnTo>
                    <a:lnTo>
                      <a:pt x="2417" y="239"/>
                    </a:lnTo>
                    <a:lnTo>
                      <a:pt x="2420" y="242"/>
                    </a:lnTo>
                    <a:lnTo>
                      <a:pt x="2425" y="249"/>
                    </a:lnTo>
                    <a:lnTo>
                      <a:pt x="2428" y="252"/>
                    </a:lnTo>
                    <a:lnTo>
                      <a:pt x="2435" y="260"/>
                    </a:lnTo>
                    <a:lnTo>
                      <a:pt x="2436" y="261"/>
                    </a:lnTo>
                    <a:lnTo>
                      <a:pt x="2443" y="272"/>
                    </a:lnTo>
                    <a:lnTo>
                      <a:pt x="2446" y="277"/>
                    </a:lnTo>
                    <a:lnTo>
                      <a:pt x="2447" y="282"/>
                    </a:lnTo>
                    <a:lnTo>
                      <a:pt x="2452" y="293"/>
                    </a:lnTo>
                    <a:lnTo>
                      <a:pt x="2458" y="304"/>
                    </a:lnTo>
                    <a:lnTo>
                      <a:pt x="2460" y="310"/>
                    </a:lnTo>
                    <a:lnTo>
                      <a:pt x="2457" y="315"/>
                    </a:lnTo>
                    <a:lnTo>
                      <a:pt x="2458" y="322"/>
                    </a:lnTo>
                    <a:lnTo>
                      <a:pt x="2462" y="326"/>
                    </a:lnTo>
                    <a:lnTo>
                      <a:pt x="2465" y="329"/>
                    </a:lnTo>
                    <a:lnTo>
                      <a:pt x="2466" y="336"/>
                    </a:lnTo>
                    <a:lnTo>
                      <a:pt x="2468" y="342"/>
                    </a:lnTo>
                    <a:lnTo>
                      <a:pt x="2471" y="348"/>
                    </a:lnTo>
                    <a:lnTo>
                      <a:pt x="2477" y="353"/>
                    </a:lnTo>
                    <a:lnTo>
                      <a:pt x="2481" y="356"/>
                    </a:lnTo>
                    <a:lnTo>
                      <a:pt x="2482" y="358"/>
                    </a:lnTo>
                    <a:lnTo>
                      <a:pt x="2482" y="363"/>
                    </a:lnTo>
                    <a:lnTo>
                      <a:pt x="2481" y="366"/>
                    </a:lnTo>
                    <a:lnTo>
                      <a:pt x="2477" y="367"/>
                    </a:lnTo>
                    <a:lnTo>
                      <a:pt x="2476" y="369"/>
                    </a:lnTo>
                    <a:lnTo>
                      <a:pt x="2474" y="371"/>
                    </a:lnTo>
                    <a:lnTo>
                      <a:pt x="2473" y="372"/>
                    </a:lnTo>
                    <a:lnTo>
                      <a:pt x="2473" y="374"/>
                    </a:lnTo>
                    <a:lnTo>
                      <a:pt x="2473" y="375"/>
                    </a:lnTo>
                    <a:lnTo>
                      <a:pt x="2479" y="379"/>
                    </a:lnTo>
                    <a:lnTo>
                      <a:pt x="2485" y="383"/>
                    </a:lnTo>
                    <a:lnTo>
                      <a:pt x="2490" y="390"/>
                    </a:lnTo>
                    <a:lnTo>
                      <a:pt x="2493" y="396"/>
                    </a:lnTo>
                    <a:lnTo>
                      <a:pt x="2496" y="401"/>
                    </a:lnTo>
                    <a:lnTo>
                      <a:pt x="2503" y="410"/>
                    </a:lnTo>
                    <a:lnTo>
                      <a:pt x="2511" y="420"/>
                    </a:lnTo>
                    <a:lnTo>
                      <a:pt x="2520" y="429"/>
                    </a:lnTo>
                    <a:lnTo>
                      <a:pt x="2526" y="436"/>
                    </a:lnTo>
                    <a:lnTo>
                      <a:pt x="2533" y="442"/>
                    </a:lnTo>
                    <a:lnTo>
                      <a:pt x="2539" y="447"/>
                    </a:lnTo>
                    <a:lnTo>
                      <a:pt x="2545" y="450"/>
                    </a:lnTo>
                    <a:lnTo>
                      <a:pt x="2549" y="453"/>
                    </a:lnTo>
                    <a:lnTo>
                      <a:pt x="2550" y="456"/>
                    </a:lnTo>
                    <a:lnTo>
                      <a:pt x="2550" y="461"/>
                    </a:lnTo>
                    <a:lnTo>
                      <a:pt x="2549" y="467"/>
                    </a:lnTo>
                    <a:lnTo>
                      <a:pt x="2547" y="467"/>
                    </a:lnTo>
                    <a:lnTo>
                      <a:pt x="2544" y="475"/>
                    </a:lnTo>
                    <a:lnTo>
                      <a:pt x="2542" y="485"/>
                    </a:lnTo>
                    <a:lnTo>
                      <a:pt x="2541" y="494"/>
                    </a:lnTo>
                    <a:lnTo>
                      <a:pt x="2542" y="502"/>
                    </a:lnTo>
                    <a:lnTo>
                      <a:pt x="2549" y="510"/>
                    </a:lnTo>
                    <a:lnTo>
                      <a:pt x="2555" y="516"/>
                    </a:lnTo>
                    <a:lnTo>
                      <a:pt x="2560" y="521"/>
                    </a:lnTo>
                    <a:lnTo>
                      <a:pt x="2561" y="526"/>
                    </a:lnTo>
                    <a:lnTo>
                      <a:pt x="2563" y="535"/>
                    </a:lnTo>
                    <a:lnTo>
                      <a:pt x="2564" y="543"/>
                    </a:lnTo>
                    <a:lnTo>
                      <a:pt x="2563" y="551"/>
                    </a:lnTo>
                    <a:lnTo>
                      <a:pt x="2560" y="562"/>
                    </a:lnTo>
                    <a:lnTo>
                      <a:pt x="2560" y="572"/>
                    </a:lnTo>
                    <a:lnTo>
                      <a:pt x="2560" y="577"/>
                    </a:lnTo>
                    <a:lnTo>
                      <a:pt x="2555" y="580"/>
                    </a:lnTo>
                    <a:lnTo>
                      <a:pt x="2549" y="581"/>
                    </a:lnTo>
                    <a:lnTo>
                      <a:pt x="2541" y="585"/>
                    </a:lnTo>
                    <a:lnTo>
                      <a:pt x="2530" y="588"/>
                    </a:lnTo>
                    <a:lnTo>
                      <a:pt x="2525" y="588"/>
                    </a:lnTo>
                    <a:lnTo>
                      <a:pt x="2522" y="591"/>
                    </a:lnTo>
                    <a:lnTo>
                      <a:pt x="2517" y="599"/>
                    </a:lnTo>
                    <a:lnTo>
                      <a:pt x="2515" y="602"/>
                    </a:lnTo>
                    <a:lnTo>
                      <a:pt x="2512" y="610"/>
                    </a:lnTo>
                    <a:lnTo>
                      <a:pt x="2507" y="624"/>
                    </a:lnTo>
                    <a:lnTo>
                      <a:pt x="2504" y="637"/>
                    </a:lnTo>
                    <a:lnTo>
                      <a:pt x="2503" y="645"/>
                    </a:lnTo>
                    <a:lnTo>
                      <a:pt x="2495" y="654"/>
                    </a:lnTo>
                    <a:lnTo>
                      <a:pt x="2490" y="659"/>
                    </a:lnTo>
                    <a:lnTo>
                      <a:pt x="2487" y="659"/>
                    </a:lnTo>
                    <a:lnTo>
                      <a:pt x="2482" y="656"/>
                    </a:lnTo>
                    <a:lnTo>
                      <a:pt x="2477" y="649"/>
                    </a:lnTo>
                    <a:lnTo>
                      <a:pt x="2471" y="638"/>
                    </a:lnTo>
                    <a:lnTo>
                      <a:pt x="2466" y="630"/>
                    </a:lnTo>
                    <a:lnTo>
                      <a:pt x="2463" y="623"/>
                    </a:lnTo>
                    <a:lnTo>
                      <a:pt x="2462" y="611"/>
                    </a:lnTo>
                    <a:lnTo>
                      <a:pt x="2458" y="594"/>
                    </a:lnTo>
                    <a:lnTo>
                      <a:pt x="2455" y="580"/>
                    </a:lnTo>
                    <a:lnTo>
                      <a:pt x="2454" y="572"/>
                    </a:lnTo>
                    <a:lnTo>
                      <a:pt x="2452" y="564"/>
                    </a:lnTo>
                    <a:lnTo>
                      <a:pt x="2449" y="556"/>
                    </a:lnTo>
                    <a:lnTo>
                      <a:pt x="2444" y="553"/>
                    </a:lnTo>
                    <a:lnTo>
                      <a:pt x="2392" y="540"/>
                    </a:lnTo>
                    <a:lnTo>
                      <a:pt x="2387" y="534"/>
                    </a:lnTo>
                    <a:lnTo>
                      <a:pt x="2384" y="526"/>
                    </a:lnTo>
                    <a:lnTo>
                      <a:pt x="2378" y="516"/>
                    </a:lnTo>
                    <a:lnTo>
                      <a:pt x="2374" y="510"/>
                    </a:lnTo>
                    <a:lnTo>
                      <a:pt x="2368" y="510"/>
                    </a:lnTo>
                    <a:lnTo>
                      <a:pt x="2365" y="512"/>
                    </a:lnTo>
                    <a:lnTo>
                      <a:pt x="2360" y="518"/>
                    </a:lnTo>
                    <a:lnTo>
                      <a:pt x="2327" y="545"/>
                    </a:lnTo>
                    <a:lnTo>
                      <a:pt x="2317" y="553"/>
                    </a:lnTo>
                    <a:lnTo>
                      <a:pt x="2309" y="566"/>
                    </a:lnTo>
                    <a:lnTo>
                      <a:pt x="2305" y="572"/>
                    </a:lnTo>
                    <a:lnTo>
                      <a:pt x="2305" y="602"/>
                    </a:lnTo>
                    <a:lnTo>
                      <a:pt x="2287" y="630"/>
                    </a:lnTo>
                    <a:lnTo>
                      <a:pt x="2283" y="638"/>
                    </a:lnTo>
                    <a:lnTo>
                      <a:pt x="2279" y="654"/>
                    </a:lnTo>
                    <a:lnTo>
                      <a:pt x="2278" y="667"/>
                    </a:lnTo>
                    <a:lnTo>
                      <a:pt x="2276" y="673"/>
                    </a:lnTo>
                    <a:lnTo>
                      <a:pt x="2276" y="684"/>
                    </a:lnTo>
                    <a:lnTo>
                      <a:pt x="2275" y="703"/>
                    </a:lnTo>
                    <a:lnTo>
                      <a:pt x="2273" y="714"/>
                    </a:lnTo>
                    <a:lnTo>
                      <a:pt x="2273" y="722"/>
                    </a:lnTo>
                    <a:lnTo>
                      <a:pt x="2273" y="730"/>
                    </a:lnTo>
                    <a:lnTo>
                      <a:pt x="2271" y="740"/>
                    </a:lnTo>
                    <a:lnTo>
                      <a:pt x="2271" y="741"/>
                    </a:lnTo>
                    <a:lnTo>
                      <a:pt x="2286" y="762"/>
                    </a:lnTo>
                    <a:lnTo>
                      <a:pt x="2281" y="776"/>
                    </a:lnTo>
                    <a:lnTo>
                      <a:pt x="2276" y="784"/>
                    </a:lnTo>
                    <a:lnTo>
                      <a:pt x="2270" y="803"/>
                    </a:lnTo>
                    <a:lnTo>
                      <a:pt x="2265" y="816"/>
                    </a:lnTo>
                    <a:lnTo>
                      <a:pt x="2262" y="824"/>
                    </a:lnTo>
                    <a:lnTo>
                      <a:pt x="2259" y="832"/>
                    </a:lnTo>
                    <a:lnTo>
                      <a:pt x="2259" y="833"/>
                    </a:lnTo>
                    <a:lnTo>
                      <a:pt x="2260" y="840"/>
                    </a:lnTo>
                    <a:lnTo>
                      <a:pt x="2264" y="852"/>
                    </a:lnTo>
                    <a:lnTo>
                      <a:pt x="2267" y="867"/>
                    </a:lnTo>
                    <a:lnTo>
                      <a:pt x="2267" y="868"/>
                    </a:lnTo>
                    <a:lnTo>
                      <a:pt x="2287" y="876"/>
                    </a:lnTo>
                    <a:lnTo>
                      <a:pt x="2317" y="889"/>
                    </a:lnTo>
                    <a:lnTo>
                      <a:pt x="2330" y="893"/>
                    </a:lnTo>
                    <a:lnTo>
                      <a:pt x="2336" y="895"/>
                    </a:lnTo>
                    <a:lnTo>
                      <a:pt x="2340" y="897"/>
                    </a:lnTo>
                    <a:lnTo>
                      <a:pt x="2343" y="898"/>
                    </a:lnTo>
                    <a:lnTo>
                      <a:pt x="2349" y="901"/>
                    </a:lnTo>
                    <a:lnTo>
                      <a:pt x="2355" y="903"/>
                    </a:lnTo>
                    <a:lnTo>
                      <a:pt x="2359" y="911"/>
                    </a:lnTo>
                    <a:lnTo>
                      <a:pt x="2359" y="922"/>
                    </a:lnTo>
                    <a:lnTo>
                      <a:pt x="2359" y="925"/>
                    </a:lnTo>
                    <a:lnTo>
                      <a:pt x="2357" y="932"/>
                    </a:lnTo>
                    <a:lnTo>
                      <a:pt x="2357" y="943"/>
                    </a:lnTo>
                    <a:lnTo>
                      <a:pt x="2357" y="947"/>
                    </a:lnTo>
                    <a:lnTo>
                      <a:pt x="2352" y="960"/>
                    </a:lnTo>
                    <a:lnTo>
                      <a:pt x="2343" y="973"/>
                    </a:lnTo>
                    <a:lnTo>
                      <a:pt x="2344" y="987"/>
                    </a:lnTo>
                    <a:lnTo>
                      <a:pt x="2341" y="993"/>
                    </a:lnTo>
                    <a:lnTo>
                      <a:pt x="2338" y="998"/>
                    </a:lnTo>
                    <a:lnTo>
                      <a:pt x="2336" y="1001"/>
                    </a:lnTo>
                    <a:lnTo>
                      <a:pt x="2328" y="1009"/>
                    </a:lnTo>
                    <a:lnTo>
                      <a:pt x="2327" y="1012"/>
                    </a:lnTo>
                    <a:lnTo>
                      <a:pt x="2319" y="1022"/>
                    </a:lnTo>
                    <a:lnTo>
                      <a:pt x="2319" y="1028"/>
                    </a:lnTo>
                    <a:lnTo>
                      <a:pt x="2317" y="1035"/>
                    </a:lnTo>
                    <a:lnTo>
                      <a:pt x="2316" y="1041"/>
                    </a:lnTo>
                    <a:lnTo>
                      <a:pt x="2314" y="1055"/>
                    </a:lnTo>
                    <a:lnTo>
                      <a:pt x="2314" y="1061"/>
                    </a:lnTo>
                    <a:lnTo>
                      <a:pt x="2305" y="1074"/>
                    </a:lnTo>
                    <a:lnTo>
                      <a:pt x="2302" y="1082"/>
                    </a:lnTo>
                    <a:lnTo>
                      <a:pt x="2302" y="1088"/>
                    </a:lnTo>
                    <a:lnTo>
                      <a:pt x="2297" y="1093"/>
                    </a:lnTo>
                    <a:lnTo>
                      <a:pt x="2298" y="1096"/>
                    </a:lnTo>
                    <a:lnTo>
                      <a:pt x="2300" y="1101"/>
                    </a:lnTo>
                    <a:lnTo>
                      <a:pt x="2298" y="1106"/>
                    </a:lnTo>
                    <a:lnTo>
                      <a:pt x="2297" y="1107"/>
                    </a:lnTo>
                    <a:lnTo>
                      <a:pt x="2294" y="1111"/>
                    </a:lnTo>
                    <a:lnTo>
                      <a:pt x="2287" y="1114"/>
                    </a:lnTo>
                    <a:lnTo>
                      <a:pt x="2279" y="1118"/>
                    </a:lnTo>
                    <a:lnTo>
                      <a:pt x="2273" y="1122"/>
                    </a:lnTo>
                    <a:lnTo>
                      <a:pt x="2271" y="1122"/>
                    </a:lnTo>
                    <a:lnTo>
                      <a:pt x="2265" y="1123"/>
                    </a:lnTo>
                    <a:lnTo>
                      <a:pt x="2257" y="1123"/>
                    </a:lnTo>
                    <a:lnTo>
                      <a:pt x="2256" y="1125"/>
                    </a:lnTo>
                    <a:lnTo>
                      <a:pt x="2254" y="1114"/>
                    </a:lnTo>
                    <a:lnTo>
                      <a:pt x="2245" y="1114"/>
                    </a:lnTo>
                    <a:lnTo>
                      <a:pt x="2238" y="1117"/>
                    </a:lnTo>
                    <a:lnTo>
                      <a:pt x="2227" y="1123"/>
                    </a:lnTo>
                    <a:lnTo>
                      <a:pt x="2221" y="1128"/>
                    </a:lnTo>
                    <a:lnTo>
                      <a:pt x="2211" y="1149"/>
                    </a:lnTo>
                    <a:lnTo>
                      <a:pt x="2206" y="1155"/>
                    </a:lnTo>
                    <a:lnTo>
                      <a:pt x="2205" y="1157"/>
                    </a:lnTo>
                    <a:lnTo>
                      <a:pt x="2197" y="1161"/>
                    </a:lnTo>
                    <a:lnTo>
                      <a:pt x="2191" y="1166"/>
                    </a:lnTo>
                    <a:lnTo>
                      <a:pt x="2186" y="1174"/>
                    </a:lnTo>
                    <a:lnTo>
                      <a:pt x="2173" y="1160"/>
                    </a:lnTo>
                    <a:lnTo>
                      <a:pt x="2159" y="1144"/>
                    </a:lnTo>
                    <a:lnTo>
                      <a:pt x="2145" y="1131"/>
                    </a:lnTo>
                    <a:lnTo>
                      <a:pt x="2134" y="1122"/>
                    </a:lnTo>
                    <a:lnTo>
                      <a:pt x="2116" y="1115"/>
                    </a:lnTo>
                    <a:lnTo>
                      <a:pt x="2110" y="1115"/>
                    </a:lnTo>
                    <a:lnTo>
                      <a:pt x="2099" y="1111"/>
                    </a:lnTo>
                    <a:lnTo>
                      <a:pt x="2088" y="1106"/>
                    </a:lnTo>
                    <a:lnTo>
                      <a:pt x="2072" y="1098"/>
                    </a:lnTo>
                    <a:lnTo>
                      <a:pt x="2056" y="1088"/>
                    </a:lnTo>
                    <a:lnTo>
                      <a:pt x="2051" y="1082"/>
                    </a:lnTo>
                    <a:lnTo>
                      <a:pt x="2043" y="1079"/>
                    </a:lnTo>
                    <a:lnTo>
                      <a:pt x="2026" y="1077"/>
                    </a:lnTo>
                    <a:lnTo>
                      <a:pt x="2026" y="1079"/>
                    </a:lnTo>
                    <a:lnTo>
                      <a:pt x="2010" y="1092"/>
                    </a:lnTo>
                    <a:lnTo>
                      <a:pt x="2002" y="1104"/>
                    </a:lnTo>
                    <a:lnTo>
                      <a:pt x="1997" y="1109"/>
                    </a:lnTo>
                    <a:lnTo>
                      <a:pt x="1986" y="1120"/>
                    </a:lnTo>
                    <a:lnTo>
                      <a:pt x="1977" y="1131"/>
                    </a:lnTo>
                    <a:lnTo>
                      <a:pt x="1972" y="1142"/>
                    </a:lnTo>
                    <a:lnTo>
                      <a:pt x="1964" y="1153"/>
                    </a:lnTo>
                    <a:lnTo>
                      <a:pt x="1964" y="1168"/>
                    </a:lnTo>
                    <a:lnTo>
                      <a:pt x="1966" y="1176"/>
                    </a:lnTo>
                    <a:lnTo>
                      <a:pt x="1966" y="1177"/>
                    </a:lnTo>
                    <a:lnTo>
                      <a:pt x="1966" y="1179"/>
                    </a:lnTo>
                    <a:lnTo>
                      <a:pt x="1966" y="1187"/>
                    </a:lnTo>
                    <a:lnTo>
                      <a:pt x="1969" y="1196"/>
                    </a:lnTo>
                    <a:lnTo>
                      <a:pt x="1970" y="1202"/>
                    </a:lnTo>
                    <a:lnTo>
                      <a:pt x="1970" y="1209"/>
                    </a:lnTo>
                    <a:lnTo>
                      <a:pt x="1970" y="1217"/>
                    </a:lnTo>
                    <a:lnTo>
                      <a:pt x="1970" y="1226"/>
                    </a:lnTo>
                    <a:lnTo>
                      <a:pt x="1969" y="1229"/>
                    </a:lnTo>
                    <a:lnTo>
                      <a:pt x="1969" y="1231"/>
                    </a:lnTo>
                    <a:lnTo>
                      <a:pt x="1967" y="1236"/>
                    </a:lnTo>
                    <a:lnTo>
                      <a:pt x="1967" y="1242"/>
                    </a:lnTo>
                    <a:lnTo>
                      <a:pt x="1967" y="1247"/>
                    </a:lnTo>
                    <a:lnTo>
                      <a:pt x="1967" y="1253"/>
                    </a:lnTo>
                    <a:lnTo>
                      <a:pt x="1967" y="1258"/>
                    </a:lnTo>
                    <a:lnTo>
                      <a:pt x="1967" y="1264"/>
                    </a:lnTo>
                    <a:lnTo>
                      <a:pt x="1970" y="1283"/>
                    </a:lnTo>
                    <a:lnTo>
                      <a:pt x="1970" y="1296"/>
                    </a:lnTo>
                    <a:lnTo>
                      <a:pt x="1969" y="1312"/>
                    </a:lnTo>
                    <a:lnTo>
                      <a:pt x="1969" y="1323"/>
                    </a:lnTo>
                    <a:lnTo>
                      <a:pt x="1969" y="1336"/>
                    </a:lnTo>
                    <a:lnTo>
                      <a:pt x="1977" y="1356"/>
                    </a:lnTo>
                    <a:lnTo>
                      <a:pt x="1983" y="1372"/>
                    </a:lnTo>
                    <a:lnTo>
                      <a:pt x="1966" y="1377"/>
                    </a:lnTo>
                    <a:lnTo>
                      <a:pt x="1956" y="1382"/>
                    </a:lnTo>
                    <a:lnTo>
                      <a:pt x="1950" y="1386"/>
                    </a:lnTo>
                    <a:lnTo>
                      <a:pt x="1942" y="1393"/>
                    </a:lnTo>
                    <a:lnTo>
                      <a:pt x="1934" y="1399"/>
                    </a:lnTo>
                    <a:lnTo>
                      <a:pt x="1917" y="1407"/>
                    </a:lnTo>
                    <a:lnTo>
                      <a:pt x="1912" y="1415"/>
                    </a:lnTo>
                    <a:lnTo>
                      <a:pt x="1899" y="1418"/>
                    </a:lnTo>
                    <a:lnTo>
                      <a:pt x="1893" y="1424"/>
                    </a:lnTo>
                    <a:lnTo>
                      <a:pt x="1891" y="1429"/>
                    </a:lnTo>
                    <a:lnTo>
                      <a:pt x="1883" y="1434"/>
                    </a:lnTo>
                    <a:lnTo>
                      <a:pt x="1879" y="1440"/>
                    </a:lnTo>
                    <a:lnTo>
                      <a:pt x="1874" y="1448"/>
                    </a:lnTo>
                    <a:lnTo>
                      <a:pt x="1869" y="1453"/>
                    </a:lnTo>
                    <a:lnTo>
                      <a:pt x="1847" y="1456"/>
                    </a:lnTo>
                    <a:lnTo>
                      <a:pt x="1822" y="1459"/>
                    </a:lnTo>
                    <a:lnTo>
                      <a:pt x="1804" y="1462"/>
                    </a:lnTo>
                    <a:lnTo>
                      <a:pt x="1795" y="1465"/>
                    </a:lnTo>
                    <a:lnTo>
                      <a:pt x="1784" y="1465"/>
                    </a:lnTo>
                    <a:lnTo>
                      <a:pt x="1774" y="1469"/>
                    </a:lnTo>
                    <a:lnTo>
                      <a:pt x="1765" y="1469"/>
                    </a:lnTo>
                    <a:lnTo>
                      <a:pt x="1753" y="1467"/>
                    </a:lnTo>
                    <a:lnTo>
                      <a:pt x="1742" y="1465"/>
                    </a:lnTo>
                    <a:lnTo>
                      <a:pt x="1733" y="1462"/>
                    </a:lnTo>
                    <a:lnTo>
                      <a:pt x="1723" y="1456"/>
                    </a:lnTo>
                    <a:lnTo>
                      <a:pt x="1696" y="1489"/>
                    </a:lnTo>
                    <a:lnTo>
                      <a:pt x="1687" y="1508"/>
                    </a:lnTo>
                    <a:lnTo>
                      <a:pt x="1679" y="1530"/>
                    </a:lnTo>
                    <a:lnTo>
                      <a:pt x="1665" y="1562"/>
                    </a:lnTo>
                    <a:lnTo>
                      <a:pt x="1660" y="1572"/>
                    </a:lnTo>
                    <a:lnTo>
                      <a:pt x="1657" y="1586"/>
                    </a:lnTo>
                    <a:lnTo>
                      <a:pt x="1650" y="1603"/>
                    </a:lnTo>
                    <a:lnTo>
                      <a:pt x="1646" y="1618"/>
                    </a:lnTo>
                    <a:lnTo>
                      <a:pt x="1643" y="1630"/>
                    </a:lnTo>
                    <a:lnTo>
                      <a:pt x="1639" y="1652"/>
                    </a:lnTo>
                    <a:lnTo>
                      <a:pt x="1639" y="1670"/>
                    </a:lnTo>
                    <a:lnTo>
                      <a:pt x="1638" y="1673"/>
                    </a:lnTo>
                    <a:lnTo>
                      <a:pt x="1633" y="1679"/>
                    </a:lnTo>
                    <a:lnTo>
                      <a:pt x="1631" y="1684"/>
                    </a:lnTo>
                    <a:lnTo>
                      <a:pt x="1630" y="1690"/>
                    </a:lnTo>
                    <a:lnTo>
                      <a:pt x="1627" y="1698"/>
                    </a:lnTo>
                    <a:lnTo>
                      <a:pt x="1624" y="1705"/>
                    </a:lnTo>
                    <a:lnTo>
                      <a:pt x="1619" y="1716"/>
                    </a:lnTo>
                    <a:lnTo>
                      <a:pt x="1614" y="1727"/>
                    </a:lnTo>
                    <a:lnTo>
                      <a:pt x="1609" y="1736"/>
                    </a:lnTo>
                    <a:lnTo>
                      <a:pt x="1606" y="1746"/>
                    </a:lnTo>
                    <a:lnTo>
                      <a:pt x="1603" y="1757"/>
                    </a:lnTo>
                    <a:lnTo>
                      <a:pt x="1598" y="1767"/>
                    </a:lnTo>
                    <a:lnTo>
                      <a:pt x="1593" y="1778"/>
                    </a:lnTo>
                    <a:lnTo>
                      <a:pt x="1587" y="1787"/>
                    </a:lnTo>
                    <a:lnTo>
                      <a:pt x="1579" y="1795"/>
                    </a:lnTo>
                    <a:lnTo>
                      <a:pt x="1576" y="1816"/>
                    </a:lnTo>
                    <a:lnTo>
                      <a:pt x="1571" y="1830"/>
                    </a:lnTo>
                    <a:lnTo>
                      <a:pt x="1562" y="1852"/>
                    </a:lnTo>
                    <a:lnTo>
                      <a:pt x="1568" y="1874"/>
                    </a:lnTo>
                    <a:lnTo>
                      <a:pt x="1563" y="1881"/>
                    </a:lnTo>
                    <a:lnTo>
                      <a:pt x="1548" y="1908"/>
                    </a:lnTo>
                    <a:lnTo>
                      <a:pt x="1538" y="1923"/>
                    </a:lnTo>
                    <a:lnTo>
                      <a:pt x="1505" y="1974"/>
                    </a:lnTo>
                    <a:lnTo>
                      <a:pt x="1486" y="1980"/>
                    </a:lnTo>
                    <a:lnTo>
                      <a:pt x="1449" y="1999"/>
                    </a:lnTo>
                    <a:lnTo>
                      <a:pt x="1451" y="2003"/>
                    </a:lnTo>
                    <a:lnTo>
                      <a:pt x="1435" y="2004"/>
                    </a:lnTo>
                    <a:lnTo>
                      <a:pt x="1429" y="2004"/>
                    </a:lnTo>
                    <a:lnTo>
                      <a:pt x="1427" y="2004"/>
                    </a:lnTo>
                    <a:lnTo>
                      <a:pt x="1427" y="2006"/>
                    </a:lnTo>
                    <a:lnTo>
                      <a:pt x="1426" y="2006"/>
                    </a:lnTo>
                    <a:lnTo>
                      <a:pt x="1426" y="2004"/>
                    </a:lnTo>
                    <a:lnTo>
                      <a:pt x="1424" y="2003"/>
                    </a:lnTo>
                    <a:lnTo>
                      <a:pt x="1421" y="2003"/>
                    </a:lnTo>
                    <a:lnTo>
                      <a:pt x="1419" y="2003"/>
                    </a:lnTo>
                    <a:lnTo>
                      <a:pt x="1418" y="2003"/>
                    </a:lnTo>
                    <a:lnTo>
                      <a:pt x="1414" y="2001"/>
                    </a:lnTo>
                    <a:lnTo>
                      <a:pt x="1413" y="2001"/>
                    </a:lnTo>
                    <a:lnTo>
                      <a:pt x="1411" y="2001"/>
                    </a:lnTo>
                    <a:lnTo>
                      <a:pt x="1410" y="2006"/>
                    </a:lnTo>
                    <a:lnTo>
                      <a:pt x="1408" y="2006"/>
                    </a:lnTo>
                    <a:lnTo>
                      <a:pt x="1403" y="2007"/>
                    </a:lnTo>
                    <a:lnTo>
                      <a:pt x="1402" y="2007"/>
                    </a:lnTo>
                    <a:lnTo>
                      <a:pt x="1397" y="2007"/>
                    </a:lnTo>
                    <a:lnTo>
                      <a:pt x="1389" y="2004"/>
                    </a:lnTo>
                    <a:lnTo>
                      <a:pt x="1378" y="1999"/>
                    </a:lnTo>
                    <a:lnTo>
                      <a:pt x="1375" y="1999"/>
                    </a:lnTo>
                    <a:lnTo>
                      <a:pt x="1372" y="1999"/>
                    </a:lnTo>
                    <a:lnTo>
                      <a:pt x="1369" y="1998"/>
                    </a:lnTo>
                    <a:lnTo>
                      <a:pt x="1367" y="1998"/>
                    </a:lnTo>
                    <a:lnTo>
                      <a:pt x="1359" y="1995"/>
                    </a:lnTo>
                    <a:lnTo>
                      <a:pt x="1356" y="1993"/>
                    </a:lnTo>
                    <a:lnTo>
                      <a:pt x="1350" y="1990"/>
                    </a:lnTo>
                    <a:lnTo>
                      <a:pt x="1348" y="1990"/>
                    </a:lnTo>
                    <a:lnTo>
                      <a:pt x="1343" y="1988"/>
                    </a:lnTo>
                    <a:lnTo>
                      <a:pt x="1340" y="1988"/>
                    </a:lnTo>
                    <a:lnTo>
                      <a:pt x="1338" y="1987"/>
                    </a:lnTo>
                    <a:lnTo>
                      <a:pt x="1335" y="1982"/>
                    </a:lnTo>
                    <a:lnTo>
                      <a:pt x="1332" y="1977"/>
                    </a:lnTo>
                    <a:lnTo>
                      <a:pt x="1331" y="1974"/>
                    </a:lnTo>
                    <a:lnTo>
                      <a:pt x="1329" y="1974"/>
                    </a:lnTo>
                    <a:lnTo>
                      <a:pt x="1329" y="1976"/>
                    </a:lnTo>
                    <a:lnTo>
                      <a:pt x="1326" y="1977"/>
                    </a:lnTo>
                    <a:lnTo>
                      <a:pt x="1324" y="1980"/>
                    </a:lnTo>
                    <a:lnTo>
                      <a:pt x="1324" y="1982"/>
                    </a:lnTo>
                    <a:lnTo>
                      <a:pt x="1321" y="1980"/>
                    </a:lnTo>
                    <a:lnTo>
                      <a:pt x="1318" y="1980"/>
                    </a:lnTo>
                    <a:lnTo>
                      <a:pt x="1315" y="1980"/>
                    </a:lnTo>
                    <a:lnTo>
                      <a:pt x="1312" y="1979"/>
                    </a:lnTo>
                    <a:lnTo>
                      <a:pt x="1310" y="1979"/>
                    </a:lnTo>
                    <a:lnTo>
                      <a:pt x="1310" y="1977"/>
                    </a:lnTo>
                    <a:lnTo>
                      <a:pt x="1308" y="1977"/>
                    </a:lnTo>
                    <a:lnTo>
                      <a:pt x="1307" y="1977"/>
                    </a:lnTo>
                    <a:lnTo>
                      <a:pt x="1307" y="1979"/>
                    </a:lnTo>
                    <a:lnTo>
                      <a:pt x="1304" y="1979"/>
                    </a:lnTo>
                    <a:lnTo>
                      <a:pt x="1302" y="1979"/>
                    </a:lnTo>
                    <a:lnTo>
                      <a:pt x="1299" y="1979"/>
                    </a:lnTo>
                    <a:lnTo>
                      <a:pt x="1294" y="1974"/>
                    </a:lnTo>
                    <a:lnTo>
                      <a:pt x="1294" y="1973"/>
                    </a:lnTo>
                    <a:lnTo>
                      <a:pt x="1289" y="1973"/>
                    </a:lnTo>
                    <a:lnTo>
                      <a:pt x="1286" y="1973"/>
                    </a:lnTo>
                    <a:lnTo>
                      <a:pt x="1277" y="1976"/>
                    </a:lnTo>
                    <a:lnTo>
                      <a:pt x="1270" y="1979"/>
                    </a:lnTo>
                    <a:lnTo>
                      <a:pt x="1267" y="1979"/>
                    </a:lnTo>
                    <a:lnTo>
                      <a:pt x="1266" y="1979"/>
                    </a:lnTo>
                    <a:lnTo>
                      <a:pt x="1262" y="1980"/>
                    </a:lnTo>
                    <a:lnTo>
                      <a:pt x="1261" y="1980"/>
                    </a:lnTo>
                    <a:lnTo>
                      <a:pt x="1259" y="1980"/>
                    </a:lnTo>
                    <a:lnTo>
                      <a:pt x="1258" y="1980"/>
                    </a:lnTo>
                    <a:lnTo>
                      <a:pt x="1253" y="1980"/>
                    </a:lnTo>
                    <a:lnTo>
                      <a:pt x="1250" y="1980"/>
                    </a:lnTo>
                    <a:lnTo>
                      <a:pt x="1243" y="1980"/>
                    </a:lnTo>
                    <a:lnTo>
                      <a:pt x="1235" y="1979"/>
                    </a:lnTo>
                    <a:lnTo>
                      <a:pt x="1228" y="1979"/>
                    </a:lnTo>
                    <a:lnTo>
                      <a:pt x="1226" y="1979"/>
                    </a:lnTo>
                    <a:lnTo>
                      <a:pt x="1216" y="1977"/>
                    </a:lnTo>
                    <a:lnTo>
                      <a:pt x="1215" y="1977"/>
                    </a:lnTo>
                    <a:lnTo>
                      <a:pt x="1213" y="1977"/>
                    </a:lnTo>
                    <a:lnTo>
                      <a:pt x="1210" y="1977"/>
                    </a:lnTo>
                    <a:lnTo>
                      <a:pt x="1209" y="1977"/>
                    </a:lnTo>
                    <a:lnTo>
                      <a:pt x="1207" y="1977"/>
                    </a:lnTo>
                    <a:lnTo>
                      <a:pt x="1204" y="1977"/>
                    </a:lnTo>
                    <a:lnTo>
                      <a:pt x="1202" y="1977"/>
                    </a:lnTo>
                    <a:lnTo>
                      <a:pt x="1201" y="1977"/>
                    </a:lnTo>
                    <a:lnTo>
                      <a:pt x="1199" y="1977"/>
                    </a:lnTo>
                    <a:lnTo>
                      <a:pt x="1197" y="1977"/>
                    </a:lnTo>
                    <a:lnTo>
                      <a:pt x="1194" y="1977"/>
                    </a:lnTo>
                    <a:lnTo>
                      <a:pt x="1185" y="1976"/>
                    </a:lnTo>
                    <a:lnTo>
                      <a:pt x="1183" y="1976"/>
                    </a:lnTo>
                    <a:lnTo>
                      <a:pt x="1182" y="1974"/>
                    </a:lnTo>
                    <a:lnTo>
                      <a:pt x="1180" y="1974"/>
                    </a:lnTo>
                    <a:lnTo>
                      <a:pt x="1177" y="1974"/>
                    </a:lnTo>
                    <a:lnTo>
                      <a:pt x="1175" y="1976"/>
                    </a:lnTo>
                    <a:lnTo>
                      <a:pt x="1174" y="1976"/>
                    </a:lnTo>
                    <a:lnTo>
                      <a:pt x="1172" y="1976"/>
                    </a:lnTo>
                    <a:lnTo>
                      <a:pt x="1171" y="1976"/>
                    </a:lnTo>
                    <a:lnTo>
                      <a:pt x="1167" y="1977"/>
                    </a:lnTo>
                    <a:lnTo>
                      <a:pt x="1164" y="1976"/>
                    </a:lnTo>
                    <a:lnTo>
                      <a:pt x="1159" y="1971"/>
                    </a:lnTo>
                    <a:lnTo>
                      <a:pt x="1156" y="1969"/>
                    </a:lnTo>
                    <a:lnTo>
                      <a:pt x="1148" y="1963"/>
                    </a:lnTo>
                    <a:lnTo>
                      <a:pt x="1142" y="1957"/>
                    </a:lnTo>
                    <a:lnTo>
                      <a:pt x="1139" y="1954"/>
                    </a:lnTo>
                    <a:lnTo>
                      <a:pt x="1137" y="1950"/>
                    </a:lnTo>
                    <a:lnTo>
                      <a:pt x="1134" y="1947"/>
                    </a:lnTo>
                    <a:lnTo>
                      <a:pt x="1131" y="1944"/>
                    </a:lnTo>
                    <a:lnTo>
                      <a:pt x="1129" y="1942"/>
                    </a:lnTo>
                    <a:lnTo>
                      <a:pt x="1126" y="1942"/>
                    </a:lnTo>
                    <a:lnTo>
                      <a:pt x="1123" y="1941"/>
                    </a:lnTo>
                    <a:lnTo>
                      <a:pt x="1121" y="1941"/>
                    </a:lnTo>
                    <a:lnTo>
                      <a:pt x="1120" y="1941"/>
                    </a:lnTo>
                    <a:lnTo>
                      <a:pt x="1118" y="1941"/>
                    </a:lnTo>
                    <a:lnTo>
                      <a:pt x="1112" y="1935"/>
                    </a:lnTo>
                    <a:lnTo>
                      <a:pt x="1090" y="1922"/>
                    </a:lnTo>
                    <a:lnTo>
                      <a:pt x="1077" y="1912"/>
                    </a:lnTo>
                    <a:lnTo>
                      <a:pt x="1060" y="1901"/>
                    </a:lnTo>
                    <a:lnTo>
                      <a:pt x="1030" y="1881"/>
                    </a:lnTo>
                    <a:lnTo>
                      <a:pt x="1028" y="1879"/>
                    </a:lnTo>
                    <a:lnTo>
                      <a:pt x="1026" y="1879"/>
                    </a:lnTo>
                    <a:lnTo>
                      <a:pt x="1026" y="1874"/>
                    </a:lnTo>
                    <a:lnTo>
                      <a:pt x="1025" y="1874"/>
                    </a:lnTo>
                    <a:lnTo>
                      <a:pt x="1023" y="1873"/>
                    </a:lnTo>
                    <a:lnTo>
                      <a:pt x="1018" y="1870"/>
                    </a:lnTo>
                    <a:lnTo>
                      <a:pt x="1003" y="1860"/>
                    </a:lnTo>
                    <a:lnTo>
                      <a:pt x="1001" y="1858"/>
                    </a:lnTo>
                    <a:lnTo>
                      <a:pt x="998" y="1857"/>
                    </a:lnTo>
                    <a:lnTo>
                      <a:pt x="993" y="1854"/>
                    </a:lnTo>
                    <a:lnTo>
                      <a:pt x="990" y="1852"/>
                    </a:lnTo>
                    <a:lnTo>
                      <a:pt x="988" y="1851"/>
                    </a:lnTo>
                    <a:lnTo>
                      <a:pt x="987" y="1849"/>
                    </a:lnTo>
                    <a:lnTo>
                      <a:pt x="982" y="1846"/>
                    </a:lnTo>
                    <a:lnTo>
                      <a:pt x="971" y="1839"/>
                    </a:lnTo>
                    <a:lnTo>
                      <a:pt x="969" y="1838"/>
                    </a:lnTo>
                    <a:lnTo>
                      <a:pt x="957" y="1830"/>
                    </a:lnTo>
                    <a:lnTo>
                      <a:pt x="939" y="1819"/>
                    </a:lnTo>
                    <a:lnTo>
                      <a:pt x="936" y="1817"/>
                    </a:lnTo>
                    <a:lnTo>
                      <a:pt x="922" y="1808"/>
                    </a:lnTo>
                    <a:lnTo>
                      <a:pt x="920" y="1806"/>
                    </a:lnTo>
                    <a:lnTo>
                      <a:pt x="908" y="1798"/>
                    </a:lnTo>
                    <a:lnTo>
                      <a:pt x="896" y="1790"/>
                    </a:lnTo>
                    <a:lnTo>
                      <a:pt x="895" y="1789"/>
                    </a:lnTo>
                    <a:lnTo>
                      <a:pt x="887" y="1786"/>
                    </a:lnTo>
                    <a:lnTo>
                      <a:pt x="879" y="1779"/>
                    </a:lnTo>
                    <a:lnTo>
                      <a:pt x="877" y="1779"/>
                    </a:lnTo>
                    <a:lnTo>
                      <a:pt x="876" y="1778"/>
                    </a:lnTo>
                    <a:lnTo>
                      <a:pt x="873" y="1778"/>
                    </a:lnTo>
                    <a:lnTo>
                      <a:pt x="870" y="1774"/>
                    </a:lnTo>
                    <a:lnTo>
                      <a:pt x="866" y="1770"/>
                    </a:lnTo>
                    <a:lnTo>
                      <a:pt x="866" y="1768"/>
                    </a:lnTo>
                    <a:lnTo>
                      <a:pt x="865" y="1767"/>
                    </a:lnTo>
                    <a:lnTo>
                      <a:pt x="865" y="1765"/>
                    </a:lnTo>
                    <a:lnTo>
                      <a:pt x="863" y="1765"/>
                    </a:lnTo>
                    <a:lnTo>
                      <a:pt x="862" y="1765"/>
                    </a:lnTo>
                    <a:lnTo>
                      <a:pt x="857" y="1763"/>
                    </a:lnTo>
                    <a:lnTo>
                      <a:pt x="854" y="1760"/>
                    </a:lnTo>
                    <a:lnTo>
                      <a:pt x="852" y="1757"/>
                    </a:lnTo>
                    <a:lnTo>
                      <a:pt x="851" y="1757"/>
                    </a:lnTo>
                    <a:lnTo>
                      <a:pt x="851" y="1755"/>
                    </a:lnTo>
                    <a:lnTo>
                      <a:pt x="849" y="1755"/>
                    </a:lnTo>
                    <a:lnTo>
                      <a:pt x="846" y="1754"/>
                    </a:lnTo>
                    <a:lnTo>
                      <a:pt x="844" y="1754"/>
                    </a:lnTo>
                    <a:lnTo>
                      <a:pt x="839" y="1754"/>
                    </a:lnTo>
                    <a:lnTo>
                      <a:pt x="838" y="1754"/>
                    </a:lnTo>
                    <a:lnTo>
                      <a:pt x="836" y="1752"/>
                    </a:lnTo>
                    <a:lnTo>
                      <a:pt x="835" y="1752"/>
                    </a:lnTo>
                    <a:lnTo>
                      <a:pt x="832" y="1749"/>
                    </a:lnTo>
                    <a:lnTo>
                      <a:pt x="830" y="1749"/>
                    </a:lnTo>
                    <a:lnTo>
                      <a:pt x="827" y="1749"/>
                    </a:lnTo>
                    <a:lnTo>
                      <a:pt x="825" y="1746"/>
                    </a:lnTo>
                    <a:lnTo>
                      <a:pt x="817" y="1743"/>
                    </a:lnTo>
                    <a:lnTo>
                      <a:pt x="816" y="1743"/>
                    </a:lnTo>
                    <a:lnTo>
                      <a:pt x="808" y="1740"/>
                    </a:lnTo>
                    <a:lnTo>
                      <a:pt x="798" y="1736"/>
                    </a:lnTo>
                    <a:lnTo>
                      <a:pt x="794" y="1735"/>
                    </a:lnTo>
                    <a:lnTo>
                      <a:pt x="792" y="1735"/>
                    </a:lnTo>
                    <a:lnTo>
                      <a:pt x="782" y="1735"/>
                    </a:lnTo>
                    <a:lnTo>
                      <a:pt x="757" y="1736"/>
                    </a:lnTo>
                    <a:lnTo>
                      <a:pt x="756" y="1736"/>
                    </a:lnTo>
                    <a:lnTo>
                      <a:pt x="752" y="1736"/>
                    </a:lnTo>
                    <a:lnTo>
                      <a:pt x="746" y="1736"/>
                    </a:lnTo>
                    <a:lnTo>
                      <a:pt x="740" y="1736"/>
                    </a:lnTo>
                    <a:lnTo>
                      <a:pt x="738" y="1736"/>
                    </a:lnTo>
                    <a:lnTo>
                      <a:pt x="740" y="1736"/>
                    </a:lnTo>
                    <a:lnTo>
                      <a:pt x="741" y="1736"/>
                    </a:lnTo>
                    <a:lnTo>
                      <a:pt x="743" y="1736"/>
                    </a:lnTo>
                    <a:lnTo>
                      <a:pt x="744" y="1736"/>
                    </a:lnTo>
                    <a:lnTo>
                      <a:pt x="746" y="1736"/>
                    </a:lnTo>
                    <a:lnTo>
                      <a:pt x="748" y="1736"/>
                    </a:lnTo>
                    <a:lnTo>
                      <a:pt x="749" y="1736"/>
                    </a:lnTo>
                    <a:lnTo>
                      <a:pt x="751" y="1736"/>
                    </a:lnTo>
                    <a:lnTo>
                      <a:pt x="752" y="1736"/>
                    </a:lnTo>
                    <a:lnTo>
                      <a:pt x="754" y="1736"/>
                    </a:lnTo>
                    <a:lnTo>
                      <a:pt x="754" y="1735"/>
                    </a:lnTo>
                    <a:lnTo>
                      <a:pt x="756" y="1729"/>
                    </a:lnTo>
                    <a:lnTo>
                      <a:pt x="756" y="1727"/>
                    </a:lnTo>
                    <a:lnTo>
                      <a:pt x="757" y="1725"/>
                    </a:lnTo>
                    <a:lnTo>
                      <a:pt x="759" y="1722"/>
                    </a:lnTo>
                    <a:lnTo>
                      <a:pt x="759" y="1719"/>
                    </a:lnTo>
                    <a:lnTo>
                      <a:pt x="760" y="1714"/>
                    </a:lnTo>
                    <a:lnTo>
                      <a:pt x="762" y="1710"/>
                    </a:lnTo>
                    <a:lnTo>
                      <a:pt x="768" y="1700"/>
                    </a:lnTo>
                    <a:lnTo>
                      <a:pt x="768" y="1698"/>
                    </a:lnTo>
                    <a:lnTo>
                      <a:pt x="770" y="1697"/>
                    </a:lnTo>
                    <a:lnTo>
                      <a:pt x="773" y="1690"/>
                    </a:lnTo>
                    <a:lnTo>
                      <a:pt x="778" y="1684"/>
                    </a:lnTo>
                    <a:lnTo>
                      <a:pt x="784" y="1676"/>
                    </a:lnTo>
                    <a:lnTo>
                      <a:pt x="792" y="1668"/>
                    </a:lnTo>
                    <a:lnTo>
                      <a:pt x="795" y="1662"/>
                    </a:lnTo>
                    <a:lnTo>
                      <a:pt x="803" y="1652"/>
                    </a:lnTo>
                    <a:lnTo>
                      <a:pt x="805" y="1645"/>
                    </a:lnTo>
                    <a:lnTo>
                      <a:pt x="811" y="1633"/>
                    </a:lnTo>
                    <a:lnTo>
                      <a:pt x="811" y="1621"/>
                    </a:lnTo>
                    <a:lnTo>
                      <a:pt x="809" y="1611"/>
                    </a:lnTo>
                    <a:lnTo>
                      <a:pt x="806" y="1603"/>
                    </a:lnTo>
                    <a:lnTo>
                      <a:pt x="801" y="1599"/>
                    </a:lnTo>
                    <a:lnTo>
                      <a:pt x="800" y="1591"/>
                    </a:lnTo>
                    <a:lnTo>
                      <a:pt x="800" y="1583"/>
                    </a:lnTo>
                    <a:lnTo>
                      <a:pt x="801" y="1580"/>
                    </a:lnTo>
                    <a:lnTo>
                      <a:pt x="806" y="1573"/>
                    </a:lnTo>
                    <a:lnTo>
                      <a:pt x="808" y="1567"/>
                    </a:lnTo>
                    <a:lnTo>
                      <a:pt x="808" y="1562"/>
                    </a:lnTo>
                    <a:lnTo>
                      <a:pt x="808" y="1556"/>
                    </a:lnTo>
                    <a:lnTo>
                      <a:pt x="811" y="1546"/>
                    </a:lnTo>
                    <a:lnTo>
                      <a:pt x="816" y="1538"/>
                    </a:lnTo>
                    <a:lnTo>
                      <a:pt x="822" y="1532"/>
                    </a:lnTo>
                    <a:lnTo>
                      <a:pt x="824" y="1526"/>
                    </a:lnTo>
                    <a:lnTo>
                      <a:pt x="825" y="1524"/>
                    </a:lnTo>
                    <a:lnTo>
                      <a:pt x="830" y="1518"/>
                    </a:lnTo>
                    <a:lnTo>
                      <a:pt x="836" y="1515"/>
                    </a:lnTo>
                    <a:lnTo>
                      <a:pt x="839" y="1513"/>
                    </a:lnTo>
                    <a:lnTo>
                      <a:pt x="846" y="1515"/>
                    </a:lnTo>
                    <a:lnTo>
                      <a:pt x="854" y="1516"/>
                    </a:lnTo>
                    <a:lnTo>
                      <a:pt x="863" y="1518"/>
                    </a:lnTo>
                    <a:lnTo>
                      <a:pt x="871" y="1518"/>
                    </a:lnTo>
                    <a:lnTo>
                      <a:pt x="881" y="1516"/>
                    </a:lnTo>
                    <a:lnTo>
                      <a:pt x="892" y="1515"/>
                    </a:lnTo>
                    <a:lnTo>
                      <a:pt x="896" y="1510"/>
                    </a:lnTo>
                    <a:lnTo>
                      <a:pt x="901" y="1510"/>
                    </a:lnTo>
                    <a:lnTo>
                      <a:pt x="908" y="1513"/>
                    </a:lnTo>
                    <a:lnTo>
                      <a:pt x="915" y="1515"/>
                    </a:lnTo>
                    <a:lnTo>
                      <a:pt x="923" y="1515"/>
                    </a:lnTo>
                    <a:lnTo>
                      <a:pt x="931" y="1521"/>
                    </a:lnTo>
                    <a:lnTo>
                      <a:pt x="938" y="1526"/>
                    </a:lnTo>
                    <a:lnTo>
                      <a:pt x="946" y="1527"/>
                    </a:lnTo>
                    <a:lnTo>
                      <a:pt x="960" y="1523"/>
                    </a:lnTo>
                    <a:lnTo>
                      <a:pt x="968" y="1519"/>
                    </a:lnTo>
                    <a:lnTo>
                      <a:pt x="974" y="1515"/>
                    </a:lnTo>
                    <a:lnTo>
                      <a:pt x="982" y="1513"/>
                    </a:lnTo>
                    <a:lnTo>
                      <a:pt x="990" y="1507"/>
                    </a:lnTo>
                    <a:lnTo>
                      <a:pt x="999" y="1504"/>
                    </a:lnTo>
                    <a:lnTo>
                      <a:pt x="1007" y="1502"/>
                    </a:lnTo>
                    <a:lnTo>
                      <a:pt x="1007" y="1499"/>
                    </a:lnTo>
                    <a:lnTo>
                      <a:pt x="1014" y="1497"/>
                    </a:lnTo>
                    <a:lnTo>
                      <a:pt x="1022" y="1494"/>
                    </a:lnTo>
                    <a:lnTo>
                      <a:pt x="1025" y="1489"/>
                    </a:lnTo>
                    <a:lnTo>
                      <a:pt x="1028" y="1485"/>
                    </a:lnTo>
                    <a:lnTo>
                      <a:pt x="1030" y="1483"/>
                    </a:lnTo>
                    <a:lnTo>
                      <a:pt x="1036" y="1481"/>
                    </a:lnTo>
                    <a:lnTo>
                      <a:pt x="1044" y="1483"/>
                    </a:lnTo>
                    <a:lnTo>
                      <a:pt x="1052" y="1486"/>
                    </a:lnTo>
                    <a:lnTo>
                      <a:pt x="1056" y="1491"/>
                    </a:lnTo>
                    <a:lnTo>
                      <a:pt x="1064" y="1489"/>
                    </a:lnTo>
                    <a:lnTo>
                      <a:pt x="1069" y="1492"/>
                    </a:lnTo>
                    <a:lnTo>
                      <a:pt x="1075" y="1494"/>
                    </a:lnTo>
                    <a:lnTo>
                      <a:pt x="1080" y="1499"/>
                    </a:lnTo>
                    <a:lnTo>
                      <a:pt x="1088" y="1504"/>
                    </a:lnTo>
                    <a:lnTo>
                      <a:pt x="1096" y="1504"/>
                    </a:lnTo>
                    <a:lnTo>
                      <a:pt x="1098" y="1504"/>
                    </a:lnTo>
                    <a:lnTo>
                      <a:pt x="1101" y="1500"/>
                    </a:lnTo>
                    <a:lnTo>
                      <a:pt x="1102" y="1496"/>
                    </a:lnTo>
                    <a:lnTo>
                      <a:pt x="1102" y="1491"/>
                    </a:lnTo>
                    <a:lnTo>
                      <a:pt x="1102" y="1483"/>
                    </a:lnTo>
                    <a:lnTo>
                      <a:pt x="1101" y="1477"/>
                    </a:lnTo>
                    <a:lnTo>
                      <a:pt x="1101" y="1470"/>
                    </a:lnTo>
                    <a:lnTo>
                      <a:pt x="1101" y="1462"/>
                    </a:lnTo>
                    <a:lnTo>
                      <a:pt x="1107" y="1456"/>
                    </a:lnTo>
                    <a:lnTo>
                      <a:pt x="1112" y="1448"/>
                    </a:lnTo>
                    <a:lnTo>
                      <a:pt x="1114" y="1440"/>
                    </a:lnTo>
                    <a:lnTo>
                      <a:pt x="1115" y="1434"/>
                    </a:lnTo>
                    <a:lnTo>
                      <a:pt x="1115" y="1424"/>
                    </a:lnTo>
                    <a:lnTo>
                      <a:pt x="1115" y="1415"/>
                    </a:lnTo>
                    <a:lnTo>
                      <a:pt x="1114" y="1405"/>
                    </a:lnTo>
                    <a:lnTo>
                      <a:pt x="1114" y="1402"/>
                    </a:lnTo>
                    <a:lnTo>
                      <a:pt x="1114" y="1401"/>
                    </a:lnTo>
                    <a:lnTo>
                      <a:pt x="1112" y="1397"/>
                    </a:lnTo>
                    <a:lnTo>
                      <a:pt x="1110" y="1393"/>
                    </a:lnTo>
                    <a:lnTo>
                      <a:pt x="1114" y="1385"/>
                    </a:lnTo>
                    <a:lnTo>
                      <a:pt x="1120" y="1383"/>
                    </a:lnTo>
                    <a:lnTo>
                      <a:pt x="1125" y="1382"/>
                    </a:lnTo>
                    <a:lnTo>
                      <a:pt x="1133" y="1382"/>
                    </a:lnTo>
                    <a:lnTo>
                      <a:pt x="1137" y="1378"/>
                    </a:lnTo>
                    <a:lnTo>
                      <a:pt x="1142" y="1375"/>
                    </a:lnTo>
                    <a:lnTo>
                      <a:pt x="1147" y="1374"/>
                    </a:lnTo>
                    <a:lnTo>
                      <a:pt x="1152" y="1370"/>
                    </a:lnTo>
                    <a:lnTo>
                      <a:pt x="1153" y="1367"/>
                    </a:lnTo>
                    <a:lnTo>
                      <a:pt x="1156" y="1361"/>
                    </a:lnTo>
                    <a:lnTo>
                      <a:pt x="1156" y="1355"/>
                    </a:lnTo>
                    <a:lnTo>
                      <a:pt x="1152" y="1350"/>
                    </a:lnTo>
                    <a:lnTo>
                      <a:pt x="1147" y="1348"/>
                    </a:lnTo>
                    <a:lnTo>
                      <a:pt x="1142" y="1347"/>
                    </a:lnTo>
                    <a:lnTo>
                      <a:pt x="1136" y="1342"/>
                    </a:lnTo>
                    <a:lnTo>
                      <a:pt x="1134" y="1337"/>
                    </a:lnTo>
                    <a:lnTo>
                      <a:pt x="1133" y="1331"/>
                    </a:lnTo>
                    <a:lnTo>
                      <a:pt x="1133" y="1324"/>
                    </a:lnTo>
                    <a:lnTo>
                      <a:pt x="1129" y="1318"/>
                    </a:lnTo>
                    <a:lnTo>
                      <a:pt x="1125" y="1313"/>
                    </a:lnTo>
                    <a:lnTo>
                      <a:pt x="1125" y="1307"/>
                    </a:lnTo>
                    <a:lnTo>
                      <a:pt x="1123" y="1301"/>
                    </a:lnTo>
                    <a:lnTo>
                      <a:pt x="1121" y="1293"/>
                    </a:lnTo>
                    <a:lnTo>
                      <a:pt x="1117" y="1291"/>
                    </a:lnTo>
                    <a:lnTo>
                      <a:pt x="1115" y="1291"/>
                    </a:lnTo>
                    <a:lnTo>
                      <a:pt x="1114" y="1291"/>
                    </a:lnTo>
                    <a:lnTo>
                      <a:pt x="1107" y="1291"/>
                    </a:lnTo>
                    <a:lnTo>
                      <a:pt x="1102" y="1291"/>
                    </a:lnTo>
                    <a:lnTo>
                      <a:pt x="1099" y="1288"/>
                    </a:lnTo>
                    <a:lnTo>
                      <a:pt x="1096" y="1285"/>
                    </a:lnTo>
                    <a:lnTo>
                      <a:pt x="1091" y="1283"/>
                    </a:lnTo>
                    <a:lnTo>
                      <a:pt x="1088" y="1280"/>
                    </a:lnTo>
                    <a:lnTo>
                      <a:pt x="1085" y="1277"/>
                    </a:lnTo>
                    <a:lnTo>
                      <a:pt x="1080" y="1277"/>
                    </a:lnTo>
                    <a:lnTo>
                      <a:pt x="1075" y="1280"/>
                    </a:lnTo>
                    <a:lnTo>
                      <a:pt x="1074" y="1282"/>
                    </a:lnTo>
                    <a:lnTo>
                      <a:pt x="1072" y="1282"/>
                    </a:lnTo>
                    <a:lnTo>
                      <a:pt x="1069" y="1282"/>
                    </a:lnTo>
                    <a:lnTo>
                      <a:pt x="1068" y="1277"/>
                    </a:lnTo>
                    <a:lnTo>
                      <a:pt x="1068" y="1272"/>
                    </a:lnTo>
                    <a:lnTo>
                      <a:pt x="1069" y="1266"/>
                    </a:lnTo>
                    <a:lnTo>
                      <a:pt x="1068" y="1260"/>
                    </a:lnTo>
                    <a:lnTo>
                      <a:pt x="1066" y="1252"/>
                    </a:lnTo>
                    <a:lnTo>
                      <a:pt x="1064" y="1247"/>
                    </a:lnTo>
                    <a:lnTo>
                      <a:pt x="1064" y="1244"/>
                    </a:lnTo>
                    <a:lnTo>
                      <a:pt x="1066" y="1236"/>
                    </a:lnTo>
                    <a:lnTo>
                      <a:pt x="1069" y="1229"/>
                    </a:lnTo>
                    <a:lnTo>
                      <a:pt x="1075" y="1223"/>
                    </a:lnTo>
                    <a:lnTo>
                      <a:pt x="1080" y="1215"/>
                    </a:lnTo>
                    <a:lnTo>
                      <a:pt x="1083" y="1207"/>
                    </a:lnTo>
                    <a:lnTo>
                      <a:pt x="1087" y="1199"/>
                    </a:lnTo>
                    <a:lnTo>
                      <a:pt x="1087" y="1191"/>
                    </a:lnTo>
                    <a:lnTo>
                      <a:pt x="1087" y="1185"/>
                    </a:lnTo>
                    <a:lnTo>
                      <a:pt x="1087" y="1183"/>
                    </a:lnTo>
                    <a:lnTo>
                      <a:pt x="1085" y="1177"/>
                    </a:lnTo>
                    <a:lnTo>
                      <a:pt x="1083" y="1169"/>
                    </a:lnTo>
                    <a:lnTo>
                      <a:pt x="1077" y="1166"/>
                    </a:lnTo>
                    <a:lnTo>
                      <a:pt x="1074" y="1160"/>
                    </a:lnTo>
                    <a:lnTo>
                      <a:pt x="1071" y="1155"/>
                    </a:lnTo>
                    <a:lnTo>
                      <a:pt x="1071" y="1149"/>
                    </a:lnTo>
                    <a:lnTo>
                      <a:pt x="1072" y="1141"/>
                    </a:lnTo>
                    <a:lnTo>
                      <a:pt x="1074" y="1134"/>
                    </a:lnTo>
                    <a:lnTo>
                      <a:pt x="1075" y="1131"/>
                    </a:lnTo>
                    <a:lnTo>
                      <a:pt x="1079" y="1128"/>
                    </a:lnTo>
                    <a:lnTo>
                      <a:pt x="1085" y="1122"/>
                    </a:lnTo>
                    <a:lnTo>
                      <a:pt x="1088" y="1117"/>
                    </a:lnTo>
                    <a:lnTo>
                      <a:pt x="1093" y="1111"/>
                    </a:lnTo>
                    <a:lnTo>
                      <a:pt x="1099" y="1106"/>
                    </a:lnTo>
                    <a:lnTo>
                      <a:pt x="1104" y="1107"/>
                    </a:lnTo>
                    <a:lnTo>
                      <a:pt x="1107" y="1112"/>
                    </a:lnTo>
                    <a:lnTo>
                      <a:pt x="1110" y="1117"/>
                    </a:lnTo>
                    <a:lnTo>
                      <a:pt x="1117" y="1120"/>
                    </a:lnTo>
                    <a:lnTo>
                      <a:pt x="1121" y="1120"/>
                    </a:lnTo>
                    <a:lnTo>
                      <a:pt x="1126" y="1117"/>
                    </a:lnTo>
                    <a:lnTo>
                      <a:pt x="1129" y="1112"/>
                    </a:lnTo>
                    <a:lnTo>
                      <a:pt x="1133" y="1112"/>
                    </a:lnTo>
                    <a:lnTo>
                      <a:pt x="1134" y="1112"/>
                    </a:lnTo>
                    <a:lnTo>
                      <a:pt x="1140" y="1117"/>
                    </a:lnTo>
                    <a:lnTo>
                      <a:pt x="1145" y="1125"/>
                    </a:lnTo>
                    <a:lnTo>
                      <a:pt x="1152" y="1126"/>
                    </a:lnTo>
                    <a:lnTo>
                      <a:pt x="1156" y="1126"/>
                    </a:lnTo>
                    <a:lnTo>
                      <a:pt x="1158" y="1128"/>
                    </a:lnTo>
                    <a:lnTo>
                      <a:pt x="1159" y="1131"/>
                    </a:lnTo>
                    <a:lnTo>
                      <a:pt x="1164" y="1134"/>
                    </a:lnTo>
                    <a:lnTo>
                      <a:pt x="1171" y="1133"/>
                    </a:lnTo>
                    <a:lnTo>
                      <a:pt x="1174" y="1136"/>
                    </a:lnTo>
                    <a:lnTo>
                      <a:pt x="1172" y="1141"/>
                    </a:lnTo>
                    <a:lnTo>
                      <a:pt x="1172" y="1147"/>
                    </a:lnTo>
                    <a:lnTo>
                      <a:pt x="1175" y="1152"/>
                    </a:lnTo>
                    <a:lnTo>
                      <a:pt x="1180" y="1149"/>
                    </a:lnTo>
                    <a:lnTo>
                      <a:pt x="1186" y="1147"/>
                    </a:lnTo>
                    <a:lnTo>
                      <a:pt x="1193" y="1145"/>
                    </a:lnTo>
                    <a:lnTo>
                      <a:pt x="1194" y="1145"/>
                    </a:lnTo>
                    <a:lnTo>
                      <a:pt x="1202" y="1144"/>
                    </a:lnTo>
                    <a:lnTo>
                      <a:pt x="1205" y="1145"/>
                    </a:lnTo>
                    <a:lnTo>
                      <a:pt x="1207" y="1149"/>
                    </a:lnTo>
                    <a:lnTo>
                      <a:pt x="1213" y="1152"/>
                    </a:lnTo>
                    <a:lnTo>
                      <a:pt x="1216" y="1158"/>
                    </a:lnTo>
                    <a:lnTo>
                      <a:pt x="1216" y="1164"/>
                    </a:lnTo>
                    <a:lnTo>
                      <a:pt x="1216" y="1171"/>
                    </a:lnTo>
                    <a:lnTo>
                      <a:pt x="1215" y="1176"/>
                    </a:lnTo>
                    <a:lnTo>
                      <a:pt x="1210" y="1179"/>
                    </a:lnTo>
                    <a:lnTo>
                      <a:pt x="1204" y="1182"/>
                    </a:lnTo>
                    <a:lnTo>
                      <a:pt x="1202" y="1182"/>
                    </a:lnTo>
                    <a:lnTo>
                      <a:pt x="1197" y="1183"/>
                    </a:lnTo>
                    <a:lnTo>
                      <a:pt x="1193" y="1183"/>
                    </a:lnTo>
                    <a:lnTo>
                      <a:pt x="1190" y="1185"/>
                    </a:lnTo>
                    <a:lnTo>
                      <a:pt x="1188" y="1187"/>
                    </a:lnTo>
                    <a:lnTo>
                      <a:pt x="1185" y="1191"/>
                    </a:lnTo>
                    <a:lnTo>
                      <a:pt x="1183" y="1196"/>
                    </a:lnTo>
                    <a:lnTo>
                      <a:pt x="1183" y="1199"/>
                    </a:lnTo>
                    <a:lnTo>
                      <a:pt x="1182" y="1202"/>
                    </a:lnTo>
                    <a:lnTo>
                      <a:pt x="1180" y="1206"/>
                    </a:lnTo>
                    <a:lnTo>
                      <a:pt x="1183" y="1210"/>
                    </a:lnTo>
                    <a:lnTo>
                      <a:pt x="1186" y="1214"/>
                    </a:lnTo>
                    <a:lnTo>
                      <a:pt x="1188" y="1220"/>
                    </a:lnTo>
                    <a:lnTo>
                      <a:pt x="1185" y="1226"/>
                    </a:lnTo>
                    <a:lnTo>
                      <a:pt x="1180" y="1231"/>
                    </a:lnTo>
                    <a:lnTo>
                      <a:pt x="1177" y="1234"/>
                    </a:lnTo>
                    <a:lnTo>
                      <a:pt x="1172" y="1236"/>
                    </a:lnTo>
                    <a:lnTo>
                      <a:pt x="1167" y="1234"/>
                    </a:lnTo>
                    <a:lnTo>
                      <a:pt x="1164" y="1231"/>
                    </a:lnTo>
                    <a:lnTo>
                      <a:pt x="1159" y="1228"/>
                    </a:lnTo>
                    <a:lnTo>
                      <a:pt x="1156" y="1233"/>
                    </a:lnTo>
                    <a:lnTo>
                      <a:pt x="1155" y="1241"/>
                    </a:lnTo>
                    <a:lnTo>
                      <a:pt x="1153" y="1245"/>
                    </a:lnTo>
                    <a:lnTo>
                      <a:pt x="1158" y="1252"/>
                    </a:lnTo>
                    <a:lnTo>
                      <a:pt x="1158" y="1255"/>
                    </a:lnTo>
                    <a:lnTo>
                      <a:pt x="1159" y="1258"/>
                    </a:lnTo>
                    <a:lnTo>
                      <a:pt x="1161" y="1261"/>
                    </a:lnTo>
                    <a:lnTo>
                      <a:pt x="1164" y="1266"/>
                    </a:lnTo>
                    <a:lnTo>
                      <a:pt x="1166" y="1271"/>
                    </a:lnTo>
                    <a:lnTo>
                      <a:pt x="1166" y="1275"/>
                    </a:lnTo>
                    <a:lnTo>
                      <a:pt x="1171" y="1277"/>
                    </a:lnTo>
                    <a:lnTo>
                      <a:pt x="1174" y="1280"/>
                    </a:lnTo>
                    <a:lnTo>
                      <a:pt x="1177" y="1285"/>
                    </a:lnTo>
                    <a:lnTo>
                      <a:pt x="1178" y="1286"/>
                    </a:lnTo>
                    <a:lnTo>
                      <a:pt x="1180" y="1293"/>
                    </a:lnTo>
                    <a:lnTo>
                      <a:pt x="1183" y="1298"/>
                    </a:lnTo>
                    <a:lnTo>
                      <a:pt x="1190" y="1299"/>
                    </a:lnTo>
                    <a:lnTo>
                      <a:pt x="1193" y="1304"/>
                    </a:lnTo>
                    <a:lnTo>
                      <a:pt x="1193" y="1312"/>
                    </a:lnTo>
                    <a:lnTo>
                      <a:pt x="1191" y="1315"/>
                    </a:lnTo>
                    <a:lnTo>
                      <a:pt x="1188" y="1320"/>
                    </a:lnTo>
                    <a:lnTo>
                      <a:pt x="1188" y="1323"/>
                    </a:lnTo>
                    <a:lnTo>
                      <a:pt x="1188" y="1324"/>
                    </a:lnTo>
                    <a:lnTo>
                      <a:pt x="1191" y="1326"/>
                    </a:lnTo>
                    <a:lnTo>
                      <a:pt x="1196" y="1328"/>
                    </a:lnTo>
                    <a:lnTo>
                      <a:pt x="1201" y="1326"/>
                    </a:lnTo>
                    <a:lnTo>
                      <a:pt x="1204" y="1321"/>
                    </a:lnTo>
                    <a:lnTo>
                      <a:pt x="1205" y="1321"/>
                    </a:lnTo>
                    <a:lnTo>
                      <a:pt x="1209" y="1318"/>
                    </a:lnTo>
                    <a:lnTo>
                      <a:pt x="1215" y="1320"/>
                    </a:lnTo>
                    <a:lnTo>
                      <a:pt x="1220" y="1320"/>
                    </a:lnTo>
                    <a:lnTo>
                      <a:pt x="1226" y="1318"/>
                    </a:lnTo>
                    <a:lnTo>
                      <a:pt x="1229" y="1313"/>
                    </a:lnTo>
                    <a:lnTo>
                      <a:pt x="1232" y="1312"/>
                    </a:lnTo>
                    <a:lnTo>
                      <a:pt x="1235" y="1309"/>
                    </a:lnTo>
                    <a:lnTo>
                      <a:pt x="1242" y="1309"/>
                    </a:lnTo>
                    <a:lnTo>
                      <a:pt x="1247" y="1304"/>
                    </a:lnTo>
                    <a:lnTo>
                      <a:pt x="1243" y="1299"/>
                    </a:lnTo>
                    <a:lnTo>
                      <a:pt x="1239" y="1296"/>
                    </a:lnTo>
                    <a:lnTo>
                      <a:pt x="1234" y="1294"/>
                    </a:lnTo>
                    <a:lnTo>
                      <a:pt x="1229" y="1293"/>
                    </a:lnTo>
                    <a:lnTo>
                      <a:pt x="1226" y="1293"/>
                    </a:lnTo>
                    <a:lnTo>
                      <a:pt x="1224" y="1288"/>
                    </a:lnTo>
                    <a:lnTo>
                      <a:pt x="1220" y="1285"/>
                    </a:lnTo>
                    <a:lnTo>
                      <a:pt x="1216" y="1288"/>
                    </a:lnTo>
                    <a:lnTo>
                      <a:pt x="1213" y="1288"/>
                    </a:lnTo>
                    <a:lnTo>
                      <a:pt x="1210" y="1285"/>
                    </a:lnTo>
                    <a:lnTo>
                      <a:pt x="1212" y="1279"/>
                    </a:lnTo>
                    <a:lnTo>
                      <a:pt x="1218" y="1274"/>
                    </a:lnTo>
                    <a:lnTo>
                      <a:pt x="1223" y="1272"/>
                    </a:lnTo>
                    <a:lnTo>
                      <a:pt x="1224" y="1266"/>
                    </a:lnTo>
                    <a:lnTo>
                      <a:pt x="1228" y="1260"/>
                    </a:lnTo>
                    <a:lnTo>
                      <a:pt x="1229" y="1258"/>
                    </a:lnTo>
                    <a:lnTo>
                      <a:pt x="1232" y="1252"/>
                    </a:lnTo>
                    <a:lnTo>
                      <a:pt x="1234" y="1250"/>
                    </a:lnTo>
                    <a:lnTo>
                      <a:pt x="1235" y="1245"/>
                    </a:lnTo>
                    <a:lnTo>
                      <a:pt x="1237" y="1239"/>
                    </a:lnTo>
                    <a:lnTo>
                      <a:pt x="1240" y="1233"/>
                    </a:lnTo>
                    <a:lnTo>
                      <a:pt x="1245" y="1226"/>
                    </a:lnTo>
                    <a:lnTo>
                      <a:pt x="1251" y="1225"/>
                    </a:lnTo>
                    <a:lnTo>
                      <a:pt x="1258" y="1221"/>
                    </a:lnTo>
                    <a:lnTo>
                      <a:pt x="1258" y="1217"/>
                    </a:lnTo>
                    <a:lnTo>
                      <a:pt x="1258" y="1210"/>
                    </a:lnTo>
                    <a:lnTo>
                      <a:pt x="1256" y="1202"/>
                    </a:lnTo>
                    <a:lnTo>
                      <a:pt x="1254" y="1196"/>
                    </a:lnTo>
                    <a:lnTo>
                      <a:pt x="1254" y="1193"/>
                    </a:lnTo>
                    <a:lnTo>
                      <a:pt x="1254" y="1191"/>
                    </a:lnTo>
                    <a:lnTo>
                      <a:pt x="1254" y="1185"/>
                    </a:lnTo>
                    <a:lnTo>
                      <a:pt x="1253" y="1179"/>
                    </a:lnTo>
                    <a:lnTo>
                      <a:pt x="1253" y="1177"/>
                    </a:lnTo>
                    <a:lnTo>
                      <a:pt x="1254" y="1176"/>
                    </a:lnTo>
                    <a:lnTo>
                      <a:pt x="1254" y="1174"/>
                    </a:lnTo>
                    <a:lnTo>
                      <a:pt x="1254" y="1168"/>
                    </a:lnTo>
                    <a:lnTo>
                      <a:pt x="1259" y="1161"/>
                    </a:lnTo>
                    <a:lnTo>
                      <a:pt x="1262" y="1158"/>
                    </a:lnTo>
                    <a:lnTo>
                      <a:pt x="1266" y="1157"/>
                    </a:lnTo>
                    <a:lnTo>
                      <a:pt x="1269" y="1155"/>
                    </a:lnTo>
                    <a:lnTo>
                      <a:pt x="1277" y="1152"/>
                    </a:lnTo>
                    <a:lnTo>
                      <a:pt x="1286" y="1152"/>
                    </a:lnTo>
                    <a:lnTo>
                      <a:pt x="1288" y="1152"/>
                    </a:lnTo>
                    <a:lnTo>
                      <a:pt x="1296" y="1152"/>
                    </a:lnTo>
                    <a:lnTo>
                      <a:pt x="1300" y="1152"/>
                    </a:lnTo>
                    <a:lnTo>
                      <a:pt x="1307" y="1157"/>
                    </a:lnTo>
                    <a:lnTo>
                      <a:pt x="1313" y="1158"/>
                    </a:lnTo>
                    <a:lnTo>
                      <a:pt x="1319" y="1157"/>
                    </a:lnTo>
                    <a:lnTo>
                      <a:pt x="1321" y="1157"/>
                    </a:lnTo>
                    <a:lnTo>
                      <a:pt x="1324" y="1158"/>
                    </a:lnTo>
                    <a:lnTo>
                      <a:pt x="1326" y="1161"/>
                    </a:lnTo>
                    <a:lnTo>
                      <a:pt x="1332" y="1161"/>
                    </a:lnTo>
                    <a:lnTo>
                      <a:pt x="1334" y="1163"/>
                    </a:lnTo>
                    <a:lnTo>
                      <a:pt x="1337" y="1166"/>
                    </a:lnTo>
                    <a:lnTo>
                      <a:pt x="1340" y="1164"/>
                    </a:lnTo>
                    <a:lnTo>
                      <a:pt x="1346" y="1161"/>
                    </a:lnTo>
                    <a:lnTo>
                      <a:pt x="1351" y="1160"/>
                    </a:lnTo>
                    <a:lnTo>
                      <a:pt x="1353" y="1161"/>
                    </a:lnTo>
                    <a:lnTo>
                      <a:pt x="1354" y="1163"/>
                    </a:lnTo>
                    <a:lnTo>
                      <a:pt x="1356" y="1163"/>
                    </a:lnTo>
                    <a:lnTo>
                      <a:pt x="1359" y="1166"/>
                    </a:lnTo>
                    <a:lnTo>
                      <a:pt x="1362" y="1171"/>
                    </a:lnTo>
                    <a:lnTo>
                      <a:pt x="1367" y="1176"/>
                    </a:lnTo>
                    <a:lnTo>
                      <a:pt x="1373" y="1180"/>
                    </a:lnTo>
                    <a:lnTo>
                      <a:pt x="1380" y="1187"/>
                    </a:lnTo>
                    <a:lnTo>
                      <a:pt x="1386" y="1191"/>
                    </a:lnTo>
                    <a:lnTo>
                      <a:pt x="1389" y="1196"/>
                    </a:lnTo>
                    <a:lnTo>
                      <a:pt x="1392" y="1204"/>
                    </a:lnTo>
                    <a:lnTo>
                      <a:pt x="1399" y="1214"/>
                    </a:lnTo>
                    <a:lnTo>
                      <a:pt x="1400" y="1215"/>
                    </a:lnTo>
                    <a:lnTo>
                      <a:pt x="1403" y="1221"/>
                    </a:lnTo>
                    <a:lnTo>
                      <a:pt x="1405" y="1225"/>
                    </a:lnTo>
                    <a:lnTo>
                      <a:pt x="1408" y="1228"/>
                    </a:lnTo>
                    <a:lnTo>
                      <a:pt x="1411" y="1234"/>
                    </a:lnTo>
                    <a:lnTo>
                      <a:pt x="1419" y="1237"/>
                    </a:lnTo>
                    <a:lnTo>
                      <a:pt x="1426" y="1239"/>
                    </a:lnTo>
                    <a:lnTo>
                      <a:pt x="1432" y="1241"/>
                    </a:lnTo>
                    <a:lnTo>
                      <a:pt x="1438" y="1237"/>
                    </a:lnTo>
                    <a:lnTo>
                      <a:pt x="1446" y="1236"/>
                    </a:lnTo>
                    <a:lnTo>
                      <a:pt x="1452" y="1234"/>
                    </a:lnTo>
                    <a:lnTo>
                      <a:pt x="1460" y="1234"/>
                    </a:lnTo>
                    <a:lnTo>
                      <a:pt x="1460" y="1231"/>
                    </a:lnTo>
                    <a:lnTo>
                      <a:pt x="1456" y="1228"/>
                    </a:lnTo>
                    <a:lnTo>
                      <a:pt x="1452" y="1221"/>
                    </a:lnTo>
                    <a:lnTo>
                      <a:pt x="1451" y="1217"/>
                    </a:lnTo>
                    <a:lnTo>
                      <a:pt x="1449" y="1212"/>
                    </a:lnTo>
                    <a:lnTo>
                      <a:pt x="1448" y="1207"/>
                    </a:lnTo>
                    <a:lnTo>
                      <a:pt x="1449" y="1201"/>
                    </a:lnTo>
                    <a:lnTo>
                      <a:pt x="1454" y="1196"/>
                    </a:lnTo>
                    <a:lnTo>
                      <a:pt x="1457" y="1193"/>
                    </a:lnTo>
                    <a:lnTo>
                      <a:pt x="1459" y="1187"/>
                    </a:lnTo>
                    <a:lnTo>
                      <a:pt x="1459" y="1182"/>
                    </a:lnTo>
                    <a:lnTo>
                      <a:pt x="1459" y="1180"/>
                    </a:lnTo>
                    <a:lnTo>
                      <a:pt x="1459" y="1176"/>
                    </a:lnTo>
                    <a:lnTo>
                      <a:pt x="1457" y="1169"/>
                    </a:lnTo>
                    <a:lnTo>
                      <a:pt x="1456" y="1164"/>
                    </a:lnTo>
                    <a:lnTo>
                      <a:pt x="1454" y="1158"/>
                    </a:lnTo>
                    <a:lnTo>
                      <a:pt x="1454" y="1152"/>
                    </a:lnTo>
                    <a:lnTo>
                      <a:pt x="1451" y="1147"/>
                    </a:lnTo>
                    <a:lnTo>
                      <a:pt x="1449" y="1142"/>
                    </a:lnTo>
                    <a:lnTo>
                      <a:pt x="1449" y="1136"/>
                    </a:lnTo>
                    <a:lnTo>
                      <a:pt x="1451" y="1128"/>
                    </a:lnTo>
                    <a:lnTo>
                      <a:pt x="1448" y="1122"/>
                    </a:lnTo>
                    <a:lnTo>
                      <a:pt x="1446" y="1120"/>
                    </a:lnTo>
                    <a:lnTo>
                      <a:pt x="1443" y="1118"/>
                    </a:lnTo>
                    <a:lnTo>
                      <a:pt x="1438" y="1117"/>
                    </a:lnTo>
                    <a:lnTo>
                      <a:pt x="1437" y="1114"/>
                    </a:lnTo>
                    <a:lnTo>
                      <a:pt x="1438" y="1109"/>
                    </a:lnTo>
                    <a:lnTo>
                      <a:pt x="1441" y="1106"/>
                    </a:lnTo>
                    <a:lnTo>
                      <a:pt x="1440" y="1103"/>
                    </a:lnTo>
                    <a:lnTo>
                      <a:pt x="1432" y="1101"/>
                    </a:lnTo>
                    <a:lnTo>
                      <a:pt x="1426" y="1103"/>
                    </a:lnTo>
                    <a:lnTo>
                      <a:pt x="1418" y="1104"/>
                    </a:lnTo>
                    <a:lnTo>
                      <a:pt x="1410" y="1104"/>
                    </a:lnTo>
                    <a:lnTo>
                      <a:pt x="1405" y="1103"/>
                    </a:lnTo>
                    <a:lnTo>
                      <a:pt x="1407" y="1096"/>
                    </a:lnTo>
                    <a:lnTo>
                      <a:pt x="1407" y="1093"/>
                    </a:lnTo>
                    <a:lnTo>
                      <a:pt x="1408" y="1092"/>
                    </a:lnTo>
                    <a:lnTo>
                      <a:pt x="1403" y="1088"/>
                    </a:lnTo>
                    <a:lnTo>
                      <a:pt x="1402" y="1088"/>
                    </a:lnTo>
                    <a:lnTo>
                      <a:pt x="1399" y="1088"/>
                    </a:lnTo>
                    <a:lnTo>
                      <a:pt x="1394" y="1085"/>
                    </a:lnTo>
                    <a:lnTo>
                      <a:pt x="1386" y="1085"/>
                    </a:lnTo>
                    <a:lnTo>
                      <a:pt x="1380" y="1085"/>
                    </a:lnTo>
                    <a:lnTo>
                      <a:pt x="1375" y="1082"/>
                    </a:lnTo>
                    <a:lnTo>
                      <a:pt x="1373" y="1079"/>
                    </a:lnTo>
                    <a:lnTo>
                      <a:pt x="1369" y="1074"/>
                    </a:lnTo>
                    <a:lnTo>
                      <a:pt x="1367" y="1076"/>
                    </a:lnTo>
                    <a:lnTo>
                      <a:pt x="1357" y="1076"/>
                    </a:lnTo>
                    <a:lnTo>
                      <a:pt x="1351" y="1077"/>
                    </a:lnTo>
                    <a:lnTo>
                      <a:pt x="1346" y="1076"/>
                    </a:lnTo>
                    <a:lnTo>
                      <a:pt x="1343" y="1073"/>
                    </a:lnTo>
                    <a:lnTo>
                      <a:pt x="1340" y="1066"/>
                    </a:lnTo>
                    <a:lnTo>
                      <a:pt x="1337" y="1063"/>
                    </a:lnTo>
                    <a:lnTo>
                      <a:pt x="1331" y="1063"/>
                    </a:lnTo>
                    <a:lnTo>
                      <a:pt x="1329" y="1061"/>
                    </a:lnTo>
                    <a:lnTo>
                      <a:pt x="1326" y="1058"/>
                    </a:lnTo>
                    <a:lnTo>
                      <a:pt x="1323" y="1055"/>
                    </a:lnTo>
                    <a:lnTo>
                      <a:pt x="1318" y="1055"/>
                    </a:lnTo>
                    <a:lnTo>
                      <a:pt x="1316" y="1055"/>
                    </a:lnTo>
                    <a:lnTo>
                      <a:pt x="1316" y="1050"/>
                    </a:lnTo>
                    <a:lnTo>
                      <a:pt x="1316" y="1047"/>
                    </a:lnTo>
                    <a:lnTo>
                      <a:pt x="1316" y="1042"/>
                    </a:lnTo>
                    <a:lnTo>
                      <a:pt x="1319" y="1041"/>
                    </a:lnTo>
                    <a:lnTo>
                      <a:pt x="1321" y="1039"/>
                    </a:lnTo>
                    <a:lnTo>
                      <a:pt x="1324" y="1038"/>
                    </a:lnTo>
                    <a:lnTo>
                      <a:pt x="1326" y="1036"/>
                    </a:lnTo>
                    <a:lnTo>
                      <a:pt x="1331" y="1035"/>
                    </a:lnTo>
                    <a:lnTo>
                      <a:pt x="1334" y="1033"/>
                    </a:lnTo>
                    <a:lnTo>
                      <a:pt x="1338" y="1028"/>
                    </a:lnTo>
                    <a:lnTo>
                      <a:pt x="1338" y="1025"/>
                    </a:lnTo>
                    <a:lnTo>
                      <a:pt x="1335" y="1022"/>
                    </a:lnTo>
                    <a:lnTo>
                      <a:pt x="1335" y="1017"/>
                    </a:lnTo>
                    <a:lnTo>
                      <a:pt x="1335" y="1012"/>
                    </a:lnTo>
                    <a:lnTo>
                      <a:pt x="1335" y="1009"/>
                    </a:lnTo>
                    <a:lnTo>
                      <a:pt x="1335" y="1004"/>
                    </a:lnTo>
                    <a:lnTo>
                      <a:pt x="1334" y="1001"/>
                    </a:lnTo>
                    <a:lnTo>
                      <a:pt x="1335" y="996"/>
                    </a:lnTo>
                    <a:lnTo>
                      <a:pt x="1338" y="996"/>
                    </a:lnTo>
                    <a:lnTo>
                      <a:pt x="1338" y="990"/>
                    </a:lnTo>
                    <a:lnTo>
                      <a:pt x="1337" y="984"/>
                    </a:lnTo>
                    <a:lnTo>
                      <a:pt x="1334" y="984"/>
                    </a:lnTo>
                    <a:lnTo>
                      <a:pt x="1332" y="989"/>
                    </a:lnTo>
                    <a:lnTo>
                      <a:pt x="1327" y="987"/>
                    </a:lnTo>
                    <a:lnTo>
                      <a:pt x="1327" y="984"/>
                    </a:lnTo>
                    <a:lnTo>
                      <a:pt x="1329" y="979"/>
                    </a:lnTo>
                    <a:lnTo>
                      <a:pt x="1331" y="977"/>
                    </a:lnTo>
                    <a:lnTo>
                      <a:pt x="1329" y="974"/>
                    </a:lnTo>
                    <a:lnTo>
                      <a:pt x="1326" y="971"/>
                    </a:lnTo>
                    <a:lnTo>
                      <a:pt x="1321" y="970"/>
                    </a:lnTo>
                    <a:lnTo>
                      <a:pt x="1316" y="970"/>
                    </a:lnTo>
                    <a:lnTo>
                      <a:pt x="1318" y="965"/>
                    </a:lnTo>
                    <a:lnTo>
                      <a:pt x="1318" y="960"/>
                    </a:lnTo>
                    <a:lnTo>
                      <a:pt x="1315" y="955"/>
                    </a:lnTo>
                    <a:lnTo>
                      <a:pt x="1308" y="952"/>
                    </a:lnTo>
                    <a:lnTo>
                      <a:pt x="1300" y="951"/>
                    </a:lnTo>
                    <a:lnTo>
                      <a:pt x="1296" y="955"/>
                    </a:lnTo>
                    <a:lnTo>
                      <a:pt x="1289" y="962"/>
                    </a:lnTo>
                    <a:lnTo>
                      <a:pt x="1285" y="962"/>
                    </a:lnTo>
                    <a:lnTo>
                      <a:pt x="1278" y="963"/>
                    </a:lnTo>
                    <a:lnTo>
                      <a:pt x="1270" y="962"/>
                    </a:lnTo>
                    <a:lnTo>
                      <a:pt x="1266" y="958"/>
                    </a:lnTo>
                    <a:lnTo>
                      <a:pt x="1264" y="954"/>
                    </a:lnTo>
                    <a:lnTo>
                      <a:pt x="1261" y="951"/>
                    </a:lnTo>
                    <a:lnTo>
                      <a:pt x="1259" y="952"/>
                    </a:lnTo>
                    <a:lnTo>
                      <a:pt x="1253" y="952"/>
                    </a:lnTo>
                    <a:lnTo>
                      <a:pt x="1247" y="952"/>
                    </a:lnTo>
                    <a:lnTo>
                      <a:pt x="1240" y="951"/>
                    </a:lnTo>
                    <a:lnTo>
                      <a:pt x="1234" y="946"/>
                    </a:lnTo>
                    <a:lnTo>
                      <a:pt x="1231" y="939"/>
                    </a:lnTo>
                    <a:lnTo>
                      <a:pt x="1224" y="941"/>
                    </a:lnTo>
                    <a:lnTo>
                      <a:pt x="1221" y="946"/>
                    </a:lnTo>
                    <a:lnTo>
                      <a:pt x="1220" y="952"/>
                    </a:lnTo>
                    <a:lnTo>
                      <a:pt x="1215" y="957"/>
                    </a:lnTo>
                    <a:lnTo>
                      <a:pt x="1210" y="963"/>
                    </a:lnTo>
                    <a:lnTo>
                      <a:pt x="1204" y="971"/>
                    </a:lnTo>
                    <a:lnTo>
                      <a:pt x="1202" y="976"/>
                    </a:lnTo>
                    <a:lnTo>
                      <a:pt x="1201" y="979"/>
                    </a:lnTo>
                    <a:lnTo>
                      <a:pt x="1199" y="982"/>
                    </a:lnTo>
                    <a:lnTo>
                      <a:pt x="1193" y="984"/>
                    </a:lnTo>
                    <a:lnTo>
                      <a:pt x="1186" y="984"/>
                    </a:lnTo>
                    <a:lnTo>
                      <a:pt x="1180" y="989"/>
                    </a:lnTo>
                    <a:lnTo>
                      <a:pt x="1174" y="995"/>
                    </a:lnTo>
                    <a:lnTo>
                      <a:pt x="1169" y="996"/>
                    </a:lnTo>
                    <a:lnTo>
                      <a:pt x="1167" y="996"/>
                    </a:lnTo>
                    <a:lnTo>
                      <a:pt x="1164" y="993"/>
                    </a:lnTo>
                    <a:lnTo>
                      <a:pt x="1163" y="989"/>
                    </a:lnTo>
                    <a:lnTo>
                      <a:pt x="1159" y="985"/>
                    </a:lnTo>
                    <a:lnTo>
                      <a:pt x="1156" y="982"/>
                    </a:lnTo>
                    <a:lnTo>
                      <a:pt x="1152" y="979"/>
                    </a:lnTo>
                    <a:lnTo>
                      <a:pt x="1148" y="976"/>
                    </a:lnTo>
                    <a:lnTo>
                      <a:pt x="1148" y="970"/>
                    </a:lnTo>
                    <a:lnTo>
                      <a:pt x="1148" y="966"/>
                    </a:lnTo>
                    <a:lnTo>
                      <a:pt x="1150" y="963"/>
                    </a:lnTo>
                    <a:lnTo>
                      <a:pt x="1150" y="952"/>
                    </a:lnTo>
                    <a:lnTo>
                      <a:pt x="1153" y="943"/>
                    </a:lnTo>
                    <a:lnTo>
                      <a:pt x="1153" y="936"/>
                    </a:lnTo>
                    <a:lnTo>
                      <a:pt x="1156" y="932"/>
                    </a:lnTo>
                    <a:lnTo>
                      <a:pt x="1159" y="928"/>
                    </a:lnTo>
                    <a:lnTo>
                      <a:pt x="1161" y="927"/>
                    </a:lnTo>
                    <a:lnTo>
                      <a:pt x="1167" y="924"/>
                    </a:lnTo>
                    <a:lnTo>
                      <a:pt x="1172" y="920"/>
                    </a:lnTo>
                    <a:lnTo>
                      <a:pt x="1178" y="917"/>
                    </a:lnTo>
                    <a:lnTo>
                      <a:pt x="1183" y="913"/>
                    </a:lnTo>
                    <a:lnTo>
                      <a:pt x="1188" y="911"/>
                    </a:lnTo>
                    <a:lnTo>
                      <a:pt x="1194" y="908"/>
                    </a:lnTo>
                    <a:lnTo>
                      <a:pt x="1199" y="905"/>
                    </a:lnTo>
                    <a:lnTo>
                      <a:pt x="1202" y="901"/>
                    </a:lnTo>
                    <a:lnTo>
                      <a:pt x="1209" y="898"/>
                    </a:lnTo>
                    <a:lnTo>
                      <a:pt x="1210" y="895"/>
                    </a:lnTo>
                    <a:lnTo>
                      <a:pt x="1212" y="889"/>
                    </a:lnTo>
                    <a:lnTo>
                      <a:pt x="1212" y="882"/>
                    </a:lnTo>
                    <a:lnTo>
                      <a:pt x="1212" y="878"/>
                    </a:lnTo>
                    <a:lnTo>
                      <a:pt x="1216" y="874"/>
                    </a:lnTo>
                    <a:lnTo>
                      <a:pt x="1221" y="871"/>
                    </a:lnTo>
                    <a:lnTo>
                      <a:pt x="1223" y="867"/>
                    </a:lnTo>
                    <a:lnTo>
                      <a:pt x="1224" y="862"/>
                    </a:lnTo>
                    <a:lnTo>
                      <a:pt x="1226" y="855"/>
                    </a:lnTo>
                    <a:lnTo>
                      <a:pt x="1226" y="854"/>
                    </a:lnTo>
                    <a:lnTo>
                      <a:pt x="1231" y="848"/>
                    </a:lnTo>
                    <a:lnTo>
                      <a:pt x="1235" y="846"/>
                    </a:lnTo>
                    <a:lnTo>
                      <a:pt x="1240" y="843"/>
                    </a:lnTo>
                    <a:lnTo>
                      <a:pt x="1245" y="841"/>
                    </a:lnTo>
                    <a:lnTo>
                      <a:pt x="1248" y="841"/>
                    </a:lnTo>
                    <a:lnTo>
                      <a:pt x="1251" y="841"/>
                    </a:lnTo>
                    <a:lnTo>
                      <a:pt x="1254" y="838"/>
                    </a:lnTo>
                    <a:lnTo>
                      <a:pt x="1256" y="832"/>
                    </a:lnTo>
                    <a:lnTo>
                      <a:pt x="1254" y="827"/>
                    </a:lnTo>
                    <a:lnTo>
                      <a:pt x="1253" y="822"/>
                    </a:lnTo>
                    <a:lnTo>
                      <a:pt x="1247" y="819"/>
                    </a:lnTo>
                    <a:lnTo>
                      <a:pt x="1247" y="814"/>
                    </a:lnTo>
                    <a:lnTo>
                      <a:pt x="1248" y="814"/>
                    </a:lnTo>
                    <a:lnTo>
                      <a:pt x="1250" y="811"/>
                    </a:lnTo>
                    <a:lnTo>
                      <a:pt x="1253" y="806"/>
                    </a:lnTo>
                    <a:lnTo>
                      <a:pt x="1253" y="800"/>
                    </a:lnTo>
                    <a:lnTo>
                      <a:pt x="1250" y="795"/>
                    </a:lnTo>
                    <a:lnTo>
                      <a:pt x="1251" y="789"/>
                    </a:lnTo>
                    <a:lnTo>
                      <a:pt x="1254" y="784"/>
                    </a:lnTo>
                    <a:lnTo>
                      <a:pt x="1258" y="778"/>
                    </a:lnTo>
                    <a:lnTo>
                      <a:pt x="1259" y="773"/>
                    </a:lnTo>
                    <a:lnTo>
                      <a:pt x="1261" y="767"/>
                    </a:lnTo>
                    <a:lnTo>
                      <a:pt x="1267" y="760"/>
                    </a:lnTo>
                    <a:lnTo>
                      <a:pt x="1273" y="756"/>
                    </a:lnTo>
                    <a:lnTo>
                      <a:pt x="1277" y="751"/>
                    </a:lnTo>
                    <a:lnTo>
                      <a:pt x="1277" y="746"/>
                    </a:lnTo>
                    <a:lnTo>
                      <a:pt x="1280" y="740"/>
                    </a:lnTo>
                    <a:lnTo>
                      <a:pt x="1285" y="738"/>
                    </a:lnTo>
                    <a:lnTo>
                      <a:pt x="1286" y="737"/>
                    </a:lnTo>
                    <a:lnTo>
                      <a:pt x="1291" y="733"/>
                    </a:lnTo>
                    <a:lnTo>
                      <a:pt x="1294" y="730"/>
                    </a:lnTo>
                    <a:lnTo>
                      <a:pt x="1296" y="724"/>
                    </a:lnTo>
                    <a:lnTo>
                      <a:pt x="1299" y="719"/>
                    </a:lnTo>
                    <a:lnTo>
                      <a:pt x="1302" y="714"/>
                    </a:lnTo>
                    <a:lnTo>
                      <a:pt x="1302" y="708"/>
                    </a:lnTo>
                    <a:lnTo>
                      <a:pt x="1304" y="703"/>
                    </a:lnTo>
                    <a:lnTo>
                      <a:pt x="1305" y="699"/>
                    </a:lnTo>
                    <a:lnTo>
                      <a:pt x="1310" y="694"/>
                    </a:lnTo>
                    <a:lnTo>
                      <a:pt x="1308" y="694"/>
                    </a:lnTo>
                    <a:lnTo>
                      <a:pt x="1308" y="692"/>
                    </a:lnTo>
                    <a:lnTo>
                      <a:pt x="1313" y="689"/>
                    </a:lnTo>
                    <a:lnTo>
                      <a:pt x="1313" y="688"/>
                    </a:lnTo>
                    <a:lnTo>
                      <a:pt x="1313" y="686"/>
                    </a:lnTo>
                    <a:lnTo>
                      <a:pt x="1308" y="684"/>
                    </a:lnTo>
                    <a:lnTo>
                      <a:pt x="1310" y="680"/>
                    </a:lnTo>
                    <a:lnTo>
                      <a:pt x="1312" y="676"/>
                    </a:lnTo>
                    <a:lnTo>
                      <a:pt x="1307" y="673"/>
                    </a:lnTo>
                    <a:lnTo>
                      <a:pt x="1304" y="670"/>
                    </a:lnTo>
                    <a:lnTo>
                      <a:pt x="1300" y="665"/>
                    </a:lnTo>
                    <a:lnTo>
                      <a:pt x="1300" y="664"/>
                    </a:lnTo>
                    <a:lnTo>
                      <a:pt x="1302" y="659"/>
                    </a:lnTo>
                    <a:lnTo>
                      <a:pt x="1302" y="654"/>
                    </a:lnTo>
                    <a:lnTo>
                      <a:pt x="1302" y="651"/>
                    </a:lnTo>
                    <a:lnTo>
                      <a:pt x="1300" y="646"/>
                    </a:lnTo>
                    <a:lnTo>
                      <a:pt x="1296" y="640"/>
                    </a:lnTo>
                    <a:lnTo>
                      <a:pt x="1291" y="634"/>
                    </a:lnTo>
                    <a:lnTo>
                      <a:pt x="1289" y="630"/>
                    </a:lnTo>
                    <a:lnTo>
                      <a:pt x="1288" y="624"/>
                    </a:lnTo>
                    <a:lnTo>
                      <a:pt x="1291" y="619"/>
                    </a:lnTo>
                    <a:lnTo>
                      <a:pt x="1294" y="618"/>
                    </a:lnTo>
                    <a:lnTo>
                      <a:pt x="1299" y="619"/>
                    </a:lnTo>
                    <a:lnTo>
                      <a:pt x="1304" y="621"/>
                    </a:lnTo>
                    <a:lnTo>
                      <a:pt x="1305" y="623"/>
                    </a:lnTo>
                    <a:lnTo>
                      <a:pt x="1307" y="630"/>
                    </a:lnTo>
                    <a:lnTo>
                      <a:pt x="1310" y="640"/>
                    </a:lnTo>
                    <a:lnTo>
                      <a:pt x="1313" y="648"/>
                    </a:lnTo>
                    <a:lnTo>
                      <a:pt x="1315" y="654"/>
                    </a:lnTo>
                    <a:lnTo>
                      <a:pt x="1316" y="657"/>
                    </a:lnTo>
                    <a:lnTo>
                      <a:pt x="1318" y="659"/>
                    </a:lnTo>
                    <a:lnTo>
                      <a:pt x="1321" y="662"/>
                    </a:lnTo>
                    <a:lnTo>
                      <a:pt x="1324" y="669"/>
                    </a:lnTo>
                    <a:lnTo>
                      <a:pt x="1327" y="670"/>
                    </a:lnTo>
                    <a:lnTo>
                      <a:pt x="1329" y="669"/>
                    </a:lnTo>
                    <a:lnTo>
                      <a:pt x="1331" y="661"/>
                    </a:lnTo>
                    <a:lnTo>
                      <a:pt x="1329" y="653"/>
                    </a:lnTo>
                    <a:lnTo>
                      <a:pt x="1329" y="646"/>
                    </a:lnTo>
                    <a:lnTo>
                      <a:pt x="1329" y="640"/>
                    </a:lnTo>
                    <a:lnTo>
                      <a:pt x="1332" y="637"/>
                    </a:lnTo>
                    <a:lnTo>
                      <a:pt x="1338" y="632"/>
                    </a:lnTo>
                    <a:lnTo>
                      <a:pt x="1340" y="632"/>
                    </a:lnTo>
                    <a:lnTo>
                      <a:pt x="1338" y="629"/>
                    </a:lnTo>
                    <a:lnTo>
                      <a:pt x="1335" y="626"/>
                    </a:lnTo>
                    <a:lnTo>
                      <a:pt x="1329" y="621"/>
                    </a:lnTo>
                    <a:lnTo>
                      <a:pt x="1324" y="618"/>
                    </a:lnTo>
                    <a:lnTo>
                      <a:pt x="1321" y="613"/>
                    </a:lnTo>
                    <a:lnTo>
                      <a:pt x="1323" y="607"/>
                    </a:lnTo>
                    <a:lnTo>
                      <a:pt x="1324" y="600"/>
                    </a:lnTo>
                    <a:lnTo>
                      <a:pt x="1326" y="594"/>
                    </a:lnTo>
                    <a:lnTo>
                      <a:pt x="1323" y="586"/>
                    </a:lnTo>
                    <a:lnTo>
                      <a:pt x="1321" y="581"/>
                    </a:lnTo>
                    <a:lnTo>
                      <a:pt x="1316" y="577"/>
                    </a:lnTo>
                    <a:lnTo>
                      <a:pt x="1310" y="570"/>
                    </a:lnTo>
                    <a:lnTo>
                      <a:pt x="1307" y="570"/>
                    </a:lnTo>
                    <a:lnTo>
                      <a:pt x="1302" y="572"/>
                    </a:lnTo>
                    <a:lnTo>
                      <a:pt x="1300" y="570"/>
                    </a:lnTo>
                    <a:lnTo>
                      <a:pt x="1299" y="567"/>
                    </a:lnTo>
                    <a:lnTo>
                      <a:pt x="1296" y="566"/>
                    </a:lnTo>
                    <a:lnTo>
                      <a:pt x="1291" y="564"/>
                    </a:lnTo>
                    <a:lnTo>
                      <a:pt x="1285" y="562"/>
                    </a:lnTo>
                    <a:lnTo>
                      <a:pt x="1280" y="566"/>
                    </a:lnTo>
                    <a:lnTo>
                      <a:pt x="1277" y="567"/>
                    </a:lnTo>
                    <a:lnTo>
                      <a:pt x="1270" y="566"/>
                    </a:lnTo>
                    <a:lnTo>
                      <a:pt x="1267" y="569"/>
                    </a:lnTo>
                    <a:lnTo>
                      <a:pt x="1266" y="575"/>
                    </a:lnTo>
                    <a:lnTo>
                      <a:pt x="1266" y="580"/>
                    </a:lnTo>
                    <a:lnTo>
                      <a:pt x="1262" y="585"/>
                    </a:lnTo>
                    <a:lnTo>
                      <a:pt x="1261" y="589"/>
                    </a:lnTo>
                    <a:lnTo>
                      <a:pt x="1261" y="591"/>
                    </a:lnTo>
                    <a:lnTo>
                      <a:pt x="1259" y="599"/>
                    </a:lnTo>
                    <a:lnTo>
                      <a:pt x="1256" y="605"/>
                    </a:lnTo>
                    <a:lnTo>
                      <a:pt x="1256" y="608"/>
                    </a:lnTo>
                    <a:lnTo>
                      <a:pt x="1253" y="611"/>
                    </a:lnTo>
                    <a:lnTo>
                      <a:pt x="1247" y="615"/>
                    </a:lnTo>
                    <a:lnTo>
                      <a:pt x="1242" y="616"/>
                    </a:lnTo>
                    <a:lnTo>
                      <a:pt x="1240" y="618"/>
                    </a:lnTo>
                    <a:lnTo>
                      <a:pt x="1237" y="619"/>
                    </a:lnTo>
                    <a:lnTo>
                      <a:pt x="1232" y="623"/>
                    </a:lnTo>
                    <a:lnTo>
                      <a:pt x="1228" y="621"/>
                    </a:lnTo>
                    <a:lnTo>
                      <a:pt x="1224" y="616"/>
                    </a:lnTo>
                    <a:lnTo>
                      <a:pt x="1220" y="608"/>
                    </a:lnTo>
                    <a:lnTo>
                      <a:pt x="1220" y="600"/>
                    </a:lnTo>
                    <a:lnTo>
                      <a:pt x="1221" y="594"/>
                    </a:lnTo>
                    <a:lnTo>
                      <a:pt x="1221" y="588"/>
                    </a:lnTo>
                    <a:lnTo>
                      <a:pt x="1218" y="586"/>
                    </a:lnTo>
                    <a:lnTo>
                      <a:pt x="1215" y="585"/>
                    </a:lnTo>
                    <a:lnTo>
                      <a:pt x="1213" y="580"/>
                    </a:lnTo>
                    <a:lnTo>
                      <a:pt x="1209" y="578"/>
                    </a:lnTo>
                    <a:lnTo>
                      <a:pt x="1201" y="577"/>
                    </a:lnTo>
                    <a:lnTo>
                      <a:pt x="1194" y="577"/>
                    </a:lnTo>
                    <a:lnTo>
                      <a:pt x="1188" y="580"/>
                    </a:lnTo>
                    <a:lnTo>
                      <a:pt x="1183" y="581"/>
                    </a:lnTo>
                    <a:lnTo>
                      <a:pt x="1182" y="581"/>
                    </a:lnTo>
                    <a:lnTo>
                      <a:pt x="1178" y="578"/>
                    </a:lnTo>
                    <a:lnTo>
                      <a:pt x="1177" y="577"/>
                    </a:lnTo>
                    <a:lnTo>
                      <a:pt x="1175" y="577"/>
                    </a:lnTo>
                    <a:lnTo>
                      <a:pt x="1171" y="577"/>
                    </a:lnTo>
                    <a:lnTo>
                      <a:pt x="1166" y="578"/>
                    </a:lnTo>
                    <a:lnTo>
                      <a:pt x="1164" y="578"/>
                    </a:lnTo>
                    <a:lnTo>
                      <a:pt x="1163" y="583"/>
                    </a:lnTo>
                    <a:lnTo>
                      <a:pt x="1161" y="583"/>
                    </a:lnTo>
                    <a:lnTo>
                      <a:pt x="1156" y="583"/>
                    </a:lnTo>
                    <a:lnTo>
                      <a:pt x="1155" y="585"/>
                    </a:lnTo>
                    <a:lnTo>
                      <a:pt x="1153" y="585"/>
                    </a:lnTo>
                    <a:lnTo>
                      <a:pt x="1150" y="586"/>
                    </a:lnTo>
                    <a:lnTo>
                      <a:pt x="1145" y="585"/>
                    </a:lnTo>
                    <a:lnTo>
                      <a:pt x="1142" y="583"/>
                    </a:lnTo>
                    <a:lnTo>
                      <a:pt x="1139" y="583"/>
                    </a:lnTo>
                    <a:lnTo>
                      <a:pt x="1133" y="588"/>
                    </a:lnTo>
                    <a:lnTo>
                      <a:pt x="1126" y="591"/>
                    </a:lnTo>
                    <a:lnTo>
                      <a:pt x="1123" y="591"/>
                    </a:lnTo>
                    <a:lnTo>
                      <a:pt x="1115" y="589"/>
                    </a:lnTo>
                    <a:lnTo>
                      <a:pt x="1109" y="586"/>
                    </a:lnTo>
                    <a:lnTo>
                      <a:pt x="1104" y="588"/>
                    </a:lnTo>
                    <a:lnTo>
                      <a:pt x="1098" y="594"/>
                    </a:lnTo>
                    <a:lnTo>
                      <a:pt x="1090" y="599"/>
                    </a:lnTo>
                    <a:lnTo>
                      <a:pt x="1083" y="599"/>
                    </a:lnTo>
                    <a:lnTo>
                      <a:pt x="1077" y="599"/>
                    </a:lnTo>
                    <a:lnTo>
                      <a:pt x="1071" y="599"/>
                    </a:lnTo>
                    <a:lnTo>
                      <a:pt x="1066" y="597"/>
                    </a:lnTo>
                    <a:lnTo>
                      <a:pt x="1061" y="594"/>
                    </a:lnTo>
                    <a:lnTo>
                      <a:pt x="1056" y="594"/>
                    </a:lnTo>
                    <a:lnTo>
                      <a:pt x="1055" y="594"/>
                    </a:lnTo>
                    <a:lnTo>
                      <a:pt x="1052" y="596"/>
                    </a:lnTo>
                    <a:lnTo>
                      <a:pt x="1047" y="599"/>
                    </a:lnTo>
                    <a:lnTo>
                      <a:pt x="1044" y="597"/>
                    </a:lnTo>
                    <a:lnTo>
                      <a:pt x="1041" y="592"/>
                    </a:lnTo>
                    <a:lnTo>
                      <a:pt x="1037" y="589"/>
                    </a:lnTo>
                    <a:lnTo>
                      <a:pt x="1036" y="586"/>
                    </a:lnTo>
                    <a:lnTo>
                      <a:pt x="1033" y="585"/>
                    </a:lnTo>
                    <a:lnTo>
                      <a:pt x="1023" y="589"/>
                    </a:lnTo>
                    <a:lnTo>
                      <a:pt x="1017" y="592"/>
                    </a:lnTo>
                    <a:lnTo>
                      <a:pt x="1014" y="589"/>
                    </a:lnTo>
                    <a:lnTo>
                      <a:pt x="1011" y="583"/>
                    </a:lnTo>
                    <a:lnTo>
                      <a:pt x="1006" y="575"/>
                    </a:lnTo>
                    <a:lnTo>
                      <a:pt x="1001" y="572"/>
                    </a:lnTo>
                    <a:lnTo>
                      <a:pt x="995" y="572"/>
                    </a:lnTo>
                    <a:lnTo>
                      <a:pt x="993" y="573"/>
                    </a:lnTo>
                    <a:lnTo>
                      <a:pt x="988" y="575"/>
                    </a:lnTo>
                    <a:lnTo>
                      <a:pt x="984" y="578"/>
                    </a:lnTo>
                    <a:lnTo>
                      <a:pt x="980" y="585"/>
                    </a:lnTo>
                    <a:lnTo>
                      <a:pt x="976" y="594"/>
                    </a:lnTo>
                    <a:lnTo>
                      <a:pt x="974" y="599"/>
                    </a:lnTo>
                    <a:lnTo>
                      <a:pt x="974" y="605"/>
                    </a:lnTo>
                    <a:lnTo>
                      <a:pt x="974" y="607"/>
                    </a:lnTo>
                    <a:lnTo>
                      <a:pt x="974" y="613"/>
                    </a:lnTo>
                    <a:lnTo>
                      <a:pt x="976" y="618"/>
                    </a:lnTo>
                    <a:lnTo>
                      <a:pt x="980" y="623"/>
                    </a:lnTo>
                    <a:lnTo>
                      <a:pt x="982" y="623"/>
                    </a:lnTo>
                    <a:lnTo>
                      <a:pt x="985" y="624"/>
                    </a:lnTo>
                    <a:lnTo>
                      <a:pt x="990" y="627"/>
                    </a:lnTo>
                    <a:lnTo>
                      <a:pt x="995" y="629"/>
                    </a:lnTo>
                    <a:lnTo>
                      <a:pt x="999" y="629"/>
                    </a:lnTo>
                    <a:lnTo>
                      <a:pt x="1006" y="630"/>
                    </a:lnTo>
                    <a:lnTo>
                      <a:pt x="1012" y="632"/>
                    </a:lnTo>
                    <a:lnTo>
                      <a:pt x="1017" y="634"/>
                    </a:lnTo>
                    <a:lnTo>
                      <a:pt x="1020" y="635"/>
                    </a:lnTo>
                    <a:lnTo>
                      <a:pt x="1020" y="638"/>
                    </a:lnTo>
                    <a:lnTo>
                      <a:pt x="1018" y="645"/>
                    </a:lnTo>
                    <a:lnTo>
                      <a:pt x="1015" y="653"/>
                    </a:lnTo>
                    <a:lnTo>
                      <a:pt x="1014" y="659"/>
                    </a:lnTo>
                    <a:lnTo>
                      <a:pt x="1012" y="664"/>
                    </a:lnTo>
                    <a:lnTo>
                      <a:pt x="1012" y="669"/>
                    </a:lnTo>
                    <a:lnTo>
                      <a:pt x="1011" y="675"/>
                    </a:lnTo>
                    <a:lnTo>
                      <a:pt x="1012" y="680"/>
                    </a:lnTo>
                    <a:lnTo>
                      <a:pt x="1012" y="686"/>
                    </a:lnTo>
                    <a:lnTo>
                      <a:pt x="1014" y="691"/>
                    </a:lnTo>
                    <a:lnTo>
                      <a:pt x="1014" y="692"/>
                    </a:lnTo>
                    <a:lnTo>
                      <a:pt x="1014" y="695"/>
                    </a:lnTo>
                    <a:lnTo>
                      <a:pt x="1014" y="697"/>
                    </a:lnTo>
                    <a:lnTo>
                      <a:pt x="1014" y="703"/>
                    </a:lnTo>
                    <a:lnTo>
                      <a:pt x="1014" y="705"/>
                    </a:lnTo>
                    <a:lnTo>
                      <a:pt x="1014" y="707"/>
                    </a:lnTo>
                    <a:lnTo>
                      <a:pt x="1011" y="708"/>
                    </a:lnTo>
                    <a:lnTo>
                      <a:pt x="1006" y="710"/>
                    </a:lnTo>
                    <a:lnTo>
                      <a:pt x="1001" y="711"/>
                    </a:lnTo>
                    <a:lnTo>
                      <a:pt x="999" y="711"/>
                    </a:lnTo>
                    <a:lnTo>
                      <a:pt x="996" y="710"/>
                    </a:lnTo>
                    <a:lnTo>
                      <a:pt x="995" y="708"/>
                    </a:lnTo>
                    <a:lnTo>
                      <a:pt x="993" y="707"/>
                    </a:lnTo>
                    <a:lnTo>
                      <a:pt x="992" y="705"/>
                    </a:lnTo>
                    <a:lnTo>
                      <a:pt x="990" y="703"/>
                    </a:lnTo>
                    <a:lnTo>
                      <a:pt x="990" y="702"/>
                    </a:lnTo>
                    <a:lnTo>
                      <a:pt x="990" y="699"/>
                    </a:lnTo>
                    <a:lnTo>
                      <a:pt x="988" y="697"/>
                    </a:lnTo>
                    <a:lnTo>
                      <a:pt x="987" y="694"/>
                    </a:lnTo>
                    <a:lnTo>
                      <a:pt x="985" y="692"/>
                    </a:lnTo>
                    <a:lnTo>
                      <a:pt x="984" y="692"/>
                    </a:lnTo>
                    <a:lnTo>
                      <a:pt x="982" y="691"/>
                    </a:lnTo>
                    <a:lnTo>
                      <a:pt x="977" y="692"/>
                    </a:lnTo>
                    <a:lnTo>
                      <a:pt x="973" y="694"/>
                    </a:lnTo>
                    <a:lnTo>
                      <a:pt x="969" y="695"/>
                    </a:lnTo>
                    <a:lnTo>
                      <a:pt x="965" y="695"/>
                    </a:lnTo>
                    <a:lnTo>
                      <a:pt x="963" y="695"/>
                    </a:lnTo>
                    <a:lnTo>
                      <a:pt x="960" y="695"/>
                    </a:lnTo>
                    <a:lnTo>
                      <a:pt x="958" y="697"/>
                    </a:lnTo>
                    <a:lnTo>
                      <a:pt x="957" y="697"/>
                    </a:lnTo>
                    <a:lnTo>
                      <a:pt x="955" y="699"/>
                    </a:lnTo>
                    <a:lnTo>
                      <a:pt x="954" y="699"/>
                    </a:lnTo>
                    <a:lnTo>
                      <a:pt x="952" y="700"/>
                    </a:lnTo>
                    <a:lnTo>
                      <a:pt x="952" y="703"/>
                    </a:lnTo>
                    <a:lnTo>
                      <a:pt x="952" y="707"/>
                    </a:lnTo>
                    <a:lnTo>
                      <a:pt x="955" y="710"/>
                    </a:lnTo>
                    <a:lnTo>
                      <a:pt x="960" y="713"/>
                    </a:lnTo>
                    <a:lnTo>
                      <a:pt x="963" y="716"/>
                    </a:lnTo>
                    <a:lnTo>
                      <a:pt x="966" y="719"/>
                    </a:lnTo>
                    <a:lnTo>
                      <a:pt x="965" y="726"/>
                    </a:lnTo>
                    <a:lnTo>
                      <a:pt x="963" y="732"/>
                    </a:lnTo>
                    <a:lnTo>
                      <a:pt x="958" y="738"/>
                    </a:lnTo>
                    <a:lnTo>
                      <a:pt x="957" y="746"/>
                    </a:lnTo>
                    <a:lnTo>
                      <a:pt x="957" y="754"/>
                    </a:lnTo>
                    <a:lnTo>
                      <a:pt x="957" y="764"/>
                    </a:lnTo>
                    <a:lnTo>
                      <a:pt x="955" y="771"/>
                    </a:lnTo>
                    <a:lnTo>
                      <a:pt x="955" y="781"/>
                    </a:lnTo>
                    <a:lnTo>
                      <a:pt x="955" y="789"/>
                    </a:lnTo>
                    <a:lnTo>
                      <a:pt x="957" y="797"/>
                    </a:lnTo>
                    <a:lnTo>
                      <a:pt x="961" y="803"/>
                    </a:lnTo>
                    <a:lnTo>
                      <a:pt x="963" y="810"/>
                    </a:lnTo>
                    <a:lnTo>
                      <a:pt x="966" y="817"/>
                    </a:lnTo>
                    <a:lnTo>
                      <a:pt x="968" y="824"/>
                    </a:lnTo>
                    <a:lnTo>
                      <a:pt x="966" y="829"/>
                    </a:lnTo>
                    <a:lnTo>
                      <a:pt x="963" y="835"/>
                    </a:lnTo>
                    <a:lnTo>
                      <a:pt x="957" y="844"/>
                    </a:lnTo>
                    <a:lnTo>
                      <a:pt x="955" y="854"/>
                    </a:lnTo>
                    <a:lnTo>
                      <a:pt x="955" y="862"/>
                    </a:lnTo>
                    <a:lnTo>
                      <a:pt x="952" y="871"/>
                    </a:lnTo>
                    <a:lnTo>
                      <a:pt x="949" y="878"/>
                    </a:lnTo>
                    <a:lnTo>
                      <a:pt x="942" y="882"/>
                    </a:lnTo>
                    <a:lnTo>
                      <a:pt x="938" y="886"/>
                    </a:lnTo>
                    <a:lnTo>
                      <a:pt x="935" y="886"/>
                    </a:lnTo>
                    <a:lnTo>
                      <a:pt x="928" y="889"/>
                    </a:lnTo>
                    <a:lnTo>
                      <a:pt x="922" y="890"/>
                    </a:lnTo>
                    <a:lnTo>
                      <a:pt x="915" y="893"/>
                    </a:lnTo>
                    <a:lnTo>
                      <a:pt x="908" y="897"/>
                    </a:lnTo>
                    <a:lnTo>
                      <a:pt x="900" y="903"/>
                    </a:lnTo>
                    <a:lnTo>
                      <a:pt x="896" y="906"/>
                    </a:lnTo>
                    <a:lnTo>
                      <a:pt x="892" y="911"/>
                    </a:lnTo>
                    <a:lnTo>
                      <a:pt x="884" y="917"/>
                    </a:lnTo>
                    <a:lnTo>
                      <a:pt x="876" y="922"/>
                    </a:lnTo>
                    <a:lnTo>
                      <a:pt x="871" y="922"/>
                    </a:lnTo>
                    <a:lnTo>
                      <a:pt x="870" y="922"/>
                    </a:lnTo>
                    <a:lnTo>
                      <a:pt x="858" y="919"/>
                    </a:lnTo>
                    <a:lnTo>
                      <a:pt x="854" y="919"/>
                    </a:lnTo>
                    <a:lnTo>
                      <a:pt x="851" y="919"/>
                    </a:lnTo>
                    <a:lnTo>
                      <a:pt x="839" y="920"/>
                    </a:lnTo>
                    <a:lnTo>
                      <a:pt x="828" y="922"/>
                    </a:lnTo>
                    <a:lnTo>
                      <a:pt x="819" y="924"/>
                    </a:lnTo>
                    <a:lnTo>
                      <a:pt x="809" y="924"/>
                    </a:lnTo>
                    <a:lnTo>
                      <a:pt x="800" y="922"/>
                    </a:lnTo>
                    <a:lnTo>
                      <a:pt x="798" y="922"/>
                    </a:lnTo>
                    <a:lnTo>
                      <a:pt x="789" y="919"/>
                    </a:lnTo>
                    <a:lnTo>
                      <a:pt x="778" y="914"/>
                    </a:lnTo>
                    <a:lnTo>
                      <a:pt x="776" y="914"/>
                    </a:lnTo>
                    <a:lnTo>
                      <a:pt x="770" y="911"/>
                    </a:lnTo>
                    <a:lnTo>
                      <a:pt x="762" y="905"/>
                    </a:lnTo>
                    <a:lnTo>
                      <a:pt x="757" y="901"/>
                    </a:lnTo>
                    <a:lnTo>
                      <a:pt x="756" y="900"/>
                    </a:lnTo>
                    <a:lnTo>
                      <a:pt x="749" y="897"/>
                    </a:lnTo>
                    <a:lnTo>
                      <a:pt x="743" y="892"/>
                    </a:lnTo>
                    <a:lnTo>
                      <a:pt x="737" y="887"/>
                    </a:lnTo>
                    <a:lnTo>
                      <a:pt x="733" y="879"/>
                    </a:lnTo>
                    <a:lnTo>
                      <a:pt x="732" y="878"/>
                    </a:lnTo>
                    <a:lnTo>
                      <a:pt x="729" y="878"/>
                    </a:lnTo>
                    <a:lnTo>
                      <a:pt x="725" y="879"/>
                    </a:lnTo>
                    <a:lnTo>
                      <a:pt x="724" y="881"/>
                    </a:lnTo>
                    <a:lnTo>
                      <a:pt x="721" y="881"/>
                    </a:lnTo>
                    <a:lnTo>
                      <a:pt x="714" y="878"/>
                    </a:lnTo>
                    <a:lnTo>
                      <a:pt x="705" y="873"/>
                    </a:lnTo>
                    <a:lnTo>
                      <a:pt x="694" y="870"/>
                    </a:lnTo>
                    <a:lnTo>
                      <a:pt x="689" y="867"/>
                    </a:lnTo>
                    <a:lnTo>
                      <a:pt x="687" y="867"/>
                    </a:lnTo>
                    <a:lnTo>
                      <a:pt x="684" y="867"/>
                    </a:lnTo>
                    <a:lnTo>
                      <a:pt x="679" y="867"/>
                    </a:lnTo>
                    <a:lnTo>
                      <a:pt x="672" y="868"/>
                    </a:lnTo>
                    <a:lnTo>
                      <a:pt x="665" y="870"/>
                    </a:lnTo>
                    <a:lnTo>
                      <a:pt x="656" y="867"/>
                    </a:lnTo>
                    <a:lnTo>
                      <a:pt x="653" y="862"/>
                    </a:lnTo>
                    <a:lnTo>
                      <a:pt x="648" y="859"/>
                    </a:lnTo>
                    <a:lnTo>
                      <a:pt x="641" y="857"/>
                    </a:lnTo>
                    <a:lnTo>
                      <a:pt x="635" y="857"/>
                    </a:lnTo>
                    <a:lnTo>
                      <a:pt x="630" y="854"/>
                    </a:lnTo>
                    <a:lnTo>
                      <a:pt x="629" y="852"/>
                    </a:lnTo>
                    <a:lnTo>
                      <a:pt x="624" y="851"/>
                    </a:lnTo>
                    <a:lnTo>
                      <a:pt x="618" y="849"/>
                    </a:lnTo>
                    <a:lnTo>
                      <a:pt x="613" y="848"/>
                    </a:lnTo>
                    <a:lnTo>
                      <a:pt x="610" y="846"/>
                    </a:lnTo>
                    <a:lnTo>
                      <a:pt x="607" y="843"/>
                    </a:lnTo>
                    <a:lnTo>
                      <a:pt x="605" y="841"/>
                    </a:lnTo>
                    <a:lnTo>
                      <a:pt x="599" y="835"/>
                    </a:lnTo>
                    <a:lnTo>
                      <a:pt x="592" y="830"/>
                    </a:lnTo>
                    <a:lnTo>
                      <a:pt x="584" y="825"/>
                    </a:lnTo>
                    <a:lnTo>
                      <a:pt x="572" y="827"/>
                    </a:lnTo>
                    <a:lnTo>
                      <a:pt x="565" y="825"/>
                    </a:lnTo>
                    <a:lnTo>
                      <a:pt x="559" y="824"/>
                    </a:lnTo>
                    <a:lnTo>
                      <a:pt x="558" y="821"/>
                    </a:lnTo>
                    <a:lnTo>
                      <a:pt x="556" y="816"/>
                    </a:lnTo>
                    <a:lnTo>
                      <a:pt x="558" y="810"/>
                    </a:lnTo>
                    <a:lnTo>
                      <a:pt x="561" y="803"/>
                    </a:lnTo>
                    <a:lnTo>
                      <a:pt x="562" y="797"/>
                    </a:lnTo>
                    <a:lnTo>
                      <a:pt x="559" y="792"/>
                    </a:lnTo>
                    <a:lnTo>
                      <a:pt x="553" y="786"/>
                    </a:lnTo>
                    <a:lnTo>
                      <a:pt x="551" y="784"/>
                    </a:lnTo>
                    <a:lnTo>
                      <a:pt x="550" y="781"/>
                    </a:lnTo>
                    <a:lnTo>
                      <a:pt x="550" y="778"/>
                    </a:lnTo>
                    <a:lnTo>
                      <a:pt x="546" y="770"/>
                    </a:lnTo>
                    <a:lnTo>
                      <a:pt x="543" y="768"/>
                    </a:lnTo>
                    <a:lnTo>
                      <a:pt x="542" y="768"/>
                    </a:lnTo>
                    <a:lnTo>
                      <a:pt x="540" y="767"/>
                    </a:lnTo>
                    <a:lnTo>
                      <a:pt x="535" y="765"/>
                    </a:lnTo>
                    <a:lnTo>
                      <a:pt x="529" y="762"/>
                    </a:lnTo>
                    <a:lnTo>
                      <a:pt x="524" y="759"/>
                    </a:lnTo>
                    <a:lnTo>
                      <a:pt x="516" y="752"/>
                    </a:lnTo>
                    <a:lnTo>
                      <a:pt x="510" y="748"/>
                    </a:lnTo>
                    <a:lnTo>
                      <a:pt x="505" y="746"/>
                    </a:lnTo>
                    <a:lnTo>
                      <a:pt x="502" y="743"/>
                    </a:lnTo>
                    <a:lnTo>
                      <a:pt x="504" y="741"/>
                    </a:lnTo>
                    <a:lnTo>
                      <a:pt x="505" y="737"/>
                    </a:lnTo>
                    <a:lnTo>
                      <a:pt x="510" y="732"/>
                    </a:lnTo>
                    <a:lnTo>
                      <a:pt x="513" y="727"/>
                    </a:lnTo>
                    <a:lnTo>
                      <a:pt x="516" y="722"/>
                    </a:lnTo>
                    <a:lnTo>
                      <a:pt x="518" y="718"/>
                    </a:lnTo>
                    <a:lnTo>
                      <a:pt x="519" y="711"/>
                    </a:lnTo>
                    <a:lnTo>
                      <a:pt x="516" y="705"/>
                    </a:lnTo>
                    <a:lnTo>
                      <a:pt x="515" y="699"/>
                    </a:lnTo>
                    <a:lnTo>
                      <a:pt x="515" y="695"/>
                    </a:lnTo>
                    <a:lnTo>
                      <a:pt x="512" y="684"/>
                    </a:lnTo>
                    <a:lnTo>
                      <a:pt x="510" y="680"/>
                    </a:lnTo>
                    <a:lnTo>
                      <a:pt x="508" y="678"/>
                    </a:lnTo>
                    <a:lnTo>
                      <a:pt x="505" y="673"/>
                    </a:lnTo>
                    <a:lnTo>
                      <a:pt x="499" y="673"/>
                    </a:lnTo>
                    <a:lnTo>
                      <a:pt x="493" y="672"/>
                    </a:lnTo>
                    <a:lnTo>
                      <a:pt x="491" y="673"/>
                    </a:lnTo>
                    <a:lnTo>
                      <a:pt x="488" y="673"/>
                    </a:lnTo>
                    <a:lnTo>
                      <a:pt x="483" y="673"/>
                    </a:lnTo>
                    <a:lnTo>
                      <a:pt x="478" y="673"/>
                    </a:lnTo>
                    <a:lnTo>
                      <a:pt x="475" y="676"/>
                    </a:lnTo>
                    <a:lnTo>
                      <a:pt x="472" y="681"/>
                    </a:lnTo>
                    <a:lnTo>
                      <a:pt x="467" y="684"/>
                    </a:lnTo>
                    <a:lnTo>
                      <a:pt x="467" y="688"/>
                    </a:lnTo>
                    <a:lnTo>
                      <a:pt x="466" y="689"/>
                    </a:lnTo>
                    <a:lnTo>
                      <a:pt x="467" y="694"/>
                    </a:lnTo>
                    <a:lnTo>
                      <a:pt x="470" y="699"/>
                    </a:lnTo>
                    <a:lnTo>
                      <a:pt x="478" y="705"/>
                    </a:lnTo>
                    <a:lnTo>
                      <a:pt x="480" y="707"/>
                    </a:lnTo>
                    <a:lnTo>
                      <a:pt x="483" y="710"/>
                    </a:lnTo>
                    <a:lnTo>
                      <a:pt x="486" y="711"/>
                    </a:lnTo>
                    <a:lnTo>
                      <a:pt x="488" y="713"/>
                    </a:lnTo>
                    <a:lnTo>
                      <a:pt x="488" y="716"/>
                    </a:lnTo>
                    <a:lnTo>
                      <a:pt x="486" y="719"/>
                    </a:lnTo>
                    <a:lnTo>
                      <a:pt x="483" y="722"/>
                    </a:lnTo>
                    <a:lnTo>
                      <a:pt x="481" y="726"/>
                    </a:lnTo>
                    <a:lnTo>
                      <a:pt x="477" y="730"/>
                    </a:lnTo>
                    <a:lnTo>
                      <a:pt x="470" y="735"/>
                    </a:lnTo>
                    <a:lnTo>
                      <a:pt x="464" y="738"/>
                    </a:lnTo>
                    <a:lnTo>
                      <a:pt x="461" y="737"/>
                    </a:lnTo>
                    <a:lnTo>
                      <a:pt x="458" y="737"/>
                    </a:lnTo>
                    <a:lnTo>
                      <a:pt x="453" y="738"/>
                    </a:lnTo>
                    <a:lnTo>
                      <a:pt x="453" y="740"/>
                    </a:lnTo>
                    <a:lnTo>
                      <a:pt x="450" y="741"/>
                    </a:lnTo>
                    <a:lnTo>
                      <a:pt x="442" y="746"/>
                    </a:lnTo>
                    <a:lnTo>
                      <a:pt x="436" y="751"/>
                    </a:lnTo>
                    <a:lnTo>
                      <a:pt x="432" y="751"/>
                    </a:lnTo>
                    <a:lnTo>
                      <a:pt x="428" y="752"/>
                    </a:lnTo>
                    <a:lnTo>
                      <a:pt x="421" y="751"/>
                    </a:lnTo>
                    <a:lnTo>
                      <a:pt x="417" y="749"/>
                    </a:lnTo>
                    <a:lnTo>
                      <a:pt x="413" y="746"/>
                    </a:lnTo>
                    <a:lnTo>
                      <a:pt x="412" y="740"/>
                    </a:lnTo>
                    <a:lnTo>
                      <a:pt x="410" y="735"/>
                    </a:lnTo>
                    <a:lnTo>
                      <a:pt x="410" y="732"/>
                    </a:lnTo>
                    <a:lnTo>
                      <a:pt x="407" y="727"/>
                    </a:lnTo>
                    <a:lnTo>
                      <a:pt x="405" y="727"/>
                    </a:lnTo>
                    <a:lnTo>
                      <a:pt x="404" y="727"/>
                    </a:lnTo>
                    <a:lnTo>
                      <a:pt x="402" y="730"/>
                    </a:lnTo>
                    <a:lnTo>
                      <a:pt x="399" y="732"/>
                    </a:lnTo>
                    <a:lnTo>
                      <a:pt x="398" y="730"/>
                    </a:lnTo>
                    <a:lnTo>
                      <a:pt x="396" y="732"/>
                    </a:lnTo>
                    <a:lnTo>
                      <a:pt x="393" y="733"/>
                    </a:lnTo>
                    <a:lnTo>
                      <a:pt x="390" y="733"/>
                    </a:lnTo>
                    <a:lnTo>
                      <a:pt x="385" y="732"/>
                    </a:lnTo>
                    <a:lnTo>
                      <a:pt x="382" y="730"/>
                    </a:lnTo>
                    <a:lnTo>
                      <a:pt x="380" y="732"/>
                    </a:lnTo>
                    <a:lnTo>
                      <a:pt x="377" y="737"/>
                    </a:lnTo>
                    <a:lnTo>
                      <a:pt x="374" y="741"/>
                    </a:lnTo>
                    <a:lnTo>
                      <a:pt x="372" y="746"/>
                    </a:lnTo>
                    <a:lnTo>
                      <a:pt x="369" y="746"/>
                    </a:lnTo>
                    <a:lnTo>
                      <a:pt x="363" y="745"/>
                    </a:lnTo>
                    <a:lnTo>
                      <a:pt x="360" y="741"/>
                    </a:lnTo>
                    <a:lnTo>
                      <a:pt x="356" y="745"/>
                    </a:lnTo>
                    <a:lnTo>
                      <a:pt x="355" y="748"/>
                    </a:lnTo>
                    <a:lnTo>
                      <a:pt x="355" y="754"/>
                    </a:lnTo>
                    <a:lnTo>
                      <a:pt x="355" y="760"/>
                    </a:lnTo>
                    <a:lnTo>
                      <a:pt x="355" y="762"/>
                    </a:lnTo>
                    <a:lnTo>
                      <a:pt x="350" y="765"/>
                    </a:lnTo>
                    <a:lnTo>
                      <a:pt x="348" y="765"/>
                    </a:lnTo>
                    <a:lnTo>
                      <a:pt x="345" y="767"/>
                    </a:lnTo>
                    <a:lnTo>
                      <a:pt x="340" y="768"/>
                    </a:lnTo>
                    <a:lnTo>
                      <a:pt x="337" y="775"/>
                    </a:lnTo>
                    <a:lnTo>
                      <a:pt x="331" y="783"/>
                    </a:lnTo>
                    <a:lnTo>
                      <a:pt x="326" y="784"/>
                    </a:lnTo>
                    <a:lnTo>
                      <a:pt x="326" y="786"/>
                    </a:lnTo>
                    <a:lnTo>
                      <a:pt x="325" y="787"/>
                    </a:lnTo>
                    <a:lnTo>
                      <a:pt x="325" y="794"/>
                    </a:lnTo>
                    <a:lnTo>
                      <a:pt x="326" y="800"/>
                    </a:lnTo>
                    <a:lnTo>
                      <a:pt x="328" y="810"/>
                    </a:lnTo>
                    <a:lnTo>
                      <a:pt x="328" y="817"/>
                    </a:lnTo>
                    <a:lnTo>
                      <a:pt x="329" y="829"/>
                    </a:lnTo>
                    <a:lnTo>
                      <a:pt x="331" y="829"/>
                    </a:lnTo>
                    <a:lnTo>
                      <a:pt x="331" y="832"/>
                    </a:lnTo>
                    <a:lnTo>
                      <a:pt x="333" y="836"/>
                    </a:lnTo>
                    <a:lnTo>
                      <a:pt x="331" y="840"/>
                    </a:lnTo>
                    <a:lnTo>
                      <a:pt x="326" y="844"/>
                    </a:lnTo>
                    <a:lnTo>
                      <a:pt x="321" y="846"/>
                    </a:lnTo>
                    <a:lnTo>
                      <a:pt x="317" y="851"/>
                    </a:lnTo>
                    <a:lnTo>
                      <a:pt x="310" y="855"/>
                    </a:lnTo>
                    <a:lnTo>
                      <a:pt x="309" y="854"/>
                    </a:lnTo>
                    <a:lnTo>
                      <a:pt x="302" y="851"/>
                    </a:lnTo>
                    <a:lnTo>
                      <a:pt x="295" y="851"/>
                    </a:lnTo>
                    <a:lnTo>
                      <a:pt x="288" y="851"/>
                    </a:lnTo>
                    <a:lnTo>
                      <a:pt x="285" y="848"/>
                    </a:lnTo>
                    <a:lnTo>
                      <a:pt x="283" y="844"/>
                    </a:lnTo>
                    <a:lnTo>
                      <a:pt x="287" y="841"/>
                    </a:lnTo>
                    <a:lnTo>
                      <a:pt x="288" y="838"/>
                    </a:lnTo>
                    <a:lnTo>
                      <a:pt x="293" y="836"/>
                    </a:lnTo>
                    <a:lnTo>
                      <a:pt x="296" y="832"/>
                    </a:lnTo>
                    <a:lnTo>
                      <a:pt x="296" y="829"/>
                    </a:lnTo>
                    <a:lnTo>
                      <a:pt x="296" y="827"/>
                    </a:lnTo>
                    <a:lnTo>
                      <a:pt x="293" y="825"/>
                    </a:lnTo>
                    <a:lnTo>
                      <a:pt x="290" y="824"/>
                    </a:lnTo>
                    <a:lnTo>
                      <a:pt x="283" y="822"/>
                    </a:lnTo>
                    <a:lnTo>
                      <a:pt x="277" y="821"/>
                    </a:lnTo>
                    <a:lnTo>
                      <a:pt x="271" y="817"/>
                    </a:lnTo>
                    <a:lnTo>
                      <a:pt x="264" y="814"/>
                    </a:lnTo>
                    <a:lnTo>
                      <a:pt x="260" y="811"/>
                    </a:lnTo>
                    <a:lnTo>
                      <a:pt x="258" y="808"/>
                    </a:lnTo>
                    <a:lnTo>
                      <a:pt x="258" y="803"/>
                    </a:lnTo>
                    <a:lnTo>
                      <a:pt x="257" y="798"/>
                    </a:lnTo>
                    <a:lnTo>
                      <a:pt x="255" y="792"/>
                    </a:lnTo>
                    <a:lnTo>
                      <a:pt x="253" y="787"/>
                    </a:lnTo>
                    <a:lnTo>
                      <a:pt x="250" y="784"/>
                    </a:lnTo>
                    <a:lnTo>
                      <a:pt x="245" y="779"/>
                    </a:lnTo>
                    <a:lnTo>
                      <a:pt x="241" y="775"/>
                    </a:lnTo>
                    <a:lnTo>
                      <a:pt x="238" y="771"/>
                    </a:lnTo>
                    <a:lnTo>
                      <a:pt x="231" y="770"/>
                    </a:lnTo>
                    <a:lnTo>
                      <a:pt x="226" y="767"/>
                    </a:lnTo>
                    <a:lnTo>
                      <a:pt x="223" y="760"/>
                    </a:lnTo>
                    <a:lnTo>
                      <a:pt x="220" y="754"/>
                    </a:lnTo>
                    <a:lnTo>
                      <a:pt x="219" y="751"/>
                    </a:lnTo>
                    <a:lnTo>
                      <a:pt x="217" y="749"/>
                    </a:lnTo>
                    <a:lnTo>
                      <a:pt x="215" y="745"/>
                    </a:lnTo>
                    <a:lnTo>
                      <a:pt x="215" y="743"/>
                    </a:lnTo>
                    <a:lnTo>
                      <a:pt x="215" y="738"/>
                    </a:lnTo>
                    <a:lnTo>
                      <a:pt x="217" y="730"/>
                    </a:lnTo>
                    <a:lnTo>
                      <a:pt x="219" y="724"/>
                    </a:lnTo>
                    <a:lnTo>
                      <a:pt x="222" y="719"/>
                    </a:lnTo>
                    <a:lnTo>
                      <a:pt x="225" y="713"/>
                    </a:lnTo>
                    <a:lnTo>
                      <a:pt x="228" y="710"/>
                    </a:lnTo>
                    <a:lnTo>
                      <a:pt x="230" y="708"/>
                    </a:lnTo>
                    <a:lnTo>
                      <a:pt x="233" y="702"/>
                    </a:lnTo>
                    <a:lnTo>
                      <a:pt x="236" y="699"/>
                    </a:lnTo>
                    <a:lnTo>
                      <a:pt x="238" y="699"/>
                    </a:lnTo>
                    <a:lnTo>
                      <a:pt x="239" y="697"/>
                    </a:lnTo>
                    <a:lnTo>
                      <a:pt x="241" y="695"/>
                    </a:lnTo>
                    <a:lnTo>
                      <a:pt x="242" y="692"/>
                    </a:lnTo>
                    <a:lnTo>
                      <a:pt x="239" y="689"/>
                    </a:lnTo>
                    <a:lnTo>
                      <a:pt x="234" y="686"/>
                    </a:lnTo>
                    <a:lnTo>
                      <a:pt x="228" y="686"/>
                    </a:lnTo>
                    <a:lnTo>
                      <a:pt x="223" y="684"/>
                    </a:lnTo>
                    <a:lnTo>
                      <a:pt x="222" y="681"/>
                    </a:lnTo>
                    <a:lnTo>
                      <a:pt x="223" y="676"/>
                    </a:lnTo>
                    <a:lnTo>
                      <a:pt x="228" y="675"/>
                    </a:lnTo>
                    <a:lnTo>
                      <a:pt x="234" y="673"/>
                    </a:lnTo>
                    <a:lnTo>
                      <a:pt x="239" y="670"/>
                    </a:lnTo>
                    <a:lnTo>
                      <a:pt x="241" y="667"/>
                    </a:lnTo>
                    <a:lnTo>
                      <a:pt x="245" y="665"/>
                    </a:lnTo>
                    <a:lnTo>
                      <a:pt x="250" y="664"/>
                    </a:lnTo>
                    <a:lnTo>
                      <a:pt x="253" y="662"/>
                    </a:lnTo>
                    <a:lnTo>
                      <a:pt x="258" y="661"/>
                    </a:lnTo>
                    <a:lnTo>
                      <a:pt x="264" y="657"/>
                    </a:lnTo>
                    <a:lnTo>
                      <a:pt x="269" y="656"/>
                    </a:lnTo>
                    <a:lnTo>
                      <a:pt x="277" y="654"/>
                    </a:lnTo>
                    <a:lnTo>
                      <a:pt x="280" y="651"/>
                    </a:lnTo>
                    <a:lnTo>
                      <a:pt x="280" y="646"/>
                    </a:lnTo>
                    <a:lnTo>
                      <a:pt x="274" y="645"/>
                    </a:lnTo>
                    <a:lnTo>
                      <a:pt x="268" y="643"/>
                    </a:lnTo>
                    <a:lnTo>
                      <a:pt x="260" y="643"/>
                    </a:lnTo>
                    <a:lnTo>
                      <a:pt x="253" y="642"/>
                    </a:lnTo>
                    <a:lnTo>
                      <a:pt x="247" y="640"/>
                    </a:lnTo>
                    <a:lnTo>
                      <a:pt x="242" y="640"/>
                    </a:lnTo>
                    <a:lnTo>
                      <a:pt x="241" y="640"/>
                    </a:lnTo>
                    <a:lnTo>
                      <a:pt x="234" y="640"/>
                    </a:lnTo>
                    <a:lnTo>
                      <a:pt x="228" y="643"/>
                    </a:lnTo>
                    <a:lnTo>
                      <a:pt x="226" y="643"/>
                    </a:lnTo>
                    <a:lnTo>
                      <a:pt x="225" y="643"/>
                    </a:lnTo>
                    <a:lnTo>
                      <a:pt x="220" y="645"/>
                    </a:lnTo>
                    <a:lnTo>
                      <a:pt x="214" y="645"/>
                    </a:lnTo>
                    <a:lnTo>
                      <a:pt x="203" y="645"/>
                    </a:lnTo>
                    <a:lnTo>
                      <a:pt x="198" y="638"/>
                    </a:lnTo>
                    <a:lnTo>
                      <a:pt x="195" y="632"/>
                    </a:lnTo>
                    <a:lnTo>
                      <a:pt x="193" y="626"/>
                    </a:lnTo>
                    <a:lnTo>
                      <a:pt x="188" y="619"/>
                    </a:lnTo>
                    <a:lnTo>
                      <a:pt x="182" y="618"/>
                    </a:lnTo>
                    <a:lnTo>
                      <a:pt x="176" y="618"/>
                    </a:lnTo>
                    <a:lnTo>
                      <a:pt x="168" y="616"/>
                    </a:lnTo>
                    <a:lnTo>
                      <a:pt x="161" y="615"/>
                    </a:lnTo>
                    <a:lnTo>
                      <a:pt x="158" y="613"/>
                    </a:lnTo>
                    <a:lnTo>
                      <a:pt x="155" y="610"/>
                    </a:lnTo>
                    <a:lnTo>
                      <a:pt x="152" y="605"/>
                    </a:lnTo>
                    <a:lnTo>
                      <a:pt x="149" y="599"/>
                    </a:lnTo>
                    <a:lnTo>
                      <a:pt x="146" y="596"/>
                    </a:lnTo>
                    <a:lnTo>
                      <a:pt x="142" y="591"/>
                    </a:lnTo>
                    <a:lnTo>
                      <a:pt x="139" y="588"/>
                    </a:lnTo>
                    <a:lnTo>
                      <a:pt x="133" y="583"/>
                    </a:lnTo>
                    <a:lnTo>
                      <a:pt x="128" y="580"/>
                    </a:lnTo>
                    <a:lnTo>
                      <a:pt x="122" y="578"/>
                    </a:lnTo>
                    <a:lnTo>
                      <a:pt x="117" y="577"/>
                    </a:lnTo>
                    <a:lnTo>
                      <a:pt x="111" y="573"/>
                    </a:lnTo>
                    <a:lnTo>
                      <a:pt x="104" y="570"/>
                    </a:lnTo>
                    <a:lnTo>
                      <a:pt x="100" y="566"/>
                    </a:lnTo>
                    <a:lnTo>
                      <a:pt x="95" y="562"/>
                    </a:lnTo>
                    <a:lnTo>
                      <a:pt x="90" y="559"/>
                    </a:lnTo>
                    <a:lnTo>
                      <a:pt x="87" y="556"/>
                    </a:lnTo>
                    <a:lnTo>
                      <a:pt x="81" y="551"/>
                    </a:lnTo>
                    <a:lnTo>
                      <a:pt x="78" y="548"/>
                    </a:lnTo>
                    <a:lnTo>
                      <a:pt x="74" y="543"/>
                    </a:lnTo>
                    <a:lnTo>
                      <a:pt x="71" y="539"/>
                    </a:lnTo>
                    <a:lnTo>
                      <a:pt x="66" y="534"/>
                    </a:lnTo>
                    <a:lnTo>
                      <a:pt x="60" y="529"/>
                    </a:lnTo>
                    <a:lnTo>
                      <a:pt x="52" y="524"/>
                    </a:lnTo>
                    <a:lnTo>
                      <a:pt x="46" y="523"/>
                    </a:lnTo>
                    <a:lnTo>
                      <a:pt x="40" y="520"/>
                    </a:lnTo>
                    <a:lnTo>
                      <a:pt x="33" y="518"/>
                    </a:lnTo>
                    <a:lnTo>
                      <a:pt x="27" y="521"/>
                    </a:lnTo>
                    <a:lnTo>
                      <a:pt x="21" y="524"/>
                    </a:lnTo>
                    <a:lnTo>
                      <a:pt x="19" y="527"/>
                    </a:lnTo>
                    <a:lnTo>
                      <a:pt x="17" y="531"/>
                    </a:lnTo>
                    <a:lnTo>
                      <a:pt x="13" y="534"/>
                    </a:lnTo>
                    <a:lnTo>
                      <a:pt x="9" y="534"/>
                    </a:lnTo>
                    <a:lnTo>
                      <a:pt x="6" y="534"/>
                    </a:lnTo>
                    <a:lnTo>
                      <a:pt x="3" y="529"/>
                    </a:lnTo>
                    <a:lnTo>
                      <a:pt x="2" y="526"/>
                    </a:lnTo>
                    <a:lnTo>
                      <a:pt x="0" y="526"/>
                    </a:lnTo>
                    <a:lnTo>
                      <a:pt x="0" y="524"/>
                    </a:lnTo>
                    <a:lnTo>
                      <a:pt x="3" y="524"/>
                    </a:lnTo>
                    <a:lnTo>
                      <a:pt x="3" y="523"/>
                    </a:lnTo>
                    <a:lnTo>
                      <a:pt x="3" y="521"/>
                    </a:lnTo>
                    <a:lnTo>
                      <a:pt x="3" y="518"/>
                    </a:lnTo>
                    <a:lnTo>
                      <a:pt x="5" y="515"/>
                    </a:lnTo>
                    <a:lnTo>
                      <a:pt x="5" y="502"/>
                    </a:lnTo>
                    <a:lnTo>
                      <a:pt x="5" y="496"/>
                    </a:lnTo>
                    <a:lnTo>
                      <a:pt x="5" y="493"/>
                    </a:lnTo>
                    <a:lnTo>
                      <a:pt x="5" y="489"/>
                    </a:lnTo>
                    <a:lnTo>
                      <a:pt x="5" y="483"/>
                    </a:lnTo>
                    <a:lnTo>
                      <a:pt x="5" y="478"/>
                    </a:lnTo>
                    <a:lnTo>
                      <a:pt x="5" y="477"/>
                    </a:lnTo>
                    <a:lnTo>
                      <a:pt x="5" y="470"/>
                    </a:lnTo>
                    <a:lnTo>
                      <a:pt x="3" y="463"/>
                    </a:lnTo>
                    <a:lnTo>
                      <a:pt x="3" y="459"/>
                    </a:lnTo>
                    <a:lnTo>
                      <a:pt x="3" y="456"/>
                    </a:lnTo>
                    <a:lnTo>
                      <a:pt x="5" y="432"/>
                    </a:lnTo>
                    <a:lnTo>
                      <a:pt x="5" y="429"/>
                    </a:lnTo>
                    <a:lnTo>
                      <a:pt x="5" y="421"/>
                    </a:lnTo>
                    <a:lnTo>
                      <a:pt x="5" y="417"/>
                    </a:lnTo>
                    <a:lnTo>
                      <a:pt x="5" y="413"/>
                    </a:lnTo>
                    <a:lnTo>
                      <a:pt x="5" y="412"/>
                    </a:lnTo>
                    <a:lnTo>
                      <a:pt x="3" y="399"/>
                    </a:lnTo>
                    <a:lnTo>
                      <a:pt x="3" y="394"/>
                    </a:lnTo>
                    <a:lnTo>
                      <a:pt x="3" y="393"/>
                    </a:lnTo>
                    <a:lnTo>
                      <a:pt x="3" y="390"/>
                    </a:lnTo>
                    <a:lnTo>
                      <a:pt x="3" y="388"/>
                    </a:lnTo>
                    <a:lnTo>
                      <a:pt x="3" y="386"/>
                    </a:lnTo>
                    <a:lnTo>
                      <a:pt x="3" y="385"/>
                    </a:lnTo>
                    <a:lnTo>
                      <a:pt x="3" y="372"/>
                    </a:lnTo>
                    <a:lnTo>
                      <a:pt x="3" y="371"/>
                    </a:lnTo>
                    <a:lnTo>
                      <a:pt x="2" y="369"/>
                    </a:lnTo>
                    <a:lnTo>
                      <a:pt x="2" y="358"/>
                    </a:lnTo>
                    <a:lnTo>
                      <a:pt x="0" y="355"/>
                    </a:lnTo>
                    <a:lnTo>
                      <a:pt x="0" y="348"/>
                    </a:lnTo>
                    <a:lnTo>
                      <a:pt x="0" y="345"/>
                    </a:lnTo>
                    <a:lnTo>
                      <a:pt x="2" y="345"/>
                    </a:lnTo>
                    <a:lnTo>
                      <a:pt x="2" y="347"/>
                    </a:lnTo>
                    <a:lnTo>
                      <a:pt x="3" y="347"/>
                    </a:lnTo>
                    <a:lnTo>
                      <a:pt x="3" y="348"/>
                    </a:lnTo>
                    <a:lnTo>
                      <a:pt x="5" y="348"/>
                    </a:lnTo>
                    <a:lnTo>
                      <a:pt x="6" y="348"/>
                    </a:lnTo>
                    <a:lnTo>
                      <a:pt x="8" y="348"/>
                    </a:lnTo>
                    <a:lnTo>
                      <a:pt x="9" y="348"/>
                    </a:lnTo>
                    <a:lnTo>
                      <a:pt x="11" y="348"/>
                    </a:lnTo>
                    <a:lnTo>
                      <a:pt x="13" y="348"/>
                    </a:lnTo>
                    <a:lnTo>
                      <a:pt x="13" y="350"/>
                    </a:lnTo>
                    <a:lnTo>
                      <a:pt x="14" y="350"/>
                    </a:lnTo>
                    <a:lnTo>
                      <a:pt x="16" y="350"/>
                    </a:lnTo>
                    <a:lnTo>
                      <a:pt x="17" y="350"/>
                    </a:lnTo>
                    <a:lnTo>
                      <a:pt x="19" y="350"/>
                    </a:lnTo>
                    <a:lnTo>
                      <a:pt x="21" y="350"/>
                    </a:lnTo>
                    <a:lnTo>
                      <a:pt x="22" y="350"/>
                    </a:lnTo>
                    <a:lnTo>
                      <a:pt x="24" y="350"/>
                    </a:lnTo>
                    <a:lnTo>
                      <a:pt x="25" y="350"/>
                    </a:lnTo>
                    <a:lnTo>
                      <a:pt x="25" y="348"/>
                    </a:lnTo>
                    <a:lnTo>
                      <a:pt x="27" y="348"/>
                    </a:lnTo>
                    <a:lnTo>
                      <a:pt x="27" y="350"/>
                    </a:lnTo>
                    <a:lnTo>
                      <a:pt x="28" y="350"/>
                    </a:lnTo>
                    <a:lnTo>
                      <a:pt x="30" y="350"/>
                    </a:lnTo>
                    <a:lnTo>
                      <a:pt x="32" y="350"/>
                    </a:lnTo>
                    <a:lnTo>
                      <a:pt x="33" y="350"/>
                    </a:lnTo>
                    <a:lnTo>
                      <a:pt x="33" y="352"/>
                    </a:lnTo>
                    <a:lnTo>
                      <a:pt x="35" y="353"/>
                    </a:lnTo>
                    <a:lnTo>
                      <a:pt x="36" y="353"/>
                    </a:lnTo>
                    <a:lnTo>
                      <a:pt x="38" y="353"/>
                    </a:lnTo>
                    <a:lnTo>
                      <a:pt x="38" y="352"/>
                    </a:lnTo>
                    <a:lnTo>
                      <a:pt x="40" y="352"/>
                    </a:lnTo>
                    <a:lnTo>
                      <a:pt x="41" y="352"/>
                    </a:lnTo>
                    <a:lnTo>
                      <a:pt x="43" y="352"/>
                    </a:lnTo>
                    <a:lnTo>
                      <a:pt x="44" y="352"/>
                    </a:lnTo>
                    <a:lnTo>
                      <a:pt x="46" y="353"/>
                    </a:lnTo>
                    <a:lnTo>
                      <a:pt x="47" y="353"/>
                    </a:lnTo>
                    <a:lnTo>
                      <a:pt x="49" y="353"/>
                    </a:lnTo>
                    <a:lnTo>
                      <a:pt x="51" y="353"/>
                    </a:lnTo>
                    <a:lnTo>
                      <a:pt x="52" y="353"/>
                    </a:lnTo>
                    <a:lnTo>
                      <a:pt x="54" y="353"/>
                    </a:lnTo>
                    <a:lnTo>
                      <a:pt x="55" y="355"/>
                    </a:lnTo>
                    <a:lnTo>
                      <a:pt x="57" y="355"/>
                    </a:lnTo>
                    <a:lnTo>
                      <a:pt x="59" y="355"/>
                    </a:lnTo>
                    <a:lnTo>
                      <a:pt x="59" y="353"/>
                    </a:lnTo>
                    <a:lnTo>
                      <a:pt x="60" y="353"/>
                    </a:lnTo>
                    <a:lnTo>
                      <a:pt x="62" y="353"/>
                    </a:lnTo>
                    <a:lnTo>
                      <a:pt x="63" y="353"/>
                    </a:lnTo>
                    <a:lnTo>
                      <a:pt x="65" y="353"/>
                    </a:lnTo>
                    <a:lnTo>
                      <a:pt x="65" y="352"/>
                    </a:lnTo>
                    <a:lnTo>
                      <a:pt x="66" y="352"/>
                    </a:lnTo>
                    <a:lnTo>
                      <a:pt x="68" y="350"/>
                    </a:lnTo>
                    <a:lnTo>
                      <a:pt x="68" y="348"/>
                    </a:lnTo>
                    <a:lnTo>
                      <a:pt x="68" y="347"/>
                    </a:lnTo>
                    <a:lnTo>
                      <a:pt x="68" y="345"/>
                    </a:lnTo>
                    <a:lnTo>
                      <a:pt x="70" y="345"/>
                    </a:lnTo>
                    <a:lnTo>
                      <a:pt x="71" y="344"/>
                    </a:lnTo>
                    <a:lnTo>
                      <a:pt x="73" y="344"/>
                    </a:lnTo>
                    <a:lnTo>
                      <a:pt x="73" y="342"/>
                    </a:lnTo>
                    <a:lnTo>
                      <a:pt x="73" y="341"/>
                    </a:lnTo>
                    <a:lnTo>
                      <a:pt x="74" y="341"/>
                    </a:lnTo>
                    <a:lnTo>
                      <a:pt x="74" y="339"/>
                    </a:lnTo>
                    <a:lnTo>
                      <a:pt x="76" y="339"/>
                    </a:lnTo>
                    <a:lnTo>
                      <a:pt x="76" y="337"/>
                    </a:lnTo>
                    <a:lnTo>
                      <a:pt x="76" y="336"/>
                    </a:lnTo>
                    <a:lnTo>
                      <a:pt x="76" y="334"/>
                    </a:lnTo>
                    <a:lnTo>
                      <a:pt x="78" y="334"/>
                    </a:lnTo>
                    <a:lnTo>
                      <a:pt x="78" y="333"/>
                    </a:lnTo>
                    <a:lnTo>
                      <a:pt x="79" y="331"/>
                    </a:lnTo>
                    <a:lnTo>
                      <a:pt x="79" y="329"/>
                    </a:lnTo>
                    <a:lnTo>
                      <a:pt x="79" y="328"/>
                    </a:lnTo>
                    <a:lnTo>
                      <a:pt x="81" y="326"/>
                    </a:lnTo>
                    <a:lnTo>
                      <a:pt x="81" y="325"/>
                    </a:lnTo>
                    <a:lnTo>
                      <a:pt x="81" y="323"/>
                    </a:lnTo>
                    <a:lnTo>
                      <a:pt x="81" y="322"/>
                    </a:lnTo>
                    <a:lnTo>
                      <a:pt x="81" y="320"/>
                    </a:lnTo>
                    <a:lnTo>
                      <a:pt x="82" y="320"/>
                    </a:lnTo>
                    <a:lnTo>
                      <a:pt x="82" y="318"/>
                    </a:lnTo>
                    <a:lnTo>
                      <a:pt x="84" y="318"/>
                    </a:lnTo>
                    <a:lnTo>
                      <a:pt x="84" y="317"/>
                    </a:lnTo>
                    <a:lnTo>
                      <a:pt x="84" y="315"/>
                    </a:lnTo>
                    <a:lnTo>
                      <a:pt x="82" y="314"/>
                    </a:lnTo>
                    <a:lnTo>
                      <a:pt x="84" y="312"/>
                    </a:lnTo>
                    <a:lnTo>
                      <a:pt x="84" y="310"/>
                    </a:lnTo>
                    <a:lnTo>
                      <a:pt x="84" y="309"/>
                    </a:lnTo>
                    <a:lnTo>
                      <a:pt x="82" y="307"/>
                    </a:lnTo>
                    <a:lnTo>
                      <a:pt x="84" y="306"/>
                    </a:lnTo>
                    <a:lnTo>
                      <a:pt x="84" y="304"/>
                    </a:lnTo>
                    <a:lnTo>
                      <a:pt x="82" y="302"/>
                    </a:lnTo>
                    <a:lnTo>
                      <a:pt x="82" y="301"/>
                    </a:lnTo>
                    <a:lnTo>
                      <a:pt x="82" y="299"/>
                    </a:lnTo>
                    <a:lnTo>
                      <a:pt x="82" y="298"/>
                    </a:lnTo>
                    <a:lnTo>
                      <a:pt x="82" y="296"/>
                    </a:lnTo>
                    <a:lnTo>
                      <a:pt x="84" y="296"/>
                    </a:lnTo>
                    <a:lnTo>
                      <a:pt x="84" y="298"/>
                    </a:lnTo>
                    <a:lnTo>
                      <a:pt x="85" y="298"/>
                    </a:lnTo>
                    <a:lnTo>
                      <a:pt x="87" y="299"/>
                    </a:lnTo>
                    <a:lnTo>
                      <a:pt x="89" y="299"/>
                    </a:lnTo>
                    <a:lnTo>
                      <a:pt x="90" y="301"/>
                    </a:lnTo>
                    <a:lnTo>
                      <a:pt x="92" y="301"/>
                    </a:lnTo>
                    <a:lnTo>
                      <a:pt x="92" y="299"/>
                    </a:lnTo>
                    <a:lnTo>
                      <a:pt x="93" y="299"/>
                    </a:lnTo>
                    <a:lnTo>
                      <a:pt x="93" y="298"/>
                    </a:lnTo>
                    <a:lnTo>
                      <a:pt x="93" y="296"/>
                    </a:lnTo>
                    <a:lnTo>
                      <a:pt x="95" y="296"/>
                    </a:lnTo>
                    <a:lnTo>
                      <a:pt x="95" y="295"/>
                    </a:lnTo>
                    <a:lnTo>
                      <a:pt x="97" y="293"/>
                    </a:lnTo>
                    <a:lnTo>
                      <a:pt x="98" y="293"/>
                    </a:lnTo>
                    <a:lnTo>
                      <a:pt x="100" y="293"/>
                    </a:lnTo>
                    <a:lnTo>
                      <a:pt x="101" y="293"/>
                    </a:lnTo>
                    <a:lnTo>
                      <a:pt x="103" y="291"/>
                    </a:lnTo>
                    <a:lnTo>
                      <a:pt x="103" y="290"/>
                    </a:lnTo>
                    <a:lnTo>
                      <a:pt x="101" y="290"/>
                    </a:lnTo>
                    <a:lnTo>
                      <a:pt x="101" y="288"/>
                    </a:lnTo>
                    <a:lnTo>
                      <a:pt x="101" y="287"/>
                    </a:lnTo>
                    <a:lnTo>
                      <a:pt x="100" y="287"/>
                    </a:lnTo>
                    <a:lnTo>
                      <a:pt x="100" y="285"/>
                    </a:lnTo>
                    <a:lnTo>
                      <a:pt x="98" y="285"/>
                    </a:lnTo>
                    <a:lnTo>
                      <a:pt x="98" y="283"/>
                    </a:lnTo>
                    <a:lnTo>
                      <a:pt x="97" y="285"/>
                    </a:lnTo>
                    <a:lnTo>
                      <a:pt x="97" y="287"/>
                    </a:lnTo>
                    <a:lnTo>
                      <a:pt x="95" y="288"/>
                    </a:lnTo>
                    <a:lnTo>
                      <a:pt x="93" y="288"/>
                    </a:lnTo>
                    <a:lnTo>
                      <a:pt x="92" y="288"/>
                    </a:lnTo>
                    <a:lnTo>
                      <a:pt x="90" y="288"/>
                    </a:lnTo>
                    <a:lnTo>
                      <a:pt x="89" y="288"/>
                    </a:lnTo>
                    <a:lnTo>
                      <a:pt x="87" y="288"/>
                    </a:lnTo>
                    <a:lnTo>
                      <a:pt x="87" y="287"/>
                    </a:lnTo>
                    <a:lnTo>
                      <a:pt x="85" y="287"/>
                    </a:lnTo>
                    <a:lnTo>
                      <a:pt x="84" y="287"/>
                    </a:lnTo>
                    <a:lnTo>
                      <a:pt x="82" y="287"/>
                    </a:lnTo>
                    <a:lnTo>
                      <a:pt x="84" y="287"/>
                    </a:lnTo>
                    <a:lnTo>
                      <a:pt x="84" y="285"/>
                    </a:lnTo>
                    <a:lnTo>
                      <a:pt x="84" y="283"/>
                    </a:lnTo>
                    <a:lnTo>
                      <a:pt x="85" y="283"/>
                    </a:lnTo>
                    <a:lnTo>
                      <a:pt x="85" y="282"/>
                    </a:lnTo>
                    <a:lnTo>
                      <a:pt x="87" y="280"/>
                    </a:lnTo>
                    <a:lnTo>
                      <a:pt x="85" y="280"/>
                    </a:lnTo>
                    <a:lnTo>
                      <a:pt x="85" y="279"/>
                    </a:lnTo>
                    <a:lnTo>
                      <a:pt x="84" y="279"/>
                    </a:lnTo>
                    <a:lnTo>
                      <a:pt x="82" y="279"/>
                    </a:lnTo>
                    <a:lnTo>
                      <a:pt x="81" y="277"/>
                    </a:lnTo>
                    <a:lnTo>
                      <a:pt x="79" y="277"/>
                    </a:lnTo>
                    <a:lnTo>
                      <a:pt x="78" y="277"/>
                    </a:lnTo>
                    <a:lnTo>
                      <a:pt x="76" y="277"/>
                    </a:lnTo>
                    <a:lnTo>
                      <a:pt x="74" y="277"/>
                    </a:lnTo>
                    <a:lnTo>
                      <a:pt x="74" y="279"/>
                    </a:lnTo>
                    <a:lnTo>
                      <a:pt x="74" y="277"/>
                    </a:lnTo>
                    <a:lnTo>
                      <a:pt x="73" y="277"/>
                    </a:lnTo>
                    <a:lnTo>
                      <a:pt x="74" y="277"/>
                    </a:lnTo>
                    <a:lnTo>
                      <a:pt x="74" y="276"/>
                    </a:lnTo>
                    <a:lnTo>
                      <a:pt x="73" y="276"/>
                    </a:lnTo>
                    <a:lnTo>
                      <a:pt x="73" y="274"/>
                    </a:lnTo>
                    <a:lnTo>
                      <a:pt x="74" y="274"/>
                    </a:lnTo>
                    <a:lnTo>
                      <a:pt x="74" y="272"/>
                    </a:lnTo>
                    <a:lnTo>
                      <a:pt x="74" y="271"/>
                    </a:lnTo>
                    <a:lnTo>
                      <a:pt x="74" y="269"/>
                    </a:lnTo>
                    <a:lnTo>
                      <a:pt x="74" y="268"/>
                    </a:lnTo>
                    <a:lnTo>
                      <a:pt x="76" y="268"/>
                    </a:lnTo>
                    <a:lnTo>
                      <a:pt x="76" y="266"/>
                    </a:lnTo>
                    <a:lnTo>
                      <a:pt x="76" y="268"/>
                    </a:lnTo>
                    <a:lnTo>
                      <a:pt x="78" y="268"/>
                    </a:lnTo>
                    <a:lnTo>
                      <a:pt x="79" y="268"/>
                    </a:lnTo>
                    <a:lnTo>
                      <a:pt x="81" y="268"/>
                    </a:lnTo>
                    <a:lnTo>
                      <a:pt x="82" y="268"/>
                    </a:lnTo>
                    <a:lnTo>
                      <a:pt x="84" y="269"/>
                    </a:lnTo>
                    <a:lnTo>
                      <a:pt x="85" y="269"/>
                    </a:lnTo>
                    <a:lnTo>
                      <a:pt x="87" y="269"/>
                    </a:lnTo>
                    <a:lnTo>
                      <a:pt x="89" y="271"/>
                    </a:lnTo>
                    <a:lnTo>
                      <a:pt x="90" y="271"/>
                    </a:lnTo>
                    <a:lnTo>
                      <a:pt x="90" y="272"/>
                    </a:lnTo>
                    <a:lnTo>
                      <a:pt x="92" y="272"/>
                    </a:lnTo>
                    <a:lnTo>
                      <a:pt x="92" y="274"/>
                    </a:lnTo>
                    <a:lnTo>
                      <a:pt x="92" y="272"/>
                    </a:lnTo>
                    <a:lnTo>
                      <a:pt x="92" y="271"/>
                    </a:lnTo>
                    <a:lnTo>
                      <a:pt x="92" y="269"/>
                    </a:lnTo>
                    <a:lnTo>
                      <a:pt x="92" y="268"/>
                    </a:lnTo>
                    <a:lnTo>
                      <a:pt x="90" y="268"/>
                    </a:lnTo>
                    <a:lnTo>
                      <a:pt x="90" y="266"/>
                    </a:lnTo>
                    <a:lnTo>
                      <a:pt x="90" y="264"/>
                    </a:lnTo>
                    <a:lnTo>
                      <a:pt x="90" y="263"/>
                    </a:lnTo>
                    <a:lnTo>
                      <a:pt x="92" y="263"/>
                    </a:lnTo>
                    <a:lnTo>
                      <a:pt x="92" y="261"/>
                    </a:lnTo>
                    <a:lnTo>
                      <a:pt x="90" y="261"/>
                    </a:lnTo>
                    <a:lnTo>
                      <a:pt x="92" y="260"/>
                    </a:lnTo>
                    <a:lnTo>
                      <a:pt x="92" y="261"/>
                    </a:lnTo>
                    <a:lnTo>
                      <a:pt x="93" y="261"/>
                    </a:lnTo>
                    <a:lnTo>
                      <a:pt x="93" y="260"/>
                    </a:lnTo>
                    <a:lnTo>
                      <a:pt x="95" y="260"/>
                    </a:lnTo>
                    <a:lnTo>
                      <a:pt x="97" y="260"/>
                    </a:lnTo>
                    <a:lnTo>
                      <a:pt x="98" y="260"/>
                    </a:lnTo>
                    <a:lnTo>
                      <a:pt x="100" y="261"/>
                    </a:lnTo>
                    <a:lnTo>
                      <a:pt x="100" y="263"/>
                    </a:lnTo>
                    <a:lnTo>
                      <a:pt x="101" y="263"/>
                    </a:lnTo>
                    <a:lnTo>
                      <a:pt x="103" y="263"/>
                    </a:lnTo>
                    <a:lnTo>
                      <a:pt x="104" y="263"/>
                    </a:lnTo>
                    <a:lnTo>
                      <a:pt x="106" y="263"/>
                    </a:lnTo>
                    <a:lnTo>
                      <a:pt x="108" y="263"/>
                    </a:lnTo>
                    <a:lnTo>
                      <a:pt x="108" y="261"/>
                    </a:lnTo>
                    <a:lnTo>
                      <a:pt x="108" y="260"/>
                    </a:lnTo>
                    <a:lnTo>
                      <a:pt x="106" y="258"/>
                    </a:lnTo>
                    <a:lnTo>
                      <a:pt x="106" y="257"/>
                    </a:lnTo>
                    <a:lnTo>
                      <a:pt x="108" y="257"/>
                    </a:lnTo>
                    <a:lnTo>
                      <a:pt x="109" y="257"/>
                    </a:lnTo>
                    <a:lnTo>
                      <a:pt x="109" y="255"/>
                    </a:lnTo>
                    <a:lnTo>
                      <a:pt x="111" y="255"/>
                    </a:lnTo>
                    <a:lnTo>
                      <a:pt x="111" y="253"/>
                    </a:lnTo>
                    <a:lnTo>
                      <a:pt x="111" y="252"/>
                    </a:lnTo>
                    <a:lnTo>
                      <a:pt x="111" y="250"/>
                    </a:lnTo>
                    <a:lnTo>
                      <a:pt x="111" y="249"/>
                    </a:lnTo>
                    <a:lnTo>
                      <a:pt x="111" y="247"/>
                    </a:lnTo>
                    <a:lnTo>
                      <a:pt x="111" y="245"/>
                    </a:lnTo>
                    <a:lnTo>
                      <a:pt x="111" y="244"/>
                    </a:lnTo>
                    <a:lnTo>
                      <a:pt x="109" y="242"/>
                    </a:lnTo>
                    <a:lnTo>
                      <a:pt x="108" y="242"/>
                    </a:lnTo>
                    <a:lnTo>
                      <a:pt x="108" y="241"/>
                    </a:lnTo>
                    <a:lnTo>
                      <a:pt x="108" y="239"/>
                    </a:lnTo>
                    <a:lnTo>
                      <a:pt x="106" y="239"/>
                    </a:lnTo>
                    <a:lnTo>
                      <a:pt x="106" y="238"/>
                    </a:lnTo>
                    <a:lnTo>
                      <a:pt x="104" y="238"/>
                    </a:lnTo>
                    <a:lnTo>
                      <a:pt x="103" y="238"/>
                    </a:lnTo>
                    <a:lnTo>
                      <a:pt x="103" y="236"/>
                    </a:lnTo>
                    <a:lnTo>
                      <a:pt x="100" y="236"/>
                    </a:lnTo>
                    <a:lnTo>
                      <a:pt x="100" y="234"/>
                    </a:lnTo>
                    <a:lnTo>
                      <a:pt x="98" y="234"/>
                    </a:lnTo>
                    <a:lnTo>
                      <a:pt x="97" y="234"/>
                    </a:lnTo>
                    <a:lnTo>
                      <a:pt x="95" y="234"/>
                    </a:lnTo>
                    <a:lnTo>
                      <a:pt x="95" y="233"/>
                    </a:lnTo>
                    <a:lnTo>
                      <a:pt x="93" y="233"/>
                    </a:lnTo>
                    <a:lnTo>
                      <a:pt x="93" y="231"/>
                    </a:lnTo>
                    <a:lnTo>
                      <a:pt x="93" y="230"/>
                    </a:lnTo>
                    <a:lnTo>
                      <a:pt x="93" y="228"/>
                    </a:lnTo>
                    <a:lnTo>
                      <a:pt x="93" y="226"/>
                    </a:lnTo>
                    <a:lnTo>
                      <a:pt x="93" y="225"/>
                    </a:lnTo>
                    <a:lnTo>
                      <a:pt x="93" y="223"/>
                    </a:lnTo>
                    <a:lnTo>
                      <a:pt x="92" y="223"/>
                    </a:lnTo>
                    <a:lnTo>
                      <a:pt x="90" y="223"/>
                    </a:lnTo>
                    <a:lnTo>
                      <a:pt x="89" y="223"/>
                    </a:lnTo>
                    <a:lnTo>
                      <a:pt x="89" y="222"/>
                    </a:lnTo>
                    <a:lnTo>
                      <a:pt x="87" y="222"/>
                    </a:lnTo>
                    <a:lnTo>
                      <a:pt x="87" y="220"/>
                    </a:lnTo>
                    <a:lnTo>
                      <a:pt x="87" y="219"/>
                    </a:lnTo>
                    <a:lnTo>
                      <a:pt x="87" y="217"/>
                    </a:lnTo>
                    <a:lnTo>
                      <a:pt x="85" y="217"/>
                    </a:lnTo>
                    <a:lnTo>
                      <a:pt x="85" y="215"/>
                    </a:lnTo>
                    <a:lnTo>
                      <a:pt x="85" y="214"/>
                    </a:lnTo>
                    <a:lnTo>
                      <a:pt x="85" y="212"/>
                    </a:lnTo>
                    <a:lnTo>
                      <a:pt x="84" y="212"/>
                    </a:lnTo>
                    <a:lnTo>
                      <a:pt x="84" y="211"/>
                    </a:lnTo>
                    <a:lnTo>
                      <a:pt x="82" y="211"/>
                    </a:lnTo>
                    <a:lnTo>
                      <a:pt x="82" y="209"/>
                    </a:lnTo>
                    <a:lnTo>
                      <a:pt x="84" y="209"/>
                    </a:lnTo>
                    <a:lnTo>
                      <a:pt x="84" y="207"/>
                    </a:lnTo>
                    <a:lnTo>
                      <a:pt x="85" y="207"/>
                    </a:lnTo>
                    <a:lnTo>
                      <a:pt x="87" y="207"/>
                    </a:lnTo>
                    <a:lnTo>
                      <a:pt x="89" y="207"/>
                    </a:lnTo>
                    <a:lnTo>
                      <a:pt x="90" y="209"/>
                    </a:lnTo>
                    <a:lnTo>
                      <a:pt x="90" y="211"/>
                    </a:lnTo>
                    <a:lnTo>
                      <a:pt x="92" y="211"/>
                    </a:lnTo>
                    <a:lnTo>
                      <a:pt x="93" y="211"/>
                    </a:lnTo>
                    <a:lnTo>
                      <a:pt x="93" y="212"/>
                    </a:lnTo>
                    <a:lnTo>
                      <a:pt x="95" y="212"/>
                    </a:lnTo>
                    <a:lnTo>
                      <a:pt x="97" y="212"/>
                    </a:lnTo>
                    <a:lnTo>
                      <a:pt x="98" y="212"/>
                    </a:lnTo>
                    <a:lnTo>
                      <a:pt x="100" y="212"/>
                    </a:lnTo>
                    <a:lnTo>
                      <a:pt x="100" y="214"/>
                    </a:lnTo>
                    <a:lnTo>
                      <a:pt x="101" y="214"/>
                    </a:lnTo>
                    <a:lnTo>
                      <a:pt x="101" y="215"/>
                    </a:lnTo>
                    <a:lnTo>
                      <a:pt x="103" y="215"/>
                    </a:lnTo>
                    <a:lnTo>
                      <a:pt x="103" y="214"/>
                    </a:lnTo>
                    <a:lnTo>
                      <a:pt x="104" y="214"/>
                    </a:lnTo>
                    <a:lnTo>
                      <a:pt x="106" y="214"/>
                    </a:lnTo>
                    <a:lnTo>
                      <a:pt x="108" y="214"/>
                    </a:lnTo>
                    <a:lnTo>
                      <a:pt x="109" y="215"/>
                    </a:lnTo>
                    <a:lnTo>
                      <a:pt x="111" y="215"/>
                    </a:lnTo>
                    <a:lnTo>
                      <a:pt x="111" y="214"/>
                    </a:lnTo>
                    <a:lnTo>
                      <a:pt x="112" y="214"/>
                    </a:lnTo>
                    <a:lnTo>
                      <a:pt x="112" y="215"/>
                    </a:lnTo>
                    <a:lnTo>
                      <a:pt x="114" y="214"/>
                    </a:lnTo>
                    <a:lnTo>
                      <a:pt x="116" y="214"/>
                    </a:lnTo>
                    <a:lnTo>
                      <a:pt x="116" y="212"/>
                    </a:lnTo>
                    <a:lnTo>
                      <a:pt x="116" y="214"/>
                    </a:lnTo>
                    <a:lnTo>
                      <a:pt x="117" y="214"/>
                    </a:lnTo>
                    <a:lnTo>
                      <a:pt x="117" y="212"/>
                    </a:lnTo>
                    <a:lnTo>
                      <a:pt x="119" y="212"/>
                    </a:lnTo>
                    <a:lnTo>
                      <a:pt x="119" y="214"/>
                    </a:lnTo>
                    <a:lnTo>
                      <a:pt x="120" y="214"/>
                    </a:lnTo>
                    <a:lnTo>
                      <a:pt x="120" y="212"/>
                    </a:lnTo>
                    <a:lnTo>
                      <a:pt x="122" y="212"/>
                    </a:lnTo>
                    <a:lnTo>
                      <a:pt x="123" y="211"/>
                    </a:lnTo>
                    <a:lnTo>
                      <a:pt x="123" y="212"/>
                    </a:lnTo>
                    <a:lnTo>
                      <a:pt x="123" y="211"/>
                    </a:lnTo>
                    <a:lnTo>
                      <a:pt x="125" y="211"/>
                    </a:lnTo>
                    <a:lnTo>
                      <a:pt x="125" y="212"/>
                    </a:lnTo>
                    <a:lnTo>
                      <a:pt x="127" y="212"/>
                    </a:lnTo>
                    <a:lnTo>
                      <a:pt x="127" y="214"/>
                    </a:lnTo>
                    <a:lnTo>
                      <a:pt x="128" y="214"/>
                    </a:lnTo>
                    <a:lnTo>
                      <a:pt x="128" y="215"/>
                    </a:lnTo>
                    <a:lnTo>
                      <a:pt x="130" y="217"/>
                    </a:lnTo>
                    <a:lnTo>
                      <a:pt x="131" y="219"/>
                    </a:lnTo>
                    <a:lnTo>
                      <a:pt x="133" y="219"/>
                    </a:lnTo>
                    <a:lnTo>
                      <a:pt x="133" y="220"/>
                    </a:lnTo>
                    <a:lnTo>
                      <a:pt x="135" y="220"/>
                    </a:lnTo>
                    <a:lnTo>
                      <a:pt x="136" y="222"/>
                    </a:lnTo>
                    <a:lnTo>
                      <a:pt x="138" y="222"/>
                    </a:lnTo>
                    <a:lnTo>
                      <a:pt x="138" y="223"/>
                    </a:lnTo>
                    <a:lnTo>
                      <a:pt x="139" y="223"/>
                    </a:lnTo>
                    <a:lnTo>
                      <a:pt x="139" y="225"/>
                    </a:lnTo>
                    <a:lnTo>
                      <a:pt x="141" y="225"/>
                    </a:lnTo>
                    <a:lnTo>
                      <a:pt x="142" y="225"/>
                    </a:lnTo>
                    <a:lnTo>
                      <a:pt x="142" y="226"/>
                    </a:lnTo>
                    <a:lnTo>
                      <a:pt x="144" y="228"/>
                    </a:lnTo>
                    <a:lnTo>
                      <a:pt x="146" y="228"/>
                    </a:lnTo>
                    <a:lnTo>
                      <a:pt x="147" y="230"/>
                    </a:lnTo>
                    <a:lnTo>
                      <a:pt x="149" y="230"/>
                    </a:lnTo>
                    <a:lnTo>
                      <a:pt x="150" y="230"/>
                    </a:lnTo>
                    <a:lnTo>
                      <a:pt x="150" y="231"/>
                    </a:lnTo>
                    <a:lnTo>
                      <a:pt x="152" y="231"/>
                    </a:lnTo>
                    <a:lnTo>
                      <a:pt x="154" y="231"/>
                    </a:lnTo>
                    <a:lnTo>
                      <a:pt x="154" y="233"/>
                    </a:lnTo>
                    <a:lnTo>
                      <a:pt x="155" y="234"/>
                    </a:lnTo>
                    <a:lnTo>
                      <a:pt x="157" y="234"/>
                    </a:lnTo>
                    <a:lnTo>
                      <a:pt x="158" y="234"/>
                    </a:lnTo>
                    <a:lnTo>
                      <a:pt x="160" y="234"/>
                    </a:lnTo>
                    <a:lnTo>
                      <a:pt x="161" y="234"/>
                    </a:lnTo>
                    <a:lnTo>
                      <a:pt x="163" y="234"/>
                    </a:lnTo>
                    <a:lnTo>
                      <a:pt x="165" y="234"/>
                    </a:lnTo>
                    <a:lnTo>
                      <a:pt x="165" y="236"/>
                    </a:lnTo>
                    <a:lnTo>
                      <a:pt x="166" y="236"/>
                    </a:lnTo>
                    <a:lnTo>
                      <a:pt x="168" y="236"/>
                    </a:lnTo>
                    <a:lnTo>
                      <a:pt x="169" y="236"/>
                    </a:lnTo>
                    <a:lnTo>
                      <a:pt x="171" y="236"/>
                    </a:lnTo>
                    <a:lnTo>
                      <a:pt x="173" y="236"/>
                    </a:lnTo>
                    <a:lnTo>
                      <a:pt x="173" y="238"/>
                    </a:lnTo>
                    <a:lnTo>
                      <a:pt x="174" y="238"/>
                    </a:lnTo>
                    <a:lnTo>
                      <a:pt x="174" y="239"/>
                    </a:lnTo>
                    <a:lnTo>
                      <a:pt x="174" y="241"/>
                    </a:lnTo>
                    <a:lnTo>
                      <a:pt x="176" y="241"/>
                    </a:lnTo>
                    <a:lnTo>
                      <a:pt x="176" y="242"/>
                    </a:lnTo>
                    <a:lnTo>
                      <a:pt x="177" y="242"/>
                    </a:lnTo>
                    <a:lnTo>
                      <a:pt x="179" y="242"/>
                    </a:lnTo>
                    <a:lnTo>
                      <a:pt x="179" y="244"/>
                    </a:lnTo>
                    <a:lnTo>
                      <a:pt x="181" y="244"/>
                    </a:lnTo>
                    <a:lnTo>
                      <a:pt x="182" y="244"/>
                    </a:lnTo>
                    <a:lnTo>
                      <a:pt x="184" y="244"/>
                    </a:lnTo>
                    <a:lnTo>
                      <a:pt x="184" y="242"/>
                    </a:lnTo>
                    <a:lnTo>
                      <a:pt x="185" y="242"/>
                    </a:lnTo>
                    <a:lnTo>
                      <a:pt x="187" y="242"/>
                    </a:lnTo>
                    <a:lnTo>
                      <a:pt x="188" y="241"/>
                    </a:lnTo>
                    <a:lnTo>
                      <a:pt x="190" y="241"/>
                    </a:lnTo>
                    <a:lnTo>
                      <a:pt x="190" y="239"/>
                    </a:lnTo>
                    <a:lnTo>
                      <a:pt x="192" y="239"/>
                    </a:lnTo>
                    <a:lnTo>
                      <a:pt x="193" y="238"/>
                    </a:lnTo>
                    <a:lnTo>
                      <a:pt x="195" y="238"/>
                    </a:lnTo>
                    <a:lnTo>
                      <a:pt x="195" y="236"/>
                    </a:lnTo>
                    <a:lnTo>
                      <a:pt x="196" y="236"/>
                    </a:lnTo>
                    <a:lnTo>
                      <a:pt x="196" y="234"/>
                    </a:lnTo>
                    <a:lnTo>
                      <a:pt x="196" y="233"/>
                    </a:lnTo>
                    <a:lnTo>
                      <a:pt x="196" y="231"/>
                    </a:lnTo>
                    <a:lnTo>
                      <a:pt x="196" y="230"/>
                    </a:lnTo>
                    <a:lnTo>
                      <a:pt x="195" y="230"/>
                    </a:lnTo>
                    <a:lnTo>
                      <a:pt x="193" y="230"/>
                    </a:lnTo>
                    <a:lnTo>
                      <a:pt x="193" y="228"/>
                    </a:lnTo>
                    <a:lnTo>
                      <a:pt x="193" y="226"/>
                    </a:lnTo>
                    <a:lnTo>
                      <a:pt x="195" y="225"/>
                    </a:lnTo>
                    <a:lnTo>
                      <a:pt x="196" y="225"/>
                    </a:lnTo>
                    <a:lnTo>
                      <a:pt x="196" y="223"/>
                    </a:lnTo>
                    <a:lnTo>
                      <a:pt x="198" y="223"/>
                    </a:lnTo>
                    <a:lnTo>
                      <a:pt x="198" y="222"/>
                    </a:lnTo>
                    <a:lnTo>
                      <a:pt x="200" y="222"/>
                    </a:lnTo>
                    <a:lnTo>
                      <a:pt x="200" y="220"/>
                    </a:lnTo>
                    <a:lnTo>
                      <a:pt x="200" y="219"/>
                    </a:lnTo>
                    <a:lnTo>
                      <a:pt x="198" y="219"/>
                    </a:lnTo>
                    <a:lnTo>
                      <a:pt x="198" y="217"/>
                    </a:lnTo>
                    <a:lnTo>
                      <a:pt x="196" y="217"/>
                    </a:lnTo>
                    <a:lnTo>
                      <a:pt x="196" y="215"/>
                    </a:lnTo>
                    <a:lnTo>
                      <a:pt x="198" y="215"/>
                    </a:lnTo>
                    <a:lnTo>
                      <a:pt x="198" y="214"/>
                    </a:lnTo>
                    <a:lnTo>
                      <a:pt x="198" y="212"/>
                    </a:lnTo>
                    <a:lnTo>
                      <a:pt x="198" y="211"/>
                    </a:lnTo>
                    <a:lnTo>
                      <a:pt x="198" y="209"/>
                    </a:lnTo>
                    <a:lnTo>
                      <a:pt x="196" y="209"/>
                    </a:lnTo>
                    <a:lnTo>
                      <a:pt x="196" y="207"/>
                    </a:lnTo>
                    <a:lnTo>
                      <a:pt x="196" y="206"/>
                    </a:lnTo>
                    <a:lnTo>
                      <a:pt x="196" y="204"/>
                    </a:lnTo>
                    <a:lnTo>
                      <a:pt x="196" y="203"/>
                    </a:lnTo>
                    <a:lnTo>
                      <a:pt x="196" y="201"/>
                    </a:lnTo>
                    <a:lnTo>
                      <a:pt x="198" y="199"/>
                    </a:lnTo>
                    <a:lnTo>
                      <a:pt x="198" y="198"/>
                    </a:lnTo>
                    <a:lnTo>
                      <a:pt x="198" y="196"/>
                    </a:lnTo>
                    <a:lnTo>
                      <a:pt x="198" y="195"/>
                    </a:lnTo>
                    <a:lnTo>
                      <a:pt x="198" y="193"/>
                    </a:lnTo>
                    <a:lnTo>
                      <a:pt x="196" y="193"/>
                    </a:lnTo>
                    <a:lnTo>
                      <a:pt x="196" y="192"/>
                    </a:lnTo>
                    <a:lnTo>
                      <a:pt x="195" y="192"/>
                    </a:lnTo>
                    <a:lnTo>
                      <a:pt x="195" y="190"/>
                    </a:lnTo>
                    <a:lnTo>
                      <a:pt x="193" y="190"/>
                    </a:lnTo>
                    <a:lnTo>
                      <a:pt x="193" y="188"/>
                    </a:lnTo>
                    <a:lnTo>
                      <a:pt x="195" y="188"/>
                    </a:lnTo>
                    <a:lnTo>
                      <a:pt x="196" y="188"/>
                    </a:lnTo>
                    <a:lnTo>
                      <a:pt x="198" y="188"/>
                    </a:lnTo>
                    <a:lnTo>
                      <a:pt x="198" y="187"/>
                    </a:lnTo>
                    <a:lnTo>
                      <a:pt x="200" y="187"/>
                    </a:lnTo>
                    <a:lnTo>
                      <a:pt x="200" y="185"/>
                    </a:lnTo>
                    <a:lnTo>
                      <a:pt x="198" y="185"/>
                    </a:lnTo>
                    <a:lnTo>
                      <a:pt x="198" y="184"/>
                    </a:lnTo>
                    <a:lnTo>
                      <a:pt x="198" y="182"/>
                    </a:lnTo>
                    <a:lnTo>
                      <a:pt x="198" y="180"/>
                    </a:lnTo>
                    <a:lnTo>
                      <a:pt x="196" y="180"/>
                    </a:lnTo>
                    <a:lnTo>
                      <a:pt x="195" y="180"/>
                    </a:lnTo>
                    <a:lnTo>
                      <a:pt x="195" y="179"/>
                    </a:lnTo>
                    <a:lnTo>
                      <a:pt x="195" y="177"/>
                    </a:lnTo>
                    <a:lnTo>
                      <a:pt x="196" y="177"/>
                    </a:lnTo>
                    <a:lnTo>
                      <a:pt x="198" y="176"/>
                    </a:lnTo>
                    <a:lnTo>
                      <a:pt x="200" y="176"/>
                    </a:lnTo>
                    <a:lnTo>
                      <a:pt x="201" y="176"/>
                    </a:lnTo>
                    <a:lnTo>
                      <a:pt x="201" y="174"/>
                    </a:lnTo>
                    <a:lnTo>
                      <a:pt x="203" y="174"/>
                    </a:lnTo>
                    <a:lnTo>
                      <a:pt x="203" y="173"/>
                    </a:lnTo>
                    <a:lnTo>
                      <a:pt x="203" y="171"/>
                    </a:lnTo>
                    <a:lnTo>
                      <a:pt x="204" y="171"/>
                    </a:lnTo>
                    <a:lnTo>
                      <a:pt x="204" y="169"/>
                    </a:lnTo>
                    <a:lnTo>
                      <a:pt x="206" y="169"/>
                    </a:lnTo>
                    <a:lnTo>
                      <a:pt x="206" y="168"/>
                    </a:lnTo>
                    <a:lnTo>
                      <a:pt x="207" y="168"/>
                    </a:lnTo>
                    <a:lnTo>
                      <a:pt x="207" y="166"/>
                    </a:lnTo>
                    <a:lnTo>
                      <a:pt x="209" y="166"/>
                    </a:lnTo>
                    <a:lnTo>
                      <a:pt x="211" y="166"/>
                    </a:lnTo>
                    <a:lnTo>
                      <a:pt x="212" y="166"/>
                    </a:lnTo>
                    <a:lnTo>
                      <a:pt x="214" y="166"/>
                    </a:lnTo>
                    <a:lnTo>
                      <a:pt x="215" y="166"/>
                    </a:lnTo>
                    <a:lnTo>
                      <a:pt x="215" y="165"/>
                    </a:lnTo>
                    <a:lnTo>
                      <a:pt x="215" y="163"/>
                    </a:lnTo>
                    <a:lnTo>
                      <a:pt x="217" y="163"/>
                    </a:lnTo>
                    <a:lnTo>
                      <a:pt x="217" y="161"/>
                    </a:lnTo>
                    <a:lnTo>
                      <a:pt x="219" y="161"/>
                    </a:lnTo>
                    <a:lnTo>
                      <a:pt x="219" y="160"/>
                    </a:lnTo>
                    <a:lnTo>
                      <a:pt x="219" y="158"/>
                    </a:lnTo>
                    <a:lnTo>
                      <a:pt x="217" y="158"/>
                    </a:lnTo>
                    <a:lnTo>
                      <a:pt x="217" y="157"/>
                    </a:lnTo>
                    <a:lnTo>
                      <a:pt x="219" y="157"/>
                    </a:lnTo>
                    <a:lnTo>
                      <a:pt x="220" y="157"/>
                    </a:lnTo>
                    <a:lnTo>
                      <a:pt x="222" y="157"/>
                    </a:lnTo>
                    <a:lnTo>
                      <a:pt x="222" y="155"/>
                    </a:lnTo>
                    <a:lnTo>
                      <a:pt x="222" y="154"/>
                    </a:lnTo>
                    <a:lnTo>
                      <a:pt x="223" y="154"/>
                    </a:lnTo>
                    <a:lnTo>
                      <a:pt x="223" y="152"/>
                    </a:lnTo>
                    <a:lnTo>
                      <a:pt x="225" y="150"/>
                    </a:lnTo>
                    <a:lnTo>
                      <a:pt x="223" y="150"/>
                    </a:lnTo>
                    <a:lnTo>
                      <a:pt x="223" y="149"/>
                    </a:lnTo>
                    <a:lnTo>
                      <a:pt x="223" y="147"/>
                    </a:lnTo>
                    <a:lnTo>
                      <a:pt x="223" y="146"/>
                    </a:lnTo>
                    <a:lnTo>
                      <a:pt x="222" y="146"/>
                    </a:lnTo>
                    <a:lnTo>
                      <a:pt x="220" y="146"/>
                    </a:lnTo>
                    <a:lnTo>
                      <a:pt x="219" y="146"/>
                    </a:lnTo>
                    <a:lnTo>
                      <a:pt x="219" y="144"/>
                    </a:lnTo>
                    <a:lnTo>
                      <a:pt x="217" y="144"/>
                    </a:lnTo>
                    <a:lnTo>
                      <a:pt x="217" y="142"/>
                    </a:lnTo>
                    <a:lnTo>
                      <a:pt x="217" y="141"/>
                    </a:lnTo>
                    <a:lnTo>
                      <a:pt x="217" y="139"/>
                    </a:lnTo>
                    <a:lnTo>
                      <a:pt x="219" y="139"/>
                    </a:lnTo>
                    <a:lnTo>
                      <a:pt x="220" y="139"/>
                    </a:lnTo>
                    <a:lnTo>
                      <a:pt x="220" y="138"/>
                    </a:lnTo>
                    <a:lnTo>
                      <a:pt x="222" y="138"/>
                    </a:lnTo>
                    <a:lnTo>
                      <a:pt x="222" y="136"/>
                    </a:lnTo>
                    <a:lnTo>
                      <a:pt x="222" y="135"/>
                    </a:lnTo>
                    <a:lnTo>
                      <a:pt x="223" y="133"/>
                    </a:lnTo>
                    <a:lnTo>
                      <a:pt x="223" y="131"/>
                    </a:lnTo>
                    <a:lnTo>
                      <a:pt x="225" y="130"/>
                    </a:lnTo>
                    <a:lnTo>
                      <a:pt x="225" y="128"/>
                    </a:lnTo>
                    <a:lnTo>
                      <a:pt x="226" y="128"/>
                    </a:lnTo>
                    <a:lnTo>
                      <a:pt x="226" y="127"/>
                    </a:lnTo>
                    <a:lnTo>
                      <a:pt x="228" y="125"/>
                    </a:lnTo>
                    <a:lnTo>
                      <a:pt x="228" y="123"/>
                    </a:lnTo>
                    <a:lnTo>
                      <a:pt x="226" y="123"/>
                    </a:lnTo>
                    <a:lnTo>
                      <a:pt x="226" y="122"/>
                    </a:lnTo>
                    <a:lnTo>
                      <a:pt x="225" y="122"/>
                    </a:lnTo>
                    <a:lnTo>
                      <a:pt x="225" y="120"/>
                    </a:lnTo>
                    <a:lnTo>
                      <a:pt x="223" y="120"/>
                    </a:lnTo>
                    <a:lnTo>
                      <a:pt x="223" y="119"/>
                    </a:lnTo>
                    <a:lnTo>
                      <a:pt x="222" y="119"/>
                    </a:lnTo>
                    <a:lnTo>
                      <a:pt x="220" y="119"/>
                    </a:lnTo>
                    <a:lnTo>
                      <a:pt x="220" y="117"/>
                    </a:lnTo>
                    <a:lnTo>
                      <a:pt x="219" y="117"/>
                    </a:lnTo>
                    <a:lnTo>
                      <a:pt x="219" y="116"/>
                    </a:lnTo>
                    <a:lnTo>
                      <a:pt x="217" y="114"/>
                    </a:lnTo>
                    <a:lnTo>
                      <a:pt x="219" y="114"/>
                    </a:lnTo>
                    <a:lnTo>
                      <a:pt x="219" y="112"/>
                    </a:lnTo>
                    <a:lnTo>
                      <a:pt x="217" y="112"/>
                    </a:lnTo>
                    <a:lnTo>
                      <a:pt x="217" y="111"/>
                    </a:lnTo>
                    <a:lnTo>
                      <a:pt x="215" y="111"/>
                    </a:lnTo>
                    <a:lnTo>
                      <a:pt x="215" y="109"/>
                    </a:lnTo>
                    <a:lnTo>
                      <a:pt x="217" y="108"/>
                    </a:lnTo>
                    <a:lnTo>
                      <a:pt x="217" y="109"/>
                    </a:lnTo>
                    <a:lnTo>
                      <a:pt x="219" y="109"/>
                    </a:lnTo>
                    <a:lnTo>
                      <a:pt x="219" y="108"/>
                    </a:lnTo>
                    <a:lnTo>
                      <a:pt x="220" y="108"/>
                    </a:lnTo>
                    <a:lnTo>
                      <a:pt x="220" y="106"/>
                    </a:lnTo>
                    <a:lnTo>
                      <a:pt x="220" y="104"/>
                    </a:lnTo>
                    <a:lnTo>
                      <a:pt x="219" y="104"/>
                    </a:lnTo>
                    <a:lnTo>
                      <a:pt x="219" y="103"/>
                    </a:lnTo>
                    <a:lnTo>
                      <a:pt x="220" y="101"/>
                    </a:lnTo>
                    <a:lnTo>
                      <a:pt x="222" y="101"/>
                    </a:lnTo>
                    <a:lnTo>
                      <a:pt x="223" y="101"/>
                    </a:lnTo>
                    <a:lnTo>
                      <a:pt x="223" y="103"/>
                    </a:lnTo>
                    <a:lnTo>
                      <a:pt x="225" y="103"/>
                    </a:lnTo>
                    <a:lnTo>
                      <a:pt x="226" y="103"/>
                    </a:lnTo>
                    <a:lnTo>
                      <a:pt x="226" y="104"/>
                    </a:lnTo>
                    <a:lnTo>
                      <a:pt x="228" y="106"/>
                    </a:lnTo>
                    <a:lnTo>
                      <a:pt x="230" y="106"/>
                    </a:lnTo>
                    <a:lnTo>
                      <a:pt x="230" y="108"/>
                    </a:lnTo>
                    <a:lnTo>
                      <a:pt x="231" y="108"/>
                    </a:lnTo>
                    <a:lnTo>
                      <a:pt x="233" y="109"/>
                    </a:lnTo>
                    <a:lnTo>
                      <a:pt x="234" y="109"/>
                    </a:lnTo>
                    <a:lnTo>
                      <a:pt x="234" y="111"/>
                    </a:lnTo>
                    <a:lnTo>
                      <a:pt x="236" y="111"/>
                    </a:lnTo>
                    <a:lnTo>
                      <a:pt x="238" y="111"/>
                    </a:lnTo>
                    <a:lnTo>
                      <a:pt x="239" y="111"/>
                    </a:lnTo>
                    <a:lnTo>
                      <a:pt x="241" y="111"/>
                    </a:lnTo>
                    <a:lnTo>
                      <a:pt x="242" y="111"/>
                    </a:lnTo>
                    <a:lnTo>
                      <a:pt x="242" y="109"/>
                    </a:lnTo>
                    <a:lnTo>
                      <a:pt x="242" y="108"/>
                    </a:lnTo>
                    <a:lnTo>
                      <a:pt x="244" y="108"/>
                    </a:lnTo>
                    <a:lnTo>
                      <a:pt x="244" y="106"/>
                    </a:lnTo>
                    <a:lnTo>
                      <a:pt x="244" y="104"/>
                    </a:lnTo>
                    <a:lnTo>
                      <a:pt x="244" y="103"/>
                    </a:lnTo>
                    <a:lnTo>
                      <a:pt x="244" y="101"/>
                    </a:lnTo>
                    <a:lnTo>
                      <a:pt x="245" y="101"/>
                    </a:lnTo>
                    <a:lnTo>
                      <a:pt x="245" y="100"/>
                    </a:lnTo>
                    <a:lnTo>
                      <a:pt x="247" y="100"/>
                    </a:lnTo>
                    <a:lnTo>
                      <a:pt x="247" y="101"/>
                    </a:lnTo>
                    <a:lnTo>
                      <a:pt x="249" y="101"/>
                    </a:lnTo>
                    <a:lnTo>
                      <a:pt x="250" y="101"/>
                    </a:lnTo>
                    <a:lnTo>
                      <a:pt x="250" y="103"/>
                    </a:lnTo>
                    <a:lnTo>
                      <a:pt x="252" y="103"/>
                    </a:lnTo>
                    <a:lnTo>
                      <a:pt x="253" y="103"/>
                    </a:lnTo>
                    <a:lnTo>
                      <a:pt x="255" y="103"/>
                    </a:lnTo>
                    <a:lnTo>
                      <a:pt x="257" y="103"/>
                    </a:lnTo>
                    <a:lnTo>
                      <a:pt x="258" y="103"/>
                    </a:lnTo>
                    <a:lnTo>
                      <a:pt x="260" y="103"/>
                    </a:lnTo>
                    <a:lnTo>
                      <a:pt x="261" y="103"/>
                    </a:lnTo>
                    <a:lnTo>
                      <a:pt x="261" y="104"/>
                    </a:lnTo>
                    <a:lnTo>
                      <a:pt x="263" y="104"/>
                    </a:lnTo>
                    <a:lnTo>
                      <a:pt x="263" y="106"/>
                    </a:lnTo>
                    <a:lnTo>
                      <a:pt x="261" y="106"/>
                    </a:lnTo>
                    <a:lnTo>
                      <a:pt x="263" y="106"/>
                    </a:lnTo>
                    <a:lnTo>
                      <a:pt x="263" y="108"/>
                    </a:lnTo>
                    <a:lnTo>
                      <a:pt x="261" y="108"/>
                    </a:lnTo>
                    <a:lnTo>
                      <a:pt x="261" y="109"/>
                    </a:lnTo>
                    <a:lnTo>
                      <a:pt x="261" y="111"/>
                    </a:lnTo>
                    <a:lnTo>
                      <a:pt x="261" y="112"/>
                    </a:lnTo>
                    <a:lnTo>
                      <a:pt x="261" y="114"/>
                    </a:lnTo>
                    <a:lnTo>
                      <a:pt x="261" y="116"/>
                    </a:lnTo>
                    <a:lnTo>
                      <a:pt x="261" y="117"/>
                    </a:lnTo>
                    <a:lnTo>
                      <a:pt x="263" y="119"/>
                    </a:lnTo>
                    <a:lnTo>
                      <a:pt x="261" y="119"/>
                    </a:lnTo>
                    <a:lnTo>
                      <a:pt x="261" y="120"/>
                    </a:lnTo>
                    <a:lnTo>
                      <a:pt x="261" y="122"/>
                    </a:lnTo>
                    <a:lnTo>
                      <a:pt x="260" y="122"/>
                    </a:lnTo>
                    <a:lnTo>
                      <a:pt x="260" y="123"/>
                    </a:lnTo>
                    <a:lnTo>
                      <a:pt x="260" y="125"/>
                    </a:lnTo>
                    <a:lnTo>
                      <a:pt x="260" y="127"/>
                    </a:lnTo>
                    <a:lnTo>
                      <a:pt x="260" y="128"/>
                    </a:lnTo>
                    <a:lnTo>
                      <a:pt x="261" y="130"/>
                    </a:lnTo>
                    <a:lnTo>
                      <a:pt x="260" y="130"/>
                    </a:lnTo>
                    <a:lnTo>
                      <a:pt x="261" y="130"/>
                    </a:lnTo>
                    <a:lnTo>
                      <a:pt x="263" y="130"/>
                    </a:lnTo>
                    <a:lnTo>
                      <a:pt x="263" y="131"/>
                    </a:lnTo>
                    <a:lnTo>
                      <a:pt x="264" y="131"/>
                    </a:lnTo>
                    <a:lnTo>
                      <a:pt x="264" y="133"/>
                    </a:lnTo>
                    <a:lnTo>
                      <a:pt x="266" y="133"/>
                    </a:lnTo>
                    <a:lnTo>
                      <a:pt x="268" y="133"/>
                    </a:lnTo>
                    <a:lnTo>
                      <a:pt x="269" y="133"/>
                    </a:lnTo>
                    <a:lnTo>
                      <a:pt x="271" y="133"/>
                    </a:lnTo>
                    <a:lnTo>
                      <a:pt x="272" y="133"/>
                    </a:lnTo>
                    <a:lnTo>
                      <a:pt x="272" y="135"/>
                    </a:lnTo>
                    <a:lnTo>
                      <a:pt x="274" y="135"/>
                    </a:lnTo>
                    <a:lnTo>
                      <a:pt x="276" y="135"/>
                    </a:lnTo>
                    <a:lnTo>
                      <a:pt x="276" y="133"/>
                    </a:lnTo>
                    <a:lnTo>
                      <a:pt x="277" y="133"/>
                    </a:lnTo>
                    <a:lnTo>
                      <a:pt x="277" y="131"/>
                    </a:lnTo>
                    <a:lnTo>
                      <a:pt x="279" y="131"/>
                    </a:lnTo>
                    <a:lnTo>
                      <a:pt x="279" y="130"/>
                    </a:lnTo>
                    <a:lnTo>
                      <a:pt x="280" y="127"/>
                    </a:lnTo>
                    <a:lnTo>
                      <a:pt x="280" y="125"/>
                    </a:lnTo>
                    <a:lnTo>
                      <a:pt x="282" y="125"/>
                    </a:lnTo>
                    <a:lnTo>
                      <a:pt x="283" y="125"/>
                    </a:lnTo>
                    <a:lnTo>
                      <a:pt x="285" y="125"/>
                    </a:lnTo>
                    <a:lnTo>
                      <a:pt x="287" y="125"/>
                    </a:lnTo>
                    <a:lnTo>
                      <a:pt x="287" y="123"/>
                    </a:lnTo>
                    <a:lnTo>
                      <a:pt x="288" y="123"/>
                    </a:lnTo>
                    <a:lnTo>
                      <a:pt x="290" y="123"/>
                    </a:lnTo>
                    <a:lnTo>
                      <a:pt x="290" y="122"/>
                    </a:lnTo>
                    <a:lnTo>
                      <a:pt x="302" y="123"/>
                    </a:lnTo>
                    <a:lnTo>
                      <a:pt x="302" y="125"/>
                    </a:lnTo>
                    <a:lnTo>
                      <a:pt x="302" y="127"/>
                    </a:lnTo>
                    <a:lnTo>
                      <a:pt x="304" y="127"/>
                    </a:lnTo>
                    <a:lnTo>
                      <a:pt x="304" y="128"/>
                    </a:lnTo>
                    <a:lnTo>
                      <a:pt x="304" y="130"/>
                    </a:lnTo>
                    <a:lnTo>
                      <a:pt x="306" y="130"/>
                    </a:lnTo>
                    <a:lnTo>
                      <a:pt x="306" y="131"/>
                    </a:lnTo>
                    <a:lnTo>
                      <a:pt x="307" y="131"/>
                    </a:lnTo>
                    <a:lnTo>
                      <a:pt x="307" y="133"/>
                    </a:lnTo>
                    <a:lnTo>
                      <a:pt x="309" y="133"/>
                    </a:lnTo>
                    <a:lnTo>
                      <a:pt x="309" y="135"/>
                    </a:lnTo>
                    <a:lnTo>
                      <a:pt x="310" y="135"/>
                    </a:lnTo>
                    <a:lnTo>
                      <a:pt x="312" y="135"/>
                    </a:lnTo>
                    <a:lnTo>
                      <a:pt x="314" y="135"/>
                    </a:lnTo>
                    <a:lnTo>
                      <a:pt x="315" y="135"/>
                    </a:lnTo>
                    <a:lnTo>
                      <a:pt x="317" y="135"/>
                    </a:lnTo>
                    <a:lnTo>
                      <a:pt x="318" y="135"/>
                    </a:lnTo>
                    <a:lnTo>
                      <a:pt x="318" y="136"/>
                    </a:lnTo>
                    <a:lnTo>
                      <a:pt x="320" y="135"/>
                    </a:lnTo>
                    <a:lnTo>
                      <a:pt x="320" y="133"/>
                    </a:lnTo>
                    <a:lnTo>
                      <a:pt x="321" y="133"/>
                    </a:lnTo>
                    <a:lnTo>
                      <a:pt x="323" y="133"/>
                    </a:lnTo>
                    <a:lnTo>
                      <a:pt x="323" y="131"/>
                    </a:lnTo>
                    <a:lnTo>
                      <a:pt x="325" y="131"/>
                    </a:lnTo>
                    <a:lnTo>
                      <a:pt x="325" y="130"/>
                    </a:lnTo>
                    <a:lnTo>
                      <a:pt x="326" y="130"/>
                    </a:lnTo>
                    <a:lnTo>
                      <a:pt x="326" y="131"/>
                    </a:lnTo>
                    <a:lnTo>
                      <a:pt x="328" y="131"/>
                    </a:lnTo>
                    <a:lnTo>
                      <a:pt x="329" y="131"/>
                    </a:lnTo>
                    <a:lnTo>
                      <a:pt x="329" y="133"/>
                    </a:lnTo>
                    <a:lnTo>
                      <a:pt x="331" y="133"/>
                    </a:lnTo>
                    <a:lnTo>
                      <a:pt x="333" y="133"/>
                    </a:lnTo>
                    <a:lnTo>
                      <a:pt x="333" y="135"/>
                    </a:lnTo>
                    <a:lnTo>
                      <a:pt x="334" y="135"/>
                    </a:lnTo>
                    <a:lnTo>
                      <a:pt x="334" y="136"/>
                    </a:lnTo>
                    <a:lnTo>
                      <a:pt x="336" y="136"/>
                    </a:lnTo>
                    <a:lnTo>
                      <a:pt x="336" y="138"/>
                    </a:lnTo>
                    <a:lnTo>
                      <a:pt x="337" y="138"/>
                    </a:lnTo>
                    <a:lnTo>
                      <a:pt x="337" y="139"/>
                    </a:lnTo>
                    <a:lnTo>
                      <a:pt x="339" y="139"/>
                    </a:lnTo>
                    <a:lnTo>
                      <a:pt x="339" y="141"/>
                    </a:lnTo>
                    <a:lnTo>
                      <a:pt x="340" y="139"/>
                    </a:lnTo>
                    <a:lnTo>
                      <a:pt x="340" y="141"/>
                    </a:lnTo>
                    <a:lnTo>
                      <a:pt x="342" y="141"/>
                    </a:lnTo>
                    <a:lnTo>
                      <a:pt x="344" y="141"/>
                    </a:lnTo>
                    <a:lnTo>
                      <a:pt x="345" y="141"/>
                    </a:lnTo>
                    <a:lnTo>
                      <a:pt x="345" y="142"/>
                    </a:lnTo>
                    <a:lnTo>
                      <a:pt x="345" y="144"/>
                    </a:lnTo>
                    <a:lnTo>
                      <a:pt x="347" y="144"/>
                    </a:lnTo>
                    <a:lnTo>
                      <a:pt x="345" y="144"/>
                    </a:lnTo>
                    <a:lnTo>
                      <a:pt x="345" y="146"/>
                    </a:lnTo>
                    <a:lnTo>
                      <a:pt x="347" y="146"/>
                    </a:lnTo>
                    <a:lnTo>
                      <a:pt x="347" y="147"/>
                    </a:lnTo>
                    <a:lnTo>
                      <a:pt x="348" y="147"/>
                    </a:lnTo>
                    <a:lnTo>
                      <a:pt x="348" y="149"/>
                    </a:lnTo>
                    <a:lnTo>
                      <a:pt x="350" y="149"/>
                    </a:lnTo>
                    <a:lnTo>
                      <a:pt x="350" y="150"/>
                    </a:lnTo>
                    <a:lnTo>
                      <a:pt x="352" y="150"/>
                    </a:lnTo>
                    <a:lnTo>
                      <a:pt x="352" y="152"/>
                    </a:lnTo>
                    <a:lnTo>
                      <a:pt x="353" y="152"/>
                    </a:lnTo>
                    <a:lnTo>
                      <a:pt x="353" y="154"/>
                    </a:lnTo>
                    <a:lnTo>
                      <a:pt x="355" y="154"/>
                    </a:lnTo>
                    <a:lnTo>
                      <a:pt x="355" y="155"/>
                    </a:lnTo>
                    <a:lnTo>
                      <a:pt x="356" y="155"/>
                    </a:lnTo>
                    <a:lnTo>
                      <a:pt x="358" y="155"/>
                    </a:lnTo>
                    <a:lnTo>
                      <a:pt x="358" y="154"/>
                    </a:lnTo>
                    <a:lnTo>
                      <a:pt x="360" y="154"/>
                    </a:lnTo>
                    <a:lnTo>
                      <a:pt x="361" y="154"/>
                    </a:lnTo>
                    <a:lnTo>
                      <a:pt x="361" y="152"/>
                    </a:lnTo>
                    <a:lnTo>
                      <a:pt x="363" y="152"/>
                    </a:lnTo>
                    <a:lnTo>
                      <a:pt x="363" y="150"/>
                    </a:lnTo>
                    <a:lnTo>
                      <a:pt x="364" y="150"/>
                    </a:lnTo>
                    <a:lnTo>
                      <a:pt x="366" y="150"/>
                    </a:lnTo>
                    <a:lnTo>
                      <a:pt x="367" y="150"/>
                    </a:lnTo>
                    <a:lnTo>
                      <a:pt x="367" y="152"/>
                    </a:lnTo>
                    <a:lnTo>
                      <a:pt x="369" y="152"/>
                    </a:lnTo>
                    <a:lnTo>
                      <a:pt x="369" y="154"/>
                    </a:lnTo>
                    <a:lnTo>
                      <a:pt x="371" y="154"/>
                    </a:lnTo>
                    <a:lnTo>
                      <a:pt x="371" y="152"/>
                    </a:lnTo>
                    <a:lnTo>
                      <a:pt x="371" y="154"/>
                    </a:lnTo>
                    <a:lnTo>
                      <a:pt x="371" y="155"/>
                    </a:lnTo>
                    <a:lnTo>
                      <a:pt x="369" y="155"/>
                    </a:lnTo>
                    <a:lnTo>
                      <a:pt x="369" y="157"/>
                    </a:lnTo>
                    <a:lnTo>
                      <a:pt x="369" y="158"/>
                    </a:lnTo>
                    <a:lnTo>
                      <a:pt x="369" y="160"/>
                    </a:lnTo>
                    <a:lnTo>
                      <a:pt x="367" y="160"/>
                    </a:lnTo>
                    <a:lnTo>
                      <a:pt x="367" y="161"/>
                    </a:lnTo>
                    <a:lnTo>
                      <a:pt x="366" y="161"/>
                    </a:lnTo>
                    <a:lnTo>
                      <a:pt x="364" y="161"/>
                    </a:lnTo>
                    <a:lnTo>
                      <a:pt x="363" y="161"/>
                    </a:lnTo>
                    <a:lnTo>
                      <a:pt x="361" y="161"/>
                    </a:lnTo>
                    <a:lnTo>
                      <a:pt x="361" y="160"/>
                    </a:lnTo>
                    <a:lnTo>
                      <a:pt x="360" y="160"/>
                    </a:lnTo>
                    <a:lnTo>
                      <a:pt x="358" y="160"/>
                    </a:lnTo>
                    <a:lnTo>
                      <a:pt x="356" y="160"/>
                    </a:lnTo>
                    <a:lnTo>
                      <a:pt x="355" y="160"/>
                    </a:lnTo>
                    <a:lnTo>
                      <a:pt x="356" y="160"/>
                    </a:lnTo>
                    <a:lnTo>
                      <a:pt x="356" y="161"/>
                    </a:lnTo>
                    <a:lnTo>
                      <a:pt x="356" y="163"/>
                    </a:lnTo>
                    <a:lnTo>
                      <a:pt x="358" y="165"/>
                    </a:lnTo>
                    <a:lnTo>
                      <a:pt x="358" y="166"/>
                    </a:lnTo>
                    <a:lnTo>
                      <a:pt x="358" y="168"/>
                    </a:lnTo>
                    <a:lnTo>
                      <a:pt x="360" y="168"/>
                    </a:lnTo>
                    <a:lnTo>
                      <a:pt x="361" y="169"/>
                    </a:lnTo>
                    <a:lnTo>
                      <a:pt x="363" y="169"/>
                    </a:lnTo>
                    <a:lnTo>
                      <a:pt x="363" y="171"/>
                    </a:lnTo>
                    <a:lnTo>
                      <a:pt x="363" y="173"/>
                    </a:lnTo>
                    <a:lnTo>
                      <a:pt x="363" y="174"/>
                    </a:lnTo>
                    <a:lnTo>
                      <a:pt x="364" y="174"/>
                    </a:lnTo>
                    <a:lnTo>
                      <a:pt x="364" y="176"/>
                    </a:lnTo>
                    <a:lnTo>
                      <a:pt x="366" y="176"/>
                    </a:lnTo>
                    <a:lnTo>
                      <a:pt x="364" y="176"/>
                    </a:lnTo>
                    <a:lnTo>
                      <a:pt x="363" y="177"/>
                    </a:lnTo>
                    <a:lnTo>
                      <a:pt x="361" y="177"/>
                    </a:lnTo>
                    <a:lnTo>
                      <a:pt x="363" y="177"/>
                    </a:lnTo>
                    <a:lnTo>
                      <a:pt x="363" y="179"/>
                    </a:lnTo>
                    <a:lnTo>
                      <a:pt x="364" y="179"/>
                    </a:lnTo>
                    <a:lnTo>
                      <a:pt x="364" y="180"/>
                    </a:lnTo>
                    <a:lnTo>
                      <a:pt x="366" y="180"/>
                    </a:lnTo>
                    <a:lnTo>
                      <a:pt x="366" y="182"/>
                    </a:lnTo>
                    <a:lnTo>
                      <a:pt x="366" y="184"/>
                    </a:lnTo>
                    <a:lnTo>
                      <a:pt x="367" y="184"/>
                    </a:lnTo>
                    <a:lnTo>
                      <a:pt x="367" y="185"/>
                    </a:lnTo>
                    <a:lnTo>
                      <a:pt x="367" y="187"/>
                    </a:lnTo>
                    <a:lnTo>
                      <a:pt x="367" y="188"/>
                    </a:lnTo>
                    <a:lnTo>
                      <a:pt x="366" y="190"/>
                    </a:lnTo>
                    <a:lnTo>
                      <a:pt x="364" y="190"/>
                    </a:lnTo>
                    <a:lnTo>
                      <a:pt x="363" y="190"/>
                    </a:lnTo>
                    <a:lnTo>
                      <a:pt x="361" y="192"/>
                    </a:lnTo>
                    <a:lnTo>
                      <a:pt x="360" y="192"/>
                    </a:lnTo>
                    <a:lnTo>
                      <a:pt x="361" y="192"/>
                    </a:lnTo>
                    <a:lnTo>
                      <a:pt x="361" y="193"/>
                    </a:lnTo>
                    <a:lnTo>
                      <a:pt x="363" y="193"/>
                    </a:lnTo>
                    <a:lnTo>
                      <a:pt x="363" y="195"/>
                    </a:lnTo>
                    <a:lnTo>
                      <a:pt x="364" y="195"/>
                    </a:lnTo>
                    <a:lnTo>
                      <a:pt x="366" y="195"/>
                    </a:lnTo>
                    <a:lnTo>
                      <a:pt x="367" y="195"/>
                    </a:lnTo>
                    <a:lnTo>
                      <a:pt x="369" y="195"/>
                    </a:lnTo>
                    <a:lnTo>
                      <a:pt x="371" y="195"/>
                    </a:lnTo>
                    <a:lnTo>
                      <a:pt x="372" y="195"/>
                    </a:lnTo>
                    <a:lnTo>
                      <a:pt x="372" y="196"/>
                    </a:lnTo>
                    <a:lnTo>
                      <a:pt x="374" y="196"/>
                    </a:lnTo>
                    <a:lnTo>
                      <a:pt x="375" y="196"/>
                    </a:lnTo>
                    <a:lnTo>
                      <a:pt x="377" y="196"/>
                    </a:lnTo>
                    <a:lnTo>
                      <a:pt x="379" y="196"/>
                    </a:lnTo>
                    <a:lnTo>
                      <a:pt x="380" y="195"/>
                    </a:lnTo>
                    <a:lnTo>
                      <a:pt x="382" y="196"/>
                    </a:lnTo>
                    <a:lnTo>
                      <a:pt x="383" y="196"/>
                    </a:lnTo>
                    <a:lnTo>
                      <a:pt x="383" y="195"/>
                    </a:lnTo>
                    <a:lnTo>
                      <a:pt x="385" y="195"/>
                    </a:lnTo>
                    <a:lnTo>
                      <a:pt x="385" y="196"/>
                    </a:lnTo>
                    <a:lnTo>
                      <a:pt x="386" y="196"/>
                    </a:lnTo>
                    <a:lnTo>
                      <a:pt x="388" y="196"/>
                    </a:lnTo>
                    <a:lnTo>
                      <a:pt x="388" y="198"/>
                    </a:lnTo>
                    <a:lnTo>
                      <a:pt x="388" y="199"/>
                    </a:lnTo>
                    <a:lnTo>
                      <a:pt x="390" y="201"/>
                    </a:lnTo>
                    <a:lnTo>
                      <a:pt x="391" y="201"/>
                    </a:lnTo>
                    <a:lnTo>
                      <a:pt x="393" y="201"/>
                    </a:lnTo>
                    <a:lnTo>
                      <a:pt x="393" y="203"/>
                    </a:lnTo>
                    <a:lnTo>
                      <a:pt x="394" y="203"/>
                    </a:lnTo>
                    <a:lnTo>
                      <a:pt x="396" y="204"/>
                    </a:lnTo>
                    <a:lnTo>
                      <a:pt x="398" y="204"/>
                    </a:lnTo>
                    <a:lnTo>
                      <a:pt x="398" y="203"/>
                    </a:lnTo>
                    <a:lnTo>
                      <a:pt x="398" y="201"/>
                    </a:lnTo>
                    <a:lnTo>
                      <a:pt x="399" y="201"/>
                    </a:lnTo>
                    <a:lnTo>
                      <a:pt x="399" y="203"/>
                    </a:lnTo>
                    <a:lnTo>
                      <a:pt x="401" y="203"/>
                    </a:lnTo>
                    <a:lnTo>
                      <a:pt x="402" y="203"/>
                    </a:lnTo>
                    <a:lnTo>
                      <a:pt x="402" y="204"/>
                    </a:lnTo>
                    <a:lnTo>
                      <a:pt x="404" y="204"/>
                    </a:lnTo>
                    <a:lnTo>
                      <a:pt x="405" y="206"/>
                    </a:lnTo>
                    <a:lnTo>
                      <a:pt x="407" y="206"/>
                    </a:lnTo>
                    <a:lnTo>
                      <a:pt x="409" y="206"/>
                    </a:lnTo>
                    <a:lnTo>
                      <a:pt x="409" y="204"/>
                    </a:lnTo>
                    <a:lnTo>
                      <a:pt x="410" y="204"/>
                    </a:lnTo>
                    <a:lnTo>
                      <a:pt x="410" y="203"/>
                    </a:lnTo>
                    <a:lnTo>
                      <a:pt x="410" y="201"/>
                    </a:lnTo>
                    <a:lnTo>
                      <a:pt x="412" y="201"/>
                    </a:lnTo>
                    <a:lnTo>
                      <a:pt x="413" y="201"/>
                    </a:lnTo>
                    <a:lnTo>
                      <a:pt x="415" y="201"/>
                    </a:lnTo>
                    <a:lnTo>
                      <a:pt x="417" y="201"/>
                    </a:lnTo>
                    <a:lnTo>
                      <a:pt x="418" y="203"/>
                    </a:lnTo>
                    <a:lnTo>
                      <a:pt x="420" y="203"/>
                    </a:lnTo>
                    <a:lnTo>
                      <a:pt x="420" y="204"/>
                    </a:lnTo>
                    <a:lnTo>
                      <a:pt x="418" y="204"/>
                    </a:lnTo>
                    <a:lnTo>
                      <a:pt x="418" y="206"/>
                    </a:lnTo>
                    <a:lnTo>
                      <a:pt x="420" y="206"/>
                    </a:lnTo>
                    <a:lnTo>
                      <a:pt x="421" y="206"/>
                    </a:lnTo>
                    <a:lnTo>
                      <a:pt x="421" y="207"/>
                    </a:lnTo>
                    <a:lnTo>
                      <a:pt x="421" y="209"/>
                    </a:lnTo>
                    <a:lnTo>
                      <a:pt x="421" y="211"/>
                    </a:lnTo>
                    <a:lnTo>
                      <a:pt x="423" y="211"/>
                    </a:lnTo>
                    <a:lnTo>
                      <a:pt x="424" y="211"/>
                    </a:lnTo>
                    <a:lnTo>
                      <a:pt x="424" y="212"/>
                    </a:lnTo>
                    <a:lnTo>
                      <a:pt x="426" y="212"/>
                    </a:lnTo>
                    <a:lnTo>
                      <a:pt x="428" y="212"/>
                    </a:lnTo>
                    <a:lnTo>
                      <a:pt x="428" y="214"/>
                    </a:lnTo>
                    <a:lnTo>
                      <a:pt x="429" y="214"/>
                    </a:lnTo>
                    <a:lnTo>
                      <a:pt x="428" y="215"/>
                    </a:lnTo>
                    <a:lnTo>
                      <a:pt x="428" y="217"/>
                    </a:lnTo>
                    <a:lnTo>
                      <a:pt x="429" y="217"/>
                    </a:lnTo>
                    <a:lnTo>
                      <a:pt x="431" y="217"/>
                    </a:lnTo>
                    <a:lnTo>
                      <a:pt x="432" y="217"/>
                    </a:lnTo>
                    <a:lnTo>
                      <a:pt x="434" y="217"/>
                    </a:lnTo>
                    <a:lnTo>
                      <a:pt x="436" y="217"/>
                    </a:lnTo>
                    <a:lnTo>
                      <a:pt x="436" y="215"/>
                    </a:lnTo>
                    <a:lnTo>
                      <a:pt x="437" y="214"/>
                    </a:lnTo>
                    <a:lnTo>
                      <a:pt x="439" y="214"/>
                    </a:lnTo>
                    <a:lnTo>
                      <a:pt x="440" y="214"/>
                    </a:lnTo>
                    <a:lnTo>
                      <a:pt x="442" y="214"/>
                    </a:lnTo>
                    <a:lnTo>
                      <a:pt x="443" y="214"/>
                    </a:lnTo>
                    <a:lnTo>
                      <a:pt x="443" y="215"/>
                    </a:lnTo>
                    <a:lnTo>
                      <a:pt x="443" y="217"/>
                    </a:lnTo>
                    <a:lnTo>
                      <a:pt x="445" y="217"/>
                    </a:lnTo>
                    <a:lnTo>
                      <a:pt x="445" y="219"/>
                    </a:lnTo>
                    <a:lnTo>
                      <a:pt x="445" y="220"/>
                    </a:lnTo>
                    <a:lnTo>
                      <a:pt x="445" y="222"/>
                    </a:lnTo>
                    <a:lnTo>
                      <a:pt x="443" y="222"/>
                    </a:lnTo>
                    <a:lnTo>
                      <a:pt x="443" y="223"/>
                    </a:lnTo>
                    <a:lnTo>
                      <a:pt x="443" y="225"/>
                    </a:lnTo>
                    <a:lnTo>
                      <a:pt x="445" y="225"/>
                    </a:lnTo>
                    <a:lnTo>
                      <a:pt x="445" y="226"/>
                    </a:lnTo>
                    <a:lnTo>
                      <a:pt x="445" y="228"/>
                    </a:lnTo>
                    <a:lnTo>
                      <a:pt x="445" y="230"/>
                    </a:lnTo>
                    <a:lnTo>
                      <a:pt x="445" y="231"/>
                    </a:lnTo>
                    <a:lnTo>
                      <a:pt x="447" y="231"/>
                    </a:lnTo>
                    <a:lnTo>
                      <a:pt x="447" y="233"/>
                    </a:lnTo>
                    <a:lnTo>
                      <a:pt x="448" y="233"/>
                    </a:lnTo>
                    <a:lnTo>
                      <a:pt x="448" y="234"/>
                    </a:lnTo>
                    <a:lnTo>
                      <a:pt x="448" y="236"/>
                    </a:lnTo>
                    <a:lnTo>
                      <a:pt x="448" y="238"/>
                    </a:lnTo>
                    <a:lnTo>
                      <a:pt x="448" y="239"/>
                    </a:lnTo>
                    <a:lnTo>
                      <a:pt x="448" y="241"/>
                    </a:lnTo>
                    <a:lnTo>
                      <a:pt x="448" y="242"/>
                    </a:lnTo>
                    <a:lnTo>
                      <a:pt x="448" y="244"/>
                    </a:lnTo>
                    <a:lnTo>
                      <a:pt x="448" y="245"/>
                    </a:lnTo>
                    <a:lnTo>
                      <a:pt x="448" y="247"/>
                    </a:lnTo>
                    <a:lnTo>
                      <a:pt x="448" y="249"/>
                    </a:lnTo>
                    <a:lnTo>
                      <a:pt x="448" y="250"/>
                    </a:lnTo>
                    <a:lnTo>
                      <a:pt x="450" y="252"/>
                    </a:lnTo>
                    <a:lnTo>
                      <a:pt x="451" y="252"/>
                    </a:lnTo>
                    <a:lnTo>
                      <a:pt x="453" y="252"/>
                    </a:lnTo>
                    <a:lnTo>
                      <a:pt x="455" y="252"/>
                    </a:lnTo>
                    <a:lnTo>
                      <a:pt x="455" y="253"/>
                    </a:lnTo>
                    <a:lnTo>
                      <a:pt x="456" y="253"/>
                    </a:lnTo>
                    <a:lnTo>
                      <a:pt x="456" y="255"/>
                    </a:lnTo>
                    <a:lnTo>
                      <a:pt x="458" y="257"/>
                    </a:lnTo>
                    <a:lnTo>
                      <a:pt x="459" y="257"/>
                    </a:lnTo>
                    <a:lnTo>
                      <a:pt x="459" y="258"/>
                    </a:lnTo>
                    <a:lnTo>
                      <a:pt x="461" y="258"/>
                    </a:lnTo>
                    <a:lnTo>
                      <a:pt x="461" y="260"/>
                    </a:lnTo>
                    <a:lnTo>
                      <a:pt x="462" y="261"/>
                    </a:lnTo>
                    <a:lnTo>
                      <a:pt x="464" y="261"/>
                    </a:lnTo>
                    <a:lnTo>
                      <a:pt x="464" y="263"/>
                    </a:lnTo>
                    <a:lnTo>
                      <a:pt x="466" y="263"/>
                    </a:lnTo>
                    <a:lnTo>
                      <a:pt x="467" y="263"/>
                    </a:lnTo>
                    <a:lnTo>
                      <a:pt x="467" y="261"/>
                    </a:lnTo>
                    <a:lnTo>
                      <a:pt x="469" y="261"/>
                    </a:lnTo>
                    <a:lnTo>
                      <a:pt x="470" y="261"/>
                    </a:lnTo>
                    <a:lnTo>
                      <a:pt x="470" y="263"/>
                    </a:lnTo>
                    <a:lnTo>
                      <a:pt x="472" y="263"/>
                    </a:lnTo>
                    <a:lnTo>
                      <a:pt x="472" y="261"/>
                    </a:lnTo>
                    <a:lnTo>
                      <a:pt x="474" y="261"/>
                    </a:lnTo>
                    <a:lnTo>
                      <a:pt x="475" y="261"/>
                    </a:lnTo>
                    <a:lnTo>
                      <a:pt x="475" y="263"/>
                    </a:lnTo>
                    <a:lnTo>
                      <a:pt x="475" y="264"/>
                    </a:lnTo>
                    <a:lnTo>
                      <a:pt x="477" y="264"/>
                    </a:lnTo>
                    <a:lnTo>
                      <a:pt x="478" y="264"/>
                    </a:lnTo>
                    <a:lnTo>
                      <a:pt x="478" y="266"/>
                    </a:lnTo>
                    <a:lnTo>
                      <a:pt x="480" y="266"/>
                    </a:lnTo>
                    <a:lnTo>
                      <a:pt x="480" y="268"/>
                    </a:lnTo>
                    <a:lnTo>
                      <a:pt x="480" y="269"/>
                    </a:lnTo>
                    <a:lnTo>
                      <a:pt x="480" y="271"/>
                    </a:lnTo>
                    <a:lnTo>
                      <a:pt x="481" y="271"/>
                    </a:lnTo>
                    <a:lnTo>
                      <a:pt x="481" y="272"/>
                    </a:lnTo>
                    <a:lnTo>
                      <a:pt x="481" y="274"/>
                    </a:lnTo>
                    <a:lnTo>
                      <a:pt x="483" y="274"/>
                    </a:lnTo>
                    <a:lnTo>
                      <a:pt x="483" y="276"/>
                    </a:lnTo>
                    <a:lnTo>
                      <a:pt x="485" y="276"/>
                    </a:lnTo>
                    <a:lnTo>
                      <a:pt x="485" y="277"/>
                    </a:lnTo>
                    <a:lnTo>
                      <a:pt x="483" y="277"/>
                    </a:lnTo>
                    <a:lnTo>
                      <a:pt x="483" y="279"/>
                    </a:lnTo>
                    <a:lnTo>
                      <a:pt x="485" y="279"/>
                    </a:lnTo>
                    <a:lnTo>
                      <a:pt x="485" y="280"/>
                    </a:lnTo>
                    <a:lnTo>
                      <a:pt x="483" y="280"/>
                    </a:lnTo>
                    <a:lnTo>
                      <a:pt x="481" y="280"/>
                    </a:lnTo>
                    <a:lnTo>
                      <a:pt x="481" y="282"/>
                    </a:lnTo>
                    <a:lnTo>
                      <a:pt x="481" y="280"/>
                    </a:lnTo>
                    <a:lnTo>
                      <a:pt x="480" y="280"/>
                    </a:lnTo>
                    <a:lnTo>
                      <a:pt x="478" y="280"/>
                    </a:lnTo>
                    <a:lnTo>
                      <a:pt x="478" y="282"/>
                    </a:lnTo>
                    <a:lnTo>
                      <a:pt x="477" y="282"/>
                    </a:lnTo>
                    <a:lnTo>
                      <a:pt x="477" y="283"/>
                    </a:lnTo>
                    <a:lnTo>
                      <a:pt x="475" y="283"/>
                    </a:lnTo>
                    <a:lnTo>
                      <a:pt x="475" y="285"/>
                    </a:lnTo>
                    <a:lnTo>
                      <a:pt x="475" y="287"/>
                    </a:lnTo>
                    <a:lnTo>
                      <a:pt x="475" y="288"/>
                    </a:lnTo>
                    <a:lnTo>
                      <a:pt x="477" y="290"/>
                    </a:lnTo>
                    <a:lnTo>
                      <a:pt x="477" y="291"/>
                    </a:lnTo>
                    <a:lnTo>
                      <a:pt x="477" y="293"/>
                    </a:lnTo>
                    <a:lnTo>
                      <a:pt x="477" y="295"/>
                    </a:lnTo>
                    <a:lnTo>
                      <a:pt x="475" y="295"/>
                    </a:lnTo>
                    <a:lnTo>
                      <a:pt x="475" y="296"/>
                    </a:lnTo>
                    <a:lnTo>
                      <a:pt x="475" y="298"/>
                    </a:lnTo>
                    <a:lnTo>
                      <a:pt x="475" y="299"/>
                    </a:lnTo>
                    <a:lnTo>
                      <a:pt x="474" y="299"/>
                    </a:lnTo>
                    <a:lnTo>
                      <a:pt x="474" y="301"/>
                    </a:lnTo>
                    <a:lnTo>
                      <a:pt x="474" y="302"/>
                    </a:lnTo>
                    <a:lnTo>
                      <a:pt x="474" y="304"/>
                    </a:lnTo>
                    <a:lnTo>
                      <a:pt x="474" y="306"/>
                    </a:lnTo>
                    <a:lnTo>
                      <a:pt x="474" y="307"/>
                    </a:lnTo>
                    <a:lnTo>
                      <a:pt x="475" y="309"/>
                    </a:lnTo>
                    <a:lnTo>
                      <a:pt x="475" y="307"/>
                    </a:lnTo>
                    <a:lnTo>
                      <a:pt x="477" y="309"/>
                    </a:lnTo>
                    <a:lnTo>
                      <a:pt x="478" y="309"/>
                    </a:lnTo>
                    <a:lnTo>
                      <a:pt x="478" y="310"/>
                    </a:lnTo>
                    <a:lnTo>
                      <a:pt x="480" y="310"/>
                    </a:lnTo>
                    <a:lnTo>
                      <a:pt x="481" y="310"/>
                    </a:lnTo>
                    <a:lnTo>
                      <a:pt x="483" y="310"/>
                    </a:lnTo>
                    <a:lnTo>
                      <a:pt x="485" y="312"/>
                    </a:lnTo>
                    <a:lnTo>
                      <a:pt x="486" y="312"/>
                    </a:lnTo>
                    <a:lnTo>
                      <a:pt x="488" y="312"/>
                    </a:lnTo>
                    <a:lnTo>
                      <a:pt x="489" y="312"/>
                    </a:lnTo>
                    <a:lnTo>
                      <a:pt x="489" y="310"/>
                    </a:lnTo>
                    <a:lnTo>
                      <a:pt x="489" y="309"/>
                    </a:lnTo>
                    <a:lnTo>
                      <a:pt x="491" y="309"/>
                    </a:lnTo>
                    <a:lnTo>
                      <a:pt x="493" y="310"/>
                    </a:lnTo>
                    <a:lnTo>
                      <a:pt x="494" y="310"/>
                    </a:lnTo>
                    <a:lnTo>
                      <a:pt x="496" y="310"/>
                    </a:lnTo>
                    <a:lnTo>
                      <a:pt x="496" y="309"/>
                    </a:lnTo>
                    <a:lnTo>
                      <a:pt x="497" y="309"/>
                    </a:lnTo>
                    <a:lnTo>
                      <a:pt x="497" y="310"/>
                    </a:lnTo>
                    <a:lnTo>
                      <a:pt x="497" y="309"/>
                    </a:lnTo>
                    <a:lnTo>
                      <a:pt x="499" y="309"/>
                    </a:lnTo>
                    <a:lnTo>
                      <a:pt x="499" y="307"/>
                    </a:lnTo>
                    <a:lnTo>
                      <a:pt x="499" y="306"/>
                    </a:lnTo>
                    <a:lnTo>
                      <a:pt x="500" y="307"/>
                    </a:lnTo>
                    <a:lnTo>
                      <a:pt x="502" y="307"/>
                    </a:lnTo>
                    <a:lnTo>
                      <a:pt x="504" y="307"/>
                    </a:lnTo>
                    <a:lnTo>
                      <a:pt x="505" y="307"/>
                    </a:lnTo>
                    <a:lnTo>
                      <a:pt x="507" y="307"/>
                    </a:lnTo>
                    <a:lnTo>
                      <a:pt x="508" y="307"/>
                    </a:lnTo>
                    <a:lnTo>
                      <a:pt x="510" y="307"/>
                    </a:lnTo>
                    <a:lnTo>
                      <a:pt x="512" y="307"/>
                    </a:lnTo>
                    <a:lnTo>
                      <a:pt x="513" y="307"/>
                    </a:lnTo>
                    <a:lnTo>
                      <a:pt x="515" y="307"/>
                    </a:lnTo>
                    <a:lnTo>
                      <a:pt x="516" y="307"/>
                    </a:lnTo>
                    <a:lnTo>
                      <a:pt x="518" y="307"/>
                    </a:lnTo>
                    <a:lnTo>
                      <a:pt x="519" y="307"/>
                    </a:lnTo>
                    <a:lnTo>
                      <a:pt x="521" y="306"/>
                    </a:lnTo>
                    <a:lnTo>
                      <a:pt x="521" y="307"/>
                    </a:lnTo>
                    <a:lnTo>
                      <a:pt x="521" y="309"/>
                    </a:lnTo>
                    <a:lnTo>
                      <a:pt x="523" y="309"/>
                    </a:lnTo>
                    <a:lnTo>
                      <a:pt x="523" y="310"/>
                    </a:lnTo>
                    <a:lnTo>
                      <a:pt x="523" y="312"/>
                    </a:lnTo>
                    <a:lnTo>
                      <a:pt x="521" y="314"/>
                    </a:lnTo>
                    <a:lnTo>
                      <a:pt x="521" y="315"/>
                    </a:lnTo>
                    <a:lnTo>
                      <a:pt x="521" y="317"/>
                    </a:lnTo>
                    <a:lnTo>
                      <a:pt x="523" y="317"/>
                    </a:lnTo>
                    <a:lnTo>
                      <a:pt x="523" y="318"/>
                    </a:lnTo>
                    <a:lnTo>
                      <a:pt x="524" y="318"/>
                    </a:lnTo>
                    <a:lnTo>
                      <a:pt x="526" y="318"/>
                    </a:lnTo>
                    <a:lnTo>
                      <a:pt x="527" y="318"/>
                    </a:lnTo>
                    <a:lnTo>
                      <a:pt x="531" y="318"/>
                    </a:lnTo>
                    <a:lnTo>
                      <a:pt x="532" y="318"/>
                    </a:lnTo>
                    <a:lnTo>
                      <a:pt x="534" y="318"/>
                    </a:lnTo>
                    <a:lnTo>
                      <a:pt x="534" y="320"/>
                    </a:lnTo>
                    <a:lnTo>
                      <a:pt x="534" y="322"/>
                    </a:lnTo>
                    <a:lnTo>
                      <a:pt x="534" y="323"/>
                    </a:lnTo>
                    <a:lnTo>
                      <a:pt x="534" y="325"/>
                    </a:lnTo>
                    <a:lnTo>
                      <a:pt x="535" y="325"/>
                    </a:lnTo>
                    <a:lnTo>
                      <a:pt x="535" y="326"/>
                    </a:lnTo>
                    <a:lnTo>
                      <a:pt x="535" y="328"/>
                    </a:lnTo>
                    <a:lnTo>
                      <a:pt x="535" y="329"/>
                    </a:lnTo>
                    <a:lnTo>
                      <a:pt x="535" y="331"/>
                    </a:lnTo>
                    <a:lnTo>
                      <a:pt x="537" y="331"/>
                    </a:lnTo>
                    <a:lnTo>
                      <a:pt x="538" y="331"/>
                    </a:lnTo>
                    <a:lnTo>
                      <a:pt x="538" y="333"/>
                    </a:lnTo>
                    <a:lnTo>
                      <a:pt x="540" y="333"/>
                    </a:lnTo>
                    <a:lnTo>
                      <a:pt x="542" y="333"/>
                    </a:lnTo>
                    <a:lnTo>
                      <a:pt x="542" y="334"/>
                    </a:lnTo>
                    <a:lnTo>
                      <a:pt x="543" y="334"/>
                    </a:lnTo>
                    <a:lnTo>
                      <a:pt x="543" y="336"/>
                    </a:lnTo>
                    <a:lnTo>
                      <a:pt x="545" y="336"/>
                    </a:lnTo>
                    <a:lnTo>
                      <a:pt x="545" y="337"/>
                    </a:lnTo>
                    <a:lnTo>
                      <a:pt x="546" y="337"/>
                    </a:lnTo>
                    <a:lnTo>
                      <a:pt x="546" y="339"/>
                    </a:lnTo>
                    <a:lnTo>
                      <a:pt x="548" y="339"/>
                    </a:lnTo>
                    <a:lnTo>
                      <a:pt x="548" y="337"/>
                    </a:lnTo>
                    <a:lnTo>
                      <a:pt x="550" y="337"/>
                    </a:lnTo>
                    <a:lnTo>
                      <a:pt x="550" y="339"/>
                    </a:lnTo>
                    <a:lnTo>
                      <a:pt x="551" y="339"/>
                    </a:lnTo>
                    <a:lnTo>
                      <a:pt x="551" y="337"/>
                    </a:lnTo>
                    <a:lnTo>
                      <a:pt x="553" y="337"/>
                    </a:lnTo>
                    <a:lnTo>
                      <a:pt x="554" y="337"/>
                    </a:lnTo>
                    <a:lnTo>
                      <a:pt x="556" y="337"/>
                    </a:lnTo>
                    <a:lnTo>
                      <a:pt x="556" y="339"/>
                    </a:lnTo>
                    <a:lnTo>
                      <a:pt x="558" y="339"/>
                    </a:lnTo>
                    <a:lnTo>
                      <a:pt x="558" y="341"/>
                    </a:lnTo>
                    <a:lnTo>
                      <a:pt x="559" y="341"/>
                    </a:lnTo>
                    <a:lnTo>
                      <a:pt x="559" y="342"/>
                    </a:lnTo>
                    <a:lnTo>
                      <a:pt x="559" y="344"/>
                    </a:lnTo>
                    <a:lnTo>
                      <a:pt x="561" y="344"/>
                    </a:lnTo>
                    <a:lnTo>
                      <a:pt x="561" y="345"/>
                    </a:lnTo>
                    <a:lnTo>
                      <a:pt x="561" y="347"/>
                    </a:lnTo>
                    <a:lnTo>
                      <a:pt x="561" y="348"/>
                    </a:lnTo>
                    <a:lnTo>
                      <a:pt x="561" y="350"/>
                    </a:lnTo>
                    <a:lnTo>
                      <a:pt x="561" y="352"/>
                    </a:lnTo>
                    <a:lnTo>
                      <a:pt x="561" y="353"/>
                    </a:lnTo>
                    <a:lnTo>
                      <a:pt x="562" y="353"/>
                    </a:lnTo>
                    <a:lnTo>
                      <a:pt x="562" y="355"/>
                    </a:lnTo>
                    <a:lnTo>
                      <a:pt x="562" y="356"/>
                    </a:lnTo>
                    <a:lnTo>
                      <a:pt x="562" y="358"/>
                    </a:lnTo>
                    <a:lnTo>
                      <a:pt x="562" y="360"/>
                    </a:lnTo>
                    <a:lnTo>
                      <a:pt x="564" y="361"/>
                    </a:lnTo>
                    <a:lnTo>
                      <a:pt x="564" y="363"/>
                    </a:lnTo>
                    <a:lnTo>
                      <a:pt x="565" y="364"/>
                    </a:lnTo>
                    <a:lnTo>
                      <a:pt x="565" y="366"/>
                    </a:lnTo>
                    <a:lnTo>
                      <a:pt x="565" y="367"/>
                    </a:lnTo>
                    <a:lnTo>
                      <a:pt x="567" y="367"/>
                    </a:lnTo>
                    <a:lnTo>
                      <a:pt x="567" y="369"/>
                    </a:lnTo>
                    <a:lnTo>
                      <a:pt x="567" y="371"/>
                    </a:lnTo>
                    <a:lnTo>
                      <a:pt x="567" y="372"/>
                    </a:lnTo>
                    <a:lnTo>
                      <a:pt x="569" y="372"/>
                    </a:lnTo>
                    <a:lnTo>
                      <a:pt x="570" y="372"/>
                    </a:lnTo>
                    <a:lnTo>
                      <a:pt x="572" y="371"/>
                    </a:lnTo>
                    <a:lnTo>
                      <a:pt x="573" y="371"/>
                    </a:lnTo>
                    <a:lnTo>
                      <a:pt x="575" y="371"/>
                    </a:lnTo>
                    <a:lnTo>
                      <a:pt x="577" y="371"/>
                    </a:lnTo>
                    <a:lnTo>
                      <a:pt x="578" y="371"/>
                    </a:lnTo>
                    <a:lnTo>
                      <a:pt x="580" y="371"/>
                    </a:lnTo>
                    <a:lnTo>
                      <a:pt x="581" y="371"/>
                    </a:lnTo>
                    <a:lnTo>
                      <a:pt x="581" y="369"/>
                    </a:lnTo>
                    <a:lnTo>
                      <a:pt x="583" y="369"/>
                    </a:lnTo>
                    <a:lnTo>
                      <a:pt x="584" y="369"/>
                    </a:lnTo>
                    <a:lnTo>
                      <a:pt x="584" y="367"/>
                    </a:lnTo>
                    <a:lnTo>
                      <a:pt x="584" y="366"/>
                    </a:lnTo>
                    <a:lnTo>
                      <a:pt x="586" y="364"/>
                    </a:lnTo>
                    <a:lnTo>
                      <a:pt x="586" y="363"/>
                    </a:lnTo>
                    <a:lnTo>
                      <a:pt x="586" y="361"/>
                    </a:lnTo>
                    <a:lnTo>
                      <a:pt x="584" y="361"/>
                    </a:lnTo>
                    <a:lnTo>
                      <a:pt x="586" y="361"/>
                    </a:lnTo>
                    <a:lnTo>
                      <a:pt x="588" y="361"/>
                    </a:lnTo>
                    <a:lnTo>
                      <a:pt x="589" y="361"/>
                    </a:lnTo>
                    <a:lnTo>
                      <a:pt x="591" y="361"/>
                    </a:lnTo>
                    <a:lnTo>
                      <a:pt x="592" y="361"/>
                    </a:lnTo>
                    <a:lnTo>
                      <a:pt x="594" y="361"/>
                    </a:lnTo>
                    <a:lnTo>
                      <a:pt x="596" y="360"/>
                    </a:lnTo>
                    <a:lnTo>
                      <a:pt x="597" y="360"/>
                    </a:lnTo>
                    <a:lnTo>
                      <a:pt x="599" y="360"/>
                    </a:lnTo>
                    <a:lnTo>
                      <a:pt x="600" y="360"/>
                    </a:lnTo>
                    <a:lnTo>
                      <a:pt x="602" y="360"/>
                    </a:lnTo>
                    <a:lnTo>
                      <a:pt x="602" y="358"/>
                    </a:lnTo>
                    <a:lnTo>
                      <a:pt x="603" y="358"/>
                    </a:lnTo>
                    <a:lnTo>
                      <a:pt x="605" y="358"/>
                    </a:lnTo>
                    <a:lnTo>
                      <a:pt x="605" y="356"/>
                    </a:lnTo>
                    <a:lnTo>
                      <a:pt x="603" y="356"/>
                    </a:lnTo>
                    <a:lnTo>
                      <a:pt x="603" y="355"/>
                    </a:lnTo>
                    <a:lnTo>
                      <a:pt x="603" y="353"/>
                    </a:lnTo>
                    <a:lnTo>
                      <a:pt x="603" y="352"/>
                    </a:lnTo>
                    <a:lnTo>
                      <a:pt x="602" y="350"/>
                    </a:lnTo>
                    <a:lnTo>
                      <a:pt x="600" y="350"/>
                    </a:lnTo>
                    <a:lnTo>
                      <a:pt x="602" y="348"/>
                    </a:lnTo>
                    <a:lnTo>
                      <a:pt x="602" y="347"/>
                    </a:lnTo>
                    <a:lnTo>
                      <a:pt x="603" y="347"/>
                    </a:lnTo>
                    <a:lnTo>
                      <a:pt x="605" y="345"/>
                    </a:lnTo>
                    <a:lnTo>
                      <a:pt x="605" y="344"/>
                    </a:lnTo>
                    <a:lnTo>
                      <a:pt x="607" y="342"/>
                    </a:lnTo>
                    <a:lnTo>
                      <a:pt x="605" y="342"/>
                    </a:lnTo>
                    <a:lnTo>
                      <a:pt x="605" y="341"/>
                    </a:lnTo>
                    <a:lnTo>
                      <a:pt x="607" y="341"/>
                    </a:lnTo>
                    <a:lnTo>
                      <a:pt x="607" y="342"/>
                    </a:lnTo>
                    <a:lnTo>
                      <a:pt x="608" y="342"/>
                    </a:lnTo>
                    <a:lnTo>
                      <a:pt x="610" y="342"/>
                    </a:lnTo>
                    <a:lnTo>
                      <a:pt x="610" y="341"/>
                    </a:lnTo>
                    <a:lnTo>
                      <a:pt x="611" y="339"/>
                    </a:lnTo>
                    <a:lnTo>
                      <a:pt x="611" y="337"/>
                    </a:lnTo>
                    <a:lnTo>
                      <a:pt x="611" y="336"/>
                    </a:lnTo>
                    <a:lnTo>
                      <a:pt x="611" y="334"/>
                    </a:lnTo>
                    <a:lnTo>
                      <a:pt x="611" y="333"/>
                    </a:lnTo>
                    <a:lnTo>
                      <a:pt x="613" y="333"/>
                    </a:lnTo>
                    <a:lnTo>
                      <a:pt x="613" y="331"/>
                    </a:lnTo>
                    <a:lnTo>
                      <a:pt x="613" y="329"/>
                    </a:lnTo>
                    <a:lnTo>
                      <a:pt x="611" y="329"/>
                    </a:lnTo>
                    <a:lnTo>
                      <a:pt x="611" y="331"/>
                    </a:lnTo>
                    <a:lnTo>
                      <a:pt x="610" y="331"/>
                    </a:lnTo>
                    <a:lnTo>
                      <a:pt x="610" y="329"/>
                    </a:lnTo>
                    <a:lnTo>
                      <a:pt x="608" y="329"/>
                    </a:lnTo>
                    <a:lnTo>
                      <a:pt x="608" y="328"/>
                    </a:lnTo>
                    <a:lnTo>
                      <a:pt x="608" y="326"/>
                    </a:lnTo>
                    <a:lnTo>
                      <a:pt x="608" y="325"/>
                    </a:lnTo>
                    <a:lnTo>
                      <a:pt x="608" y="323"/>
                    </a:lnTo>
                    <a:lnTo>
                      <a:pt x="610" y="323"/>
                    </a:lnTo>
                    <a:lnTo>
                      <a:pt x="608" y="323"/>
                    </a:lnTo>
                    <a:lnTo>
                      <a:pt x="608" y="322"/>
                    </a:lnTo>
                    <a:lnTo>
                      <a:pt x="607" y="322"/>
                    </a:lnTo>
                    <a:lnTo>
                      <a:pt x="605" y="322"/>
                    </a:lnTo>
                    <a:lnTo>
                      <a:pt x="605" y="323"/>
                    </a:lnTo>
                    <a:lnTo>
                      <a:pt x="603" y="323"/>
                    </a:lnTo>
                    <a:lnTo>
                      <a:pt x="603" y="325"/>
                    </a:lnTo>
                    <a:lnTo>
                      <a:pt x="602" y="325"/>
                    </a:lnTo>
                    <a:lnTo>
                      <a:pt x="600" y="325"/>
                    </a:lnTo>
                    <a:lnTo>
                      <a:pt x="600" y="326"/>
                    </a:lnTo>
                    <a:lnTo>
                      <a:pt x="600" y="325"/>
                    </a:lnTo>
                    <a:lnTo>
                      <a:pt x="599" y="325"/>
                    </a:lnTo>
                    <a:lnTo>
                      <a:pt x="599" y="323"/>
                    </a:lnTo>
                    <a:lnTo>
                      <a:pt x="597" y="323"/>
                    </a:lnTo>
                    <a:lnTo>
                      <a:pt x="597" y="322"/>
                    </a:lnTo>
                    <a:lnTo>
                      <a:pt x="596" y="322"/>
                    </a:lnTo>
                    <a:lnTo>
                      <a:pt x="596" y="320"/>
                    </a:lnTo>
                    <a:lnTo>
                      <a:pt x="594" y="320"/>
                    </a:lnTo>
                    <a:lnTo>
                      <a:pt x="594" y="318"/>
                    </a:lnTo>
                    <a:lnTo>
                      <a:pt x="592" y="318"/>
                    </a:lnTo>
                    <a:lnTo>
                      <a:pt x="592" y="317"/>
                    </a:lnTo>
                    <a:lnTo>
                      <a:pt x="591" y="317"/>
                    </a:lnTo>
                    <a:lnTo>
                      <a:pt x="591" y="315"/>
                    </a:lnTo>
                    <a:lnTo>
                      <a:pt x="592" y="314"/>
                    </a:lnTo>
                    <a:lnTo>
                      <a:pt x="592" y="312"/>
                    </a:lnTo>
                    <a:lnTo>
                      <a:pt x="592" y="310"/>
                    </a:lnTo>
                    <a:lnTo>
                      <a:pt x="594" y="310"/>
                    </a:lnTo>
                    <a:lnTo>
                      <a:pt x="596" y="310"/>
                    </a:lnTo>
                    <a:lnTo>
                      <a:pt x="597" y="310"/>
                    </a:lnTo>
                    <a:lnTo>
                      <a:pt x="599" y="310"/>
                    </a:lnTo>
                    <a:lnTo>
                      <a:pt x="600" y="310"/>
                    </a:lnTo>
                    <a:lnTo>
                      <a:pt x="600" y="309"/>
                    </a:lnTo>
                    <a:lnTo>
                      <a:pt x="602" y="309"/>
                    </a:lnTo>
                    <a:lnTo>
                      <a:pt x="602" y="307"/>
                    </a:lnTo>
                    <a:lnTo>
                      <a:pt x="602" y="306"/>
                    </a:lnTo>
                    <a:lnTo>
                      <a:pt x="602" y="304"/>
                    </a:lnTo>
                    <a:lnTo>
                      <a:pt x="602" y="302"/>
                    </a:lnTo>
                    <a:lnTo>
                      <a:pt x="603" y="302"/>
                    </a:lnTo>
                    <a:lnTo>
                      <a:pt x="603" y="301"/>
                    </a:lnTo>
                    <a:lnTo>
                      <a:pt x="605" y="299"/>
                    </a:lnTo>
                    <a:lnTo>
                      <a:pt x="607" y="299"/>
                    </a:lnTo>
                    <a:lnTo>
                      <a:pt x="608" y="299"/>
                    </a:lnTo>
                    <a:lnTo>
                      <a:pt x="608" y="298"/>
                    </a:lnTo>
                    <a:lnTo>
                      <a:pt x="610" y="298"/>
                    </a:lnTo>
                    <a:lnTo>
                      <a:pt x="611" y="298"/>
                    </a:lnTo>
                    <a:lnTo>
                      <a:pt x="613" y="301"/>
                    </a:lnTo>
                    <a:lnTo>
                      <a:pt x="615" y="302"/>
                    </a:lnTo>
                    <a:lnTo>
                      <a:pt x="616" y="302"/>
                    </a:lnTo>
                    <a:lnTo>
                      <a:pt x="616" y="304"/>
                    </a:lnTo>
                    <a:lnTo>
                      <a:pt x="618" y="304"/>
                    </a:lnTo>
                    <a:lnTo>
                      <a:pt x="619" y="304"/>
                    </a:lnTo>
                    <a:lnTo>
                      <a:pt x="621" y="304"/>
                    </a:lnTo>
                    <a:lnTo>
                      <a:pt x="622" y="304"/>
                    </a:lnTo>
                    <a:lnTo>
                      <a:pt x="624" y="304"/>
                    </a:lnTo>
                    <a:lnTo>
                      <a:pt x="626" y="304"/>
                    </a:lnTo>
                    <a:lnTo>
                      <a:pt x="627" y="304"/>
                    </a:lnTo>
                    <a:lnTo>
                      <a:pt x="627" y="306"/>
                    </a:lnTo>
                    <a:lnTo>
                      <a:pt x="629" y="306"/>
                    </a:lnTo>
                    <a:lnTo>
                      <a:pt x="630" y="306"/>
                    </a:lnTo>
                    <a:lnTo>
                      <a:pt x="632" y="306"/>
                    </a:lnTo>
                    <a:lnTo>
                      <a:pt x="634" y="306"/>
                    </a:lnTo>
                    <a:lnTo>
                      <a:pt x="634" y="307"/>
                    </a:lnTo>
                    <a:lnTo>
                      <a:pt x="634" y="309"/>
                    </a:lnTo>
                    <a:lnTo>
                      <a:pt x="635" y="309"/>
                    </a:lnTo>
                    <a:lnTo>
                      <a:pt x="635" y="307"/>
                    </a:lnTo>
                    <a:lnTo>
                      <a:pt x="637" y="307"/>
                    </a:lnTo>
                    <a:lnTo>
                      <a:pt x="638" y="307"/>
                    </a:lnTo>
                    <a:lnTo>
                      <a:pt x="640" y="306"/>
                    </a:lnTo>
                    <a:lnTo>
                      <a:pt x="638" y="306"/>
                    </a:lnTo>
                    <a:lnTo>
                      <a:pt x="640" y="306"/>
                    </a:lnTo>
                    <a:lnTo>
                      <a:pt x="640" y="304"/>
                    </a:lnTo>
                    <a:lnTo>
                      <a:pt x="638" y="304"/>
                    </a:lnTo>
                    <a:lnTo>
                      <a:pt x="638" y="302"/>
                    </a:lnTo>
                    <a:lnTo>
                      <a:pt x="637" y="302"/>
                    </a:lnTo>
                    <a:lnTo>
                      <a:pt x="637" y="301"/>
                    </a:lnTo>
                    <a:lnTo>
                      <a:pt x="638" y="301"/>
                    </a:lnTo>
                    <a:lnTo>
                      <a:pt x="638" y="302"/>
                    </a:lnTo>
                    <a:lnTo>
                      <a:pt x="638" y="301"/>
                    </a:lnTo>
                    <a:lnTo>
                      <a:pt x="640" y="301"/>
                    </a:lnTo>
                    <a:lnTo>
                      <a:pt x="640" y="302"/>
                    </a:lnTo>
                    <a:lnTo>
                      <a:pt x="640" y="301"/>
                    </a:lnTo>
                    <a:lnTo>
                      <a:pt x="641" y="301"/>
                    </a:lnTo>
                    <a:lnTo>
                      <a:pt x="640" y="301"/>
                    </a:lnTo>
                    <a:lnTo>
                      <a:pt x="640" y="299"/>
                    </a:lnTo>
                    <a:lnTo>
                      <a:pt x="641" y="299"/>
                    </a:lnTo>
                    <a:lnTo>
                      <a:pt x="641" y="298"/>
                    </a:lnTo>
                    <a:lnTo>
                      <a:pt x="643" y="298"/>
                    </a:lnTo>
                    <a:lnTo>
                      <a:pt x="645" y="298"/>
                    </a:lnTo>
                    <a:lnTo>
                      <a:pt x="645" y="296"/>
                    </a:lnTo>
                    <a:lnTo>
                      <a:pt x="643" y="296"/>
                    </a:lnTo>
                    <a:lnTo>
                      <a:pt x="643" y="295"/>
                    </a:lnTo>
                    <a:lnTo>
                      <a:pt x="643" y="293"/>
                    </a:lnTo>
                    <a:lnTo>
                      <a:pt x="641" y="293"/>
                    </a:lnTo>
                    <a:lnTo>
                      <a:pt x="641" y="291"/>
                    </a:lnTo>
                    <a:lnTo>
                      <a:pt x="640" y="291"/>
                    </a:lnTo>
                    <a:lnTo>
                      <a:pt x="640" y="290"/>
                    </a:lnTo>
                    <a:lnTo>
                      <a:pt x="640" y="288"/>
                    </a:lnTo>
                    <a:lnTo>
                      <a:pt x="640" y="287"/>
                    </a:lnTo>
                    <a:lnTo>
                      <a:pt x="640" y="285"/>
                    </a:lnTo>
                    <a:lnTo>
                      <a:pt x="640" y="283"/>
                    </a:lnTo>
                    <a:lnTo>
                      <a:pt x="638" y="283"/>
                    </a:lnTo>
                    <a:lnTo>
                      <a:pt x="638" y="282"/>
                    </a:lnTo>
                    <a:lnTo>
                      <a:pt x="640" y="282"/>
                    </a:lnTo>
                    <a:lnTo>
                      <a:pt x="640" y="280"/>
                    </a:lnTo>
                    <a:lnTo>
                      <a:pt x="638" y="280"/>
                    </a:lnTo>
                    <a:lnTo>
                      <a:pt x="640" y="279"/>
                    </a:lnTo>
                    <a:lnTo>
                      <a:pt x="638" y="279"/>
                    </a:lnTo>
                    <a:lnTo>
                      <a:pt x="638" y="277"/>
                    </a:lnTo>
                    <a:lnTo>
                      <a:pt x="638" y="276"/>
                    </a:lnTo>
                    <a:lnTo>
                      <a:pt x="637" y="276"/>
                    </a:lnTo>
                    <a:lnTo>
                      <a:pt x="637" y="274"/>
                    </a:lnTo>
                    <a:lnTo>
                      <a:pt x="638" y="274"/>
                    </a:lnTo>
                    <a:lnTo>
                      <a:pt x="637" y="274"/>
                    </a:lnTo>
                    <a:lnTo>
                      <a:pt x="637" y="272"/>
                    </a:lnTo>
                    <a:lnTo>
                      <a:pt x="635" y="272"/>
                    </a:lnTo>
                    <a:lnTo>
                      <a:pt x="635" y="271"/>
                    </a:lnTo>
                    <a:lnTo>
                      <a:pt x="635" y="269"/>
                    </a:lnTo>
                    <a:lnTo>
                      <a:pt x="637" y="268"/>
                    </a:lnTo>
                    <a:lnTo>
                      <a:pt x="637" y="266"/>
                    </a:lnTo>
                    <a:lnTo>
                      <a:pt x="638" y="266"/>
                    </a:lnTo>
                    <a:lnTo>
                      <a:pt x="638" y="264"/>
                    </a:lnTo>
                    <a:lnTo>
                      <a:pt x="638" y="263"/>
                    </a:lnTo>
                    <a:lnTo>
                      <a:pt x="638" y="261"/>
                    </a:lnTo>
                    <a:lnTo>
                      <a:pt x="638" y="260"/>
                    </a:lnTo>
                    <a:lnTo>
                      <a:pt x="640" y="260"/>
                    </a:lnTo>
                    <a:lnTo>
                      <a:pt x="640" y="258"/>
                    </a:lnTo>
                    <a:lnTo>
                      <a:pt x="641" y="258"/>
                    </a:lnTo>
                    <a:lnTo>
                      <a:pt x="641" y="257"/>
                    </a:lnTo>
                    <a:lnTo>
                      <a:pt x="641" y="255"/>
                    </a:lnTo>
                    <a:lnTo>
                      <a:pt x="641" y="253"/>
                    </a:lnTo>
                    <a:lnTo>
                      <a:pt x="640" y="253"/>
                    </a:lnTo>
                    <a:lnTo>
                      <a:pt x="640" y="252"/>
                    </a:lnTo>
                    <a:lnTo>
                      <a:pt x="638" y="250"/>
                    </a:lnTo>
                    <a:lnTo>
                      <a:pt x="638" y="249"/>
                    </a:lnTo>
                    <a:lnTo>
                      <a:pt x="637" y="249"/>
                    </a:lnTo>
                    <a:lnTo>
                      <a:pt x="637" y="247"/>
                    </a:lnTo>
                    <a:lnTo>
                      <a:pt x="635" y="247"/>
                    </a:lnTo>
                    <a:lnTo>
                      <a:pt x="634" y="247"/>
                    </a:lnTo>
                    <a:lnTo>
                      <a:pt x="634" y="245"/>
                    </a:lnTo>
                    <a:lnTo>
                      <a:pt x="632" y="245"/>
                    </a:lnTo>
                    <a:lnTo>
                      <a:pt x="632" y="244"/>
                    </a:lnTo>
                    <a:lnTo>
                      <a:pt x="630" y="244"/>
                    </a:lnTo>
                    <a:lnTo>
                      <a:pt x="630" y="242"/>
                    </a:lnTo>
                    <a:lnTo>
                      <a:pt x="629" y="242"/>
                    </a:lnTo>
                    <a:lnTo>
                      <a:pt x="629" y="241"/>
                    </a:lnTo>
                    <a:lnTo>
                      <a:pt x="627" y="241"/>
                    </a:lnTo>
                    <a:lnTo>
                      <a:pt x="627" y="239"/>
                    </a:lnTo>
                    <a:lnTo>
                      <a:pt x="626" y="239"/>
                    </a:lnTo>
                    <a:lnTo>
                      <a:pt x="626" y="241"/>
                    </a:lnTo>
                    <a:lnTo>
                      <a:pt x="624" y="241"/>
                    </a:lnTo>
                    <a:lnTo>
                      <a:pt x="622" y="241"/>
                    </a:lnTo>
                    <a:lnTo>
                      <a:pt x="622" y="239"/>
                    </a:lnTo>
                    <a:lnTo>
                      <a:pt x="621" y="239"/>
                    </a:lnTo>
                    <a:lnTo>
                      <a:pt x="619" y="239"/>
                    </a:lnTo>
                    <a:lnTo>
                      <a:pt x="619" y="238"/>
                    </a:lnTo>
                    <a:lnTo>
                      <a:pt x="619" y="239"/>
                    </a:lnTo>
                    <a:lnTo>
                      <a:pt x="618" y="239"/>
                    </a:lnTo>
                    <a:lnTo>
                      <a:pt x="618" y="241"/>
                    </a:lnTo>
                    <a:lnTo>
                      <a:pt x="616" y="241"/>
                    </a:lnTo>
                    <a:lnTo>
                      <a:pt x="615" y="241"/>
                    </a:lnTo>
                    <a:lnTo>
                      <a:pt x="613" y="241"/>
                    </a:lnTo>
                    <a:lnTo>
                      <a:pt x="613" y="239"/>
                    </a:lnTo>
                    <a:lnTo>
                      <a:pt x="611" y="239"/>
                    </a:lnTo>
                    <a:lnTo>
                      <a:pt x="611" y="238"/>
                    </a:lnTo>
                    <a:lnTo>
                      <a:pt x="610" y="238"/>
                    </a:lnTo>
                    <a:lnTo>
                      <a:pt x="610" y="236"/>
                    </a:lnTo>
                    <a:lnTo>
                      <a:pt x="608" y="236"/>
                    </a:lnTo>
                    <a:lnTo>
                      <a:pt x="607" y="236"/>
                    </a:lnTo>
                    <a:lnTo>
                      <a:pt x="607" y="234"/>
                    </a:lnTo>
                    <a:lnTo>
                      <a:pt x="605" y="234"/>
                    </a:lnTo>
                    <a:lnTo>
                      <a:pt x="605" y="233"/>
                    </a:lnTo>
                    <a:lnTo>
                      <a:pt x="605" y="231"/>
                    </a:lnTo>
                    <a:lnTo>
                      <a:pt x="603" y="231"/>
                    </a:lnTo>
                    <a:lnTo>
                      <a:pt x="603" y="230"/>
                    </a:lnTo>
                    <a:lnTo>
                      <a:pt x="602" y="230"/>
                    </a:lnTo>
                    <a:lnTo>
                      <a:pt x="603" y="228"/>
                    </a:lnTo>
                    <a:lnTo>
                      <a:pt x="602" y="228"/>
                    </a:lnTo>
                    <a:lnTo>
                      <a:pt x="602" y="226"/>
                    </a:lnTo>
                    <a:lnTo>
                      <a:pt x="602" y="225"/>
                    </a:lnTo>
                    <a:lnTo>
                      <a:pt x="600" y="225"/>
                    </a:lnTo>
                    <a:lnTo>
                      <a:pt x="600" y="223"/>
                    </a:lnTo>
                    <a:lnTo>
                      <a:pt x="599" y="223"/>
                    </a:lnTo>
                    <a:lnTo>
                      <a:pt x="597" y="223"/>
                    </a:lnTo>
                    <a:lnTo>
                      <a:pt x="597" y="222"/>
                    </a:lnTo>
                    <a:lnTo>
                      <a:pt x="596" y="222"/>
                    </a:lnTo>
                    <a:lnTo>
                      <a:pt x="596" y="220"/>
                    </a:lnTo>
                    <a:lnTo>
                      <a:pt x="594" y="220"/>
                    </a:lnTo>
                    <a:lnTo>
                      <a:pt x="594" y="219"/>
                    </a:lnTo>
                    <a:lnTo>
                      <a:pt x="592" y="219"/>
                    </a:lnTo>
                    <a:lnTo>
                      <a:pt x="591" y="219"/>
                    </a:lnTo>
                    <a:lnTo>
                      <a:pt x="589" y="217"/>
                    </a:lnTo>
                    <a:lnTo>
                      <a:pt x="588" y="217"/>
                    </a:lnTo>
                    <a:lnTo>
                      <a:pt x="588" y="215"/>
                    </a:lnTo>
                    <a:lnTo>
                      <a:pt x="588" y="214"/>
                    </a:lnTo>
                    <a:lnTo>
                      <a:pt x="589" y="214"/>
                    </a:lnTo>
                    <a:lnTo>
                      <a:pt x="589" y="212"/>
                    </a:lnTo>
                    <a:lnTo>
                      <a:pt x="589" y="211"/>
                    </a:lnTo>
                    <a:lnTo>
                      <a:pt x="589" y="209"/>
                    </a:lnTo>
                    <a:lnTo>
                      <a:pt x="588" y="209"/>
                    </a:lnTo>
                    <a:lnTo>
                      <a:pt x="588" y="207"/>
                    </a:lnTo>
                    <a:lnTo>
                      <a:pt x="586" y="206"/>
                    </a:lnTo>
                    <a:lnTo>
                      <a:pt x="584" y="206"/>
                    </a:lnTo>
                    <a:lnTo>
                      <a:pt x="584" y="204"/>
                    </a:lnTo>
                    <a:lnTo>
                      <a:pt x="583" y="204"/>
                    </a:lnTo>
                    <a:lnTo>
                      <a:pt x="581" y="204"/>
                    </a:lnTo>
                    <a:lnTo>
                      <a:pt x="581" y="206"/>
                    </a:lnTo>
                    <a:lnTo>
                      <a:pt x="581" y="204"/>
                    </a:lnTo>
                    <a:lnTo>
                      <a:pt x="583" y="204"/>
                    </a:lnTo>
                    <a:lnTo>
                      <a:pt x="584" y="204"/>
                    </a:lnTo>
                    <a:lnTo>
                      <a:pt x="584" y="203"/>
                    </a:lnTo>
                    <a:lnTo>
                      <a:pt x="586" y="203"/>
                    </a:lnTo>
                    <a:lnTo>
                      <a:pt x="586" y="201"/>
                    </a:lnTo>
                    <a:lnTo>
                      <a:pt x="588" y="199"/>
                    </a:lnTo>
                    <a:lnTo>
                      <a:pt x="589" y="199"/>
                    </a:lnTo>
                    <a:lnTo>
                      <a:pt x="589" y="198"/>
                    </a:lnTo>
                    <a:lnTo>
                      <a:pt x="589" y="196"/>
                    </a:lnTo>
                    <a:lnTo>
                      <a:pt x="591" y="196"/>
                    </a:lnTo>
                    <a:lnTo>
                      <a:pt x="591" y="195"/>
                    </a:lnTo>
                    <a:lnTo>
                      <a:pt x="589" y="193"/>
                    </a:lnTo>
                    <a:lnTo>
                      <a:pt x="589" y="192"/>
                    </a:lnTo>
                    <a:lnTo>
                      <a:pt x="589" y="190"/>
                    </a:lnTo>
                    <a:lnTo>
                      <a:pt x="588" y="188"/>
                    </a:lnTo>
                    <a:lnTo>
                      <a:pt x="588" y="187"/>
                    </a:lnTo>
                    <a:lnTo>
                      <a:pt x="588" y="185"/>
                    </a:lnTo>
                    <a:lnTo>
                      <a:pt x="586" y="185"/>
                    </a:lnTo>
                    <a:lnTo>
                      <a:pt x="586" y="184"/>
                    </a:lnTo>
                    <a:lnTo>
                      <a:pt x="584" y="182"/>
                    </a:lnTo>
                    <a:lnTo>
                      <a:pt x="584" y="180"/>
                    </a:lnTo>
                    <a:lnTo>
                      <a:pt x="584" y="179"/>
                    </a:lnTo>
                    <a:lnTo>
                      <a:pt x="584" y="177"/>
                    </a:lnTo>
                    <a:lnTo>
                      <a:pt x="584" y="179"/>
                    </a:lnTo>
                    <a:lnTo>
                      <a:pt x="586" y="179"/>
                    </a:lnTo>
                    <a:lnTo>
                      <a:pt x="586" y="177"/>
                    </a:lnTo>
                    <a:lnTo>
                      <a:pt x="588" y="177"/>
                    </a:lnTo>
                    <a:lnTo>
                      <a:pt x="589" y="179"/>
                    </a:lnTo>
                    <a:lnTo>
                      <a:pt x="591" y="179"/>
                    </a:lnTo>
                    <a:lnTo>
                      <a:pt x="592" y="179"/>
                    </a:lnTo>
                    <a:lnTo>
                      <a:pt x="592" y="180"/>
                    </a:lnTo>
                    <a:lnTo>
                      <a:pt x="594" y="180"/>
                    </a:lnTo>
                    <a:lnTo>
                      <a:pt x="596" y="180"/>
                    </a:lnTo>
                    <a:lnTo>
                      <a:pt x="596" y="179"/>
                    </a:lnTo>
                    <a:lnTo>
                      <a:pt x="597" y="177"/>
                    </a:lnTo>
                    <a:lnTo>
                      <a:pt x="596" y="176"/>
                    </a:lnTo>
                    <a:lnTo>
                      <a:pt x="596" y="174"/>
                    </a:lnTo>
                    <a:lnTo>
                      <a:pt x="594" y="173"/>
                    </a:lnTo>
                    <a:lnTo>
                      <a:pt x="592" y="173"/>
                    </a:lnTo>
                    <a:lnTo>
                      <a:pt x="592" y="171"/>
                    </a:lnTo>
                    <a:lnTo>
                      <a:pt x="591" y="169"/>
                    </a:lnTo>
                    <a:lnTo>
                      <a:pt x="589" y="169"/>
                    </a:lnTo>
                    <a:lnTo>
                      <a:pt x="588" y="169"/>
                    </a:lnTo>
                    <a:lnTo>
                      <a:pt x="586" y="169"/>
                    </a:lnTo>
                    <a:lnTo>
                      <a:pt x="584" y="169"/>
                    </a:lnTo>
                    <a:lnTo>
                      <a:pt x="583" y="169"/>
                    </a:lnTo>
                    <a:lnTo>
                      <a:pt x="581" y="168"/>
                    </a:lnTo>
                    <a:lnTo>
                      <a:pt x="581" y="166"/>
                    </a:lnTo>
                    <a:lnTo>
                      <a:pt x="581" y="165"/>
                    </a:lnTo>
                    <a:lnTo>
                      <a:pt x="581" y="163"/>
                    </a:lnTo>
                    <a:lnTo>
                      <a:pt x="583" y="163"/>
                    </a:lnTo>
                    <a:lnTo>
                      <a:pt x="583" y="161"/>
                    </a:lnTo>
                    <a:lnTo>
                      <a:pt x="583" y="160"/>
                    </a:lnTo>
                    <a:lnTo>
                      <a:pt x="583" y="158"/>
                    </a:lnTo>
                    <a:lnTo>
                      <a:pt x="581" y="158"/>
                    </a:lnTo>
                    <a:lnTo>
                      <a:pt x="581" y="157"/>
                    </a:lnTo>
                    <a:lnTo>
                      <a:pt x="581" y="155"/>
                    </a:lnTo>
                    <a:lnTo>
                      <a:pt x="583" y="155"/>
                    </a:lnTo>
                    <a:lnTo>
                      <a:pt x="584" y="155"/>
                    </a:lnTo>
                    <a:lnTo>
                      <a:pt x="586" y="155"/>
                    </a:lnTo>
                    <a:lnTo>
                      <a:pt x="586" y="157"/>
                    </a:lnTo>
                    <a:lnTo>
                      <a:pt x="588" y="157"/>
                    </a:lnTo>
                    <a:lnTo>
                      <a:pt x="588" y="155"/>
                    </a:lnTo>
                    <a:lnTo>
                      <a:pt x="588" y="154"/>
                    </a:lnTo>
                    <a:lnTo>
                      <a:pt x="586" y="154"/>
                    </a:lnTo>
                    <a:lnTo>
                      <a:pt x="586" y="152"/>
                    </a:lnTo>
                    <a:lnTo>
                      <a:pt x="584" y="150"/>
                    </a:lnTo>
                    <a:lnTo>
                      <a:pt x="584" y="149"/>
                    </a:lnTo>
                    <a:lnTo>
                      <a:pt x="583" y="149"/>
                    </a:lnTo>
                    <a:lnTo>
                      <a:pt x="583" y="147"/>
                    </a:lnTo>
                    <a:lnTo>
                      <a:pt x="583" y="146"/>
                    </a:lnTo>
                    <a:lnTo>
                      <a:pt x="583" y="144"/>
                    </a:lnTo>
                    <a:lnTo>
                      <a:pt x="583" y="142"/>
                    </a:lnTo>
                    <a:lnTo>
                      <a:pt x="583" y="141"/>
                    </a:lnTo>
                    <a:lnTo>
                      <a:pt x="581" y="141"/>
                    </a:lnTo>
                    <a:lnTo>
                      <a:pt x="583" y="141"/>
                    </a:lnTo>
                    <a:lnTo>
                      <a:pt x="581" y="141"/>
                    </a:lnTo>
                    <a:lnTo>
                      <a:pt x="581" y="139"/>
                    </a:lnTo>
                    <a:lnTo>
                      <a:pt x="583" y="139"/>
                    </a:lnTo>
                    <a:lnTo>
                      <a:pt x="581" y="138"/>
                    </a:lnTo>
                    <a:lnTo>
                      <a:pt x="581" y="136"/>
                    </a:lnTo>
                    <a:lnTo>
                      <a:pt x="581" y="130"/>
                    </a:lnTo>
                    <a:lnTo>
                      <a:pt x="583" y="128"/>
                    </a:lnTo>
                    <a:lnTo>
                      <a:pt x="583" y="127"/>
                    </a:lnTo>
                    <a:lnTo>
                      <a:pt x="583" y="125"/>
                    </a:lnTo>
                    <a:lnTo>
                      <a:pt x="581" y="125"/>
                    </a:lnTo>
                    <a:lnTo>
                      <a:pt x="581" y="123"/>
                    </a:lnTo>
                    <a:lnTo>
                      <a:pt x="583" y="123"/>
                    </a:lnTo>
                    <a:lnTo>
                      <a:pt x="581" y="120"/>
                    </a:lnTo>
                    <a:lnTo>
                      <a:pt x="583" y="117"/>
                    </a:lnTo>
                    <a:lnTo>
                      <a:pt x="581" y="112"/>
                    </a:lnTo>
                    <a:lnTo>
                      <a:pt x="581" y="108"/>
                    </a:lnTo>
                    <a:lnTo>
                      <a:pt x="586" y="106"/>
                    </a:lnTo>
                    <a:lnTo>
                      <a:pt x="586" y="104"/>
                    </a:lnTo>
                    <a:lnTo>
                      <a:pt x="586" y="103"/>
                    </a:lnTo>
                    <a:lnTo>
                      <a:pt x="586" y="100"/>
                    </a:lnTo>
                    <a:lnTo>
                      <a:pt x="586" y="98"/>
                    </a:lnTo>
                    <a:lnTo>
                      <a:pt x="588" y="98"/>
                    </a:lnTo>
                    <a:lnTo>
                      <a:pt x="588" y="100"/>
                    </a:lnTo>
                    <a:lnTo>
                      <a:pt x="589" y="100"/>
                    </a:lnTo>
                    <a:lnTo>
                      <a:pt x="589" y="101"/>
                    </a:lnTo>
                    <a:lnTo>
                      <a:pt x="591" y="101"/>
                    </a:lnTo>
                    <a:lnTo>
                      <a:pt x="592" y="101"/>
                    </a:lnTo>
                    <a:lnTo>
                      <a:pt x="592" y="103"/>
                    </a:lnTo>
                    <a:lnTo>
                      <a:pt x="596" y="101"/>
                    </a:lnTo>
                    <a:lnTo>
                      <a:pt x="602" y="101"/>
                    </a:lnTo>
                    <a:lnTo>
                      <a:pt x="605" y="101"/>
                    </a:lnTo>
                    <a:lnTo>
                      <a:pt x="605" y="100"/>
                    </a:lnTo>
                    <a:lnTo>
                      <a:pt x="607" y="100"/>
                    </a:lnTo>
                    <a:lnTo>
                      <a:pt x="607" y="98"/>
                    </a:lnTo>
                    <a:lnTo>
                      <a:pt x="607" y="97"/>
                    </a:lnTo>
                    <a:lnTo>
                      <a:pt x="608" y="97"/>
                    </a:lnTo>
                    <a:lnTo>
                      <a:pt x="610" y="97"/>
                    </a:lnTo>
                    <a:lnTo>
                      <a:pt x="610" y="95"/>
                    </a:lnTo>
                    <a:lnTo>
                      <a:pt x="611" y="95"/>
                    </a:lnTo>
                    <a:lnTo>
                      <a:pt x="611" y="97"/>
                    </a:lnTo>
                    <a:lnTo>
                      <a:pt x="611" y="95"/>
                    </a:lnTo>
                    <a:lnTo>
                      <a:pt x="613" y="95"/>
                    </a:lnTo>
                    <a:lnTo>
                      <a:pt x="615" y="95"/>
                    </a:lnTo>
                    <a:lnTo>
                      <a:pt x="615" y="93"/>
                    </a:lnTo>
                    <a:lnTo>
                      <a:pt x="616" y="93"/>
                    </a:lnTo>
                    <a:lnTo>
                      <a:pt x="618" y="93"/>
                    </a:lnTo>
                    <a:lnTo>
                      <a:pt x="619" y="93"/>
                    </a:lnTo>
                    <a:lnTo>
                      <a:pt x="619" y="92"/>
                    </a:lnTo>
                    <a:lnTo>
                      <a:pt x="619" y="93"/>
                    </a:lnTo>
                    <a:lnTo>
                      <a:pt x="621" y="93"/>
                    </a:lnTo>
                    <a:lnTo>
                      <a:pt x="622" y="93"/>
                    </a:lnTo>
                    <a:lnTo>
                      <a:pt x="622" y="95"/>
                    </a:lnTo>
                    <a:lnTo>
                      <a:pt x="624" y="93"/>
                    </a:lnTo>
                    <a:lnTo>
                      <a:pt x="624" y="92"/>
                    </a:lnTo>
                    <a:lnTo>
                      <a:pt x="624" y="90"/>
                    </a:lnTo>
                    <a:lnTo>
                      <a:pt x="626" y="90"/>
                    </a:lnTo>
                    <a:lnTo>
                      <a:pt x="627" y="90"/>
                    </a:lnTo>
                    <a:lnTo>
                      <a:pt x="629" y="90"/>
                    </a:lnTo>
                    <a:lnTo>
                      <a:pt x="630" y="90"/>
                    </a:lnTo>
                    <a:lnTo>
                      <a:pt x="632" y="90"/>
                    </a:lnTo>
                    <a:lnTo>
                      <a:pt x="634" y="90"/>
                    </a:lnTo>
                    <a:lnTo>
                      <a:pt x="634" y="92"/>
                    </a:lnTo>
                    <a:lnTo>
                      <a:pt x="635" y="92"/>
                    </a:lnTo>
                    <a:lnTo>
                      <a:pt x="637" y="90"/>
                    </a:lnTo>
                    <a:lnTo>
                      <a:pt x="638" y="90"/>
                    </a:lnTo>
                    <a:lnTo>
                      <a:pt x="638" y="89"/>
                    </a:lnTo>
                    <a:lnTo>
                      <a:pt x="638" y="87"/>
                    </a:lnTo>
                    <a:lnTo>
                      <a:pt x="640" y="87"/>
                    </a:lnTo>
                    <a:lnTo>
                      <a:pt x="640" y="85"/>
                    </a:lnTo>
                    <a:lnTo>
                      <a:pt x="641" y="85"/>
                    </a:lnTo>
                    <a:lnTo>
                      <a:pt x="641" y="84"/>
                    </a:lnTo>
                    <a:lnTo>
                      <a:pt x="643" y="82"/>
                    </a:lnTo>
                    <a:lnTo>
                      <a:pt x="641" y="82"/>
                    </a:lnTo>
                    <a:lnTo>
                      <a:pt x="641" y="81"/>
                    </a:lnTo>
                    <a:lnTo>
                      <a:pt x="641" y="79"/>
                    </a:lnTo>
                    <a:lnTo>
                      <a:pt x="641" y="81"/>
                    </a:lnTo>
                    <a:lnTo>
                      <a:pt x="643" y="81"/>
                    </a:lnTo>
                    <a:lnTo>
                      <a:pt x="643" y="79"/>
                    </a:lnTo>
                    <a:lnTo>
                      <a:pt x="643" y="77"/>
                    </a:lnTo>
                    <a:lnTo>
                      <a:pt x="643" y="76"/>
                    </a:lnTo>
                    <a:lnTo>
                      <a:pt x="643" y="74"/>
                    </a:lnTo>
                    <a:lnTo>
                      <a:pt x="645" y="74"/>
                    </a:lnTo>
                    <a:lnTo>
                      <a:pt x="646" y="74"/>
                    </a:lnTo>
                    <a:lnTo>
                      <a:pt x="648" y="74"/>
                    </a:lnTo>
                    <a:lnTo>
                      <a:pt x="649" y="74"/>
                    </a:lnTo>
                    <a:lnTo>
                      <a:pt x="649" y="73"/>
                    </a:lnTo>
                    <a:lnTo>
                      <a:pt x="649" y="71"/>
                    </a:lnTo>
                    <a:lnTo>
                      <a:pt x="649" y="70"/>
                    </a:lnTo>
                    <a:lnTo>
                      <a:pt x="648" y="70"/>
                    </a:lnTo>
                    <a:lnTo>
                      <a:pt x="648" y="68"/>
                    </a:lnTo>
                    <a:lnTo>
                      <a:pt x="648" y="66"/>
                    </a:lnTo>
                    <a:lnTo>
                      <a:pt x="648" y="65"/>
                    </a:lnTo>
                    <a:lnTo>
                      <a:pt x="646" y="65"/>
                    </a:lnTo>
                    <a:lnTo>
                      <a:pt x="646" y="63"/>
                    </a:lnTo>
                    <a:lnTo>
                      <a:pt x="646" y="62"/>
                    </a:lnTo>
                    <a:lnTo>
                      <a:pt x="648" y="62"/>
                    </a:lnTo>
                    <a:lnTo>
                      <a:pt x="649" y="62"/>
                    </a:lnTo>
                    <a:lnTo>
                      <a:pt x="649" y="60"/>
                    </a:lnTo>
                    <a:lnTo>
                      <a:pt x="651" y="60"/>
                    </a:lnTo>
                    <a:lnTo>
                      <a:pt x="651" y="58"/>
                    </a:lnTo>
                    <a:lnTo>
                      <a:pt x="653" y="58"/>
                    </a:lnTo>
                    <a:lnTo>
                      <a:pt x="654" y="58"/>
                    </a:lnTo>
                    <a:lnTo>
                      <a:pt x="654" y="57"/>
                    </a:lnTo>
                    <a:lnTo>
                      <a:pt x="654" y="55"/>
                    </a:lnTo>
                    <a:lnTo>
                      <a:pt x="654" y="54"/>
                    </a:lnTo>
                    <a:lnTo>
                      <a:pt x="654" y="52"/>
                    </a:lnTo>
                    <a:lnTo>
                      <a:pt x="654" y="51"/>
                    </a:lnTo>
                    <a:lnTo>
                      <a:pt x="656" y="51"/>
                    </a:lnTo>
                    <a:lnTo>
                      <a:pt x="657" y="51"/>
                    </a:lnTo>
                    <a:lnTo>
                      <a:pt x="659" y="51"/>
                    </a:lnTo>
                    <a:lnTo>
                      <a:pt x="660" y="51"/>
                    </a:lnTo>
                    <a:lnTo>
                      <a:pt x="660" y="49"/>
                    </a:lnTo>
                    <a:lnTo>
                      <a:pt x="660" y="47"/>
                    </a:lnTo>
                    <a:lnTo>
                      <a:pt x="662" y="47"/>
                    </a:lnTo>
                    <a:lnTo>
                      <a:pt x="662" y="46"/>
                    </a:lnTo>
                    <a:lnTo>
                      <a:pt x="662" y="44"/>
                    </a:lnTo>
                    <a:lnTo>
                      <a:pt x="662" y="43"/>
                    </a:lnTo>
                    <a:lnTo>
                      <a:pt x="662" y="41"/>
                    </a:lnTo>
                    <a:lnTo>
                      <a:pt x="664" y="41"/>
                    </a:lnTo>
                    <a:lnTo>
                      <a:pt x="664" y="39"/>
                    </a:lnTo>
                    <a:lnTo>
                      <a:pt x="665" y="39"/>
                    </a:lnTo>
                    <a:lnTo>
                      <a:pt x="667" y="39"/>
                    </a:lnTo>
                    <a:lnTo>
                      <a:pt x="667" y="38"/>
                    </a:lnTo>
                    <a:lnTo>
                      <a:pt x="668" y="38"/>
                    </a:lnTo>
                    <a:lnTo>
                      <a:pt x="668" y="36"/>
                    </a:lnTo>
                    <a:lnTo>
                      <a:pt x="670" y="36"/>
                    </a:lnTo>
                    <a:lnTo>
                      <a:pt x="670" y="35"/>
                    </a:lnTo>
                    <a:lnTo>
                      <a:pt x="672" y="35"/>
                    </a:lnTo>
                    <a:lnTo>
                      <a:pt x="672" y="33"/>
                    </a:lnTo>
                    <a:lnTo>
                      <a:pt x="673" y="33"/>
                    </a:lnTo>
                    <a:lnTo>
                      <a:pt x="673" y="32"/>
                    </a:lnTo>
                    <a:lnTo>
                      <a:pt x="673" y="30"/>
                    </a:lnTo>
                    <a:lnTo>
                      <a:pt x="675" y="30"/>
                    </a:lnTo>
                    <a:lnTo>
                      <a:pt x="675" y="28"/>
                    </a:lnTo>
                    <a:lnTo>
                      <a:pt x="676" y="28"/>
                    </a:lnTo>
                    <a:lnTo>
                      <a:pt x="676" y="27"/>
                    </a:lnTo>
                    <a:lnTo>
                      <a:pt x="678" y="27"/>
                    </a:lnTo>
                    <a:lnTo>
                      <a:pt x="678" y="25"/>
                    </a:lnTo>
                    <a:lnTo>
                      <a:pt x="679" y="25"/>
                    </a:lnTo>
                    <a:lnTo>
                      <a:pt x="679" y="24"/>
                    </a:lnTo>
                    <a:lnTo>
                      <a:pt x="681" y="24"/>
                    </a:lnTo>
                    <a:lnTo>
                      <a:pt x="681" y="22"/>
                    </a:lnTo>
                    <a:lnTo>
                      <a:pt x="683" y="22"/>
                    </a:lnTo>
                    <a:lnTo>
                      <a:pt x="683" y="20"/>
                    </a:lnTo>
                    <a:lnTo>
                      <a:pt x="684" y="20"/>
                    </a:lnTo>
                    <a:lnTo>
                      <a:pt x="684" y="19"/>
                    </a:lnTo>
                    <a:lnTo>
                      <a:pt x="686" y="19"/>
                    </a:lnTo>
                    <a:lnTo>
                      <a:pt x="686" y="17"/>
                    </a:lnTo>
                    <a:lnTo>
                      <a:pt x="687" y="17"/>
                    </a:lnTo>
                    <a:lnTo>
                      <a:pt x="689" y="16"/>
                    </a:lnTo>
                    <a:lnTo>
                      <a:pt x="691" y="16"/>
                    </a:lnTo>
                    <a:lnTo>
                      <a:pt x="691" y="14"/>
                    </a:lnTo>
                    <a:lnTo>
                      <a:pt x="692" y="14"/>
                    </a:lnTo>
                    <a:lnTo>
                      <a:pt x="694" y="14"/>
                    </a:lnTo>
                    <a:lnTo>
                      <a:pt x="695" y="14"/>
                    </a:lnTo>
                    <a:lnTo>
                      <a:pt x="697" y="14"/>
                    </a:lnTo>
                    <a:lnTo>
                      <a:pt x="697" y="16"/>
                    </a:lnTo>
                    <a:lnTo>
                      <a:pt x="698" y="16"/>
                    </a:lnTo>
                    <a:lnTo>
                      <a:pt x="700" y="16"/>
                    </a:lnTo>
                    <a:lnTo>
                      <a:pt x="702" y="16"/>
                    </a:lnTo>
                    <a:lnTo>
                      <a:pt x="703" y="16"/>
                    </a:lnTo>
                    <a:lnTo>
                      <a:pt x="705" y="16"/>
                    </a:lnTo>
                    <a:lnTo>
                      <a:pt x="705" y="14"/>
                    </a:lnTo>
                    <a:lnTo>
                      <a:pt x="706" y="14"/>
                    </a:lnTo>
                    <a:lnTo>
                      <a:pt x="708" y="14"/>
                    </a:lnTo>
                    <a:lnTo>
                      <a:pt x="710" y="14"/>
                    </a:lnTo>
                    <a:lnTo>
                      <a:pt x="711" y="14"/>
                    </a:lnTo>
                    <a:lnTo>
                      <a:pt x="710" y="14"/>
                    </a:lnTo>
                    <a:lnTo>
                      <a:pt x="710" y="16"/>
                    </a:lnTo>
                    <a:lnTo>
                      <a:pt x="711" y="16"/>
                    </a:lnTo>
                    <a:lnTo>
                      <a:pt x="711" y="17"/>
                    </a:lnTo>
                    <a:lnTo>
                      <a:pt x="711" y="19"/>
                    </a:lnTo>
                    <a:lnTo>
                      <a:pt x="710" y="20"/>
                    </a:lnTo>
                    <a:lnTo>
                      <a:pt x="710" y="22"/>
                    </a:lnTo>
                    <a:lnTo>
                      <a:pt x="711" y="22"/>
                    </a:lnTo>
                    <a:lnTo>
                      <a:pt x="710" y="22"/>
                    </a:lnTo>
                    <a:lnTo>
                      <a:pt x="711" y="24"/>
                    </a:lnTo>
                    <a:lnTo>
                      <a:pt x="711" y="25"/>
                    </a:lnTo>
                    <a:lnTo>
                      <a:pt x="711" y="27"/>
                    </a:lnTo>
                    <a:lnTo>
                      <a:pt x="710" y="25"/>
                    </a:lnTo>
                    <a:lnTo>
                      <a:pt x="710" y="27"/>
                    </a:lnTo>
                    <a:lnTo>
                      <a:pt x="708" y="27"/>
                    </a:lnTo>
                    <a:lnTo>
                      <a:pt x="708" y="28"/>
                    </a:lnTo>
                    <a:lnTo>
                      <a:pt x="706" y="28"/>
                    </a:lnTo>
                    <a:lnTo>
                      <a:pt x="708" y="28"/>
                    </a:lnTo>
                    <a:lnTo>
                      <a:pt x="708" y="30"/>
                    </a:lnTo>
                    <a:lnTo>
                      <a:pt x="708" y="32"/>
                    </a:lnTo>
                    <a:lnTo>
                      <a:pt x="706" y="32"/>
                    </a:lnTo>
                    <a:lnTo>
                      <a:pt x="706" y="33"/>
                    </a:lnTo>
                    <a:lnTo>
                      <a:pt x="705" y="33"/>
                    </a:lnTo>
                    <a:lnTo>
                      <a:pt x="706" y="33"/>
                    </a:lnTo>
                    <a:lnTo>
                      <a:pt x="705" y="35"/>
                    </a:lnTo>
                    <a:lnTo>
                      <a:pt x="705" y="36"/>
                    </a:lnTo>
                    <a:lnTo>
                      <a:pt x="703" y="36"/>
                    </a:lnTo>
                    <a:lnTo>
                      <a:pt x="703" y="38"/>
                    </a:lnTo>
                    <a:lnTo>
                      <a:pt x="703" y="39"/>
                    </a:lnTo>
                    <a:lnTo>
                      <a:pt x="705" y="41"/>
                    </a:lnTo>
                    <a:lnTo>
                      <a:pt x="705" y="43"/>
                    </a:lnTo>
                    <a:lnTo>
                      <a:pt x="705" y="44"/>
                    </a:lnTo>
                    <a:lnTo>
                      <a:pt x="705" y="46"/>
                    </a:lnTo>
                    <a:lnTo>
                      <a:pt x="703" y="46"/>
                    </a:lnTo>
                    <a:lnTo>
                      <a:pt x="703" y="47"/>
                    </a:lnTo>
                    <a:lnTo>
                      <a:pt x="703" y="49"/>
                    </a:lnTo>
                    <a:lnTo>
                      <a:pt x="703" y="47"/>
                    </a:lnTo>
                    <a:lnTo>
                      <a:pt x="703" y="49"/>
                    </a:lnTo>
                    <a:lnTo>
                      <a:pt x="705" y="49"/>
                    </a:lnTo>
                    <a:lnTo>
                      <a:pt x="706" y="49"/>
                    </a:lnTo>
                    <a:lnTo>
                      <a:pt x="708" y="49"/>
                    </a:lnTo>
                    <a:lnTo>
                      <a:pt x="708" y="51"/>
                    </a:lnTo>
                    <a:lnTo>
                      <a:pt x="710" y="51"/>
                    </a:lnTo>
                    <a:lnTo>
                      <a:pt x="710" y="52"/>
                    </a:lnTo>
                    <a:lnTo>
                      <a:pt x="711" y="52"/>
                    </a:lnTo>
                    <a:lnTo>
                      <a:pt x="713" y="52"/>
                    </a:lnTo>
                    <a:lnTo>
                      <a:pt x="714" y="54"/>
                    </a:lnTo>
                    <a:lnTo>
                      <a:pt x="716" y="54"/>
                    </a:lnTo>
                    <a:lnTo>
                      <a:pt x="717" y="54"/>
                    </a:lnTo>
                    <a:lnTo>
                      <a:pt x="719" y="54"/>
                    </a:lnTo>
                    <a:lnTo>
                      <a:pt x="721" y="52"/>
                    </a:lnTo>
                    <a:lnTo>
                      <a:pt x="722" y="52"/>
                    </a:lnTo>
                    <a:lnTo>
                      <a:pt x="724" y="52"/>
                    </a:lnTo>
                    <a:lnTo>
                      <a:pt x="725" y="52"/>
                    </a:lnTo>
                    <a:lnTo>
                      <a:pt x="727" y="52"/>
                    </a:lnTo>
                    <a:lnTo>
                      <a:pt x="729" y="52"/>
                    </a:lnTo>
                    <a:lnTo>
                      <a:pt x="729" y="51"/>
                    </a:lnTo>
                    <a:lnTo>
                      <a:pt x="730" y="51"/>
                    </a:lnTo>
                    <a:lnTo>
                      <a:pt x="730" y="49"/>
                    </a:lnTo>
                    <a:lnTo>
                      <a:pt x="730" y="47"/>
                    </a:lnTo>
                    <a:lnTo>
                      <a:pt x="730" y="46"/>
                    </a:lnTo>
                    <a:lnTo>
                      <a:pt x="730" y="44"/>
                    </a:lnTo>
                    <a:lnTo>
                      <a:pt x="730" y="43"/>
                    </a:lnTo>
                    <a:lnTo>
                      <a:pt x="730" y="41"/>
                    </a:lnTo>
                    <a:lnTo>
                      <a:pt x="730" y="39"/>
                    </a:lnTo>
                    <a:lnTo>
                      <a:pt x="732" y="39"/>
                    </a:lnTo>
                    <a:lnTo>
                      <a:pt x="732" y="38"/>
                    </a:lnTo>
                    <a:lnTo>
                      <a:pt x="733" y="38"/>
                    </a:lnTo>
                    <a:lnTo>
                      <a:pt x="735" y="38"/>
                    </a:lnTo>
                    <a:lnTo>
                      <a:pt x="737" y="38"/>
                    </a:lnTo>
                    <a:lnTo>
                      <a:pt x="737" y="36"/>
                    </a:lnTo>
                    <a:lnTo>
                      <a:pt x="738" y="36"/>
                    </a:lnTo>
                    <a:lnTo>
                      <a:pt x="738" y="35"/>
                    </a:lnTo>
                    <a:lnTo>
                      <a:pt x="740" y="35"/>
                    </a:lnTo>
                    <a:lnTo>
                      <a:pt x="741" y="35"/>
                    </a:lnTo>
                    <a:lnTo>
                      <a:pt x="741" y="33"/>
                    </a:lnTo>
                    <a:lnTo>
                      <a:pt x="743" y="33"/>
                    </a:lnTo>
                    <a:lnTo>
                      <a:pt x="744" y="33"/>
                    </a:lnTo>
                    <a:lnTo>
                      <a:pt x="744" y="32"/>
                    </a:lnTo>
                    <a:lnTo>
                      <a:pt x="746" y="32"/>
                    </a:lnTo>
                    <a:lnTo>
                      <a:pt x="748" y="32"/>
                    </a:lnTo>
                    <a:lnTo>
                      <a:pt x="748" y="30"/>
                    </a:lnTo>
                    <a:lnTo>
                      <a:pt x="749" y="30"/>
                    </a:lnTo>
                    <a:lnTo>
                      <a:pt x="751" y="30"/>
                    </a:lnTo>
                    <a:lnTo>
                      <a:pt x="751" y="28"/>
                    </a:lnTo>
                    <a:lnTo>
                      <a:pt x="752" y="28"/>
                    </a:lnTo>
                    <a:lnTo>
                      <a:pt x="754" y="28"/>
                    </a:lnTo>
                    <a:lnTo>
                      <a:pt x="752" y="27"/>
                    </a:lnTo>
                    <a:lnTo>
                      <a:pt x="752" y="25"/>
                    </a:lnTo>
                    <a:lnTo>
                      <a:pt x="754" y="25"/>
                    </a:lnTo>
                    <a:lnTo>
                      <a:pt x="754" y="24"/>
                    </a:lnTo>
                    <a:lnTo>
                      <a:pt x="756" y="24"/>
                    </a:lnTo>
                    <a:lnTo>
                      <a:pt x="757" y="24"/>
                    </a:lnTo>
                    <a:lnTo>
                      <a:pt x="757" y="22"/>
                    </a:lnTo>
                    <a:lnTo>
                      <a:pt x="759" y="22"/>
                    </a:lnTo>
                    <a:lnTo>
                      <a:pt x="760" y="22"/>
                    </a:lnTo>
                    <a:lnTo>
                      <a:pt x="762" y="22"/>
                    </a:lnTo>
                    <a:lnTo>
                      <a:pt x="763" y="22"/>
                    </a:lnTo>
                    <a:lnTo>
                      <a:pt x="765" y="22"/>
                    </a:lnTo>
                    <a:lnTo>
                      <a:pt x="767" y="22"/>
                    </a:lnTo>
                    <a:lnTo>
                      <a:pt x="767" y="24"/>
                    </a:lnTo>
                    <a:lnTo>
                      <a:pt x="768" y="24"/>
                    </a:lnTo>
                    <a:lnTo>
                      <a:pt x="768" y="25"/>
                    </a:lnTo>
                    <a:lnTo>
                      <a:pt x="770" y="25"/>
                    </a:lnTo>
                    <a:lnTo>
                      <a:pt x="770" y="27"/>
                    </a:lnTo>
                    <a:lnTo>
                      <a:pt x="771" y="27"/>
                    </a:lnTo>
                    <a:lnTo>
                      <a:pt x="773" y="28"/>
                    </a:lnTo>
                    <a:lnTo>
                      <a:pt x="775" y="28"/>
                    </a:lnTo>
                    <a:lnTo>
                      <a:pt x="775" y="30"/>
                    </a:lnTo>
                    <a:lnTo>
                      <a:pt x="776" y="30"/>
                    </a:lnTo>
                    <a:lnTo>
                      <a:pt x="778" y="32"/>
                    </a:lnTo>
                    <a:lnTo>
                      <a:pt x="779" y="32"/>
                    </a:lnTo>
                    <a:lnTo>
                      <a:pt x="781" y="32"/>
                    </a:lnTo>
                    <a:lnTo>
                      <a:pt x="781" y="33"/>
                    </a:lnTo>
                    <a:lnTo>
                      <a:pt x="782" y="33"/>
                    </a:lnTo>
                    <a:lnTo>
                      <a:pt x="784" y="33"/>
                    </a:lnTo>
                    <a:lnTo>
                      <a:pt x="784" y="35"/>
                    </a:lnTo>
                    <a:lnTo>
                      <a:pt x="786" y="35"/>
                    </a:lnTo>
                    <a:lnTo>
                      <a:pt x="787" y="35"/>
                    </a:lnTo>
                    <a:lnTo>
                      <a:pt x="787" y="36"/>
                    </a:lnTo>
                    <a:lnTo>
                      <a:pt x="789" y="36"/>
                    </a:lnTo>
                    <a:lnTo>
                      <a:pt x="790" y="36"/>
                    </a:lnTo>
                    <a:lnTo>
                      <a:pt x="790" y="38"/>
                    </a:lnTo>
                    <a:lnTo>
                      <a:pt x="792" y="38"/>
                    </a:lnTo>
                    <a:lnTo>
                      <a:pt x="794" y="39"/>
                    </a:lnTo>
                    <a:lnTo>
                      <a:pt x="795" y="39"/>
                    </a:lnTo>
                    <a:lnTo>
                      <a:pt x="797" y="39"/>
                    </a:lnTo>
                    <a:lnTo>
                      <a:pt x="798" y="41"/>
                    </a:lnTo>
                    <a:lnTo>
                      <a:pt x="798" y="43"/>
                    </a:lnTo>
                    <a:lnTo>
                      <a:pt x="798" y="44"/>
                    </a:lnTo>
                    <a:lnTo>
                      <a:pt x="798" y="46"/>
                    </a:lnTo>
                    <a:lnTo>
                      <a:pt x="798" y="47"/>
                    </a:lnTo>
                    <a:lnTo>
                      <a:pt x="797" y="47"/>
                    </a:lnTo>
                    <a:lnTo>
                      <a:pt x="797" y="49"/>
                    </a:lnTo>
                    <a:lnTo>
                      <a:pt x="797" y="51"/>
                    </a:lnTo>
                    <a:lnTo>
                      <a:pt x="797" y="52"/>
                    </a:lnTo>
                    <a:lnTo>
                      <a:pt x="798" y="52"/>
                    </a:lnTo>
                    <a:lnTo>
                      <a:pt x="800" y="52"/>
                    </a:lnTo>
                    <a:lnTo>
                      <a:pt x="800" y="54"/>
                    </a:lnTo>
                    <a:lnTo>
                      <a:pt x="801" y="54"/>
                    </a:lnTo>
                    <a:lnTo>
                      <a:pt x="803" y="54"/>
                    </a:lnTo>
                    <a:lnTo>
                      <a:pt x="803" y="52"/>
                    </a:lnTo>
                    <a:lnTo>
                      <a:pt x="805" y="52"/>
                    </a:lnTo>
                    <a:lnTo>
                      <a:pt x="805" y="54"/>
                    </a:lnTo>
                    <a:lnTo>
                      <a:pt x="806" y="52"/>
                    </a:lnTo>
                    <a:lnTo>
                      <a:pt x="808" y="52"/>
                    </a:lnTo>
                    <a:lnTo>
                      <a:pt x="809" y="52"/>
                    </a:lnTo>
                    <a:lnTo>
                      <a:pt x="811" y="52"/>
                    </a:lnTo>
                    <a:lnTo>
                      <a:pt x="811" y="51"/>
                    </a:lnTo>
                    <a:lnTo>
                      <a:pt x="813" y="51"/>
                    </a:lnTo>
                    <a:lnTo>
                      <a:pt x="813" y="49"/>
                    </a:lnTo>
                    <a:lnTo>
                      <a:pt x="814" y="49"/>
                    </a:lnTo>
                    <a:lnTo>
                      <a:pt x="814" y="47"/>
                    </a:lnTo>
                    <a:lnTo>
                      <a:pt x="816" y="47"/>
                    </a:lnTo>
                    <a:lnTo>
                      <a:pt x="816" y="49"/>
                    </a:lnTo>
                    <a:lnTo>
                      <a:pt x="816" y="51"/>
                    </a:lnTo>
                    <a:lnTo>
                      <a:pt x="817" y="52"/>
                    </a:lnTo>
                    <a:lnTo>
                      <a:pt x="816" y="52"/>
                    </a:lnTo>
                    <a:lnTo>
                      <a:pt x="817" y="52"/>
                    </a:lnTo>
                    <a:lnTo>
                      <a:pt x="817" y="51"/>
                    </a:lnTo>
                    <a:lnTo>
                      <a:pt x="819" y="51"/>
                    </a:lnTo>
                    <a:lnTo>
                      <a:pt x="819" y="49"/>
                    </a:lnTo>
                    <a:lnTo>
                      <a:pt x="819" y="47"/>
                    </a:lnTo>
                    <a:lnTo>
                      <a:pt x="820" y="47"/>
                    </a:lnTo>
                    <a:lnTo>
                      <a:pt x="820" y="46"/>
                    </a:lnTo>
                    <a:lnTo>
                      <a:pt x="822" y="46"/>
                    </a:lnTo>
                    <a:lnTo>
                      <a:pt x="824" y="46"/>
                    </a:lnTo>
                    <a:lnTo>
                      <a:pt x="824" y="44"/>
                    </a:lnTo>
                    <a:lnTo>
                      <a:pt x="825" y="44"/>
                    </a:lnTo>
                    <a:lnTo>
                      <a:pt x="827" y="44"/>
                    </a:lnTo>
                    <a:lnTo>
                      <a:pt x="828" y="44"/>
                    </a:lnTo>
                    <a:lnTo>
                      <a:pt x="830" y="44"/>
                    </a:lnTo>
                    <a:lnTo>
                      <a:pt x="830" y="46"/>
                    </a:lnTo>
                    <a:lnTo>
                      <a:pt x="828" y="46"/>
                    </a:lnTo>
                    <a:lnTo>
                      <a:pt x="830" y="46"/>
                    </a:lnTo>
                    <a:lnTo>
                      <a:pt x="830" y="47"/>
                    </a:lnTo>
                    <a:lnTo>
                      <a:pt x="830" y="49"/>
                    </a:lnTo>
                    <a:lnTo>
                      <a:pt x="830" y="51"/>
                    </a:lnTo>
                    <a:lnTo>
                      <a:pt x="832" y="51"/>
                    </a:lnTo>
                    <a:lnTo>
                      <a:pt x="832" y="52"/>
                    </a:lnTo>
                    <a:lnTo>
                      <a:pt x="832" y="54"/>
                    </a:lnTo>
                    <a:lnTo>
                      <a:pt x="832" y="55"/>
                    </a:lnTo>
                    <a:lnTo>
                      <a:pt x="832" y="57"/>
                    </a:lnTo>
                    <a:lnTo>
                      <a:pt x="833" y="57"/>
                    </a:lnTo>
                    <a:lnTo>
                      <a:pt x="833" y="55"/>
                    </a:lnTo>
                    <a:lnTo>
                      <a:pt x="835" y="55"/>
                    </a:lnTo>
                    <a:lnTo>
                      <a:pt x="835" y="54"/>
                    </a:lnTo>
                    <a:lnTo>
                      <a:pt x="835" y="55"/>
                    </a:lnTo>
                    <a:lnTo>
                      <a:pt x="836" y="55"/>
                    </a:lnTo>
                    <a:lnTo>
                      <a:pt x="836" y="54"/>
                    </a:lnTo>
                    <a:lnTo>
                      <a:pt x="836" y="52"/>
                    </a:lnTo>
                    <a:lnTo>
                      <a:pt x="838" y="52"/>
                    </a:lnTo>
                    <a:lnTo>
                      <a:pt x="838" y="51"/>
                    </a:lnTo>
                    <a:lnTo>
                      <a:pt x="839" y="51"/>
                    </a:lnTo>
                    <a:lnTo>
                      <a:pt x="841" y="51"/>
                    </a:lnTo>
                    <a:lnTo>
                      <a:pt x="841" y="49"/>
                    </a:lnTo>
                    <a:lnTo>
                      <a:pt x="841" y="47"/>
                    </a:lnTo>
                    <a:lnTo>
                      <a:pt x="843" y="47"/>
                    </a:lnTo>
                    <a:lnTo>
                      <a:pt x="843" y="46"/>
                    </a:lnTo>
                    <a:lnTo>
                      <a:pt x="843" y="44"/>
                    </a:lnTo>
                    <a:lnTo>
                      <a:pt x="843" y="43"/>
                    </a:lnTo>
                    <a:lnTo>
                      <a:pt x="844" y="43"/>
                    </a:lnTo>
                    <a:lnTo>
                      <a:pt x="844" y="44"/>
                    </a:lnTo>
                    <a:lnTo>
                      <a:pt x="844" y="43"/>
                    </a:lnTo>
                    <a:lnTo>
                      <a:pt x="844" y="41"/>
                    </a:lnTo>
                    <a:lnTo>
                      <a:pt x="843" y="41"/>
                    </a:lnTo>
                    <a:lnTo>
                      <a:pt x="843" y="39"/>
                    </a:lnTo>
                    <a:lnTo>
                      <a:pt x="844" y="39"/>
                    </a:lnTo>
                    <a:lnTo>
                      <a:pt x="844" y="38"/>
                    </a:lnTo>
                    <a:lnTo>
                      <a:pt x="846" y="38"/>
                    </a:lnTo>
                    <a:lnTo>
                      <a:pt x="847" y="36"/>
                    </a:lnTo>
                    <a:lnTo>
                      <a:pt x="847" y="35"/>
                    </a:lnTo>
                    <a:lnTo>
                      <a:pt x="847" y="33"/>
                    </a:lnTo>
                    <a:lnTo>
                      <a:pt x="847" y="32"/>
                    </a:lnTo>
                    <a:lnTo>
                      <a:pt x="849" y="32"/>
                    </a:lnTo>
                    <a:lnTo>
                      <a:pt x="847" y="32"/>
                    </a:lnTo>
                    <a:lnTo>
                      <a:pt x="847" y="30"/>
                    </a:lnTo>
                    <a:lnTo>
                      <a:pt x="849" y="30"/>
                    </a:lnTo>
                    <a:lnTo>
                      <a:pt x="851" y="30"/>
                    </a:lnTo>
                    <a:lnTo>
                      <a:pt x="852" y="30"/>
                    </a:lnTo>
                    <a:lnTo>
                      <a:pt x="854" y="30"/>
                    </a:lnTo>
                    <a:lnTo>
                      <a:pt x="855" y="30"/>
                    </a:lnTo>
                    <a:lnTo>
                      <a:pt x="857" y="30"/>
                    </a:lnTo>
                    <a:lnTo>
                      <a:pt x="857" y="32"/>
                    </a:lnTo>
                    <a:lnTo>
                      <a:pt x="858" y="32"/>
                    </a:lnTo>
                    <a:lnTo>
                      <a:pt x="858" y="33"/>
                    </a:lnTo>
                    <a:lnTo>
                      <a:pt x="860" y="33"/>
                    </a:lnTo>
                    <a:lnTo>
                      <a:pt x="860" y="35"/>
                    </a:lnTo>
                    <a:lnTo>
                      <a:pt x="862" y="35"/>
                    </a:lnTo>
                    <a:lnTo>
                      <a:pt x="862" y="36"/>
                    </a:lnTo>
                    <a:lnTo>
                      <a:pt x="863" y="36"/>
                    </a:lnTo>
                    <a:lnTo>
                      <a:pt x="865" y="36"/>
                    </a:lnTo>
                    <a:lnTo>
                      <a:pt x="865" y="38"/>
                    </a:lnTo>
                    <a:lnTo>
                      <a:pt x="866" y="38"/>
                    </a:lnTo>
                    <a:lnTo>
                      <a:pt x="868" y="38"/>
                    </a:lnTo>
                    <a:lnTo>
                      <a:pt x="870" y="38"/>
                    </a:lnTo>
                    <a:lnTo>
                      <a:pt x="870" y="39"/>
                    </a:lnTo>
                    <a:lnTo>
                      <a:pt x="871" y="39"/>
                    </a:lnTo>
                    <a:lnTo>
                      <a:pt x="873" y="39"/>
                    </a:lnTo>
                    <a:lnTo>
                      <a:pt x="874" y="39"/>
                    </a:lnTo>
                    <a:lnTo>
                      <a:pt x="876" y="41"/>
                    </a:lnTo>
                    <a:lnTo>
                      <a:pt x="877" y="41"/>
                    </a:lnTo>
                    <a:lnTo>
                      <a:pt x="879" y="41"/>
                    </a:lnTo>
                    <a:lnTo>
                      <a:pt x="881" y="41"/>
                    </a:lnTo>
                    <a:lnTo>
                      <a:pt x="882" y="41"/>
                    </a:lnTo>
                    <a:lnTo>
                      <a:pt x="884" y="41"/>
                    </a:lnTo>
                    <a:lnTo>
                      <a:pt x="885" y="41"/>
                    </a:lnTo>
                    <a:lnTo>
                      <a:pt x="887" y="41"/>
                    </a:lnTo>
                    <a:lnTo>
                      <a:pt x="889" y="41"/>
                    </a:lnTo>
                    <a:lnTo>
                      <a:pt x="890" y="41"/>
                    </a:lnTo>
                    <a:lnTo>
                      <a:pt x="892" y="43"/>
                    </a:lnTo>
                    <a:lnTo>
                      <a:pt x="893" y="43"/>
                    </a:lnTo>
                    <a:lnTo>
                      <a:pt x="893" y="44"/>
                    </a:lnTo>
                    <a:lnTo>
                      <a:pt x="895" y="44"/>
                    </a:lnTo>
                    <a:lnTo>
                      <a:pt x="896" y="46"/>
                    </a:lnTo>
                    <a:lnTo>
                      <a:pt x="896" y="47"/>
                    </a:lnTo>
                    <a:lnTo>
                      <a:pt x="896" y="49"/>
                    </a:lnTo>
                    <a:lnTo>
                      <a:pt x="896" y="51"/>
                    </a:lnTo>
                    <a:lnTo>
                      <a:pt x="895" y="52"/>
                    </a:lnTo>
                    <a:lnTo>
                      <a:pt x="895" y="54"/>
                    </a:lnTo>
                    <a:lnTo>
                      <a:pt x="893" y="54"/>
                    </a:lnTo>
                    <a:lnTo>
                      <a:pt x="893" y="55"/>
                    </a:lnTo>
                    <a:lnTo>
                      <a:pt x="893" y="57"/>
                    </a:lnTo>
                    <a:lnTo>
                      <a:pt x="892" y="57"/>
                    </a:lnTo>
                    <a:lnTo>
                      <a:pt x="892" y="58"/>
                    </a:lnTo>
                    <a:lnTo>
                      <a:pt x="890" y="58"/>
                    </a:lnTo>
                    <a:lnTo>
                      <a:pt x="890" y="60"/>
                    </a:lnTo>
                    <a:lnTo>
                      <a:pt x="890" y="62"/>
                    </a:lnTo>
                    <a:lnTo>
                      <a:pt x="889" y="62"/>
                    </a:lnTo>
                    <a:lnTo>
                      <a:pt x="887" y="63"/>
                    </a:lnTo>
                    <a:lnTo>
                      <a:pt x="887" y="65"/>
                    </a:lnTo>
                    <a:lnTo>
                      <a:pt x="889" y="66"/>
                    </a:lnTo>
                    <a:lnTo>
                      <a:pt x="889" y="68"/>
                    </a:lnTo>
                    <a:lnTo>
                      <a:pt x="890" y="68"/>
                    </a:lnTo>
                    <a:lnTo>
                      <a:pt x="890" y="70"/>
                    </a:lnTo>
                    <a:lnTo>
                      <a:pt x="892" y="70"/>
                    </a:lnTo>
                    <a:lnTo>
                      <a:pt x="892" y="71"/>
                    </a:lnTo>
                    <a:lnTo>
                      <a:pt x="892" y="73"/>
                    </a:lnTo>
                    <a:lnTo>
                      <a:pt x="892" y="74"/>
                    </a:lnTo>
                    <a:lnTo>
                      <a:pt x="893" y="76"/>
                    </a:lnTo>
                    <a:lnTo>
                      <a:pt x="893" y="77"/>
                    </a:lnTo>
                    <a:lnTo>
                      <a:pt x="893" y="79"/>
                    </a:lnTo>
                    <a:lnTo>
                      <a:pt x="895" y="79"/>
                    </a:lnTo>
                    <a:lnTo>
                      <a:pt x="895" y="81"/>
                    </a:lnTo>
                    <a:lnTo>
                      <a:pt x="895" y="82"/>
                    </a:lnTo>
                    <a:lnTo>
                      <a:pt x="896" y="82"/>
                    </a:lnTo>
                    <a:lnTo>
                      <a:pt x="896" y="84"/>
                    </a:lnTo>
                    <a:lnTo>
                      <a:pt x="898" y="84"/>
                    </a:lnTo>
                    <a:lnTo>
                      <a:pt x="898" y="85"/>
                    </a:lnTo>
                    <a:lnTo>
                      <a:pt x="900" y="85"/>
                    </a:lnTo>
                    <a:lnTo>
                      <a:pt x="900" y="87"/>
                    </a:lnTo>
                    <a:lnTo>
                      <a:pt x="901" y="87"/>
                    </a:lnTo>
                    <a:lnTo>
                      <a:pt x="901" y="89"/>
                    </a:lnTo>
                    <a:lnTo>
                      <a:pt x="903" y="89"/>
                    </a:lnTo>
                    <a:lnTo>
                      <a:pt x="904" y="89"/>
                    </a:lnTo>
                    <a:lnTo>
                      <a:pt x="906" y="90"/>
                    </a:lnTo>
                    <a:lnTo>
                      <a:pt x="908" y="90"/>
                    </a:lnTo>
                    <a:lnTo>
                      <a:pt x="909" y="90"/>
                    </a:lnTo>
                    <a:lnTo>
                      <a:pt x="911" y="90"/>
                    </a:lnTo>
                    <a:lnTo>
                      <a:pt x="912" y="90"/>
                    </a:lnTo>
                    <a:lnTo>
                      <a:pt x="914" y="90"/>
                    </a:lnTo>
                    <a:lnTo>
                      <a:pt x="915" y="90"/>
                    </a:lnTo>
                    <a:lnTo>
                      <a:pt x="917" y="90"/>
                    </a:lnTo>
                    <a:lnTo>
                      <a:pt x="917" y="92"/>
                    </a:lnTo>
                    <a:lnTo>
                      <a:pt x="919" y="92"/>
                    </a:lnTo>
                    <a:lnTo>
                      <a:pt x="919" y="93"/>
                    </a:lnTo>
                    <a:lnTo>
                      <a:pt x="920" y="93"/>
                    </a:lnTo>
                    <a:lnTo>
                      <a:pt x="922" y="93"/>
                    </a:lnTo>
                    <a:lnTo>
                      <a:pt x="922" y="95"/>
                    </a:lnTo>
                    <a:lnTo>
                      <a:pt x="923" y="95"/>
                    </a:lnTo>
                    <a:lnTo>
                      <a:pt x="923" y="97"/>
                    </a:lnTo>
                    <a:lnTo>
                      <a:pt x="925" y="97"/>
                    </a:lnTo>
                    <a:lnTo>
                      <a:pt x="925" y="98"/>
                    </a:lnTo>
                    <a:lnTo>
                      <a:pt x="925" y="100"/>
                    </a:lnTo>
                    <a:lnTo>
                      <a:pt x="925" y="101"/>
                    </a:lnTo>
                    <a:lnTo>
                      <a:pt x="927" y="101"/>
                    </a:lnTo>
                    <a:lnTo>
                      <a:pt x="927" y="103"/>
                    </a:lnTo>
                    <a:lnTo>
                      <a:pt x="927" y="104"/>
                    </a:lnTo>
                    <a:lnTo>
                      <a:pt x="928" y="104"/>
                    </a:lnTo>
                    <a:lnTo>
                      <a:pt x="928" y="106"/>
                    </a:lnTo>
                    <a:lnTo>
                      <a:pt x="930" y="106"/>
                    </a:lnTo>
                    <a:lnTo>
                      <a:pt x="931" y="108"/>
                    </a:lnTo>
                    <a:lnTo>
                      <a:pt x="931" y="109"/>
                    </a:lnTo>
                    <a:lnTo>
                      <a:pt x="933" y="109"/>
                    </a:lnTo>
                    <a:lnTo>
                      <a:pt x="933" y="111"/>
                    </a:lnTo>
                    <a:lnTo>
                      <a:pt x="935" y="111"/>
                    </a:lnTo>
                    <a:lnTo>
                      <a:pt x="936" y="111"/>
                    </a:lnTo>
                    <a:lnTo>
                      <a:pt x="938" y="111"/>
                    </a:lnTo>
                    <a:lnTo>
                      <a:pt x="939" y="111"/>
                    </a:lnTo>
                    <a:lnTo>
                      <a:pt x="939" y="109"/>
                    </a:lnTo>
                    <a:lnTo>
                      <a:pt x="941" y="109"/>
                    </a:lnTo>
                    <a:lnTo>
                      <a:pt x="941" y="108"/>
                    </a:lnTo>
                    <a:lnTo>
                      <a:pt x="941" y="106"/>
                    </a:lnTo>
                    <a:lnTo>
                      <a:pt x="941" y="104"/>
                    </a:lnTo>
                    <a:lnTo>
                      <a:pt x="942" y="103"/>
                    </a:lnTo>
                    <a:lnTo>
                      <a:pt x="942" y="101"/>
                    </a:lnTo>
                    <a:lnTo>
                      <a:pt x="944" y="100"/>
                    </a:lnTo>
                    <a:lnTo>
                      <a:pt x="946" y="100"/>
                    </a:lnTo>
                    <a:lnTo>
                      <a:pt x="947" y="101"/>
                    </a:lnTo>
                    <a:lnTo>
                      <a:pt x="949" y="101"/>
                    </a:lnTo>
                    <a:lnTo>
                      <a:pt x="949" y="100"/>
                    </a:lnTo>
                    <a:lnTo>
                      <a:pt x="950" y="100"/>
                    </a:lnTo>
                    <a:lnTo>
                      <a:pt x="952" y="100"/>
                    </a:lnTo>
                    <a:lnTo>
                      <a:pt x="954" y="100"/>
                    </a:lnTo>
                    <a:lnTo>
                      <a:pt x="955" y="100"/>
                    </a:lnTo>
                    <a:lnTo>
                      <a:pt x="957" y="100"/>
                    </a:lnTo>
                    <a:lnTo>
                      <a:pt x="957" y="101"/>
                    </a:lnTo>
                    <a:lnTo>
                      <a:pt x="958" y="101"/>
                    </a:lnTo>
                    <a:lnTo>
                      <a:pt x="960" y="101"/>
                    </a:lnTo>
                    <a:lnTo>
                      <a:pt x="960" y="103"/>
                    </a:lnTo>
                    <a:lnTo>
                      <a:pt x="961" y="103"/>
                    </a:lnTo>
                    <a:lnTo>
                      <a:pt x="963" y="104"/>
                    </a:lnTo>
                    <a:lnTo>
                      <a:pt x="965" y="104"/>
                    </a:lnTo>
                    <a:lnTo>
                      <a:pt x="965" y="106"/>
                    </a:lnTo>
                    <a:lnTo>
                      <a:pt x="966" y="108"/>
                    </a:lnTo>
                    <a:lnTo>
                      <a:pt x="968" y="109"/>
                    </a:lnTo>
                    <a:lnTo>
                      <a:pt x="969" y="109"/>
                    </a:lnTo>
                    <a:lnTo>
                      <a:pt x="971" y="109"/>
                    </a:lnTo>
                    <a:lnTo>
                      <a:pt x="973" y="109"/>
                    </a:lnTo>
                    <a:lnTo>
                      <a:pt x="974" y="109"/>
                    </a:lnTo>
                    <a:lnTo>
                      <a:pt x="976" y="109"/>
                    </a:lnTo>
                    <a:lnTo>
                      <a:pt x="977" y="109"/>
                    </a:lnTo>
                    <a:lnTo>
                      <a:pt x="977" y="111"/>
                    </a:lnTo>
                    <a:lnTo>
                      <a:pt x="979" y="111"/>
                    </a:lnTo>
                    <a:lnTo>
                      <a:pt x="979" y="112"/>
                    </a:lnTo>
                    <a:lnTo>
                      <a:pt x="980" y="112"/>
                    </a:lnTo>
                    <a:lnTo>
                      <a:pt x="982" y="112"/>
                    </a:lnTo>
                    <a:lnTo>
                      <a:pt x="984" y="112"/>
                    </a:lnTo>
                    <a:lnTo>
                      <a:pt x="985" y="114"/>
                    </a:lnTo>
                    <a:lnTo>
                      <a:pt x="987" y="114"/>
                    </a:lnTo>
                    <a:lnTo>
                      <a:pt x="987" y="112"/>
                    </a:lnTo>
                    <a:lnTo>
                      <a:pt x="988" y="112"/>
                    </a:lnTo>
                    <a:lnTo>
                      <a:pt x="990" y="112"/>
                    </a:lnTo>
                    <a:lnTo>
                      <a:pt x="992" y="112"/>
                    </a:lnTo>
                    <a:lnTo>
                      <a:pt x="992" y="114"/>
                    </a:lnTo>
                    <a:lnTo>
                      <a:pt x="993" y="114"/>
                    </a:lnTo>
                    <a:lnTo>
                      <a:pt x="995" y="116"/>
                    </a:lnTo>
                    <a:lnTo>
                      <a:pt x="996" y="117"/>
                    </a:lnTo>
                    <a:lnTo>
                      <a:pt x="996" y="119"/>
                    </a:lnTo>
                    <a:lnTo>
                      <a:pt x="998" y="119"/>
                    </a:lnTo>
                    <a:lnTo>
                      <a:pt x="998" y="120"/>
                    </a:lnTo>
                    <a:lnTo>
                      <a:pt x="999" y="120"/>
                    </a:lnTo>
                    <a:lnTo>
                      <a:pt x="999" y="122"/>
                    </a:lnTo>
                    <a:lnTo>
                      <a:pt x="999" y="123"/>
                    </a:lnTo>
                    <a:lnTo>
                      <a:pt x="999" y="125"/>
                    </a:lnTo>
                    <a:lnTo>
                      <a:pt x="1001" y="125"/>
                    </a:lnTo>
                    <a:lnTo>
                      <a:pt x="1001" y="127"/>
                    </a:lnTo>
                    <a:lnTo>
                      <a:pt x="1003" y="127"/>
                    </a:lnTo>
                    <a:lnTo>
                      <a:pt x="1003" y="128"/>
                    </a:lnTo>
                    <a:lnTo>
                      <a:pt x="1004" y="128"/>
                    </a:lnTo>
                    <a:lnTo>
                      <a:pt x="1006" y="130"/>
                    </a:lnTo>
                    <a:lnTo>
                      <a:pt x="1007" y="130"/>
                    </a:lnTo>
                    <a:lnTo>
                      <a:pt x="1009" y="130"/>
                    </a:lnTo>
                    <a:lnTo>
                      <a:pt x="1011" y="130"/>
                    </a:lnTo>
                    <a:lnTo>
                      <a:pt x="1011" y="131"/>
                    </a:lnTo>
                    <a:lnTo>
                      <a:pt x="1011" y="133"/>
                    </a:lnTo>
                    <a:lnTo>
                      <a:pt x="1011" y="135"/>
                    </a:lnTo>
                    <a:lnTo>
                      <a:pt x="1011" y="136"/>
                    </a:lnTo>
                    <a:lnTo>
                      <a:pt x="1012" y="136"/>
                    </a:lnTo>
                    <a:lnTo>
                      <a:pt x="1014" y="136"/>
                    </a:lnTo>
                    <a:lnTo>
                      <a:pt x="1014" y="138"/>
                    </a:lnTo>
                    <a:lnTo>
                      <a:pt x="1015" y="138"/>
                    </a:lnTo>
                    <a:lnTo>
                      <a:pt x="1017" y="139"/>
                    </a:lnTo>
                    <a:lnTo>
                      <a:pt x="1018" y="139"/>
                    </a:lnTo>
                    <a:lnTo>
                      <a:pt x="1018" y="141"/>
                    </a:lnTo>
                    <a:lnTo>
                      <a:pt x="1018" y="142"/>
                    </a:lnTo>
                    <a:lnTo>
                      <a:pt x="1018" y="144"/>
                    </a:lnTo>
                    <a:lnTo>
                      <a:pt x="1020" y="144"/>
                    </a:lnTo>
                    <a:lnTo>
                      <a:pt x="1020" y="146"/>
                    </a:lnTo>
                    <a:lnTo>
                      <a:pt x="1022" y="146"/>
                    </a:lnTo>
                    <a:lnTo>
                      <a:pt x="1023" y="146"/>
                    </a:lnTo>
                    <a:lnTo>
                      <a:pt x="1025" y="146"/>
                    </a:lnTo>
                    <a:lnTo>
                      <a:pt x="1025" y="147"/>
                    </a:lnTo>
                    <a:lnTo>
                      <a:pt x="1026" y="147"/>
                    </a:lnTo>
                    <a:lnTo>
                      <a:pt x="1026" y="149"/>
                    </a:lnTo>
                    <a:lnTo>
                      <a:pt x="1028" y="149"/>
                    </a:lnTo>
                    <a:lnTo>
                      <a:pt x="1028" y="150"/>
                    </a:lnTo>
                    <a:lnTo>
                      <a:pt x="1030" y="152"/>
                    </a:lnTo>
                    <a:lnTo>
                      <a:pt x="1031" y="152"/>
                    </a:lnTo>
                    <a:lnTo>
                      <a:pt x="1031" y="154"/>
                    </a:lnTo>
                    <a:lnTo>
                      <a:pt x="1033" y="154"/>
                    </a:lnTo>
                    <a:lnTo>
                      <a:pt x="1034" y="154"/>
                    </a:lnTo>
                    <a:lnTo>
                      <a:pt x="1036" y="152"/>
                    </a:lnTo>
                    <a:lnTo>
                      <a:pt x="1036" y="154"/>
                    </a:lnTo>
                    <a:lnTo>
                      <a:pt x="1036" y="152"/>
                    </a:lnTo>
                    <a:lnTo>
                      <a:pt x="1036" y="154"/>
                    </a:lnTo>
                    <a:lnTo>
                      <a:pt x="1037" y="154"/>
                    </a:lnTo>
                    <a:lnTo>
                      <a:pt x="1039" y="155"/>
                    </a:lnTo>
                    <a:lnTo>
                      <a:pt x="1039" y="157"/>
                    </a:lnTo>
                    <a:lnTo>
                      <a:pt x="1041" y="157"/>
                    </a:lnTo>
                    <a:lnTo>
                      <a:pt x="1041" y="158"/>
                    </a:lnTo>
                    <a:lnTo>
                      <a:pt x="1041" y="160"/>
                    </a:lnTo>
                    <a:lnTo>
                      <a:pt x="1042" y="160"/>
                    </a:lnTo>
                    <a:lnTo>
                      <a:pt x="1044" y="160"/>
                    </a:lnTo>
                    <a:lnTo>
                      <a:pt x="1045" y="158"/>
                    </a:lnTo>
                    <a:lnTo>
                      <a:pt x="1047" y="158"/>
                    </a:lnTo>
                    <a:lnTo>
                      <a:pt x="1049" y="158"/>
                    </a:lnTo>
                    <a:lnTo>
                      <a:pt x="1050" y="158"/>
                    </a:lnTo>
                    <a:lnTo>
                      <a:pt x="1052" y="158"/>
                    </a:lnTo>
                    <a:lnTo>
                      <a:pt x="1053" y="158"/>
                    </a:lnTo>
                    <a:lnTo>
                      <a:pt x="1053" y="160"/>
                    </a:lnTo>
                    <a:lnTo>
                      <a:pt x="1055" y="160"/>
                    </a:lnTo>
                    <a:lnTo>
                      <a:pt x="1055" y="158"/>
                    </a:lnTo>
                    <a:lnTo>
                      <a:pt x="1056" y="158"/>
                    </a:lnTo>
                    <a:lnTo>
                      <a:pt x="1056" y="157"/>
                    </a:lnTo>
                    <a:lnTo>
                      <a:pt x="1056" y="155"/>
                    </a:lnTo>
                    <a:lnTo>
                      <a:pt x="1056" y="154"/>
                    </a:lnTo>
                    <a:lnTo>
                      <a:pt x="1058" y="154"/>
                    </a:lnTo>
                    <a:lnTo>
                      <a:pt x="1058" y="155"/>
                    </a:lnTo>
                    <a:lnTo>
                      <a:pt x="1060" y="155"/>
                    </a:lnTo>
                    <a:lnTo>
                      <a:pt x="1061" y="157"/>
                    </a:lnTo>
                    <a:lnTo>
                      <a:pt x="1063" y="157"/>
                    </a:lnTo>
                    <a:lnTo>
                      <a:pt x="1063" y="155"/>
                    </a:lnTo>
                    <a:lnTo>
                      <a:pt x="1064" y="155"/>
                    </a:lnTo>
                    <a:lnTo>
                      <a:pt x="1064" y="154"/>
                    </a:lnTo>
                    <a:lnTo>
                      <a:pt x="1064" y="155"/>
                    </a:lnTo>
                    <a:lnTo>
                      <a:pt x="1066" y="155"/>
                    </a:lnTo>
                    <a:lnTo>
                      <a:pt x="1066" y="154"/>
                    </a:lnTo>
                    <a:lnTo>
                      <a:pt x="1068" y="154"/>
                    </a:lnTo>
                    <a:lnTo>
                      <a:pt x="1069" y="154"/>
                    </a:lnTo>
                    <a:lnTo>
                      <a:pt x="1071" y="154"/>
                    </a:lnTo>
                    <a:lnTo>
                      <a:pt x="1072" y="154"/>
                    </a:lnTo>
                    <a:lnTo>
                      <a:pt x="1072" y="152"/>
                    </a:lnTo>
                    <a:lnTo>
                      <a:pt x="1074" y="152"/>
                    </a:lnTo>
                    <a:lnTo>
                      <a:pt x="1075" y="152"/>
                    </a:lnTo>
                    <a:lnTo>
                      <a:pt x="1077" y="152"/>
                    </a:lnTo>
                    <a:lnTo>
                      <a:pt x="1077" y="150"/>
                    </a:lnTo>
                    <a:lnTo>
                      <a:pt x="1079" y="150"/>
                    </a:lnTo>
                    <a:lnTo>
                      <a:pt x="1079" y="149"/>
                    </a:lnTo>
                    <a:lnTo>
                      <a:pt x="1080" y="147"/>
                    </a:lnTo>
                    <a:lnTo>
                      <a:pt x="1082" y="146"/>
                    </a:lnTo>
                    <a:lnTo>
                      <a:pt x="1083" y="146"/>
                    </a:lnTo>
                    <a:lnTo>
                      <a:pt x="1083" y="144"/>
                    </a:lnTo>
                    <a:lnTo>
                      <a:pt x="1083" y="142"/>
                    </a:lnTo>
                    <a:lnTo>
                      <a:pt x="1085" y="142"/>
                    </a:lnTo>
                    <a:lnTo>
                      <a:pt x="1087" y="142"/>
                    </a:lnTo>
                    <a:lnTo>
                      <a:pt x="1087" y="144"/>
                    </a:lnTo>
                    <a:lnTo>
                      <a:pt x="1088" y="144"/>
                    </a:lnTo>
                    <a:lnTo>
                      <a:pt x="1088" y="142"/>
                    </a:lnTo>
                    <a:lnTo>
                      <a:pt x="1088" y="141"/>
                    </a:lnTo>
                    <a:lnTo>
                      <a:pt x="1088" y="139"/>
                    </a:lnTo>
                    <a:lnTo>
                      <a:pt x="1090" y="139"/>
                    </a:lnTo>
                    <a:lnTo>
                      <a:pt x="1090" y="138"/>
                    </a:lnTo>
                    <a:lnTo>
                      <a:pt x="1091" y="139"/>
                    </a:lnTo>
                    <a:lnTo>
                      <a:pt x="1093" y="139"/>
                    </a:lnTo>
                    <a:lnTo>
                      <a:pt x="1093" y="138"/>
                    </a:lnTo>
                    <a:lnTo>
                      <a:pt x="1094" y="138"/>
                    </a:lnTo>
                    <a:lnTo>
                      <a:pt x="1094" y="136"/>
                    </a:lnTo>
                    <a:lnTo>
                      <a:pt x="1096" y="136"/>
                    </a:lnTo>
                    <a:lnTo>
                      <a:pt x="1098" y="135"/>
                    </a:lnTo>
                    <a:lnTo>
                      <a:pt x="1099" y="135"/>
                    </a:lnTo>
                    <a:lnTo>
                      <a:pt x="1099" y="133"/>
                    </a:lnTo>
                    <a:lnTo>
                      <a:pt x="1101" y="133"/>
                    </a:lnTo>
                    <a:lnTo>
                      <a:pt x="1102" y="133"/>
                    </a:lnTo>
                    <a:lnTo>
                      <a:pt x="1104" y="133"/>
                    </a:lnTo>
                    <a:lnTo>
                      <a:pt x="1104" y="135"/>
                    </a:lnTo>
                    <a:lnTo>
                      <a:pt x="1106" y="135"/>
                    </a:lnTo>
                    <a:lnTo>
                      <a:pt x="1106" y="136"/>
                    </a:lnTo>
                    <a:lnTo>
                      <a:pt x="1107" y="136"/>
                    </a:lnTo>
                    <a:lnTo>
                      <a:pt x="1107" y="138"/>
                    </a:lnTo>
                    <a:lnTo>
                      <a:pt x="1109" y="138"/>
                    </a:lnTo>
                    <a:lnTo>
                      <a:pt x="1110" y="138"/>
                    </a:lnTo>
                    <a:lnTo>
                      <a:pt x="1112" y="136"/>
                    </a:lnTo>
                    <a:lnTo>
                      <a:pt x="1112" y="135"/>
                    </a:lnTo>
                    <a:lnTo>
                      <a:pt x="1110" y="135"/>
                    </a:lnTo>
                    <a:lnTo>
                      <a:pt x="1110" y="133"/>
                    </a:lnTo>
                    <a:lnTo>
                      <a:pt x="1110" y="131"/>
                    </a:lnTo>
                    <a:lnTo>
                      <a:pt x="1110" y="130"/>
                    </a:lnTo>
                    <a:lnTo>
                      <a:pt x="1112" y="130"/>
                    </a:lnTo>
                    <a:lnTo>
                      <a:pt x="1114" y="130"/>
                    </a:lnTo>
                    <a:lnTo>
                      <a:pt x="1115" y="130"/>
                    </a:lnTo>
                    <a:lnTo>
                      <a:pt x="1115" y="131"/>
                    </a:lnTo>
                    <a:lnTo>
                      <a:pt x="1117" y="131"/>
                    </a:lnTo>
                    <a:lnTo>
                      <a:pt x="1118" y="131"/>
                    </a:lnTo>
                    <a:lnTo>
                      <a:pt x="1118" y="130"/>
                    </a:lnTo>
                    <a:lnTo>
                      <a:pt x="1120" y="130"/>
                    </a:lnTo>
                    <a:lnTo>
                      <a:pt x="1121" y="130"/>
                    </a:lnTo>
                    <a:lnTo>
                      <a:pt x="1121" y="128"/>
                    </a:lnTo>
                    <a:lnTo>
                      <a:pt x="1123" y="128"/>
                    </a:lnTo>
                    <a:lnTo>
                      <a:pt x="1125" y="128"/>
                    </a:lnTo>
                    <a:lnTo>
                      <a:pt x="1126" y="128"/>
                    </a:lnTo>
                    <a:lnTo>
                      <a:pt x="1128" y="128"/>
                    </a:lnTo>
                    <a:lnTo>
                      <a:pt x="1129" y="128"/>
                    </a:lnTo>
                    <a:lnTo>
                      <a:pt x="1129" y="127"/>
                    </a:lnTo>
                    <a:lnTo>
                      <a:pt x="1129" y="125"/>
                    </a:lnTo>
                    <a:lnTo>
                      <a:pt x="1131" y="125"/>
                    </a:lnTo>
                    <a:lnTo>
                      <a:pt x="1131" y="123"/>
                    </a:lnTo>
                    <a:lnTo>
                      <a:pt x="1133" y="123"/>
                    </a:lnTo>
                    <a:lnTo>
                      <a:pt x="1134" y="123"/>
                    </a:lnTo>
                    <a:lnTo>
                      <a:pt x="1134" y="122"/>
                    </a:lnTo>
                    <a:lnTo>
                      <a:pt x="1136" y="122"/>
                    </a:lnTo>
                    <a:lnTo>
                      <a:pt x="1137" y="122"/>
                    </a:lnTo>
                    <a:lnTo>
                      <a:pt x="1139" y="122"/>
                    </a:lnTo>
                    <a:lnTo>
                      <a:pt x="1140" y="122"/>
                    </a:lnTo>
                    <a:lnTo>
                      <a:pt x="1142" y="122"/>
                    </a:lnTo>
                    <a:lnTo>
                      <a:pt x="1144" y="122"/>
                    </a:lnTo>
                    <a:lnTo>
                      <a:pt x="1144" y="120"/>
                    </a:lnTo>
                    <a:lnTo>
                      <a:pt x="1144" y="119"/>
                    </a:lnTo>
                    <a:lnTo>
                      <a:pt x="1144" y="117"/>
                    </a:lnTo>
                    <a:lnTo>
                      <a:pt x="1145" y="117"/>
                    </a:lnTo>
                    <a:lnTo>
                      <a:pt x="1145" y="119"/>
                    </a:lnTo>
                    <a:lnTo>
                      <a:pt x="1147" y="119"/>
                    </a:lnTo>
                    <a:lnTo>
                      <a:pt x="1148" y="119"/>
                    </a:lnTo>
                    <a:lnTo>
                      <a:pt x="1148" y="117"/>
                    </a:lnTo>
                    <a:lnTo>
                      <a:pt x="1148" y="116"/>
                    </a:lnTo>
                    <a:lnTo>
                      <a:pt x="1148" y="114"/>
                    </a:lnTo>
                    <a:lnTo>
                      <a:pt x="1150" y="112"/>
                    </a:lnTo>
                    <a:lnTo>
                      <a:pt x="1152" y="112"/>
                    </a:lnTo>
                    <a:lnTo>
                      <a:pt x="1153" y="112"/>
                    </a:lnTo>
                    <a:lnTo>
                      <a:pt x="1155" y="112"/>
                    </a:lnTo>
                    <a:lnTo>
                      <a:pt x="1155" y="111"/>
                    </a:lnTo>
                    <a:lnTo>
                      <a:pt x="1153" y="111"/>
                    </a:lnTo>
                    <a:lnTo>
                      <a:pt x="1153" y="109"/>
                    </a:lnTo>
                    <a:lnTo>
                      <a:pt x="1153" y="108"/>
                    </a:lnTo>
                    <a:lnTo>
                      <a:pt x="1155" y="108"/>
                    </a:lnTo>
                    <a:lnTo>
                      <a:pt x="1156" y="108"/>
                    </a:lnTo>
                    <a:lnTo>
                      <a:pt x="1158" y="108"/>
                    </a:lnTo>
                    <a:lnTo>
                      <a:pt x="1159" y="108"/>
                    </a:lnTo>
                    <a:lnTo>
                      <a:pt x="1161" y="108"/>
                    </a:lnTo>
                    <a:lnTo>
                      <a:pt x="1163" y="108"/>
                    </a:lnTo>
                    <a:lnTo>
                      <a:pt x="1163" y="109"/>
                    </a:lnTo>
                    <a:lnTo>
                      <a:pt x="1164" y="109"/>
                    </a:lnTo>
                    <a:lnTo>
                      <a:pt x="1164" y="108"/>
                    </a:lnTo>
                    <a:lnTo>
                      <a:pt x="1164" y="106"/>
                    </a:lnTo>
                    <a:lnTo>
                      <a:pt x="1164" y="104"/>
                    </a:lnTo>
                    <a:lnTo>
                      <a:pt x="1166" y="103"/>
                    </a:lnTo>
                    <a:lnTo>
                      <a:pt x="1166" y="101"/>
                    </a:lnTo>
                    <a:lnTo>
                      <a:pt x="1167" y="100"/>
                    </a:lnTo>
                    <a:lnTo>
                      <a:pt x="1169" y="100"/>
                    </a:lnTo>
                    <a:lnTo>
                      <a:pt x="1171" y="100"/>
                    </a:lnTo>
                    <a:lnTo>
                      <a:pt x="1172" y="100"/>
                    </a:lnTo>
                    <a:lnTo>
                      <a:pt x="1172" y="101"/>
                    </a:lnTo>
                    <a:lnTo>
                      <a:pt x="1172" y="103"/>
                    </a:lnTo>
                    <a:lnTo>
                      <a:pt x="1174" y="103"/>
                    </a:lnTo>
                    <a:lnTo>
                      <a:pt x="1175" y="103"/>
                    </a:lnTo>
                    <a:lnTo>
                      <a:pt x="1175" y="101"/>
                    </a:lnTo>
                    <a:lnTo>
                      <a:pt x="1177" y="100"/>
                    </a:lnTo>
                    <a:lnTo>
                      <a:pt x="1178" y="100"/>
                    </a:lnTo>
                    <a:lnTo>
                      <a:pt x="1180" y="98"/>
                    </a:lnTo>
                    <a:lnTo>
                      <a:pt x="1180" y="97"/>
                    </a:lnTo>
                    <a:lnTo>
                      <a:pt x="1180" y="95"/>
                    </a:lnTo>
                    <a:lnTo>
                      <a:pt x="1182" y="95"/>
                    </a:lnTo>
                    <a:lnTo>
                      <a:pt x="1183" y="95"/>
                    </a:lnTo>
                    <a:lnTo>
                      <a:pt x="1183" y="93"/>
                    </a:lnTo>
                    <a:lnTo>
                      <a:pt x="1185" y="93"/>
                    </a:lnTo>
                    <a:lnTo>
                      <a:pt x="1185" y="92"/>
                    </a:lnTo>
                    <a:lnTo>
                      <a:pt x="1186" y="92"/>
                    </a:lnTo>
                    <a:lnTo>
                      <a:pt x="1188" y="92"/>
                    </a:lnTo>
                    <a:lnTo>
                      <a:pt x="1188" y="90"/>
                    </a:lnTo>
                    <a:lnTo>
                      <a:pt x="1190" y="90"/>
                    </a:lnTo>
                    <a:lnTo>
                      <a:pt x="1190" y="89"/>
                    </a:lnTo>
                    <a:lnTo>
                      <a:pt x="1191" y="89"/>
                    </a:lnTo>
                    <a:lnTo>
                      <a:pt x="1193" y="89"/>
                    </a:lnTo>
                    <a:lnTo>
                      <a:pt x="1193" y="87"/>
                    </a:lnTo>
                    <a:lnTo>
                      <a:pt x="1194" y="87"/>
                    </a:lnTo>
                    <a:lnTo>
                      <a:pt x="1194" y="85"/>
                    </a:lnTo>
                    <a:lnTo>
                      <a:pt x="1196" y="85"/>
                    </a:lnTo>
                    <a:lnTo>
                      <a:pt x="1197" y="85"/>
                    </a:lnTo>
                    <a:lnTo>
                      <a:pt x="1197" y="84"/>
                    </a:lnTo>
                    <a:lnTo>
                      <a:pt x="1199" y="84"/>
                    </a:lnTo>
                    <a:lnTo>
                      <a:pt x="1199" y="82"/>
                    </a:lnTo>
                    <a:lnTo>
                      <a:pt x="1201" y="82"/>
                    </a:lnTo>
                    <a:lnTo>
                      <a:pt x="1202" y="82"/>
                    </a:lnTo>
                    <a:lnTo>
                      <a:pt x="1202" y="84"/>
                    </a:lnTo>
                    <a:lnTo>
                      <a:pt x="1204" y="84"/>
                    </a:lnTo>
                    <a:lnTo>
                      <a:pt x="1204" y="85"/>
                    </a:lnTo>
                    <a:lnTo>
                      <a:pt x="1204" y="87"/>
                    </a:lnTo>
                    <a:lnTo>
                      <a:pt x="1205" y="87"/>
                    </a:lnTo>
                    <a:lnTo>
                      <a:pt x="1207" y="87"/>
                    </a:lnTo>
                    <a:lnTo>
                      <a:pt x="1209" y="87"/>
                    </a:lnTo>
                    <a:lnTo>
                      <a:pt x="1209" y="85"/>
                    </a:lnTo>
                    <a:lnTo>
                      <a:pt x="1210" y="85"/>
                    </a:lnTo>
                    <a:lnTo>
                      <a:pt x="1212" y="85"/>
                    </a:lnTo>
                    <a:lnTo>
                      <a:pt x="1213" y="87"/>
                    </a:lnTo>
                    <a:lnTo>
                      <a:pt x="1215" y="87"/>
                    </a:lnTo>
                    <a:lnTo>
                      <a:pt x="1216" y="87"/>
                    </a:lnTo>
                    <a:lnTo>
                      <a:pt x="1218" y="87"/>
                    </a:lnTo>
                    <a:lnTo>
                      <a:pt x="1218" y="85"/>
                    </a:lnTo>
                    <a:lnTo>
                      <a:pt x="1218" y="84"/>
                    </a:lnTo>
                    <a:lnTo>
                      <a:pt x="1218" y="82"/>
                    </a:lnTo>
                    <a:lnTo>
                      <a:pt x="1220" y="82"/>
                    </a:lnTo>
                    <a:lnTo>
                      <a:pt x="1220" y="81"/>
                    </a:lnTo>
                    <a:lnTo>
                      <a:pt x="1221" y="81"/>
                    </a:lnTo>
                    <a:lnTo>
                      <a:pt x="1223" y="81"/>
                    </a:lnTo>
                    <a:lnTo>
                      <a:pt x="1223" y="82"/>
                    </a:lnTo>
                    <a:lnTo>
                      <a:pt x="1224" y="82"/>
                    </a:lnTo>
                    <a:lnTo>
                      <a:pt x="1224" y="81"/>
                    </a:lnTo>
                    <a:lnTo>
                      <a:pt x="1226" y="81"/>
                    </a:lnTo>
                    <a:lnTo>
                      <a:pt x="1226" y="79"/>
                    </a:lnTo>
                    <a:lnTo>
                      <a:pt x="1224" y="77"/>
                    </a:lnTo>
                    <a:lnTo>
                      <a:pt x="1224" y="76"/>
                    </a:lnTo>
                    <a:lnTo>
                      <a:pt x="1224" y="74"/>
                    </a:lnTo>
                    <a:lnTo>
                      <a:pt x="1226" y="74"/>
                    </a:lnTo>
                    <a:lnTo>
                      <a:pt x="1226" y="73"/>
                    </a:lnTo>
                    <a:lnTo>
                      <a:pt x="1226" y="71"/>
                    </a:lnTo>
                    <a:lnTo>
                      <a:pt x="1228" y="71"/>
                    </a:lnTo>
                    <a:lnTo>
                      <a:pt x="1228" y="70"/>
                    </a:lnTo>
                    <a:lnTo>
                      <a:pt x="1228" y="68"/>
                    </a:lnTo>
                    <a:lnTo>
                      <a:pt x="1229" y="68"/>
                    </a:lnTo>
                    <a:lnTo>
                      <a:pt x="1229" y="66"/>
                    </a:lnTo>
                    <a:lnTo>
                      <a:pt x="1231" y="66"/>
                    </a:lnTo>
                    <a:lnTo>
                      <a:pt x="1232" y="66"/>
                    </a:lnTo>
                    <a:lnTo>
                      <a:pt x="1234" y="66"/>
                    </a:lnTo>
                    <a:lnTo>
                      <a:pt x="1234" y="68"/>
                    </a:lnTo>
                    <a:lnTo>
                      <a:pt x="1234" y="70"/>
                    </a:lnTo>
                    <a:lnTo>
                      <a:pt x="1234" y="71"/>
                    </a:lnTo>
                    <a:lnTo>
                      <a:pt x="1235" y="71"/>
                    </a:lnTo>
                    <a:lnTo>
                      <a:pt x="1237" y="71"/>
                    </a:lnTo>
                    <a:lnTo>
                      <a:pt x="1237" y="73"/>
                    </a:lnTo>
                    <a:lnTo>
                      <a:pt x="1239" y="73"/>
                    </a:lnTo>
                    <a:lnTo>
                      <a:pt x="1240" y="73"/>
                    </a:lnTo>
                    <a:lnTo>
                      <a:pt x="1240" y="71"/>
                    </a:lnTo>
                    <a:lnTo>
                      <a:pt x="1243" y="71"/>
                    </a:lnTo>
                    <a:lnTo>
                      <a:pt x="1245" y="71"/>
                    </a:lnTo>
                    <a:lnTo>
                      <a:pt x="1247" y="71"/>
                    </a:lnTo>
                    <a:lnTo>
                      <a:pt x="1247" y="70"/>
                    </a:lnTo>
                    <a:lnTo>
                      <a:pt x="1247" y="68"/>
                    </a:lnTo>
                    <a:lnTo>
                      <a:pt x="1248" y="68"/>
                    </a:lnTo>
                    <a:lnTo>
                      <a:pt x="1248" y="66"/>
                    </a:lnTo>
                    <a:lnTo>
                      <a:pt x="1250" y="66"/>
                    </a:lnTo>
                    <a:lnTo>
                      <a:pt x="1250" y="65"/>
                    </a:lnTo>
                    <a:lnTo>
                      <a:pt x="1251" y="65"/>
                    </a:lnTo>
                    <a:lnTo>
                      <a:pt x="1253" y="65"/>
                    </a:lnTo>
                    <a:lnTo>
                      <a:pt x="1253" y="63"/>
                    </a:lnTo>
                    <a:lnTo>
                      <a:pt x="1254" y="63"/>
                    </a:lnTo>
                    <a:lnTo>
                      <a:pt x="1254" y="62"/>
                    </a:lnTo>
                    <a:lnTo>
                      <a:pt x="1253" y="60"/>
                    </a:lnTo>
                    <a:lnTo>
                      <a:pt x="1253" y="58"/>
                    </a:lnTo>
                    <a:lnTo>
                      <a:pt x="1254" y="58"/>
                    </a:lnTo>
                    <a:lnTo>
                      <a:pt x="1256" y="57"/>
                    </a:lnTo>
                    <a:lnTo>
                      <a:pt x="1254" y="55"/>
                    </a:lnTo>
                    <a:lnTo>
                      <a:pt x="1254" y="54"/>
                    </a:lnTo>
                    <a:lnTo>
                      <a:pt x="1253" y="52"/>
                    </a:lnTo>
                    <a:lnTo>
                      <a:pt x="1253" y="51"/>
                    </a:lnTo>
                    <a:lnTo>
                      <a:pt x="1251" y="51"/>
                    </a:lnTo>
                    <a:lnTo>
                      <a:pt x="1251" y="49"/>
                    </a:lnTo>
                    <a:lnTo>
                      <a:pt x="1253" y="49"/>
                    </a:lnTo>
                    <a:lnTo>
                      <a:pt x="1253" y="47"/>
                    </a:lnTo>
                    <a:lnTo>
                      <a:pt x="1254" y="47"/>
                    </a:lnTo>
                    <a:lnTo>
                      <a:pt x="1254" y="46"/>
                    </a:lnTo>
                    <a:lnTo>
                      <a:pt x="1256" y="46"/>
                    </a:lnTo>
                    <a:lnTo>
                      <a:pt x="1256" y="44"/>
                    </a:lnTo>
                    <a:lnTo>
                      <a:pt x="1258" y="44"/>
                    </a:lnTo>
                    <a:lnTo>
                      <a:pt x="1259" y="44"/>
                    </a:lnTo>
                    <a:lnTo>
                      <a:pt x="1259" y="43"/>
                    </a:lnTo>
                    <a:lnTo>
                      <a:pt x="1261" y="43"/>
                    </a:lnTo>
                    <a:lnTo>
                      <a:pt x="1262" y="43"/>
                    </a:lnTo>
                    <a:lnTo>
                      <a:pt x="1262" y="41"/>
                    </a:lnTo>
                    <a:lnTo>
                      <a:pt x="1262" y="39"/>
                    </a:lnTo>
                    <a:lnTo>
                      <a:pt x="1262" y="38"/>
                    </a:lnTo>
                    <a:lnTo>
                      <a:pt x="1262" y="36"/>
                    </a:lnTo>
                    <a:lnTo>
                      <a:pt x="1264" y="36"/>
                    </a:lnTo>
                    <a:lnTo>
                      <a:pt x="1264" y="35"/>
                    </a:lnTo>
                    <a:lnTo>
                      <a:pt x="1266" y="35"/>
                    </a:lnTo>
                    <a:lnTo>
                      <a:pt x="1266" y="33"/>
                    </a:lnTo>
                    <a:lnTo>
                      <a:pt x="1264" y="33"/>
                    </a:lnTo>
                    <a:lnTo>
                      <a:pt x="1264" y="32"/>
                    </a:lnTo>
                    <a:lnTo>
                      <a:pt x="1264" y="30"/>
                    </a:lnTo>
                    <a:lnTo>
                      <a:pt x="1264" y="28"/>
                    </a:lnTo>
                    <a:lnTo>
                      <a:pt x="1266" y="28"/>
                    </a:lnTo>
                    <a:lnTo>
                      <a:pt x="1267" y="28"/>
                    </a:lnTo>
                    <a:lnTo>
                      <a:pt x="1269" y="28"/>
                    </a:lnTo>
                    <a:lnTo>
                      <a:pt x="1269" y="27"/>
                    </a:lnTo>
                    <a:lnTo>
                      <a:pt x="1267" y="27"/>
                    </a:lnTo>
                    <a:lnTo>
                      <a:pt x="1267" y="25"/>
                    </a:lnTo>
                    <a:lnTo>
                      <a:pt x="1266" y="25"/>
                    </a:lnTo>
                    <a:lnTo>
                      <a:pt x="1266" y="24"/>
                    </a:lnTo>
                    <a:lnTo>
                      <a:pt x="1266" y="22"/>
                    </a:lnTo>
                    <a:lnTo>
                      <a:pt x="1267" y="22"/>
                    </a:lnTo>
                    <a:lnTo>
                      <a:pt x="1269" y="22"/>
                    </a:lnTo>
                    <a:lnTo>
                      <a:pt x="1269" y="20"/>
                    </a:lnTo>
                    <a:lnTo>
                      <a:pt x="1269" y="19"/>
                    </a:lnTo>
                    <a:lnTo>
                      <a:pt x="1269" y="17"/>
                    </a:lnTo>
                    <a:lnTo>
                      <a:pt x="1269" y="16"/>
                    </a:lnTo>
                    <a:lnTo>
                      <a:pt x="1269" y="14"/>
                    </a:lnTo>
                    <a:lnTo>
                      <a:pt x="1270" y="14"/>
                    </a:lnTo>
                    <a:lnTo>
                      <a:pt x="1270" y="13"/>
                    </a:lnTo>
                    <a:lnTo>
                      <a:pt x="1270" y="11"/>
                    </a:lnTo>
                    <a:lnTo>
                      <a:pt x="1269" y="9"/>
                    </a:lnTo>
                    <a:lnTo>
                      <a:pt x="1269" y="8"/>
                    </a:lnTo>
                    <a:lnTo>
                      <a:pt x="1269" y="6"/>
                    </a:lnTo>
                    <a:lnTo>
                      <a:pt x="1270" y="6"/>
                    </a:lnTo>
                    <a:lnTo>
                      <a:pt x="1272" y="6"/>
                    </a:lnTo>
                    <a:lnTo>
                      <a:pt x="1272" y="8"/>
                    </a:lnTo>
                    <a:lnTo>
                      <a:pt x="1273" y="8"/>
                    </a:lnTo>
                    <a:lnTo>
                      <a:pt x="1273" y="6"/>
                    </a:lnTo>
                    <a:lnTo>
                      <a:pt x="1275" y="6"/>
                    </a:lnTo>
                    <a:lnTo>
                      <a:pt x="1277" y="8"/>
                    </a:lnTo>
                    <a:lnTo>
                      <a:pt x="1277" y="6"/>
                    </a:lnTo>
                    <a:lnTo>
                      <a:pt x="1278" y="6"/>
                    </a:lnTo>
                    <a:lnTo>
                      <a:pt x="1280" y="6"/>
                    </a:lnTo>
                    <a:lnTo>
                      <a:pt x="1281" y="6"/>
                    </a:lnTo>
                    <a:lnTo>
                      <a:pt x="1283" y="6"/>
                    </a:lnTo>
                    <a:lnTo>
                      <a:pt x="1285" y="6"/>
                    </a:lnTo>
                    <a:lnTo>
                      <a:pt x="1286" y="6"/>
                    </a:lnTo>
                    <a:lnTo>
                      <a:pt x="1286" y="5"/>
                    </a:lnTo>
                    <a:lnTo>
                      <a:pt x="1288" y="5"/>
                    </a:lnTo>
                    <a:lnTo>
                      <a:pt x="1289" y="5"/>
                    </a:lnTo>
                    <a:lnTo>
                      <a:pt x="1291" y="5"/>
                    </a:lnTo>
                    <a:lnTo>
                      <a:pt x="1292" y="3"/>
                    </a:lnTo>
                    <a:lnTo>
                      <a:pt x="1294" y="3"/>
                    </a:lnTo>
                    <a:lnTo>
                      <a:pt x="1296" y="3"/>
                    </a:lnTo>
                    <a:lnTo>
                      <a:pt x="1297" y="3"/>
                    </a:lnTo>
                    <a:lnTo>
                      <a:pt x="1299" y="3"/>
                    </a:lnTo>
                    <a:lnTo>
                      <a:pt x="1300" y="3"/>
                    </a:lnTo>
                    <a:lnTo>
                      <a:pt x="1302" y="3"/>
                    </a:lnTo>
                    <a:lnTo>
                      <a:pt x="1302" y="5"/>
                    </a:lnTo>
                    <a:lnTo>
                      <a:pt x="1302" y="3"/>
                    </a:lnTo>
                    <a:lnTo>
                      <a:pt x="1304" y="3"/>
                    </a:lnTo>
                    <a:lnTo>
                      <a:pt x="1305" y="3"/>
                    </a:lnTo>
                    <a:lnTo>
                      <a:pt x="1307" y="3"/>
                    </a:lnTo>
                    <a:lnTo>
                      <a:pt x="1308" y="3"/>
                    </a:lnTo>
                    <a:lnTo>
                      <a:pt x="1310" y="3"/>
                    </a:lnTo>
                    <a:lnTo>
                      <a:pt x="1312" y="3"/>
                    </a:lnTo>
                    <a:lnTo>
                      <a:pt x="1313" y="1"/>
                    </a:lnTo>
                    <a:lnTo>
                      <a:pt x="1315" y="1"/>
                    </a:lnTo>
                    <a:lnTo>
                      <a:pt x="1316" y="1"/>
                    </a:lnTo>
                    <a:lnTo>
                      <a:pt x="1318" y="3"/>
                    </a:lnTo>
                    <a:lnTo>
                      <a:pt x="1319" y="3"/>
                    </a:lnTo>
                    <a:lnTo>
                      <a:pt x="1321" y="3"/>
                    </a:lnTo>
                    <a:lnTo>
                      <a:pt x="1321" y="5"/>
                    </a:lnTo>
                    <a:lnTo>
                      <a:pt x="1321" y="3"/>
                    </a:lnTo>
                    <a:lnTo>
                      <a:pt x="1323" y="3"/>
                    </a:lnTo>
                    <a:lnTo>
                      <a:pt x="1323" y="5"/>
                    </a:lnTo>
                    <a:lnTo>
                      <a:pt x="1324" y="5"/>
                    </a:lnTo>
                    <a:lnTo>
                      <a:pt x="1326" y="3"/>
                    </a:lnTo>
                    <a:lnTo>
                      <a:pt x="1327" y="3"/>
                    </a:lnTo>
                    <a:lnTo>
                      <a:pt x="1327" y="1"/>
                    </a:lnTo>
                    <a:lnTo>
                      <a:pt x="1329" y="1"/>
                    </a:lnTo>
                    <a:lnTo>
                      <a:pt x="1329" y="3"/>
                    </a:lnTo>
                    <a:lnTo>
                      <a:pt x="1331" y="3"/>
                    </a:lnTo>
                    <a:lnTo>
                      <a:pt x="1332" y="3"/>
                    </a:lnTo>
                    <a:lnTo>
                      <a:pt x="1334" y="3"/>
                    </a:lnTo>
                    <a:lnTo>
                      <a:pt x="1334" y="1"/>
                    </a:lnTo>
                    <a:lnTo>
                      <a:pt x="1335" y="1"/>
                    </a:lnTo>
                    <a:lnTo>
                      <a:pt x="1337" y="1"/>
                    </a:lnTo>
                    <a:lnTo>
                      <a:pt x="1337" y="0"/>
                    </a:lnTo>
                    <a:lnTo>
                      <a:pt x="1338" y="0"/>
                    </a:lnTo>
                    <a:lnTo>
                      <a:pt x="1340" y="0"/>
                    </a:lnTo>
                    <a:close/>
                    <a:moveTo>
                      <a:pt x="678" y="252"/>
                    </a:moveTo>
                    <a:lnTo>
                      <a:pt x="676" y="252"/>
                    </a:lnTo>
                    <a:lnTo>
                      <a:pt x="675" y="252"/>
                    </a:lnTo>
                    <a:lnTo>
                      <a:pt x="673" y="252"/>
                    </a:lnTo>
                    <a:lnTo>
                      <a:pt x="672" y="253"/>
                    </a:lnTo>
                    <a:lnTo>
                      <a:pt x="670" y="253"/>
                    </a:lnTo>
                    <a:lnTo>
                      <a:pt x="670" y="255"/>
                    </a:lnTo>
                    <a:lnTo>
                      <a:pt x="668" y="255"/>
                    </a:lnTo>
                    <a:lnTo>
                      <a:pt x="668" y="257"/>
                    </a:lnTo>
                    <a:lnTo>
                      <a:pt x="667" y="257"/>
                    </a:lnTo>
                    <a:lnTo>
                      <a:pt x="665" y="257"/>
                    </a:lnTo>
                    <a:lnTo>
                      <a:pt x="664" y="258"/>
                    </a:lnTo>
                    <a:lnTo>
                      <a:pt x="662" y="258"/>
                    </a:lnTo>
                    <a:lnTo>
                      <a:pt x="660" y="258"/>
                    </a:lnTo>
                    <a:lnTo>
                      <a:pt x="660" y="260"/>
                    </a:lnTo>
                    <a:lnTo>
                      <a:pt x="660" y="261"/>
                    </a:lnTo>
                    <a:lnTo>
                      <a:pt x="659" y="261"/>
                    </a:lnTo>
                    <a:lnTo>
                      <a:pt x="659" y="263"/>
                    </a:lnTo>
                    <a:lnTo>
                      <a:pt x="659" y="264"/>
                    </a:lnTo>
                    <a:lnTo>
                      <a:pt x="657" y="264"/>
                    </a:lnTo>
                    <a:lnTo>
                      <a:pt x="657" y="266"/>
                    </a:lnTo>
                    <a:lnTo>
                      <a:pt x="659" y="266"/>
                    </a:lnTo>
                    <a:lnTo>
                      <a:pt x="657" y="266"/>
                    </a:lnTo>
                    <a:lnTo>
                      <a:pt x="657" y="268"/>
                    </a:lnTo>
                    <a:lnTo>
                      <a:pt x="657" y="269"/>
                    </a:lnTo>
                    <a:lnTo>
                      <a:pt x="657" y="271"/>
                    </a:lnTo>
                    <a:lnTo>
                      <a:pt x="657" y="272"/>
                    </a:lnTo>
                    <a:lnTo>
                      <a:pt x="656" y="272"/>
                    </a:lnTo>
                    <a:lnTo>
                      <a:pt x="656" y="274"/>
                    </a:lnTo>
                    <a:lnTo>
                      <a:pt x="657" y="274"/>
                    </a:lnTo>
                    <a:lnTo>
                      <a:pt x="657" y="276"/>
                    </a:lnTo>
                    <a:lnTo>
                      <a:pt x="656" y="276"/>
                    </a:lnTo>
                    <a:lnTo>
                      <a:pt x="656" y="277"/>
                    </a:lnTo>
                    <a:lnTo>
                      <a:pt x="656" y="279"/>
                    </a:lnTo>
                    <a:lnTo>
                      <a:pt x="656" y="280"/>
                    </a:lnTo>
                    <a:lnTo>
                      <a:pt x="657" y="282"/>
                    </a:lnTo>
                    <a:lnTo>
                      <a:pt x="657" y="283"/>
                    </a:lnTo>
                    <a:lnTo>
                      <a:pt x="657" y="285"/>
                    </a:lnTo>
                    <a:lnTo>
                      <a:pt x="657" y="287"/>
                    </a:lnTo>
                    <a:lnTo>
                      <a:pt x="657" y="288"/>
                    </a:lnTo>
                    <a:lnTo>
                      <a:pt x="657" y="290"/>
                    </a:lnTo>
                    <a:lnTo>
                      <a:pt x="659" y="290"/>
                    </a:lnTo>
                    <a:lnTo>
                      <a:pt x="659" y="291"/>
                    </a:lnTo>
                    <a:lnTo>
                      <a:pt x="659" y="293"/>
                    </a:lnTo>
                    <a:lnTo>
                      <a:pt x="659" y="295"/>
                    </a:lnTo>
                    <a:lnTo>
                      <a:pt x="660" y="295"/>
                    </a:lnTo>
                    <a:lnTo>
                      <a:pt x="660" y="296"/>
                    </a:lnTo>
                    <a:lnTo>
                      <a:pt x="660" y="298"/>
                    </a:lnTo>
                    <a:lnTo>
                      <a:pt x="660" y="299"/>
                    </a:lnTo>
                    <a:lnTo>
                      <a:pt x="662" y="299"/>
                    </a:lnTo>
                    <a:lnTo>
                      <a:pt x="662" y="301"/>
                    </a:lnTo>
                    <a:lnTo>
                      <a:pt x="662" y="302"/>
                    </a:lnTo>
                    <a:lnTo>
                      <a:pt x="664" y="302"/>
                    </a:lnTo>
                    <a:lnTo>
                      <a:pt x="664" y="304"/>
                    </a:lnTo>
                    <a:lnTo>
                      <a:pt x="665" y="304"/>
                    </a:lnTo>
                    <a:lnTo>
                      <a:pt x="665" y="306"/>
                    </a:lnTo>
                    <a:lnTo>
                      <a:pt x="667" y="306"/>
                    </a:lnTo>
                    <a:lnTo>
                      <a:pt x="667" y="304"/>
                    </a:lnTo>
                    <a:lnTo>
                      <a:pt x="667" y="302"/>
                    </a:lnTo>
                    <a:lnTo>
                      <a:pt x="668" y="301"/>
                    </a:lnTo>
                    <a:lnTo>
                      <a:pt x="668" y="299"/>
                    </a:lnTo>
                    <a:lnTo>
                      <a:pt x="670" y="299"/>
                    </a:lnTo>
                    <a:lnTo>
                      <a:pt x="670" y="298"/>
                    </a:lnTo>
                    <a:lnTo>
                      <a:pt x="672" y="298"/>
                    </a:lnTo>
                    <a:lnTo>
                      <a:pt x="673" y="298"/>
                    </a:lnTo>
                    <a:lnTo>
                      <a:pt x="673" y="296"/>
                    </a:lnTo>
                    <a:lnTo>
                      <a:pt x="675" y="296"/>
                    </a:lnTo>
                    <a:lnTo>
                      <a:pt x="675" y="298"/>
                    </a:lnTo>
                    <a:lnTo>
                      <a:pt x="675" y="299"/>
                    </a:lnTo>
                    <a:lnTo>
                      <a:pt x="676" y="299"/>
                    </a:lnTo>
                    <a:lnTo>
                      <a:pt x="678" y="299"/>
                    </a:lnTo>
                    <a:lnTo>
                      <a:pt x="679" y="299"/>
                    </a:lnTo>
                    <a:lnTo>
                      <a:pt x="681" y="299"/>
                    </a:lnTo>
                    <a:lnTo>
                      <a:pt x="681" y="298"/>
                    </a:lnTo>
                    <a:lnTo>
                      <a:pt x="681" y="296"/>
                    </a:lnTo>
                    <a:lnTo>
                      <a:pt x="679" y="296"/>
                    </a:lnTo>
                    <a:lnTo>
                      <a:pt x="678" y="296"/>
                    </a:lnTo>
                    <a:lnTo>
                      <a:pt x="678" y="295"/>
                    </a:lnTo>
                    <a:lnTo>
                      <a:pt x="678" y="293"/>
                    </a:lnTo>
                    <a:lnTo>
                      <a:pt x="676" y="293"/>
                    </a:lnTo>
                    <a:lnTo>
                      <a:pt x="678" y="291"/>
                    </a:lnTo>
                    <a:lnTo>
                      <a:pt x="678" y="290"/>
                    </a:lnTo>
                    <a:lnTo>
                      <a:pt x="678" y="288"/>
                    </a:lnTo>
                    <a:lnTo>
                      <a:pt x="676" y="288"/>
                    </a:lnTo>
                    <a:lnTo>
                      <a:pt x="676" y="287"/>
                    </a:lnTo>
                    <a:lnTo>
                      <a:pt x="676" y="285"/>
                    </a:lnTo>
                    <a:lnTo>
                      <a:pt x="676" y="283"/>
                    </a:lnTo>
                    <a:lnTo>
                      <a:pt x="675" y="283"/>
                    </a:lnTo>
                    <a:lnTo>
                      <a:pt x="673" y="283"/>
                    </a:lnTo>
                    <a:lnTo>
                      <a:pt x="673" y="282"/>
                    </a:lnTo>
                    <a:lnTo>
                      <a:pt x="672" y="280"/>
                    </a:lnTo>
                    <a:lnTo>
                      <a:pt x="672" y="279"/>
                    </a:lnTo>
                    <a:lnTo>
                      <a:pt x="673" y="279"/>
                    </a:lnTo>
                    <a:lnTo>
                      <a:pt x="673" y="277"/>
                    </a:lnTo>
                    <a:lnTo>
                      <a:pt x="675" y="276"/>
                    </a:lnTo>
                    <a:lnTo>
                      <a:pt x="676" y="274"/>
                    </a:lnTo>
                    <a:lnTo>
                      <a:pt x="678" y="274"/>
                    </a:lnTo>
                    <a:lnTo>
                      <a:pt x="679" y="274"/>
                    </a:lnTo>
                    <a:lnTo>
                      <a:pt x="681" y="274"/>
                    </a:lnTo>
                    <a:lnTo>
                      <a:pt x="683" y="274"/>
                    </a:lnTo>
                    <a:lnTo>
                      <a:pt x="683" y="272"/>
                    </a:lnTo>
                    <a:lnTo>
                      <a:pt x="684" y="272"/>
                    </a:lnTo>
                    <a:lnTo>
                      <a:pt x="686" y="271"/>
                    </a:lnTo>
                    <a:lnTo>
                      <a:pt x="686" y="269"/>
                    </a:lnTo>
                    <a:lnTo>
                      <a:pt x="686" y="268"/>
                    </a:lnTo>
                    <a:lnTo>
                      <a:pt x="687" y="268"/>
                    </a:lnTo>
                    <a:lnTo>
                      <a:pt x="689" y="268"/>
                    </a:lnTo>
                    <a:lnTo>
                      <a:pt x="691" y="268"/>
                    </a:lnTo>
                    <a:lnTo>
                      <a:pt x="691" y="266"/>
                    </a:lnTo>
                    <a:lnTo>
                      <a:pt x="691" y="264"/>
                    </a:lnTo>
                    <a:lnTo>
                      <a:pt x="691" y="263"/>
                    </a:lnTo>
                    <a:lnTo>
                      <a:pt x="691" y="261"/>
                    </a:lnTo>
                    <a:lnTo>
                      <a:pt x="691" y="260"/>
                    </a:lnTo>
                    <a:lnTo>
                      <a:pt x="689" y="260"/>
                    </a:lnTo>
                    <a:lnTo>
                      <a:pt x="687" y="260"/>
                    </a:lnTo>
                    <a:lnTo>
                      <a:pt x="686" y="260"/>
                    </a:lnTo>
                    <a:lnTo>
                      <a:pt x="686" y="258"/>
                    </a:lnTo>
                    <a:lnTo>
                      <a:pt x="684" y="258"/>
                    </a:lnTo>
                    <a:lnTo>
                      <a:pt x="684" y="257"/>
                    </a:lnTo>
                    <a:lnTo>
                      <a:pt x="683" y="255"/>
                    </a:lnTo>
                    <a:lnTo>
                      <a:pt x="681" y="253"/>
                    </a:lnTo>
                    <a:lnTo>
                      <a:pt x="679" y="253"/>
                    </a:lnTo>
                    <a:lnTo>
                      <a:pt x="679" y="252"/>
                    </a:lnTo>
                    <a:lnTo>
                      <a:pt x="678" y="252"/>
                    </a:lnTo>
                    <a:close/>
                    <a:moveTo>
                      <a:pt x="1346" y="380"/>
                    </a:moveTo>
                    <a:lnTo>
                      <a:pt x="1343" y="380"/>
                    </a:lnTo>
                    <a:lnTo>
                      <a:pt x="1342" y="382"/>
                    </a:lnTo>
                    <a:lnTo>
                      <a:pt x="1340" y="382"/>
                    </a:lnTo>
                    <a:lnTo>
                      <a:pt x="1340" y="380"/>
                    </a:lnTo>
                    <a:lnTo>
                      <a:pt x="1338" y="380"/>
                    </a:lnTo>
                    <a:lnTo>
                      <a:pt x="1337" y="380"/>
                    </a:lnTo>
                    <a:lnTo>
                      <a:pt x="1337" y="382"/>
                    </a:lnTo>
                    <a:lnTo>
                      <a:pt x="1335" y="382"/>
                    </a:lnTo>
                    <a:lnTo>
                      <a:pt x="1334" y="382"/>
                    </a:lnTo>
                    <a:lnTo>
                      <a:pt x="1334" y="383"/>
                    </a:lnTo>
                    <a:lnTo>
                      <a:pt x="1332" y="383"/>
                    </a:lnTo>
                    <a:lnTo>
                      <a:pt x="1332" y="385"/>
                    </a:lnTo>
                    <a:lnTo>
                      <a:pt x="1331" y="385"/>
                    </a:lnTo>
                    <a:lnTo>
                      <a:pt x="1331" y="386"/>
                    </a:lnTo>
                    <a:lnTo>
                      <a:pt x="1331" y="388"/>
                    </a:lnTo>
                    <a:lnTo>
                      <a:pt x="1331" y="390"/>
                    </a:lnTo>
                    <a:lnTo>
                      <a:pt x="1331" y="391"/>
                    </a:lnTo>
                    <a:lnTo>
                      <a:pt x="1329" y="391"/>
                    </a:lnTo>
                    <a:lnTo>
                      <a:pt x="1329" y="393"/>
                    </a:lnTo>
                    <a:lnTo>
                      <a:pt x="1327" y="393"/>
                    </a:lnTo>
                    <a:lnTo>
                      <a:pt x="1327" y="394"/>
                    </a:lnTo>
                    <a:lnTo>
                      <a:pt x="1327" y="396"/>
                    </a:lnTo>
                    <a:lnTo>
                      <a:pt x="1326" y="396"/>
                    </a:lnTo>
                    <a:lnTo>
                      <a:pt x="1326" y="398"/>
                    </a:lnTo>
                    <a:lnTo>
                      <a:pt x="1326" y="399"/>
                    </a:lnTo>
                    <a:lnTo>
                      <a:pt x="1324" y="401"/>
                    </a:lnTo>
                    <a:lnTo>
                      <a:pt x="1323" y="401"/>
                    </a:lnTo>
                    <a:lnTo>
                      <a:pt x="1321" y="401"/>
                    </a:lnTo>
                    <a:lnTo>
                      <a:pt x="1321" y="402"/>
                    </a:lnTo>
                    <a:lnTo>
                      <a:pt x="1321" y="404"/>
                    </a:lnTo>
                    <a:lnTo>
                      <a:pt x="1321" y="405"/>
                    </a:lnTo>
                    <a:lnTo>
                      <a:pt x="1321" y="407"/>
                    </a:lnTo>
                    <a:lnTo>
                      <a:pt x="1323" y="407"/>
                    </a:lnTo>
                    <a:lnTo>
                      <a:pt x="1323" y="409"/>
                    </a:lnTo>
                    <a:lnTo>
                      <a:pt x="1323" y="410"/>
                    </a:lnTo>
                    <a:lnTo>
                      <a:pt x="1321" y="410"/>
                    </a:lnTo>
                    <a:lnTo>
                      <a:pt x="1321" y="412"/>
                    </a:lnTo>
                    <a:lnTo>
                      <a:pt x="1323" y="412"/>
                    </a:lnTo>
                    <a:lnTo>
                      <a:pt x="1323" y="413"/>
                    </a:lnTo>
                    <a:lnTo>
                      <a:pt x="1324" y="413"/>
                    </a:lnTo>
                    <a:lnTo>
                      <a:pt x="1324" y="415"/>
                    </a:lnTo>
                    <a:lnTo>
                      <a:pt x="1326" y="415"/>
                    </a:lnTo>
                    <a:lnTo>
                      <a:pt x="1326" y="417"/>
                    </a:lnTo>
                    <a:lnTo>
                      <a:pt x="1326" y="418"/>
                    </a:lnTo>
                    <a:lnTo>
                      <a:pt x="1327" y="418"/>
                    </a:lnTo>
                    <a:lnTo>
                      <a:pt x="1327" y="420"/>
                    </a:lnTo>
                    <a:lnTo>
                      <a:pt x="1329" y="420"/>
                    </a:lnTo>
                    <a:lnTo>
                      <a:pt x="1329" y="421"/>
                    </a:lnTo>
                    <a:lnTo>
                      <a:pt x="1329" y="423"/>
                    </a:lnTo>
                    <a:lnTo>
                      <a:pt x="1329" y="424"/>
                    </a:lnTo>
                    <a:lnTo>
                      <a:pt x="1327" y="426"/>
                    </a:lnTo>
                    <a:lnTo>
                      <a:pt x="1327" y="428"/>
                    </a:lnTo>
                    <a:lnTo>
                      <a:pt x="1327" y="429"/>
                    </a:lnTo>
                    <a:lnTo>
                      <a:pt x="1329" y="429"/>
                    </a:lnTo>
                    <a:lnTo>
                      <a:pt x="1329" y="431"/>
                    </a:lnTo>
                    <a:lnTo>
                      <a:pt x="1331" y="431"/>
                    </a:lnTo>
                    <a:lnTo>
                      <a:pt x="1332" y="431"/>
                    </a:lnTo>
                    <a:lnTo>
                      <a:pt x="1334" y="432"/>
                    </a:lnTo>
                    <a:lnTo>
                      <a:pt x="1334" y="434"/>
                    </a:lnTo>
                    <a:lnTo>
                      <a:pt x="1335" y="434"/>
                    </a:lnTo>
                    <a:lnTo>
                      <a:pt x="1335" y="436"/>
                    </a:lnTo>
                    <a:lnTo>
                      <a:pt x="1337" y="436"/>
                    </a:lnTo>
                    <a:lnTo>
                      <a:pt x="1338" y="436"/>
                    </a:lnTo>
                    <a:lnTo>
                      <a:pt x="1338" y="434"/>
                    </a:lnTo>
                    <a:lnTo>
                      <a:pt x="1340" y="434"/>
                    </a:lnTo>
                    <a:lnTo>
                      <a:pt x="1342" y="436"/>
                    </a:lnTo>
                    <a:lnTo>
                      <a:pt x="1342" y="437"/>
                    </a:lnTo>
                    <a:lnTo>
                      <a:pt x="1343" y="437"/>
                    </a:lnTo>
                    <a:lnTo>
                      <a:pt x="1343" y="439"/>
                    </a:lnTo>
                    <a:lnTo>
                      <a:pt x="1345" y="439"/>
                    </a:lnTo>
                    <a:lnTo>
                      <a:pt x="1346" y="439"/>
                    </a:lnTo>
                    <a:lnTo>
                      <a:pt x="1348" y="439"/>
                    </a:lnTo>
                    <a:lnTo>
                      <a:pt x="1346" y="439"/>
                    </a:lnTo>
                    <a:lnTo>
                      <a:pt x="1346" y="440"/>
                    </a:lnTo>
                    <a:lnTo>
                      <a:pt x="1348" y="442"/>
                    </a:lnTo>
                    <a:lnTo>
                      <a:pt x="1348" y="444"/>
                    </a:lnTo>
                    <a:lnTo>
                      <a:pt x="1350" y="444"/>
                    </a:lnTo>
                    <a:lnTo>
                      <a:pt x="1350" y="445"/>
                    </a:lnTo>
                    <a:lnTo>
                      <a:pt x="1351" y="445"/>
                    </a:lnTo>
                    <a:lnTo>
                      <a:pt x="1351" y="447"/>
                    </a:lnTo>
                    <a:lnTo>
                      <a:pt x="1353" y="448"/>
                    </a:lnTo>
                    <a:lnTo>
                      <a:pt x="1354" y="448"/>
                    </a:lnTo>
                    <a:lnTo>
                      <a:pt x="1356" y="448"/>
                    </a:lnTo>
                    <a:lnTo>
                      <a:pt x="1356" y="450"/>
                    </a:lnTo>
                    <a:lnTo>
                      <a:pt x="1357" y="450"/>
                    </a:lnTo>
                    <a:lnTo>
                      <a:pt x="1357" y="451"/>
                    </a:lnTo>
                    <a:lnTo>
                      <a:pt x="1357" y="453"/>
                    </a:lnTo>
                    <a:lnTo>
                      <a:pt x="1359" y="453"/>
                    </a:lnTo>
                    <a:lnTo>
                      <a:pt x="1361" y="453"/>
                    </a:lnTo>
                    <a:lnTo>
                      <a:pt x="1362" y="453"/>
                    </a:lnTo>
                    <a:lnTo>
                      <a:pt x="1364" y="453"/>
                    </a:lnTo>
                    <a:lnTo>
                      <a:pt x="1364" y="455"/>
                    </a:lnTo>
                    <a:lnTo>
                      <a:pt x="1365" y="455"/>
                    </a:lnTo>
                    <a:lnTo>
                      <a:pt x="1367" y="455"/>
                    </a:lnTo>
                    <a:lnTo>
                      <a:pt x="1367" y="453"/>
                    </a:lnTo>
                    <a:lnTo>
                      <a:pt x="1369" y="453"/>
                    </a:lnTo>
                    <a:lnTo>
                      <a:pt x="1369" y="451"/>
                    </a:lnTo>
                    <a:lnTo>
                      <a:pt x="1370" y="451"/>
                    </a:lnTo>
                    <a:lnTo>
                      <a:pt x="1372" y="448"/>
                    </a:lnTo>
                    <a:lnTo>
                      <a:pt x="1372" y="447"/>
                    </a:lnTo>
                    <a:lnTo>
                      <a:pt x="1372" y="444"/>
                    </a:lnTo>
                    <a:lnTo>
                      <a:pt x="1372" y="442"/>
                    </a:lnTo>
                    <a:lnTo>
                      <a:pt x="1373" y="444"/>
                    </a:lnTo>
                    <a:lnTo>
                      <a:pt x="1376" y="444"/>
                    </a:lnTo>
                    <a:lnTo>
                      <a:pt x="1378" y="444"/>
                    </a:lnTo>
                    <a:lnTo>
                      <a:pt x="1380" y="442"/>
                    </a:lnTo>
                    <a:lnTo>
                      <a:pt x="1381" y="442"/>
                    </a:lnTo>
                    <a:lnTo>
                      <a:pt x="1383" y="442"/>
                    </a:lnTo>
                    <a:lnTo>
                      <a:pt x="1383" y="444"/>
                    </a:lnTo>
                    <a:lnTo>
                      <a:pt x="1384" y="444"/>
                    </a:lnTo>
                    <a:lnTo>
                      <a:pt x="1384" y="442"/>
                    </a:lnTo>
                    <a:lnTo>
                      <a:pt x="1384" y="440"/>
                    </a:lnTo>
                    <a:lnTo>
                      <a:pt x="1384" y="439"/>
                    </a:lnTo>
                    <a:lnTo>
                      <a:pt x="1384" y="437"/>
                    </a:lnTo>
                    <a:lnTo>
                      <a:pt x="1384" y="436"/>
                    </a:lnTo>
                    <a:lnTo>
                      <a:pt x="1384" y="434"/>
                    </a:lnTo>
                    <a:lnTo>
                      <a:pt x="1383" y="434"/>
                    </a:lnTo>
                    <a:lnTo>
                      <a:pt x="1383" y="432"/>
                    </a:lnTo>
                    <a:lnTo>
                      <a:pt x="1381" y="431"/>
                    </a:lnTo>
                    <a:lnTo>
                      <a:pt x="1381" y="429"/>
                    </a:lnTo>
                    <a:lnTo>
                      <a:pt x="1380" y="428"/>
                    </a:lnTo>
                    <a:lnTo>
                      <a:pt x="1380" y="424"/>
                    </a:lnTo>
                    <a:lnTo>
                      <a:pt x="1380" y="423"/>
                    </a:lnTo>
                    <a:lnTo>
                      <a:pt x="1380" y="421"/>
                    </a:lnTo>
                    <a:lnTo>
                      <a:pt x="1381" y="421"/>
                    </a:lnTo>
                    <a:lnTo>
                      <a:pt x="1383" y="421"/>
                    </a:lnTo>
                    <a:lnTo>
                      <a:pt x="1384" y="423"/>
                    </a:lnTo>
                    <a:lnTo>
                      <a:pt x="1386" y="423"/>
                    </a:lnTo>
                    <a:lnTo>
                      <a:pt x="1388" y="423"/>
                    </a:lnTo>
                    <a:lnTo>
                      <a:pt x="1389" y="423"/>
                    </a:lnTo>
                    <a:lnTo>
                      <a:pt x="1389" y="424"/>
                    </a:lnTo>
                    <a:lnTo>
                      <a:pt x="1391" y="424"/>
                    </a:lnTo>
                    <a:lnTo>
                      <a:pt x="1392" y="423"/>
                    </a:lnTo>
                    <a:lnTo>
                      <a:pt x="1391" y="421"/>
                    </a:lnTo>
                    <a:lnTo>
                      <a:pt x="1391" y="420"/>
                    </a:lnTo>
                    <a:lnTo>
                      <a:pt x="1391" y="418"/>
                    </a:lnTo>
                    <a:lnTo>
                      <a:pt x="1392" y="417"/>
                    </a:lnTo>
                    <a:lnTo>
                      <a:pt x="1392" y="418"/>
                    </a:lnTo>
                    <a:lnTo>
                      <a:pt x="1392" y="417"/>
                    </a:lnTo>
                    <a:lnTo>
                      <a:pt x="1394" y="417"/>
                    </a:lnTo>
                    <a:lnTo>
                      <a:pt x="1394" y="415"/>
                    </a:lnTo>
                    <a:lnTo>
                      <a:pt x="1394" y="413"/>
                    </a:lnTo>
                    <a:lnTo>
                      <a:pt x="1395" y="412"/>
                    </a:lnTo>
                    <a:lnTo>
                      <a:pt x="1394" y="412"/>
                    </a:lnTo>
                    <a:lnTo>
                      <a:pt x="1394" y="410"/>
                    </a:lnTo>
                    <a:lnTo>
                      <a:pt x="1394" y="409"/>
                    </a:lnTo>
                    <a:lnTo>
                      <a:pt x="1394" y="407"/>
                    </a:lnTo>
                    <a:lnTo>
                      <a:pt x="1394" y="405"/>
                    </a:lnTo>
                    <a:lnTo>
                      <a:pt x="1395" y="405"/>
                    </a:lnTo>
                    <a:lnTo>
                      <a:pt x="1395" y="404"/>
                    </a:lnTo>
                    <a:lnTo>
                      <a:pt x="1394" y="402"/>
                    </a:lnTo>
                    <a:lnTo>
                      <a:pt x="1394" y="401"/>
                    </a:lnTo>
                    <a:lnTo>
                      <a:pt x="1392" y="401"/>
                    </a:lnTo>
                    <a:lnTo>
                      <a:pt x="1392" y="399"/>
                    </a:lnTo>
                    <a:lnTo>
                      <a:pt x="1391" y="398"/>
                    </a:lnTo>
                    <a:lnTo>
                      <a:pt x="1392" y="396"/>
                    </a:lnTo>
                    <a:lnTo>
                      <a:pt x="1391" y="394"/>
                    </a:lnTo>
                    <a:lnTo>
                      <a:pt x="1391" y="393"/>
                    </a:lnTo>
                    <a:lnTo>
                      <a:pt x="1389" y="391"/>
                    </a:lnTo>
                    <a:lnTo>
                      <a:pt x="1388" y="390"/>
                    </a:lnTo>
                    <a:lnTo>
                      <a:pt x="1388" y="388"/>
                    </a:lnTo>
                    <a:lnTo>
                      <a:pt x="1388" y="386"/>
                    </a:lnTo>
                    <a:lnTo>
                      <a:pt x="1388" y="385"/>
                    </a:lnTo>
                    <a:lnTo>
                      <a:pt x="1388" y="383"/>
                    </a:lnTo>
                    <a:lnTo>
                      <a:pt x="1386" y="382"/>
                    </a:lnTo>
                    <a:lnTo>
                      <a:pt x="1386" y="380"/>
                    </a:lnTo>
                    <a:lnTo>
                      <a:pt x="1384" y="380"/>
                    </a:lnTo>
                    <a:lnTo>
                      <a:pt x="1383" y="380"/>
                    </a:lnTo>
                    <a:lnTo>
                      <a:pt x="1383" y="382"/>
                    </a:lnTo>
                    <a:lnTo>
                      <a:pt x="1381" y="382"/>
                    </a:lnTo>
                    <a:lnTo>
                      <a:pt x="1380" y="382"/>
                    </a:lnTo>
                    <a:lnTo>
                      <a:pt x="1378" y="382"/>
                    </a:lnTo>
                    <a:lnTo>
                      <a:pt x="1376" y="382"/>
                    </a:lnTo>
                    <a:lnTo>
                      <a:pt x="1373" y="382"/>
                    </a:lnTo>
                    <a:lnTo>
                      <a:pt x="1373" y="383"/>
                    </a:lnTo>
                    <a:lnTo>
                      <a:pt x="1372" y="382"/>
                    </a:lnTo>
                    <a:lnTo>
                      <a:pt x="1372" y="383"/>
                    </a:lnTo>
                    <a:lnTo>
                      <a:pt x="1370" y="383"/>
                    </a:lnTo>
                    <a:lnTo>
                      <a:pt x="1370" y="382"/>
                    </a:lnTo>
                    <a:lnTo>
                      <a:pt x="1370" y="380"/>
                    </a:lnTo>
                    <a:lnTo>
                      <a:pt x="1369" y="380"/>
                    </a:lnTo>
                    <a:lnTo>
                      <a:pt x="1369" y="379"/>
                    </a:lnTo>
                    <a:lnTo>
                      <a:pt x="1369" y="377"/>
                    </a:lnTo>
                    <a:lnTo>
                      <a:pt x="1367" y="377"/>
                    </a:lnTo>
                    <a:lnTo>
                      <a:pt x="1367" y="379"/>
                    </a:lnTo>
                    <a:lnTo>
                      <a:pt x="1365" y="379"/>
                    </a:lnTo>
                    <a:lnTo>
                      <a:pt x="1365" y="380"/>
                    </a:lnTo>
                    <a:lnTo>
                      <a:pt x="1364" y="380"/>
                    </a:lnTo>
                    <a:lnTo>
                      <a:pt x="1362" y="382"/>
                    </a:lnTo>
                    <a:lnTo>
                      <a:pt x="1362" y="383"/>
                    </a:lnTo>
                    <a:lnTo>
                      <a:pt x="1361" y="383"/>
                    </a:lnTo>
                    <a:lnTo>
                      <a:pt x="1359" y="382"/>
                    </a:lnTo>
                    <a:lnTo>
                      <a:pt x="1359" y="380"/>
                    </a:lnTo>
                    <a:lnTo>
                      <a:pt x="1357" y="380"/>
                    </a:lnTo>
                    <a:lnTo>
                      <a:pt x="1357" y="379"/>
                    </a:lnTo>
                    <a:lnTo>
                      <a:pt x="1357" y="377"/>
                    </a:lnTo>
                    <a:lnTo>
                      <a:pt x="1356" y="377"/>
                    </a:lnTo>
                    <a:lnTo>
                      <a:pt x="1354" y="377"/>
                    </a:lnTo>
                    <a:lnTo>
                      <a:pt x="1353" y="377"/>
                    </a:lnTo>
                    <a:lnTo>
                      <a:pt x="1353" y="379"/>
                    </a:lnTo>
                    <a:lnTo>
                      <a:pt x="1351" y="379"/>
                    </a:lnTo>
                    <a:lnTo>
                      <a:pt x="1350" y="379"/>
                    </a:lnTo>
                    <a:lnTo>
                      <a:pt x="1350" y="380"/>
                    </a:lnTo>
                    <a:lnTo>
                      <a:pt x="1348" y="380"/>
                    </a:lnTo>
                    <a:lnTo>
                      <a:pt x="1346" y="380"/>
                    </a:lnTo>
                    <a:close/>
                    <a:moveTo>
                      <a:pt x="618" y="453"/>
                    </a:moveTo>
                    <a:lnTo>
                      <a:pt x="618" y="451"/>
                    </a:lnTo>
                    <a:lnTo>
                      <a:pt x="616" y="451"/>
                    </a:lnTo>
                    <a:lnTo>
                      <a:pt x="616" y="450"/>
                    </a:lnTo>
                    <a:lnTo>
                      <a:pt x="616" y="448"/>
                    </a:lnTo>
                    <a:lnTo>
                      <a:pt x="615" y="448"/>
                    </a:lnTo>
                    <a:lnTo>
                      <a:pt x="615" y="447"/>
                    </a:lnTo>
                    <a:lnTo>
                      <a:pt x="613" y="447"/>
                    </a:lnTo>
                    <a:lnTo>
                      <a:pt x="613" y="445"/>
                    </a:lnTo>
                    <a:lnTo>
                      <a:pt x="613" y="444"/>
                    </a:lnTo>
                    <a:lnTo>
                      <a:pt x="611" y="444"/>
                    </a:lnTo>
                    <a:lnTo>
                      <a:pt x="610" y="444"/>
                    </a:lnTo>
                    <a:lnTo>
                      <a:pt x="610" y="445"/>
                    </a:lnTo>
                    <a:lnTo>
                      <a:pt x="610" y="444"/>
                    </a:lnTo>
                    <a:lnTo>
                      <a:pt x="608" y="444"/>
                    </a:lnTo>
                    <a:lnTo>
                      <a:pt x="608" y="442"/>
                    </a:lnTo>
                    <a:lnTo>
                      <a:pt x="608" y="440"/>
                    </a:lnTo>
                    <a:lnTo>
                      <a:pt x="608" y="439"/>
                    </a:lnTo>
                    <a:lnTo>
                      <a:pt x="608" y="437"/>
                    </a:lnTo>
                    <a:lnTo>
                      <a:pt x="610" y="437"/>
                    </a:lnTo>
                    <a:lnTo>
                      <a:pt x="610" y="436"/>
                    </a:lnTo>
                    <a:lnTo>
                      <a:pt x="610" y="434"/>
                    </a:lnTo>
                    <a:lnTo>
                      <a:pt x="610" y="432"/>
                    </a:lnTo>
                    <a:lnTo>
                      <a:pt x="610" y="431"/>
                    </a:lnTo>
                    <a:lnTo>
                      <a:pt x="610" y="429"/>
                    </a:lnTo>
                    <a:lnTo>
                      <a:pt x="610" y="428"/>
                    </a:lnTo>
                    <a:lnTo>
                      <a:pt x="610" y="426"/>
                    </a:lnTo>
                    <a:lnTo>
                      <a:pt x="611" y="426"/>
                    </a:lnTo>
                    <a:lnTo>
                      <a:pt x="611" y="424"/>
                    </a:lnTo>
                    <a:lnTo>
                      <a:pt x="611" y="423"/>
                    </a:lnTo>
                    <a:lnTo>
                      <a:pt x="611" y="421"/>
                    </a:lnTo>
                    <a:lnTo>
                      <a:pt x="611" y="420"/>
                    </a:lnTo>
                    <a:lnTo>
                      <a:pt x="611" y="418"/>
                    </a:lnTo>
                    <a:lnTo>
                      <a:pt x="611" y="417"/>
                    </a:lnTo>
                    <a:lnTo>
                      <a:pt x="611" y="415"/>
                    </a:lnTo>
                    <a:lnTo>
                      <a:pt x="613" y="415"/>
                    </a:lnTo>
                    <a:lnTo>
                      <a:pt x="611" y="415"/>
                    </a:lnTo>
                    <a:lnTo>
                      <a:pt x="610" y="415"/>
                    </a:lnTo>
                    <a:lnTo>
                      <a:pt x="610" y="417"/>
                    </a:lnTo>
                    <a:lnTo>
                      <a:pt x="608" y="417"/>
                    </a:lnTo>
                    <a:lnTo>
                      <a:pt x="608" y="418"/>
                    </a:lnTo>
                    <a:lnTo>
                      <a:pt x="607" y="418"/>
                    </a:lnTo>
                    <a:lnTo>
                      <a:pt x="607" y="417"/>
                    </a:lnTo>
                    <a:lnTo>
                      <a:pt x="605" y="417"/>
                    </a:lnTo>
                    <a:lnTo>
                      <a:pt x="605" y="415"/>
                    </a:lnTo>
                    <a:lnTo>
                      <a:pt x="603" y="415"/>
                    </a:lnTo>
                    <a:lnTo>
                      <a:pt x="603" y="413"/>
                    </a:lnTo>
                    <a:lnTo>
                      <a:pt x="602" y="413"/>
                    </a:lnTo>
                    <a:lnTo>
                      <a:pt x="600" y="413"/>
                    </a:lnTo>
                    <a:lnTo>
                      <a:pt x="600" y="412"/>
                    </a:lnTo>
                    <a:lnTo>
                      <a:pt x="599" y="412"/>
                    </a:lnTo>
                    <a:lnTo>
                      <a:pt x="597" y="412"/>
                    </a:lnTo>
                    <a:lnTo>
                      <a:pt x="597" y="410"/>
                    </a:lnTo>
                    <a:lnTo>
                      <a:pt x="596" y="409"/>
                    </a:lnTo>
                    <a:lnTo>
                      <a:pt x="594" y="407"/>
                    </a:lnTo>
                    <a:lnTo>
                      <a:pt x="596" y="407"/>
                    </a:lnTo>
                    <a:lnTo>
                      <a:pt x="596" y="405"/>
                    </a:lnTo>
                    <a:lnTo>
                      <a:pt x="596" y="407"/>
                    </a:lnTo>
                    <a:lnTo>
                      <a:pt x="596" y="405"/>
                    </a:lnTo>
                    <a:lnTo>
                      <a:pt x="597" y="405"/>
                    </a:lnTo>
                    <a:lnTo>
                      <a:pt x="599" y="405"/>
                    </a:lnTo>
                    <a:lnTo>
                      <a:pt x="599" y="404"/>
                    </a:lnTo>
                    <a:lnTo>
                      <a:pt x="600" y="404"/>
                    </a:lnTo>
                    <a:lnTo>
                      <a:pt x="600" y="402"/>
                    </a:lnTo>
                    <a:lnTo>
                      <a:pt x="599" y="402"/>
                    </a:lnTo>
                    <a:lnTo>
                      <a:pt x="599" y="401"/>
                    </a:lnTo>
                    <a:lnTo>
                      <a:pt x="597" y="401"/>
                    </a:lnTo>
                    <a:lnTo>
                      <a:pt x="596" y="401"/>
                    </a:lnTo>
                    <a:lnTo>
                      <a:pt x="594" y="401"/>
                    </a:lnTo>
                    <a:lnTo>
                      <a:pt x="594" y="399"/>
                    </a:lnTo>
                    <a:lnTo>
                      <a:pt x="592" y="399"/>
                    </a:lnTo>
                    <a:lnTo>
                      <a:pt x="592" y="398"/>
                    </a:lnTo>
                    <a:lnTo>
                      <a:pt x="592" y="399"/>
                    </a:lnTo>
                    <a:lnTo>
                      <a:pt x="591" y="399"/>
                    </a:lnTo>
                    <a:lnTo>
                      <a:pt x="591" y="398"/>
                    </a:lnTo>
                    <a:lnTo>
                      <a:pt x="589" y="398"/>
                    </a:lnTo>
                    <a:lnTo>
                      <a:pt x="588" y="398"/>
                    </a:lnTo>
                    <a:lnTo>
                      <a:pt x="586" y="398"/>
                    </a:lnTo>
                    <a:lnTo>
                      <a:pt x="584" y="399"/>
                    </a:lnTo>
                    <a:lnTo>
                      <a:pt x="584" y="398"/>
                    </a:lnTo>
                    <a:lnTo>
                      <a:pt x="583" y="398"/>
                    </a:lnTo>
                    <a:lnTo>
                      <a:pt x="581" y="398"/>
                    </a:lnTo>
                    <a:lnTo>
                      <a:pt x="581" y="399"/>
                    </a:lnTo>
                    <a:lnTo>
                      <a:pt x="581" y="398"/>
                    </a:lnTo>
                    <a:lnTo>
                      <a:pt x="580" y="399"/>
                    </a:lnTo>
                    <a:lnTo>
                      <a:pt x="578" y="399"/>
                    </a:lnTo>
                    <a:lnTo>
                      <a:pt x="577" y="399"/>
                    </a:lnTo>
                    <a:lnTo>
                      <a:pt x="577" y="398"/>
                    </a:lnTo>
                    <a:lnTo>
                      <a:pt x="575" y="398"/>
                    </a:lnTo>
                    <a:lnTo>
                      <a:pt x="573" y="398"/>
                    </a:lnTo>
                    <a:lnTo>
                      <a:pt x="572" y="398"/>
                    </a:lnTo>
                    <a:lnTo>
                      <a:pt x="570" y="398"/>
                    </a:lnTo>
                    <a:lnTo>
                      <a:pt x="569" y="398"/>
                    </a:lnTo>
                    <a:lnTo>
                      <a:pt x="569" y="396"/>
                    </a:lnTo>
                    <a:lnTo>
                      <a:pt x="567" y="396"/>
                    </a:lnTo>
                    <a:lnTo>
                      <a:pt x="567" y="394"/>
                    </a:lnTo>
                    <a:lnTo>
                      <a:pt x="565" y="394"/>
                    </a:lnTo>
                    <a:lnTo>
                      <a:pt x="565" y="396"/>
                    </a:lnTo>
                    <a:lnTo>
                      <a:pt x="564" y="396"/>
                    </a:lnTo>
                    <a:lnTo>
                      <a:pt x="562" y="396"/>
                    </a:lnTo>
                    <a:lnTo>
                      <a:pt x="561" y="396"/>
                    </a:lnTo>
                    <a:lnTo>
                      <a:pt x="559" y="394"/>
                    </a:lnTo>
                    <a:lnTo>
                      <a:pt x="559" y="396"/>
                    </a:lnTo>
                    <a:lnTo>
                      <a:pt x="559" y="398"/>
                    </a:lnTo>
                    <a:lnTo>
                      <a:pt x="559" y="399"/>
                    </a:lnTo>
                    <a:lnTo>
                      <a:pt x="559" y="401"/>
                    </a:lnTo>
                    <a:lnTo>
                      <a:pt x="559" y="402"/>
                    </a:lnTo>
                    <a:lnTo>
                      <a:pt x="558" y="402"/>
                    </a:lnTo>
                    <a:lnTo>
                      <a:pt x="558" y="404"/>
                    </a:lnTo>
                    <a:lnTo>
                      <a:pt x="556" y="405"/>
                    </a:lnTo>
                    <a:lnTo>
                      <a:pt x="558" y="407"/>
                    </a:lnTo>
                    <a:lnTo>
                      <a:pt x="558" y="409"/>
                    </a:lnTo>
                    <a:lnTo>
                      <a:pt x="558" y="410"/>
                    </a:lnTo>
                    <a:lnTo>
                      <a:pt x="556" y="410"/>
                    </a:lnTo>
                    <a:lnTo>
                      <a:pt x="558" y="410"/>
                    </a:lnTo>
                    <a:lnTo>
                      <a:pt x="558" y="412"/>
                    </a:lnTo>
                    <a:lnTo>
                      <a:pt x="558" y="413"/>
                    </a:lnTo>
                    <a:lnTo>
                      <a:pt x="556" y="413"/>
                    </a:lnTo>
                    <a:lnTo>
                      <a:pt x="556" y="415"/>
                    </a:lnTo>
                    <a:lnTo>
                      <a:pt x="556" y="413"/>
                    </a:lnTo>
                    <a:lnTo>
                      <a:pt x="554" y="413"/>
                    </a:lnTo>
                    <a:lnTo>
                      <a:pt x="554" y="415"/>
                    </a:lnTo>
                    <a:lnTo>
                      <a:pt x="554" y="417"/>
                    </a:lnTo>
                    <a:lnTo>
                      <a:pt x="553" y="417"/>
                    </a:lnTo>
                    <a:lnTo>
                      <a:pt x="553" y="418"/>
                    </a:lnTo>
                    <a:lnTo>
                      <a:pt x="553" y="420"/>
                    </a:lnTo>
                    <a:lnTo>
                      <a:pt x="551" y="418"/>
                    </a:lnTo>
                    <a:lnTo>
                      <a:pt x="551" y="420"/>
                    </a:lnTo>
                    <a:lnTo>
                      <a:pt x="551" y="421"/>
                    </a:lnTo>
                    <a:lnTo>
                      <a:pt x="551" y="423"/>
                    </a:lnTo>
                    <a:lnTo>
                      <a:pt x="550" y="423"/>
                    </a:lnTo>
                    <a:lnTo>
                      <a:pt x="550" y="424"/>
                    </a:lnTo>
                    <a:lnTo>
                      <a:pt x="548" y="424"/>
                    </a:lnTo>
                    <a:lnTo>
                      <a:pt x="548" y="426"/>
                    </a:lnTo>
                    <a:lnTo>
                      <a:pt x="550" y="426"/>
                    </a:lnTo>
                    <a:lnTo>
                      <a:pt x="550" y="428"/>
                    </a:lnTo>
                    <a:lnTo>
                      <a:pt x="548" y="428"/>
                    </a:lnTo>
                    <a:lnTo>
                      <a:pt x="548" y="429"/>
                    </a:lnTo>
                    <a:lnTo>
                      <a:pt x="550" y="429"/>
                    </a:lnTo>
                    <a:lnTo>
                      <a:pt x="550" y="431"/>
                    </a:lnTo>
                    <a:lnTo>
                      <a:pt x="548" y="431"/>
                    </a:lnTo>
                    <a:lnTo>
                      <a:pt x="550" y="431"/>
                    </a:lnTo>
                    <a:lnTo>
                      <a:pt x="550" y="432"/>
                    </a:lnTo>
                    <a:lnTo>
                      <a:pt x="548" y="432"/>
                    </a:lnTo>
                    <a:lnTo>
                      <a:pt x="548" y="434"/>
                    </a:lnTo>
                    <a:lnTo>
                      <a:pt x="550" y="434"/>
                    </a:lnTo>
                    <a:lnTo>
                      <a:pt x="548" y="434"/>
                    </a:lnTo>
                    <a:lnTo>
                      <a:pt x="550" y="436"/>
                    </a:lnTo>
                    <a:lnTo>
                      <a:pt x="550" y="437"/>
                    </a:lnTo>
                    <a:lnTo>
                      <a:pt x="550" y="439"/>
                    </a:lnTo>
                    <a:lnTo>
                      <a:pt x="550" y="440"/>
                    </a:lnTo>
                    <a:lnTo>
                      <a:pt x="548" y="440"/>
                    </a:lnTo>
                    <a:lnTo>
                      <a:pt x="548" y="442"/>
                    </a:lnTo>
                    <a:lnTo>
                      <a:pt x="550" y="444"/>
                    </a:lnTo>
                    <a:lnTo>
                      <a:pt x="550" y="445"/>
                    </a:lnTo>
                    <a:lnTo>
                      <a:pt x="550" y="447"/>
                    </a:lnTo>
                    <a:lnTo>
                      <a:pt x="551" y="447"/>
                    </a:lnTo>
                    <a:lnTo>
                      <a:pt x="551" y="448"/>
                    </a:lnTo>
                    <a:lnTo>
                      <a:pt x="553" y="448"/>
                    </a:lnTo>
                    <a:lnTo>
                      <a:pt x="554" y="448"/>
                    </a:lnTo>
                    <a:lnTo>
                      <a:pt x="554" y="450"/>
                    </a:lnTo>
                    <a:lnTo>
                      <a:pt x="556" y="450"/>
                    </a:lnTo>
                    <a:lnTo>
                      <a:pt x="558" y="450"/>
                    </a:lnTo>
                    <a:lnTo>
                      <a:pt x="558" y="448"/>
                    </a:lnTo>
                    <a:lnTo>
                      <a:pt x="556" y="448"/>
                    </a:lnTo>
                    <a:lnTo>
                      <a:pt x="558" y="448"/>
                    </a:lnTo>
                    <a:lnTo>
                      <a:pt x="559" y="448"/>
                    </a:lnTo>
                    <a:lnTo>
                      <a:pt x="561" y="448"/>
                    </a:lnTo>
                    <a:lnTo>
                      <a:pt x="562" y="448"/>
                    </a:lnTo>
                    <a:lnTo>
                      <a:pt x="564" y="448"/>
                    </a:lnTo>
                    <a:lnTo>
                      <a:pt x="565" y="448"/>
                    </a:lnTo>
                    <a:lnTo>
                      <a:pt x="567" y="447"/>
                    </a:lnTo>
                    <a:lnTo>
                      <a:pt x="569" y="448"/>
                    </a:lnTo>
                    <a:lnTo>
                      <a:pt x="570" y="448"/>
                    </a:lnTo>
                    <a:lnTo>
                      <a:pt x="570" y="447"/>
                    </a:lnTo>
                    <a:lnTo>
                      <a:pt x="572" y="447"/>
                    </a:lnTo>
                    <a:lnTo>
                      <a:pt x="573" y="447"/>
                    </a:lnTo>
                    <a:lnTo>
                      <a:pt x="573" y="448"/>
                    </a:lnTo>
                    <a:lnTo>
                      <a:pt x="573" y="450"/>
                    </a:lnTo>
                    <a:lnTo>
                      <a:pt x="575" y="450"/>
                    </a:lnTo>
                    <a:lnTo>
                      <a:pt x="575" y="451"/>
                    </a:lnTo>
                    <a:lnTo>
                      <a:pt x="577" y="451"/>
                    </a:lnTo>
                    <a:lnTo>
                      <a:pt x="578" y="451"/>
                    </a:lnTo>
                    <a:lnTo>
                      <a:pt x="580" y="451"/>
                    </a:lnTo>
                    <a:lnTo>
                      <a:pt x="581" y="451"/>
                    </a:lnTo>
                    <a:lnTo>
                      <a:pt x="583" y="451"/>
                    </a:lnTo>
                    <a:lnTo>
                      <a:pt x="584" y="451"/>
                    </a:lnTo>
                    <a:lnTo>
                      <a:pt x="586" y="451"/>
                    </a:lnTo>
                    <a:lnTo>
                      <a:pt x="586" y="450"/>
                    </a:lnTo>
                    <a:lnTo>
                      <a:pt x="586" y="448"/>
                    </a:lnTo>
                    <a:lnTo>
                      <a:pt x="586" y="447"/>
                    </a:lnTo>
                    <a:lnTo>
                      <a:pt x="588" y="447"/>
                    </a:lnTo>
                    <a:lnTo>
                      <a:pt x="588" y="445"/>
                    </a:lnTo>
                    <a:lnTo>
                      <a:pt x="588" y="444"/>
                    </a:lnTo>
                    <a:lnTo>
                      <a:pt x="589" y="444"/>
                    </a:lnTo>
                    <a:lnTo>
                      <a:pt x="591" y="444"/>
                    </a:lnTo>
                    <a:lnTo>
                      <a:pt x="592" y="444"/>
                    </a:lnTo>
                    <a:lnTo>
                      <a:pt x="592" y="442"/>
                    </a:lnTo>
                    <a:lnTo>
                      <a:pt x="592" y="440"/>
                    </a:lnTo>
                    <a:lnTo>
                      <a:pt x="594" y="442"/>
                    </a:lnTo>
                    <a:lnTo>
                      <a:pt x="596" y="442"/>
                    </a:lnTo>
                    <a:lnTo>
                      <a:pt x="596" y="444"/>
                    </a:lnTo>
                    <a:lnTo>
                      <a:pt x="594" y="444"/>
                    </a:lnTo>
                    <a:lnTo>
                      <a:pt x="594" y="445"/>
                    </a:lnTo>
                    <a:lnTo>
                      <a:pt x="596" y="445"/>
                    </a:lnTo>
                    <a:lnTo>
                      <a:pt x="596" y="447"/>
                    </a:lnTo>
                    <a:lnTo>
                      <a:pt x="597" y="447"/>
                    </a:lnTo>
                    <a:lnTo>
                      <a:pt x="597" y="448"/>
                    </a:lnTo>
                    <a:lnTo>
                      <a:pt x="599" y="448"/>
                    </a:lnTo>
                    <a:lnTo>
                      <a:pt x="600" y="450"/>
                    </a:lnTo>
                    <a:lnTo>
                      <a:pt x="602" y="450"/>
                    </a:lnTo>
                    <a:lnTo>
                      <a:pt x="603" y="450"/>
                    </a:lnTo>
                    <a:lnTo>
                      <a:pt x="605" y="451"/>
                    </a:lnTo>
                    <a:lnTo>
                      <a:pt x="605" y="453"/>
                    </a:lnTo>
                    <a:lnTo>
                      <a:pt x="605" y="455"/>
                    </a:lnTo>
                    <a:lnTo>
                      <a:pt x="605" y="456"/>
                    </a:lnTo>
                    <a:lnTo>
                      <a:pt x="605" y="458"/>
                    </a:lnTo>
                    <a:lnTo>
                      <a:pt x="605" y="459"/>
                    </a:lnTo>
                    <a:lnTo>
                      <a:pt x="605" y="461"/>
                    </a:lnTo>
                    <a:lnTo>
                      <a:pt x="605" y="463"/>
                    </a:lnTo>
                    <a:lnTo>
                      <a:pt x="607" y="463"/>
                    </a:lnTo>
                    <a:lnTo>
                      <a:pt x="607" y="464"/>
                    </a:lnTo>
                    <a:lnTo>
                      <a:pt x="608" y="464"/>
                    </a:lnTo>
                    <a:lnTo>
                      <a:pt x="608" y="466"/>
                    </a:lnTo>
                    <a:lnTo>
                      <a:pt x="610" y="466"/>
                    </a:lnTo>
                    <a:lnTo>
                      <a:pt x="611" y="466"/>
                    </a:lnTo>
                    <a:lnTo>
                      <a:pt x="613" y="466"/>
                    </a:lnTo>
                    <a:lnTo>
                      <a:pt x="613" y="467"/>
                    </a:lnTo>
                    <a:lnTo>
                      <a:pt x="615" y="467"/>
                    </a:lnTo>
                    <a:lnTo>
                      <a:pt x="616" y="467"/>
                    </a:lnTo>
                    <a:lnTo>
                      <a:pt x="618" y="467"/>
                    </a:lnTo>
                    <a:lnTo>
                      <a:pt x="618" y="466"/>
                    </a:lnTo>
                    <a:lnTo>
                      <a:pt x="616" y="466"/>
                    </a:lnTo>
                    <a:lnTo>
                      <a:pt x="616" y="464"/>
                    </a:lnTo>
                    <a:lnTo>
                      <a:pt x="618" y="464"/>
                    </a:lnTo>
                    <a:lnTo>
                      <a:pt x="618" y="463"/>
                    </a:lnTo>
                    <a:lnTo>
                      <a:pt x="616" y="463"/>
                    </a:lnTo>
                    <a:lnTo>
                      <a:pt x="616" y="461"/>
                    </a:lnTo>
                    <a:lnTo>
                      <a:pt x="615" y="461"/>
                    </a:lnTo>
                    <a:lnTo>
                      <a:pt x="615" y="459"/>
                    </a:lnTo>
                    <a:lnTo>
                      <a:pt x="613" y="459"/>
                    </a:lnTo>
                    <a:lnTo>
                      <a:pt x="613" y="458"/>
                    </a:lnTo>
                    <a:lnTo>
                      <a:pt x="611" y="458"/>
                    </a:lnTo>
                    <a:lnTo>
                      <a:pt x="611" y="456"/>
                    </a:lnTo>
                    <a:lnTo>
                      <a:pt x="613" y="456"/>
                    </a:lnTo>
                    <a:lnTo>
                      <a:pt x="615" y="456"/>
                    </a:lnTo>
                    <a:lnTo>
                      <a:pt x="615" y="455"/>
                    </a:lnTo>
                    <a:lnTo>
                      <a:pt x="616" y="455"/>
                    </a:lnTo>
                    <a:lnTo>
                      <a:pt x="618" y="453"/>
                    </a:lnTo>
                    <a:close/>
                    <a:moveTo>
                      <a:pt x="630" y="405"/>
                    </a:moveTo>
                    <a:lnTo>
                      <a:pt x="630" y="407"/>
                    </a:lnTo>
                    <a:lnTo>
                      <a:pt x="629" y="407"/>
                    </a:lnTo>
                    <a:lnTo>
                      <a:pt x="627" y="407"/>
                    </a:lnTo>
                    <a:lnTo>
                      <a:pt x="627" y="409"/>
                    </a:lnTo>
                    <a:lnTo>
                      <a:pt x="627" y="410"/>
                    </a:lnTo>
                    <a:lnTo>
                      <a:pt x="626" y="410"/>
                    </a:lnTo>
                    <a:lnTo>
                      <a:pt x="624" y="410"/>
                    </a:lnTo>
                    <a:lnTo>
                      <a:pt x="622" y="410"/>
                    </a:lnTo>
                    <a:lnTo>
                      <a:pt x="622" y="412"/>
                    </a:lnTo>
                    <a:lnTo>
                      <a:pt x="621" y="412"/>
                    </a:lnTo>
                    <a:lnTo>
                      <a:pt x="621" y="413"/>
                    </a:lnTo>
                    <a:lnTo>
                      <a:pt x="619" y="413"/>
                    </a:lnTo>
                    <a:lnTo>
                      <a:pt x="618" y="413"/>
                    </a:lnTo>
                    <a:lnTo>
                      <a:pt x="616" y="415"/>
                    </a:lnTo>
                    <a:lnTo>
                      <a:pt x="616" y="417"/>
                    </a:lnTo>
                    <a:lnTo>
                      <a:pt x="615" y="417"/>
                    </a:lnTo>
                    <a:lnTo>
                      <a:pt x="615" y="418"/>
                    </a:lnTo>
                    <a:lnTo>
                      <a:pt x="616" y="418"/>
                    </a:lnTo>
                    <a:lnTo>
                      <a:pt x="618" y="420"/>
                    </a:lnTo>
                    <a:lnTo>
                      <a:pt x="619" y="420"/>
                    </a:lnTo>
                    <a:lnTo>
                      <a:pt x="621" y="420"/>
                    </a:lnTo>
                    <a:lnTo>
                      <a:pt x="621" y="421"/>
                    </a:lnTo>
                    <a:lnTo>
                      <a:pt x="621" y="423"/>
                    </a:lnTo>
                    <a:lnTo>
                      <a:pt x="622" y="423"/>
                    </a:lnTo>
                    <a:lnTo>
                      <a:pt x="622" y="424"/>
                    </a:lnTo>
                    <a:lnTo>
                      <a:pt x="624" y="424"/>
                    </a:lnTo>
                    <a:lnTo>
                      <a:pt x="624" y="426"/>
                    </a:lnTo>
                    <a:lnTo>
                      <a:pt x="626" y="426"/>
                    </a:lnTo>
                    <a:lnTo>
                      <a:pt x="627" y="426"/>
                    </a:lnTo>
                    <a:lnTo>
                      <a:pt x="629" y="426"/>
                    </a:lnTo>
                    <a:lnTo>
                      <a:pt x="629" y="424"/>
                    </a:lnTo>
                    <a:lnTo>
                      <a:pt x="630" y="424"/>
                    </a:lnTo>
                    <a:lnTo>
                      <a:pt x="632" y="424"/>
                    </a:lnTo>
                    <a:lnTo>
                      <a:pt x="634" y="424"/>
                    </a:lnTo>
                    <a:lnTo>
                      <a:pt x="634" y="423"/>
                    </a:lnTo>
                    <a:lnTo>
                      <a:pt x="635" y="423"/>
                    </a:lnTo>
                    <a:lnTo>
                      <a:pt x="637" y="423"/>
                    </a:lnTo>
                    <a:lnTo>
                      <a:pt x="637" y="421"/>
                    </a:lnTo>
                    <a:lnTo>
                      <a:pt x="638" y="421"/>
                    </a:lnTo>
                    <a:lnTo>
                      <a:pt x="640" y="421"/>
                    </a:lnTo>
                    <a:lnTo>
                      <a:pt x="641" y="421"/>
                    </a:lnTo>
                    <a:lnTo>
                      <a:pt x="641" y="420"/>
                    </a:lnTo>
                    <a:lnTo>
                      <a:pt x="643" y="420"/>
                    </a:lnTo>
                    <a:lnTo>
                      <a:pt x="643" y="418"/>
                    </a:lnTo>
                    <a:lnTo>
                      <a:pt x="643" y="417"/>
                    </a:lnTo>
                    <a:lnTo>
                      <a:pt x="641" y="417"/>
                    </a:lnTo>
                    <a:lnTo>
                      <a:pt x="640" y="417"/>
                    </a:lnTo>
                    <a:lnTo>
                      <a:pt x="640" y="415"/>
                    </a:lnTo>
                    <a:lnTo>
                      <a:pt x="638" y="415"/>
                    </a:lnTo>
                    <a:lnTo>
                      <a:pt x="638" y="413"/>
                    </a:lnTo>
                    <a:lnTo>
                      <a:pt x="637" y="413"/>
                    </a:lnTo>
                    <a:lnTo>
                      <a:pt x="635" y="413"/>
                    </a:lnTo>
                    <a:lnTo>
                      <a:pt x="635" y="412"/>
                    </a:lnTo>
                    <a:lnTo>
                      <a:pt x="635" y="410"/>
                    </a:lnTo>
                    <a:lnTo>
                      <a:pt x="635" y="409"/>
                    </a:lnTo>
                    <a:lnTo>
                      <a:pt x="634" y="409"/>
                    </a:lnTo>
                    <a:lnTo>
                      <a:pt x="634" y="407"/>
                    </a:lnTo>
                    <a:lnTo>
                      <a:pt x="632" y="407"/>
                    </a:lnTo>
                    <a:lnTo>
                      <a:pt x="630" y="405"/>
                    </a:lnTo>
                    <a:close/>
                    <a:moveTo>
                      <a:pt x="2371" y="293"/>
                    </a:moveTo>
                    <a:lnTo>
                      <a:pt x="2366" y="291"/>
                    </a:lnTo>
                    <a:lnTo>
                      <a:pt x="2362" y="295"/>
                    </a:lnTo>
                    <a:lnTo>
                      <a:pt x="2357" y="296"/>
                    </a:lnTo>
                    <a:lnTo>
                      <a:pt x="2352" y="299"/>
                    </a:lnTo>
                    <a:lnTo>
                      <a:pt x="2346" y="299"/>
                    </a:lnTo>
                    <a:lnTo>
                      <a:pt x="2343" y="295"/>
                    </a:lnTo>
                    <a:lnTo>
                      <a:pt x="2340" y="291"/>
                    </a:lnTo>
                    <a:lnTo>
                      <a:pt x="2335" y="291"/>
                    </a:lnTo>
                    <a:lnTo>
                      <a:pt x="2330" y="296"/>
                    </a:lnTo>
                    <a:lnTo>
                      <a:pt x="2328" y="298"/>
                    </a:lnTo>
                    <a:lnTo>
                      <a:pt x="2327" y="302"/>
                    </a:lnTo>
                    <a:lnTo>
                      <a:pt x="2322" y="309"/>
                    </a:lnTo>
                    <a:lnTo>
                      <a:pt x="2317" y="315"/>
                    </a:lnTo>
                    <a:lnTo>
                      <a:pt x="2316" y="322"/>
                    </a:lnTo>
                    <a:lnTo>
                      <a:pt x="2316" y="326"/>
                    </a:lnTo>
                    <a:lnTo>
                      <a:pt x="2314" y="331"/>
                    </a:lnTo>
                    <a:lnTo>
                      <a:pt x="2314" y="336"/>
                    </a:lnTo>
                    <a:lnTo>
                      <a:pt x="2316" y="339"/>
                    </a:lnTo>
                    <a:lnTo>
                      <a:pt x="2319" y="341"/>
                    </a:lnTo>
                    <a:lnTo>
                      <a:pt x="2324" y="339"/>
                    </a:lnTo>
                    <a:lnTo>
                      <a:pt x="2330" y="337"/>
                    </a:lnTo>
                    <a:lnTo>
                      <a:pt x="2333" y="337"/>
                    </a:lnTo>
                    <a:lnTo>
                      <a:pt x="2335" y="339"/>
                    </a:lnTo>
                    <a:lnTo>
                      <a:pt x="2338" y="342"/>
                    </a:lnTo>
                    <a:lnTo>
                      <a:pt x="2341" y="344"/>
                    </a:lnTo>
                    <a:lnTo>
                      <a:pt x="2346" y="344"/>
                    </a:lnTo>
                    <a:lnTo>
                      <a:pt x="2351" y="341"/>
                    </a:lnTo>
                    <a:lnTo>
                      <a:pt x="2355" y="341"/>
                    </a:lnTo>
                    <a:lnTo>
                      <a:pt x="2359" y="342"/>
                    </a:lnTo>
                    <a:lnTo>
                      <a:pt x="2362" y="347"/>
                    </a:lnTo>
                    <a:lnTo>
                      <a:pt x="2365" y="350"/>
                    </a:lnTo>
                    <a:lnTo>
                      <a:pt x="2370" y="350"/>
                    </a:lnTo>
                    <a:lnTo>
                      <a:pt x="2371" y="348"/>
                    </a:lnTo>
                    <a:lnTo>
                      <a:pt x="2373" y="348"/>
                    </a:lnTo>
                    <a:lnTo>
                      <a:pt x="2374" y="347"/>
                    </a:lnTo>
                    <a:lnTo>
                      <a:pt x="2378" y="342"/>
                    </a:lnTo>
                    <a:lnTo>
                      <a:pt x="2376" y="337"/>
                    </a:lnTo>
                    <a:lnTo>
                      <a:pt x="2374" y="334"/>
                    </a:lnTo>
                    <a:lnTo>
                      <a:pt x="2373" y="331"/>
                    </a:lnTo>
                    <a:lnTo>
                      <a:pt x="2371" y="328"/>
                    </a:lnTo>
                    <a:lnTo>
                      <a:pt x="2370" y="326"/>
                    </a:lnTo>
                    <a:lnTo>
                      <a:pt x="2371" y="322"/>
                    </a:lnTo>
                    <a:lnTo>
                      <a:pt x="2373" y="317"/>
                    </a:lnTo>
                    <a:lnTo>
                      <a:pt x="2374" y="314"/>
                    </a:lnTo>
                    <a:lnTo>
                      <a:pt x="2374" y="310"/>
                    </a:lnTo>
                    <a:lnTo>
                      <a:pt x="2373" y="307"/>
                    </a:lnTo>
                    <a:lnTo>
                      <a:pt x="2374" y="302"/>
                    </a:lnTo>
                    <a:lnTo>
                      <a:pt x="2376" y="299"/>
                    </a:lnTo>
                    <a:lnTo>
                      <a:pt x="2374" y="298"/>
                    </a:lnTo>
                    <a:lnTo>
                      <a:pt x="2374" y="296"/>
                    </a:lnTo>
                    <a:lnTo>
                      <a:pt x="2371" y="293"/>
                    </a:lnTo>
                    <a:close/>
                  </a:path>
                </a:pathLst>
              </a:custGeom>
              <a:solidFill>
                <a:srgbClr val="C9F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138"/>
              </a:p>
            </p:txBody>
          </p:sp>
          <p:sp>
            <p:nvSpPr>
              <p:cNvPr id="56" name="Freeform 54"/>
              <p:cNvSpPr>
                <a:spLocks/>
              </p:cNvSpPr>
              <p:nvPr/>
            </p:nvSpPr>
            <p:spPr bwMode="auto">
              <a:xfrm>
                <a:off x="3092" y="1963"/>
                <a:ext cx="1159" cy="483"/>
              </a:xfrm>
              <a:custGeom>
                <a:avLst/>
                <a:gdLst>
                  <a:gd name="T0" fmla="*/ 33 w 1159"/>
                  <a:gd name="T1" fmla="*/ 6 h 483"/>
                  <a:gd name="T2" fmla="*/ 55 w 1159"/>
                  <a:gd name="T3" fmla="*/ 13 h 483"/>
                  <a:gd name="T4" fmla="*/ 53 w 1159"/>
                  <a:gd name="T5" fmla="*/ 36 h 483"/>
                  <a:gd name="T6" fmla="*/ 52 w 1159"/>
                  <a:gd name="T7" fmla="*/ 55 h 483"/>
                  <a:gd name="T8" fmla="*/ 53 w 1159"/>
                  <a:gd name="T9" fmla="*/ 76 h 483"/>
                  <a:gd name="T10" fmla="*/ 41 w 1159"/>
                  <a:gd name="T11" fmla="*/ 87 h 483"/>
                  <a:gd name="T12" fmla="*/ 23 w 1159"/>
                  <a:gd name="T13" fmla="*/ 95 h 483"/>
                  <a:gd name="T14" fmla="*/ 4 w 1159"/>
                  <a:gd name="T15" fmla="*/ 98 h 483"/>
                  <a:gd name="T16" fmla="*/ 6 w 1159"/>
                  <a:gd name="T17" fmla="*/ 109 h 483"/>
                  <a:gd name="T18" fmla="*/ 23 w 1159"/>
                  <a:gd name="T19" fmla="*/ 116 h 483"/>
                  <a:gd name="T20" fmla="*/ 39 w 1159"/>
                  <a:gd name="T21" fmla="*/ 123 h 483"/>
                  <a:gd name="T22" fmla="*/ 38 w 1159"/>
                  <a:gd name="T23" fmla="*/ 146 h 483"/>
                  <a:gd name="T24" fmla="*/ 42 w 1159"/>
                  <a:gd name="T25" fmla="*/ 165 h 483"/>
                  <a:gd name="T26" fmla="*/ 50 w 1159"/>
                  <a:gd name="T27" fmla="*/ 180 h 483"/>
                  <a:gd name="T28" fmla="*/ 65 w 1159"/>
                  <a:gd name="T29" fmla="*/ 193 h 483"/>
                  <a:gd name="T30" fmla="*/ 80 w 1159"/>
                  <a:gd name="T31" fmla="*/ 193 h 483"/>
                  <a:gd name="T32" fmla="*/ 88 w 1159"/>
                  <a:gd name="T33" fmla="*/ 187 h 483"/>
                  <a:gd name="T34" fmla="*/ 101 w 1159"/>
                  <a:gd name="T35" fmla="*/ 192 h 483"/>
                  <a:gd name="T36" fmla="*/ 118 w 1159"/>
                  <a:gd name="T37" fmla="*/ 203 h 483"/>
                  <a:gd name="T38" fmla="*/ 118 w 1159"/>
                  <a:gd name="T39" fmla="*/ 217 h 483"/>
                  <a:gd name="T40" fmla="*/ 120 w 1159"/>
                  <a:gd name="T41" fmla="*/ 230 h 483"/>
                  <a:gd name="T42" fmla="*/ 126 w 1159"/>
                  <a:gd name="T43" fmla="*/ 239 h 483"/>
                  <a:gd name="T44" fmla="*/ 141 w 1159"/>
                  <a:gd name="T45" fmla="*/ 239 h 483"/>
                  <a:gd name="T46" fmla="*/ 152 w 1159"/>
                  <a:gd name="T47" fmla="*/ 228 h 483"/>
                  <a:gd name="T48" fmla="*/ 161 w 1159"/>
                  <a:gd name="T49" fmla="*/ 212 h 483"/>
                  <a:gd name="T50" fmla="*/ 168 w 1159"/>
                  <a:gd name="T51" fmla="*/ 199 h 483"/>
                  <a:gd name="T52" fmla="*/ 183 w 1159"/>
                  <a:gd name="T53" fmla="*/ 188 h 483"/>
                  <a:gd name="T54" fmla="*/ 204 w 1159"/>
                  <a:gd name="T55" fmla="*/ 177 h 483"/>
                  <a:gd name="T56" fmla="*/ 213 w 1159"/>
                  <a:gd name="T57" fmla="*/ 176 h 483"/>
                  <a:gd name="T58" fmla="*/ 218 w 1159"/>
                  <a:gd name="T59" fmla="*/ 195 h 483"/>
                  <a:gd name="T60" fmla="*/ 213 w 1159"/>
                  <a:gd name="T61" fmla="*/ 219 h 483"/>
                  <a:gd name="T62" fmla="*/ 207 w 1159"/>
                  <a:gd name="T63" fmla="*/ 234 h 483"/>
                  <a:gd name="T64" fmla="*/ 198 w 1159"/>
                  <a:gd name="T65" fmla="*/ 245 h 483"/>
                  <a:gd name="T66" fmla="*/ 187 w 1159"/>
                  <a:gd name="T67" fmla="*/ 255 h 483"/>
                  <a:gd name="T68" fmla="*/ 190 w 1159"/>
                  <a:gd name="T69" fmla="*/ 268 h 483"/>
                  <a:gd name="T70" fmla="*/ 209 w 1159"/>
                  <a:gd name="T71" fmla="*/ 269 h 483"/>
                  <a:gd name="T72" fmla="*/ 220 w 1159"/>
                  <a:gd name="T73" fmla="*/ 274 h 483"/>
                  <a:gd name="T74" fmla="*/ 229 w 1159"/>
                  <a:gd name="T75" fmla="*/ 282 h 483"/>
                  <a:gd name="T76" fmla="*/ 232 w 1159"/>
                  <a:gd name="T77" fmla="*/ 295 h 483"/>
                  <a:gd name="T78" fmla="*/ 237 w 1159"/>
                  <a:gd name="T79" fmla="*/ 302 h 483"/>
                  <a:gd name="T80" fmla="*/ 210 w 1159"/>
                  <a:gd name="T81" fmla="*/ 320 h 483"/>
                  <a:gd name="T82" fmla="*/ 179 w 1159"/>
                  <a:gd name="T83" fmla="*/ 344 h 483"/>
                  <a:gd name="T84" fmla="*/ 179 w 1159"/>
                  <a:gd name="T85" fmla="*/ 418 h 483"/>
                  <a:gd name="T86" fmla="*/ 210 w 1159"/>
                  <a:gd name="T87" fmla="*/ 482 h 483"/>
                  <a:gd name="T88" fmla="*/ 278 w 1159"/>
                  <a:gd name="T89" fmla="*/ 455 h 483"/>
                  <a:gd name="T90" fmla="*/ 323 w 1159"/>
                  <a:gd name="T91" fmla="*/ 367 h 483"/>
                  <a:gd name="T92" fmla="*/ 364 w 1159"/>
                  <a:gd name="T93" fmla="*/ 369 h 483"/>
                  <a:gd name="T94" fmla="*/ 397 w 1159"/>
                  <a:gd name="T95" fmla="*/ 437 h 483"/>
                  <a:gd name="T96" fmla="*/ 442 w 1159"/>
                  <a:gd name="T97" fmla="*/ 413 h 483"/>
                  <a:gd name="T98" fmla="*/ 510 w 1159"/>
                  <a:gd name="T99" fmla="*/ 323 h 483"/>
                  <a:gd name="T100" fmla="*/ 609 w 1159"/>
                  <a:gd name="T101" fmla="*/ 274 h 483"/>
                  <a:gd name="T102" fmla="*/ 627 w 1159"/>
                  <a:gd name="T103" fmla="*/ 309 h 483"/>
                  <a:gd name="T104" fmla="*/ 733 w 1159"/>
                  <a:gd name="T105" fmla="*/ 276 h 483"/>
                  <a:gd name="T106" fmla="*/ 809 w 1159"/>
                  <a:gd name="T107" fmla="*/ 266 h 483"/>
                  <a:gd name="T108" fmla="*/ 909 w 1159"/>
                  <a:gd name="T109" fmla="*/ 261 h 483"/>
                  <a:gd name="T110" fmla="*/ 991 w 1159"/>
                  <a:gd name="T111" fmla="*/ 263 h 483"/>
                  <a:gd name="T112" fmla="*/ 1032 w 1159"/>
                  <a:gd name="T113" fmla="*/ 214 h 483"/>
                  <a:gd name="T114" fmla="*/ 1086 w 1159"/>
                  <a:gd name="T115" fmla="*/ 203 h 483"/>
                  <a:gd name="T116" fmla="*/ 1124 w 1159"/>
                  <a:gd name="T117" fmla="*/ 282 h 483"/>
                  <a:gd name="T118" fmla="*/ 1153 w 1159"/>
                  <a:gd name="T119" fmla="*/ 369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59" h="483">
                    <a:moveTo>
                      <a:pt x="17" y="0"/>
                    </a:moveTo>
                    <a:lnTo>
                      <a:pt x="19" y="0"/>
                    </a:lnTo>
                    <a:lnTo>
                      <a:pt x="20" y="0"/>
                    </a:lnTo>
                    <a:lnTo>
                      <a:pt x="22" y="0"/>
                    </a:lnTo>
                    <a:lnTo>
                      <a:pt x="23" y="0"/>
                    </a:lnTo>
                    <a:lnTo>
                      <a:pt x="23" y="1"/>
                    </a:lnTo>
                    <a:lnTo>
                      <a:pt x="23" y="0"/>
                    </a:lnTo>
                    <a:lnTo>
                      <a:pt x="25" y="0"/>
                    </a:lnTo>
                    <a:lnTo>
                      <a:pt x="25" y="1"/>
                    </a:lnTo>
                    <a:lnTo>
                      <a:pt x="27" y="1"/>
                    </a:lnTo>
                    <a:lnTo>
                      <a:pt x="27" y="3"/>
                    </a:lnTo>
                    <a:lnTo>
                      <a:pt x="28" y="3"/>
                    </a:lnTo>
                    <a:lnTo>
                      <a:pt x="30" y="3"/>
                    </a:lnTo>
                    <a:lnTo>
                      <a:pt x="30" y="5"/>
                    </a:lnTo>
                    <a:lnTo>
                      <a:pt x="31" y="5"/>
                    </a:lnTo>
                    <a:lnTo>
                      <a:pt x="31" y="6"/>
                    </a:lnTo>
                    <a:lnTo>
                      <a:pt x="33" y="6"/>
                    </a:lnTo>
                    <a:lnTo>
                      <a:pt x="34" y="6"/>
                    </a:lnTo>
                    <a:lnTo>
                      <a:pt x="36" y="6"/>
                    </a:lnTo>
                    <a:lnTo>
                      <a:pt x="38" y="6"/>
                    </a:lnTo>
                    <a:lnTo>
                      <a:pt x="39" y="6"/>
                    </a:lnTo>
                    <a:lnTo>
                      <a:pt x="41" y="6"/>
                    </a:lnTo>
                    <a:lnTo>
                      <a:pt x="41" y="5"/>
                    </a:lnTo>
                    <a:lnTo>
                      <a:pt x="42" y="5"/>
                    </a:lnTo>
                    <a:lnTo>
                      <a:pt x="42" y="6"/>
                    </a:lnTo>
                    <a:lnTo>
                      <a:pt x="44" y="6"/>
                    </a:lnTo>
                    <a:lnTo>
                      <a:pt x="46" y="6"/>
                    </a:lnTo>
                    <a:lnTo>
                      <a:pt x="47" y="6"/>
                    </a:lnTo>
                    <a:lnTo>
                      <a:pt x="49" y="6"/>
                    </a:lnTo>
                    <a:lnTo>
                      <a:pt x="50" y="8"/>
                    </a:lnTo>
                    <a:lnTo>
                      <a:pt x="52" y="8"/>
                    </a:lnTo>
                    <a:lnTo>
                      <a:pt x="53" y="8"/>
                    </a:lnTo>
                    <a:lnTo>
                      <a:pt x="53" y="9"/>
                    </a:lnTo>
                    <a:lnTo>
                      <a:pt x="55" y="13"/>
                    </a:lnTo>
                    <a:lnTo>
                      <a:pt x="55" y="14"/>
                    </a:lnTo>
                    <a:lnTo>
                      <a:pt x="57" y="16"/>
                    </a:lnTo>
                    <a:lnTo>
                      <a:pt x="57" y="17"/>
                    </a:lnTo>
                    <a:lnTo>
                      <a:pt x="57" y="20"/>
                    </a:lnTo>
                    <a:lnTo>
                      <a:pt x="57" y="22"/>
                    </a:lnTo>
                    <a:lnTo>
                      <a:pt x="57" y="24"/>
                    </a:lnTo>
                    <a:lnTo>
                      <a:pt x="57" y="25"/>
                    </a:lnTo>
                    <a:lnTo>
                      <a:pt x="57" y="27"/>
                    </a:lnTo>
                    <a:lnTo>
                      <a:pt x="57" y="28"/>
                    </a:lnTo>
                    <a:lnTo>
                      <a:pt x="58" y="28"/>
                    </a:lnTo>
                    <a:lnTo>
                      <a:pt x="58" y="30"/>
                    </a:lnTo>
                    <a:lnTo>
                      <a:pt x="58" y="32"/>
                    </a:lnTo>
                    <a:lnTo>
                      <a:pt x="57" y="33"/>
                    </a:lnTo>
                    <a:lnTo>
                      <a:pt x="57" y="35"/>
                    </a:lnTo>
                    <a:lnTo>
                      <a:pt x="55" y="35"/>
                    </a:lnTo>
                    <a:lnTo>
                      <a:pt x="55" y="36"/>
                    </a:lnTo>
                    <a:lnTo>
                      <a:pt x="53" y="36"/>
                    </a:lnTo>
                    <a:lnTo>
                      <a:pt x="53" y="38"/>
                    </a:lnTo>
                    <a:lnTo>
                      <a:pt x="53" y="39"/>
                    </a:lnTo>
                    <a:lnTo>
                      <a:pt x="53" y="41"/>
                    </a:lnTo>
                    <a:lnTo>
                      <a:pt x="55" y="41"/>
                    </a:lnTo>
                    <a:lnTo>
                      <a:pt x="55" y="43"/>
                    </a:lnTo>
                    <a:lnTo>
                      <a:pt x="53" y="43"/>
                    </a:lnTo>
                    <a:lnTo>
                      <a:pt x="53" y="44"/>
                    </a:lnTo>
                    <a:lnTo>
                      <a:pt x="52" y="44"/>
                    </a:lnTo>
                    <a:lnTo>
                      <a:pt x="52" y="46"/>
                    </a:lnTo>
                    <a:lnTo>
                      <a:pt x="50" y="46"/>
                    </a:lnTo>
                    <a:lnTo>
                      <a:pt x="50" y="47"/>
                    </a:lnTo>
                    <a:lnTo>
                      <a:pt x="50" y="49"/>
                    </a:lnTo>
                    <a:lnTo>
                      <a:pt x="50" y="51"/>
                    </a:lnTo>
                    <a:lnTo>
                      <a:pt x="50" y="52"/>
                    </a:lnTo>
                    <a:lnTo>
                      <a:pt x="50" y="54"/>
                    </a:lnTo>
                    <a:lnTo>
                      <a:pt x="52" y="54"/>
                    </a:lnTo>
                    <a:lnTo>
                      <a:pt x="52" y="55"/>
                    </a:lnTo>
                    <a:lnTo>
                      <a:pt x="52" y="57"/>
                    </a:lnTo>
                    <a:lnTo>
                      <a:pt x="50" y="57"/>
                    </a:lnTo>
                    <a:lnTo>
                      <a:pt x="50" y="58"/>
                    </a:lnTo>
                    <a:lnTo>
                      <a:pt x="50" y="60"/>
                    </a:lnTo>
                    <a:lnTo>
                      <a:pt x="50" y="62"/>
                    </a:lnTo>
                    <a:lnTo>
                      <a:pt x="50" y="63"/>
                    </a:lnTo>
                    <a:lnTo>
                      <a:pt x="50" y="65"/>
                    </a:lnTo>
                    <a:lnTo>
                      <a:pt x="50" y="66"/>
                    </a:lnTo>
                    <a:lnTo>
                      <a:pt x="50" y="68"/>
                    </a:lnTo>
                    <a:lnTo>
                      <a:pt x="52" y="68"/>
                    </a:lnTo>
                    <a:lnTo>
                      <a:pt x="52" y="70"/>
                    </a:lnTo>
                    <a:lnTo>
                      <a:pt x="53" y="71"/>
                    </a:lnTo>
                    <a:lnTo>
                      <a:pt x="53" y="73"/>
                    </a:lnTo>
                    <a:lnTo>
                      <a:pt x="55" y="73"/>
                    </a:lnTo>
                    <a:lnTo>
                      <a:pt x="53" y="74"/>
                    </a:lnTo>
                    <a:lnTo>
                      <a:pt x="55" y="74"/>
                    </a:lnTo>
                    <a:lnTo>
                      <a:pt x="53" y="76"/>
                    </a:lnTo>
                    <a:lnTo>
                      <a:pt x="55" y="76"/>
                    </a:lnTo>
                    <a:lnTo>
                      <a:pt x="55" y="77"/>
                    </a:lnTo>
                    <a:lnTo>
                      <a:pt x="55" y="79"/>
                    </a:lnTo>
                    <a:lnTo>
                      <a:pt x="53" y="81"/>
                    </a:lnTo>
                    <a:lnTo>
                      <a:pt x="52" y="81"/>
                    </a:lnTo>
                    <a:lnTo>
                      <a:pt x="52" y="79"/>
                    </a:lnTo>
                    <a:lnTo>
                      <a:pt x="50" y="79"/>
                    </a:lnTo>
                    <a:lnTo>
                      <a:pt x="50" y="81"/>
                    </a:lnTo>
                    <a:lnTo>
                      <a:pt x="49" y="81"/>
                    </a:lnTo>
                    <a:lnTo>
                      <a:pt x="47" y="81"/>
                    </a:lnTo>
                    <a:lnTo>
                      <a:pt x="46" y="81"/>
                    </a:lnTo>
                    <a:lnTo>
                      <a:pt x="46" y="82"/>
                    </a:lnTo>
                    <a:lnTo>
                      <a:pt x="46" y="84"/>
                    </a:lnTo>
                    <a:lnTo>
                      <a:pt x="44" y="85"/>
                    </a:lnTo>
                    <a:lnTo>
                      <a:pt x="42" y="84"/>
                    </a:lnTo>
                    <a:lnTo>
                      <a:pt x="42" y="85"/>
                    </a:lnTo>
                    <a:lnTo>
                      <a:pt x="41" y="87"/>
                    </a:lnTo>
                    <a:lnTo>
                      <a:pt x="39" y="85"/>
                    </a:lnTo>
                    <a:lnTo>
                      <a:pt x="39" y="87"/>
                    </a:lnTo>
                    <a:lnTo>
                      <a:pt x="38" y="87"/>
                    </a:lnTo>
                    <a:lnTo>
                      <a:pt x="38" y="85"/>
                    </a:lnTo>
                    <a:lnTo>
                      <a:pt x="38" y="87"/>
                    </a:lnTo>
                    <a:lnTo>
                      <a:pt x="36" y="87"/>
                    </a:lnTo>
                    <a:lnTo>
                      <a:pt x="36" y="89"/>
                    </a:lnTo>
                    <a:lnTo>
                      <a:pt x="34" y="89"/>
                    </a:lnTo>
                    <a:lnTo>
                      <a:pt x="33" y="89"/>
                    </a:lnTo>
                    <a:lnTo>
                      <a:pt x="33" y="90"/>
                    </a:lnTo>
                    <a:lnTo>
                      <a:pt x="31" y="90"/>
                    </a:lnTo>
                    <a:lnTo>
                      <a:pt x="31" y="92"/>
                    </a:lnTo>
                    <a:lnTo>
                      <a:pt x="30" y="92"/>
                    </a:lnTo>
                    <a:lnTo>
                      <a:pt x="28" y="93"/>
                    </a:lnTo>
                    <a:lnTo>
                      <a:pt x="27" y="95"/>
                    </a:lnTo>
                    <a:lnTo>
                      <a:pt x="25" y="95"/>
                    </a:lnTo>
                    <a:lnTo>
                      <a:pt x="23" y="95"/>
                    </a:lnTo>
                    <a:lnTo>
                      <a:pt x="22" y="95"/>
                    </a:lnTo>
                    <a:lnTo>
                      <a:pt x="22" y="97"/>
                    </a:lnTo>
                    <a:lnTo>
                      <a:pt x="20" y="97"/>
                    </a:lnTo>
                    <a:lnTo>
                      <a:pt x="19" y="97"/>
                    </a:lnTo>
                    <a:lnTo>
                      <a:pt x="19" y="98"/>
                    </a:lnTo>
                    <a:lnTo>
                      <a:pt x="17" y="98"/>
                    </a:lnTo>
                    <a:lnTo>
                      <a:pt x="15" y="97"/>
                    </a:lnTo>
                    <a:lnTo>
                      <a:pt x="14" y="97"/>
                    </a:lnTo>
                    <a:lnTo>
                      <a:pt x="12" y="97"/>
                    </a:lnTo>
                    <a:lnTo>
                      <a:pt x="12" y="98"/>
                    </a:lnTo>
                    <a:lnTo>
                      <a:pt x="11" y="98"/>
                    </a:lnTo>
                    <a:lnTo>
                      <a:pt x="9" y="98"/>
                    </a:lnTo>
                    <a:lnTo>
                      <a:pt x="8" y="98"/>
                    </a:lnTo>
                    <a:lnTo>
                      <a:pt x="8" y="97"/>
                    </a:lnTo>
                    <a:lnTo>
                      <a:pt x="6" y="97"/>
                    </a:lnTo>
                    <a:lnTo>
                      <a:pt x="6" y="98"/>
                    </a:lnTo>
                    <a:lnTo>
                      <a:pt x="4" y="98"/>
                    </a:lnTo>
                    <a:lnTo>
                      <a:pt x="4" y="97"/>
                    </a:lnTo>
                    <a:lnTo>
                      <a:pt x="3" y="97"/>
                    </a:lnTo>
                    <a:lnTo>
                      <a:pt x="1" y="97"/>
                    </a:lnTo>
                    <a:lnTo>
                      <a:pt x="1" y="95"/>
                    </a:lnTo>
                    <a:lnTo>
                      <a:pt x="0" y="95"/>
                    </a:lnTo>
                    <a:lnTo>
                      <a:pt x="0" y="97"/>
                    </a:lnTo>
                    <a:lnTo>
                      <a:pt x="0" y="98"/>
                    </a:lnTo>
                    <a:lnTo>
                      <a:pt x="0" y="100"/>
                    </a:lnTo>
                    <a:lnTo>
                      <a:pt x="0" y="101"/>
                    </a:lnTo>
                    <a:lnTo>
                      <a:pt x="0" y="103"/>
                    </a:lnTo>
                    <a:lnTo>
                      <a:pt x="0" y="104"/>
                    </a:lnTo>
                    <a:lnTo>
                      <a:pt x="1" y="104"/>
                    </a:lnTo>
                    <a:lnTo>
                      <a:pt x="1" y="106"/>
                    </a:lnTo>
                    <a:lnTo>
                      <a:pt x="3" y="106"/>
                    </a:lnTo>
                    <a:lnTo>
                      <a:pt x="3" y="108"/>
                    </a:lnTo>
                    <a:lnTo>
                      <a:pt x="4" y="108"/>
                    </a:lnTo>
                    <a:lnTo>
                      <a:pt x="6" y="109"/>
                    </a:lnTo>
                    <a:lnTo>
                      <a:pt x="8" y="109"/>
                    </a:lnTo>
                    <a:lnTo>
                      <a:pt x="8" y="111"/>
                    </a:lnTo>
                    <a:lnTo>
                      <a:pt x="9" y="111"/>
                    </a:lnTo>
                    <a:lnTo>
                      <a:pt x="11" y="111"/>
                    </a:lnTo>
                    <a:lnTo>
                      <a:pt x="12" y="112"/>
                    </a:lnTo>
                    <a:lnTo>
                      <a:pt x="12" y="111"/>
                    </a:lnTo>
                    <a:lnTo>
                      <a:pt x="12" y="112"/>
                    </a:lnTo>
                    <a:lnTo>
                      <a:pt x="14" y="112"/>
                    </a:lnTo>
                    <a:lnTo>
                      <a:pt x="14" y="114"/>
                    </a:lnTo>
                    <a:lnTo>
                      <a:pt x="15" y="114"/>
                    </a:lnTo>
                    <a:lnTo>
                      <a:pt x="17" y="114"/>
                    </a:lnTo>
                    <a:lnTo>
                      <a:pt x="19" y="116"/>
                    </a:lnTo>
                    <a:lnTo>
                      <a:pt x="20" y="116"/>
                    </a:lnTo>
                    <a:lnTo>
                      <a:pt x="20" y="114"/>
                    </a:lnTo>
                    <a:lnTo>
                      <a:pt x="22" y="114"/>
                    </a:lnTo>
                    <a:lnTo>
                      <a:pt x="22" y="116"/>
                    </a:lnTo>
                    <a:lnTo>
                      <a:pt x="23" y="116"/>
                    </a:lnTo>
                    <a:lnTo>
                      <a:pt x="23" y="117"/>
                    </a:lnTo>
                    <a:lnTo>
                      <a:pt x="25" y="117"/>
                    </a:lnTo>
                    <a:lnTo>
                      <a:pt x="27" y="117"/>
                    </a:lnTo>
                    <a:lnTo>
                      <a:pt x="28" y="119"/>
                    </a:lnTo>
                    <a:lnTo>
                      <a:pt x="30" y="119"/>
                    </a:lnTo>
                    <a:lnTo>
                      <a:pt x="31" y="119"/>
                    </a:lnTo>
                    <a:lnTo>
                      <a:pt x="33" y="120"/>
                    </a:lnTo>
                    <a:lnTo>
                      <a:pt x="33" y="119"/>
                    </a:lnTo>
                    <a:lnTo>
                      <a:pt x="34" y="119"/>
                    </a:lnTo>
                    <a:lnTo>
                      <a:pt x="34" y="117"/>
                    </a:lnTo>
                    <a:lnTo>
                      <a:pt x="34" y="119"/>
                    </a:lnTo>
                    <a:lnTo>
                      <a:pt x="36" y="119"/>
                    </a:lnTo>
                    <a:lnTo>
                      <a:pt x="36" y="120"/>
                    </a:lnTo>
                    <a:lnTo>
                      <a:pt x="38" y="120"/>
                    </a:lnTo>
                    <a:lnTo>
                      <a:pt x="38" y="122"/>
                    </a:lnTo>
                    <a:lnTo>
                      <a:pt x="39" y="122"/>
                    </a:lnTo>
                    <a:lnTo>
                      <a:pt x="39" y="123"/>
                    </a:lnTo>
                    <a:lnTo>
                      <a:pt x="41" y="123"/>
                    </a:lnTo>
                    <a:lnTo>
                      <a:pt x="41" y="125"/>
                    </a:lnTo>
                    <a:lnTo>
                      <a:pt x="41" y="127"/>
                    </a:lnTo>
                    <a:lnTo>
                      <a:pt x="41" y="128"/>
                    </a:lnTo>
                    <a:lnTo>
                      <a:pt x="41" y="130"/>
                    </a:lnTo>
                    <a:lnTo>
                      <a:pt x="39" y="130"/>
                    </a:lnTo>
                    <a:lnTo>
                      <a:pt x="39" y="131"/>
                    </a:lnTo>
                    <a:lnTo>
                      <a:pt x="39" y="133"/>
                    </a:lnTo>
                    <a:lnTo>
                      <a:pt x="41" y="135"/>
                    </a:lnTo>
                    <a:lnTo>
                      <a:pt x="41" y="136"/>
                    </a:lnTo>
                    <a:lnTo>
                      <a:pt x="41" y="138"/>
                    </a:lnTo>
                    <a:lnTo>
                      <a:pt x="41" y="139"/>
                    </a:lnTo>
                    <a:lnTo>
                      <a:pt x="41" y="141"/>
                    </a:lnTo>
                    <a:lnTo>
                      <a:pt x="41" y="142"/>
                    </a:lnTo>
                    <a:lnTo>
                      <a:pt x="41" y="144"/>
                    </a:lnTo>
                    <a:lnTo>
                      <a:pt x="39" y="146"/>
                    </a:lnTo>
                    <a:lnTo>
                      <a:pt x="38" y="146"/>
                    </a:lnTo>
                    <a:lnTo>
                      <a:pt x="38" y="147"/>
                    </a:lnTo>
                    <a:lnTo>
                      <a:pt x="38" y="149"/>
                    </a:lnTo>
                    <a:lnTo>
                      <a:pt x="39" y="149"/>
                    </a:lnTo>
                    <a:lnTo>
                      <a:pt x="39" y="150"/>
                    </a:lnTo>
                    <a:lnTo>
                      <a:pt x="41" y="150"/>
                    </a:lnTo>
                    <a:lnTo>
                      <a:pt x="41" y="152"/>
                    </a:lnTo>
                    <a:lnTo>
                      <a:pt x="41" y="154"/>
                    </a:lnTo>
                    <a:lnTo>
                      <a:pt x="42" y="154"/>
                    </a:lnTo>
                    <a:lnTo>
                      <a:pt x="42" y="152"/>
                    </a:lnTo>
                    <a:lnTo>
                      <a:pt x="42" y="155"/>
                    </a:lnTo>
                    <a:lnTo>
                      <a:pt x="42" y="157"/>
                    </a:lnTo>
                    <a:lnTo>
                      <a:pt x="42" y="158"/>
                    </a:lnTo>
                    <a:lnTo>
                      <a:pt x="42" y="160"/>
                    </a:lnTo>
                    <a:lnTo>
                      <a:pt x="42" y="161"/>
                    </a:lnTo>
                    <a:lnTo>
                      <a:pt x="42" y="163"/>
                    </a:lnTo>
                    <a:lnTo>
                      <a:pt x="44" y="165"/>
                    </a:lnTo>
                    <a:lnTo>
                      <a:pt x="42" y="165"/>
                    </a:lnTo>
                    <a:lnTo>
                      <a:pt x="42" y="166"/>
                    </a:lnTo>
                    <a:lnTo>
                      <a:pt x="44" y="166"/>
                    </a:lnTo>
                    <a:lnTo>
                      <a:pt x="44" y="168"/>
                    </a:lnTo>
                    <a:lnTo>
                      <a:pt x="44" y="169"/>
                    </a:lnTo>
                    <a:lnTo>
                      <a:pt x="46" y="169"/>
                    </a:lnTo>
                    <a:lnTo>
                      <a:pt x="46" y="171"/>
                    </a:lnTo>
                    <a:lnTo>
                      <a:pt x="46" y="173"/>
                    </a:lnTo>
                    <a:lnTo>
                      <a:pt x="47" y="173"/>
                    </a:lnTo>
                    <a:lnTo>
                      <a:pt x="47" y="174"/>
                    </a:lnTo>
                    <a:lnTo>
                      <a:pt x="47" y="176"/>
                    </a:lnTo>
                    <a:lnTo>
                      <a:pt x="47" y="177"/>
                    </a:lnTo>
                    <a:lnTo>
                      <a:pt x="49" y="177"/>
                    </a:lnTo>
                    <a:lnTo>
                      <a:pt x="49" y="179"/>
                    </a:lnTo>
                    <a:lnTo>
                      <a:pt x="49" y="180"/>
                    </a:lnTo>
                    <a:lnTo>
                      <a:pt x="50" y="180"/>
                    </a:lnTo>
                    <a:lnTo>
                      <a:pt x="50" y="182"/>
                    </a:lnTo>
                    <a:lnTo>
                      <a:pt x="50" y="180"/>
                    </a:lnTo>
                    <a:lnTo>
                      <a:pt x="50" y="182"/>
                    </a:lnTo>
                    <a:lnTo>
                      <a:pt x="52" y="182"/>
                    </a:lnTo>
                    <a:lnTo>
                      <a:pt x="52" y="184"/>
                    </a:lnTo>
                    <a:lnTo>
                      <a:pt x="53" y="184"/>
                    </a:lnTo>
                    <a:lnTo>
                      <a:pt x="53" y="185"/>
                    </a:lnTo>
                    <a:lnTo>
                      <a:pt x="55" y="185"/>
                    </a:lnTo>
                    <a:lnTo>
                      <a:pt x="57" y="185"/>
                    </a:lnTo>
                    <a:lnTo>
                      <a:pt x="57" y="187"/>
                    </a:lnTo>
                    <a:lnTo>
                      <a:pt x="58" y="187"/>
                    </a:lnTo>
                    <a:lnTo>
                      <a:pt x="58" y="188"/>
                    </a:lnTo>
                    <a:lnTo>
                      <a:pt x="60" y="188"/>
                    </a:lnTo>
                    <a:lnTo>
                      <a:pt x="60" y="190"/>
                    </a:lnTo>
                    <a:lnTo>
                      <a:pt x="60" y="192"/>
                    </a:lnTo>
                    <a:lnTo>
                      <a:pt x="61" y="192"/>
                    </a:lnTo>
                    <a:lnTo>
                      <a:pt x="63" y="192"/>
                    </a:lnTo>
                    <a:lnTo>
                      <a:pt x="63" y="193"/>
                    </a:lnTo>
                    <a:lnTo>
                      <a:pt x="65" y="193"/>
                    </a:lnTo>
                    <a:lnTo>
                      <a:pt x="65" y="195"/>
                    </a:lnTo>
                    <a:lnTo>
                      <a:pt x="66" y="195"/>
                    </a:lnTo>
                    <a:lnTo>
                      <a:pt x="68" y="195"/>
                    </a:lnTo>
                    <a:lnTo>
                      <a:pt x="68" y="196"/>
                    </a:lnTo>
                    <a:lnTo>
                      <a:pt x="69" y="196"/>
                    </a:lnTo>
                    <a:lnTo>
                      <a:pt x="69" y="198"/>
                    </a:lnTo>
                    <a:lnTo>
                      <a:pt x="71" y="198"/>
                    </a:lnTo>
                    <a:lnTo>
                      <a:pt x="72" y="198"/>
                    </a:lnTo>
                    <a:lnTo>
                      <a:pt x="74" y="198"/>
                    </a:lnTo>
                    <a:lnTo>
                      <a:pt x="76" y="196"/>
                    </a:lnTo>
                    <a:lnTo>
                      <a:pt x="76" y="195"/>
                    </a:lnTo>
                    <a:lnTo>
                      <a:pt x="77" y="195"/>
                    </a:lnTo>
                    <a:lnTo>
                      <a:pt x="77" y="193"/>
                    </a:lnTo>
                    <a:lnTo>
                      <a:pt x="79" y="193"/>
                    </a:lnTo>
                    <a:lnTo>
                      <a:pt x="79" y="192"/>
                    </a:lnTo>
                    <a:lnTo>
                      <a:pt x="80" y="192"/>
                    </a:lnTo>
                    <a:lnTo>
                      <a:pt x="80" y="193"/>
                    </a:lnTo>
                    <a:lnTo>
                      <a:pt x="82" y="193"/>
                    </a:lnTo>
                    <a:lnTo>
                      <a:pt x="82" y="195"/>
                    </a:lnTo>
                    <a:lnTo>
                      <a:pt x="84" y="195"/>
                    </a:lnTo>
                    <a:lnTo>
                      <a:pt x="84" y="196"/>
                    </a:lnTo>
                    <a:lnTo>
                      <a:pt x="85" y="196"/>
                    </a:lnTo>
                    <a:lnTo>
                      <a:pt x="87" y="198"/>
                    </a:lnTo>
                    <a:lnTo>
                      <a:pt x="88" y="196"/>
                    </a:lnTo>
                    <a:lnTo>
                      <a:pt x="87" y="196"/>
                    </a:lnTo>
                    <a:lnTo>
                      <a:pt x="87" y="195"/>
                    </a:lnTo>
                    <a:lnTo>
                      <a:pt x="87" y="193"/>
                    </a:lnTo>
                    <a:lnTo>
                      <a:pt x="85" y="193"/>
                    </a:lnTo>
                    <a:lnTo>
                      <a:pt x="85" y="192"/>
                    </a:lnTo>
                    <a:lnTo>
                      <a:pt x="85" y="190"/>
                    </a:lnTo>
                    <a:lnTo>
                      <a:pt x="85" y="188"/>
                    </a:lnTo>
                    <a:lnTo>
                      <a:pt x="87" y="188"/>
                    </a:lnTo>
                    <a:lnTo>
                      <a:pt x="87" y="187"/>
                    </a:lnTo>
                    <a:lnTo>
                      <a:pt x="88" y="187"/>
                    </a:lnTo>
                    <a:lnTo>
                      <a:pt x="88" y="185"/>
                    </a:lnTo>
                    <a:lnTo>
                      <a:pt x="90" y="185"/>
                    </a:lnTo>
                    <a:lnTo>
                      <a:pt x="90" y="184"/>
                    </a:lnTo>
                    <a:lnTo>
                      <a:pt x="91" y="182"/>
                    </a:lnTo>
                    <a:lnTo>
                      <a:pt x="93" y="184"/>
                    </a:lnTo>
                    <a:lnTo>
                      <a:pt x="93" y="185"/>
                    </a:lnTo>
                    <a:lnTo>
                      <a:pt x="95" y="185"/>
                    </a:lnTo>
                    <a:lnTo>
                      <a:pt x="95" y="187"/>
                    </a:lnTo>
                    <a:lnTo>
                      <a:pt x="96" y="187"/>
                    </a:lnTo>
                    <a:lnTo>
                      <a:pt x="98" y="187"/>
                    </a:lnTo>
                    <a:lnTo>
                      <a:pt x="99" y="187"/>
                    </a:lnTo>
                    <a:lnTo>
                      <a:pt x="99" y="188"/>
                    </a:lnTo>
                    <a:lnTo>
                      <a:pt x="101" y="188"/>
                    </a:lnTo>
                    <a:lnTo>
                      <a:pt x="101" y="190"/>
                    </a:lnTo>
                    <a:lnTo>
                      <a:pt x="103" y="190"/>
                    </a:lnTo>
                    <a:lnTo>
                      <a:pt x="101" y="190"/>
                    </a:lnTo>
                    <a:lnTo>
                      <a:pt x="101" y="192"/>
                    </a:lnTo>
                    <a:lnTo>
                      <a:pt x="103" y="192"/>
                    </a:lnTo>
                    <a:lnTo>
                      <a:pt x="103" y="193"/>
                    </a:lnTo>
                    <a:lnTo>
                      <a:pt x="103" y="195"/>
                    </a:lnTo>
                    <a:lnTo>
                      <a:pt x="103" y="196"/>
                    </a:lnTo>
                    <a:lnTo>
                      <a:pt x="104" y="198"/>
                    </a:lnTo>
                    <a:lnTo>
                      <a:pt x="106" y="198"/>
                    </a:lnTo>
                    <a:lnTo>
                      <a:pt x="106" y="199"/>
                    </a:lnTo>
                    <a:lnTo>
                      <a:pt x="107" y="199"/>
                    </a:lnTo>
                    <a:lnTo>
                      <a:pt x="109" y="199"/>
                    </a:lnTo>
                    <a:lnTo>
                      <a:pt x="109" y="201"/>
                    </a:lnTo>
                    <a:lnTo>
                      <a:pt x="110" y="201"/>
                    </a:lnTo>
                    <a:lnTo>
                      <a:pt x="112" y="201"/>
                    </a:lnTo>
                    <a:lnTo>
                      <a:pt x="114" y="201"/>
                    </a:lnTo>
                    <a:lnTo>
                      <a:pt x="115" y="201"/>
                    </a:lnTo>
                    <a:lnTo>
                      <a:pt x="115" y="203"/>
                    </a:lnTo>
                    <a:lnTo>
                      <a:pt x="117" y="203"/>
                    </a:lnTo>
                    <a:lnTo>
                      <a:pt x="118" y="203"/>
                    </a:lnTo>
                    <a:lnTo>
                      <a:pt x="120" y="203"/>
                    </a:lnTo>
                    <a:lnTo>
                      <a:pt x="122" y="203"/>
                    </a:lnTo>
                    <a:lnTo>
                      <a:pt x="122" y="204"/>
                    </a:lnTo>
                    <a:lnTo>
                      <a:pt x="122" y="206"/>
                    </a:lnTo>
                    <a:lnTo>
                      <a:pt x="122" y="207"/>
                    </a:lnTo>
                    <a:lnTo>
                      <a:pt x="120" y="207"/>
                    </a:lnTo>
                    <a:lnTo>
                      <a:pt x="120" y="209"/>
                    </a:lnTo>
                    <a:lnTo>
                      <a:pt x="122" y="209"/>
                    </a:lnTo>
                    <a:lnTo>
                      <a:pt x="120" y="209"/>
                    </a:lnTo>
                    <a:lnTo>
                      <a:pt x="120" y="211"/>
                    </a:lnTo>
                    <a:lnTo>
                      <a:pt x="120" y="212"/>
                    </a:lnTo>
                    <a:lnTo>
                      <a:pt x="122" y="212"/>
                    </a:lnTo>
                    <a:lnTo>
                      <a:pt x="122" y="214"/>
                    </a:lnTo>
                    <a:lnTo>
                      <a:pt x="122" y="215"/>
                    </a:lnTo>
                    <a:lnTo>
                      <a:pt x="120" y="215"/>
                    </a:lnTo>
                    <a:lnTo>
                      <a:pt x="120" y="217"/>
                    </a:lnTo>
                    <a:lnTo>
                      <a:pt x="118" y="217"/>
                    </a:lnTo>
                    <a:lnTo>
                      <a:pt x="117" y="217"/>
                    </a:lnTo>
                    <a:lnTo>
                      <a:pt x="117" y="219"/>
                    </a:lnTo>
                    <a:lnTo>
                      <a:pt x="117" y="220"/>
                    </a:lnTo>
                    <a:lnTo>
                      <a:pt x="117" y="222"/>
                    </a:lnTo>
                    <a:lnTo>
                      <a:pt x="115" y="222"/>
                    </a:lnTo>
                    <a:lnTo>
                      <a:pt x="115" y="223"/>
                    </a:lnTo>
                    <a:lnTo>
                      <a:pt x="114" y="223"/>
                    </a:lnTo>
                    <a:lnTo>
                      <a:pt x="112" y="223"/>
                    </a:lnTo>
                    <a:lnTo>
                      <a:pt x="112" y="225"/>
                    </a:lnTo>
                    <a:lnTo>
                      <a:pt x="112" y="226"/>
                    </a:lnTo>
                    <a:lnTo>
                      <a:pt x="114" y="226"/>
                    </a:lnTo>
                    <a:lnTo>
                      <a:pt x="114" y="228"/>
                    </a:lnTo>
                    <a:lnTo>
                      <a:pt x="115" y="228"/>
                    </a:lnTo>
                    <a:lnTo>
                      <a:pt x="117" y="228"/>
                    </a:lnTo>
                    <a:lnTo>
                      <a:pt x="118" y="228"/>
                    </a:lnTo>
                    <a:lnTo>
                      <a:pt x="118" y="230"/>
                    </a:lnTo>
                    <a:lnTo>
                      <a:pt x="120" y="230"/>
                    </a:lnTo>
                    <a:lnTo>
                      <a:pt x="120" y="231"/>
                    </a:lnTo>
                    <a:lnTo>
                      <a:pt x="118" y="233"/>
                    </a:lnTo>
                    <a:lnTo>
                      <a:pt x="118" y="234"/>
                    </a:lnTo>
                    <a:lnTo>
                      <a:pt x="117" y="234"/>
                    </a:lnTo>
                    <a:lnTo>
                      <a:pt x="117" y="236"/>
                    </a:lnTo>
                    <a:lnTo>
                      <a:pt x="117" y="238"/>
                    </a:lnTo>
                    <a:lnTo>
                      <a:pt x="117" y="239"/>
                    </a:lnTo>
                    <a:lnTo>
                      <a:pt x="118" y="239"/>
                    </a:lnTo>
                    <a:lnTo>
                      <a:pt x="120" y="239"/>
                    </a:lnTo>
                    <a:lnTo>
                      <a:pt x="120" y="241"/>
                    </a:lnTo>
                    <a:lnTo>
                      <a:pt x="122" y="241"/>
                    </a:lnTo>
                    <a:lnTo>
                      <a:pt x="122" y="242"/>
                    </a:lnTo>
                    <a:lnTo>
                      <a:pt x="123" y="242"/>
                    </a:lnTo>
                    <a:lnTo>
                      <a:pt x="125" y="242"/>
                    </a:lnTo>
                    <a:lnTo>
                      <a:pt x="126" y="242"/>
                    </a:lnTo>
                    <a:lnTo>
                      <a:pt x="126" y="241"/>
                    </a:lnTo>
                    <a:lnTo>
                      <a:pt x="126" y="239"/>
                    </a:lnTo>
                    <a:lnTo>
                      <a:pt x="128" y="239"/>
                    </a:lnTo>
                    <a:lnTo>
                      <a:pt x="128" y="241"/>
                    </a:lnTo>
                    <a:lnTo>
                      <a:pt x="129" y="241"/>
                    </a:lnTo>
                    <a:lnTo>
                      <a:pt x="129" y="239"/>
                    </a:lnTo>
                    <a:lnTo>
                      <a:pt x="131" y="239"/>
                    </a:lnTo>
                    <a:lnTo>
                      <a:pt x="131" y="238"/>
                    </a:lnTo>
                    <a:lnTo>
                      <a:pt x="133" y="238"/>
                    </a:lnTo>
                    <a:lnTo>
                      <a:pt x="133" y="239"/>
                    </a:lnTo>
                    <a:lnTo>
                      <a:pt x="134" y="239"/>
                    </a:lnTo>
                    <a:lnTo>
                      <a:pt x="134" y="241"/>
                    </a:lnTo>
                    <a:lnTo>
                      <a:pt x="136" y="241"/>
                    </a:lnTo>
                    <a:lnTo>
                      <a:pt x="136" y="242"/>
                    </a:lnTo>
                    <a:lnTo>
                      <a:pt x="137" y="242"/>
                    </a:lnTo>
                    <a:lnTo>
                      <a:pt x="139" y="242"/>
                    </a:lnTo>
                    <a:lnTo>
                      <a:pt x="141" y="242"/>
                    </a:lnTo>
                    <a:lnTo>
                      <a:pt x="141" y="241"/>
                    </a:lnTo>
                    <a:lnTo>
                      <a:pt x="141" y="239"/>
                    </a:lnTo>
                    <a:lnTo>
                      <a:pt x="141" y="238"/>
                    </a:lnTo>
                    <a:lnTo>
                      <a:pt x="141" y="236"/>
                    </a:lnTo>
                    <a:lnTo>
                      <a:pt x="141" y="234"/>
                    </a:lnTo>
                    <a:lnTo>
                      <a:pt x="142" y="234"/>
                    </a:lnTo>
                    <a:lnTo>
                      <a:pt x="144" y="234"/>
                    </a:lnTo>
                    <a:lnTo>
                      <a:pt x="145" y="234"/>
                    </a:lnTo>
                    <a:lnTo>
                      <a:pt x="147" y="234"/>
                    </a:lnTo>
                    <a:lnTo>
                      <a:pt x="147" y="233"/>
                    </a:lnTo>
                    <a:lnTo>
                      <a:pt x="148" y="233"/>
                    </a:lnTo>
                    <a:lnTo>
                      <a:pt x="147" y="233"/>
                    </a:lnTo>
                    <a:lnTo>
                      <a:pt x="147" y="231"/>
                    </a:lnTo>
                    <a:lnTo>
                      <a:pt x="147" y="230"/>
                    </a:lnTo>
                    <a:lnTo>
                      <a:pt x="148" y="230"/>
                    </a:lnTo>
                    <a:lnTo>
                      <a:pt x="150" y="230"/>
                    </a:lnTo>
                    <a:lnTo>
                      <a:pt x="150" y="228"/>
                    </a:lnTo>
                    <a:lnTo>
                      <a:pt x="152" y="226"/>
                    </a:lnTo>
                    <a:lnTo>
                      <a:pt x="152" y="228"/>
                    </a:lnTo>
                    <a:lnTo>
                      <a:pt x="152" y="226"/>
                    </a:lnTo>
                    <a:lnTo>
                      <a:pt x="153" y="226"/>
                    </a:lnTo>
                    <a:lnTo>
                      <a:pt x="152" y="225"/>
                    </a:lnTo>
                    <a:lnTo>
                      <a:pt x="152" y="223"/>
                    </a:lnTo>
                    <a:lnTo>
                      <a:pt x="153" y="223"/>
                    </a:lnTo>
                    <a:lnTo>
                      <a:pt x="153" y="222"/>
                    </a:lnTo>
                    <a:lnTo>
                      <a:pt x="155" y="222"/>
                    </a:lnTo>
                    <a:lnTo>
                      <a:pt x="156" y="222"/>
                    </a:lnTo>
                    <a:lnTo>
                      <a:pt x="158" y="222"/>
                    </a:lnTo>
                    <a:lnTo>
                      <a:pt x="158" y="220"/>
                    </a:lnTo>
                    <a:lnTo>
                      <a:pt x="158" y="219"/>
                    </a:lnTo>
                    <a:lnTo>
                      <a:pt x="160" y="219"/>
                    </a:lnTo>
                    <a:lnTo>
                      <a:pt x="160" y="217"/>
                    </a:lnTo>
                    <a:lnTo>
                      <a:pt x="160" y="215"/>
                    </a:lnTo>
                    <a:lnTo>
                      <a:pt x="161" y="215"/>
                    </a:lnTo>
                    <a:lnTo>
                      <a:pt x="161" y="214"/>
                    </a:lnTo>
                    <a:lnTo>
                      <a:pt x="161" y="212"/>
                    </a:lnTo>
                    <a:lnTo>
                      <a:pt x="163" y="212"/>
                    </a:lnTo>
                    <a:lnTo>
                      <a:pt x="163" y="211"/>
                    </a:lnTo>
                    <a:lnTo>
                      <a:pt x="163" y="209"/>
                    </a:lnTo>
                    <a:lnTo>
                      <a:pt x="161" y="209"/>
                    </a:lnTo>
                    <a:lnTo>
                      <a:pt x="161" y="207"/>
                    </a:lnTo>
                    <a:lnTo>
                      <a:pt x="160" y="207"/>
                    </a:lnTo>
                    <a:lnTo>
                      <a:pt x="161" y="207"/>
                    </a:lnTo>
                    <a:lnTo>
                      <a:pt x="163" y="207"/>
                    </a:lnTo>
                    <a:lnTo>
                      <a:pt x="163" y="206"/>
                    </a:lnTo>
                    <a:lnTo>
                      <a:pt x="164" y="207"/>
                    </a:lnTo>
                    <a:lnTo>
                      <a:pt x="164" y="206"/>
                    </a:lnTo>
                    <a:lnTo>
                      <a:pt x="164" y="204"/>
                    </a:lnTo>
                    <a:lnTo>
                      <a:pt x="164" y="203"/>
                    </a:lnTo>
                    <a:lnTo>
                      <a:pt x="166" y="203"/>
                    </a:lnTo>
                    <a:lnTo>
                      <a:pt x="166" y="201"/>
                    </a:lnTo>
                    <a:lnTo>
                      <a:pt x="168" y="201"/>
                    </a:lnTo>
                    <a:lnTo>
                      <a:pt x="168" y="199"/>
                    </a:lnTo>
                    <a:lnTo>
                      <a:pt x="169" y="199"/>
                    </a:lnTo>
                    <a:lnTo>
                      <a:pt x="171" y="199"/>
                    </a:lnTo>
                    <a:lnTo>
                      <a:pt x="172" y="199"/>
                    </a:lnTo>
                    <a:lnTo>
                      <a:pt x="172" y="198"/>
                    </a:lnTo>
                    <a:lnTo>
                      <a:pt x="172" y="196"/>
                    </a:lnTo>
                    <a:lnTo>
                      <a:pt x="174" y="195"/>
                    </a:lnTo>
                    <a:lnTo>
                      <a:pt x="174" y="193"/>
                    </a:lnTo>
                    <a:lnTo>
                      <a:pt x="174" y="192"/>
                    </a:lnTo>
                    <a:lnTo>
                      <a:pt x="175" y="192"/>
                    </a:lnTo>
                    <a:lnTo>
                      <a:pt x="175" y="190"/>
                    </a:lnTo>
                    <a:lnTo>
                      <a:pt x="177" y="188"/>
                    </a:lnTo>
                    <a:lnTo>
                      <a:pt x="179" y="190"/>
                    </a:lnTo>
                    <a:lnTo>
                      <a:pt x="180" y="190"/>
                    </a:lnTo>
                    <a:lnTo>
                      <a:pt x="180" y="192"/>
                    </a:lnTo>
                    <a:lnTo>
                      <a:pt x="182" y="192"/>
                    </a:lnTo>
                    <a:lnTo>
                      <a:pt x="183" y="190"/>
                    </a:lnTo>
                    <a:lnTo>
                      <a:pt x="183" y="188"/>
                    </a:lnTo>
                    <a:lnTo>
                      <a:pt x="183" y="187"/>
                    </a:lnTo>
                    <a:lnTo>
                      <a:pt x="185" y="187"/>
                    </a:lnTo>
                    <a:lnTo>
                      <a:pt x="185" y="185"/>
                    </a:lnTo>
                    <a:lnTo>
                      <a:pt x="187" y="185"/>
                    </a:lnTo>
                    <a:lnTo>
                      <a:pt x="187" y="184"/>
                    </a:lnTo>
                    <a:lnTo>
                      <a:pt x="188" y="184"/>
                    </a:lnTo>
                    <a:lnTo>
                      <a:pt x="190" y="184"/>
                    </a:lnTo>
                    <a:lnTo>
                      <a:pt x="190" y="182"/>
                    </a:lnTo>
                    <a:lnTo>
                      <a:pt x="191" y="182"/>
                    </a:lnTo>
                    <a:lnTo>
                      <a:pt x="191" y="180"/>
                    </a:lnTo>
                    <a:lnTo>
                      <a:pt x="193" y="180"/>
                    </a:lnTo>
                    <a:lnTo>
                      <a:pt x="194" y="182"/>
                    </a:lnTo>
                    <a:lnTo>
                      <a:pt x="202" y="182"/>
                    </a:lnTo>
                    <a:lnTo>
                      <a:pt x="202" y="180"/>
                    </a:lnTo>
                    <a:lnTo>
                      <a:pt x="202" y="179"/>
                    </a:lnTo>
                    <a:lnTo>
                      <a:pt x="204" y="179"/>
                    </a:lnTo>
                    <a:lnTo>
                      <a:pt x="204" y="177"/>
                    </a:lnTo>
                    <a:lnTo>
                      <a:pt x="202" y="177"/>
                    </a:lnTo>
                    <a:lnTo>
                      <a:pt x="201" y="177"/>
                    </a:lnTo>
                    <a:lnTo>
                      <a:pt x="199" y="177"/>
                    </a:lnTo>
                    <a:lnTo>
                      <a:pt x="198" y="177"/>
                    </a:lnTo>
                    <a:lnTo>
                      <a:pt x="198" y="176"/>
                    </a:lnTo>
                    <a:lnTo>
                      <a:pt x="199" y="174"/>
                    </a:lnTo>
                    <a:lnTo>
                      <a:pt x="201" y="174"/>
                    </a:lnTo>
                    <a:lnTo>
                      <a:pt x="201" y="176"/>
                    </a:lnTo>
                    <a:lnTo>
                      <a:pt x="202" y="176"/>
                    </a:lnTo>
                    <a:lnTo>
                      <a:pt x="202" y="174"/>
                    </a:lnTo>
                    <a:lnTo>
                      <a:pt x="204" y="174"/>
                    </a:lnTo>
                    <a:lnTo>
                      <a:pt x="206" y="174"/>
                    </a:lnTo>
                    <a:lnTo>
                      <a:pt x="207" y="173"/>
                    </a:lnTo>
                    <a:lnTo>
                      <a:pt x="209" y="173"/>
                    </a:lnTo>
                    <a:lnTo>
                      <a:pt x="210" y="173"/>
                    </a:lnTo>
                    <a:lnTo>
                      <a:pt x="212" y="174"/>
                    </a:lnTo>
                    <a:lnTo>
                      <a:pt x="213" y="176"/>
                    </a:lnTo>
                    <a:lnTo>
                      <a:pt x="213" y="177"/>
                    </a:lnTo>
                    <a:lnTo>
                      <a:pt x="215" y="177"/>
                    </a:lnTo>
                    <a:lnTo>
                      <a:pt x="213" y="179"/>
                    </a:lnTo>
                    <a:lnTo>
                      <a:pt x="213" y="180"/>
                    </a:lnTo>
                    <a:lnTo>
                      <a:pt x="215" y="180"/>
                    </a:lnTo>
                    <a:lnTo>
                      <a:pt x="215" y="182"/>
                    </a:lnTo>
                    <a:lnTo>
                      <a:pt x="215" y="184"/>
                    </a:lnTo>
                    <a:lnTo>
                      <a:pt x="217" y="184"/>
                    </a:lnTo>
                    <a:lnTo>
                      <a:pt x="217" y="185"/>
                    </a:lnTo>
                    <a:lnTo>
                      <a:pt x="217" y="187"/>
                    </a:lnTo>
                    <a:lnTo>
                      <a:pt x="218" y="187"/>
                    </a:lnTo>
                    <a:lnTo>
                      <a:pt x="218" y="188"/>
                    </a:lnTo>
                    <a:lnTo>
                      <a:pt x="218" y="190"/>
                    </a:lnTo>
                    <a:lnTo>
                      <a:pt x="218" y="192"/>
                    </a:lnTo>
                    <a:lnTo>
                      <a:pt x="218" y="193"/>
                    </a:lnTo>
                    <a:lnTo>
                      <a:pt x="220" y="195"/>
                    </a:lnTo>
                    <a:lnTo>
                      <a:pt x="218" y="195"/>
                    </a:lnTo>
                    <a:lnTo>
                      <a:pt x="218" y="196"/>
                    </a:lnTo>
                    <a:lnTo>
                      <a:pt x="217" y="196"/>
                    </a:lnTo>
                    <a:lnTo>
                      <a:pt x="215" y="198"/>
                    </a:lnTo>
                    <a:lnTo>
                      <a:pt x="215" y="199"/>
                    </a:lnTo>
                    <a:lnTo>
                      <a:pt x="215" y="201"/>
                    </a:lnTo>
                    <a:lnTo>
                      <a:pt x="213" y="201"/>
                    </a:lnTo>
                    <a:lnTo>
                      <a:pt x="213" y="203"/>
                    </a:lnTo>
                    <a:lnTo>
                      <a:pt x="213" y="204"/>
                    </a:lnTo>
                    <a:lnTo>
                      <a:pt x="213" y="206"/>
                    </a:lnTo>
                    <a:lnTo>
                      <a:pt x="213" y="207"/>
                    </a:lnTo>
                    <a:lnTo>
                      <a:pt x="213" y="209"/>
                    </a:lnTo>
                    <a:lnTo>
                      <a:pt x="213" y="211"/>
                    </a:lnTo>
                    <a:lnTo>
                      <a:pt x="213" y="212"/>
                    </a:lnTo>
                    <a:lnTo>
                      <a:pt x="213" y="214"/>
                    </a:lnTo>
                    <a:lnTo>
                      <a:pt x="213" y="215"/>
                    </a:lnTo>
                    <a:lnTo>
                      <a:pt x="213" y="217"/>
                    </a:lnTo>
                    <a:lnTo>
                      <a:pt x="213" y="219"/>
                    </a:lnTo>
                    <a:lnTo>
                      <a:pt x="212" y="219"/>
                    </a:lnTo>
                    <a:lnTo>
                      <a:pt x="212" y="220"/>
                    </a:lnTo>
                    <a:lnTo>
                      <a:pt x="212" y="222"/>
                    </a:lnTo>
                    <a:lnTo>
                      <a:pt x="212" y="223"/>
                    </a:lnTo>
                    <a:lnTo>
                      <a:pt x="212" y="225"/>
                    </a:lnTo>
                    <a:lnTo>
                      <a:pt x="212" y="226"/>
                    </a:lnTo>
                    <a:lnTo>
                      <a:pt x="210" y="226"/>
                    </a:lnTo>
                    <a:lnTo>
                      <a:pt x="210" y="228"/>
                    </a:lnTo>
                    <a:lnTo>
                      <a:pt x="210" y="230"/>
                    </a:lnTo>
                    <a:lnTo>
                      <a:pt x="212" y="230"/>
                    </a:lnTo>
                    <a:lnTo>
                      <a:pt x="210" y="230"/>
                    </a:lnTo>
                    <a:lnTo>
                      <a:pt x="210" y="231"/>
                    </a:lnTo>
                    <a:lnTo>
                      <a:pt x="209" y="231"/>
                    </a:lnTo>
                    <a:lnTo>
                      <a:pt x="207" y="231"/>
                    </a:lnTo>
                    <a:lnTo>
                      <a:pt x="207" y="233"/>
                    </a:lnTo>
                    <a:lnTo>
                      <a:pt x="209" y="233"/>
                    </a:lnTo>
                    <a:lnTo>
                      <a:pt x="207" y="234"/>
                    </a:lnTo>
                    <a:lnTo>
                      <a:pt x="209" y="236"/>
                    </a:lnTo>
                    <a:lnTo>
                      <a:pt x="210" y="236"/>
                    </a:lnTo>
                    <a:lnTo>
                      <a:pt x="210" y="238"/>
                    </a:lnTo>
                    <a:lnTo>
                      <a:pt x="209" y="238"/>
                    </a:lnTo>
                    <a:lnTo>
                      <a:pt x="209" y="239"/>
                    </a:lnTo>
                    <a:lnTo>
                      <a:pt x="207" y="241"/>
                    </a:lnTo>
                    <a:lnTo>
                      <a:pt x="207" y="242"/>
                    </a:lnTo>
                    <a:lnTo>
                      <a:pt x="206" y="242"/>
                    </a:lnTo>
                    <a:lnTo>
                      <a:pt x="206" y="244"/>
                    </a:lnTo>
                    <a:lnTo>
                      <a:pt x="206" y="245"/>
                    </a:lnTo>
                    <a:lnTo>
                      <a:pt x="204" y="245"/>
                    </a:lnTo>
                    <a:lnTo>
                      <a:pt x="202" y="245"/>
                    </a:lnTo>
                    <a:lnTo>
                      <a:pt x="202" y="244"/>
                    </a:lnTo>
                    <a:lnTo>
                      <a:pt x="201" y="244"/>
                    </a:lnTo>
                    <a:lnTo>
                      <a:pt x="201" y="245"/>
                    </a:lnTo>
                    <a:lnTo>
                      <a:pt x="199" y="245"/>
                    </a:lnTo>
                    <a:lnTo>
                      <a:pt x="198" y="245"/>
                    </a:lnTo>
                    <a:lnTo>
                      <a:pt x="198" y="247"/>
                    </a:lnTo>
                    <a:lnTo>
                      <a:pt x="196" y="249"/>
                    </a:lnTo>
                    <a:lnTo>
                      <a:pt x="196" y="250"/>
                    </a:lnTo>
                    <a:lnTo>
                      <a:pt x="194" y="250"/>
                    </a:lnTo>
                    <a:lnTo>
                      <a:pt x="194" y="252"/>
                    </a:lnTo>
                    <a:lnTo>
                      <a:pt x="193" y="252"/>
                    </a:lnTo>
                    <a:lnTo>
                      <a:pt x="191" y="252"/>
                    </a:lnTo>
                    <a:lnTo>
                      <a:pt x="191" y="250"/>
                    </a:lnTo>
                    <a:lnTo>
                      <a:pt x="191" y="249"/>
                    </a:lnTo>
                    <a:lnTo>
                      <a:pt x="190" y="247"/>
                    </a:lnTo>
                    <a:lnTo>
                      <a:pt x="190" y="249"/>
                    </a:lnTo>
                    <a:lnTo>
                      <a:pt x="190" y="250"/>
                    </a:lnTo>
                    <a:lnTo>
                      <a:pt x="188" y="250"/>
                    </a:lnTo>
                    <a:lnTo>
                      <a:pt x="188" y="252"/>
                    </a:lnTo>
                    <a:lnTo>
                      <a:pt x="187" y="252"/>
                    </a:lnTo>
                    <a:lnTo>
                      <a:pt x="187" y="253"/>
                    </a:lnTo>
                    <a:lnTo>
                      <a:pt x="187" y="255"/>
                    </a:lnTo>
                    <a:lnTo>
                      <a:pt x="188" y="255"/>
                    </a:lnTo>
                    <a:lnTo>
                      <a:pt x="188" y="257"/>
                    </a:lnTo>
                    <a:lnTo>
                      <a:pt x="188" y="258"/>
                    </a:lnTo>
                    <a:lnTo>
                      <a:pt x="187" y="258"/>
                    </a:lnTo>
                    <a:lnTo>
                      <a:pt x="185" y="258"/>
                    </a:lnTo>
                    <a:lnTo>
                      <a:pt x="185" y="260"/>
                    </a:lnTo>
                    <a:lnTo>
                      <a:pt x="183" y="260"/>
                    </a:lnTo>
                    <a:lnTo>
                      <a:pt x="185" y="261"/>
                    </a:lnTo>
                    <a:lnTo>
                      <a:pt x="187" y="261"/>
                    </a:lnTo>
                    <a:lnTo>
                      <a:pt x="187" y="263"/>
                    </a:lnTo>
                    <a:lnTo>
                      <a:pt x="188" y="263"/>
                    </a:lnTo>
                    <a:lnTo>
                      <a:pt x="188" y="264"/>
                    </a:lnTo>
                    <a:lnTo>
                      <a:pt x="188" y="266"/>
                    </a:lnTo>
                    <a:lnTo>
                      <a:pt x="188" y="268"/>
                    </a:lnTo>
                    <a:lnTo>
                      <a:pt x="190" y="268"/>
                    </a:lnTo>
                    <a:lnTo>
                      <a:pt x="190" y="269"/>
                    </a:lnTo>
                    <a:lnTo>
                      <a:pt x="190" y="268"/>
                    </a:lnTo>
                    <a:lnTo>
                      <a:pt x="191" y="268"/>
                    </a:lnTo>
                    <a:lnTo>
                      <a:pt x="193" y="268"/>
                    </a:lnTo>
                    <a:lnTo>
                      <a:pt x="194" y="268"/>
                    </a:lnTo>
                    <a:lnTo>
                      <a:pt x="194" y="266"/>
                    </a:lnTo>
                    <a:lnTo>
                      <a:pt x="196" y="266"/>
                    </a:lnTo>
                    <a:lnTo>
                      <a:pt x="198" y="266"/>
                    </a:lnTo>
                    <a:lnTo>
                      <a:pt x="199" y="266"/>
                    </a:lnTo>
                    <a:lnTo>
                      <a:pt x="199" y="268"/>
                    </a:lnTo>
                    <a:lnTo>
                      <a:pt x="201" y="268"/>
                    </a:lnTo>
                    <a:lnTo>
                      <a:pt x="201" y="266"/>
                    </a:lnTo>
                    <a:lnTo>
                      <a:pt x="202" y="266"/>
                    </a:lnTo>
                    <a:lnTo>
                      <a:pt x="204" y="266"/>
                    </a:lnTo>
                    <a:lnTo>
                      <a:pt x="206" y="266"/>
                    </a:lnTo>
                    <a:lnTo>
                      <a:pt x="206" y="268"/>
                    </a:lnTo>
                    <a:lnTo>
                      <a:pt x="207" y="268"/>
                    </a:lnTo>
                    <a:lnTo>
                      <a:pt x="209" y="268"/>
                    </a:lnTo>
                    <a:lnTo>
                      <a:pt x="209" y="269"/>
                    </a:lnTo>
                    <a:lnTo>
                      <a:pt x="210" y="269"/>
                    </a:lnTo>
                    <a:lnTo>
                      <a:pt x="209" y="269"/>
                    </a:lnTo>
                    <a:lnTo>
                      <a:pt x="209" y="271"/>
                    </a:lnTo>
                    <a:lnTo>
                      <a:pt x="207" y="271"/>
                    </a:lnTo>
                    <a:lnTo>
                      <a:pt x="207" y="272"/>
                    </a:lnTo>
                    <a:lnTo>
                      <a:pt x="207" y="274"/>
                    </a:lnTo>
                    <a:lnTo>
                      <a:pt x="209" y="274"/>
                    </a:lnTo>
                    <a:lnTo>
                      <a:pt x="210" y="274"/>
                    </a:lnTo>
                    <a:lnTo>
                      <a:pt x="212" y="274"/>
                    </a:lnTo>
                    <a:lnTo>
                      <a:pt x="213" y="274"/>
                    </a:lnTo>
                    <a:lnTo>
                      <a:pt x="213" y="272"/>
                    </a:lnTo>
                    <a:lnTo>
                      <a:pt x="213" y="271"/>
                    </a:lnTo>
                    <a:lnTo>
                      <a:pt x="215" y="271"/>
                    </a:lnTo>
                    <a:lnTo>
                      <a:pt x="215" y="272"/>
                    </a:lnTo>
                    <a:lnTo>
                      <a:pt x="217" y="272"/>
                    </a:lnTo>
                    <a:lnTo>
                      <a:pt x="218" y="274"/>
                    </a:lnTo>
                    <a:lnTo>
                      <a:pt x="220" y="274"/>
                    </a:lnTo>
                    <a:lnTo>
                      <a:pt x="220" y="276"/>
                    </a:lnTo>
                    <a:lnTo>
                      <a:pt x="221" y="276"/>
                    </a:lnTo>
                    <a:lnTo>
                      <a:pt x="223" y="277"/>
                    </a:lnTo>
                    <a:lnTo>
                      <a:pt x="225" y="277"/>
                    </a:lnTo>
                    <a:lnTo>
                      <a:pt x="225" y="279"/>
                    </a:lnTo>
                    <a:lnTo>
                      <a:pt x="225" y="277"/>
                    </a:lnTo>
                    <a:lnTo>
                      <a:pt x="226" y="279"/>
                    </a:lnTo>
                    <a:lnTo>
                      <a:pt x="226" y="277"/>
                    </a:lnTo>
                    <a:lnTo>
                      <a:pt x="228" y="277"/>
                    </a:lnTo>
                    <a:lnTo>
                      <a:pt x="228" y="279"/>
                    </a:lnTo>
                    <a:lnTo>
                      <a:pt x="228" y="277"/>
                    </a:lnTo>
                    <a:lnTo>
                      <a:pt x="229" y="279"/>
                    </a:lnTo>
                    <a:lnTo>
                      <a:pt x="231" y="279"/>
                    </a:lnTo>
                    <a:lnTo>
                      <a:pt x="229" y="279"/>
                    </a:lnTo>
                    <a:lnTo>
                      <a:pt x="229" y="280"/>
                    </a:lnTo>
                    <a:lnTo>
                      <a:pt x="231" y="280"/>
                    </a:lnTo>
                    <a:lnTo>
                      <a:pt x="229" y="282"/>
                    </a:lnTo>
                    <a:lnTo>
                      <a:pt x="229" y="283"/>
                    </a:lnTo>
                    <a:lnTo>
                      <a:pt x="228" y="283"/>
                    </a:lnTo>
                    <a:lnTo>
                      <a:pt x="228" y="285"/>
                    </a:lnTo>
                    <a:lnTo>
                      <a:pt x="229" y="285"/>
                    </a:lnTo>
                    <a:lnTo>
                      <a:pt x="231" y="285"/>
                    </a:lnTo>
                    <a:lnTo>
                      <a:pt x="229" y="285"/>
                    </a:lnTo>
                    <a:lnTo>
                      <a:pt x="229" y="287"/>
                    </a:lnTo>
                    <a:lnTo>
                      <a:pt x="231" y="287"/>
                    </a:lnTo>
                    <a:lnTo>
                      <a:pt x="232" y="287"/>
                    </a:lnTo>
                    <a:lnTo>
                      <a:pt x="231" y="288"/>
                    </a:lnTo>
                    <a:lnTo>
                      <a:pt x="231" y="290"/>
                    </a:lnTo>
                    <a:lnTo>
                      <a:pt x="229" y="291"/>
                    </a:lnTo>
                    <a:lnTo>
                      <a:pt x="229" y="293"/>
                    </a:lnTo>
                    <a:lnTo>
                      <a:pt x="228" y="295"/>
                    </a:lnTo>
                    <a:lnTo>
                      <a:pt x="229" y="295"/>
                    </a:lnTo>
                    <a:lnTo>
                      <a:pt x="231" y="295"/>
                    </a:lnTo>
                    <a:lnTo>
                      <a:pt x="232" y="295"/>
                    </a:lnTo>
                    <a:lnTo>
                      <a:pt x="234" y="295"/>
                    </a:lnTo>
                    <a:lnTo>
                      <a:pt x="236" y="296"/>
                    </a:lnTo>
                    <a:lnTo>
                      <a:pt x="237" y="296"/>
                    </a:lnTo>
                    <a:lnTo>
                      <a:pt x="239" y="296"/>
                    </a:lnTo>
                    <a:lnTo>
                      <a:pt x="240" y="296"/>
                    </a:lnTo>
                    <a:lnTo>
                      <a:pt x="242" y="296"/>
                    </a:lnTo>
                    <a:lnTo>
                      <a:pt x="242" y="298"/>
                    </a:lnTo>
                    <a:lnTo>
                      <a:pt x="244" y="298"/>
                    </a:lnTo>
                    <a:lnTo>
                      <a:pt x="242" y="298"/>
                    </a:lnTo>
                    <a:lnTo>
                      <a:pt x="240" y="298"/>
                    </a:lnTo>
                    <a:lnTo>
                      <a:pt x="240" y="299"/>
                    </a:lnTo>
                    <a:lnTo>
                      <a:pt x="239" y="299"/>
                    </a:lnTo>
                    <a:lnTo>
                      <a:pt x="237" y="299"/>
                    </a:lnTo>
                    <a:lnTo>
                      <a:pt x="237" y="301"/>
                    </a:lnTo>
                    <a:lnTo>
                      <a:pt x="236" y="301"/>
                    </a:lnTo>
                    <a:lnTo>
                      <a:pt x="236" y="302"/>
                    </a:lnTo>
                    <a:lnTo>
                      <a:pt x="237" y="302"/>
                    </a:lnTo>
                    <a:lnTo>
                      <a:pt x="239" y="302"/>
                    </a:lnTo>
                    <a:lnTo>
                      <a:pt x="240" y="302"/>
                    </a:lnTo>
                    <a:lnTo>
                      <a:pt x="242" y="302"/>
                    </a:lnTo>
                    <a:lnTo>
                      <a:pt x="244" y="302"/>
                    </a:lnTo>
                    <a:lnTo>
                      <a:pt x="244" y="304"/>
                    </a:lnTo>
                    <a:lnTo>
                      <a:pt x="245" y="304"/>
                    </a:lnTo>
                    <a:lnTo>
                      <a:pt x="245" y="306"/>
                    </a:lnTo>
                    <a:lnTo>
                      <a:pt x="247" y="306"/>
                    </a:lnTo>
                    <a:lnTo>
                      <a:pt x="247" y="307"/>
                    </a:lnTo>
                    <a:lnTo>
                      <a:pt x="247" y="306"/>
                    </a:lnTo>
                    <a:lnTo>
                      <a:pt x="240" y="304"/>
                    </a:lnTo>
                    <a:lnTo>
                      <a:pt x="232" y="302"/>
                    </a:lnTo>
                    <a:lnTo>
                      <a:pt x="228" y="304"/>
                    </a:lnTo>
                    <a:lnTo>
                      <a:pt x="225" y="304"/>
                    </a:lnTo>
                    <a:lnTo>
                      <a:pt x="220" y="309"/>
                    </a:lnTo>
                    <a:lnTo>
                      <a:pt x="213" y="315"/>
                    </a:lnTo>
                    <a:lnTo>
                      <a:pt x="210" y="320"/>
                    </a:lnTo>
                    <a:lnTo>
                      <a:pt x="204" y="318"/>
                    </a:lnTo>
                    <a:lnTo>
                      <a:pt x="199" y="315"/>
                    </a:lnTo>
                    <a:lnTo>
                      <a:pt x="193" y="315"/>
                    </a:lnTo>
                    <a:lnTo>
                      <a:pt x="190" y="317"/>
                    </a:lnTo>
                    <a:lnTo>
                      <a:pt x="188" y="320"/>
                    </a:lnTo>
                    <a:lnTo>
                      <a:pt x="187" y="320"/>
                    </a:lnTo>
                    <a:lnTo>
                      <a:pt x="183" y="317"/>
                    </a:lnTo>
                    <a:lnTo>
                      <a:pt x="179" y="310"/>
                    </a:lnTo>
                    <a:lnTo>
                      <a:pt x="175" y="310"/>
                    </a:lnTo>
                    <a:lnTo>
                      <a:pt x="174" y="309"/>
                    </a:lnTo>
                    <a:lnTo>
                      <a:pt x="172" y="310"/>
                    </a:lnTo>
                    <a:lnTo>
                      <a:pt x="172" y="312"/>
                    </a:lnTo>
                    <a:lnTo>
                      <a:pt x="172" y="315"/>
                    </a:lnTo>
                    <a:lnTo>
                      <a:pt x="172" y="322"/>
                    </a:lnTo>
                    <a:lnTo>
                      <a:pt x="172" y="328"/>
                    </a:lnTo>
                    <a:lnTo>
                      <a:pt x="174" y="336"/>
                    </a:lnTo>
                    <a:lnTo>
                      <a:pt x="179" y="344"/>
                    </a:lnTo>
                    <a:lnTo>
                      <a:pt x="180" y="350"/>
                    </a:lnTo>
                    <a:lnTo>
                      <a:pt x="183" y="353"/>
                    </a:lnTo>
                    <a:lnTo>
                      <a:pt x="187" y="355"/>
                    </a:lnTo>
                    <a:lnTo>
                      <a:pt x="190" y="355"/>
                    </a:lnTo>
                    <a:lnTo>
                      <a:pt x="193" y="355"/>
                    </a:lnTo>
                    <a:lnTo>
                      <a:pt x="196" y="353"/>
                    </a:lnTo>
                    <a:lnTo>
                      <a:pt x="201" y="356"/>
                    </a:lnTo>
                    <a:lnTo>
                      <a:pt x="206" y="361"/>
                    </a:lnTo>
                    <a:lnTo>
                      <a:pt x="209" y="369"/>
                    </a:lnTo>
                    <a:lnTo>
                      <a:pt x="207" y="375"/>
                    </a:lnTo>
                    <a:lnTo>
                      <a:pt x="202" y="380"/>
                    </a:lnTo>
                    <a:lnTo>
                      <a:pt x="202" y="383"/>
                    </a:lnTo>
                    <a:lnTo>
                      <a:pt x="198" y="390"/>
                    </a:lnTo>
                    <a:lnTo>
                      <a:pt x="193" y="399"/>
                    </a:lnTo>
                    <a:lnTo>
                      <a:pt x="187" y="407"/>
                    </a:lnTo>
                    <a:lnTo>
                      <a:pt x="182" y="412"/>
                    </a:lnTo>
                    <a:lnTo>
                      <a:pt x="179" y="418"/>
                    </a:lnTo>
                    <a:lnTo>
                      <a:pt x="179" y="423"/>
                    </a:lnTo>
                    <a:lnTo>
                      <a:pt x="179" y="431"/>
                    </a:lnTo>
                    <a:lnTo>
                      <a:pt x="180" y="439"/>
                    </a:lnTo>
                    <a:lnTo>
                      <a:pt x="179" y="444"/>
                    </a:lnTo>
                    <a:lnTo>
                      <a:pt x="180" y="448"/>
                    </a:lnTo>
                    <a:lnTo>
                      <a:pt x="185" y="456"/>
                    </a:lnTo>
                    <a:lnTo>
                      <a:pt x="188" y="464"/>
                    </a:lnTo>
                    <a:lnTo>
                      <a:pt x="188" y="472"/>
                    </a:lnTo>
                    <a:lnTo>
                      <a:pt x="190" y="478"/>
                    </a:lnTo>
                    <a:lnTo>
                      <a:pt x="193" y="483"/>
                    </a:lnTo>
                    <a:lnTo>
                      <a:pt x="194" y="482"/>
                    </a:lnTo>
                    <a:lnTo>
                      <a:pt x="196" y="475"/>
                    </a:lnTo>
                    <a:lnTo>
                      <a:pt x="199" y="469"/>
                    </a:lnTo>
                    <a:lnTo>
                      <a:pt x="201" y="470"/>
                    </a:lnTo>
                    <a:lnTo>
                      <a:pt x="204" y="472"/>
                    </a:lnTo>
                    <a:lnTo>
                      <a:pt x="209" y="477"/>
                    </a:lnTo>
                    <a:lnTo>
                      <a:pt x="210" y="482"/>
                    </a:lnTo>
                    <a:lnTo>
                      <a:pt x="213" y="482"/>
                    </a:lnTo>
                    <a:lnTo>
                      <a:pt x="213" y="478"/>
                    </a:lnTo>
                    <a:lnTo>
                      <a:pt x="215" y="470"/>
                    </a:lnTo>
                    <a:lnTo>
                      <a:pt x="217" y="459"/>
                    </a:lnTo>
                    <a:lnTo>
                      <a:pt x="221" y="453"/>
                    </a:lnTo>
                    <a:lnTo>
                      <a:pt x="226" y="453"/>
                    </a:lnTo>
                    <a:lnTo>
                      <a:pt x="234" y="458"/>
                    </a:lnTo>
                    <a:lnTo>
                      <a:pt x="239" y="463"/>
                    </a:lnTo>
                    <a:lnTo>
                      <a:pt x="242" y="469"/>
                    </a:lnTo>
                    <a:lnTo>
                      <a:pt x="245" y="475"/>
                    </a:lnTo>
                    <a:lnTo>
                      <a:pt x="250" y="477"/>
                    </a:lnTo>
                    <a:lnTo>
                      <a:pt x="255" y="475"/>
                    </a:lnTo>
                    <a:lnTo>
                      <a:pt x="259" y="472"/>
                    </a:lnTo>
                    <a:lnTo>
                      <a:pt x="264" y="466"/>
                    </a:lnTo>
                    <a:lnTo>
                      <a:pt x="269" y="458"/>
                    </a:lnTo>
                    <a:lnTo>
                      <a:pt x="272" y="455"/>
                    </a:lnTo>
                    <a:lnTo>
                      <a:pt x="278" y="455"/>
                    </a:lnTo>
                    <a:lnTo>
                      <a:pt x="283" y="458"/>
                    </a:lnTo>
                    <a:lnTo>
                      <a:pt x="286" y="458"/>
                    </a:lnTo>
                    <a:lnTo>
                      <a:pt x="288" y="455"/>
                    </a:lnTo>
                    <a:lnTo>
                      <a:pt x="296" y="451"/>
                    </a:lnTo>
                    <a:lnTo>
                      <a:pt x="305" y="450"/>
                    </a:lnTo>
                    <a:lnTo>
                      <a:pt x="308" y="448"/>
                    </a:lnTo>
                    <a:lnTo>
                      <a:pt x="312" y="448"/>
                    </a:lnTo>
                    <a:lnTo>
                      <a:pt x="320" y="444"/>
                    </a:lnTo>
                    <a:lnTo>
                      <a:pt x="323" y="442"/>
                    </a:lnTo>
                    <a:lnTo>
                      <a:pt x="323" y="432"/>
                    </a:lnTo>
                    <a:lnTo>
                      <a:pt x="321" y="421"/>
                    </a:lnTo>
                    <a:lnTo>
                      <a:pt x="321" y="409"/>
                    </a:lnTo>
                    <a:lnTo>
                      <a:pt x="323" y="398"/>
                    </a:lnTo>
                    <a:lnTo>
                      <a:pt x="323" y="386"/>
                    </a:lnTo>
                    <a:lnTo>
                      <a:pt x="321" y="377"/>
                    </a:lnTo>
                    <a:lnTo>
                      <a:pt x="321" y="371"/>
                    </a:lnTo>
                    <a:lnTo>
                      <a:pt x="323" y="367"/>
                    </a:lnTo>
                    <a:lnTo>
                      <a:pt x="323" y="366"/>
                    </a:lnTo>
                    <a:lnTo>
                      <a:pt x="326" y="366"/>
                    </a:lnTo>
                    <a:lnTo>
                      <a:pt x="327" y="364"/>
                    </a:lnTo>
                    <a:lnTo>
                      <a:pt x="331" y="364"/>
                    </a:lnTo>
                    <a:lnTo>
                      <a:pt x="332" y="364"/>
                    </a:lnTo>
                    <a:lnTo>
                      <a:pt x="335" y="364"/>
                    </a:lnTo>
                    <a:lnTo>
                      <a:pt x="337" y="364"/>
                    </a:lnTo>
                    <a:lnTo>
                      <a:pt x="340" y="364"/>
                    </a:lnTo>
                    <a:lnTo>
                      <a:pt x="342" y="364"/>
                    </a:lnTo>
                    <a:lnTo>
                      <a:pt x="343" y="364"/>
                    </a:lnTo>
                    <a:lnTo>
                      <a:pt x="346" y="364"/>
                    </a:lnTo>
                    <a:lnTo>
                      <a:pt x="351" y="363"/>
                    </a:lnTo>
                    <a:lnTo>
                      <a:pt x="354" y="363"/>
                    </a:lnTo>
                    <a:lnTo>
                      <a:pt x="361" y="364"/>
                    </a:lnTo>
                    <a:lnTo>
                      <a:pt x="364" y="366"/>
                    </a:lnTo>
                    <a:lnTo>
                      <a:pt x="364" y="367"/>
                    </a:lnTo>
                    <a:lnTo>
                      <a:pt x="364" y="369"/>
                    </a:lnTo>
                    <a:lnTo>
                      <a:pt x="366" y="375"/>
                    </a:lnTo>
                    <a:lnTo>
                      <a:pt x="367" y="385"/>
                    </a:lnTo>
                    <a:lnTo>
                      <a:pt x="370" y="388"/>
                    </a:lnTo>
                    <a:lnTo>
                      <a:pt x="373" y="391"/>
                    </a:lnTo>
                    <a:lnTo>
                      <a:pt x="377" y="396"/>
                    </a:lnTo>
                    <a:lnTo>
                      <a:pt x="377" y="401"/>
                    </a:lnTo>
                    <a:lnTo>
                      <a:pt x="375" y="404"/>
                    </a:lnTo>
                    <a:lnTo>
                      <a:pt x="381" y="404"/>
                    </a:lnTo>
                    <a:lnTo>
                      <a:pt x="391" y="402"/>
                    </a:lnTo>
                    <a:lnTo>
                      <a:pt x="397" y="404"/>
                    </a:lnTo>
                    <a:lnTo>
                      <a:pt x="400" y="405"/>
                    </a:lnTo>
                    <a:lnTo>
                      <a:pt x="405" y="410"/>
                    </a:lnTo>
                    <a:lnTo>
                      <a:pt x="405" y="417"/>
                    </a:lnTo>
                    <a:lnTo>
                      <a:pt x="404" y="421"/>
                    </a:lnTo>
                    <a:lnTo>
                      <a:pt x="402" y="428"/>
                    </a:lnTo>
                    <a:lnTo>
                      <a:pt x="402" y="432"/>
                    </a:lnTo>
                    <a:lnTo>
                      <a:pt x="397" y="437"/>
                    </a:lnTo>
                    <a:lnTo>
                      <a:pt x="394" y="442"/>
                    </a:lnTo>
                    <a:lnTo>
                      <a:pt x="394" y="447"/>
                    </a:lnTo>
                    <a:lnTo>
                      <a:pt x="397" y="450"/>
                    </a:lnTo>
                    <a:lnTo>
                      <a:pt x="402" y="451"/>
                    </a:lnTo>
                    <a:lnTo>
                      <a:pt x="405" y="451"/>
                    </a:lnTo>
                    <a:lnTo>
                      <a:pt x="410" y="450"/>
                    </a:lnTo>
                    <a:lnTo>
                      <a:pt x="411" y="450"/>
                    </a:lnTo>
                    <a:lnTo>
                      <a:pt x="415" y="448"/>
                    </a:lnTo>
                    <a:lnTo>
                      <a:pt x="418" y="445"/>
                    </a:lnTo>
                    <a:lnTo>
                      <a:pt x="421" y="440"/>
                    </a:lnTo>
                    <a:lnTo>
                      <a:pt x="426" y="436"/>
                    </a:lnTo>
                    <a:lnTo>
                      <a:pt x="432" y="428"/>
                    </a:lnTo>
                    <a:lnTo>
                      <a:pt x="435" y="424"/>
                    </a:lnTo>
                    <a:lnTo>
                      <a:pt x="438" y="420"/>
                    </a:lnTo>
                    <a:lnTo>
                      <a:pt x="438" y="418"/>
                    </a:lnTo>
                    <a:lnTo>
                      <a:pt x="440" y="415"/>
                    </a:lnTo>
                    <a:lnTo>
                      <a:pt x="442" y="413"/>
                    </a:lnTo>
                    <a:lnTo>
                      <a:pt x="446" y="412"/>
                    </a:lnTo>
                    <a:lnTo>
                      <a:pt x="449" y="410"/>
                    </a:lnTo>
                    <a:lnTo>
                      <a:pt x="451" y="410"/>
                    </a:lnTo>
                    <a:lnTo>
                      <a:pt x="456" y="409"/>
                    </a:lnTo>
                    <a:lnTo>
                      <a:pt x="461" y="405"/>
                    </a:lnTo>
                    <a:lnTo>
                      <a:pt x="462" y="401"/>
                    </a:lnTo>
                    <a:lnTo>
                      <a:pt x="462" y="394"/>
                    </a:lnTo>
                    <a:lnTo>
                      <a:pt x="462" y="388"/>
                    </a:lnTo>
                    <a:lnTo>
                      <a:pt x="462" y="383"/>
                    </a:lnTo>
                    <a:lnTo>
                      <a:pt x="465" y="380"/>
                    </a:lnTo>
                    <a:lnTo>
                      <a:pt x="470" y="375"/>
                    </a:lnTo>
                    <a:lnTo>
                      <a:pt x="478" y="367"/>
                    </a:lnTo>
                    <a:lnTo>
                      <a:pt x="486" y="360"/>
                    </a:lnTo>
                    <a:lnTo>
                      <a:pt x="492" y="350"/>
                    </a:lnTo>
                    <a:lnTo>
                      <a:pt x="499" y="341"/>
                    </a:lnTo>
                    <a:lnTo>
                      <a:pt x="505" y="329"/>
                    </a:lnTo>
                    <a:lnTo>
                      <a:pt x="510" y="323"/>
                    </a:lnTo>
                    <a:lnTo>
                      <a:pt x="514" y="315"/>
                    </a:lnTo>
                    <a:lnTo>
                      <a:pt x="522" y="309"/>
                    </a:lnTo>
                    <a:lnTo>
                      <a:pt x="529" y="301"/>
                    </a:lnTo>
                    <a:lnTo>
                      <a:pt x="537" y="295"/>
                    </a:lnTo>
                    <a:lnTo>
                      <a:pt x="545" y="291"/>
                    </a:lnTo>
                    <a:lnTo>
                      <a:pt x="556" y="291"/>
                    </a:lnTo>
                    <a:lnTo>
                      <a:pt x="568" y="290"/>
                    </a:lnTo>
                    <a:lnTo>
                      <a:pt x="576" y="288"/>
                    </a:lnTo>
                    <a:lnTo>
                      <a:pt x="583" y="287"/>
                    </a:lnTo>
                    <a:lnTo>
                      <a:pt x="587" y="282"/>
                    </a:lnTo>
                    <a:lnTo>
                      <a:pt x="590" y="279"/>
                    </a:lnTo>
                    <a:lnTo>
                      <a:pt x="592" y="277"/>
                    </a:lnTo>
                    <a:lnTo>
                      <a:pt x="594" y="276"/>
                    </a:lnTo>
                    <a:lnTo>
                      <a:pt x="595" y="274"/>
                    </a:lnTo>
                    <a:lnTo>
                      <a:pt x="597" y="274"/>
                    </a:lnTo>
                    <a:lnTo>
                      <a:pt x="602" y="276"/>
                    </a:lnTo>
                    <a:lnTo>
                      <a:pt x="609" y="274"/>
                    </a:lnTo>
                    <a:lnTo>
                      <a:pt x="619" y="274"/>
                    </a:lnTo>
                    <a:lnTo>
                      <a:pt x="628" y="272"/>
                    </a:lnTo>
                    <a:lnTo>
                      <a:pt x="636" y="269"/>
                    </a:lnTo>
                    <a:lnTo>
                      <a:pt x="643" y="269"/>
                    </a:lnTo>
                    <a:lnTo>
                      <a:pt x="651" y="274"/>
                    </a:lnTo>
                    <a:lnTo>
                      <a:pt x="659" y="282"/>
                    </a:lnTo>
                    <a:lnTo>
                      <a:pt x="662" y="287"/>
                    </a:lnTo>
                    <a:lnTo>
                      <a:pt x="657" y="288"/>
                    </a:lnTo>
                    <a:lnTo>
                      <a:pt x="651" y="291"/>
                    </a:lnTo>
                    <a:lnTo>
                      <a:pt x="641" y="291"/>
                    </a:lnTo>
                    <a:lnTo>
                      <a:pt x="636" y="291"/>
                    </a:lnTo>
                    <a:lnTo>
                      <a:pt x="633" y="290"/>
                    </a:lnTo>
                    <a:lnTo>
                      <a:pt x="624" y="290"/>
                    </a:lnTo>
                    <a:lnTo>
                      <a:pt x="621" y="291"/>
                    </a:lnTo>
                    <a:lnTo>
                      <a:pt x="622" y="298"/>
                    </a:lnTo>
                    <a:lnTo>
                      <a:pt x="624" y="304"/>
                    </a:lnTo>
                    <a:lnTo>
                      <a:pt x="627" y="309"/>
                    </a:lnTo>
                    <a:lnTo>
                      <a:pt x="628" y="314"/>
                    </a:lnTo>
                    <a:lnTo>
                      <a:pt x="632" y="315"/>
                    </a:lnTo>
                    <a:lnTo>
                      <a:pt x="636" y="315"/>
                    </a:lnTo>
                    <a:lnTo>
                      <a:pt x="646" y="314"/>
                    </a:lnTo>
                    <a:lnTo>
                      <a:pt x="654" y="312"/>
                    </a:lnTo>
                    <a:lnTo>
                      <a:pt x="662" y="310"/>
                    </a:lnTo>
                    <a:lnTo>
                      <a:pt x="670" y="307"/>
                    </a:lnTo>
                    <a:lnTo>
                      <a:pt x="674" y="302"/>
                    </a:lnTo>
                    <a:lnTo>
                      <a:pt x="676" y="302"/>
                    </a:lnTo>
                    <a:lnTo>
                      <a:pt x="681" y="301"/>
                    </a:lnTo>
                    <a:lnTo>
                      <a:pt x="687" y="301"/>
                    </a:lnTo>
                    <a:lnTo>
                      <a:pt x="692" y="296"/>
                    </a:lnTo>
                    <a:lnTo>
                      <a:pt x="700" y="290"/>
                    </a:lnTo>
                    <a:lnTo>
                      <a:pt x="708" y="287"/>
                    </a:lnTo>
                    <a:lnTo>
                      <a:pt x="716" y="283"/>
                    </a:lnTo>
                    <a:lnTo>
                      <a:pt x="725" y="280"/>
                    </a:lnTo>
                    <a:lnTo>
                      <a:pt x="733" y="276"/>
                    </a:lnTo>
                    <a:lnTo>
                      <a:pt x="739" y="269"/>
                    </a:lnTo>
                    <a:lnTo>
                      <a:pt x="744" y="264"/>
                    </a:lnTo>
                    <a:lnTo>
                      <a:pt x="746" y="263"/>
                    </a:lnTo>
                    <a:lnTo>
                      <a:pt x="747" y="261"/>
                    </a:lnTo>
                    <a:lnTo>
                      <a:pt x="749" y="260"/>
                    </a:lnTo>
                    <a:lnTo>
                      <a:pt x="750" y="260"/>
                    </a:lnTo>
                    <a:lnTo>
                      <a:pt x="752" y="260"/>
                    </a:lnTo>
                    <a:lnTo>
                      <a:pt x="755" y="258"/>
                    </a:lnTo>
                    <a:lnTo>
                      <a:pt x="757" y="258"/>
                    </a:lnTo>
                    <a:lnTo>
                      <a:pt x="758" y="258"/>
                    </a:lnTo>
                    <a:lnTo>
                      <a:pt x="760" y="258"/>
                    </a:lnTo>
                    <a:lnTo>
                      <a:pt x="765" y="258"/>
                    </a:lnTo>
                    <a:lnTo>
                      <a:pt x="773" y="258"/>
                    </a:lnTo>
                    <a:lnTo>
                      <a:pt x="781" y="260"/>
                    </a:lnTo>
                    <a:lnTo>
                      <a:pt x="787" y="261"/>
                    </a:lnTo>
                    <a:lnTo>
                      <a:pt x="798" y="263"/>
                    </a:lnTo>
                    <a:lnTo>
                      <a:pt x="809" y="266"/>
                    </a:lnTo>
                    <a:lnTo>
                      <a:pt x="817" y="268"/>
                    </a:lnTo>
                    <a:lnTo>
                      <a:pt x="822" y="271"/>
                    </a:lnTo>
                    <a:lnTo>
                      <a:pt x="826" y="271"/>
                    </a:lnTo>
                    <a:lnTo>
                      <a:pt x="831" y="268"/>
                    </a:lnTo>
                    <a:lnTo>
                      <a:pt x="834" y="263"/>
                    </a:lnTo>
                    <a:lnTo>
                      <a:pt x="841" y="258"/>
                    </a:lnTo>
                    <a:lnTo>
                      <a:pt x="847" y="257"/>
                    </a:lnTo>
                    <a:lnTo>
                      <a:pt x="857" y="255"/>
                    </a:lnTo>
                    <a:lnTo>
                      <a:pt x="868" y="255"/>
                    </a:lnTo>
                    <a:lnTo>
                      <a:pt x="871" y="255"/>
                    </a:lnTo>
                    <a:lnTo>
                      <a:pt x="874" y="264"/>
                    </a:lnTo>
                    <a:lnTo>
                      <a:pt x="879" y="268"/>
                    </a:lnTo>
                    <a:lnTo>
                      <a:pt x="888" y="268"/>
                    </a:lnTo>
                    <a:lnTo>
                      <a:pt x="893" y="268"/>
                    </a:lnTo>
                    <a:lnTo>
                      <a:pt x="898" y="268"/>
                    </a:lnTo>
                    <a:lnTo>
                      <a:pt x="902" y="263"/>
                    </a:lnTo>
                    <a:lnTo>
                      <a:pt x="909" y="261"/>
                    </a:lnTo>
                    <a:lnTo>
                      <a:pt x="914" y="261"/>
                    </a:lnTo>
                    <a:lnTo>
                      <a:pt x="920" y="266"/>
                    </a:lnTo>
                    <a:lnTo>
                      <a:pt x="928" y="264"/>
                    </a:lnTo>
                    <a:lnTo>
                      <a:pt x="934" y="263"/>
                    </a:lnTo>
                    <a:lnTo>
                      <a:pt x="941" y="264"/>
                    </a:lnTo>
                    <a:lnTo>
                      <a:pt x="948" y="266"/>
                    </a:lnTo>
                    <a:lnTo>
                      <a:pt x="956" y="264"/>
                    </a:lnTo>
                    <a:lnTo>
                      <a:pt x="961" y="261"/>
                    </a:lnTo>
                    <a:lnTo>
                      <a:pt x="969" y="257"/>
                    </a:lnTo>
                    <a:lnTo>
                      <a:pt x="972" y="257"/>
                    </a:lnTo>
                    <a:lnTo>
                      <a:pt x="974" y="257"/>
                    </a:lnTo>
                    <a:lnTo>
                      <a:pt x="975" y="257"/>
                    </a:lnTo>
                    <a:lnTo>
                      <a:pt x="980" y="257"/>
                    </a:lnTo>
                    <a:lnTo>
                      <a:pt x="983" y="257"/>
                    </a:lnTo>
                    <a:lnTo>
                      <a:pt x="988" y="260"/>
                    </a:lnTo>
                    <a:lnTo>
                      <a:pt x="990" y="261"/>
                    </a:lnTo>
                    <a:lnTo>
                      <a:pt x="991" y="263"/>
                    </a:lnTo>
                    <a:lnTo>
                      <a:pt x="994" y="266"/>
                    </a:lnTo>
                    <a:lnTo>
                      <a:pt x="996" y="266"/>
                    </a:lnTo>
                    <a:lnTo>
                      <a:pt x="998" y="261"/>
                    </a:lnTo>
                    <a:lnTo>
                      <a:pt x="1002" y="258"/>
                    </a:lnTo>
                    <a:lnTo>
                      <a:pt x="1007" y="257"/>
                    </a:lnTo>
                    <a:lnTo>
                      <a:pt x="1010" y="253"/>
                    </a:lnTo>
                    <a:lnTo>
                      <a:pt x="1015" y="249"/>
                    </a:lnTo>
                    <a:lnTo>
                      <a:pt x="1020" y="242"/>
                    </a:lnTo>
                    <a:lnTo>
                      <a:pt x="1017" y="238"/>
                    </a:lnTo>
                    <a:lnTo>
                      <a:pt x="1013" y="234"/>
                    </a:lnTo>
                    <a:lnTo>
                      <a:pt x="1012" y="231"/>
                    </a:lnTo>
                    <a:lnTo>
                      <a:pt x="1012" y="230"/>
                    </a:lnTo>
                    <a:lnTo>
                      <a:pt x="1010" y="225"/>
                    </a:lnTo>
                    <a:lnTo>
                      <a:pt x="1017" y="223"/>
                    </a:lnTo>
                    <a:lnTo>
                      <a:pt x="1021" y="220"/>
                    </a:lnTo>
                    <a:lnTo>
                      <a:pt x="1028" y="217"/>
                    </a:lnTo>
                    <a:lnTo>
                      <a:pt x="1032" y="214"/>
                    </a:lnTo>
                    <a:lnTo>
                      <a:pt x="1039" y="214"/>
                    </a:lnTo>
                    <a:lnTo>
                      <a:pt x="1045" y="212"/>
                    </a:lnTo>
                    <a:lnTo>
                      <a:pt x="1050" y="214"/>
                    </a:lnTo>
                    <a:lnTo>
                      <a:pt x="1050" y="215"/>
                    </a:lnTo>
                    <a:lnTo>
                      <a:pt x="1051" y="212"/>
                    </a:lnTo>
                    <a:lnTo>
                      <a:pt x="1055" y="211"/>
                    </a:lnTo>
                    <a:lnTo>
                      <a:pt x="1058" y="207"/>
                    </a:lnTo>
                    <a:lnTo>
                      <a:pt x="1062" y="203"/>
                    </a:lnTo>
                    <a:lnTo>
                      <a:pt x="1066" y="201"/>
                    </a:lnTo>
                    <a:lnTo>
                      <a:pt x="1067" y="198"/>
                    </a:lnTo>
                    <a:lnTo>
                      <a:pt x="1070" y="196"/>
                    </a:lnTo>
                    <a:lnTo>
                      <a:pt x="1072" y="196"/>
                    </a:lnTo>
                    <a:lnTo>
                      <a:pt x="1074" y="195"/>
                    </a:lnTo>
                    <a:lnTo>
                      <a:pt x="1075" y="195"/>
                    </a:lnTo>
                    <a:lnTo>
                      <a:pt x="1078" y="195"/>
                    </a:lnTo>
                    <a:lnTo>
                      <a:pt x="1085" y="196"/>
                    </a:lnTo>
                    <a:lnTo>
                      <a:pt x="1086" y="203"/>
                    </a:lnTo>
                    <a:lnTo>
                      <a:pt x="1088" y="212"/>
                    </a:lnTo>
                    <a:lnTo>
                      <a:pt x="1089" y="220"/>
                    </a:lnTo>
                    <a:lnTo>
                      <a:pt x="1088" y="231"/>
                    </a:lnTo>
                    <a:lnTo>
                      <a:pt x="1086" y="238"/>
                    </a:lnTo>
                    <a:lnTo>
                      <a:pt x="1086" y="239"/>
                    </a:lnTo>
                    <a:lnTo>
                      <a:pt x="1088" y="239"/>
                    </a:lnTo>
                    <a:lnTo>
                      <a:pt x="1091" y="238"/>
                    </a:lnTo>
                    <a:lnTo>
                      <a:pt x="1093" y="238"/>
                    </a:lnTo>
                    <a:lnTo>
                      <a:pt x="1094" y="239"/>
                    </a:lnTo>
                    <a:lnTo>
                      <a:pt x="1097" y="242"/>
                    </a:lnTo>
                    <a:lnTo>
                      <a:pt x="1102" y="249"/>
                    </a:lnTo>
                    <a:lnTo>
                      <a:pt x="1105" y="252"/>
                    </a:lnTo>
                    <a:lnTo>
                      <a:pt x="1112" y="260"/>
                    </a:lnTo>
                    <a:lnTo>
                      <a:pt x="1113" y="261"/>
                    </a:lnTo>
                    <a:lnTo>
                      <a:pt x="1120" y="272"/>
                    </a:lnTo>
                    <a:lnTo>
                      <a:pt x="1123" y="277"/>
                    </a:lnTo>
                    <a:lnTo>
                      <a:pt x="1124" y="282"/>
                    </a:lnTo>
                    <a:lnTo>
                      <a:pt x="1129" y="293"/>
                    </a:lnTo>
                    <a:lnTo>
                      <a:pt x="1135" y="304"/>
                    </a:lnTo>
                    <a:lnTo>
                      <a:pt x="1137" y="310"/>
                    </a:lnTo>
                    <a:lnTo>
                      <a:pt x="1134" y="315"/>
                    </a:lnTo>
                    <a:lnTo>
                      <a:pt x="1135" y="322"/>
                    </a:lnTo>
                    <a:lnTo>
                      <a:pt x="1139" y="326"/>
                    </a:lnTo>
                    <a:lnTo>
                      <a:pt x="1142" y="329"/>
                    </a:lnTo>
                    <a:lnTo>
                      <a:pt x="1143" y="336"/>
                    </a:lnTo>
                    <a:lnTo>
                      <a:pt x="1145" y="342"/>
                    </a:lnTo>
                    <a:lnTo>
                      <a:pt x="1148" y="348"/>
                    </a:lnTo>
                    <a:lnTo>
                      <a:pt x="1154" y="353"/>
                    </a:lnTo>
                    <a:lnTo>
                      <a:pt x="1158" y="356"/>
                    </a:lnTo>
                    <a:lnTo>
                      <a:pt x="1159" y="358"/>
                    </a:lnTo>
                    <a:lnTo>
                      <a:pt x="1159" y="363"/>
                    </a:lnTo>
                    <a:lnTo>
                      <a:pt x="1158" y="366"/>
                    </a:lnTo>
                    <a:lnTo>
                      <a:pt x="1154" y="367"/>
                    </a:lnTo>
                    <a:lnTo>
                      <a:pt x="1153" y="369"/>
                    </a:lnTo>
                    <a:lnTo>
                      <a:pt x="1151" y="371"/>
                    </a:lnTo>
                    <a:lnTo>
                      <a:pt x="1150" y="372"/>
                    </a:lnTo>
                    <a:lnTo>
                      <a:pt x="1150" y="374"/>
                    </a:lnTo>
                    <a:lnTo>
                      <a:pt x="1150" y="375"/>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57" name="Freeform 55"/>
              <p:cNvSpPr>
                <a:spLocks/>
              </p:cNvSpPr>
              <p:nvPr/>
            </p:nvSpPr>
            <p:spPr bwMode="auto">
              <a:xfrm>
                <a:off x="2507" y="2338"/>
                <a:ext cx="1826" cy="1632"/>
              </a:xfrm>
              <a:custGeom>
                <a:avLst/>
                <a:gdLst>
                  <a:gd name="T0" fmla="*/ 1811 w 1826"/>
                  <a:gd name="T1" fmla="*/ 92 h 1632"/>
                  <a:gd name="T2" fmla="*/ 1811 w 1826"/>
                  <a:gd name="T3" fmla="*/ 206 h 1632"/>
                  <a:gd name="T4" fmla="*/ 1728 w 1826"/>
                  <a:gd name="T5" fmla="*/ 255 h 1632"/>
                  <a:gd name="T6" fmla="*/ 1589 w 1826"/>
                  <a:gd name="T7" fmla="*/ 170 h 1632"/>
                  <a:gd name="T8" fmla="*/ 1548 w 1826"/>
                  <a:gd name="T9" fmla="*/ 387 h 1632"/>
                  <a:gd name="T10" fmla="*/ 1605 w 1826"/>
                  <a:gd name="T11" fmla="*/ 523 h 1632"/>
                  <a:gd name="T12" fmla="*/ 1581 w 1826"/>
                  <a:gd name="T13" fmla="*/ 647 h 1632"/>
                  <a:gd name="T14" fmla="*/ 1535 w 1826"/>
                  <a:gd name="T15" fmla="*/ 747 h 1632"/>
                  <a:gd name="T16" fmla="*/ 1421 w 1826"/>
                  <a:gd name="T17" fmla="*/ 769 h 1632"/>
                  <a:gd name="T18" fmla="*/ 1239 w 1826"/>
                  <a:gd name="T19" fmla="*/ 756 h 1632"/>
                  <a:gd name="T20" fmla="*/ 1229 w 1826"/>
                  <a:gd name="T21" fmla="*/ 872 h 1632"/>
                  <a:gd name="T22" fmla="*/ 1174 w 1826"/>
                  <a:gd name="T23" fmla="*/ 1040 h 1632"/>
                  <a:gd name="T24" fmla="*/ 995 w 1826"/>
                  <a:gd name="T25" fmla="*/ 1087 h 1632"/>
                  <a:gd name="T26" fmla="*/ 889 w 1826"/>
                  <a:gd name="T27" fmla="*/ 1323 h 1632"/>
                  <a:gd name="T28" fmla="*/ 800 w 1826"/>
                  <a:gd name="T29" fmla="*/ 1548 h 1632"/>
                  <a:gd name="T30" fmla="*/ 673 w 1826"/>
                  <a:gd name="T31" fmla="*/ 1626 h 1632"/>
                  <a:gd name="T32" fmla="*/ 602 w 1826"/>
                  <a:gd name="T33" fmla="*/ 1613 h 1632"/>
                  <a:gd name="T34" fmla="*/ 569 w 1826"/>
                  <a:gd name="T35" fmla="*/ 1602 h 1632"/>
                  <a:gd name="T36" fmla="*/ 515 w 1826"/>
                  <a:gd name="T37" fmla="*/ 1605 h 1632"/>
                  <a:gd name="T38" fmla="*/ 456 w 1826"/>
                  <a:gd name="T39" fmla="*/ 1602 h 1632"/>
                  <a:gd name="T40" fmla="*/ 399 w 1826"/>
                  <a:gd name="T41" fmla="*/ 1575 h 1632"/>
                  <a:gd name="T42" fmla="*/ 287 w 1826"/>
                  <a:gd name="T43" fmla="*/ 1499 h 1632"/>
                  <a:gd name="T44" fmla="*/ 182 w 1826"/>
                  <a:gd name="T45" fmla="*/ 1431 h 1632"/>
                  <a:gd name="T46" fmla="*/ 116 w 1826"/>
                  <a:gd name="T47" fmla="*/ 1385 h 1632"/>
                  <a:gd name="T48" fmla="*/ 70 w 1826"/>
                  <a:gd name="T49" fmla="*/ 1365 h 1632"/>
                  <a:gd name="T50" fmla="*/ 11 w 1826"/>
                  <a:gd name="T51" fmla="*/ 1361 h 1632"/>
                  <a:gd name="T52" fmla="*/ 46 w 1826"/>
                  <a:gd name="T53" fmla="*/ 1301 h 1632"/>
                  <a:gd name="T54" fmla="*/ 73 w 1826"/>
                  <a:gd name="T55" fmla="*/ 1171 h 1632"/>
                  <a:gd name="T56" fmla="*/ 177 w 1826"/>
                  <a:gd name="T57" fmla="*/ 1140 h 1632"/>
                  <a:gd name="T58" fmla="*/ 292 w 1826"/>
                  <a:gd name="T59" fmla="*/ 1108 h 1632"/>
                  <a:gd name="T60" fmla="*/ 363 w 1826"/>
                  <a:gd name="T61" fmla="*/ 1095 h 1632"/>
                  <a:gd name="T62" fmla="*/ 399 w 1826"/>
                  <a:gd name="T63" fmla="*/ 1003 h 1632"/>
                  <a:gd name="T64" fmla="*/ 385 w 1826"/>
                  <a:gd name="T65" fmla="*/ 926 h 1632"/>
                  <a:gd name="T66" fmla="*/ 330 w 1826"/>
                  <a:gd name="T67" fmla="*/ 902 h 1632"/>
                  <a:gd name="T68" fmla="*/ 345 w 1826"/>
                  <a:gd name="T69" fmla="*/ 794 h 1632"/>
                  <a:gd name="T70" fmla="*/ 383 w 1826"/>
                  <a:gd name="T71" fmla="*/ 745 h 1632"/>
                  <a:gd name="T72" fmla="*/ 442 w 1826"/>
                  <a:gd name="T73" fmla="*/ 774 h 1632"/>
                  <a:gd name="T74" fmla="*/ 452 w 1826"/>
                  <a:gd name="T75" fmla="*/ 810 h 1632"/>
                  <a:gd name="T76" fmla="*/ 418 w 1826"/>
                  <a:gd name="T77" fmla="*/ 858 h 1632"/>
                  <a:gd name="T78" fmla="*/ 455 w 1826"/>
                  <a:gd name="T79" fmla="*/ 929 h 1632"/>
                  <a:gd name="T80" fmla="*/ 497 w 1826"/>
                  <a:gd name="T81" fmla="*/ 934 h 1632"/>
                  <a:gd name="T82" fmla="*/ 490 w 1826"/>
                  <a:gd name="T83" fmla="*/ 885 h 1632"/>
                  <a:gd name="T84" fmla="*/ 515 w 1826"/>
                  <a:gd name="T85" fmla="*/ 804 h 1632"/>
                  <a:gd name="T86" fmla="*/ 583 w 1826"/>
                  <a:gd name="T87" fmla="*/ 782 h 1632"/>
                  <a:gd name="T88" fmla="*/ 648 w 1826"/>
                  <a:gd name="T89" fmla="*/ 816 h 1632"/>
                  <a:gd name="T90" fmla="*/ 718 w 1826"/>
                  <a:gd name="T91" fmla="*/ 853 h 1632"/>
                  <a:gd name="T92" fmla="*/ 711 w 1826"/>
                  <a:gd name="T93" fmla="*/ 767 h 1632"/>
                  <a:gd name="T94" fmla="*/ 669 w 1826"/>
                  <a:gd name="T95" fmla="*/ 718 h 1632"/>
                  <a:gd name="T96" fmla="*/ 599 w 1826"/>
                  <a:gd name="T97" fmla="*/ 688 h 1632"/>
                  <a:gd name="T98" fmla="*/ 600 w 1826"/>
                  <a:gd name="T99" fmla="*/ 650 h 1632"/>
                  <a:gd name="T100" fmla="*/ 591 w 1826"/>
                  <a:gd name="T101" fmla="*/ 599 h 1632"/>
                  <a:gd name="T102" fmla="*/ 521 w 1826"/>
                  <a:gd name="T103" fmla="*/ 577 h 1632"/>
                  <a:gd name="T104" fmla="*/ 442 w 1826"/>
                  <a:gd name="T105" fmla="*/ 614 h 1632"/>
                  <a:gd name="T106" fmla="*/ 421 w 1826"/>
                  <a:gd name="T107" fmla="*/ 553 h 1632"/>
                  <a:gd name="T108" fmla="*/ 485 w 1826"/>
                  <a:gd name="T109" fmla="*/ 492 h 1632"/>
                  <a:gd name="T110" fmla="*/ 512 w 1826"/>
                  <a:gd name="T111" fmla="*/ 436 h 1632"/>
                  <a:gd name="T112" fmla="*/ 556 w 1826"/>
                  <a:gd name="T113" fmla="*/ 355 h 1632"/>
                  <a:gd name="T114" fmla="*/ 566 w 1826"/>
                  <a:gd name="T115" fmla="*/ 295 h 1632"/>
                  <a:gd name="T116" fmla="*/ 572 w 1826"/>
                  <a:gd name="T117" fmla="*/ 265 h 1632"/>
                  <a:gd name="T118" fmla="*/ 597 w 1826"/>
                  <a:gd name="T119" fmla="*/ 251 h 1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26" h="1632">
                    <a:moveTo>
                      <a:pt x="1735" y="0"/>
                    </a:moveTo>
                    <a:lnTo>
                      <a:pt x="1741" y="4"/>
                    </a:lnTo>
                    <a:lnTo>
                      <a:pt x="1747" y="8"/>
                    </a:lnTo>
                    <a:lnTo>
                      <a:pt x="1752" y="15"/>
                    </a:lnTo>
                    <a:lnTo>
                      <a:pt x="1755" y="21"/>
                    </a:lnTo>
                    <a:lnTo>
                      <a:pt x="1758" y="26"/>
                    </a:lnTo>
                    <a:lnTo>
                      <a:pt x="1765" y="35"/>
                    </a:lnTo>
                    <a:lnTo>
                      <a:pt x="1773" y="45"/>
                    </a:lnTo>
                    <a:lnTo>
                      <a:pt x="1782" y="54"/>
                    </a:lnTo>
                    <a:lnTo>
                      <a:pt x="1788" y="61"/>
                    </a:lnTo>
                    <a:lnTo>
                      <a:pt x="1795" y="67"/>
                    </a:lnTo>
                    <a:lnTo>
                      <a:pt x="1801" y="72"/>
                    </a:lnTo>
                    <a:lnTo>
                      <a:pt x="1807" y="75"/>
                    </a:lnTo>
                    <a:lnTo>
                      <a:pt x="1811" y="78"/>
                    </a:lnTo>
                    <a:lnTo>
                      <a:pt x="1812" y="81"/>
                    </a:lnTo>
                    <a:lnTo>
                      <a:pt x="1812" y="86"/>
                    </a:lnTo>
                    <a:lnTo>
                      <a:pt x="1811" y="92"/>
                    </a:lnTo>
                    <a:lnTo>
                      <a:pt x="1809" y="92"/>
                    </a:lnTo>
                    <a:lnTo>
                      <a:pt x="1806" y="100"/>
                    </a:lnTo>
                    <a:lnTo>
                      <a:pt x="1804" y="110"/>
                    </a:lnTo>
                    <a:lnTo>
                      <a:pt x="1803" y="119"/>
                    </a:lnTo>
                    <a:lnTo>
                      <a:pt x="1804" y="127"/>
                    </a:lnTo>
                    <a:lnTo>
                      <a:pt x="1811" y="135"/>
                    </a:lnTo>
                    <a:lnTo>
                      <a:pt x="1817" y="141"/>
                    </a:lnTo>
                    <a:lnTo>
                      <a:pt x="1822" y="146"/>
                    </a:lnTo>
                    <a:lnTo>
                      <a:pt x="1823" y="151"/>
                    </a:lnTo>
                    <a:lnTo>
                      <a:pt x="1825" y="160"/>
                    </a:lnTo>
                    <a:lnTo>
                      <a:pt x="1826" y="168"/>
                    </a:lnTo>
                    <a:lnTo>
                      <a:pt x="1825" y="176"/>
                    </a:lnTo>
                    <a:lnTo>
                      <a:pt x="1822" y="187"/>
                    </a:lnTo>
                    <a:lnTo>
                      <a:pt x="1822" y="197"/>
                    </a:lnTo>
                    <a:lnTo>
                      <a:pt x="1822" y="202"/>
                    </a:lnTo>
                    <a:lnTo>
                      <a:pt x="1817" y="205"/>
                    </a:lnTo>
                    <a:lnTo>
                      <a:pt x="1811" y="206"/>
                    </a:lnTo>
                    <a:lnTo>
                      <a:pt x="1803" y="210"/>
                    </a:lnTo>
                    <a:lnTo>
                      <a:pt x="1792" y="213"/>
                    </a:lnTo>
                    <a:lnTo>
                      <a:pt x="1787" y="213"/>
                    </a:lnTo>
                    <a:lnTo>
                      <a:pt x="1784" y="216"/>
                    </a:lnTo>
                    <a:lnTo>
                      <a:pt x="1779" y="224"/>
                    </a:lnTo>
                    <a:lnTo>
                      <a:pt x="1777" y="227"/>
                    </a:lnTo>
                    <a:lnTo>
                      <a:pt x="1774" y="235"/>
                    </a:lnTo>
                    <a:lnTo>
                      <a:pt x="1769" y="249"/>
                    </a:lnTo>
                    <a:lnTo>
                      <a:pt x="1766" y="262"/>
                    </a:lnTo>
                    <a:lnTo>
                      <a:pt x="1765" y="270"/>
                    </a:lnTo>
                    <a:lnTo>
                      <a:pt x="1757" y="279"/>
                    </a:lnTo>
                    <a:lnTo>
                      <a:pt x="1752" y="284"/>
                    </a:lnTo>
                    <a:lnTo>
                      <a:pt x="1749" y="284"/>
                    </a:lnTo>
                    <a:lnTo>
                      <a:pt x="1744" y="281"/>
                    </a:lnTo>
                    <a:lnTo>
                      <a:pt x="1739" y="274"/>
                    </a:lnTo>
                    <a:lnTo>
                      <a:pt x="1733" y="263"/>
                    </a:lnTo>
                    <a:lnTo>
                      <a:pt x="1728" y="255"/>
                    </a:lnTo>
                    <a:lnTo>
                      <a:pt x="1725" y="248"/>
                    </a:lnTo>
                    <a:lnTo>
                      <a:pt x="1724" y="236"/>
                    </a:lnTo>
                    <a:lnTo>
                      <a:pt x="1720" y="219"/>
                    </a:lnTo>
                    <a:lnTo>
                      <a:pt x="1717" y="205"/>
                    </a:lnTo>
                    <a:lnTo>
                      <a:pt x="1716" y="197"/>
                    </a:lnTo>
                    <a:lnTo>
                      <a:pt x="1714" y="189"/>
                    </a:lnTo>
                    <a:lnTo>
                      <a:pt x="1711" y="181"/>
                    </a:lnTo>
                    <a:lnTo>
                      <a:pt x="1706" y="178"/>
                    </a:lnTo>
                    <a:lnTo>
                      <a:pt x="1654" y="165"/>
                    </a:lnTo>
                    <a:lnTo>
                      <a:pt x="1649" y="159"/>
                    </a:lnTo>
                    <a:lnTo>
                      <a:pt x="1646" y="151"/>
                    </a:lnTo>
                    <a:lnTo>
                      <a:pt x="1640" y="141"/>
                    </a:lnTo>
                    <a:lnTo>
                      <a:pt x="1636" y="135"/>
                    </a:lnTo>
                    <a:lnTo>
                      <a:pt x="1630" y="135"/>
                    </a:lnTo>
                    <a:lnTo>
                      <a:pt x="1627" y="137"/>
                    </a:lnTo>
                    <a:lnTo>
                      <a:pt x="1622" y="143"/>
                    </a:lnTo>
                    <a:lnTo>
                      <a:pt x="1589" y="170"/>
                    </a:lnTo>
                    <a:lnTo>
                      <a:pt x="1579" y="178"/>
                    </a:lnTo>
                    <a:lnTo>
                      <a:pt x="1571" y="191"/>
                    </a:lnTo>
                    <a:lnTo>
                      <a:pt x="1567" y="197"/>
                    </a:lnTo>
                    <a:lnTo>
                      <a:pt x="1567" y="227"/>
                    </a:lnTo>
                    <a:lnTo>
                      <a:pt x="1549" y="255"/>
                    </a:lnTo>
                    <a:lnTo>
                      <a:pt x="1545" y="263"/>
                    </a:lnTo>
                    <a:lnTo>
                      <a:pt x="1541" y="279"/>
                    </a:lnTo>
                    <a:lnTo>
                      <a:pt x="1540" y="292"/>
                    </a:lnTo>
                    <a:lnTo>
                      <a:pt x="1538" y="298"/>
                    </a:lnTo>
                    <a:lnTo>
                      <a:pt x="1538" y="309"/>
                    </a:lnTo>
                    <a:lnTo>
                      <a:pt x="1537" y="328"/>
                    </a:lnTo>
                    <a:lnTo>
                      <a:pt x="1535" y="339"/>
                    </a:lnTo>
                    <a:lnTo>
                      <a:pt x="1535" y="347"/>
                    </a:lnTo>
                    <a:lnTo>
                      <a:pt x="1535" y="355"/>
                    </a:lnTo>
                    <a:lnTo>
                      <a:pt x="1533" y="365"/>
                    </a:lnTo>
                    <a:lnTo>
                      <a:pt x="1533" y="366"/>
                    </a:lnTo>
                    <a:lnTo>
                      <a:pt x="1548" y="387"/>
                    </a:lnTo>
                    <a:lnTo>
                      <a:pt x="1543" y="401"/>
                    </a:lnTo>
                    <a:lnTo>
                      <a:pt x="1538" y="409"/>
                    </a:lnTo>
                    <a:lnTo>
                      <a:pt x="1532" y="428"/>
                    </a:lnTo>
                    <a:lnTo>
                      <a:pt x="1527" y="441"/>
                    </a:lnTo>
                    <a:lnTo>
                      <a:pt x="1524" y="449"/>
                    </a:lnTo>
                    <a:lnTo>
                      <a:pt x="1521" y="457"/>
                    </a:lnTo>
                    <a:lnTo>
                      <a:pt x="1521" y="458"/>
                    </a:lnTo>
                    <a:lnTo>
                      <a:pt x="1522" y="465"/>
                    </a:lnTo>
                    <a:lnTo>
                      <a:pt x="1526" y="477"/>
                    </a:lnTo>
                    <a:lnTo>
                      <a:pt x="1529" y="492"/>
                    </a:lnTo>
                    <a:lnTo>
                      <a:pt x="1529" y="493"/>
                    </a:lnTo>
                    <a:lnTo>
                      <a:pt x="1549" y="501"/>
                    </a:lnTo>
                    <a:lnTo>
                      <a:pt x="1579" y="514"/>
                    </a:lnTo>
                    <a:lnTo>
                      <a:pt x="1592" y="518"/>
                    </a:lnTo>
                    <a:lnTo>
                      <a:pt x="1598" y="520"/>
                    </a:lnTo>
                    <a:lnTo>
                      <a:pt x="1602" y="522"/>
                    </a:lnTo>
                    <a:lnTo>
                      <a:pt x="1605" y="523"/>
                    </a:lnTo>
                    <a:lnTo>
                      <a:pt x="1611" y="526"/>
                    </a:lnTo>
                    <a:lnTo>
                      <a:pt x="1617" y="528"/>
                    </a:lnTo>
                    <a:lnTo>
                      <a:pt x="1621" y="536"/>
                    </a:lnTo>
                    <a:lnTo>
                      <a:pt x="1621" y="547"/>
                    </a:lnTo>
                    <a:lnTo>
                      <a:pt x="1621" y="550"/>
                    </a:lnTo>
                    <a:lnTo>
                      <a:pt x="1619" y="557"/>
                    </a:lnTo>
                    <a:lnTo>
                      <a:pt x="1619" y="568"/>
                    </a:lnTo>
                    <a:lnTo>
                      <a:pt x="1619" y="572"/>
                    </a:lnTo>
                    <a:lnTo>
                      <a:pt x="1614" y="585"/>
                    </a:lnTo>
                    <a:lnTo>
                      <a:pt x="1605" y="598"/>
                    </a:lnTo>
                    <a:lnTo>
                      <a:pt x="1606" y="612"/>
                    </a:lnTo>
                    <a:lnTo>
                      <a:pt x="1603" y="618"/>
                    </a:lnTo>
                    <a:lnTo>
                      <a:pt x="1600" y="623"/>
                    </a:lnTo>
                    <a:lnTo>
                      <a:pt x="1598" y="626"/>
                    </a:lnTo>
                    <a:lnTo>
                      <a:pt x="1590" y="634"/>
                    </a:lnTo>
                    <a:lnTo>
                      <a:pt x="1589" y="637"/>
                    </a:lnTo>
                    <a:lnTo>
                      <a:pt x="1581" y="647"/>
                    </a:lnTo>
                    <a:lnTo>
                      <a:pt x="1581" y="653"/>
                    </a:lnTo>
                    <a:lnTo>
                      <a:pt x="1579" y="660"/>
                    </a:lnTo>
                    <a:lnTo>
                      <a:pt x="1578" y="666"/>
                    </a:lnTo>
                    <a:lnTo>
                      <a:pt x="1576" y="680"/>
                    </a:lnTo>
                    <a:lnTo>
                      <a:pt x="1576" y="686"/>
                    </a:lnTo>
                    <a:lnTo>
                      <a:pt x="1567" y="699"/>
                    </a:lnTo>
                    <a:lnTo>
                      <a:pt x="1564" y="707"/>
                    </a:lnTo>
                    <a:lnTo>
                      <a:pt x="1564" y="713"/>
                    </a:lnTo>
                    <a:lnTo>
                      <a:pt x="1559" y="718"/>
                    </a:lnTo>
                    <a:lnTo>
                      <a:pt x="1560" y="721"/>
                    </a:lnTo>
                    <a:lnTo>
                      <a:pt x="1562" y="726"/>
                    </a:lnTo>
                    <a:lnTo>
                      <a:pt x="1560" y="731"/>
                    </a:lnTo>
                    <a:lnTo>
                      <a:pt x="1559" y="732"/>
                    </a:lnTo>
                    <a:lnTo>
                      <a:pt x="1556" y="736"/>
                    </a:lnTo>
                    <a:lnTo>
                      <a:pt x="1549" y="739"/>
                    </a:lnTo>
                    <a:lnTo>
                      <a:pt x="1541" y="743"/>
                    </a:lnTo>
                    <a:lnTo>
                      <a:pt x="1535" y="747"/>
                    </a:lnTo>
                    <a:lnTo>
                      <a:pt x="1533" y="747"/>
                    </a:lnTo>
                    <a:lnTo>
                      <a:pt x="1527" y="748"/>
                    </a:lnTo>
                    <a:lnTo>
                      <a:pt x="1519" y="748"/>
                    </a:lnTo>
                    <a:lnTo>
                      <a:pt x="1518" y="750"/>
                    </a:lnTo>
                    <a:lnTo>
                      <a:pt x="1516" y="739"/>
                    </a:lnTo>
                    <a:lnTo>
                      <a:pt x="1507" y="739"/>
                    </a:lnTo>
                    <a:lnTo>
                      <a:pt x="1500" y="742"/>
                    </a:lnTo>
                    <a:lnTo>
                      <a:pt x="1489" y="748"/>
                    </a:lnTo>
                    <a:lnTo>
                      <a:pt x="1483" y="753"/>
                    </a:lnTo>
                    <a:lnTo>
                      <a:pt x="1473" y="774"/>
                    </a:lnTo>
                    <a:lnTo>
                      <a:pt x="1468" y="780"/>
                    </a:lnTo>
                    <a:lnTo>
                      <a:pt x="1467" y="782"/>
                    </a:lnTo>
                    <a:lnTo>
                      <a:pt x="1459" y="786"/>
                    </a:lnTo>
                    <a:lnTo>
                      <a:pt x="1453" y="791"/>
                    </a:lnTo>
                    <a:lnTo>
                      <a:pt x="1448" y="799"/>
                    </a:lnTo>
                    <a:lnTo>
                      <a:pt x="1435" y="785"/>
                    </a:lnTo>
                    <a:lnTo>
                      <a:pt x="1421" y="769"/>
                    </a:lnTo>
                    <a:lnTo>
                      <a:pt x="1407" y="756"/>
                    </a:lnTo>
                    <a:lnTo>
                      <a:pt x="1396" y="747"/>
                    </a:lnTo>
                    <a:lnTo>
                      <a:pt x="1378" y="740"/>
                    </a:lnTo>
                    <a:lnTo>
                      <a:pt x="1372" y="740"/>
                    </a:lnTo>
                    <a:lnTo>
                      <a:pt x="1361" y="736"/>
                    </a:lnTo>
                    <a:lnTo>
                      <a:pt x="1350" y="731"/>
                    </a:lnTo>
                    <a:lnTo>
                      <a:pt x="1334" y="723"/>
                    </a:lnTo>
                    <a:lnTo>
                      <a:pt x="1318" y="713"/>
                    </a:lnTo>
                    <a:lnTo>
                      <a:pt x="1313" y="707"/>
                    </a:lnTo>
                    <a:lnTo>
                      <a:pt x="1305" y="704"/>
                    </a:lnTo>
                    <a:lnTo>
                      <a:pt x="1288" y="702"/>
                    </a:lnTo>
                    <a:lnTo>
                      <a:pt x="1288" y="704"/>
                    </a:lnTo>
                    <a:lnTo>
                      <a:pt x="1272" y="717"/>
                    </a:lnTo>
                    <a:lnTo>
                      <a:pt x="1264" y="729"/>
                    </a:lnTo>
                    <a:lnTo>
                      <a:pt x="1259" y="734"/>
                    </a:lnTo>
                    <a:lnTo>
                      <a:pt x="1248" y="745"/>
                    </a:lnTo>
                    <a:lnTo>
                      <a:pt x="1239" y="756"/>
                    </a:lnTo>
                    <a:lnTo>
                      <a:pt x="1234" y="767"/>
                    </a:lnTo>
                    <a:lnTo>
                      <a:pt x="1226" y="778"/>
                    </a:lnTo>
                    <a:lnTo>
                      <a:pt x="1226" y="793"/>
                    </a:lnTo>
                    <a:lnTo>
                      <a:pt x="1228" y="801"/>
                    </a:lnTo>
                    <a:lnTo>
                      <a:pt x="1228" y="802"/>
                    </a:lnTo>
                    <a:lnTo>
                      <a:pt x="1228" y="804"/>
                    </a:lnTo>
                    <a:lnTo>
                      <a:pt x="1228" y="812"/>
                    </a:lnTo>
                    <a:lnTo>
                      <a:pt x="1231" y="821"/>
                    </a:lnTo>
                    <a:lnTo>
                      <a:pt x="1232" y="827"/>
                    </a:lnTo>
                    <a:lnTo>
                      <a:pt x="1232" y="834"/>
                    </a:lnTo>
                    <a:lnTo>
                      <a:pt x="1232" y="842"/>
                    </a:lnTo>
                    <a:lnTo>
                      <a:pt x="1232" y="851"/>
                    </a:lnTo>
                    <a:lnTo>
                      <a:pt x="1231" y="854"/>
                    </a:lnTo>
                    <a:lnTo>
                      <a:pt x="1231" y="856"/>
                    </a:lnTo>
                    <a:lnTo>
                      <a:pt x="1229" y="861"/>
                    </a:lnTo>
                    <a:lnTo>
                      <a:pt x="1229" y="867"/>
                    </a:lnTo>
                    <a:lnTo>
                      <a:pt x="1229" y="872"/>
                    </a:lnTo>
                    <a:lnTo>
                      <a:pt x="1229" y="878"/>
                    </a:lnTo>
                    <a:lnTo>
                      <a:pt x="1229" y="883"/>
                    </a:lnTo>
                    <a:lnTo>
                      <a:pt x="1229" y="889"/>
                    </a:lnTo>
                    <a:lnTo>
                      <a:pt x="1232" y="908"/>
                    </a:lnTo>
                    <a:lnTo>
                      <a:pt x="1232" y="921"/>
                    </a:lnTo>
                    <a:lnTo>
                      <a:pt x="1231" y="937"/>
                    </a:lnTo>
                    <a:lnTo>
                      <a:pt x="1231" y="948"/>
                    </a:lnTo>
                    <a:lnTo>
                      <a:pt x="1231" y="961"/>
                    </a:lnTo>
                    <a:lnTo>
                      <a:pt x="1239" y="981"/>
                    </a:lnTo>
                    <a:lnTo>
                      <a:pt x="1245" y="997"/>
                    </a:lnTo>
                    <a:lnTo>
                      <a:pt x="1228" y="1002"/>
                    </a:lnTo>
                    <a:lnTo>
                      <a:pt x="1218" y="1007"/>
                    </a:lnTo>
                    <a:lnTo>
                      <a:pt x="1212" y="1011"/>
                    </a:lnTo>
                    <a:lnTo>
                      <a:pt x="1204" y="1018"/>
                    </a:lnTo>
                    <a:lnTo>
                      <a:pt x="1196" y="1024"/>
                    </a:lnTo>
                    <a:lnTo>
                      <a:pt x="1179" y="1032"/>
                    </a:lnTo>
                    <a:lnTo>
                      <a:pt x="1174" y="1040"/>
                    </a:lnTo>
                    <a:lnTo>
                      <a:pt x="1161" y="1043"/>
                    </a:lnTo>
                    <a:lnTo>
                      <a:pt x="1155" y="1049"/>
                    </a:lnTo>
                    <a:lnTo>
                      <a:pt x="1153" y="1054"/>
                    </a:lnTo>
                    <a:lnTo>
                      <a:pt x="1145" y="1059"/>
                    </a:lnTo>
                    <a:lnTo>
                      <a:pt x="1141" y="1065"/>
                    </a:lnTo>
                    <a:lnTo>
                      <a:pt x="1136" y="1073"/>
                    </a:lnTo>
                    <a:lnTo>
                      <a:pt x="1131" y="1078"/>
                    </a:lnTo>
                    <a:lnTo>
                      <a:pt x="1109" y="1081"/>
                    </a:lnTo>
                    <a:lnTo>
                      <a:pt x="1084" y="1084"/>
                    </a:lnTo>
                    <a:lnTo>
                      <a:pt x="1066" y="1087"/>
                    </a:lnTo>
                    <a:lnTo>
                      <a:pt x="1057" y="1090"/>
                    </a:lnTo>
                    <a:lnTo>
                      <a:pt x="1046" y="1090"/>
                    </a:lnTo>
                    <a:lnTo>
                      <a:pt x="1036" y="1094"/>
                    </a:lnTo>
                    <a:lnTo>
                      <a:pt x="1027" y="1094"/>
                    </a:lnTo>
                    <a:lnTo>
                      <a:pt x="1015" y="1092"/>
                    </a:lnTo>
                    <a:lnTo>
                      <a:pt x="1004" y="1090"/>
                    </a:lnTo>
                    <a:lnTo>
                      <a:pt x="995" y="1087"/>
                    </a:lnTo>
                    <a:lnTo>
                      <a:pt x="985" y="1081"/>
                    </a:lnTo>
                    <a:lnTo>
                      <a:pt x="958" y="1114"/>
                    </a:lnTo>
                    <a:lnTo>
                      <a:pt x="949" y="1133"/>
                    </a:lnTo>
                    <a:lnTo>
                      <a:pt x="941" y="1155"/>
                    </a:lnTo>
                    <a:lnTo>
                      <a:pt x="927" y="1187"/>
                    </a:lnTo>
                    <a:lnTo>
                      <a:pt x="922" y="1197"/>
                    </a:lnTo>
                    <a:lnTo>
                      <a:pt x="919" y="1211"/>
                    </a:lnTo>
                    <a:lnTo>
                      <a:pt x="912" y="1228"/>
                    </a:lnTo>
                    <a:lnTo>
                      <a:pt x="908" y="1243"/>
                    </a:lnTo>
                    <a:lnTo>
                      <a:pt x="905" y="1255"/>
                    </a:lnTo>
                    <a:lnTo>
                      <a:pt x="901" y="1277"/>
                    </a:lnTo>
                    <a:lnTo>
                      <a:pt x="901" y="1295"/>
                    </a:lnTo>
                    <a:lnTo>
                      <a:pt x="900" y="1298"/>
                    </a:lnTo>
                    <a:lnTo>
                      <a:pt x="895" y="1304"/>
                    </a:lnTo>
                    <a:lnTo>
                      <a:pt x="893" y="1309"/>
                    </a:lnTo>
                    <a:lnTo>
                      <a:pt x="892" y="1315"/>
                    </a:lnTo>
                    <a:lnTo>
                      <a:pt x="889" y="1323"/>
                    </a:lnTo>
                    <a:lnTo>
                      <a:pt x="886" y="1330"/>
                    </a:lnTo>
                    <a:lnTo>
                      <a:pt x="881" y="1341"/>
                    </a:lnTo>
                    <a:lnTo>
                      <a:pt x="876" y="1352"/>
                    </a:lnTo>
                    <a:lnTo>
                      <a:pt x="871" y="1361"/>
                    </a:lnTo>
                    <a:lnTo>
                      <a:pt x="868" y="1371"/>
                    </a:lnTo>
                    <a:lnTo>
                      <a:pt x="865" y="1382"/>
                    </a:lnTo>
                    <a:lnTo>
                      <a:pt x="860" y="1392"/>
                    </a:lnTo>
                    <a:lnTo>
                      <a:pt x="855" y="1403"/>
                    </a:lnTo>
                    <a:lnTo>
                      <a:pt x="849" y="1412"/>
                    </a:lnTo>
                    <a:lnTo>
                      <a:pt x="841" y="1420"/>
                    </a:lnTo>
                    <a:lnTo>
                      <a:pt x="838" y="1441"/>
                    </a:lnTo>
                    <a:lnTo>
                      <a:pt x="833" y="1455"/>
                    </a:lnTo>
                    <a:lnTo>
                      <a:pt x="824" y="1477"/>
                    </a:lnTo>
                    <a:lnTo>
                      <a:pt x="830" y="1499"/>
                    </a:lnTo>
                    <a:lnTo>
                      <a:pt x="825" y="1506"/>
                    </a:lnTo>
                    <a:lnTo>
                      <a:pt x="810" y="1533"/>
                    </a:lnTo>
                    <a:lnTo>
                      <a:pt x="800" y="1548"/>
                    </a:lnTo>
                    <a:lnTo>
                      <a:pt x="767" y="1599"/>
                    </a:lnTo>
                    <a:lnTo>
                      <a:pt x="748" y="1605"/>
                    </a:lnTo>
                    <a:lnTo>
                      <a:pt x="711" y="1624"/>
                    </a:lnTo>
                    <a:lnTo>
                      <a:pt x="713" y="1628"/>
                    </a:lnTo>
                    <a:lnTo>
                      <a:pt x="697" y="1629"/>
                    </a:lnTo>
                    <a:lnTo>
                      <a:pt x="691" y="1629"/>
                    </a:lnTo>
                    <a:lnTo>
                      <a:pt x="689" y="1629"/>
                    </a:lnTo>
                    <a:lnTo>
                      <a:pt x="689" y="1631"/>
                    </a:lnTo>
                    <a:lnTo>
                      <a:pt x="688" y="1631"/>
                    </a:lnTo>
                    <a:lnTo>
                      <a:pt x="688" y="1629"/>
                    </a:lnTo>
                    <a:lnTo>
                      <a:pt x="686" y="1628"/>
                    </a:lnTo>
                    <a:lnTo>
                      <a:pt x="683" y="1628"/>
                    </a:lnTo>
                    <a:lnTo>
                      <a:pt x="681" y="1628"/>
                    </a:lnTo>
                    <a:lnTo>
                      <a:pt x="680" y="1628"/>
                    </a:lnTo>
                    <a:lnTo>
                      <a:pt x="676" y="1626"/>
                    </a:lnTo>
                    <a:lnTo>
                      <a:pt x="675" y="1626"/>
                    </a:lnTo>
                    <a:lnTo>
                      <a:pt x="673" y="1626"/>
                    </a:lnTo>
                    <a:lnTo>
                      <a:pt x="672" y="1631"/>
                    </a:lnTo>
                    <a:lnTo>
                      <a:pt x="670" y="1631"/>
                    </a:lnTo>
                    <a:lnTo>
                      <a:pt x="665" y="1632"/>
                    </a:lnTo>
                    <a:lnTo>
                      <a:pt x="664" y="1632"/>
                    </a:lnTo>
                    <a:lnTo>
                      <a:pt x="659" y="1632"/>
                    </a:lnTo>
                    <a:lnTo>
                      <a:pt x="651" y="1629"/>
                    </a:lnTo>
                    <a:lnTo>
                      <a:pt x="640" y="1624"/>
                    </a:lnTo>
                    <a:lnTo>
                      <a:pt x="637" y="1624"/>
                    </a:lnTo>
                    <a:lnTo>
                      <a:pt x="634" y="1624"/>
                    </a:lnTo>
                    <a:lnTo>
                      <a:pt x="631" y="1623"/>
                    </a:lnTo>
                    <a:lnTo>
                      <a:pt x="629" y="1623"/>
                    </a:lnTo>
                    <a:lnTo>
                      <a:pt x="621" y="1620"/>
                    </a:lnTo>
                    <a:lnTo>
                      <a:pt x="618" y="1618"/>
                    </a:lnTo>
                    <a:lnTo>
                      <a:pt x="612" y="1615"/>
                    </a:lnTo>
                    <a:lnTo>
                      <a:pt x="610" y="1615"/>
                    </a:lnTo>
                    <a:lnTo>
                      <a:pt x="605" y="1613"/>
                    </a:lnTo>
                    <a:lnTo>
                      <a:pt x="602" y="1613"/>
                    </a:lnTo>
                    <a:lnTo>
                      <a:pt x="600" y="1612"/>
                    </a:lnTo>
                    <a:lnTo>
                      <a:pt x="597" y="1607"/>
                    </a:lnTo>
                    <a:lnTo>
                      <a:pt x="594" y="1602"/>
                    </a:lnTo>
                    <a:lnTo>
                      <a:pt x="593" y="1599"/>
                    </a:lnTo>
                    <a:lnTo>
                      <a:pt x="591" y="1599"/>
                    </a:lnTo>
                    <a:lnTo>
                      <a:pt x="591" y="1601"/>
                    </a:lnTo>
                    <a:lnTo>
                      <a:pt x="588" y="1602"/>
                    </a:lnTo>
                    <a:lnTo>
                      <a:pt x="586" y="1605"/>
                    </a:lnTo>
                    <a:lnTo>
                      <a:pt x="586" y="1607"/>
                    </a:lnTo>
                    <a:lnTo>
                      <a:pt x="583" y="1605"/>
                    </a:lnTo>
                    <a:lnTo>
                      <a:pt x="580" y="1605"/>
                    </a:lnTo>
                    <a:lnTo>
                      <a:pt x="577" y="1605"/>
                    </a:lnTo>
                    <a:lnTo>
                      <a:pt x="574" y="1604"/>
                    </a:lnTo>
                    <a:lnTo>
                      <a:pt x="572" y="1604"/>
                    </a:lnTo>
                    <a:lnTo>
                      <a:pt x="572" y="1602"/>
                    </a:lnTo>
                    <a:lnTo>
                      <a:pt x="570" y="1602"/>
                    </a:lnTo>
                    <a:lnTo>
                      <a:pt x="569" y="1602"/>
                    </a:lnTo>
                    <a:lnTo>
                      <a:pt x="569" y="1604"/>
                    </a:lnTo>
                    <a:lnTo>
                      <a:pt x="566" y="1604"/>
                    </a:lnTo>
                    <a:lnTo>
                      <a:pt x="564" y="1604"/>
                    </a:lnTo>
                    <a:lnTo>
                      <a:pt x="561" y="1604"/>
                    </a:lnTo>
                    <a:lnTo>
                      <a:pt x="556" y="1599"/>
                    </a:lnTo>
                    <a:lnTo>
                      <a:pt x="556" y="1598"/>
                    </a:lnTo>
                    <a:lnTo>
                      <a:pt x="551" y="1598"/>
                    </a:lnTo>
                    <a:lnTo>
                      <a:pt x="548" y="1598"/>
                    </a:lnTo>
                    <a:lnTo>
                      <a:pt x="539" y="1601"/>
                    </a:lnTo>
                    <a:lnTo>
                      <a:pt x="532" y="1604"/>
                    </a:lnTo>
                    <a:lnTo>
                      <a:pt x="529" y="1604"/>
                    </a:lnTo>
                    <a:lnTo>
                      <a:pt x="528" y="1604"/>
                    </a:lnTo>
                    <a:lnTo>
                      <a:pt x="524" y="1605"/>
                    </a:lnTo>
                    <a:lnTo>
                      <a:pt x="523" y="1605"/>
                    </a:lnTo>
                    <a:lnTo>
                      <a:pt x="521" y="1605"/>
                    </a:lnTo>
                    <a:lnTo>
                      <a:pt x="520" y="1605"/>
                    </a:lnTo>
                    <a:lnTo>
                      <a:pt x="515" y="1605"/>
                    </a:lnTo>
                    <a:lnTo>
                      <a:pt x="512" y="1605"/>
                    </a:lnTo>
                    <a:lnTo>
                      <a:pt x="505" y="1605"/>
                    </a:lnTo>
                    <a:lnTo>
                      <a:pt x="497" y="1604"/>
                    </a:lnTo>
                    <a:lnTo>
                      <a:pt x="490" y="1604"/>
                    </a:lnTo>
                    <a:lnTo>
                      <a:pt x="488" y="1604"/>
                    </a:lnTo>
                    <a:lnTo>
                      <a:pt x="478" y="1602"/>
                    </a:lnTo>
                    <a:lnTo>
                      <a:pt x="477" y="1602"/>
                    </a:lnTo>
                    <a:lnTo>
                      <a:pt x="475" y="1602"/>
                    </a:lnTo>
                    <a:lnTo>
                      <a:pt x="472" y="1602"/>
                    </a:lnTo>
                    <a:lnTo>
                      <a:pt x="471" y="1602"/>
                    </a:lnTo>
                    <a:lnTo>
                      <a:pt x="469" y="1602"/>
                    </a:lnTo>
                    <a:lnTo>
                      <a:pt x="466" y="1602"/>
                    </a:lnTo>
                    <a:lnTo>
                      <a:pt x="464" y="1602"/>
                    </a:lnTo>
                    <a:lnTo>
                      <a:pt x="463" y="1602"/>
                    </a:lnTo>
                    <a:lnTo>
                      <a:pt x="461" y="1602"/>
                    </a:lnTo>
                    <a:lnTo>
                      <a:pt x="459" y="1602"/>
                    </a:lnTo>
                    <a:lnTo>
                      <a:pt x="456" y="1602"/>
                    </a:lnTo>
                    <a:lnTo>
                      <a:pt x="447" y="1601"/>
                    </a:lnTo>
                    <a:lnTo>
                      <a:pt x="445" y="1601"/>
                    </a:lnTo>
                    <a:lnTo>
                      <a:pt x="444" y="1599"/>
                    </a:lnTo>
                    <a:lnTo>
                      <a:pt x="442" y="1599"/>
                    </a:lnTo>
                    <a:lnTo>
                      <a:pt x="439" y="1599"/>
                    </a:lnTo>
                    <a:lnTo>
                      <a:pt x="437" y="1601"/>
                    </a:lnTo>
                    <a:lnTo>
                      <a:pt x="436" y="1601"/>
                    </a:lnTo>
                    <a:lnTo>
                      <a:pt x="434" y="1601"/>
                    </a:lnTo>
                    <a:lnTo>
                      <a:pt x="433" y="1601"/>
                    </a:lnTo>
                    <a:lnTo>
                      <a:pt x="429" y="1602"/>
                    </a:lnTo>
                    <a:lnTo>
                      <a:pt x="426" y="1601"/>
                    </a:lnTo>
                    <a:lnTo>
                      <a:pt x="421" y="1596"/>
                    </a:lnTo>
                    <a:lnTo>
                      <a:pt x="418" y="1594"/>
                    </a:lnTo>
                    <a:lnTo>
                      <a:pt x="410" y="1588"/>
                    </a:lnTo>
                    <a:lnTo>
                      <a:pt x="404" y="1582"/>
                    </a:lnTo>
                    <a:lnTo>
                      <a:pt x="401" y="1579"/>
                    </a:lnTo>
                    <a:lnTo>
                      <a:pt x="399" y="1575"/>
                    </a:lnTo>
                    <a:lnTo>
                      <a:pt x="396" y="1572"/>
                    </a:lnTo>
                    <a:lnTo>
                      <a:pt x="393" y="1569"/>
                    </a:lnTo>
                    <a:lnTo>
                      <a:pt x="391" y="1567"/>
                    </a:lnTo>
                    <a:lnTo>
                      <a:pt x="388" y="1567"/>
                    </a:lnTo>
                    <a:lnTo>
                      <a:pt x="385" y="1566"/>
                    </a:lnTo>
                    <a:lnTo>
                      <a:pt x="383" y="1566"/>
                    </a:lnTo>
                    <a:lnTo>
                      <a:pt x="382" y="1566"/>
                    </a:lnTo>
                    <a:lnTo>
                      <a:pt x="380" y="1566"/>
                    </a:lnTo>
                    <a:lnTo>
                      <a:pt x="374" y="1560"/>
                    </a:lnTo>
                    <a:lnTo>
                      <a:pt x="352" y="1547"/>
                    </a:lnTo>
                    <a:lnTo>
                      <a:pt x="339" y="1537"/>
                    </a:lnTo>
                    <a:lnTo>
                      <a:pt x="322" y="1526"/>
                    </a:lnTo>
                    <a:lnTo>
                      <a:pt x="292" y="1506"/>
                    </a:lnTo>
                    <a:lnTo>
                      <a:pt x="290" y="1504"/>
                    </a:lnTo>
                    <a:lnTo>
                      <a:pt x="288" y="1504"/>
                    </a:lnTo>
                    <a:lnTo>
                      <a:pt x="288" y="1499"/>
                    </a:lnTo>
                    <a:lnTo>
                      <a:pt x="287" y="1499"/>
                    </a:lnTo>
                    <a:lnTo>
                      <a:pt x="285" y="1498"/>
                    </a:lnTo>
                    <a:lnTo>
                      <a:pt x="280" y="1495"/>
                    </a:lnTo>
                    <a:lnTo>
                      <a:pt x="265" y="1485"/>
                    </a:lnTo>
                    <a:lnTo>
                      <a:pt x="263" y="1483"/>
                    </a:lnTo>
                    <a:lnTo>
                      <a:pt x="260" y="1482"/>
                    </a:lnTo>
                    <a:lnTo>
                      <a:pt x="255" y="1479"/>
                    </a:lnTo>
                    <a:lnTo>
                      <a:pt x="252" y="1477"/>
                    </a:lnTo>
                    <a:lnTo>
                      <a:pt x="250" y="1476"/>
                    </a:lnTo>
                    <a:lnTo>
                      <a:pt x="249" y="1474"/>
                    </a:lnTo>
                    <a:lnTo>
                      <a:pt x="244" y="1471"/>
                    </a:lnTo>
                    <a:lnTo>
                      <a:pt x="233" y="1464"/>
                    </a:lnTo>
                    <a:lnTo>
                      <a:pt x="231" y="1463"/>
                    </a:lnTo>
                    <a:lnTo>
                      <a:pt x="219" y="1455"/>
                    </a:lnTo>
                    <a:lnTo>
                      <a:pt x="201" y="1444"/>
                    </a:lnTo>
                    <a:lnTo>
                      <a:pt x="198" y="1442"/>
                    </a:lnTo>
                    <a:lnTo>
                      <a:pt x="184" y="1433"/>
                    </a:lnTo>
                    <a:lnTo>
                      <a:pt x="182" y="1431"/>
                    </a:lnTo>
                    <a:lnTo>
                      <a:pt x="170" y="1423"/>
                    </a:lnTo>
                    <a:lnTo>
                      <a:pt x="158" y="1415"/>
                    </a:lnTo>
                    <a:lnTo>
                      <a:pt x="157" y="1414"/>
                    </a:lnTo>
                    <a:lnTo>
                      <a:pt x="149" y="1411"/>
                    </a:lnTo>
                    <a:lnTo>
                      <a:pt x="141" y="1404"/>
                    </a:lnTo>
                    <a:lnTo>
                      <a:pt x="139" y="1404"/>
                    </a:lnTo>
                    <a:lnTo>
                      <a:pt x="138" y="1403"/>
                    </a:lnTo>
                    <a:lnTo>
                      <a:pt x="135" y="1403"/>
                    </a:lnTo>
                    <a:lnTo>
                      <a:pt x="132" y="1399"/>
                    </a:lnTo>
                    <a:lnTo>
                      <a:pt x="128" y="1395"/>
                    </a:lnTo>
                    <a:lnTo>
                      <a:pt x="128" y="1393"/>
                    </a:lnTo>
                    <a:lnTo>
                      <a:pt x="127" y="1392"/>
                    </a:lnTo>
                    <a:lnTo>
                      <a:pt x="127" y="1390"/>
                    </a:lnTo>
                    <a:lnTo>
                      <a:pt x="125" y="1390"/>
                    </a:lnTo>
                    <a:lnTo>
                      <a:pt x="124" y="1390"/>
                    </a:lnTo>
                    <a:lnTo>
                      <a:pt x="119" y="1388"/>
                    </a:lnTo>
                    <a:lnTo>
                      <a:pt x="116" y="1385"/>
                    </a:lnTo>
                    <a:lnTo>
                      <a:pt x="114" y="1382"/>
                    </a:lnTo>
                    <a:lnTo>
                      <a:pt x="113" y="1382"/>
                    </a:lnTo>
                    <a:lnTo>
                      <a:pt x="113" y="1380"/>
                    </a:lnTo>
                    <a:lnTo>
                      <a:pt x="111" y="1380"/>
                    </a:lnTo>
                    <a:lnTo>
                      <a:pt x="108" y="1379"/>
                    </a:lnTo>
                    <a:lnTo>
                      <a:pt x="106" y="1379"/>
                    </a:lnTo>
                    <a:lnTo>
                      <a:pt x="101" y="1379"/>
                    </a:lnTo>
                    <a:lnTo>
                      <a:pt x="100" y="1379"/>
                    </a:lnTo>
                    <a:lnTo>
                      <a:pt x="98" y="1377"/>
                    </a:lnTo>
                    <a:lnTo>
                      <a:pt x="97" y="1377"/>
                    </a:lnTo>
                    <a:lnTo>
                      <a:pt x="94" y="1374"/>
                    </a:lnTo>
                    <a:lnTo>
                      <a:pt x="92" y="1374"/>
                    </a:lnTo>
                    <a:lnTo>
                      <a:pt x="89" y="1374"/>
                    </a:lnTo>
                    <a:lnTo>
                      <a:pt x="87" y="1371"/>
                    </a:lnTo>
                    <a:lnTo>
                      <a:pt x="79" y="1368"/>
                    </a:lnTo>
                    <a:lnTo>
                      <a:pt x="78" y="1368"/>
                    </a:lnTo>
                    <a:lnTo>
                      <a:pt x="70" y="1365"/>
                    </a:lnTo>
                    <a:lnTo>
                      <a:pt x="60" y="1361"/>
                    </a:lnTo>
                    <a:lnTo>
                      <a:pt x="56" y="1360"/>
                    </a:lnTo>
                    <a:lnTo>
                      <a:pt x="54" y="1360"/>
                    </a:lnTo>
                    <a:lnTo>
                      <a:pt x="44" y="1360"/>
                    </a:lnTo>
                    <a:lnTo>
                      <a:pt x="19" y="1361"/>
                    </a:lnTo>
                    <a:lnTo>
                      <a:pt x="18" y="1361"/>
                    </a:lnTo>
                    <a:lnTo>
                      <a:pt x="14" y="1361"/>
                    </a:lnTo>
                    <a:lnTo>
                      <a:pt x="8" y="1361"/>
                    </a:lnTo>
                    <a:lnTo>
                      <a:pt x="2" y="1361"/>
                    </a:lnTo>
                    <a:lnTo>
                      <a:pt x="0" y="1361"/>
                    </a:lnTo>
                    <a:lnTo>
                      <a:pt x="2" y="1361"/>
                    </a:lnTo>
                    <a:lnTo>
                      <a:pt x="3" y="1361"/>
                    </a:lnTo>
                    <a:lnTo>
                      <a:pt x="5" y="1361"/>
                    </a:lnTo>
                    <a:lnTo>
                      <a:pt x="6" y="1361"/>
                    </a:lnTo>
                    <a:lnTo>
                      <a:pt x="8" y="1361"/>
                    </a:lnTo>
                    <a:lnTo>
                      <a:pt x="10" y="1361"/>
                    </a:lnTo>
                    <a:lnTo>
                      <a:pt x="11" y="1361"/>
                    </a:lnTo>
                    <a:lnTo>
                      <a:pt x="13" y="1361"/>
                    </a:lnTo>
                    <a:lnTo>
                      <a:pt x="14" y="1361"/>
                    </a:lnTo>
                    <a:lnTo>
                      <a:pt x="16" y="1361"/>
                    </a:lnTo>
                    <a:lnTo>
                      <a:pt x="16" y="1360"/>
                    </a:lnTo>
                    <a:lnTo>
                      <a:pt x="18" y="1354"/>
                    </a:lnTo>
                    <a:lnTo>
                      <a:pt x="18" y="1352"/>
                    </a:lnTo>
                    <a:lnTo>
                      <a:pt x="19" y="1350"/>
                    </a:lnTo>
                    <a:lnTo>
                      <a:pt x="21" y="1347"/>
                    </a:lnTo>
                    <a:lnTo>
                      <a:pt x="21" y="1344"/>
                    </a:lnTo>
                    <a:lnTo>
                      <a:pt x="22" y="1339"/>
                    </a:lnTo>
                    <a:lnTo>
                      <a:pt x="24" y="1335"/>
                    </a:lnTo>
                    <a:lnTo>
                      <a:pt x="30" y="1325"/>
                    </a:lnTo>
                    <a:lnTo>
                      <a:pt x="30" y="1323"/>
                    </a:lnTo>
                    <a:lnTo>
                      <a:pt x="32" y="1322"/>
                    </a:lnTo>
                    <a:lnTo>
                      <a:pt x="35" y="1315"/>
                    </a:lnTo>
                    <a:lnTo>
                      <a:pt x="40" y="1309"/>
                    </a:lnTo>
                    <a:lnTo>
                      <a:pt x="46" y="1301"/>
                    </a:lnTo>
                    <a:lnTo>
                      <a:pt x="54" y="1293"/>
                    </a:lnTo>
                    <a:lnTo>
                      <a:pt x="57" y="1287"/>
                    </a:lnTo>
                    <a:lnTo>
                      <a:pt x="65" y="1277"/>
                    </a:lnTo>
                    <a:lnTo>
                      <a:pt x="67" y="1270"/>
                    </a:lnTo>
                    <a:lnTo>
                      <a:pt x="73" y="1258"/>
                    </a:lnTo>
                    <a:lnTo>
                      <a:pt x="73" y="1246"/>
                    </a:lnTo>
                    <a:lnTo>
                      <a:pt x="71" y="1236"/>
                    </a:lnTo>
                    <a:lnTo>
                      <a:pt x="68" y="1228"/>
                    </a:lnTo>
                    <a:lnTo>
                      <a:pt x="63" y="1224"/>
                    </a:lnTo>
                    <a:lnTo>
                      <a:pt x="62" y="1216"/>
                    </a:lnTo>
                    <a:lnTo>
                      <a:pt x="62" y="1208"/>
                    </a:lnTo>
                    <a:lnTo>
                      <a:pt x="63" y="1205"/>
                    </a:lnTo>
                    <a:lnTo>
                      <a:pt x="68" y="1198"/>
                    </a:lnTo>
                    <a:lnTo>
                      <a:pt x="70" y="1192"/>
                    </a:lnTo>
                    <a:lnTo>
                      <a:pt x="70" y="1187"/>
                    </a:lnTo>
                    <a:lnTo>
                      <a:pt x="70" y="1181"/>
                    </a:lnTo>
                    <a:lnTo>
                      <a:pt x="73" y="1171"/>
                    </a:lnTo>
                    <a:lnTo>
                      <a:pt x="78" y="1163"/>
                    </a:lnTo>
                    <a:lnTo>
                      <a:pt x="84" y="1157"/>
                    </a:lnTo>
                    <a:lnTo>
                      <a:pt x="86" y="1151"/>
                    </a:lnTo>
                    <a:lnTo>
                      <a:pt x="87" y="1149"/>
                    </a:lnTo>
                    <a:lnTo>
                      <a:pt x="92" y="1143"/>
                    </a:lnTo>
                    <a:lnTo>
                      <a:pt x="98" y="1140"/>
                    </a:lnTo>
                    <a:lnTo>
                      <a:pt x="101" y="1138"/>
                    </a:lnTo>
                    <a:lnTo>
                      <a:pt x="108" y="1140"/>
                    </a:lnTo>
                    <a:lnTo>
                      <a:pt x="116" y="1141"/>
                    </a:lnTo>
                    <a:lnTo>
                      <a:pt x="125" y="1143"/>
                    </a:lnTo>
                    <a:lnTo>
                      <a:pt x="133" y="1143"/>
                    </a:lnTo>
                    <a:lnTo>
                      <a:pt x="143" y="1141"/>
                    </a:lnTo>
                    <a:lnTo>
                      <a:pt x="154" y="1140"/>
                    </a:lnTo>
                    <a:lnTo>
                      <a:pt x="158" y="1135"/>
                    </a:lnTo>
                    <a:lnTo>
                      <a:pt x="163" y="1135"/>
                    </a:lnTo>
                    <a:lnTo>
                      <a:pt x="170" y="1138"/>
                    </a:lnTo>
                    <a:lnTo>
                      <a:pt x="177" y="1140"/>
                    </a:lnTo>
                    <a:lnTo>
                      <a:pt x="185" y="1140"/>
                    </a:lnTo>
                    <a:lnTo>
                      <a:pt x="193" y="1146"/>
                    </a:lnTo>
                    <a:lnTo>
                      <a:pt x="200" y="1151"/>
                    </a:lnTo>
                    <a:lnTo>
                      <a:pt x="208" y="1152"/>
                    </a:lnTo>
                    <a:lnTo>
                      <a:pt x="222" y="1148"/>
                    </a:lnTo>
                    <a:lnTo>
                      <a:pt x="230" y="1144"/>
                    </a:lnTo>
                    <a:lnTo>
                      <a:pt x="236" y="1140"/>
                    </a:lnTo>
                    <a:lnTo>
                      <a:pt x="244" y="1138"/>
                    </a:lnTo>
                    <a:lnTo>
                      <a:pt x="252" y="1132"/>
                    </a:lnTo>
                    <a:lnTo>
                      <a:pt x="261" y="1129"/>
                    </a:lnTo>
                    <a:lnTo>
                      <a:pt x="269" y="1127"/>
                    </a:lnTo>
                    <a:lnTo>
                      <a:pt x="269" y="1124"/>
                    </a:lnTo>
                    <a:lnTo>
                      <a:pt x="276" y="1122"/>
                    </a:lnTo>
                    <a:lnTo>
                      <a:pt x="284" y="1119"/>
                    </a:lnTo>
                    <a:lnTo>
                      <a:pt x="287" y="1114"/>
                    </a:lnTo>
                    <a:lnTo>
                      <a:pt x="290" y="1110"/>
                    </a:lnTo>
                    <a:lnTo>
                      <a:pt x="292" y="1108"/>
                    </a:lnTo>
                    <a:lnTo>
                      <a:pt x="298" y="1106"/>
                    </a:lnTo>
                    <a:lnTo>
                      <a:pt x="306" y="1108"/>
                    </a:lnTo>
                    <a:lnTo>
                      <a:pt x="314" y="1111"/>
                    </a:lnTo>
                    <a:lnTo>
                      <a:pt x="318" y="1116"/>
                    </a:lnTo>
                    <a:lnTo>
                      <a:pt x="326" y="1114"/>
                    </a:lnTo>
                    <a:lnTo>
                      <a:pt x="331" y="1117"/>
                    </a:lnTo>
                    <a:lnTo>
                      <a:pt x="337" y="1119"/>
                    </a:lnTo>
                    <a:lnTo>
                      <a:pt x="342" y="1124"/>
                    </a:lnTo>
                    <a:lnTo>
                      <a:pt x="350" y="1129"/>
                    </a:lnTo>
                    <a:lnTo>
                      <a:pt x="358" y="1129"/>
                    </a:lnTo>
                    <a:lnTo>
                      <a:pt x="360" y="1129"/>
                    </a:lnTo>
                    <a:lnTo>
                      <a:pt x="363" y="1125"/>
                    </a:lnTo>
                    <a:lnTo>
                      <a:pt x="364" y="1121"/>
                    </a:lnTo>
                    <a:lnTo>
                      <a:pt x="364" y="1116"/>
                    </a:lnTo>
                    <a:lnTo>
                      <a:pt x="364" y="1108"/>
                    </a:lnTo>
                    <a:lnTo>
                      <a:pt x="363" y="1102"/>
                    </a:lnTo>
                    <a:lnTo>
                      <a:pt x="363" y="1095"/>
                    </a:lnTo>
                    <a:lnTo>
                      <a:pt x="363" y="1087"/>
                    </a:lnTo>
                    <a:lnTo>
                      <a:pt x="369" y="1081"/>
                    </a:lnTo>
                    <a:lnTo>
                      <a:pt x="374" y="1073"/>
                    </a:lnTo>
                    <a:lnTo>
                      <a:pt x="376" y="1065"/>
                    </a:lnTo>
                    <a:lnTo>
                      <a:pt x="377" y="1059"/>
                    </a:lnTo>
                    <a:lnTo>
                      <a:pt x="377" y="1049"/>
                    </a:lnTo>
                    <a:lnTo>
                      <a:pt x="377" y="1040"/>
                    </a:lnTo>
                    <a:lnTo>
                      <a:pt x="376" y="1030"/>
                    </a:lnTo>
                    <a:lnTo>
                      <a:pt x="376" y="1027"/>
                    </a:lnTo>
                    <a:lnTo>
                      <a:pt x="376" y="1026"/>
                    </a:lnTo>
                    <a:lnTo>
                      <a:pt x="374" y="1022"/>
                    </a:lnTo>
                    <a:lnTo>
                      <a:pt x="372" y="1018"/>
                    </a:lnTo>
                    <a:lnTo>
                      <a:pt x="376" y="1010"/>
                    </a:lnTo>
                    <a:lnTo>
                      <a:pt x="382" y="1008"/>
                    </a:lnTo>
                    <a:lnTo>
                      <a:pt x="387" y="1007"/>
                    </a:lnTo>
                    <a:lnTo>
                      <a:pt x="395" y="1007"/>
                    </a:lnTo>
                    <a:lnTo>
                      <a:pt x="399" y="1003"/>
                    </a:lnTo>
                    <a:lnTo>
                      <a:pt x="404" y="1000"/>
                    </a:lnTo>
                    <a:lnTo>
                      <a:pt x="409" y="999"/>
                    </a:lnTo>
                    <a:lnTo>
                      <a:pt x="414" y="995"/>
                    </a:lnTo>
                    <a:lnTo>
                      <a:pt x="415" y="992"/>
                    </a:lnTo>
                    <a:lnTo>
                      <a:pt x="418" y="986"/>
                    </a:lnTo>
                    <a:lnTo>
                      <a:pt x="418" y="980"/>
                    </a:lnTo>
                    <a:lnTo>
                      <a:pt x="414" y="975"/>
                    </a:lnTo>
                    <a:lnTo>
                      <a:pt x="409" y="973"/>
                    </a:lnTo>
                    <a:lnTo>
                      <a:pt x="404" y="972"/>
                    </a:lnTo>
                    <a:lnTo>
                      <a:pt x="398" y="967"/>
                    </a:lnTo>
                    <a:lnTo>
                      <a:pt x="396" y="962"/>
                    </a:lnTo>
                    <a:lnTo>
                      <a:pt x="395" y="956"/>
                    </a:lnTo>
                    <a:lnTo>
                      <a:pt x="395" y="949"/>
                    </a:lnTo>
                    <a:lnTo>
                      <a:pt x="391" y="943"/>
                    </a:lnTo>
                    <a:lnTo>
                      <a:pt x="387" y="938"/>
                    </a:lnTo>
                    <a:lnTo>
                      <a:pt x="387" y="932"/>
                    </a:lnTo>
                    <a:lnTo>
                      <a:pt x="385" y="926"/>
                    </a:lnTo>
                    <a:lnTo>
                      <a:pt x="383" y="918"/>
                    </a:lnTo>
                    <a:lnTo>
                      <a:pt x="379" y="916"/>
                    </a:lnTo>
                    <a:lnTo>
                      <a:pt x="377" y="916"/>
                    </a:lnTo>
                    <a:lnTo>
                      <a:pt x="376" y="916"/>
                    </a:lnTo>
                    <a:lnTo>
                      <a:pt x="369" y="916"/>
                    </a:lnTo>
                    <a:lnTo>
                      <a:pt x="364" y="916"/>
                    </a:lnTo>
                    <a:lnTo>
                      <a:pt x="361" y="913"/>
                    </a:lnTo>
                    <a:lnTo>
                      <a:pt x="358" y="910"/>
                    </a:lnTo>
                    <a:lnTo>
                      <a:pt x="353" y="908"/>
                    </a:lnTo>
                    <a:lnTo>
                      <a:pt x="350" y="905"/>
                    </a:lnTo>
                    <a:lnTo>
                      <a:pt x="347" y="902"/>
                    </a:lnTo>
                    <a:lnTo>
                      <a:pt x="342" y="902"/>
                    </a:lnTo>
                    <a:lnTo>
                      <a:pt x="337" y="905"/>
                    </a:lnTo>
                    <a:lnTo>
                      <a:pt x="336" y="907"/>
                    </a:lnTo>
                    <a:lnTo>
                      <a:pt x="334" y="907"/>
                    </a:lnTo>
                    <a:lnTo>
                      <a:pt x="331" y="907"/>
                    </a:lnTo>
                    <a:lnTo>
                      <a:pt x="330" y="902"/>
                    </a:lnTo>
                    <a:lnTo>
                      <a:pt x="330" y="897"/>
                    </a:lnTo>
                    <a:lnTo>
                      <a:pt x="331" y="891"/>
                    </a:lnTo>
                    <a:lnTo>
                      <a:pt x="330" y="885"/>
                    </a:lnTo>
                    <a:lnTo>
                      <a:pt x="328" y="877"/>
                    </a:lnTo>
                    <a:lnTo>
                      <a:pt x="326" y="872"/>
                    </a:lnTo>
                    <a:lnTo>
                      <a:pt x="326" y="869"/>
                    </a:lnTo>
                    <a:lnTo>
                      <a:pt x="328" y="861"/>
                    </a:lnTo>
                    <a:lnTo>
                      <a:pt x="331" y="854"/>
                    </a:lnTo>
                    <a:lnTo>
                      <a:pt x="337" y="848"/>
                    </a:lnTo>
                    <a:lnTo>
                      <a:pt x="342" y="840"/>
                    </a:lnTo>
                    <a:lnTo>
                      <a:pt x="345" y="832"/>
                    </a:lnTo>
                    <a:lnTo>
                      <a:pt x="349" y="824"/>
                    </a:lnTo>
                    <a:lnTo>
                      <a:pt x="349" y="816"/>
                    </a:lnTo>
                    <a:lnTo>
                      <a:pt x="349" y="810"/>
                    </a:lnTo>
                    <a:lnTo>
                      <a:pt x="349" y="808"/>
                    </a:lnTo>
                    <a:lnTo>
                      <a:pt x="347" y="802"/>
                    </a:lnTo>
                    <a:lnTo>
                      <a:pt x="345" y="794"/>
                    </a:lnTo>
                    <a:lnTo>
                      <a:pt x="339" y="791"/>
                    </a:lnTo>
                    <a:lnTo>
                      <a:pt x="336" y="785"/>
                    </a:lnTo>
                    <a:lnTo>
                      <a:pt x="333" y="780"/>
                    </a:lnTo>
                    <a:lnTo>
                      <a:pt x="333" y="774"/>
                    </a:lnTo>
                    <a:lnTo>
                      <a:pt x="334" y="766"/>
                    </a:lnTo>
                    <a:lnTo>
                      <a:pt x="336" y="759"/>
                    </a:lnTo>
                    <a:lnTo>
                      <a:pt x="337" y="756"/>
                    </a:lnTo>
                    <a:lnTo>
                      <a:pt x="341" y="753"/>
                    </a:lnTo>
                    <a:lnTo>
                      <a:pt x="347" y="747"/>
                    </a:lnTo>
                    <a:lnTo>
                      <a:pt x="350" y="742"/>
                    </a:lnTo>
                    <a:lnTo>
                      <a:pt x="355" y="736"/>
                    </a:lnTo>
                    <a:lnTo>
                      <a:pt x="361" y="731"/>
                    </a:lnTo>
                    <a:lnTo>
                      <a:pt x="366" y="732"/>
                    </a:lnTo>
                    <a:lnTo>
                      <a:pt x="369" y="737"/>
                    </a:lnTo>
                    <a:lnTo>
                      <a:pt x="372" y="742"/>
                    </a:lnTo>
                    <a:lnTo>
                      <a:pt x="379" y="745"/>
                    </a:lnTo>
                    <a:lnTo>
                      <a:pt x="383" y="745"/>
                    </a:lnTo>
                    <a:lnTo>
                      <a:pt x="388" y="742"/>
                    </a:lnTo>
                    <a:lnTo>
                      <a:pt x="391" y="737"/>
                    </a:lnTo>
                    <a:lnTo>
                      <a:pt x="395" y="737"/>
                    </a:lnTo>
                    <a:lnTo>
                      <a:pt x="396" y="737"/>
                    </a:lnTo>
                    <a:lnTo>
                      <a:pt x="402" y="742"/>
                    </a:lnTo>
                    <a:lnTo>
                      <a:pt x="407" y="750"/>
                    </a:lnTo>
                    <a:lnTo>
                      <a:pt x="414" y="751"/>
                    </a:lnTo>
                    <a:lnTo>
                      <a:pt x="418" y="751"/>
                    </a:lnTo>
                    <a:lnTo>
                      <a:pt x="420" y="753"/>
                    </a:lnTo>
                    <a:lnTo>
                      <a:pt x="421" y="756"/>
                    </a:lnTo>
                    <a:lnTo>
                      <a:pt x="426" y="759"/>
                    </a:lnTo>
                    <a:lnTo>
                      <a:pt x="433" y="758"/>
                    </a:lnTo>
                    <a:lnTo>
                      <a:pt x="436" y="761"/>
                    </a:lnTo>
                    <a:lnTo>
                      <a:pt x="434" y="766"/>
                    </a:lnTo>
                    <a:lnTo>
                      <a:pt x="434" y="772"/>
                    </a:lnTo>
                    <a:lnTo>
                      <a:pt x="437" y="777"/>
                    </a:lnTo>
                    <a:lnTo>
                      <a:pt x="442" y="774"/>
                    </a:lnTo>
                    <a:lnTo>
                      <a:pt x="448" y="772"/>
                    </a:lnTo>
                    <a:lnTo>
                      <a:pt x="455" y="770"/>
                    </a:lnTo>
                    <a:lnTo>
                      <a:pt x="456" y="770"/>
                    </a:lnTo>
                    <a:lnTo>
                      <a:pt x="464" y="769"/>
                    </a:lnTo>
                    <a:lnTo>
                      <a:pt x="467" y="770"/>
                    </a:lnTo>
                    <a:lnTo>
                      <a:pt x="469" y="774"/>
                    </a:lnTo>
                    <a:lnTo>
                      <a:pt x="475" y="777"/>
                    </a:lnTo>
                    <a:lnTo>
                      <a:pt x="478" y="783"/>
                    </a:lnTo>
                    <a:lnTo>
                      <a:pt x="478" y="789"/>
                    </a:lnTo>
                    <a:lnTo>
                      <a:pt x="478" y="796"/>
                    </a:lnTo>
                    <a:lnTo>
                      <a:pt x="477" y="801"/>
                    </a:lnTo>
                    <a:lnTo>
                      <a:pt x="472" y="804"/>
                    </a:lnTo>
                    <a:lnTo>
                      <a:pt x="466" y="807"/>
                    </a:lnTo>
                    <a:lnTo>
                      <a:pt x="464" y="807"/>
                    </a:lnTo>
                    <a:lnTo>
                      <a:pt x="459" y="808"/>
                    </a:lnTo>
                    <a:lnTo>
                      <a:pt x="455" y="808"/>
                    </a:lnTo>
                    <a:lnTo>
                      <a:pt x="452" y="810"/>
                    </a:lnTo>
                    <a:lnTo>
                      <a:pt x="450" y="812"/>
                    </a:lnTo>
                    <a:lnTo>
                      <a:pt x="447" y="816"/>
                    </a:lnTo>
                    <a:lnTo>
                      <a:pt x="445" y="821"/>
                    </a:lnTo>
                    <a:lnTo>
                      <a:pt x="445" y="824"/>
                    </a:lnTo>
                    <a:lnTo>
                      <a:pt x="444" y="827"/>
                    </a:lnTo>
                    <a:lnTo>
                      <a:pt x="442" y="831"/>
                    </a:lnTo>
                    <a:lnTo>
                      <a:pt x="445" y="835"/>
                    </a:lnTo>
                    <a:lnTo>
                      <a:pt x="448" y="839"/>
                    </a:lnTo>
                    <a:lnTo>
                      <a:pt x="450" y="845"/>
                    </a:lnTo>
                    <a:lnTo>
                      <a:pt x="447" y="851"/>
                    </a:lnTo>
                    <a:lnTo>
                      <a:pt x="442" y="856"/>
                    </a:lnTo>
                    <a:lnTo>
                      <a:pt x="439" y="859"/>
                    </a:lnTo>
                    <a:lnTo>
                      <a:pt x="434" y="861"/>
                    </a:lnTo>
                    <a:lnTo>
                      <a:pt x="429" y="859"/>
                    </a:lnTo>
                    <a:lnTo>
                      <a:pt x="426" y="856"/>
                    </a:lnTo>
                    <a:lnTo>
                      <a:pt x="421" y="853"/>
                    </a:lnTo>
                    <a:lnTo>
                      <a:pt x="418" y="858"/>
                    </a:lnTo>
                    <a:lnTo>
                      <a:pt x="417" y="866"/>
                    </a:lnTo>
                    <a:lnTo>
                      <a:pt x="415" y="870"/>
                    </a:lnTo>
                    <a:lnTo>
                      <a:pt x="420" y="877"/>
                    </a:lnTo>
                    <a:lnTo>
                      <a:pt x="420" y="880"/>
                    </a:lnTo>
                    <a:lnTo>
                      <a:pt x="421" y="883"/>
                    </a:lnTo>
                    <a:lnTo>
                      <a:pt x="423" y="886"/>
                    </a:lnTo>
                    <a:lnTo>
                      <a:pt x="426" y="891"/>
                    </a:lnTo>
                    <a:lnTo>
                      <a:pt x="428" y="896"/>
                    </a:lnTo>
                    <a:lnTo>
                      <a:pt x="428" y="900"/>
                    </a:lnTo>
                    <a:lnTo>
                      <a:pt x="433" y="902"/>
                    </a:lnTo>
                    <a:lnTo>
                      <a:pt x="436" y="905"/>
                    </a:lnTo>
                    <a:lnTo>
                      <a:pt x="439" y="910"/>
                    </a:lnTo>
                    <a:lnTo>
                      <a:pt x="440" y="911"/>
                    </a:lnTo>
                    <a:lnTo>
                      <a:pt x="442" y="918"/>
                    </a:lnTo>
                    <a:lnTo>
                      <a:pt x="445" y="923"/>
                    </a:lnTo>
                    <a:lnTo>
                      <a:pt x="452" y="924"/>
                    </a:lnTo>
                    <a:lnTo>
                      <a:pt x="455" y="929"/>
                    </a:lnTo>
                    <a:lnTo>
                      <a:pt x="455" y="937"/>
                    </a:lnTo>
                    <a:lnTo>
                      <a:pt x="453" y="940"/>
                    </a:lnTo>
                    <a:lnTo>
                      <a:pt x="450" y="945"/>
                    </a:lnTo>
                    <a:lnTo>
                      <a:pt x="450" y="948"/>
                    </a:lnTo>
                    <a:lnTo>
                      <a:pt x="450" y="949"/>
                    </a:lnTo>
                    <a:lnTo>
                      <a:pt x="453" y="951"/>
                    </a:lnTo>
                    <a:lnTo>
                      <a:pt x="458" y="953"/>
                    </a:lnTo>
                    <a:lnTo>
                      <a:pt x="463" y="951"/>
                    </a:lnTo>
                    <a:lnTo>
                      <a:pt x="466" y="946"/>
                    </a:lnTo>
                    <a:lnTo>
                      <a:pt x="467" y="946"/>
                    </a:lnTo>
                    <a:lnTo>
                      <a:pt x="471" y="943"/>
                    </a:lnTo>
                    <a:lnTo>
                      <a:pt x="477" y="945"/>
                    </a:lnTo>
                    <a:lnTo>
                      <a:pt x="482" y="945"/>
                    </a:lnTo>
                    <a:lnTo>
                      <a:pt x="488" y="943"/>
                    </a:lnTo>
                    <a:lnTo>
                      <a:pt x="491" y="938"/>
                    </a:lnTo>
                    <a:lnTo>
                      <a:pt x="494" y="937"/>
                    </a:lnTo>
                    <a:lnTo>
                      <a:pt x="497" y="934"/>
                    </a:lnTo>
                    <a:lnTo>
                      <a:pt x="504" y="934"/>
                    </a:lnTo>
                    <a:lnTo>
                      <a:pt x="509" y="929"/>
                    </a:lnTo>
                    <a:lnTo>
                      <a:pt x="505" y="924"/>
                    </a:lnTo>
                    <a:lnTo>
                      <a:pt x="501" y="921"/>
                    </a:lnTo>
                    <a:lnTo>
                      <a:pt x="496" y="919"/>
                    </a:lnTo>
                    <a:lnTo>
                      <a:pt x="491" y="918"/>
                    </a:lnTo>
                    <a:lnTo>
                      <a:pt x="488" y="918"/>
                    </a:lnTo>
                    <a:lnTo>
                      <a:pt x="486" y="913"/>
                    </a:lnTo>
                    <a:lnTo>
                      <a:pt x="482" y="910"/>
                    </a:lnTo>
                    <a:lnTo>
                      <a:pt x="478" y="913"/>
                    </a:lnTo>
                    <a:lnTo>
                      <a:pt x="475" y="913"/>
                    </a:lnTo>
                    <a:lnTo>
                      <a:pt x="472" y="910"/>
                    </a:lnTo>
                    <a:lnTo>
                      <a:pt x="474" y="904"/>
                    </a:lnTo>
                    <a:lnTo>
                      <a:pt x="480" y="899"/>
                    </a:lnTo>
                    <a:lnTo>
                      <a:pt x="485" y="897"/>
                    </a:lnTo>
                    <a:lnTo>
                      <a:pt x="486" y="891"/>
                    </a:lnTo>
                    <a:lnTo>
                      <a:pt x="490" y="885"/>
                    </a:lnTo>
                    <a:lnTo>
                      <a:pt x="491" y="883"/>
                    </a:lnTo>
                    <a:lnTo>
                      <a:pt x="494" y="877"/>
                    </a:lnTo>
                    <a:lnTo>
                      <a:pt x="496" y="875"/>
                    </a:lnTo>
                    <a:lnTo>
                      <a:pt x="497" y="870"/>
                    </a:lnTo>
                    <a:lnTo>
                      <a:pt x="499" y="864"/>
                    </a:lnTo>
                    <a:lnTo>
                      <a:pt x="502" y="858"/>
                    </a:lnTo>
                    <a:lnTo>
                      <a:pt x="507" y="851"/>
                    </a:lnTo>
                    <a:lnTo>
                      <a:pt x="513" y="850"/>
                    </a:lnTo>
                    <a:lnTo>
                      <a:pt x="520" y="846"/>
                    </a:lnTo>
                    <a:lnTo>
                      <a:pt x="520" y="842"/>
                    </a:lnTo>
                    <a:lnTo>
                      <a:pt x="520" y="835"/>
                    </a:lnTo>
                    <a:lnTo>
                      <a:pt x="518" y="827"/>
                    </a:lnTo>
                    <a:lnTo>
                      <a:pt x="516" y="821"/>
                    </a:lnTo>
                    <a:lnTo>
                      <a:pt x="516" y="818"/>
                    </a:lnTo>
                    <a:lnTo>
                      <a:pt x="516" y="816"/>
                    </a:lnTo>
                    <a:lnTo>
                      <a:pt x="516" y="810"/>
                    </a:lnTo>
                    <a:lnTo>
                      <a:pt x="515" y="804"/>
                    </a:lnTo>
                    <a:lnTo>
                      <a:pt x="515" y="802"/>
                    </a:lnTo>
                    <a:lnTo>
                      <a:pt x="516" y="801"/>
                    </a:lnTo>
                    <a:lnTo>
                      <a:pt x="516" y="799"/>
                    </a:lnTo>
                    <a:lnTo>
                      <a:pt x="516" y="793"/>
                    </a:lnTo>
                    <a:lnTo>
                      <a:pt x="521" y="786"/>
                    </a:lnTo>
                    <a:lnTo>
                      <a:pt x="524" y="783"/>
                    </a:lnTo>
                    <a:lnTo>
                      <a:pt x="528" y="782"/>
                    </a:lnTo>
                    <a:lnTo>
                      <a:pt x="531" y="780"/>
                    </a:lnTo>
                    <a:lnTo>
                      <a:pt x="539" y="777"/>
                    </a:lnTo>
                    <a:lnTo>
                      <a:pt x="548" y="777"/>
                    </a:lnTo>
                    <a:lnTo>
                      <a:pt x="550" y="777"/>
                    </a:lnTo>
                    <a:lnTo>
                      <a:pt x="558" y="777"/>
                    </a:lnTo>
                    <a:lnTo>
                      <a:pt x="562" y="777"/>
                    </a:lnTo>
                    <a:lnTo>
                      <a:pt x="569" y="782"/>
                    </a:lnTo>
                    <a:lnTo>
                      <a:pt x="575" y="783"/>
                    </a:lnTo>
                    <a:lnTo>
                      <a:pt x="581" y="782"/>
                    </a:lnTo>
                    <a:lnTo>
                      <a:pt x="583" y="782"/>
                    </a:lnTo>
                    <a:lnTo>
                      <a:pt x="586" y="783"/>
                    </a:lnTo>
                    <a:lnTo>
                      <a:pt x="588" y="786"/>
                    </a:lnTo>
                    <a:lnTo>
                      <a:pt x="594" y="786"/>
                    </a:lnTo>
                    <a:lnTo>
                      <a:pt x="596" y="788"/>
                    </a:lnTo>
                    <a:lnTo>
                      <a:pt x="599" y="791"/>
                    </a:lnTo>
                    <a:lnTo>
                      <a:pt x="602" y="789"/>
                    </a:lnTo>
                    <a:lnTo>
                      <a:pt x="608" y="786"/>
                    </a:lnTo>
                    <a:lnTo>
                      <a:pt x="613" y="785"/>
                    </a:lnTo>
                    <a:lnTo>
                      <a:pt x="615" y="786"/>
                    </a:lnTo>
                    <a:lnTo>
                      <a:pt x="616" y="788"/>
                    </a:lnTo>
                    <a:lnTo>
                      <a:pt x="618" y="788"/>
                    </a:lnTo>
                    <a:lnTo>
                      <a:pt x="621" y="791"/>
                    </a:lnTo>
                    <a:lnTo>
                      <a:pt x="624" y="796"/>
                    </a:lnTo>
                    <a:lnTo>
                      <a:pt x="629" y="801"/>
                    </a:lnTo>
                    <a:lnTo>
                      <a:pt x="635" y="805"/>
                    </a:lnTo>
                    <a:lnTo>
                      <a:pt x="642" y="812"/>
                    </a:lnTo>
                    <a:lnTo>
                      <a:pt x="648" y="816"/>
                    </a:lnTo>
                    <a:lnTo>
                      <a:pt x="651" y="821"/>
                    </a:lnTo>
                    <a:lnTo>
                      <a:pt x="654" y="829"/>
                    </a:lnTo>
                    <a:lnTo>
                      <a:pt x="661" y="839"/>
                    </a:lnTo>
                    <a:lnTo>
                      <a:pt x="662" y="840"/>
                    </a:lnTo>
                    <a:lnTo>
                      <a:pt x="665" y="846"/>
                    </a:lnTo>
                    <a:lnTo>
                      <a:pt x="667" y="850"/>
                    </a:lnTo>
                    <a:lnTo>
                      <a:pt x="670" y="853"/>
                    </a:lnTo>
                    <a:lnTo>
                      <a:pt x="673" y="859"/>
                    </a:lnTo>
                    <a:lnTo>
                      <a:pt x="681" y="862"/>
                    </a:lnTo>
                    <a:lnTo>
                      <a:pt x="688" y="864"/>
                    </a:lnTo>
                    <a:lnTo>
                      <a:pt x="694" y="866"/>
                    </a:lnTo>
                    <a:lnTo>
                      <a:pt x="700" y="862"/>
                    </a:lnTo>
                    <a:lnTo>
                      <a:pt x="708" y="861"/>
                    </a:lnTo>
                    <a:lnTo>
                      <a:pt x="714" y="859"/>
                    </a:lnTo>
                    <a:lnTo>
                      <a:pt x="722" y="859"/>
                    </a:lnTo>
                    <a:lnTo>
                      <a:pt x="722" y="856"/>
                    </a:lnTo>
                    <a:lnTo>
                      <a:pt x="718" y="853"/>
                    </a:lnTo>
                    <a:lnTo>
                      <a:pt x="714" y="846"/>
                    </a:lnTo>
                    <a:lnTo>
                      <a:pt x="713" y="842"/>
                    </a:lnTo>
                    <a:lnTo>
                      <a:pt x="711" y="837"/>
                    </a:lnTo>
                    <a:lnTo>
                      <a:pt x="710" y="832"/>
                    </a:lnTo>
                    <a:lnTo>
                      <a:pt x="711" y="826"/>
                    </a:lnTo>
                    <a:lnTo>
                      <a:pt x="716" y="821"/>
                    </a:lnTo>
                    <a:lnTo>
                      <a:pt x="719" y="818"/>
                    </a:lnTo>
                    <a:lnTo>
                      <a:pt x="721" y="812"/>
                    </a:lnTo>
                    <a:lnTo>
                      <a:pt x="721" y="807"/>
                    </a:lnTo>
                    <a:lnTo>
                      <a:pt x="721" y="805"/>
                    </a:lnTo>
                    <a:lnTo>
                      <a:pt x="721" y="801"/>
                    </a:lnTo>
                    <a:lnTo>
                      <a:pt x="719" y="794"/>
                    </a:lnTo>
                    <a:lnTo>
                      <a:pt x="718" y="789"/>
                    </a:lnTo>
                    <a:lnTo>
                      <a:pt x="716" y="783"/>
                    </a:lnTo>
                    <a:lnTo>
                      <a:pt x="716" y="777"/>
                    </a:lnTo>
                    <a:lnTo>
                      <a:pt x="713" y="772"/>
                    </a:lnTo>
                    <a:lnTo>
                      <a:pt x="711" y="767"/>
                    </a:lnTo>
                    <a:lnTo>
                      <a:pt x="711" y="761"/>
                    </a:lnTo>
                    <a:lnTo>
                      <a:pt x="713" y="753"/>
                    </a:lnTo>
                    <a:lnTo>
                      <a:pt x="710" y="747"/>
                    </a:lnTo>
                    <a:lnTo>
                      <a:pt x="708" y="745"/>
                    </a:lnTo>
                    <a:lnTo>
                      <a:pt x="705" y="743"/>
                    </a:lnTo>
                    <a:lnTo>
                      <a:pt x="700" y="742"/>
                    </a:lnTo>
                    <a:lnTo>
                      <a:pt x="699" y="739"/>
                    </a:lnTo>
                    <a:lnTo>
                      <a:pt x="700" y="734"/>
                    </a:lnTo>
                    <a:lnTo>
                      <a:pt x="703" y="731"/>
                    </a:lnTo>
                    <a:lnTo>
                      <a:pt x="702" y="728"/>
                    </a:lnTo>
                    <a:lnTo>
                      <a:pt x="694" y="726"/>
                    </a:lnTo>
                    <a:lnTo>
                      <a:pt x="688" y="728"/>
                    </a:lnTo>
                    <a:lnTo>
                      <a:pt x="680" y="729"/>
                    </a:lnTo>
                    <a:lnTo>
                      <a:pt x="672" y="729"/>
                    </a:lnTo>
                    <a:lnTo>
                      <a:pt x="667" y="728"/>
                    </a:lnTo>
                    <a:lnTo>
                      <a:pt x="669" y="721"/>
                    </a:lnTo>
                    <a:lnTo>
                      <a:pt x="669" y="718"/>
                    </a:lnTo>
                    <a:lnTo>
                      <a:pt x="670" y="717"/>
                    </a:lnTo>
                    <a:lnTo>
                      <a:pt x="665" y="713"/>
                    </a:lnTo>
                    <a:lnTo>
                      <a:pt x="664" y="713"/>
                    </a:lnTo>
                    <a:lnTo>
                      <a:pt x="661" y="713"/>
                    </a:lnTo>
                    <a:lnTo>
                      <a:pt x="656" y="710"/>
                    </a:lnTo>
                    <a:lnTo>
                      <a:pt x="648" y="710"/>
                    </a:lnTo>
                    <a:lnTo>
                      <a:pt x="642" y="710"/>
                    </a:lnTo>
                    <a:lnTo>
                      <a:pt x="637" y="707"/>
                    </a:lnTo>
                    <a:lnTo>
                      <a:pt x="635" y="704"/>
                    </a:lnTo>
                    <a:lnTo>
                      <a:pt x="631" y="699"/>
                    </a:lnTo>
                    <a:lnTo>
                      <a:pt x="629" y="701"/>
                    </a:lnTo>
                    <a:lnTo>
                      <a:pt x="619" y="701"/>
                    </a:lnTo>
                    <a:lnTo>
                      <a:pt x="613" y="702"/>
                    </a:lnTo>
                    <a:lnTo>
                      <a:pt x="608" y="701"/>
                    </a:lnTo>
                    <a:lnTo>
                      <a:pt x="605" y="698"/>
                    </a:lnTo>
                    <a:lnTo>
                      <a:pt x="602" y="691"/>
                    </a:lnTo>
                    <a:lnTo>
                      <a:pt x="599" y="688"/>
                    </a:lnTo>
                    <a:lnTo>
                      <a:pt x="593" y="688"/>
                    </a:lnTo>
                    <a:lnTo>
                      <a:pt x="591" y="686"/>
                    </a:lnTo>
                    <a:lnTo>
                      <a:pt x="588" y="683"/>
                    </a:lnTo>
                    <a:lnTo>
                      <a:pt x="585" y="680"/>
                    </a:lnTo>
                    <a:lnTo>
                      <a:pt x="580" y="680"/>
                    </a:lnTo>
                    <a:lnTo>
                      <a:pt x="578" y="680"/>
                    </a:lnTo>
                    <a:lnTo>
                      <a:pt x="578" y="675"/>
                    </a:lnTo>
                    <a:lnTo>
                      <a:pt x="578" y="672"/>
                    </a:lnTo>
                    <a:lnTo>
                      <a:pt x="578" y="667"/>
                    </a:lnTo>
                    <a:lnTo>
                      <a:pt x="581" y="666"/>
                    </a:lnTo>
                    <a:lnTo>
                      <a:pt x="583" y="664"/>
                    </a:lnTo>
                    <a:lnTo>
                      <a:pt x="586" y="663"/>
                    </a:lnTo>
                    <a:lnTo>
                      <a:pt x="588" y="661"/>
                    </a:lnTo>
                    <a:lnTo>
                      <a:pt x="593" y="660"/>
                    </a:lnTo>
                    <a:lnTo>
                      <a:pt x="596" y="658"/>
                    </a:lnTo>
                    <a:lnTo>
                      <a:pt x="600" y="653"/>
                    </a:lnTo>
                    <a:lnTo>
                      <a:pt x="600" y="650"/>
                    </a:lnTo>
                    <a:lnTo>
                      <a:pt x="597" y="647"/>
                    </a:lnTo>
                    <a:lnTo>
                      <a:pt x="597" y="642"/>
                    </a:lnTo>
                    <a:lnTo>
                      <a:pt x="597" y="637"/>
                    </a:lnTo>
                    <a:lnTo>
                      <a:pt x="597" y="634"/>
                    </a:lnTo>
                    <a:lnTo>
                      <a:pt x="597" y="629"/>
                    </a:lnTo>
                    <a:lnTo>
                      <a:pt x="596" y="626"/>
                    </a:lnTo>
                    <a:lnTo>
                      <a:pt x="597" y="621"/>
                    </a:lnTo>
                    <a:lnTo>
                      <a:pt x="600" y="621"/>
                    </a:lnTo>
                    <a:lnTo>
                      <a:pt x="600" y="615"/>
                    </a:lnTo>
                    <a:lnTo>
                      <a:pt x="599" y="609"/>
                    </a:lnTo>
                    <a:lnTo>
                      <a:pt x="596" y="609"/>
                    </a:lnTo>
                    <a:lnTo>
                      <a:pt x="594" y="614"/>
                    </a:lnTo>
                    <a:lnTo>
                      <a:pt x="589" y="612"/>
                    </a:lnTo>
                    <a:lnTo>
                      <a:pt x="589" y="609"/>
                    </a:lnTo>
                    <a:lnTo>
                      <a:pt x="591" y="604"/>
                    </a:lnTo>
                    <a:lnTo>
                      <a:pt x="593" y="602"/>
                    </a:lnTo>
                    <a:lnTo>
                      <a:pt x="591" y="599"/>
                    </a:lnTo>
                    <a:lnTo>
                      <a:pt x="588" y="596"/>
                    </a:lnTo>
                    <a:lnTo>
                      <a:pt x="583" y="595"/>
                    </a:lnTo>
                    <a:lnTo>
                      <a:pt x="578" y="595"/>
                    </a:lnTo>
                    <a:lnTo>
                      <a:pt x="580" y="590"/>
                    </a:lnTo>
                    <a:lnTo>
                      <a:pt x="580" y="585"/>
                    </a:lnTo>
                    <a:lnTo>
                      <a:pt x="577" y="580"/>
                    </a:lnTo>
                    <a:lnTo>
                      <a:pt x="570" y="577"/>
                    </a:lnTo>
                    <a:lnTo>
                      <a:pt x="562" y="576"/>
                    </a:lnTo>
                    <a:lnTo>
                      <a:pt x="558" y="580"/>
                    </a:lnTo>
                    <a:lnTo>
                      <a:pt x="551" y="587"/>
                    </a:lnTo>
                    <a:lnTo>
                      <a:pt x="547" y="587"/>
                    </a:lnTo>
                    <a:lnTo>
                      <a:pt x="540" y="588"/>
                    </a:lnTo>
                    <a:lnTo>
                      <a:pt x="532" y="587"/>
                    </a:lnTo>
                    <a:lnTo>
                      <a:pt x="528" y="583"/>
                    </a:lnTo>
                    <a:lnTo>
                      <a:pt x="526" y="579"/>
                    </a:lnTo>
                    <a:lnTo>
                      <a:pt x="523" y="576"/>
                    </a:lnTo>
                    <a:lnTo>
                      <a:pt x="521" y="577"/>
                    </a:lnTo>
                    <a:lnTo>
                      <a:pt x="515" y="577"/>
                    </a:lnTo>
                    <a:lnTo>
                      <a:pt x="509" y="577"/>
                    </a:lnTo>
                    <a:lnTo>
                      <a:pt x="502" y="576"/>
                    </a:lnTo>
                    <a:lnTo>
                      <a:pt x="496" y="571"/>
                    </a:lnTo>
                    <a:lnTo>
                      <a:pt x="493" y="564"/>
                    </a:lnTo>
                    <a:lnTo>
                      <a:pt x="486" y="566"/>
                    </a:lnTo>
                    <a:lnTo>
                      <a:pt x="483" y="571"/>
                    </a:lnTo>
                    <a:lnTo>
                      <a:pt x="482" y="577"/>
                    </a:lnTo>
                    <a:lnTo>
                      <a:pt x="477" y="582"/>
                    </a:lnTo>
                    <a:lnTo>
                      <a:pt x="472" y="588"/>
                    </a:lnTo>
                    <a:lnTo>
                      <a:pt x="466" y="596"/>
                    </a:lnTo>
                    <a:lnTo>
                      <a:pt x="464" y="601"/>
                    </a:lnTo>
                    <a:lnTo>
                      <a:pt x="463" y="604"/>
                    </a:lnTo>
                    <a:lnTo>
                      <a:pt x="461" y="607"/>
                    </a:lnTo>
                    <a:lnTo>
                      <a:pt x="455" y="609"/>
                    </a:lnTo>
                    <a:lnTo>
                      <a:pt x="448" y="609"/>
                    </a:lnTo>
                    <a:lnTo>
                      <a:pt x="442" y="614"/>
                    </a:lnTo>
                    <a:lnTo>
                      <a:pt x="436" y="620"/>
                    </a:lnTo>
                    <a:lnTo>
                      <a:pt x="431" y="621"/>
                    </a:lnTo>
                    <a:lnTo>
                      <a:pt x="429" y="621"/>
                    </a:lnTo>
                    <a:lnTo>
                      <a:pt x="426" y="618"/>
                    </a:lnTo>
                    <a:lnTo>
                      <a:pt x="425" y="614"/>
                    </a:lnTo>
                    <a:lnTo>
                      <a:pt x="421" y="610"/>
                    </a:lnTo>
                    <a:lnTo>
                      <a:pt x="418" y="607"/>
                    </a:lnTo>
                    <a:lnTo>
                      <a:pt x="414" y="604"/>
                    </a:lnTo>
                    <a:lnTo>
                      <a:pt x="410" y="601"/>
                    </a:lnTo>
                    <a:lnTo>
                      <a:pt x="410" y="595"/>
                    </a:lnTo>
                    <a:lnTo>
                      <a:pt x="410" y="591"/>
                    </a:lnTo>
                    <a:lnTo>
                      <a:pt x="412" y="588"/>
                    </a:lnTo>
                    <a:lnTo>
                      <a:pt x="412" y="577"/>
                    </a:lnTo>
                    <a:lnTo>
                      <a:pt x="415" y="568"/>
                    </a:lnTo>
                    <a:lnTo>
                      <a:pt x="415" y="561"/>
                    </a:lnTo>
                    <a:lnTo>
                      <a:pt x="418" y="557"/>
                    </a:lnTo>
                    <a:lnTo>
                      <a:pt x="421" y="553"/>
                    </a:lnTo>
                    <a:lnTo>
                      <a:pt x="423" y="552"/>
                    </a:lnTo>
                    <a:lnTo>
                      <a:pt x="429" y="549"/>
                    </a:lnTo>
                    <a:lnTo>
                      <a:pt x="434" y="545"/>
                    </a:lnTo>
                    <a:lnTo>
                      <a:pt x="440" y="542"/>
                    </a:lnTo>
                    <a:lnTo>
                      <a:pt x="445" y="538"/>
                    </a:lnTo>
                    <a:lnTo>
                      <a:pt x="450" y="536"/>
                    </a:lnTo>
                    <a:lnTo>
                      <a:pt x="456" y="533"/>
                    </a:lnTo>
                    <a:lnTo>
                      <a:pt x="461" y="530"/>
                    </a:lnTo>
                    <a:lnTo>
                      <a:pt x="464" y="526"/>
                    </a:lnTo>
                    <a:lnTo>
                      <a:pt x="471" y="523"/>
                    </a:lnTo>
                    <a:lnTo>
                      <a:pt x="472" y="520"/>
                    </a:lnTo>
                    <a:lnTo>
                      <a:pt x="474" y="514"/>
                    </a:lnTo>
                    <a:lnTo>
                      <a:pt x="474" y="507"/>
                    </a:lnTo>
                    <a:lnTo>
                      <a:pt x="474" y="503"/>
                    </a:lnTo>
                    <a:lnTo>
                      <a:pt x="478" y="499"/>
                    </a:lnTo>
                    <a:lnTo>
                      <a:pt x="483" y="496"/>
                    </a:lnTo>
                    <a:lnTo>
                      <a:pt x="485" y="492"/>
                    </a:lnTo>
                    <a:lnTo>
                      <a:pt x="486" y="487"/>
                    </a:lnTo>
                    <a:lnTo>
                      <a:pt x="488" y="480"/>
                    </a:lnTo>
                    <a:lnTo>
                      <a:pt x="488" y="479"/>
                    </a:lnTo>
                    <a:lnTo>
                      <a:pt x="493" y="473"/>
                    </a:lnTo>
                    <a:lnTo>
                      <a:pt x="497" y="471"/>
                    </a:lnTo>
                    <a:lnTo>
                      <a:pt x="502" y="468"/>
                    </a:lnTo>
                    <a:lnTo>
                      <a:pt x="507" y="466"/>
                    </a:lnTo>
                    <a:lnTo>
                      <a:pt x="510" y="466"/>
                    </a:lnTo>
                    <a:lnTo>
                      <a:pt x="513" y="466"/>
                    </a:lnTo>
                    <a:lnTo>
                      <a:pt x="516" y="463"/>
                    </a:lnTo>
                    <a:lnTo>
                      <a:pt x="518" y="457"/>
                    </a:lnTo>
                    <a:lnTo>
                      <a:pt x="516" y="452"/>
                    </a:lnTo>
                    <a:lnTo>
                      <a:pt x="515" y="447"/>
                    </a:lnTo>
                    <a:lnTo>
                      <a:pt x="509" y="444"/>
                    </a:lnTo>
                    <a:lnTo>
                      <a:pt x="509" y="439"/>
                    </a:lnTo>
                    <a:lnTo>
                      <a:pt x="510" y="439"/>
                    </a:lnTo>
                    <a:lnTo>
                      <a:pt x="512" y="436"/>
                    </a:lnTo>
                    <a:lnTo>
                      <a:pt x="515" y="431"/>
                    </a:lnTo>
                    <a:lnTo>
                      <a:pt x="515" y="425"/>
                    </a:lnTo>
                    <a:lnTo>
                      <a:pt x="512" y="420"/>
                    </a:lnTo>
                    <a:lnTo>
                      <a:pt x="513" y="414"/>
                    </a:lnTo>
                    <a:lnTo>
                      <a:pt x="516" y="409"/>
                    </a:lnTo>
                    <a:lnTo>
                      <a:pt x="520" y="403"/>
                    </a:lnTo>
                    <a:lnTo>
                      <a:pt x="521" y="398"/>
                    </a:lnTo>
                    <a:lnTo>
                      <a:pt x="523" y="392"/>
                    </a:lnTo>
                    <a:lnTo>
                      <a:pt x="529" y="385"/>
                    </a:lnTo>
                    <a:lnTo>
                      <a:pt x="535" y="381"/>
                    </a:lnTo>
                    <a:lnTo>
                      <a:pt x="539" y="376"/>
                    </a:lnTo>
                    <a:lnTo>
                      <a:pt x="539" y="371"/>
                    </a:lnTo>
                    <a:lnTo>
                      <a:pt x="542" y="365"/>
                    </a:lnTo>
                    <a:lnTo>
                      <a:pt x="547" y="363"/>
                    </a:lnTo>
                    <a:lnTo>
                      <a:pt x="548" y="362"/>
                    </a:lnTo>
                    <a:lnTo>
                      <a:pt x="553" y="358"/>
                    </a:lnTo>
                    <a:lnTo>
                      <a:pt x="556" y="355"/>
                    </a:lnTo>
                    <a:lnTo>
                      <a:pt x="558" y="349"/>
                    </a:lnTo>
                    <a:lnTo>
                      <a:pt x="561" y="344"/>
                    </a:lnTo>
                    <a:lnTo>
                      <a:pt x="564" y="339"/>
                    </a:lnTo>
                    <a:lnTo>
                      <a:pt x="564" y="333"/>
                    </a:lnTo>
                    <a:lnTo>
                      <a:pt x="566" y="328"/>
                    </a:lnTo>
                    <a:lnTo>
                      <a:pt x="567" y="324"/>
                    </a:lnTo>
                    <a:lnTo>
                      <a:pt x="572" y="319"/>
                    </a:lnTo>
                    <a:lnTo>
                      <a:pt x="570" y="319"/>
                    </a:lnTo>
                    <a:lnTo>
                      <a:pt x="570" y="317"/>
                    </a:lnTo>
                    <a:lnTo>
                      <a:pt x="575" y="314"/>
                    </a:lnTo>
                    <a:lnTo>
                      <a:pt x="575" y="313"/>
                    </a:lnTo>
                    <a:lnTo>
                      <a:pt x="575" y="311"/>
                    </a:lnTo>
                    <a:lnTo>
                      <a:pt x="570" y="309"/>
                    </a:lnTo>
                    <a:lnTo>
                      <a:pt x="572" y="305"/>
                    </a:lnTo>
                    <a:lnTo>
                      <a:pt x="574" y="301"/>
                    </a:lnTo>
                    <a:lnTo>
                      <a:pt x="569" y="298"/>
                    </a:lnTo>
                    <a:lnTo>
                      <a:pt x="566" y="295"/>
                    </a:lnTo>
                    <a:lnTo>
                      <a:pt x="562" y="290"/>
                    </a:lnTo>
                    <a:lnTo>
                      <a:pt x="562" y="289"/>
                    </a:lnTo>
                    <a:lnTo>
                      <a:pt x="564" y="284"/>
                    </a:lnTo>
                    <a:lnTo>
                      <a:pt x="564" y="279"/>
                    </a:lnTo>
                    <a:lnTo>
                      <a:pt x="564" y="276"/>
                    </a:lnTo>
                    <a:lnTo>
                      <a:pt x="562" y="271"/>
                    </a:lnTo>
                    <a:lnTo>
                      <a:pt x="558" y="265"/>
                    </a:lnTo>
                    <a:lnTo>
                      <a:pt x="553" y="259"/>
                    </a:lnTo>
                    <a:lnTo>
                      <a:pt x="551" y="255"/>
                    </a:lnTo>
                    <a:lnTo>
                      <a:pt x="550" y="249"/>
                    </a:lnTo>
                    <a:lnTo>
                      <a:pt x="553" y="244"/>
                    </a:lnTo>
                    <a:lnTo>
                      <a:pt x="556" y="243"/>
                    </a:lnTo>
                    <a:lnTo>
                      <a:pt x="561" y="244"/>
                    </a:lnTo>
                    <a:lnTo>
                      <a:pt x="566" y="246"/>
                    </a:lnTo>
                    <a:lnTo>
                      <a:pt x="567" y="248"/>
                    </a:lnTo>
                    <a:lnTo>
                      <a:pt x="569" y="255"/>
                    </a:lnTo>
                    <a:lnTo>
                      <a:pt x="572" y="265"/>
                    </a:lnTo>
                    <a:lnTo>
                      <a:pt x="575" y="273"/>
                    </a:lnTo>
                    <a:lnTo>
                      <a:pt x="577" y="279"/>
                    </a:lnTo>
                    <a:lnTo>
                      <a:pt x="578" y="282"/>
                    </a:lnTo>
                    <a:lnTo>
                      <a:pt x="580" y="284"/>
                    </a:lnTo>
                    <a:lnTo>
                      <a:pt x="583" y="287"/>
                    </a:lnTo>
                    <a:lnTo>
                      <a:pt x="586" y="294"/>
                    </a:lnTo>
                    <a:lnTo>
                      <a:pt x="589" y="295"/>
                    </a:lnTo>
                    <a:lnTo>
                      <a:pt x="591" y="294"/>
                    </a:lnTo>
                    <a:lnTo>
                      <a:pt x="593" y="286"/>
                    </a:lnTo>
                    <a:lnTo>
                      <a:pt x="591" y="278"/>
                    </a:lnTo>
                    <a:lnTo>
                      <a:pt x="591" y="271"/>
                    </a:lnTo>
                    <a:lnTo>
                      <a:pt x="591" y="265"/>
                    </a:lnTo>
                    <a:lnTo>
                      <a:pt x="594" y="262"/>
                    </a:lnTo>
                    <a:lnTo>
                      <a:pt x="600" y="257"/>
                    </a:lnTo>
                    <a:lnTo>
                      <a:pt x="602" y="257"/>
                    </a:lnTo>
                    <a:lnTo>
                      <a:pt x="600" y="254"/>
                    </a:lnTo>
                    <a:lnTo>
                      <a:pt x="597" y="251"/>
                    </a:lnTo>
                    <a:lnTo>
                      <a:pt x="591" y="246"/>
                    </a:lnTo>
                    <a:lnTo>
                      <a:pt x="586" y="243"/>
                    </a:lnTo>
                    <a:lnTo>
                      <a:pt x="583" y="238"/>
                    </a:lnTo>
                    <a:lnTo>
                      <a:pt x="585" y="232"/>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58" name="Freeform 56"/>
              <p:cNvSpPr>
                <a:spLocks/>
              </p:cNvSpPr>
              <p:nvPr/>
            </p:nvSpPr>
            <p:spPr bwMode="auto">
              <a:xfrm>
                <a:off x="1769" y="2072"/>
                <a:ext cx="1326" cy="815"/>
              </a:xfrm>
              <a:custGeom>
                <a:avLst/>
                <a:gdLst>
                  <a:gd name="T0" fmla="*/ 1270 w 1326"/>
                  <a:gd name="T1" fmla="*/ 457 h 815"/>
                  <a:gd name="T2" fmla="*/ 1224 w 1326"/>
                  <a:gd name="T3" fmla="*/ 507 h 815"/>
                  <a:gd name="T4" fmla="*/ 1171 w 1326"/>
                  <a:gd name="T5" fmla="*/ 468 h 815"/>
                  <a:gd name="T6" fmla="*/ 1104 w 1326"/>
                  <a:gd name="T7" fmla="*/ 479 h 815"/>
                  <a:gd name="T8" fmla="*/ 1023 w 1326"/>
                  <a:gd name="T9" fmla="*/ 480 h 815"/>
                  <a:gd name="T10" fmla="*/ 980 w 1326"/>
                  <a:gd name="T11" fmla="*/ 514 h 815"/>
                  <a:gd name="T12" fmla="*/ 1012 w 1326"/>
                  <a:gd name="T13" fmla="*/ 571 h 815"/>
                  <a:gd name="T14" fmla="*/ 990 w 1326"/>
                  <a:gd name="T15" fmla="*/ 594 h 815"/>
                  <a:gd name="T16" fmla="*/ 954 w 1326"/>
                  <a:gd name="T17" fmla="*/ 590 h 815"/>
                  <a:gd name="T18" fmla="*/ 957 w 1326"/>
                  <a:gd name="T19" fmla="*/ 688 h 815"/>
                  <a:gd name="T20" fmla="*/ 915 w 1326"/>
                  <a:gd name="T21" fmla="*/ 784 h 815"/>
                  <a:gd name="T22" fmla="*/ 798 w 1326"/>
                  <a:gd name="T23" fmla="*/ 813 h 815"/>
                  <a:gd name="T24" fmla="*/ 714 w 1326"/>
                  <a:gd name="T25" fmla="*/ 769 h 815"/>
                  <a:gd name="T26" fmla="*/ 618 w 1326"/>
                  <a:gd name="T27" fmla="*/ 740 h 815"/>
                  <a:gd name="T28" fmla="*/ 553 w 1326"/>
                  <a:gd name="T29" fmla="*/ 677 h 815"/>
                  <a:gd name="T30" fmla="*/ 510 w 1326"/>
                  <a:gd name="T31" fmla="*/ 623 h 815"/>
                  <a:gd name="T32" fmla="*/ 478 w 1326"/>
                  <a:gd name="T33" fmla="*/ 564 h 815"/>
                  <a:gd name="T34" fmla="*/ 477 w 1326"/>
                  <a:gd name="T35" fmla="*/ 621 h 815"/>
                  <a:gd name="T36" fmla="*/ 410 w 1326"/>
                  <a:gd name="T37" fmla="*/ 623 h 815"/>
                  <a:gd name="T38" fmla="*/ 363 w 1326"/>
                  <a:gd name="T39" fmla="*/ 636 h 815"/>
                  <a:gd name="T40" fmla="*/ 326 w 1326"/>
                  <a:gd name="T41" fmla="*/ 691 h 815"/>
                  <a:gd name="T42" fmla="*/ 283 w 1326"/>
                  <a:gd name="T43" fmla="*/ 735 h 815"/>
                  <a:gd name="T44" fmla="*/ 255 w 1326"/>
                  <a:gd name="T45" fmla="*/ 683 h 815"/>
                  <a:gd name="T46" fmla="*/ 222 w 1326"/>
                  <a:gd name="T47" fmla="*/ 610 h 815"/>
                  <a:gd name="T48" fmla="*/ 234 w 1326"/>
                  <a:gd name="T49" fmla="*/ 564 h 815"/>
                  <a:gd name="T50" fmla="*/ 242 w 1326"/>
                  <a:gd name="T51" fmla="*/ 531 h 815"/>
                  <a:gd name="T52" fmla="*/ 158 w 1326"/>
                  <a:gd name="T53" fmla="*/ 504 h 815"/>
                  <a:gd name="T54" fmla="*/ 81 w 1326"/>
                  <a:gd name="T55" fmla="*/ 442 h 815"/>
                  <a:gd name="T56" fmla="*/ 3 w 1326"/>
                  <a:gd name="T57" fmla="*/ 420 h 815"/>
                  <a:gd name="T58" fmla="*/ 3 w 1326"/>
                  <a:gd name="T59" fmla="*/ 354 h 815"/>
                  <a:gd name="T60" fmla="*/ 3 w 1326"/>
                  <a:gd name="T61" fmla="*/ 262 h 815"/>
                  <a:gd name="T62" fmla="*/ 14 w 1326"/>
                  <a:gd name="T63" fmla="*/ 241 h 815"/>
                  <a:gd name="T64" fmla="*/ 36 w 1326"/>
                  <a:gd name="T65" fmla="*/ 244 h 815"/>
                  <a:gd name="T66" fmla="*/ 60 w 1326"/>
                  <a:gd name="T67" fmla="*/ 244 h 815"/>
                  <a:gd name="T68" fmla="*/ 76 w 1326"/>
                  <a:gd name="T69" fmla="*/ 230 h 815"/>
                  <a:gd name="T70" fmla="*/ 84 w 1326"/>
                  <a:gd name="T71" fmla="*/ 208 h 815"/>
                  <a:gd name="T72" fmla="*/ 87 w 1326"/>
                  <a:gd name="T73" fmla="*/ 190 h 815"/>
                  <a:gd name="T74" fmla="*/ 101 w 1326"/>
                  <a:gd name="T75" fmla="*/ 179 h 815"/>
                  <a:gd name="T76" fmla="*/ 82 w 1326"/>
                  <a:gd name="T77" fmla="*/ 178 h 815"/>
                  <a:gd name="T78" fmla="*/ 74 w 1326"/>
                  <a:gd name="T79" fmla="*/ 168 h 815"/>
                  <a:gd name="T80" fmla="*/ 82 w 1326"/>
                  <a:gd name="T81" fmla="*/ 159 h 815"/>
                  <a:gd name="T82" fmla="*/ 92 w 1326"/>
                  <a:gd name="T83" fmla="*/ 154 h 815"/>
                  <a:gd name="T84" fmla="*/ 108 w 1326"/>
                  <a:gd name="T85" fmla="*/ 152 h 815"/>
                  <a:gd name="T86" fmla="*/ 108 w 1326"/>
                  <a:gd name="T87" fmla="*/ 132 h 815"/>
                  <a:gd name="T88" fmla="*/ 93 w 1326"/>
                  <a:gd name="T89" fmla="*/ 117 h 815"/>
                  <a:gd name="T90" fmla="*/ 82 w 1326"/>
                  <a:gd name="T91" fmla="*/ 102 h 815"/>
                  <a:gd name="T92" fmla="*/ 101 w 1326"/>
                  <a:gd name="T93" fmla="*/ 105 h 815"/>
                  <a:gd name="T94" fmla="*/ 117 w 1326"/>
                  <a:gd name="T95" fmla="*/ 103 h 815"/>
                  <a:gd name="T96" fmla="*/ 133 w 1326"/>
                  <a:gd name="T97" fmla="*/ 110 h 815"/>
                  <a:gd name="T98" fmla="*/ 152 w 1326"/>
                  <a:gd name="T99" fmla="*/ 122 h 815"/>
                  <a:gd name="T100" fmla="*/ 174 w 1326"/>
                  <a:gd name="T101" fmla="*/ 129 h 815"/>
                  <a:gd name="T102" fmla="*/ 192 w 1326"/>
                  <a:gd name="T103" fmla="*/ 130 h 815"/>
                  <a:gd name="T104" fmla="*/ 198 w 1326"/>
                  <a:gd name="T105" fmla="*/ 113 h 815"/>
                  <a:gd name="T106" fmla="*/ 196 w 1326"/>
                  <a:gd name="T107" fmla="*/ 94 h 815"/>
                  <a:gd name="T108" fmla="*/ 200 w 1326"/>
                  <a:gd name="T109" fmla="*/ 78 h 815"/>
                  <a:gd name="T110" fmla="*/ 203 w 1326"/>
                  <a:gd name="T111" fmla="*/ 62 h 815"/>
                  <a:gd name="T112" fmla="*/ 219 w 1326"/>
                  <a:gd name="T113" fmla="*/ 51 h 815"/>
                  <a:gd name="T114" fmla="*/ 220 w 1326"/>
                  <a:gd name="T115" fmla="*/ 37 h 815"/>
                  <a:gd name="T116" fmla="*/ 226 w 1326"/>
                  <a:gd name="T117" fmla="*/ 19 h 815"/>
                  <a:gd name="T118" fmla="*/ 219 w 1326"/>
                  <a:gd name="T119" fmla="*/ 3 h 8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26" h="815">
                    <a:moveTo>
                      <a:pt x="1323" y="498"/>
                    </a:moveTo>
                    <a:lnTo>
                      <a:pt x="1324" y="491"/>
                    </a:lnTo>
                    <a:lnTo>
                      <a:pt x="1326" y="485"/>
                    </a:lnTo>
                    <a:lnTo>
                      <a:pt x="1323" y="477"/>
                    </a:lnTo>
                    <a:lnTo>
                      <a:pt x="1321" y="472"/>
                    </a:lnTo>
                    <a:lnTo>
                      <a:pt x="1316" y="468"/>
                    </a:lnTo>
                    <a:lnTo>
                      <a:pt x="1310" y="461"/>
                    </a:lnTo>
                    <a:lnTo>
                      <a:pt x="1307" y="461"/>
                    </a:lnTo>
                    <a:lnTo>
                      <a:pt x="1302" y="463"/>
                    </a:lnTo>
                    <a:lnTo>
                      <a:pt x="1300" y="461"/>
                    </a:lnTo>
                    <a:lnTo>
                      <a:pt x="1299" y="458"/>
                    </a:lnTo>
                    <a:lnTo>
                      <a:pt x="1296" y="457"/>
                    </a:lnTo>
                    <a:lnTo>
                      <a:pt x="1291" y="455"/>
                    </a:lnTo>
                    <a:lnTo>
                      <a:pt x="1285" y="453"/>
                    </a:lnTo>
                    <a:lnTo>
                      <a:pt x="1280" y="457"/>
                    </a:lnTo>
                    <a:lnTo>
                      <a:pt x="1277" y="458"/>
                    </a:lnTo>
                    <a:lnTo>
                      <a:pt x="1270" y="457"/>
                    </a:lnTo>
                    <a:lnTo>
                      <a:pt x="1267" y="460"/>
                    </a:lnTo>
                    <a:lnTo>
                      <a:pt x="1266" y="466"/>
                    </a:lnTo>
                    <a:lnTo>
                      <a:pt x="1266" y="471"/>
                    </a:lnTo>
                    <a:lnTo>
                      <a:pt x="1262" y="476"/>
                    </a:lnTo>
                    <a:lnTo>
                      <a:pt x="1261" y="480"/>
                    </a:lnTo>
                    <a:lnTo>
                      <a:pt x="1261" y="482"/>
                    </a:lnTo>
                    <a:lnTo>
                      <a:pt x="1259" y="490"/>
                    </a:lnTo>
                    <a:lnTo>
                      <a:pt x="1256" y="496"/>
                    </a:lnTo>
                    <a:lnTo>
                      <a:pt x="1256" y="499"/>
                    </a:lnTo>
                    <a:lnTo>
                      <a:pt x="1253" y="502"/>
                    </a:lnTo>
                    <a:lnTo>
                      <a:pt x="1247" y="506"/>
                    </a:lnTo>
                    <a:lnTo>
                      <a:pt x="1242" y="507"/>
                    </a:lnTo>
                    <a:lnTo>
                      <a:pt x="1240" y="509"/>
                    </a:lnTo>
                    <a:lnTo>
                      <a:pt x="1237" y="510"/>
                    </a:lnTo>
                    <a:lnTo>
                      <a:pt x="1232" y="514"/>
                    </a:lnTo>
                    <a:lnTo>
                      <a:pt x="1228" y="512"/>
                    </a:lnTo>
                    <a:lnTo>
                      <a:pt x="1224" y="507"/>
                    </a:lnTo>
                    <a:lnTo>
                      <a:pt x="1220" y="499"/>
                    </a:lnTo>
                    <a:lnTo>
                      <a:pt x="1220" y="491"/>
                    </a:lnTo>
                    <a:lnTo>
                      <a:pt x="1221" y="485"/>
                    </a:lnTo>
                    <a:lnTo>
                      <a:pt x="1221" y="479"/>
                    </a:lnTo>
                    <a:lnTo>
                      <a:pt x="1218" y="477"/>
                    </a:lnTo>
                    <a:lnTo>
                      <a:pt x="1215" y="476"/>
                    </a:lnTo>
                    <a:lnTo>
                      <a:pt x="1213" y="471"/>
                    </a:lnTo>
                    <a:lnTo>
                      <a:pt x="1209" y="469"/>
                    </a:lnTo>
                    <a:lnTo>
                      <a:pt x="1201" y="468"/>
                    </a:lnTo>
                    <a:lnTo>
                      <a:pt x="1194" y="468"/>
                    </a:lnTo>
                    <a:lnTo>
                      <a:pt x="1188" y="471"/>
                    </a:lnTo>
                    <a:lnTo>
                      <a:pt x="1183" y="472"/>
                    </a:lnTo>
                    <a:lnTo>
                      <a:pt x="1182" y="472"/>
                    </a:lnTo>
                    <a:lnTo>
                      <a:pt x="1178" y="469"/>
                    </a:lnTo>
                    <a:lnTo>
                      <a:pt x="1177" y="468"/>
                    </a:lnTo>
                    <a:lnTo>
                      <a:pt x="1175" y="468"/>
                    </a:lnTo>
                    <a:lnTo>
                      <a:pt x="1171" y="468"/>
                    </a:lnTo>
                    <a:lnTo>
                      <a:pt x="1166" y="469"/>
                    </a:lnTo>
                    <a:lnTo>
                      <a:pt x="1164" y="469"/>
                    </a:lnTo>
                    <a:lnTo>
                      <a:pt x="1163" y="474"/>
                    </a:lnTo>
                    <a:lnTo>
                      <a:pt x="1161" y="474"/>
                    </a:lnTo>
                    <a:lnTo>
                      <a:pt x="1156" y="474"/>
                    </a:lnTo>
                    <a:lnTo>
                      <a:pt x="1155" y="476"/>
                    </a:lnTo>
                    <a:lnTo>
                      <a:pt x="1153" y="476"/>
                    </a:lnTo>
                    <a:lnTo>
                      <a:pt x="1150" y="477"/>
                    </a:lnTo>
                    <a:lnTo>
                      <a:pt x="1145" y="476"/>
                    </a:lnTo>
                    <a:lnTo>
                      <a:pt x="1142" y="474"/>
                    </a:lnTo>
                    <a:lnTo>
                      <a:pt x="1139" y="474"/>
                    </a:lnTo>
                    <a:lnTo>
                      <a:pt x="1133" y="479"/>
                    </a:lnTo>
                    <a:lnTo>
                      <a:pt x="1126" y="482"/>
                    </a:lnTo>
                    <a:lnTo>
                      <a:pt x="1123" y="482"/>
                    </a:lnTo>
                    <a:lnTo>
                      <a:pt x="1115" y="480"/>
                    </a:lnTo>
                    <a:lnTo>
                      <a:pt x="1109" y="477"/>
                    </a:lnTo>
                    <a:lnTo>
                      <a:pt x="1104" y="479"/>
                    </a:lnTo>
                    <a:lnTo>
                      <a:pt x="1098" y="485"/>
                    </a:lnTo>
                    <a:lnTo>
                      <a:pt x="1090" y="490"/>
                    </a:lnTo>
                    <a:lnTo>
                      <a:pt x="1083" y="490"/>
                    </a:lnTo>
                    <a:lnTo>
                      <a:pt x="1077" y="490"/>
                    </a:lnTo>
                    <a:lnTo>
                      <a:pt x="1071" y="490"/>
                    </a:lnTo>
                    <a:lnTo>
                      <a:pt x="1066" y="488"/>
                    </a:lnTo>
                    <a:lnTo>
                      <a:pt x="1061" y="485"/>
                    </a:lnTo>
                    <a:lnTo>
                      <a:pt x="1056" y="485"/>
                    </a:lnTo>
                    <a:lnTo>
                      <a:pt x="1055" y="485"/>
                    </a:lnTo>
                    <a:lnTo>
                      <a:pt x="1052" y="487"/>
                    </a:lnTo>
                    <a:lnTo>
                      <a:pt x="1047" y="490"/>
                    </a:lnTo>
                    <a:lnTo>
                      <a:pt x="1044" y="488"/>
                    </a:lnTo>
                    <a:lnTo>
                      <a:pt x="1041" y="483"/>
                    </a:lnTo>
                    <a:lnTo>
                      <a:pt x="1037" y="480"/>
                    </a:lnTo>
                    <a:lnTo>
                      <a:pt x="1036" y="477"/>
                    </a:lnTo>
                    <a:lnTo>
                      <a:pt x="1033" y="476"/>
                    </a:lnTo>
                    <a:lnTo>
                      <a:pt x="1023" y="480"/>
                    </a:lnTo>
                    <a:lnTo>
                      <a:pt x="1017" y="483"/>
                    </a:lnTo>
                    <a:lnTo>
                      <a:pt x="1014" y="480"/>
                    </a:lnTo>
                    <a:lnTo>
                      <a:pt x="1011" y="474"/>
                    </a:lnTo>
                    <a:lnTo>
                      <a:pt x="1006" y="466"/>
                    </a:lnTo>
                    <a:lnTo>
                      <a:pt x="1001" y="463"/>
                    </a:lnTo>
                    <a:lnTo>
                      <a:pt x="995" y="463"/>
                    </a:lnTo>
                    <a:lnTo>
                      <a:pt x="993" y="464"/>
                    </a:lnTo>
                    <a:lnTo>
                      <a:pt x="988" y="466"/>
                    </a:lnTo>
                    <a:lnTo>
                      <a:pt x="984" y="469"/>
                    </a:lnTo>
                    <a:lnTo>
                      <a:pt x="980" y="476"/>
                    </a:lnTo>
                    <a:lnTo>
                      <a:pt x="976" y="485"/>
                    </a:lnTo>
                    <a:lnTo>
                      <a:pt x="974" y="490"/>
                    </a:lnTo>
                    <a:lnTo>
                      <a:pt x="974" y="496"/>
                    </a:lnTo>
                    <a:lnTo>
                      <a:pt x="974" y="498"/>
                    </a:lnTo>
                    <a:lnTo>
                      <a:pt x="974" y="504"/>
                    </a:lnTo>
                    <a:lnTo>
                      <a:pt x="976" y="509"/>
                    </a:lnTo>
                    <a:lnTo>
                      <a:pt x="980" y="514"/>
                    </a:lnTo>
                    <a:lnTo>
                      <a:pt x="982" y="514"/>
                    </a:lnTo>
                    <a:lnTo>
                      <a:pt x="985" y="515"/>
                    </a:lnTo>
                    <a:lnTo>
                      <a:pt x="990" y="518"/>
                    </a:lnTo>
                    <a:lnTo>
                      <a:pt x="995" y="520"/>
                    </a:lnTo>
                    <a:lnTo>
                      <a:pt x="999" y="520"/>
                    </a:lnTo>
                    <a:lnTo>
                      <a:pt x="1006" y="521"/>
                    </a:lnTo>
                    <a:lnTo>
                      <a:pt x="1012" y="523"/>
                    </a:lnTo>
                    <a:lnTo>
                      <a:pt x="1017" y="525"/>
                    </a:lnTo>
                    <a:lnTo>
                      <a:pt x="1020" y="526"/>
                    </a:lnTo>
                    <a:lnTo>
                      <a:pt x="1020" y="529"/>
                    </a:lnTo>
                    <a:lnTo>
                      <a:pt x="1018" y="536"/>
                    </a:lnTo>
                    <a:lnTo>
                      <a:pt x="1015" y="544"/>
                    </a:lnTo>
                    <a:lnTo>
                      <a:pt x="1014" y="550"/>
                    </a:lnTo>
                    <a:lnTo>
                      <a:pt x="1012" y="555"/>
                    </a:lnTo>
                    <a:lnTo>
                      <a:pt x="1012" y="560"/>
                    </a:lnTo>
                    <a:lnTo>
                      <a:pt x="1011" y="566"/>
                    </a:lnTo>
                    <a:lnTo>
                      <a:pt x="1012" y="571"/>
                    </a:lnTo>
                    <a:lnTo>
                      <a:pt x="1012" y="577"/>
                    </a:lnTo>
                    <a:lnTo>
                      <a:pt x="1014" y="582"/>
                    </a:lnTo>
                    <a:lnTo>
                      <a:pt x="1014" y="583"/>
                    </a:lnTo>
                    <a:lnTo>
                      <a:pt x="1014" y="586"/>
                    </a:lnTo>
                    <a:lnTo>
                      <a:pt x="1014" y="588"/>
                    </a:lnTo>
                    <a:lnTo>
                      <a:pt x="1014" y="594"/>
                    </a:lnTo>
                    <a:lnTo>
                      <a:pt x="1014" y="596"/>
                    </a:lnTo>
                    <a:lnTo>
                      <a:pt x="1014" y="598"/>
                    </a:lnTo>
                    <a:lnTo>
                      <a:pt x="1011" y="599"/>
                    </a:lnTo>
                    <a:lnTo>
                      <a:pt x="1006" y="601"/>
                    </a:lnTo>
                    <a:lnTo>
                      <a:pt x="1001" y="602"/>
                    </a:lnTo>
                    <a:lnTo>
                      <a:pt x="999" y="602"/>
                    </a:lnTo>
                    <a:lnTo>
                      <a:pt x="996" y="601"/>
                    </a:lnTo>
                    <a:lnTo>
                      <a:pt x="995" y="599"/>
                    </a:lnTo>
                    <a:lnTo>
                      <a:pt x="993" y="598"/>
                    </a:lnTo>
                    <a:lnTo>
                      <a:pt x="992" y="596"/>
                    </a:lnTo>
                    <a:lnTo>
                      <a:pt x="990" y="594"/>
                    </a:lnTo>
                    <a:lnTo>
                      <a:pt x="990" y="593"/>
                    </a:lnTo>
                    <a:lnTo>
                      <a:pt x="990" y="590"/>
                    </a:lnTo>
                    <a:lnTo>
                      <a:pt x="988" y="588"/>
                    </a:lnTo>
                    <a:lnTo>
                      <a:pt x="987" y="585"/>
                    </a:lnTo>
                    <a:lnTo>
                      <a:pt x="985" y="583"/>
                    </a:lnTo>
                    <a:lnTo>
                      <a:pt x="984" y="583"/>
                    </a:lnTo>
                    <a:lnTo>
                      <a:pt x="982" y="582"/>
                    </a:lnTo>
                    <a:lnTo>
                      <a:pt x="977" y="583"/>
                    </a:lnTo>
                    <a:lnTo>
                      <a:pt x="973" y="585"/>
                    </a:lnTo>
                    <a:lnTo>
                      <a:pt x="969" y="586"/>
                    </a:lnTo>
                    <a:lnTo>
                      <a:pt x="965" y="586"/>
                    </a:lnTo>
                    <a:lnTo>
                      <a:pt x="963" y="586"/>
                    </a:lnTo>
                    <a:lnTo>
                      <a:pt x="960" y="586"/>
                    </a:lnTo>
                    <a:lnTo>
                      <a:pt x="958" y="588"/>
                    </a:lnTo>
                    <a:lnTo>
                      <a:pt x="957" y="588"/>
                    </a:lnTo>
                    <a:lnTo>
                      <a:pt x="955" y="590"/>
                    </a:lnTo>
                    <a:lnTo>
                      <a:pt x="954" y="590"/>
                    </a:lnTo>
                    <a:lnTo>
                      <a:pt x="952" y="591"/>
                    </a:lnTo>
                    <a:lnTo>
                      <a:pt x="952" y="594"/>
                    </a:lnTo>
                    <a:lnTo>
                      <a:pt x="952" y="598"/>
                    </a:lnTo>
                    <a:lnTo>
                      <a:pt x="955" y="601"/>
                    </a:lnTo>
                    <a:lnTo>
                      <a:pt x="960" y="604"/>
                    </a:lnTo>
                    <a:lnTo>
                      <a:pt x="963" y="607"/>
                    </a:lnTo>
                    <a:lnTo>
                      <a:pt x="966" y="610"/>
                    </a:lnTo>
                    <a:lnTo>
                      <a:pt x="965" y="617"/>
                    </a:lnTo>
                    <a:lnTo>
                      <a:pt x="963" y="623"/>
                    </a:lnTo>
                    <a:lnTo>
                      <a:pt x="958" y="629"/>
                    </a:lnTo>
                    <a:lnTo>
                      <a:pt x="957" y="637"/>
                    </a:lnTo>
                    <a:lnTo>
                      <a:pt x="957" y="645"/>
                    </a:lnTo>
                    <a:lnTo>
                      <a:pt x="957" y="655"/>
                    </a:lnTo>
                    <a:lnTo>
                      <a:pt x="955" y="662"/>
                    </a:lnTo>
                    <a:lnTo>
                      <a:pt x="955" y="672"/>
                    </a:lnTo>
                    <a:lnTo>
                      <a:pt x="955" y="680"/>
                    </a:lnTo>
                    <a:lnTo>
                      <a:pt x="957" y="688"/>
                    </a:lnTo>
                    <a:lnTo>
                      <a:pt x="961" y="694"/>
                    </a:lnTo>
                    <a:lnTo>
                      <a:pt x="963" y="701"/>
                    </a:lnTo>
                    <a:lnTo>
                      <a:pt x="966" y="708"/>
                    </a:lnTo>
                    <a:lnTo>
                      <a:pt x="968" y="715"/>
                    </a:lnTo>
                    <a:lnTo>
                      <a:pt x="966" y="720"/>
                    </a:lnTo>
                    <a:lnTo>
                      <a:pt x="963" y="726"/>
                    </a:lnTo>
                    <a:lnTo>
                      <a:pt x="957" y="735"/>
                    </a:lnTo>
                    <a:lnTo>
                      <a:pt x="955" y="745"/>
                    </a:lnTo>
                    <a:lnTo>
                      <a:pt x="955" y="753"/>
                    </a:lnTo>
                    <a:lnTo>
                      <a:pt x="952" y="762"/>
                    </a:lnTo>
                    <a:lnTo>
                      <a:pt x="949" y="769"/>
                    </a:lnTo>
                    <a:lnTo>
                      <a:pt x="942" y="773"/>
                    </a:lnTo>
                    <a:lnTo>
                      <a:pt x="938" y="777"/>
                    </a:lnTo>
                    <a:lnTo>
                      <a:pt x="935" y="777"/>
                    </a:lnTo>
                    <a:lnTo>
                      <a:pt x="928" y="780"/>
                    </a:lnTo>
                    <a:lnTo>
                      <a:pt x="922" y="781"/>
                    </a:lnTo>
                    <a:lnTo>
                      <a:pt x="915" y="784"/>
                    </a:lnTo>
                    <a:lnTo>
                      <a:pt x="908" y="788"/>
                    </a:lnTo>
                    <a:lnTo>
                      <a:pt x="900" y="794"/>
                    </a:lnTo>
                    <a:lnTo>
                      <a:pt x="896" y="797"/>
                    </a:lnTo>
                    <a:lnTo>
                      <a:pt x="892" y="802"/>
                    </a:lnTo>
                    <a:lnTo>
                      <a:pt x="884" y="808"/>
                    </a:lnTo>
                    <a:lnTo>
                      <a:pt x="876" y="813"/>
                    </a:lnTo>
                    <a:lnTo>
                      <a:pt x="871" y="813"/>
                    </a:lnTo>
                    <a:lnTo>
                      <a:pt x="870" y="813"/>
                    </a:lnTo>
                    <a:lnTo>
                      <a:pt x="858" y="810"/>
                    </a:lnTo>
                    <a:lnTo>
                      <a:pt x="854" y="810"/>
                    </a:lnTo>
                    <a:lnTo>
                      <a:pt x="851" y="810"/>
                    </a:lnTo>
                    <a:lnTo>
                      <a:pt x="839" y="811"/>
                    </a:lnTo>
                    <a:lnTo>
                      <a:pt x="828" y="813"/>
                    </a:lnTo>
                    <a:lnTo>
                      <a:pt x="819" y="815"/>
                    </a:lnTo>
                    <a:lnTo>
                      <a:pt x="809" y="815"/>
                    </a:lnTo>
                    <a:lnTo>
                      <a:pt x="800" y="813"/>
                    </a:lnTo>
                    <a:lnTo>
                      <a:pt x="798" y="813"/>
                    </a:lnTo>
                    <a:lnTo>
                      <a:pt x="789" y="810"/>
                    </a:lnTo>
                    <a:lnTo>
                      <a:pt x="778" y="805"/>
                    </a:lnTo>
                    <a:lnTo>
                      <a:pt x="776" y="805"/>
                    </a:lnTo>
                    <a:lnTo>
                      <a:pt x="770" y="802"/>
                    </a:lnTo>
                    <a:lnTo>
                      <a:pt x="762" y="796"/>
                    </a:lnTo>
                    <a:lnTo>
                      <a:pt x="757" y="792"/>
                    </a:lnTo>
                    <a:lnTo>
                      <a:pt x="756" y="791"/>
                    </a:lnTo>
                    <a:lnTo>
                      <a:pt x="749" y="788"/>
                    </a:lnTo>
                    <a:lnTo>
                      <a:pt x="743" y="783"/>
                    </a:lnTo>
                    <a:lnTo>
                      <a:pt x="737" y="778"/>
                    </a:lnTo>
                    <a:lnTo>
                      <a:pt x="733" y="770"/>
                    </a:lnTo>
                    <a:lnTo>
                      <a:pt x="732" y="769"/>
                    </a:lnTo>
                    <a:lnTo>
                      <a:pt x="729" y="769"/>
                    </a:lnTo>
                    <a:lnTo>
                      <a:pt x="725" y="770"/>
                    </a:lnTo>
                    <a:lnTo>
                      <a:pt x="724" y="772"/>
                    </a:lnTo>
                    <a:lnTo>
                      <a:pt x="721" y="772"/>
                    </a:lnTo>
                    <a:lnTo>
                      <a:pt x="714" y="769"/>
                    </a:lnTo>
                    <a:lnTo>
                      <a:pt x="705" y="764"/>
                    </a:lnTo>
                    <a:lnTo>
                      <a:pt x="694" y="761"/>
                    </a:lnTo>
                    <a:lnTo>
                      <a:pt x="689" y="758"/>
                    </a:lnTo>
                    <a:lnTo>
                      <a:pt x="687" y="758"/>
                    </a:lnTo>
                    <a:lnTo>
                      <a:pt x="684" y="758"/>
                    </a:lnTo>
                    <a:lnTo>
                      <a:pt x="679" y="758"/>
                    </a:lnTo>
                    <a:lnTo>
                      <a:pt x="672" y="759"/>
                    </a:lnTo>
                    <a:lnTo>
                      <a:pt x="665" y="761"/>
                    </a:lnTo>
                    <a:lnTo>
                      <a:pt x="656" y="758"/>
                    </a:lnTo>
                    <a:lnTo>
                      <a:pt x="653" y="753"/>
                    </a:lnTo>
                    <a:lnTo>
                      <a:pt x="648" y="750"/>
                    </a:lnTo>
                    <a:lnTo>
                      <a:pt x="641" y="748"/>
                    </a:lnTo>
                    <a:lnTo>
                      <a:pt x="635" y="748"/>
                    </a:lnTo>
                    <a:lnTo>
                      <a:pt x="630" y="745"/>
                    </a:lnTo>
                    <a:lnTo>
                      <a:pt x="629" y="743"/>
                    </a:lnTo>
                    <a:lnTo>
                      <a:pt x="624" y="742"/>
                    </a:lnTo>
                    <a:lnTo>
                      <a:pt x="618" y="740"/>
                    </a:lnTo>
                    <a:lnTo>
                      <a:pt x="613" y="739"/>
                    </a:lnTo>
                    <a:lnTo>
                      <a:pt x="610" y="737"/>
                    </a:lnTo>
                    <a:lnTo>
                      <a:pt x="607" y="734"/>
                    </a:lnTo>
                    <a:lnTo>
                      <a:pt x="605" y="732"/>
                    </a:lnTo>
                    <a:lnTo>
                      <a:pt x="599" y="726"/>
                    </a:lnTo>
                    <a:lnTo>
                      <a:pt x="592" y="721"/>
                    </a:lnTo>
                    <a:lnTo>
                      <a:pt x="584" y="716"/>
                    </a:lnTo>
                    <a:lnTo>
                      <a:pt x="572" y="718"/>
                    </a:lnTo>
                    <a:lnTo>
                      <a:pt x="565" y="716"/>
                    </a:lnTo>
                    <a:lnTo>
                      <a:pt x="559" y="715"/>
                    </a:lnTo>
                    <a:lnTo>
                      <a:pt x="558" y="712"/>
                    </a:lnTo>
                    <a:lnTo>
                      <a:pt x="556" y="707"/>
                    </a:lnTo>
                    <a:lnTo>
                      <a:pt x="558" y="701"/>
                    </a:lnTo>
                    <a:lnTo>
                      <a:pt x="561" y="694"/>
                    </a:lnTo>
                    <a:lnTo>
                      <a:pt x="562" y="688"/>
                    </a:lnTo>
                    <a:lnTo>
                      <a:pt x="559" y="683"/>
                    </a:lnTo>
                    <a:lnTo>
                      <a:pt x="553" y="677"/>
                    </a:lnTo>
                    <a:lnTo>
                      <a:pt x="551" y="675"/>
                    </a:lnTo>
                    <a:lnTo>
                      <a:pt x="550" y="672"/>
                    </a:lnTo>
                    <a:lnTo>
                      <a:pt x="550" y="669"/>
                    </a:lnTo>
                    <a:lnTo>
                      <a:pt x="546" y="661"/>
                    </a:lnTo>
                    <a:lnTo>
                      <a:pt x="543" y="659"/>
                    </a:lnTo>
                    <a:lnTo>
                      <a:pt x="542" y="659"/>
                    </a:lnTo>
                    <a:lnTo>
                      <a:pt x="540" y="658"/>
                    </a:lnTo>
                    <a:lnTo>
                      <a:pt x="535" y="656"/>
                    </a:lnTo>
                    <a:lnTo>
                      <a:pt x="529" y="653"/>
                    </a:lnTo>
                    <a:lnTo>
                      <a:pt x="524" y="650"/>
                    </a:lnTo>
                    <a:lnTo>
                      <a:pt x="516" y="643"/>
                    </a:lnTo>
                    <a:lnTo>
                      <a:pt x="510" y="639"/>
                    </a:lnTo>
                    <a:lnTo>
                      <a:pt x="505" y="637"/>
                    </a:lnTo>
                    <a:lnTo>
                      <a:pt x="502" y="634"/>
                    </a:lnTo>
                    <a:lnTo>
                      <a:pt x="504" y="632"/>
                    </a:lnTo>
                    <a:lnTo>
                      <a:pt x="505" y="628"/>
                    </a:lnTo>
                    <a:lnTo>
                      <a:pt x="510" y="623"/>
                    </a:lnTo>
                    <a:lnTo>
                      <a:pt x="513" y="618"/>
                    </a:lnTo>
                    <a:lnTo>
                      <a:pt x="516" y="613"/>
                    </a:lnTo>
                    <a:lnTo>
                      <a:pt x="518" y="609"/>
                    </a:lnTo>
                    <a:lnTo>
                      <a:pt x="519" y="602"/>
                    </a:lnTo>
                    <a:lnTo>
                      <a:pt x="516" y="596"/>
                    </a:lnTo>
                    <a:lnTo>
                      <a:pt x="515" y="590"/>
                    </a:lnTo>
                    <a:lnTo>
                      <a:pt x="515" y="586"/>
                    </a:lnTo>
                    <a:lnTo>
                      <a:pt x="512" y="575"/>
                    </a:lnTo>
                    <a:lnTo>
                      <a:pt x="510" y="571"/>
                    </a:lnTo>
                    <a:lnTo>
                      <a:pt x="508" y="569"/>
                    </a:lnTo>
                    <a:lnTo>
                      <a:pt x="505" y="564"/>
                    </a:lnTo>
                    <a:lnTo>
                      <a:pt x="499" y="564"/>
                    </a:lnTo>
                    <a:lnTo>
                      <a:pt x="493" y="563"/>
                    </a:lnTo>
                    <a:lnTo>
                      <a:pt x="491" y="564"/>
                    </a:lnTo>
                    <a:lnTo>
                      <a:pt x="488" y="564"/>
                    </a:lnTo>
                    <a:lnTo>
                      <a:pt x="483" y="564"/>
                    </a:lnTo>
                    <a:lnTo>
                      <a:pt x="478" y="564"/>
                    </a:lnTo>
                    <a:lnTo>
                      <a:pt x="475" y="567"/>
                    </a:lnTo>
                    <a:lnTo>
                      <a:pt x="472" y="572"/>
                    </a:lnTo>
                    <a:lnTo>
                      <a:pt x="467" y="575"/>
                    </a:lnTo>
                    <a:lnTo>
                      <a:pt x="467" y="579"/>
                    </a:lnTo>
                    <a:lnTo>
                      <a:pt x="466" y="580"/>
                    </a:lnTo>
                    <a:lnTo>
                      <a:pt x="467" y="585"/>
                    </a:lnTo>
                    <a:lnTo>
                      <a:pt x="470" y="590"/>
                    </a:lnTo>
                    <a:lnTo>
                      <a:pt x="478" y="596"/>
                    </a:lnTo>
                    <a:lnTo>
                      <a:pt x="480" y="598"/>
                    </a:lnTo>
                    <a:lnTo>
                      <a:pt x="483" y="601"/>
                    </a:lnTo>
                    <a:lnTo>
                      <a:pt x="486" y="602"/>
                    </a:lnTo>
                    <a:lnTo>
                      <a:pt x="488" y="604"/>
                    </a:lnTo>
                    <a:lnTo>
                      <a:pt x="488" y="607"/>
                    </a:lnTo>
                    <a:lnTo>
                      <a:pt x="486" y="610"/>
                    </a:lnTo>
                    <a:lnTo>
                      <a:pt x="483" y="613"/>
                    </a:lnTo>
                    <a:lnTo>
                      <a:pt x="481" y="617"/>
                    </a:lnTo>
                    <a:lnTo>
                      <a:pt x="477" y="621"/>
                    </a:lnTo>
                    <a:lnTo>
                      <a:pt x="470" y="626"/>
                    </a:lnTo>
                    <a:lnTo>
                      <a:pt x="464" y="629"/>
                    </a:lnTo>
                    <a:lnTo>
                      <a:pt x="461" y="628"/>
                    </a:lnTo>
                    <a:lnTo>
                      <a:pt x="458" y="628"/>
                    </a:lnTo>
                    <a:lnTo>
                      <a:pt x="453" y="629"/>
                    </a:lnTo>
                    <a:lnTo>
                      <a:pt x="453" y="631"/>
                    </a:lnTo>
                    <a:lnTo>
                      <a:pt x="450" y="632"/>
                    </a:lnTo>
                    <a:lnTo>
                      <a:pt x="442" y="637"/>
                    </a:lnTo>
                    <a:lnTo>
                      <a:pt x="436" y="642"/>
                    </a:lnTo>
                    <a:lnTo>
                      <a:pt x="432" y="642"/>
                    </a:lnTo>
                    <a:lnTo>
                      <a:pt x="428" y="643"/>
                    </a:lnTo>
                    <a:lnTo>
                      <a:pt x="421" y="642"/>
                    </a:lnTo>
                    <a:lnTo>
                      <a:pt x="417" y="640"/>
                    </a:lnTo>
                    <a:lnTo>
                      <a:pt x="413" y="637"/>
                    </a:lnTo>
                    <a:lnTo>
                      <a:pt x="412" y="631"/>
                    </a:lnTo>
                    <a:lnTo>
                      <a:pt x="410" y="626"/>
                    </a:lnTo>
                    <a:lnTo>
                      <a:pt x="410" y="623"/>
                    </a:lnTo>
                    <a:lnTo>
                      <a:pt x="407" y="618"/>
                    </a:lnTo>
                    <a:lnTo>
                      <a:pt x="405" y="618"/>
                    </a:lnTo>
                    <a:lnTo>
                      <a:pt x="404" y="618"/>
                    </a:lnTo>
                    <a:lnTo>
                      <a:pt x="402" y="621"/>
                    </a:lnTo>
                    <a:lnTo>
                      <a:pt x="399" y="623"/>
                    </a:lnTo>
                    <a:lnTo>
                      <a:pt x="398" y="621"/>
                    </a:lnTo>
                    <a:lnTo>
                      <a:pt x="396" y="623"/>
                    </a:lnTo>
                    <a:lnTo>
                      <a:pt x="393" y="624"/>
                    </a:lnTo>
                    <a:lnTo>
                      <a:pt x="390" y="624"/>
                    </a:lnTo>
                    <a:lnTo>
                      <a:pt x="385" y="623"/>
                    </a:lnTo>
                    <a:lnTo>
                      <a:pt x="382" y="621"/>
                    </a:lnTo>
                    <a:lnTo>
                      <a:pt x="380" y="623"/>
                    </a:lnTo>
                    <a:lnTo>
                      <a:pt x="377" y="628"/>
                    </a:lnTo>
                    <a:lnTo>
                      <a:pt x="374" y="632"/>
                    </a:lnTo>
                    <a:lnTo>
                      <a:pt x="372" y="637"/>
                    </a:lnTo>
                    <a:lnTo>
                      <a:pt x="369" y="637"/>
                    </a:lnTo>
                    <a:lnTo>
                      <a:pt x="363" y="636"/>
                    </a:lnTo>
                    <a:lnTo>
                      <a:pt x="360" y="632"/>
                    </a:lnTo>
                    <a:lnTo>
                      <a:pt x="356" y="636"/>
                    </a:lnTo>
                    <a:lnTo>
                      <a:pt x="355" y="639"/>
                    </a:lnTo>
                    <a:lnTo>
                      <a:pt x="355" y="645"/>
                    </a:lnTo>
                    <a:lnTo>
                      <a:pt x="355" y="651"/>
                    </a:lnTo>
                    <a:lnTo>
                      <a:pt x="355" y="653"/>
                    </a:lnTo>
                    <a:lnTo>
                      <a:pt x="350" y="656"/>
                    </a:lnTo>
                    <a:lnTo>
                      <a:pt x="348" y="656"/>
                    </a:lnTo>
                    <a:lnTo>
                      <a:pt x="345" y="658"/>
                    </a:lnTo>
                    <a:lnTo>
                      <a:pt x="340" y="659"/>
                    </a:lnTo>
                    <a:lnTo>
                      <a:pt x="337" y="666"/>
                    </a:lnTo>
                    <a:lnTo>
                      <a:pt x="331" y="674"/>
                    </a:lnTo>
                    <a:lnTo>
                      <a:pt x="326" y="675"/>
                    </a:lnTo>
                    <a:lnTo>
                      <a:pt x="326" y="677"/>
                    </a:lnTo>
                    <a:lnTo>
                      <a:pt x="325" y="678"/>
                    </a:lnTo>
                    <a:lnTo>
                      <a:pt x="325" y="685"/>
                    </a:lnTo>
                    <a:lnTo>
                      <a:pt x="326" y="691"/>
                    </a:lnTo>
                    <a:lnTo>
                      <a:pt x="328" y="701"/>
                    </a:lnTo>
                    <a:lnTo>
                      <a:pt x="328" y="708"/>
                    </a:lnTo>
                    <a:lnTo>
                      <a:pt x="329" y="720"/>
                    </a:lnTo>
                    <a:lnTo>
                      <a:pt x="331" y="720"/>
                    </a:lnTo>
                    <a:lnTo>
                      <a:pt x="331" y="723"/>
                    </a:lnTo>
                    <a:lnTo>
                      <a:pt x="333" y="727"/>
                    </a:lnTo>
                    <a:lnTo>
                      <a:pt x="331" y="731"/>
                    </a:lnTo>
                    <a:lnTo>
                      <a:pt x="326" y="735"/>
                    </a:lnTo>
                    <a:lnTo>
                      <a:pt x="321" y="737"/>
                    </a:lnTo>
                    <a:lnTo>
                      <a:pt x="317" y="742"/>
                    </a:lnTo>
                    <a:lnTo>
                      <a:pt x="310" y="746"/>
                    </a:lnTo>
                    <a:lnTo>
                      <a:pt x="309" y="745"/>
                    </a:lnTo>
                    <a:lnTo>
                      <a:pt x="302" y="742"/>
                    </a:lnTo>
                    <a:lnTo>
                      <a:pt x="295" y="742"/>
                    </a:lnTo>
                    <a:lnTo>
                      <a:pt x="288" y="742"/>
                    </a:lnTo>
                    <a:lnTo>
                      <a:pt x="285" y="739"/>
                    </a:lnTo>
                    <a:lnTo>
                      <a:pt x="283" y="735"/>
                    </a:lnTo>
                    <a:lnTo>
                      <a:pt x="287" y="732"/>
                    </a:lnTo>
                    <a:lnTo>
                      <a:pt x="288" y="729"/>
                    </a:lnTo>
                    <a:lnTo>
                      <a:pt x="293" y="727"/>
                    </a:lnTo>
                    <a:lnTo>
                      <a:pt x="296" y="723"/>
                    </a:lnTo>
                    <a:lnTo>
                      <a:pt x="296" y="720"/>
                    </a:lnTo>
                    <a:lnTo>
                      <a:pt x="296" y="718"/>
                    </a:lnTo>
                    <a:lnTo>
                      <a:pt x="293" y="716"/>
                    </a:lnTo>
                    <a:lnTo>
                      <a:pt x="290" y="715"/>
                    </a:lnTo>
                    <a:lnTo>
                      <a:pt x="283" y="713"/>
                    </a:lnTo>
                    <a:lnTo>
                      <a:pt x="277" y="712"/>
                    </a:lnTo>
                    <a:lnTo>
                      <a:pt x="271" y="708"/>
                    </a:lnTo>
                    <a:lnTo>
                      <a:pt x="264" y="705"/>
                    </a:lnTo>
                    <a:lnTo>
                      <a:pt x="260" y="702"/>
                    </a:lnTo>
                    <a:lnTo>
                      <a:pt x="258" y="699"/>
                    </a:lnTo>
                    <a:lnTo>
                      <a:pt x="258" y="694"/>
                    </a:lnTo>
                    <a:lnTo>
                      <a:pt x="257" y="689"/>
                    </a:lnTo>
                    <a:lnTo>
                      <a:pt x="255" y="683"/>
                    </a:lnTo>
                    <a:lnTo>
                      <a:pt x="253" y="678"/>
                    </a:lnTo>
                    <a:lnTo>
                      <a:pt x="250" y="675"/>
                    </a:lnTo>
                    <a:lnTo>
                      <a:pt x="245" y="670"/>
                    </a:lnTo>
                    <a:lnTo>
                      <a:pt x="241" y="666"/>
                    </a:lnTo>
                    <a:lnTo>
                      <a:pt x="238" y="662"/>
                    </a:lnTo>
                    <a:lnTo>
                      <a:pt x="231" y="661"/>
                    </a:lnTo>
                    <a:lnTo>
                      <a:pt x="226" y="658"/>
                    </a:lnTo>
                    <a:lnTo>
                      <a:pt x="223" y="651"/>
                    </a:lnTo>
                    <a:lnTo>
                      <a:pt x="220" y="645"/>
                    </a:lnTo>
                    <a:lnTo>
                      <a:pt x="219" y="642"/>
                    </a:lnTo>
                    <a:lnTo>
                      <a:pt x="217" y="640"/>
                    </a:lnTo>
                    <a:lnTo>
                      <a:pt x="215" y="636"/>
                    </a:lnTo>
                    <a:lnTo>
                      <a:pt x="215" y="634"/>
                    </a:lnTo>
                    <a:lnTo>
                      <a:pt x="215" y="629"/>
                    </a:lnTo>
                    <a:lnTo>
                      <a:pt x="217" y="621"/>
                    </a:lnTo>
                    <a:lnTo>
                      <a:pt x="219" y="615"/>
                    </a:lnTo>
                    <a:lnTo>
                      <a:pt x="222" y="610"/>
                    </a:lnTo>
                    <a:lnTo>
                      <a:pt x="225" y="604"/>
                    </a:lnTo>
                    <a:lnTo>
                      <a:pt x="228" y="601"/>
                    </a:lnTo>
                    <a:lnTo>
                      <a:pt x="230" y="599"/>
                    </a:lnTo>
                    <a:lnTo>
                      <a:pt x="233" y="593"/>
                    </a:lnTo>
                    <a:lnTo>
                      <a:pt x="236" y="590"/>
                    </a:lnTo>
                    <a:lnTo>
                      <a:pt x="238" y="590"/>
                    </a:lnTo>
                    <a:lnTo>
                      <a:pt x="239" y="588"/>
                    </a:lnTo>
                    <a:lnTo>
                      <a:pt x="241" y="586"/>
                    </a:lnTo>
                    <a:lnTo>
                      <a:pt x="242" y="583"/>
                    </a:lnTo>
                    <a:lnTo>
                      <a:pt x="239" y="580"/>
                    </a:lnTo>
                    <a:lnTo>
                      <a:pt x="234" y="577"/>
                    </a:lnTo>
                    <a:lnTo>
                      <a:pt x="228" y="577"/>
                    </a:lnTo>
                    <a:lnTo>
                      <a:pt x="223" y="575"/>
                    </a:lnTo>
                    <a:lnTo>
                      <a:pt x="222" y="572"/>
                    </a:lnTo>
                    <a:lnTo>
                      <a:pt x="223" y="567"/>
                    </a:lnTo>
                    <a:lnTo>
                      <a:pt x="228" y="566"/>
                    </a:lnTo>
                    <a:lnTo>
                      <a:pt x="234" y="564"/>
                    </a:lnTo>
                    <a:lnTo>
                      <a:pt x="239" y="561"/>
                    </a:lnTo>
                    <a:lnTo>
                      <a:pt x="241" y="558"/>
                    </a:lnTo>
                    <a:lnTo>
                      <a:pt x="245" y="556"/>
                    </a:lnTo>
                    <a:lnTo>
                      <a:pt x="250" y="555"/>
                    </a:lnTo>
                    <a:lnTo>
                      <a:pt x="253" y="553"/>
                    </a:lnTo>
                    <a:lnTo>
                      <a:pt x="258" y="552"/>
                    </a:lnTo>
                    <a:lnTo>
                      <a:pt x="264" y="548"/>
                    </a:lnTo>
                    <a:lnTo>
                      <a:pt x="269" y="547"/>
                    </a:lnTo>
                    <a:lnTo>
                      <a:pt x="277" y="545"/>
                    </a:lnTo>
                    <a:lnTo>
                      <a:pt x="280" y="542"/>
                    </a:lnTo>
                    <a:lnTo>
                      <a:pt x="280" y="537"/>
                    </a:lnTo>
                    <a:lnTo>
                      <a:pt x="274" y="536"/>
                    </a:lnTo>
                    <a:lnTo>
                      <a:pt x="268" y="534"/>
                    </a:lnTo>
                    <a:lnTo>
                      <a:pt x="260" y="534"/>
                    </a:lnTo>
                    <a:lnTo>
                      <a:pt x="253" y="533"/>
                    </a:lnTo>
                    <a:lnTo>
                      <a:pt x="247" y="531"/>
                    </a:lnTo>
                    <a:lnTo>
                      <a:pt x="242" y="531"/>
                    </a:lnTo>
                    <a:lnTo>
                      <a:pt x="241" y="531"/>
                    </a:lnTo>
                    <a:lnTo>
                      <a:pt x="234" y="531"/>
                    </a:lnTo>
                    <a:lnTo>
                      <a:pt x="228" y="534"/>
                    </a:lnTo>
                    <a:lnTo>
                      <a:pt x="226" y="534"/>
                    </a:lnTo>
                    <a:lnTo>
                      <a:pt x="225" y="534"/>
                    </a:lnTo>
                    <a:lnTo>
                      <a:pt x="220" y="536"/>
                    </a:lnTo>
                    <a:lnTo>
                      <a:pt x="214" y="536"/>
                    </a:lnTo>
                    <a:lnTo>
                      <a:pt x="203" y="536"/>
                    </a:lnTo>
                    <a:lnTo>
                      <a:pt x="198" y="529"/>
                    </a:lnTo>
                    <a:lnTo>
                      <a:pt x="195" y="523"/>
                    </a:lnTo>
                    <a:lnTo>
                      <a:pt x="193" y="517"/>
                    </a:lnTo>
                    <a:lnTo>
                      <a:pt x="188" y="510"/>
                    </a:lnTo>
                    <a:lnTo>
                      <a:pt x="182" y="509"/>
                    </a:lnTo>
                    <a:lnTo>
                      <a:pt x="176" y="509"/>
                    </a:lnTo>
                    <a:lnTo>
                      <a:pt x="168" y="507"/>
                    </a:lnTo>
                    <a:lnTo>
                      <a:pt x="161" y="506"/>
                    </a:lnTo>
                    <a:lnTo>
                      <a:pt x="158" y="504"/>
                    </a:lnTo>
                    <a:lnTo>
                      <a:pt x="155" y="501"/>
                    </a:lnTo>
                    <a:lnTo>
                      <a:pt x="152" y="496"/>
                    </a:lnTo>
                    <a:lnTo>
                      <a:pt x="149" y="490"/>
                    </a:lnTo>
                    <a:lnTo>
                      <a:pt x="146" y="487"/>
                    </a:lnTo>
                    <a:lnTo>
                      <a:pt x="142" y="482"/>
                    </a:lnTo>
                    <a:lnTo>
                      <a:pt x="139" y="479"/>
                    </a:lnTo>
                    <a:lnTo>
                      <a:pt x="133" y="474"/>
                    </a:lnTo>
                    <a:lnTo>
                      <a:pt x="128" y="471"/>
                    </a:lnTo>
                    <a:lnTo>
                      <a:pt x="122" y="469"/>
                    </a:lnTo>
                    <a:lnTo>
                      <a:pt x="117" y="468"/>
                    </a:lnTo>
                    <a:lnTo>
                      <a:pt x="111" y="464"/>
                    </a:lnTo>
                    <a:lnTo>
                      <a:pt x="104" y="461"/>
                    </a:lnTo>
                    <a:lnTo>
                      <a:pt x="100" y="457"/>
                    </a:lnTo>
                    <a:lnTo>
                      <a:pt x="95" y="453"/>
                    </a:lnTo>
                    <a:lnTo>
                      <a:pt x="90" y="450"/>
                    </a:lnTo>
                    <a:lnTo>
                      <a:pt x="87" y="447"/>
                    </a:lnTo>
                    <a:lnTo>
                      <a:pt x="81" y="442"/>
                    </a:lnTo>
                    <a:lnTo>
                      <a:pt x="78" y="439"/>
                    </a:lnTo>
                    <a:lnTo>
                      <a:pt x="74" y="434"/>
                    </a:lnTo>
                    <a:lnTo>
                      <a:pt x="71" y="430"/>
                    </a:lnTo>
                    <a:lnTo>
                      <a:pt x="66" y="425"/>
                    </a:lnTo>
                    <a:lnTo>
                      <a:pt x="60" y="420"/>
                    </a:lnTo>
                    <a:lnTo>
                      <a:pt x="52" y="415"/>
                    </a:lnTo>
                    <a:lnTo>
                      <a:pt x="46" y="414"/>
                    </a:lnTo>
                    <a:lnTo>
                      <a:pt x="40" y="411"/>
                    </a:lnTo>
                    <a:lnTo>
                      <a:pt x="33" y="409"/>
                    </a:lnTo>
                    <a:lnTo>
                      <a:pt x="27" y="412"/>
                    </a:lnTo>
                    <a:lnTo>
                      <a:pt x="21" y="415"/>
                    </a:lnTo>
                    <a:lnTo>
                      <a:pt x="19" y="418"/>
                    </a:lnTo>
                    <a:lnTo>
                      <a:pt x="17" y="422"/>
                    </a:lnTo>
                    <a:lnTo>
                      <a:pt x="13" y="425"/>
                    </a:lnTo>
                    <a:lnTo>
                      <a:pt x="9" y="425"/>
                    </a:lnTo>
                    <a:lnTo>
                      <a:pt x="6" y="425"/>
                    </a:lnTo>
                    <a:lnTo>
                      <a:pt x="3" y="420"/>
                    </a:lnTo>
                    <a:lnTo>
                      <a:pt x="2" y="417"/>
                    </a:lnTo>
                    <a:lnTo>
                      <a:pt x="0" y="417"/>
                    </a:lnTo>
                    <a:lnTo>
                      <a:pt x="0" y="415"/>
                    </a:lnTo>
                    <a:lnTo>
                      <a:pt x="3" y="415"/>
                    </a:lnTo>
                    <a:lnTo>
                      <a:pt x="3" y="414"/>
                    </a:lnTo>
                    <a:lnTo>
                      <a:pt x="3" y="412"/>
                    </a:lnTo>
                    <a:lnTo>
                      <a:pt x="3" y="409"/>
                    </a:lnTo>
                    <a:lnTo>
                      <a:pt x="5" y="406"/>
                    </a:lnTo>
                    <a:lnTo>
                      <a:pt x="5" y="393"/>
                    </a:lnTo>
                    <a:lnTo>
                      <a:pt x="5" y="387"/>
                    </a:lnTo>
                    <a:lnTo>
                      <a:pt x="5" y="384"/>
                    </a:lnTo>
                    <a:lnTo>
                      <a:pt x="5" y="380"/>
                    </a:lnTo>
                    <a:lnTo>
                      <a:pt x="5" y="374"/>
                    </a:lnTo>
                    <a:lnTo>
                      <a:pt x="5" y="369"/>
                    </a:lnTo>
                    <a:lnTo>
                      <a:pt x="5" y="368"/>
                    </a:lnTo>
                    <a:lnTo>
                      <a:pt x="5" y="361"/>
                    </a:lnTo>
                    <a:lnTo>
                      <a:pt x="3" y="354"/>
                    </a:lnTo>
                    <a:lnTo>
                      <a:pt x="3" y="350"/>
                    </a:lnTo>
                    <a:lnTo>
                      <a:pt x="3" y="347"/>
                    </a:lnTo>
                    <a:lnTo>
                      <a:pt x="5" y="323"/>
                    </a:lnTo>
                    <a:lnTo>
                      <a:pt x="5" y="320"/>
                    </a:lnTo>
                    <a:lnTo>
                      <a:pt x="5" y="312"/>
                    </a:lnTo>
                    <a:lnTo>
                      <a:pt x="5" y="308"/>
                    </a:lnTo>
                    <a:lnTo>
                      <a:pt x="5" y="304"/>
                    </a:lnTo>
                    <a:lnTo>
                      <a:pt x="5" y="303"/>
                    </a:lnTo>
                    <a:lnTo>
                      <a:pt x="3" y="290"/>
                    </a:lnTo>
                    <a:lnTo>
                      <a:pt x="3" y="285"/>
                    </a:lnTo>
                    <a:lnTo>
                      <a:pt x="3" y="284"/>
                    </a:lnTo>
                    <a:lnTo>
                      <a:pt x="3" y="281"/>
                    </a:lnTo>
                    <a:lnTo>
                      <a:pt x="3" y="279"/>
                    </a:lnTo>
                    <a:lnTo>
                      <a:pt x="3" y="277"/>
                    </a:lnTo>
                    <a:lnTo>
                      <a:pt x="3" y="276"/>
                    </a:lnTo>
                    <a:lnTo>
                      <a:pt x="3" y="263"/>
                    </a:lnTo>
                    <a:lnTo>
                      <a:pt x="3" y="262"/>
                    </a:lnTo>
                    <a:lnTo>
                      <a:pt x="2" y="260"/>
                    </a:lnTo>
                    <a:lnTo>
                      <a:pt x="2" y="249"/>
                    </a:lnTo>
                    <a:lnTo>
                      <a:pt x="0" y="246"/>
                    </a:lnTo>
                    <a:lnTo>
                      <a:pt x="0" y="239"/>
                    </a:lnTo>
                    <a:lnTo>
                      <a:pt x="0" y="236"/>
                    </a:lnTo>
                    <a:lnTo>
                      <a:pt x="2" y="236"/>
                    </a:lnTo>
                    <a:lnTo>
                      <a:pt x="2" y="238"/>
                    </a:lnTo>
                    <a:lnTo>
                      <a:pt x="3" y="238"/>
                    </a:lnTo>
                    <a:lnTo>
                      <a:pt x="3" y="239"/>
                    </a:lnTo>
                    <a:lnTo>
                      <a:pt x="5" y="239"/>
                    </a:lnTo>
                    <a:lnTo>
                      <a:pt x="6" y="239"/>
                    </a:lnTo>
                    <a:lnTo>
                      <a:pt x="8" y="239"/>
                    </a:lnTo>
                    <a:lnTo>
                      <a:pt x="9" y="239"/>
                    </a:lnTo>
                    <a:lnTo>
                      <a:pt x="11" y="239"/>
                    </a:lnTo>
                    <a:lnTo>
                      <a:pt x="13" y="239"/>
                    </a:lnTo>
                    <a:lnTo>
                      <a:pt x="13" y="241"/>
                    </a:lnTo>
                    <a:lnTo>
                      <a:pt x="14" y="241"/>
                    </a:lnTo>
                    <a:lnTo>
                      <a:pt x="16" y="241"/>
                    </a:lnTo>
                    <a:lnTo>
                      <a:pt x="17" y="241"/>
                    </a:lnTo>
                    <a:lnTo>
                      <a:pt x="19" y="241"/>
                    </a:lnTo>
                    <a:lnTo>
                      <a:pt x="21" y="241"/>
                    </a:lnTo>
                    <a:lnTo>
                      <a:pt x="22" y="241"/>
                    </a:lnTo>
                    <a:lnTo>
                      <a:pt x="24" y="241"/>
                    </a:lnTo>
                    <a:lnTo>
                      <a:pt x="25" y="241"/>
                    </a:lnTo>
                    <a:lnTo>
                      <a:pt x="25" y="239"/>
                    </a:lnTo>
                    <a:lnTo>
                      <a:pt x="27" y="239"/>
                    </a:lnTo>
                    <a:lnTo>
                      <a:pt x="27" y="241"/>
                    </a:lnTo>
                    <a:lnTo>
                      <a:pt x="28" y="241"/>
                    </a:lnTo>
                    <a:lnTo>
                      <a:pt x="30" y="241"/>
                    </a:lnTo>
                    <a:lnTo>
                      <a:pt x="32" y="241"/>
                    </a:lnTo>
                    <a:lnTo>
                      <a:pt x="33" y="241"/>
                    </a:lnTo>
                    <a:lnTo>
                      <a:pt x="33" y="243"/>
                    </a:lnTo>
                    <a:lnTo>
                      <a:pt x="35" y="244"/>
                    </a:lnTo>
                    <a:lnTo>
                      <a:pt x="36" y="244"/>
                    </a:lnTo>
                    <a:lnTo>
                      <a:pt x="38" y="244"/>
                    </a:lnTo>
                    <a:lnTo>
                      <a:pt x="38" y="243"/>
                    </a:lnTo>
                    <a:lnTo>
                      <a:pt x="40" y="243"/>
                    </a:lnTo>
                    <a:lnTo>
                      <a:pt x="41" y="243"/>
                    </a:lnTo>
                    <a:lnTo>
                      <a:pt x="43" y="243"/>
                    </a:lnTo>
                    <a:lnTo>
                      <a:pt x="44" y="243"/>
                    </a:lnTo>
                    <a:lnTo>
                      <a:pt x="46" y="244"/>
                    </a:lnTo>
                    <a:lnTo>
                      <a:pt x="47" y="244"/>
                    </a:lnTo>
                    <a:lnTo>
                      <a:pt x="49" y="244"/>
                    </a:lnTo>
                    <a:lnTo>
                      <a:pt x="51" y="244"/>
                    </a:lnTo>
                    <a:lnTo>
                      <a:pt x="52" y="244"/>
                    </a:lnTo>
                    <a:lnTo>
                      <a:pt x="54" y="244"/>
                    </a:lnTo>
                    <a:lnTo>
                      <a:pt x="55" y="246"/>
                    </a:lnTo>
                    <a:lnTo>
                      <a:pt x="57" y="246"/>
                    </a:lnTo>
                    <a:lnTo>
                      <a:pt x="59" y="246"/>
                    </a:lnTo>
                    <a:lnTo>
                      <a:pt x="59" y="244"/>
                    </a:lnTo>
                    <a:lnTo>
                      <a:pt x="60" y="244"/>
                    </a:lnTo>
                    <a:lnTo>
                      <a:pt x="62" y="244"/>
                    </a:lnTo>
                    <a:lnTo>
                      <a:pt x="63" y="244"/>
                    </a:lnTo>
                    <a:lnTo>
                      <a:pt x="65" y="244"/>
                    </a:lnTo>
                    <a:lnTo>
                      <a:pt x="65" y="243"/>
                    </a:lnTo>
                    <a:lnTo>
                      <a:pt x="66" y="243"/>
                    </a:lnTo>
                    <a:lnTo>
                      <a:pt x="68" y="241"/>
                    </a:lnTo>
                    <a:lnTo>
                      <a:pt x="68" y="239"/>
                    </a:lnTo>
                    <a:lnTo>
                      <a:pt x="68" y="238"/>
                    </a:lnTo>
                    <a:lnTo>
                      <a:pt x="68" y="236"/>
                    </a:lnTo>
                    <a:lnTo>
                      <a:pt x="70" y="236"/>
                    </a:lnTo>
                    <a:lnTo>
                      <a:pt x="71" y="235"/>
                    </a:lnTo>
                    <a:lnTo>
                      <a:pt x="73" y="235"/>
                    </a:lnTo>
                    <a:lnTo>
                      <a:pt x="73" y="233"/>
                    </a:lnTo>
                    <a:lnTo>
                      <a:pt x="73" y="232"/>
                    </a:lnTo>
                    <a:lnTo>
                      <a:pt x="74" y="232"/>
                    </a:lnTo>
                    <a:lnTo>
                      <a:pt x="74" y="230"/>
                    </a:lnTo>
                    <a:lnTo>
                      <a:pt x="76" y="230"/>
                    </a:lnTo>
                    <a:lnTo>
                      <a:pt x="76" y="228"/>
                    </a:lnTo>
                    <a:lnTo>
                      <a:pt x="76" y="227"/>
                    </a:lnTo>
                    <a:lnTo>
                      <a:pt x="76" y="225"/>
                    </a:lnTo>
                    <a:lnTo>
                      <a:pt x="78" y="225"/>
                    </a:lnTo>
                    <a:lnTo>
                      <a:pt x="78" y="224"/>
                    </a:lnTo>
                    <a:lnTo>
                      <a:pt x="79" y="222"/>
                    </a:lnTo>
                    <a:lnTo>
                      <a:pt x="79" y="220"/>
                    </a:lnTo>
                    <a:lnTo>
                      <a:pt x="79" y="219"/>
                    </a:lnTo>
                    <a:lnTo>
                      <a:pt x="81" y="217"/>
                    </a:lnTo>
                    <a:lnTo>
                      <a:pt x="81" y="216"/>
                    </a:lnTo>
                    <a:lnTo>
                      <a:pt x="81" y="214"/>
                    </a:lnTo>
                    <a:lnTo>
                      <a:pt x="81" y="213"/>
                    </a:lnTo>
                    <a:lnTo>
                      <a:pt x="81" y="211"/>
                    </a:lnTo>
                    <a:lnTo>
                      <a:pt x="82" y="211"/>
                    </a:lnTo>
                    <a:lnTo>
                      <a:pt x="82" y="209"/>
                    </a:lnTo>
                    <a:lnTo>
                      <a:pt x="84" y="209"/>
                    </a:lnTo>
                    <a:lnTo>
                      <a:pt x="84" y="208"/>
                    </a:lnTo>
                    <a:lnTo>
                      <a:pt x="84" y="206"/>
                    </a:lnTo>
                    <a:lnTo>
                      <a:pt x="82" y="205"/>
                    </a:lnTo>
                    <a:lnTo>
                      <a:pt x="84" y="203"/>
                    </a:lnTo>
                    <a:lnTo>
                      <a:pt x="84" y="201"/>
                    </a:lnTo>
                    <a:lnTo>
                      <a:pt x="84" y="200"/>
                    </a:lnTo>
                    <a:lnTo>
                      <a:pt x="82" y="198"/>
                    </a:lnTo>
                    <a:lnTo>
                      <a:pt x="84" y="197"/>
                    </a:lnTo>
                    <a:lnTo>
                      <a:pt x="84" y="195"/>
                    </a:lnTo>
                    <a:lnTo>
                      <a:pt x="82" y="193"/>
                    </a:lnTo>
                    <a:lnTo>
                      <a:pt x="82" y="192"/>
                    </a:lnTo>
                    <a:lnTo>
                      <a:pt x="82" y="190"/>
                    </a:lnTo>
                    <a:lnTo>
                      <a:pt x="82" y="189"/>
                    </a:lnTo>
                    <a:lnTo>
                      <a:pt x="82" y="187"/>
                    </a:lnTo>
                    <a:lnTo>
                      <a:pt x="84" y="187"/>
                    </a:lnTo>
                    <a:lnTo>
                      <a:pt x="84" y="189"/>
                    </a:lnTo>
                    <a:lnTo>
                      <a:pt x="85" y="189"/>
                    </a:lnTo>
                    <a:lnTo>
                      <a:pt x="87" y="190"/>
                    </a:lnTo>
                    <a:lnTo>
                      <a:pt x="89" y="190"/>
                    </a:lnTo>
                    <a:lnTo>
                      <a:pt x="90" y="192"/>
                    </a:lnTo>
                    <a:lnTo>
                      <a:pt x="92" y="192"/>
                    </a:lnTo>
                    <a:lnTo>
                      <a:pt x="92" y="190"/>
                    </a:lnTo>
                    <a:lnTo>
                      <a:pt x="93" y="190"/>
                    </a:lnTo>
                    <a:lnTo>
                      <a:pt x="93" y="189"/>
                    </a:lnTo>
                    <a:lnTo>
                      <a:pt x="93" y="187"/>
                    </a:lnTo>
                    <a:lnTo>
                      <a:pt x="95" y="187"/>
                    </a:lnTo>
                    <a:lnTo>
                      <a:pt x="95" y="186"/>
                    </a:lnTo>
                    <a:lnTo>
                      <a:pt x="97" y="184"/>
                    </a:lnTo>
                    <a:lnTo>
                      <a:pt x="98" y="184"/>
                    </a:lnTo>
                    <a:lnTo>
                      <a:pt x="100" y="184"/>
                    </a:lnTo>
                    <a:lnTo>
                      <a:pt x="101" y="184"/>
                    </a:lnTo>
                    <a:lnTo>
                      <a:pt x="103" y="182"/>
                    </a:lnTo>
                    <a:lnTo>
                      <a:pt x="103" y="181"/>
                    </a:lnTo>
                    <a:lnTo>
                      <a:pt x="101" y="181"/>
                    </a:lnTo>
                    <a:lnTo>
                      <a:pt x="101" y="179"/>
                    </a:lnTo>
                    <a:lnTo>
                      <a:pt x="101" y="178"/>
                    </a:lnTo>
                    <a:lnTo>
                      <a:pt x="100" y="178"/>
                    </a:lnTo>
                    <a:lnTo>
                      <a:pt x="100" y="176"/>
                    </a:lnTo>
                    <a:lnTo>
                      <a:pt x="98" y="176"/>
                    </a:lnTo>
                    <a:lnTo>
                      <a:pt x="98" y="174"/>
                    </a:lnTo>
                    <a:lnTo>
                      <a:pt x="97" y="176"/>
                    </a:lnTo>
                    <a:lnTo>
                      <a:pt x="97" y="178"/>
                    </a:lnTo>
                    <a:lnTo>
                      <a:pt x="95" y="179"/>
                    </a:lnTo>
                    <a:lnTo>
                      <a:pt x="93" y="179"/>
                    </a:lnTo>
                    <a:lnTo>
                      <a:pt x="92" y="179"/>
                    </a:lnTo>
                    <a:lnTo>
                      <a:pt x="90" y="179"/>
                    </a:lnTo>
                    <a:lnTo>
                      <a:pt x="89" y="179"/>
                    </a:lnTo>
                    <a:lnTo>
                      <a:pt x="87" y="179"/>
                    </a:lnTo>
                    <a:lnTo>
                      <a:pt x="87" y="178"/>
                    </a:lnTo>
                    <a:lnTo>
                      <a:pt x="85" y="178"/>
                    </a:lnTo>
                    <a:lnTo>
                      <a:pt x="84" y="178"/>
                    </a:lnTo>
                    <a:lnTo>
                      <a:pt x="82" y="178"/>
                    </a:lnTo>
                    <a:lnTo>
                      <a:pt x="84" y="178"/>
                    </a:lnTo>
                    <a:lnTo>
                      <a:pt x="84" y="176"/>
                    </a:lnTo>
                    <a:lnTo>
                      <a:pt x="84" y="174"/>
                    </a:lnTo>
                    <a:lnTo>
                      <a:pt x="85" y="174"/>
                    </a:lnTo>
                    <a:lnTo>
                      <a:pt x="85" y="173"/>
                    </a:lnTo>
                    <a:lnTo>
                      <a:pt x="87" y="171"/>
                    </a:lnTo>
                    <a:lnTo>
                      <a:pt x="85" y="171"/>
                    </a:lnTo>
                    <a:lnTo>
                      <a:pt x="85" y="170"/>
                    </a:lnTo>
                    <a:lnTo>
                      <a:pt x="84" y="170"/>
                    </a:lnTo>
                    <a:lnTo>
                      <a:pt x="82" y="170"/>
                    </a:lnTo>
                    <a:lnTo>
                      <a:pt x="81" y="168"/>
                    </a:lnTo>
                    <a:lnTo>
                      <a:pt x="79" y="168"/>
                    </a:lnTo>
                    <a:lnTo>
                      <a:pt x="78" y="168"/>
                    </a:lnTo>
                    <a:lnTo>
                      <a:pt x="76" y="168"/>
                    </a:lnTo>
                    <a:lnTo>
                      <a:pt x="74" y="168"/>
                    </a:lnTo>
                    <a:lnTo>
                      <a:pt x="74" y="170"/>
                    </a:lnTo>
                    <a:lnTo>
                      <a:pt x="74" y="168"/>
                    </a:lnTo>
                    <a:lnTo>
                      <a:pt x="73" y="168"/>
                    </a:lnTo>
                    <a:lnTo>
                      <a:pt x="74" y="168"/>
                    </a:lnTo>
                    <a:lnTo>
                      <a:pt x="74" y="167"/>
                    </a:lnTo>
                    <a:lnTo>
                      <a:pt x="73" y="167"/>
                    </a:lnTo>
                    <a:lnTo>
                      <a:pt x="73" y="165"/>
                    </a:lnTo>
                    <a:lnTo>
                      <a:pt x="74" y="165"/>
                    </a:lnTo>
                    <a:lnTo>
                      <a:pt x="74" y="163"/>
                    </a:lnTo>
                    <a:lnTo>
                      <a:pt x="74" y="162"/>
                    </a:lnTo>
                    <a:lnTo>
                      <a:pt x="74" y="160"/>
                    </a:lnTo>
                    <a:lnTo>
                      <a:pt x="74" y="159"/>
                    </a:lnTo>
                    <a:lnTo>
                      <a:pt x="76" y="159"/>
                    </a:lnTo>
                    <a:lnTo>
                      <a:pt x="76" y="157"/>
                    </a:lnTo>
                    <a:lnTo>
                      <a:pt x="76" y="159"/>
                    </a:lnTo>
                    <a:lnTo>
                      <a:pt x="78" y="159"/>
                    </a:lnTo>
                    <a:lnTo>
                      <a:pt x="79" y="159"/>
                    </a:lnTo>
                    <a:lnTo>
                      <a:pt x="81" y="159"/>
                    </a:lnTo>
                    <a:lnTo>
                      <a:pt x="82" y="159"/>
                    </a:lnTo>
                    <a:lnTo>
                      <a:pt x="84" y="160"/>
                    </a:lnTo>
                    <a:lnTo>
                      <a:pt x="85" y="160"/>
                    </a:lnTo>
                    <a:lnTo>
                      <a:pt x="87" y="160"/>
                    </a:lnTo>
                    <a:lnTo>
                      <a:pt x="89" y="162"/>
                    </a:lnTo>
                    <a:lnTo>
                      <a:pt x="90" y="162"/>
                    </a:lnTo>
                    <a:lnTo>
                      <a:pt x="90" y="163"/>
                    </a:lnTo>
                    <a:lnTo>
                      <a:pt x="92" y="163"/>
                    </a:lnTo>
                    <a:lnTo>
                      <a:pt x="92" y="165"/>
                    </a:lnTo>
                    <a:lnTo>
                      <a:pt x="92" y="163"/>
                    </a:lnTo>
                    <a:lnTo>
                      <a:pt x="92" y="162"/>
                    </a:lnTo>
                    <a:lnTo>
                      <a:pt x="92" y="160"/>
                    </a:lnTo>
                    <a:lnTo>
                      <a:pt x="92" y="159"/>
                    </a:lnTo>
                    <a:lnTo>
                      <a:pt x="90" y="159"/>
                    </a:lnTo>
                    <a:lnTo>
                      <a:pt x="90" y="157"/>
                    </a:lnTo>
                    <a:lnTo>
                      <a:pt x="90" y="155"/>
                    </a:lnTo>
                    <a:lnTo>
                      <a:pt x="90" y="154"/>
                    </a:lnTo>
                    <a:lnTo>
                      <a:pt x="92" y="154"/>
                    </a:lnTo>
                    <a:lnTo>
                      <a:pt x="92" y="152"/>
                    </a:lnTo>
                    <a:lnTo>
                      <a:pt x="90" y="152"/>
                    </a:lnTo>
                    <a:lnTo>
                      <a:pt x="92" y="151"/>
                    </a:lnTo>
                    <a:lnTo>
                      <a:pt x="92" y="152"/>
                    </a:lnTo>
                    <a:lnTo>
                      <a:pt x="93" y="152"/>
                    </a:lnTo>
                    <a:lnTo>
                      <a:pt x="93" y="151"/>
                    </a:lnTo>
                    <a:lnTo>
                      <a:pt x="95" y="151"/>
                    </a:lnTo>
                    <a:lnTo>
                      <a:pt x="97" y="151"/>
                    </a:lnTo>
                    <a:lnTo>
                      <a:pt x="98" y="151"/>
                    </a:lnTo>
                    <a:lnTo>
                      <a:pt x="100" y="152"/>
                    </a:lnTo>
                    <a:lnTo>
                      <a:pt x="100" y="154"/>
                    </a:lnTo>
                    <a:lnTo>
                      <a:pt x="101" y="154"/>
                    </a:lnTo>
                    <a:lnTo>
                      <a:pt x="103" y="154"/>
                    </a:lnTo>
                    <a:lnTo>
                      <a:pt x="104" y="154"/>
                    </a:lnTo>
                    <a:lnTo>
                      <a:pt x="106" y="154"/>
                    </a:lnTo>
                    <a:lnTo>
                      <a:pt x="108" y="154"/>
                    </a:lnTo>
                    <a:lnTo>
                      <a:pt x="108" y="152"/>
                    </a:lnTo>
                    <a:lnTo>
                      <a:pt x="108" y="151"/>
                    </a:lnTo>
                    <a:lnTo>
                      <a:pt x="106" y="149"/>
                    </a:lnTo>
                    <a:lnTo>
                      <a:pt x="106" y="148"/>
                    </a:lnTo>
                    <a:lnTo>
                      <a:pt x="108" y="148"/>
                    </a:lnTo>
                    <a:lnTo>
                      <a:pt x="109" y="148"/>
                    </a:lnTo>
                    <a:lnTo>
                      <a:pt x="109" y="146"/>
                    </a:lnTo>
                    <a:lnTo>
                      <a:pt x="111" y="146"/>
                    </a:lnTo>
                    <a:lnTo>
                      <a:pt x="111" y="144"/>
                    </a:lnTo>
                    <a:lnTo>
                      <a:pt x="111" y="143"/>
                    </a:lnTo>
                    <a:lnTo>
                      <a:pt x="111" y="141"/>
                    </a:lnTo>
                    <a:lnTo>
                      <a:pt x="111" y="140"/>
                    </a:lnTo>
                    <a:lnTo>
                      <a:pt x="111" y="138"/>
                    </a:lnTo>
                    <a:lnTo>
                      <a:pt x="111" y="136"/>
                    </a:lnTo>
                    <a:lnTo>
                      <a:pt x="111" y="135"/>
                    </a:lnTo>
                    <a:lnTo>
                      <a:pt x="109" y="133"/>
                    </a:lnTo>
                    <a:lnTo>
                      <a:pt x="108" y="133"/>
                    </a:lnTo>
                    <a:lnTo>
                      <a:pt x="108" y="132"/>
                    </a:lnTo>
                    <a:lnTo>
                      <a:pt x="108" y="130"/>
                    </a:lnTo>
                    <a:lnTo>
                      <a:pt x="106" y="130"/>
                    </a:lnTo>
                    <a:lnTo>
                      <a:pt x="106" y="129"/>
                    </a:lnTo>
                    <a:lnTo>
                      <a:pt x="104" y="129"/>
                    </a:lnTo>
                    <a:lnTo>
                      <a:pt x="103" y="129"/>
                    </a:lnTo>
                    <a:lnTo>
                      <a:pt x="103" y="127"/>
                    </a:lnTo>
                    <a:lnTo>
                      <a:pt x="100" y="127"/>
                    </a:lnTo>
                    <a:lnTo>
                      <a:pt x="100" y="125"/>
                    </a:lnTo>
                    <a:lnTo>
                      <a:pt x="98" y="125"/>
                    </a:lnTo>
                    <a:lnTo>
                      <a:pt x="97" y="125"/>
                    </a:lnTo>
                    <a:lnTo>
                      <a:pt x="95" y="125"/>
                    </a:lnTo>
                    <a:lnTo>
                      <a:pt x="95" y="124"/>
                    </a:lnTo>
                    <a:lnTo>
                      <a:pt x="93" y="124"/>
                    </a:lnTo>
                    <a:lnTo>
                      <a:pt x="93" y="122"/>
                    </a:lnTo>
                    <a:lnTo>
                      <a:pt x="93" y="121"/>
                    </a:lnTo>
                    <a:lnTo>
                      <a:pt x="93" y="119"/>
                    </a:lnTo>
                    <a:lnTo>
                      <a:pt x="93" y="117"/>
                    </a:lnTo>
                    <a:lnTo>
                      <a:pt x="93" y="116"/>
                    </a:lnTo>
                    <a:lnTo>
                      <a:pt x="93" y="114"/>
                    </a:lnTo>
                    <a:lnTo>
                      <a:pt x="92" y="114"/>
                    </a:lnTo>
                    <a:lnTo>
                      <a:pt x="90" y="114"/>
                    </a:lnTo>
                    <a:lnTo>
                      <a:pt x="89" y="114"/>
                    </a:lnTo>
                    <a:lnTo>
                      <a:pt x="89" y="113"/>
                    </a:lnTo>
                    <a:lnTo>
                      <a:pt x="87" y="113"/>
                    </a:lnTo>
                    <a:lnTo>
                      <a:pt x="87" y="111"/>
                    </a:lnTo>
                    <a:lnTo>
                      <a:pt x="87" y="110"/>
                    </a:lnTo>
                    <a:lnTo>
                      <a:pt x="87" y="108"/>
                    </a:lnTo>
                    <a:lnTo>
                      <a:pt x="85" y="108"/>
                    </a:lnTo>
                    <a:lnTo>
                      <a:pt x="85" y="106"/>
                    </a:lnTo>
                    <a:lnTo>
                      <a:pt x="85" y="105"/>
                    </a:lnTo>
                    <a:lnTo>
                      <a:pt x="85" y="103"/>
                    </a:lnTo>
                    <a:lnTo>
                      <a:pt x="84" y="103"/>
                    </a:lnTo>
                    <a:lnTo>
                      <a:pt x="84" y="102"/>
                    </a:lnTo>
                    <a:lnTo>
                      <a:pt x="82" y="102"/>
                    </a:lnTo>
                    <a:lnTo>
                      <a:pt x="82" y="100"/>
                    </a:lnTo>
                    <a:lnTo>
                      <a:pt x="84" y="100"/>
                    </a:lnTo>
                    <a:lnTo>
                      <a:pt x="84" y="98"/>
                    </a:lnTo>
                    <a:lnTo>
                      <a:pt x="85" y="98"/>
                    </a:lnTo>
                    <a:lnTo>
                      <a:pt x="87" y="98"/>
                    </a:lnTo>
                    <a:lnTo>
                      <a:pt x="89" y="98"/>
                    </a:lnTo>
                    <a:lnTo>
                      <a:pt x="90" y="100"/>
                    </a:lnTo>
                    <a:lnTo>
                      <a:pt x="90" y="102"/>
                    </a:lnTo>
                    <a:lnTo>
                      <a:pt x="92" y="102"/>
                    </a:lnTo>
                    <a:lnTo>
                      <a:pt x="93" y="102"/>
                    </a:lnTo>
                    <a:lnTo>
                      <a:pt x="93" y="103"/>
                    </a:lnTo>
                    <a:lnTo>
                      <a:pt x="95" y="103"/>
                    </a:lnTo>
                    <a:lnTo>
                      <a:pt x="97" y="103"/>
                    </a:lnTo>
                    <a:lnTo>
                      <a:pt x="98" y="103"/>
                    </a:lnTo>
                    <a:lnTo>
                      <a:pt x="100" y="103"/>
                    </a:lnTo>
                    <a:lnTo>
                      <a:pt x="100" y="105"/>
                    </a:lnTo>
                    <a:lnTo>
                      <a:pt x="101" y="105"/>
                    </a:lnTo>
                    <a:lnTo>
                      <a:pt x="101" y="106"/>
                    </a:lnTo>
                    <a:lnTo>
                      <a:pt x="103" y="106"/>
                    </a:lnTo>
                    <a:lnTo>
                      <a:pt x="103" y="105"/>
                    </a:lnTo>
                    <a:lnTo>
                      <a:pt x="104" y="105"/>
                    </a:lnTo>
                    <a:lnTo>
                      <a:pt x="106" y="105"/>
                    </a:lnTo>
                    <a:lnTo>
                      <a:pt x="108" y="105"/>
                    </a:lnTo>
                    <a:lnTo>
                      <a:pt x="109" y="106"/>
                    </a:lnTo>
                    <a:lnTo>
                      <a:pt x="111" y="106"/>
                    </a:lnTo>
                    <a:lnTo>
                      <a:pt x="111" y="105"/>
                    </a:lnTo>
                    <a:lnTo>
                      <a:pt x="112" y="105"/>
                    </a:lnTo>
                    <a:lnTo>
                      <a:pt x="112" y="106"/>
                    </a:lnTo>
                    <a:lnTo>
                      <a:pt x="114" y="105"/>
                    </a:lnTo>
                    <a:lnTo>
                      <a:pt x="116" y="105"/>
                    </a:lnTo>
                    <a:lnTo>
                      <a:pt x="116" y="103"/>
                    </a:lnTo>
                    <a:lnTo>
                      <a:pt x="116" y="105"/>
                    </a:lnTo>
                    <a:lnTo>
                      <a:pt x="117" y="105"/>
                    </a:lnTo>
                    <a:lnTo>
                      <a:pt x="117" y="103"/>
                    </a:lnTo>
                    <a:lnTo>
                      <a:pt x="119" y="103"/>
                    </a:lnTo>
                    <a:lnTo>
                      <a:pt x="119" y="105"/>
                    </a:lnTo>
                    <a:lnTo>
                      <a:pt x="120" y="105"/>
                    </a:lnTo>
                    <a:lnTo>
                      <a:pt x="120" y="103"/>
                    </a:lnTo>
                    <a:lnTo>
                      <a:pt x="122" y="103"/>
                    </a:lnTo>
                    <a:lnTo>
                      <a:pt x="123" y="102"/>
                    </a:lnTo>
                    <a:lnTo>
                      <a:pt x="123" y="103"/>
                    </a:lnTo>
                    <a:lnTo>
                      <a:pt x="123" y="102"/>
                    </a:lnTo>
                    <a:lnTo>
                      <a:pt x="125" y="102"/>
                    </a:lnTo>
                    <a:lnTo>
                      <a:pt x="125" y="103"/>
                    </a:lnTo>
                    <a:lnTo>
                      <a:pt x="127" y="103"/>
                    </a:lnTo>
                    <a:lnTo>
                      <a:pt x="127" y="105"/>
                    </a:lnTo>
                    <a:lnTo>
                      <a:pt x="128" y="105"/>
                    </a:lnTo>
                    <a:lnTo>
                      <a:pt x="128" y="106"/>
                    </a:lnTo>
                    <a:lnTo>
                      <a:pt x="130" y="108"/>
                    </a:lnTo>
                    <a:lnTo>
                      <a:pt x="131" y="110"/>
                    </a:lnTo>
                    <a:lnTo>
                      <a:pt x="133" y="110"/>
                    </a:lnTo>
                    <a:lnTo>
                      <a:pt x="133" y="111"/>
                    </a:lnTo>
                    <a:lnTo>
                      <a:pt x="135" y="111"/>
                    </a:lnTo>
                    <a:lnTo>
                      <a:pt x="136" y="113"/>
                    </a:lnTo>
                    <a:lnTo>
                      <a:pt x="138" y="113"/>
                    </a:lnTo>
                    <a:lnTo>
                      <a:pt x="138" y="114"/>
                    </a:lnTo>
                    <a:lnTo>
                      <a:pt x="139" y="114"/>
                    </a:lnTo>
                    <a:lnTo>
                      <a:pt x="139" y="116"/>
                    </a:lnTo>
                    <a:lnTo>
                      <a:pt x="141" y="116"/>
                    </a:lnTo>
                    <a:lnTo>
                      <a:pt x="142" y="116"/>
                    </a:lnTo>
                    <a:lnTo>
                      <a:pt x="142" y="117"/>
                    </a:lnTo>
                    <a:lnTo>
                      <a:pt x="144" y="119"/>
                    </a:lnTo>
                    <a:lnTo>
                      <a:pt x="146" y="119"/>
                    </a:lnTo>
                    <a:lnTo>
                      <a:pt x="147" y="121"/>
                    </a:lnTo>
                    <a:lnTo>
                      <a:pt x="149" y="121"/>
                    </a:lnTo>
                    <a:lnTo>
                      <a:pt x="150" y="121"/>
                    </a:lnTo>
                    <a:lnTo>
                      <a:pt x="150" y="122"/>
                    </a:lnTo>
                    <a:lnTo>
                      <a:pt x="152" y="122"/>
                    </a:lnTo>
                    <a:lnTo>
                      <a:pt x="154" y="122"/>
                    </a:lnTo>
                    <a:lnTo>
                      <a:pt x="154" y="124"/>
                    </a:lnTo>
                    <a:lnTo>
                      <a:pt x="155" y="125"/>
                    </a:lnTo>
                    <a:lnTo>
                      <a:pt x="157" y="125"/>
                    </a:lnTo>
                    <a:lnTo>
                      <a:pt x="158" y="125"/>
                    </a:lnTo>
                    <a:lnTo>
                      <a:pt x="160" y="125"/>
                    </a:lnTo>
                    <a:lnTo>
                      <a:pt x="161" y="125"/>
                    </a:lnTo>
                    <a:lnTo>
                      <a:pt x="163" y="125"/>
                    </a:lnTo>
                    <a:lnTo>
                      <a:pt x="165" y="125"/>
                    </a:lnTo>
                    <a:lnTo>
                      <a:pt x="165" y="127"/>
                    </a:lnTo>
                    <a:lnTo>
                      <a:pt x="166" y="127"/>
                    </a:lnTo>
                    <a:lnTo>
                      <a:pt x="168" y="127"/>
                    </a:lnTo>
                    <a:lnTo>
                      <a:pt x="169" y="127"/>
                    </a:lnTo>
                    <a:lnTo>
                      <a:pt x="171" y="127"/>
                    </a:lnTo>
                    <a:lnTo>
                      <a:pt x="173" y="127"/>
                    </a:lnTo>
                    <a:lnTo>
                      <a:pt x="173" y="129"/>
                    </a:lnTo>
                    <a:lnTo>
                      <a:pt x="174" y="129"/>
                    </a:lnTo>
                    <a:lnTo>
                      <a:pt x="174" y="130"/>
                    </a:lnTo>
                    <a:lnTo>
                      <a:pt x="174" y="132"/>
                    </a:lnTo>
                    <a:lnTo>
                      <a:pt x="176" y="132"/>
                    </a:lnTo>
                    <a:lnTo>
                      <a:pt x="176" y="133"/>
                    </a:lnTo>
                    <a:lnTo>
                      <a:pt x="177" y="133"/>
                    </a:lnTo>
                    <a:lnTo>
                      <a:pt x="179" y="133"/>
                    </a:lnTo>
                    <a:lnTo>
                      <a:pt x="179" y="135"/>
                    </a:lnTo>
                    <a:lnTo>
                      <a:pt x="181" y="135"/>
                    </a:lnTo>
                    <a:lnTo>
                      <a:pt x="182" y="135"/>
                    </a:lnTo>
                    <a:lnTo>
                      <a:pt x="184" y="135"/>
                    </a:lnTo>
                    <a:lnTo>
                      <a:pt x="184" y="133"/>
                    </a:lnTo>
                    <a:lnTo>
                      <a:pt x="185" y="133"/>
                    </a:lnTo>
                    <a:lnTo>
                      <a:pt x="187" y="133"/>
                    </a:lnTo>
                    <a:lnTo>
                      <a:pt x="188" y="132"/>
                    </a:lnTo>
                    <a:lnTo>
                      <a:pt x="190" y="132"/>
                    </a:lnTo>
                    <a:lnTo>
                      <a:pt x="190" y="130"/>
                    </a:lnTo>
                    <a:lnTo>
                      <a:pt x="192" y="130"/>
                    </a:lnTo>
                    <a:lnTo>
                      <a:pt x="193" y="129"/>
                    </a:lnTo>
                    <a:lnTo>
                      <a:pt x="195" y="129"/>
                    </a:lnTo>
                    <a:lnTo>
                      <a:pt x="195" y="127"/>
                    </a:lnTo>
                    <a:lnTo>
                      <a:pt x="196" y="127"/>
                    </a:lnTo>
                    <a:lnTo>
                      <a:pt x="196" y="125"/>
                    </a:lnTo>
                    <a:lnTo>
                      <a:pt x="196" y="124"/>
                    </a:lnTo>
                    <a:lnTo>
                      <a:pt x="196" y="122"/>
                    </a:lnTo>
                    <a:lnTo>
                      <a:pt x="196" y="121"/>
                    </a:lnTo>
                    <a:lnTo>
                      <a:pt x="195" y="121"/>
                    </a:lnTo>
                    <a:lnTo>
                      <a:pt x="193" y="121"/>
                    </a:lnTo>
                    <a:lnTo>
                      <a:pt x="193" y="119"/>
                    </a:lnTo>
                    <a:lnTo>
                      <a:pt x="193" y="117"/>
                    </a:lnTo>
                    <a:lnTo>
                      <a:pt x="195" y="116"/>
                    </a:lnTo>
                    <a:lnTo>
                      <a:pt x="196" y="116"/>
                    </a:lnTo>
                    <a:lnTo>
                      <a:pt x="196" y="114"/>
                    </a:lnTo>
                    <a:lnTo>
                      <a:pt x="198" y="114"/>
                    </a:lnTo>
                    <a:lnTo>
                      <a:pt x="198" y="113"/>
                    </a:lnTo>
                    <a:lnTo>
                      <a:pt x="200" y="113"/>
                    </a:lnTo>
                    <a:lnTo>
                      <a:pt x="200" y="111"/>
                    </a:lnTo>
                    <a:lnTo>
                      <a:pt x="200" y="110"/>
                    </a:lnTo>
                    <a:lnTo>
                      <a:pt x="198" y="110"/>
                    </a:lnTo>
                    <a:lnTo>
                      <a:pt x="198" y="108"/>
                    </a:lnTo>
                    <a:lnTo>
                      <a:pt x="196" y="108"/>
                    </a:lnTo>
                    <a:lnTo>
                      <a:pt x="196" y="106"/>
                    </a:lnTo>
                    <a:lnTo>
                      <a:pt x="198" y="106"/>
                    </a:lnTo>
                    <a:lnTo>
                      <a:pt x="198" y="105"/>
                    </a:lnTo>
                    <a:lnTo>
                      <a:pt x="198" y="103"/>
                    </a:lnTo>
                    <a:lnTo>
                      <a:pt x="198" y="102"/>
                    </a:lnTo>
                    <a:lnTo>
                      <a:pt x="198" y="100"/>
                    </a:lnTo>
                    <a:lnTo>
                      <a:pt x="196" y="100"/>
                    </a:lnTo>
                    <a:lnTo>
                      <a:pt x="196" y="98"/>
                    </a:lnTo>
                    <a:lnTo>
                      <a:pt x="196" y="97"/>
                    </a:lnTo>
                    <a:lnTo>
                      <a:pt x="196" y="95"/>
                    </a:lnTo>
                    <a:lnTo>
                      <a:pt x="196" y="94"/>
                    </a:lnTo>
                    <a:lnTo>
                      <a:pt x="196" y="92"/>
                    </a:lnTo>
                    <a:lnTo>
                      <a:pt x="198" y="90"/>
                    </a:lnTo>
                    <a:lnTo>
                      <a:pt x="198" y="89"/>
                    </a:lnTo>
                    <a:lnTo>
                      <a:pt x="198" y="87"/>
                    </a:lnTo>
                    <a:lnTo>
                      <a:pt x="198" y="86"/>
                    </a:lnTo>
                    <a:lnTo>
                      <a:pt x="198" y="84"/>
                    </a:lnTo>
                    <a:lnTo>
                      <a:pt x="196" y="84"/>
                    </a:lnTo>
                    <a:lnTo>
                      <a:pt x="196" y="83"/>
                    </a:lnTo>
                    <a:lnTo>
                      <a:pt x="195" y="83"/>
                    </a:lnTo>
                    <a:lnTo>
                      <a:pt x="195" y="81"/>
                    </a:lnTo>
                    <a:lnTo>
                      <a:pt x="193" y="81"/>
                    </a:lnTo>
                    <a:lnTo>
                      <a:pt x="193" y="79"/>
                    </a:lnTo>
                    <a:lnTo>
                      <a:pt x="195" y="79"/>
                    </a:lnTo>
                    <a:lnTo>
                      <a:pt x="196" y="79"/>
                    </a:lnTo>
                    <a:lnTo>
                      <a:pt x="198" y="79"/>
                    </a:lnTo>
                    <a:lnTo>
                      <a:pt x="198" y="78"/>
                    </a:lnTo>
                    <a:lnTo>
                      <a:pt x="200" y="78"/>
                    </a:lnTo>
                    <a:lnTo>
                      <a:pt x="200" y="76"/>
                    </a:lnTo>
                    <a:lnTo>
                      <a:pt x="198" y="76"/>
                    </a:lnTo>
                    <a:lnTo>
                      <a:pt x="198" y="75"/>
                    </a:lnTo>
                    <a:lnTo>
                      <a:pt x="198" y="73"/>
                    </a:lnTo>
                    <a:lnTo>
                      <a:pt x="198" y="71"/>
                    </a:lnTo>
                    <a:lnTo>
                      <a:pt x="196" y="71"/>
                    </a:lnTo>
                    <a:lnTo>
                      <a:pt x="195" y="71"/>
                    </a:lnTo>
                    <a:lnTo>
                      <a:pt x="195" y="70"/>
                    </a:lnTo>
                    <a:lnTo>
                      <a:pt x="195" y="68"/>
                    </a:lnTo>
                    <a:lnTo>
                      <a:pt x="196" y="68"/>
                    </a:lnTo>
                    <a:lnTo>
                      <a:pt x="198" y="67"/>
                    </a:lnTo>
                    <a:lnTo>
                      <a:pt x="200" y="67"/>
                    </a:lnTo>
                    <a:lnTo>
                      <a:pt x="201" y="67"/>
                    </a:lnTo>
                    <a:lnTo>
                      <a:pt x="201" y="65"/>
                    </a:lnTo>
                    <a:lnTo>
                      <a:pt x="203" y="65"/>
                    </a:lnTo>
                    <a:lnTo>
                      <a:pt x="203" y="64"/>
                    </a:lnTo>
                    <a:lnTo>
                      <a:pt x="203" y="62"/>
                    </a:lnTo>
                    <a:lnTo>
                      <a:pt x="204" y="62"/>
                    </a:lnTo>
                    <a:lnTo>
                      <a:pt x="204" y="60"/>
                    </a:lnTo>
                    <a:lnTo>
                      <a:pt x="206" y="60"/>
                    </a:lnTo>
                    <a:lnTo>
                      <a:pt x="206" y="59"/>
                    </a:lnTo>
                    <a:lnTo>
                      <a:pt x="207" y="59"/>
                    </a:lnTo>
                    <a:lnTo>
                      <a:pt x="207" y="57"/>
                    </a:lnTo>
                    <a:lnTo>
                      <a:pt x="209" y="57"/>
                    </a:lnTo>
                    <a:lnTo>
                      <a:pt x="211" y="57"/>
                    </a:lnTo>
                    <a:lnTo>
                      <a:pt x="212" y="57"/>
                    </a:lnTo>
                    <a:lnTo>
                      <a:pt x="214" y="57"/>
                    </a:lnTo>
                    <a:lnTo>
                      <a:pt x="215" y="57"/>
                    </a:lnTo>
                    <a:lnTo>
                      <a:pt x="215" y="56"/>
                    </a:lnTo>
                    <a:lnTo>
                      <a:pt x="215" y="54"/>
                    </a:lnTo>
                    <a:lnTo>
                      <a:pt x="217" y="54"/>
                    </a:lnTo>
                    <a:lnTo>
                      <a:pt x="217" y="52"/>
                    </a:lnTo>
                    <a:lnTo>
                      <a:pt x="219" y="52"/>
                    </a:lnTo>
                    <a:lnTo>
                      <a:pt x="219" y="51"/>
                    </a:lnTo>
                    <a:lnTo>
                      <a:pt x="219" y="49"/>
                    </a:lnTo>
                    <a:lnTo>
                      <a:pt x="217" y="49"/>
                    </a:lnTo>
                    <a:lnTo>
                      <a:pt x="217" y="48"/>
                    </a:lnTo>
                    <a:lnTo>
                      <a:pt x="219" y="48"/>
                    </a:lnTo>
                    <a:lnTo>
                      <a:pt x="220" y="48"/>
                    </a:lnTo>
                    <a:lnTo>
                      <a:pt x="222" y="48"/>
                    </a:lnTo>
                    <a:lnTo>
                      <a:pt x="222" y="46"/>
                    </a:lnTo>
                    <a:lnTo>
                      <a:pt x="222" y="45"/>
                    </a:lnTo>
                    <a:lnTo>
                      <a:pt x="223" y="45"/>
                    </a:lnTo>
                    <a:lnTo>
                      <a:pt x="223" y="43"/>
                    </a:lnTo>
                    <a:lnTo>
                      <a:pt x="225" y="41"/>
                    </a:lnTo>
                    <a:lnTo>
                      <a:pt x="223" y="41"/>
                    </a:lnTo>
                    <a:lnTo>
                      <a:pt x="223" y="40"/>
                    </a:lnTo>
                    <a:lnTo>
                      <a:pt x="223" y="38"/>
                    </a:lnTo>
                    <a:lnTo>
                      <a:pt x="223" y="37"/>
                    </a:lnTo>
                    <a:lnTo>
                      <a:pt x="222" y="37"/>
                    </a:lnTo>
                    <a:lnTo>
                      <a:pt x="220" y="37"/>
                    </a:lnTo>
                    <a:lnTo>
                      <a:pt x="219" y="37"/>
                    </a:lnTo>
                    <a:lnTo>
                      <a:pt x="219" y="35"/>
                    </a:lnTo>
                    <a:lnTo>
                      <a:pt x="217" y="35"/>
                    </a:lnTo>
                    <a:lnTo>
                      <a:pt x="217" y="33"/>
                    </a:lnTo>
                    <a:lnTo>
                      <a:pt x="217" y="32"/>
                    </a:lnTo>
                    <a:lnTo>
                      <a:pt x="217" y="30"/>
                    </a:lnTo>
                    <a:lnTo>
                      <a:pt x="219" y="30"/>
                    </a:lnTo>
                    <a:lnTo>
                      <a:pt x="220" y="30"/>
                    </a:lnTo>
                    <a:lnTo>
                      <a:pt x="220" y="29"/>
                    </a:lnTo>
                    <a:lnTo>
                      <a:pt x="222" y="29"/>
                    </a:lnTo>
                    <a:lnTo>
                      <a:pt x="222" y="27"/>
                    </a:lnTo>
                    <a:lnTo>
                      <a:pt x="222" y="26"/>
                    </a:lnTo>
                    <a:lnTo>
                      <a:pt x="223" y="24"/>
                    </a:lnTo>
                    <a:lnTo>
                      <a:pt x="223" y="22"/>
                    </a:lnTo>
                    <a:lnTo>
                      <a:pt x="225" y="21"/>
                    </a:lnTo>
                    <a:lnTo>
                      <a:pt x="225" y="19"/>
                    </a:lnTo>
                    <a:lnTo>
                      <a:pt x="226" y="19"/>
                    </a:lnTo>
                    <a:lnTo>
                      <a:pt x="226" y="18"/>
                    </a:lnTo>
                    <a:lnTo>
                      <a:pt x="228" y="16"/>
                    </a:lnTo>
                    <a:lnTo>
                      <a:pt x="228" y="14"/>
                    </a:lnTo>
                    <a:lnTo>
                      <a:pt x="226" y="14"/>
                    </a:lnTo>
                    <a:lnTo>
                      <a:pt x="226" y="13"/>
                    </a:lnTo>
                    <a:lnTo>
                      <a:pt x="225" y="13"/>
                    </a:lnTo>
                    <a:lnTo>
                      <a:pt x="225" y="11"/>
                    </a:lnTo>
                    <a:lnTo>
                      <a:pt x="223" y="11"/>
                    </a:lnTo>
                    <a:lnTo>
                      <a:pt x="223" y="10"/>
                    </a:lnTo>
                    <a:lnTo>
                      <a:pt x="222" y="10"/>
                    </a:lnTo>
                    <a:lnTo>
                      <a:pt x="220" y="10"/>
                    </a:lnTo>
                    <a:lnTo>
                      <a:pt x="220" y="8"/>
                    </a:lnTo>
                    <a:lnTo>
                      <a:pt x="219" y="8"/>
                    </a:lnTo>
                    <a:lnTo>
                      <a:pt x="219" y="7"/>
                    </a:lnTo>
                    <a:lnTo>
                      <a:pt x="217" y="5"/>
                    </a:lnTo>
                    <a:lnTo>
                      <a:pt x="219" y="5"/>
                    </a:lnTo>
                    <a:lnTo>
                      <a:pt x="219" y="3"/>
                    </a:lnTo>
                    <a:lnTo>
                      <a:pt x="217" y="3"/>
                    </a:lnTo>
                    <a:lnTo>
                      <a:pt x="217" y="2"/>
                    </a:lnTo>
                    <a:lnTo>
                      <a:pt x="215" y="2"/>
                    </a:lnTo>
                    <a:lnTo>
                      <a:pt x="215"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59" name="Freeform 57"/>
              <p:cNvSpPr>
                <a:spLocks/>
              </p:cNvSpPr>
              <p:nvPr/>
            </p:nvSpPr>
            <p:spPr bwMode="auto">
              <a:xfrm>
                <a:off x="1984" y="1983"/>
                <a:ext cx="469" cy="352"/>
              </a:xfrm>
              <a:custGeom>
                <a:avLst/>
                <a:gdLst>
                  <a:gd name="T0" fmla="*/ 11 w 469"/>
                  <a:gd name="T1" fmla="*/ 84 h 352"/>
                  <a:gd name="T2" fmla="*/ 29 w 469"/>
                  <a:gd name="T3" fmla="*/ 84 h 352"/>
                  <a:gd name="T4" fmla="*/ 46 w 469"/>
                  <a:gd name="T5" fmla="*/ 84 h 352"/>
                  <a:gd name="T6" fmla="*/ 45 w 469"/>
                  <a:gd name="T7" fmla="*/ 102 h 352"/>
                  <a:gd name="T8" fmla="*/ 57 w 469"/>
                  <a:gd name="T9" fmla="*/ 115 h 352"/>
                  <a:gd name="T10" fmla="*/ 75 w 469"/>
                  <a:gd name="T11" fmla="*/ 102 h 352"/>
                  <a:gd name="T12" fmla="*/ 102 w 469"/>
                  <a:gd name="T13" fmla="*/ 115 h 352"/>
                  <a:gd name="T14" fmla="*/ 118 w 469"/>
                  <a:gd name="T15" fmla="*/ 115 h 352"/>
                  <a:gd name="T16" fmla="*/ 130 w 469"/>
                  <a:gd name="T17" fmla="*/ 124 h 352"/>
                  <a:gd name="T18" fmla="*/ 145 w 469"/>
                  <a:gd name="T19" fmla="*/ 134 h 352"/>
                  <a:gd name="T20" fmla="*/ 154 w 469"/>
                  <a:gd name="T21" fmla="*/ 138 h 352"/>
                  <a:gd name="T22" fmla="*/ 143 w 469"/>
                  <a:gd name="T23" fmla="*/ 146 h 352"/>
                  <a:gd name="T24" fmla="*/ 149 w 469"/>
                  <a:gd name="T25" fmla="*/ 160 h 352"/>
                  <a:gd name="T26" fmla="*/ 149 w 469"/>
                  <a:gd name="T27" fmla="*/ 175 h 352"/>
                  <a:gd name="T28" fmla="*/ 171 w 469"/>
                  <a:gd name="T29" fmla="*/ 176 h 352"/>
                  <a:gd name="T30" fmla="*/ 187 w 469"/>
                  <a:gd name="T31" fmla="*/ 184 h 352"/>
                  <a:gd name="T32" fmla="*/ 203 w 469"/>
                  <a:gd name="T33" fmla="*/ 186 h 352"/>
                  <a:gd name="T34" fmla="*/ 217 w 469"/>
                  <a:gd name="T35" fmla="*/ 197 h 352"/>
                  <a:gd name="T36" fmla="*/ 228 w 469"/>
                  <a:gd name="T37" fmla="*/ 205 h 352"/>
                  <a:gd name="T38" fmla="*/ 233 w 469"/>
                  <a:gd name="T39" fmla="*/ 227 h 352"/>
                  <a:gd name="T40" fmla="*/ 249 w 469"/>
                  <a:gd name="T41" fmla="*/ 243 h 352"/>
                  <a:gd name="T42" fmla="*/ 265 w 469"/>
                  <a:gd name="T43" fmla="*/ 248 h 352"/>
                  <a:gd name="T44" fmla="*/ 266 w 469"/>
                  <a:gd name="T45" fmla="*/ 260 h 352"/>
                  <a:gd name="T46" fmla="*/ 260 w 469"/>
                  <a:gd name="T47" fmla="*/ 279 h 352"/>
                  <a:gd name="T48" fmla="*/ 273 w 469"/>
                  <a:gd name="T49" fmla="*/ 292 h 352"/>
                  <a:gd name="T50" fmla="*/ 289 w 469"/>
                  <a:gd name="T51" fmla="*/ 287 h 352"/>
                  <a:gd name="T52" fmla="*/ 306 w 469"/>
                  <a:gd name="T53" fmla="*/ 294 h 352"/>
                  <a:gd name="T54" fmla="*/ 320 w 469"/>
                  <a:gd name="T55" fmla="*/ 308 h 352"/>
                  <a:gd name="T56" fmla="*/ 335 w 469"/>
                  <a:gd name="T57" fmla="*/ 317 h 352"/>
                  <a:gd name="T58" fmla="*/ 346 w 469"/>
                  <a:gd name="T59" fmla="*/ 330 h 352"/>
                  <a:gd name="T60" fmla="*/ 354 w 469"/>
                  <a:gd name="T61" fmla="*/ 352 h 352"/>
                  <a:gd name="T62" fmla="*/ 369 w 469"/>
                  <a:gd name="T63" fmla="*/ 341 h 352"/>
                  <a:gd name="T64" fmla="*/ 388 w 469"/>
                  <a:gd name="T65" fmla="*/ 335 h 352"/>
                  <a:gd name="T66" fmla="*/ 395 w 469"/>
                  <a:gd name="T67" fmla="*/ 321 h 352"/>
                  <a:gd name="T68" fmla="*/ 393 w 469"/>
                  <a:gd name="T69" fmla="*/ 303 h 352"/>
                  <a:gd name="T70" fmla="*/ 381 w 469"/>
                  <a:gd name="T71" fmla="*/ 302 h 352"/>
                  <a:gd name="T72" fmla="*/ 387 w 469"/>
                  <a:gd name="T73" fmla="*/ 289 h 352"/>
                  <a:gd name="T74" fmla="*/ 403 w 469"/>
                  <a:gd name="T75" fmla="*/ 284 h 352"/>
                  <a:gd name="T76" fmla="*/ 423 w 469"/>
                  <a:gd name="T77" fmla="*/ 287 h 352"/>
                  <a:gd name="T78" fmla="*/ 425 w 469"/>
                  <a:gd name="T79" fmla="*/ 279 h 352"/>
                  <a:gd name="T80" fmla="*/ 423 w 469"/>
                  <a:gd name="T81" fmla="*/ 263 h 352"/>
                  <a:gd name="T82" fmla="*/ 422 w 469"/>
                  <a:gd name="T83" fmla="*/ 248 h 352"/>
                  <a:gd name="T84" fmla="*/ 422 w 469"/>
                  <a:gd name="T85" fmla="*/ 229 h 352"/>
                  <a:gd name="T86" fmla="*/ 407 w 469"/>
                  <a:gd name="T87" fmla="*/ 219 h 352"/>
                  <a:gd name="T88" fmla="*/ 392 w 469"/>
                  <a:gd name="T89" fmla="*/ 214 h 352"/>
                  <a:gd name="T90" fmla="*/ 381 w 469"/>
                  <a:gd name="T91" fmla="*/ 200 h 352"/>
                  <a:gd name="T92" fmla="*/ 369 w 469"/>
                  <a:gd name="T93" fmla="*/ 184 h 352"/>
                  <a:gd name="T94" fmla="*/ 374 w 469"/>
                  <a:gd name="T95" fmla="*/ 172 h 352"/>
                  <a:gd name="T96" fmla="*/ 377 w 469"/>
                  <a:gd name="T97" fmla="*/ 159 h 352"/>
                  <a:gd name="T98" fmla="*/ 366 w 469"/>
                  <a:gd name="T99" fmla="*/ 148 h 352"/>
                  <a:gd name="T100" fmla="*/ 373 w 469"/>
                  <a:gd name="T101" fmla="*/ 134 h 352"/>
                  <a:gd name="T102" fmla="*/ 366 w 469"/>
                  <a:gd name="T103" fmla="*/ 116 h 352"/>
                  <a:gd name="T104" fmla="*/ 373 w 469"/>
                  <a:gd name="T105" fmla="*/ 78 h 352"/>
                  <a:gd name="T106" fmla="*/ 396 w 469"/>
                  <a:gd name="T107" fmla="*/ 75 h 352"/>
                  <a:gd name="T108" fmla="*/ 411 w 469"/>
                  <a:gd name="T109" fmla="*/ 70 h 352"/>
                  <a:gd name="T110" fmla="*/ 426 w 469"/>
                  <a:gd name="T111" fmla="*/ 62 h 352"/>
                  <a:gd name="T112" fmla="*/ 433 w 469"/>
                  <a:gd name="T113" fmla="*/ 48 h 352"/>
                  <a:gd name="T114" fmla="*/ 439 w 469"/>
                  <a:gd name="T115" fmla="*/ 31 h 352"/>
                  <a:gd name="T116" fmla="*/ 453 w 469"/>
                  <a:gd name="T117" fmla="*/ 18 h 352"/>
                  <a:gd name="T118" fmla="*/ 466 w 469"/>
                  <a:gd name="T119" fmla="*/ 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69" h="352">
                    <a:moveTo>
                      <a:pt x="0" y="89"/>
                    </a:moveTo>
                    <a:lnTo>
                      <a:pt x="2" y="88"/>
                    </a:lnTo>
                    <a:lnTo>
                      <a:pt x="2" y="89"/>
                    </a:lnTo>
                    <a:lnTo>
                      <a:pt x="4" y="89"/>
                    </a:lnTo>
                    <a:lnTo>
                      <a:pt x="4" y="88"/>
                    </a:lnTo>
                    <a:lnTo>
                      <a:pt x="5" y="88"/>
                    </a:lnTo>
                    <a:lnTo>
                      <a:pt x="5" y="86"/>
                    </a:lnTo>
                    <a:lnTo>
                      <a:pt x="5" y="84"/>
                    </a:lnTo>
                    <a:lnTo>
                      <a:pt x="4" y="84"/>
                    </a:lnTo>
                    <a:lnTo>
                      <a:pt x="4" y="83"/>
                    </a:lnTo>
                    <a:lnTo>
                      <a:pt x="5" y="81"/>
                    </a:lnTo>
                    <a:lnTo>
                      <a:pt x="7" y="81"/>
                    </a:lnTo>
                    <a:lnTo>
                      <a:pt x="8" y="81"/>
                    </a:lnTo>
                    <a:lnTo>
                      <a:pt x="8" y="83"/>
                    </a:lnTo>
                    <a:lnTo>
                      <a:pt x="10" y="83"/>
                    </a:lnTo>
                    <a:lnTo>
                      <a:pt x="11" y="83"/>
                    </a:lnTo>
                    <a:lnTo>
                      <a:pt x="11" y="84"/>
                    </a:lnTo>
                    <a:lnTo>
                      <a:pt x="13" y="86"/>
                    </a:lnTo>
                    <a:lnTo>
                      <a:pt x="15" y="86"/>
                    </a:lnTo>
                    <a:lnTo>
                      <a:pt x="15" y="88"/>
                    </a:lnTo>
                    <a:lnTo>
                      <a:pt x="16" y="88"/>
                    </a:lnTo>
                    <a:lnTo>
                      <a:pt x="18" y="89"/>
                    </a:lnTo>
                    <a:lnTo>
                      <a:pt x="19" y="89"/>
                    </a:lnTo>
                    <a:lnTo>
                      <a:pt x="19" y="91"/>
                    </a:lnTo>
                    <a:lnTo>
                      <a:pt x="21" y="91"/>
                    </a:lnTo>
                    <a:lnTo>
                      <a:pt x="23" y="91"/>
                    </a:lnTo>
                    <a:lnTo>
                      <a:pt x="24" y="91"/>
                    </a:lnTo>
                    <a:lnTo>
                      <a:pt x="26" y="91"/>
                    </a:lnTo>
                    <a:lnTo>
                      <a:pt x="27" y="91"/>
                    </a:lnTo>
                    <a:lnTo>
                      <a:pt x="27" y="89"/>
                    </a:lnTo>
                    <a:lnTo>
                      <a:pt x="27" y="88"/>
                    </a:lnTo>
                    <a:lnTo>
                      <a:pt x="29" y="88"/>
                    </a:lnTo>
                    <a:lnTo>
                      <a:pt x="29" y="86"/>
                    </a:lnTo>
                    <a:lnTo>
                      <a:pt x="29" y="84"/>
                    </a:lnTo>
                    <a:lnTo>
                      <a:pt x="29" y="83"/>
                    </a:lnTo>
                    <a:lnTo>
                      <a:pt x="29" y="81"/>
                    </a:lnTo>
                    <a:lnTo>
                      <a:pt x="30" y="81"/>
                    </a:lnTo>
                    <a:lnTo>
                      <a:pt x="30" y="80"/>
                    </a:lnTo>
                    <a:lnTo>
                      <a:pt x="32" y="80"/>
                    </a:lnTo>
                    <a:lnTo>
                      <a:pt x="32" y="81"/>
                    </a:lnTo>
                    <a:lnTo>
                      <a:pt x="34" y="81"/>
                    </a:lnTo>
                    <a:lnTo>
                      <a:pt x="35" y="81"/>
                    </a:lnTo>
                    <a:lnTo>
                      <a:pt x="35" y="83"/>
                    </a:lnTo>
                    <a:lnTo>
                      <a:pt x="37" y="83"/>
                    </a:lnTo>
                    <a:lnTo>
                      <a:pt x="38" y="83"/>
                    </a:lnTo>
                    <a:lnTo>
                      <a:pt x="40" y="83"/>
                    </a:lnTo>
                    <a:lnTo>
                      <a:pt x="42" y="83"/>
                    </a:lnTo>
                    <a:lnTo>
                      <a:pt x="43" y="83"/>
                    </a:lnTo>
                    <a:lnTo>
                      <a:pt x="45" y="83"/>
                    </a:lnTo>
                    <a:lnTo>
                      <a:pt x="46" y="83"/>
                    </a:lnTo>
                    <a:lnTo>
                      <a:pt x="46" y="84"/>
                    </a:lnTo>
                    <a:lnTo>
                      <a:pt x="48" y="84"/>
                    </a:lnTo>
                    <a:lnTo>
                      <a:pt x="48" y="86"/>
                    </a:lnTo>
                    <a:lnTo>
                      <a:pt x="46" y="86"/>
                    </a:lnTo>
                    <a:lnTo>
                      <a:pt x="48" y="86"/>
                    </a:lnTo>
                    <a:lnTo>
                      <a:pt x="48" y="88"/>
                    </a:lnTo>
                    <a:lnTo>
                      <a:pt x="46" y="88"/>
                    </a:lnTo>
                    <a:lnTo>
                      <a:pt x="46" y="89"/>
                    </a:lnTo>
                    <a:lnTo>
                      <a:pt x="46" y="91"/>
                    </a:lnTo>
                    <a:lnTo>
                      <a:pt x="46" y="92"/>
                    </a:lnTo>
                    <a:lnTo>
                      <a:pt x="46" y="94"/>
                    </a:lnTo>
                    <a:lnTo>
                      <a:pt x="46" y="96"/>
                    </a:lnTo>
                    <a:lnTo>
                      <a:pt x="46" y="97"/>
                    </a:lnTo>
                    <a:lnTo>
                      <a:pt x="48" y="99"/>
                    </a:lnTo>
                    <a:lnTo>
                      <a:pt x="46" y="99"/>
                    </a:lnTo>
                    <a:lnTo>
                      <a:pt x="46" y="100"/>
                    </a:lnTo>
                    <a:lnTo>
                      <a:pt x="46" y="102"/>
                    </a:lnTo>
                    <a:lnTo>
                      <a:pt x="45" y="102"/>
                    </a:lnTo>
                    <a:lnTo>
                      <a:pt x="45" y="103"/>
                    </a:lnTo>
                    <a:lnTo>
                      <a:pt x="45" y="105"/>
                    </a:lnTo>
                    <a:lnTo>
                      <a:pt x="45" y="107"/>
                    </a:lnTo>
                    <a:lnTo>
                      <a:pt x="45" y="108"/>
                    </a:lnTo>
                    <a:lnTo>
                      <a:pt x="46" y="110"/>
                    </a:lnTo>
                    <a:lnTo>
                      <a:pt x="45" y="110"/>
                    </a:lnTo>
                    <a:lnTo>
                      <a:pt x="46" y="110"/>
                    </a:lnTo>
                    <a:lnTo>
                      <a:pt x="48" y="110"/>
                    </a:lnTo>
                    <a:lnTo>
                      <a:pt x="48" y="111"/>
                    </a:lnTo>
                    <a:lnTo>
                      <a:pt x="49" y="111"/>
                    </a:lnTo>
                    <a:lnTo>
                      <a:pt x="49" y="113"/>
                    </a:lnTo>
                    <a:lnTo>
                      <a:pt x="51" y="113"/>
                    </a:lnTo>
                    <a:lnTo>
                      <a:pt x="53" y="113"/>
                    </a:lnTo>
                    <a:lnTo>
                      <a:pt x="54" y="113"/>
                    </a:lnTo>
                    <a:lnTo>
                      <a:pt x="56" y="113"/>
                    </a:lnTo>
                    <a:lnTo>
                      <a:pt x="57" y="113"/>
                    </a:lnTo>
                    <a:lnTo>
                      <a:pt x="57" y="115"/>
                    </a:lnTo>
                    <a:lnTo>
                      <a:pt x="59" y="115"/>
                    </a:lnTo>
                    <a:lnTo>
                      <a:pt x="61" y="115"/>
                    </a:lnTo>
                    <a:lnTo>
                      <a:pt x="61" y="113"/>
                    </a:lnTo>
                    <a:lnTo>
                      <a:pt x="62" y="113"/>
                    </a:lnTo>
                    <a:lnTo>
                      <a:pt x="62" y="111"/>
                    </a:lnTo>
                    <a:lnTo>
                      <a:pt x="64" y="111"/>
                    </a:lnTo>
                    <a:lnTo>
                      <a:pt x="64" y="110"/>
                    </a:lnTo>
                    <a:lnTo>
                      <a:pt x="65" y="107"/>
                    </a:lnTo>
                    <a:lnTo>
                      <a:pt x="65" y="105"/>
                    </a:lnTo>
                    <a:lnTo>
                      <a:pt x="67" y="105"/>
                    </a:lnTo>
                    <a:lnTo>
                      <a:pt x="68" y="105"/>
                    </a:lnTo>
                    <a:lnTo>
                      <a:pt x="70" y="105"/>
                    </a:lnTo>
                    <a:lnTo>
                      <a:pt x="72" y="105"/>
                    </a:lnTo>
                    <a:lnTo>
                      <a:pt x="72" y="103"/>
                    </a:lnTo>
                    <a:lnTo>
                      <a:pt x="73" y="103"/>
                    </a:lnTo>
                    <a:lnTo>
                      <a:pt x="75" y="103"/>
                    </a:lnTo>
                    <a:lnTo>
                      <a:pt x="75" y="102"/>
                    </a:lnTo>
                    <a:lnTo>
                      <a:pt x="87" y="103"/>
                    </a:lnTo>
                    <a:lnTo>
                      <a:pt x="87" y="105"/>
                    </a:lnTo>
                    <a:lnTo>
                      <a:pt x="87" y="107"/>
                    </a:lnTo>
                    <a:lnTo>
                      <a:pt x="89" y="107"/>
                    </a:lnTo>
                    <a:lnTo>
                      <a:pt x="89" y="108"/>
                    </a:lnTo>
                    <a:lnTo>
                      <a:pt x="89" y="110"/>
                    </a:lnTo>
                    <a:lnTo>
                      <a:pt x="91" y="110"/>
                    </a:lnTo>
                    <a:lnTo>
                      <a:pt x="91" y="111"/>
                    </a:lnTo>
                    <a:lnTo>
                      <a:pt x="92" y="111"/>
                    </a:lnTo>
                    <a:lnTo>
                      <a:pt x="92" y="113"/>
                    </a:lnTo>
                    <a:lnTo>
                      <a:pt x="94" y="113"/>
                    </a:lnTo>
                    <a:lnTo>
                      <a:pt x="94" y="115"/>
                    </a:lnTo>
                    <a:lnTo>
                      <a:pt x="95" y="115"/>
                    </a:lnTo>
                    <a:lnTo>
                      <a:pt x="97" y="115"/>
                    </a:lnTo>
                    <a:lnTo>
                      <a:pt x="99" y="115"/>
                    </a:lnTo>
                    <a:lnTo>
                      <a:pt x="100" y="115"/>
                    </a:lnTo>
                    <a:lnTo>
                      <a:pt x="102" y="115"/>
                    </a:lnTo>
                    <a:lnTo>
                      <a:pt x="103" y="115"/>
                    </a:lnTo>
                    <a:lnTo>
                      <a:pt x="103" y="116"/>
                    </a:lnTo>
                    <a:lnTo>
                      <a:pt x="105" y="115"/>
                    </a:lnTo>
                    <a:lnTo>
                      <a:pt x="105" y="113"/>
                    </a:lnTo>
                    <a:lnTo>
                      <a:pt x="106" y="113"/>
                    </a:lnTo>
                    <a:lnTo>
                      <a:pt x="108" y="113"/>
                    </a:lnTo>
                    <a:lnTo>
                      <a:pt x="108" y="111"/>
                    </a:lnTo>
                    <a:lnTo>
                      <a:pt x="110" y="111"/>
                    </a:lnTo>
                    <a:lnTo>
                      <a:pt x="110" y="110"/>
                    </a:lnTo>
                    <a:lnTo>
                      <a:pt x="111" y="110"/>
                    </a:lnTo>
                    <a:lnTo>
                      <a:pt x="111" y="111"/>
                    </a:lnTo>
                    <a:lnTo>
                      <a:pt x="113" y="111"/>
                    </a:lnTo>
                    <a:lnTo>
                      <a:pt x="114" y="111"/>
                    </a:lnTo>
                    <a:lnTo>
                      <a:pt x="114" y="113"/>
                    </a:lnTo>
                    <a:lnTo>
                      <a:pt x="116" y="113"/>
                    </a:lnTo>
                    <a:lnTo>
                      <a:pt x="118" y="113"/>
                    </a:lnTo>
                    <a:lnTo>
                      <a:pt x="118" y="115"/>
                    </a:lnTo>
                    <a:lnTo>
                      <a:pt x="119" y="115"/>
                    </a:lnTo>
                    <a:lnTo>
                      <a:pt x="119" y="116"/>
                    </a:lnTo>
                    <a:lnTo>
                      <a:pt x="121" y="116"/>
                    </a:lnTo>
                    <a:lnTo>
                      <a:pt x="121" y="118"/>
                    </a:lnTo>
                    <a:lnTo>
                      <a:pt x="122" y="118"/>
                    </a:lnTo>
                    <a:lnTo>
                      <a:pt x="122" y="119"/>
                    </a:lnTo>
                    <a:lnTo>
                      <a:pt x="124" y="119"/>
                    </a:lnTo>
                    <a:lnTo>
                      <a:pt x="124" y="121"/>
                    </a:lnTo>
                    <a:lnTo>
                      <a:pt x="125" y="119"/>
                    </a:lnTo>
                    <a:lnTo>
                      <a:pt x="125" y="121"/>
                    </a:lnTo>
                    <a:lnTo>
                      <a:pt x="127" y="121"/>
                    </a:lnTo>
                    <a:lnTo>
                      <a:pt x="129" y="121"/>
                    </a:lnTo>
                    <a:lnTo>
                      <a:pt x="130" y="121"/>
                    </a:lnTo>
                    <a:lnTo>
                      <a:pt x="130" y="122"/>
                    </a:lnTo>
                    <a:lnTo>
                      <a:pt x="130" y="124"/>
                    </a:lnTo>
                    <a:lnTo>
                      <a:pt x="132" y="124"/>
                    </a:lnTo>
                    <a:lnTo>
                      <a:pt x="130" y="124"/>
                    </a:lnTo>
                    <a:lnTo>
                      <a:pt x="130" y="126"/>
                    </a:lnTo>
                    <a:lnTo>
                      <a:pt x="132" y="126"/>
                    </a:lnTo>
                    <a:lnTo>
                      <a:pt x="132" y="127"/>
                    </a:lnTo>
                    <a:lnTo>
                      <a:pt x="133" y="127"/>
                    </a:lnTo>
                    <a:lnTo>
                      <a:pt x="133" y="129"/>
                    </a:lnTo>
                    <a:lnTo>
                      <a:pt x="135" y="129"/>
                    </a:lnTo>
                    <a:lnTo>
                      <a:pt x="135" y="130"/>
                    </a:lnTo>
                    <a:lnTo>
                      <a:pt x="137" y="130"/>
                    </a:lnTo>
                    <a:lnTo>
                      <a:pt x="137" y="132"/>
                    </a:lnTo>
                    <a:lnTo>
                      <a:pt x="138" y="132"/>
                    </a:lnTo>
                    <a:lnTo>
                      <a:pt x="138" y="134"/>
                    </a:lnTo>
                    <a:lnTo>
                      <a:pt x="140" y="134"/>
                    </a:lnTo>
                    <a:lnTo>
                      <a:pt x="140" y="135"/>
                    </a:lnTo>
                    <a:lnTo>
                      <a:pt x="141" y="135"/>
                    </a:lnTo>
                    <a:lnTo>
                      <a:pt x="143" y="135"/>
                    </a:lnTo>
                    <a:lnTo>
                      <a:pt x="143" y="134"/>
                    </a:lnTo>
                    <a:lnTo>
                      <a:pt x="145" y="134"/>
                    </a:lnTo>
                    <a:lnTo>
                      <a:pt x="146" y="134"/>
                    </a:lnTo>
                    <a:lnTo>
                      <a:pt x="146" y="132"/>
                    </a:lnTo>
                    <a:lnTo>
                      <a:pt x="148" y="132"/>
                    </a:lnTo>
                    <a:lnTo>
                      <a:pt x="148" y="130"/>
                    </a:lnTo>
                    <a:lnTo>
                      <a:pt x="149" y="130"/>
                    </a:lnTo>
                    <a:lnTo>
                      <a:pt x="151" y="130"/>
                    </a:lnTo>
                    <a:lnTo>
                      <a:pt x="152" y="130"/>
                    </a:lnTo>
                    <a:lnTo>
                      <a:pt x="152" y="132"/>
                    </a:lnTo>
                    <a:lnTo>
                      <a:pt x="154" y="132"/>
                    </a:lnTo>
                    <a:lnTo>
                      <a:pt x="154" y="134"/>
                    </a:lnTo>
                    <a:lnTo>
                      <a:pt x="156" y="134"/>
                    </a:lnTo>
                    <a:lnTo>
                      <a:pt x="156" y="132"/>
                    </a:lnTo>
                    <a:lnTo>
                      <a:pt x="156" y="134"/>
                    </a:lnTo>
                    <a:lnTo>
                      <a:pt x="156" y="135"/>
                    </a:lnTo>
                    <a:lnTo>
                      <a:pt x="154" y="135"/>
                    </a:lnTo>
                    <a:lnTo>
                      <a:pt x="154" y="137"/>
                    </a:lnTo>
                    <a:lnTo>
                      <a:pt x="154" y="138"/>
                    </a:lnTo>
                    <a:lnTo>
                      <a:pt x="154" y="140"/>
                    </a:lnTo>
                    <a:lnTo>
                      <a:pt x="152" y="140"/>
                    </a:lnTo>
                    <a:lnTo>
                      <a:pt x="152" y="141"/>
                    </a:lnTo>
                    <a:lnTo>
                      <a:pt x="151" y="141"/>
                    </a:lnTo>
                    <a:lnTo>
                      <a:pt x="149" y="141"/>
                    </a:lnTo>
                    <a:lnTo>
                      <a:pt x="148" y="141"/>
                    </a:lnTo>
                    <a:lnTo>
                      <a:pt x="146" y="141"/>
                    </a:lnTo>
                    <a:lnTo>
                      <a:pt x="146" y="140"/>
                    </a:lnTo>
                    <a:lnTo>
                      <a:pt x="145" y="140"/>
                    </a:lnTo>
                    <a:lnTo>
                      <a:pt x="143" y="140"/>
                    </a:lnTo>
                    <a:lnTo>
                      <a:pt x="141" y="140"/>
                    </a:lnTo>
                    <a:lnTo>
                      <a:pt x="140" y="140"/>
                    </a:lnTo>
                    <a:lnTo>
                      <a:pt x="141" y="140"/>
                    </a:lnTo>
                    <a:lnTo>
                      <a:pt x="141" y="141"/>
                    </a:lnTo>
                    <a:lnTo>
                      <a:pt x="141" y="143"/>
                    </a:lnTo>
                    <a:lnTo>
                      <a:pt x="143" y="145"/>
                    </a:lnTo>
                    <a:lnTo>
                      <a:pt x="143" y="146"/>
                    </a:lnTo>
                    <a:lnTo>
                      <a:pt x="143" y="148"/>
                    </a:lnTo>
                    <a:lnTo>
                      <a:pt x="145" y="148"/>
                    </a:lnTo>
                    <a:lnTo>
                      <a:pt x="146" y="149"/>
                    </a:lnTo>
                    <a:lnTo>
                      <a:pt x="148" y="149"/>
                    </a:lnTo>
                    <a:lnTo>
                      <a:pt x="148" y="151"/>
                    </a:lnTo>
                    <a:lnTo>
                      <a:pt x="148" y="153"/>
                    </a:lnTo>
                    <a:lnTo>
                      <a:pt x="148" y="154"/>
                    </a:lnTo>
                    <a:lnTo>
                      <a:pt x="149" y="154"/>
                    </a:lnTo>
                    <a:lnTo>
                      <a:pt x="149" y="156"/>
                    </a:lnTo>
                    <a:lnTo>
                      <a:pt x="151" y="156"/>
                    </a:lnTo>
                    <a:lnTo>
                      <a:pt x="149" y="156"/>
                    </a:lnTo>
                    <a:lnTo>
                      <a:pt x="148" y="157"/>
                    </a:lnTo>
                    <a:lnTo>
                      <a:pt x="146" y="157"/>
                    </a:lnTo>
                    <a:lnTo>
                      <a:pt x="148" y="157"/>
                    </a:lnTo>
                    <a:lnTo>
                      <a:pt x="148" y="159"/>
                    </a:lnTo>
                    <a:lnTo>
                      <a:pt x="149" y="159"/>
                    </a:lnTo>
                    <a:lnTo>
                      <a:pt x="149" y="160"/>
                    </a:lnTo>
                    <a:lnTo>
                      <a:pt x="151" y="160"/>
                    </a:lnTo>
                    <a:lnTo>
                      <a:pt x="151" y="162"/>
                    </a:lnTo>
                    <a:lnTo>
                      <a:pt x="151" y="164"/>
                    </a:lnTo>
                    <a:lnTo>
                      <a:pt x="152" y="164"/>
                    </a:lnTo>
                    <a:lnTo>
                      <a:pt x="152" y="165"/>
                    </a:lnTo>
                    <a:lnTo>
                      <a:pt x="152" y="167"/>
                    </a:lnTo>
                    <a:lnTo>
                      <a:pt x="152" y="168"/>
                    </a:lnTo>
                    <a:lnTo>
                      <a:pt x="151" y="170"/>
                    </a:lnTo>
                    <a:lnTo>
                      <a:pt x="149" y="170"/>
                    </a:lnTo>
                    <a:lnTo>
                      <a:pt x="148" y="170"/>
                    </a:lnTo>
                    <a:lnTo>
                      <a:pt x="146" y="172"/>
                    </a:lnTo>
                    <a:lnTo>
                      <a:pt x="145" y="172"/>
                    </a:lnTo>
                    <a:lnTo>
                      <a:pt x="146" y="172"/>
                    </a:lnTo>
                    <a:lnTo>
                      <a:pt x="146" y="173"/>
                    </a:lnTo>
                    <a:lnTo>
                      <a:pt x="148" y="173"/>
                    </a:lnTo>
                    <a:lnTo>
                      <a:pt x="148" y="175"/>
                    </a:lnTo>
                    <a:lnTo>
                      <a:pt x="149" y="175"/>
                    </a:lnTo>
                    <a:lnTo>
                      <a:pt x="151" y="175"/>
                    </a:lnTo>
                    <a:lnTo>
                      <a:pt x="152" y="175"/>
                    </a:lnTo>
                    <a:lnTo>
                      <a:pt x="154" y="175"/>
                    </a:lnTo>
                    <a:lnTo>
                      <a:pt x="156" y="175"/>
                    </a:lnTo>
                    <a:lnTo>
                      <a:pt x="157" y="175"/>
                    </a:lnTo>
                    <a:lnTo>
                      <a:pt x="157" y="176"/>
                    </a:lnTo>
                    <a:lnTo>
                      <a:pt x="159" y="176"/>
                    </a:lnTo>
                    <a:lnTo>
                      <a:pt x="160" y="176"/>
                    </a:lnTo>
                    <a:lnTo>
                      <a:pt x="162" y="176"/>
                    </a:lnTo>
                    <a:lnTo>
                      <a:pt x="164" y="176"/>
                    </a:lnTo>
                    <a:lnTo>
                      <a:pt x="165" y="175"/>
                    </a:lnTo>
                    <a:lnTo>
                      <a:pt x="167" y="176"/>
                    </a:lnTo>
                    <a:lnTo>
                      <a:pt x="168" y="176"/>
                    </a:lnTo>
                    <a:lnTo>
                      <a:pt x="168" y="175"/>
                    </a:lnTo>
                    <a:lnTo>
                      <a:pt x="170" y="175"/>
                    </a:lnTo>
                    <a:lnTo>
                      <a:pt x="170" y="176"/>
                    </a:lnTo>
                    <a:lnTo>
                      <a:pt x="171" y="176"/>
                    </a:lnTo>
                    <a:lnTo>
                      <a:pt x="173" y="176"/>
                    </a:lnTo>
                    <a:lnTo>
                      <a:pt x="173" y="178"/>
                    </a:lnTo>
                    <a:lnTo>
                      <a:pt x="173" y="179"/>
                    </a:lnTo>
                    <a:lnTo>
                      <a:pt x="175" y="181"/>
                    </a:lnTo>
                    <a:lnTo>
                      <a:pt x="176" y="181"/>
                    </a:lnTo>
                    <a:lnTo>
                      <a:pt x="178" y="181"/>
                    </a:lnTo>
                    <a:lnTo>
                      <a:pt x="178" y="183"/>
                    </a:lnTo>
                    <a:lnTo>
                      <a:pt x="179" y="183"/>
                    </a:lnTo>
                    <a:lnTo>
                      <a:pt x="181" y="184"/>
                    </a:lnTo>
                    <a:lnTo>
                      <a:pt x="183" y="184"/>
                    </a:lnTo>
                    <a:lnTo>
                      <a:pt x="183" y="183"/>
                    </a:lnTo>
                    <a:lnTo>
                      <a:pt x="183" y="181"/>
                    </a:lnTo>
                    <a:lnTo>
                      <a:pt x="184" y="181"/>
                    </a:lnTo>
                    <a:lnTo>
                      <a:pt x="184" y="183"/>
                    </a:lnTo>
                    <a:lnTo>
                      <a:pt x="186" y="183"/>
                    </a:lnTo>
                    <a:lnTo>
                      <a:pt x="187" y="183"/>
                    </a:lnTo>
                    <a:lnTo>
                      <a:pt x="187" y="184"/>
                    </a:lnTo>
                    <a:lnTo>
                      <a:pt x="189" y="184"/>
                    </a:lnTo>
                    <a:lnTo>
                      <a:pt x="190" y="186"/>
                    </a:lnTo>
                    <a:lnTo>
                      <a:pt x="192" y="186"/>
                    </a:lnTo>
                    <a:lnTo>
                      <a:pt x="194" y="186"/>
                    </a:lnTo>
                    <a:lnTo>
                      <a:pt x="194" y="184"/>
                    </a:lnTo>
                    <a:lnTo>
                      <a:pt x="195" y="184"/>
                    </a:lnTo>
                    <a:lnTo>
                      <a:pt x="195" y="183"/>
                    </a:lnTo>
                    <a:lnTo>
                      <a:pt x="195" y="181"/>
                    </a:lnTo>
                    <a:lnTo>
                      <a:pt x="197" y="181"/>
                    </a:lnTo>
                    <a:lnTo>
                      <a:pt x="198" y="181"/>
                    </a:lnTo>
                    <a:lnTo>
                      <a:pt x="200" y="181"/>
                    </a:lnTo>
                    <a:lnTo>
                      <a:pt x="202" y="181"/>
                    </a:lnTo>
                    <a:lnTo>
                      <a:pt x="203" y="183"/>
                    </a:lnTo>
                    <a:lnTo>
                      <a:pt x="205" y="183"/>
                    </a:lnTo>
                    <a:lnTo>
                      <a:pt x="205" y="184"/>
                    </a:lnTo>
                    <a:lnTo>
                      <a:pt x="203" y="184"/>
                    </a:lnTo>
                    <a:lnTo>
                      <a:pt x="203" y="186"/>
                    </a:lnTo>
                    <a:lnTo>
                      <a:pt x="205" y="186"/>
                    </a:lnTo>
                    <a:lnTo>
                      <a:pt x="206" y="186"/>
                    </a:lnTo>
                    <a:lnTo>
                      <a:pt x="206" y="187"/>
                    </a:lnTo>
                    <a:lnTo>
                      <a:pt x="206" y="189"/>
                    </a:lnTo>
                    <a:lnTo>
                      <a:pt x="206" y="191"/>
                    </a:lnTo>
                    <a:lnTo>
                      <a:pt x="208" y="191"/>
                    </a:lnTo>
                    <a:lnTo>
                      <a:pt x="209" y="191"/>
                    </a:lnTo>
                    <a:lnTo>
                      <a:pt x="209" y="192"/>
                    </a:lnTo>
                    <a:lnTo>
                      <a:pt x="211" y="192"/>
                    </a:lnTo>
                    <a:lnTo>
                      <a:pt x="213" y="192"/>
                    </a:lnTo>
                    <a:lnTo>
                      <a:pt x="213" y="194"/>
                    </a:lnTo>
                    <a:lnTo>
                      <a:pt x="214" y="194"/>
                    </a:lnTo>
                    <a:lnTo>
                      <a:pt x="213" y="195"/>
                    </a:lnTo>
                    <a:lnTo>
                      <a:pt x="213" y="197"/>
                    </a:lnTo>
                    <a:lnTo>
                      <a:pt x="214" y="197"/>
                    </a:lnTo>
                    <a:lnTo>
                      <a:pt x="216" y="197"/>
                    </a:lnTo>
                    <a:lnTo>
                      <a:pt x="217" y="197"/>
                    </a:lnTo>
                    <a:lnTo>
                      <a:pt x="219" y="197"/>
                    </a:lnTo>
                    <a:lnTo>
                      <a:pt x="221" y="197"/>
                    </a:lnTo>
                    <a:lnTo>
                      <a:pt x="221" y="195"/>
                    </a:lnTo>
                    <a:lnTo>
                      <a:pt x="222" y="194"/>
                    </a:lnTo>
                    <a:lnTo>
                      <a:pt x="224" y="194"/>
                    </a:lnTo>
                    <a:lnTo>
                      <a:pt x="225" y="194"/>
                    </a:lnTo>
                    <a:lnTo>
                      <a:pt x="227" y="194"/>
                    </a:lnTo>
                    <a:lnTo>
                      <a:pt x="228" y="194"/>
                    </a:lnTo>
                    <a:lnTo>
                      <a:pt x="228" y="195"/>
                    </a:lnTo>
                    <a:lnTo>
                      <a:pt x="228" y="197"/>
                    </a:lnTo>
                    <a:lnTo>
                      <a:pt x="230" y="197"/>
                    </a:lnTo>
                    <a:lnTo>
                      <a:pt x="230" y="199"/>
                    </a:lnTo>
                    <a:lnTo>
                      <a:pt x="230" y="200"/>
                    </a:lnTo>
                    <a:lnTo>
                      <a:pt x="230" y="202"/>
                    </a:lnTo>
                    <a:lnTo>
                      <a:pt x="228" y="202"/>
                    </a:lnTo>
                    <a:lnTo>
                      <a:pt x="228" y="203"/>
                    </a:lnTo>
                    <a:lnTo>
                      <a:pt x="228" y="205"/>
                    </a:lnTo>
                    <a:lnTo>
                      <a:pt x="230" y="205"/>
                    </a:lnTo>
                    <a:lnTo>
                      <a:pt x="230" y="206"/>
                    </a:lnTo>
                    <a:lnTo>
                      <a:pt x="230" y="208"/>
                    </a:lnTo>
                    <a:lnTo>
                      <a:pt x="230" y="210"/>
                    </a:lnTo>
                    <a:lnTo>
                      <a:pt x="230" y="211"/>
                    </a:lnTo>
                    <a:lnTo>
                      <a:pt x="232" y="211"/>
                    </a:lnTo>
                    <a:lnTo>
                      <a:pt x="232" y="213"/>
                    </a:lnTo>
                    <a:lnTo>
                      <a:pt x="233" y="213"/>
                    </a:lnTo>
                    <a:lnTo>
                      <a:pt x="233" y="214"/>
                    </a:lnTo>
                    <a:lnTo>
                      <a:pt x="233" y="216"/>
                    </a:lnTo>
                    <a:lnTo>
                      <a:pt x="233" y="218"/>
                    </a:lnTo>
                    <a:lnTo>
                      <a:pt x="233" y="219"/>
                    </a:lnTo>
                    <a:lnTo>
                      <a:pt x="233" y="221"/>
                    </a:lnTo>
                    <a:lnTo>
                      <a:pt x="233" y="222"/>
                    </a:lnTo>
                    <a:lnTo>
                      <a:pt x="233" y="224"/>
                    </a:lnTo>
                    <a:lnTo>
                      <a:pt x="233" y="225"/>
                    </a:lnTo>
                    <a:lnTo>
                      <a:pt x="233" y="227"/>
                    </a:lnTo>
                    <a:lnTo>
                      <a:pt x="233" y="229"/>
                    </a:lnTo>
                    <a:lnTo>
                      <a:pt x="233" y="230"/>
                    </a:lnTo>
                    <a:lnTo>
                      <a:pt x="235" y="232"/>
                    </a:lnTo>
                    <a:lnTo>
                      <a:pt x="236" y="232"/>
                    </a:lnTo>
                    <a:lnTo>
                      <a:pt x="238" y="232"/>
                    </a:lnTo>
                    <a:lnTo>
                      <a:pt x="240" y="232"/>
                    </a:lnTo>
                    <a:lnTo>
                      <a:pt x="240" y="233"/>
                    </a:lnTo>
                    <a:lnTo>
                      <a:pt x="241" y="233"/>
                    </a:lnTo>
                    <a:lnTo>
                      <a:pt x="241" y="235"/>
                    </a:lnTo>
                    <a:lnTo>
                      <a:pt x="243" y="237"/>
                    </a:lnTo>
                    <a:lnTo>
                      <a:pt x="244" y="237"/>
                    </a:lnTo>
                    <a:lnTo>
                      <a:pt x="244" y="238"/>
                    </a:lnTo>
                    <a:lnTo>
                      <a:pt x="246" y="238"/>
                    </a:lnTo>
                    <a:lnTo>
                      <a:pt x="246" y="240"/>
                    </a:lnTo>
                    <a:lnTo>
                      <a:pt x="247" y="241"/>
                    </a:lnTo>
                    <a:lnTo>
                      <a:pt x="249" y="241"/>
                    </a:lnTo>
                    <a:lnTo>
                      <a:pt x="249" y="243"/>
                    </a:lnTo>
                    <a:lnTo>
                      <a:pt x="251" y="243"/>
                    </a:lnTo>
                    <a:lnTo>
                      <a:pt x="252" y="243"/>
                    </a:lnTo>
                    <a:lnTo>
                      <a:pt x="252" y="241"/>
                    </a:lnTo>
                    <a:lnTo>
                      <a:pt x="254" y="241"/>
                    </a:lnTo>
                    <a:lnTo>
                      <a:pt x="255" y="241"/>
                    </a:lnTo>
                    <a:lnTo>
                      <a:pt x="255" y="243"/>
                    </a:lnTo>
                    <a:lnTo>
                      <a:pt x="257" y="243"/>
                    </a:lnTo>
                    <a:lnTo>
                      <a:pt x="257" y="241"/>
                    </a:lnTo>
                    <a:lnTo>
                      <a:pt x="259" y="241"/>
                    </a:lnTo>
                    <a:lnTo>
                      <a:pt x="260" y="241"/>
                    </a:lnTo>
                    <a:lnTo>
                      <a:pt x="260" y="243"/>
                    </a:lnTo>
                    <a:lnTo>
                      <a:pt x="260" y="244"/>
                    </a:lnTo>
                    <a:lnTo>
                      <a:pt x="262" y="244"/>
                    </a:lnTo>
                    <a:lnTo>
                      <a:pt x="263" y="244"/>
                    </a:lnTo>
                    <a:lnTo>
                      <a:pt x="263" y="246"/>
                    </a:lnTo>
                    <a:lnTo>
                      <a:pt x="265" y="246"/>
                    </a:lnTo>
                    <a:lnTo>
                      <a:pt x="265" y="248"/>
                    </a:lnTo>
                    <a:lnTo>
                      <a:pt x="265" y="249"/>
                    </a:lnTo>
                    <a:lnTo>
                      <a:pt x="265" y="251"/>
                    </a:lnTo>
                    <a:lnTo>
                      <a:pt x="266" y="251"/>
                    </a:lnTo>
                    <a:lnTo>
                      <a:pt x="266" y="252"/>
                    </a:lnTo>
                    <a:lnTo>
                      <a:pt x="266" y="254"/>
                    </a:lnTo>
                    <a:lnTo>
                      <a:pt x="268" y="254"/>
                    </a:lnTo>
                    <a:lnTo>
                      <a:pt x="268" y="256"/>
                    </a:lnTo>
                    <a:lnTo>
                      <a:pt x="270" y="256"/>
                    </a:lnTo>
                    <a:lnTo>
                      <a:pt x="270" y="257"/>
                    </a:lnTo>
                    <a:lnTo>
                      <a:pt x="268" y="257"/>
                    </a:lnTo>
                    <a:lnTo>
                      <a:pt x="268" y="259"/>
                    </a:lnTo>
                    <a:lnTo>
                      <a:pt x="270" y="259"/>
                    </a:lnTo>
                    <a:lnTo>
                      <a:pt x="270" y="260"/>
                    </a:lnTo>
                    <a:lnTo>
                      <a:pt x="268" y="260"/>
                    </a:lnTo>
                    <a:lnTo>
                      <a:pt x="266" y="260"/>
                    </a:lnTo>
                    <a:lnTo>
                      <a:pt x="266" y="262"/>
                    </a:lnTo>
                    <a:lnTo>
                      <a:pt x="266" y="260"/>
                    </a:lnTo>
                    <a:lnTo>
                      <a:pt x="265" y="260"/>
                    </a:lnTo>
                    <a:lnTo>
                      <a:pt x="263" y="260"/>
                    </a:lnTo>
                    <a:lnTo>
                      <a:pt x="263" y="262"/>
                    </a:lnTo>
                    <a:lnTo>
                      <a:pt x="262" y="262"/>
                    </a:lnTo>
                    <a:lnTo>
                      <a:pt x="262" y="263"/>
                    </a:lnTo>
                    <a:lnTo>
                      <a:pt x="260" y="263"/>
                    </a:lnTo>
                    <a:lnTo>
                      <a:pt x="260" y="265"/>
                    </a:lnTo>
                    <a:lnTo>
                      <a:pt x="260" y="267"/>
                    </a:lnTo>
                    <a:lnTo>
                      <a:pt x="260" y="268"/>
                    </a:lnTo>
                    <a:lnTo>
                      <a:pt x="262" y="270"/>
                    </a:lnTo>
                    <a:lnTo>
                      <a:pt x="262" y="271"/>
                    </a:lnTo>
                    <a:lnTo>
                      <a:pt x="262" y="273"/>
                    </a:lnTo>
                    <a:lnTo>
                      <a:pt x="262" y="275"/>
                    </a:lnTo>
                    <a:lnTo>
                      <a:pt x="260" y="275"/>
                    </a:lnTo>
                    <a:lnTo>
                      <a:pt x="260" y="276"/>
                    </a:lnTo>
                    <a:lnTo>
                      <a:pt x="260" y="278"/>
                    </a:lnTo>
                    <a:lnTo>
                      <a:pt x="260" y="279"/>
                    </a:lnTo>
                    <a:lnTo>
                      <a:pt x="259" y="279"/>
                    </a:lnTo>
                    <a:lnTo>
                      <a:pt x="259" y="281"/>
                    </a:lnTo>
                    <a:lnTo>
                      <a:pt x="259" y="282"/>
                    </a:lnTo>
                    <a:lnTo>
                      <a:pt x="259" y="284"/>
                    </a:lnTo>
                    <a:lnTo>
                      <a:pt x="259" y="286"/>
                    </a:lnTo>
                    <a:lnTo>
                      <a:pt x="259" y="287"/>
                    </a:lnTo>
                    <a:lnTo>
                      <a:pt x="260" y="289"/>
                    </a:lnTo>
                    <a:lnTo>
                      <a:pt x="260" y="287"/>
                    </a:lnTo>
                    <a:lnTo>
                      <a:pt x="262" y="289"/>
                    </a:lnTo>
                    <a:lnTo>
                      <a:pt x="263" y="289"/>
                    </a:lnTo>
                    <a:lnTo>
                      <a:pt x="263" y="290"/>
                    </a:lnTo>
                    <a:lnTo>
                      <a:pt x="265" y="290"/>
                    </a:lnTo>
                    <a:lnTo>
                      <a:pt x="266" y="290"/>
                    </a:lnTo>
                    <a:lnTo>
                      <a:pt x="268" y="290"/>
                    </a:lnTo>
                    <a:lnTo>
                      <a:pt x="270" y="292"/>
                    </a:lnTo>
                    <a:lnTo>
                      <a:pt x="271" y="292"/>
                    </a:lnTo>
                    <a:lnTo>
                      <a:pt x="273" y="292"/>
                    </a:lnTo>
                    <a:lnTo>
                      <a:pt x="274" y="292"/>
                    </a:lnTo>
                    <a:lnTo>
                      <a:pt x="274" y="290"/>
                    </a:lnTo>
                    <a:lnTo>
                      <a:pt x="274" y="289"/>
                    </a:lnTo>
                    <a:lnTo>
                      <a:pt x="276" y="289"/>
                    </a:lnTo>
                    <a:lnTo>
                      <a:pt x="278" y="290"/>
                    </a:lnTo>
                    <a:lnTo>
                      <a:pt x="279" y="290"/>
                    </a:lnTo>
                    <a:lnTo>
                      <a:pt x="281" y="290"/>
                    </a:lnTo>
                    <a:lnTo>
                      <a:pt x="281" y="289"/>
                    </a:lnTo>
                    <a:lnTo>
                      <a:pt x="282" y="289"/>
                    </a:lnTo>
                    <a:lnTo>
                      <a:pt x="282" y="290"/>
                    </a:lnTo>
                    <a:lnTo>
                      <a:pt x="282" y="289"/>
                    </a:lnTo>
                    <a:lnTo>
                      <a:pt x="284" y="289"/>
                    </a:lnTo>
                    <a:lnTo>
                      <a:pt x="284" y="287"/>
                    </a:lnTo>
                    <a:lnTo>
                      <a:pt x="284" y="286"/>
                    </a:lnTo>
                    <a:lnTo>
                      <a:pt x="285" y="287"/>
                    </a:lnTo>
                    <a:lnTo>
                      <a:pt x="287" y="287"/>
                    </a:lnTo>
                    <a:lnTo>
                      <a:pt x="289" y="287"/>
                    </a:lnTo>
                    <a:lnTo>
                      <a:pt x="290" y="287"/>
                    </a:lnTo>
                    <a:lnTo>
                      <a:pt x="292" y="287"/>
                    </a:lnTo>
                    <a:lnTo>
                      <a:pt x="293" y="287"/>
                    </a:lnTo>
                    <a:lnTo>
                      <a:pt x="295" y="287"/>
                    </a:lnTo>
                    <a:lnTo>
                      <a:pt x="297" y="287"/>
                    </a:lnTo>
                    <a:lnTo>
                      <a:pt x="298" y="287"/>
                    </a:lnTo>
                    <a:lnTo>
                      <a:pt x="300" y="287"/>
                    </a:lnTo>
                    <a:lnTo>
                      <a:pt x="301" y="287"/>
                    </a:lnTo>
                    <a:lnTo>
                      <a:pt x="303" y="287"/>
                    </a:lnTo>
                    <a:lnTo>
                      <a:pt x="304" y="287"/>
                    </a:lnTo>
                    <a:lnTo>
                      <a:pt x="306" y="286"/>
                    </a:lnTo>
                    <a:lnTo>
                      <a:pt x="306" y="287"/>
                    </a:lnTo>
                    <a:lnTo>
                      <a:pt x="306" y="289"/>
                    </a:lnTo>
                    <a:lnTo>
                      <a:pt x="308" y="289"/>
                    </a:lnTo>
                    <a:lnTo>
                      <a:pt x="308" y="290"/>
                    </a:lnTo>
                    <a:lnTo>
                      <a:pt x="308" y="292"/>
                    </a:lnTo>
                    <a:lnTo>
                      <a:pt x="306" y="294"/>
                    </a:lnTo>
                    <a:lnTo>
                      <a:pt x="306" y="295"/>
                    </a:lnTo>
                    <a:lnTo>
                      <a:pt x="306" y="297"/>
                    </a:lnTo>
                    <a:lnTo>
                      <a:pt x="308" y="297"/>
                    </a:lnTo>
                    <a:lnTo>
                      <a:pt x="308" y="298"/>
                    </a:lnTo>
                    <a:lnTo>
                      <a:pt x="309" y="298"/>
                    </a:lnTo>
                    <a:lnTo>
                      <a:pt x="311" y="298"/>
                    </a:lnTo>
                    <a:lnTo>
                      <a:pt x="312" y="298"/>
                    </a:lnTo>
                    <a:lnTo>
                      <a:pt x="316" y="298"/>
                    </a:lnTo>
                    <a:lnTo>
                      <a:pt x="317" y="298"/>
                    </a:lnTo>
                    <a:lnTo>
                      <a:pt x="319" y="298"/>
                    </a:lnTo>
                    <a:lnTo>
                      <a:pt x="319" y="300"/>
                    </a:lnTo>
                    <a:lnTo>
                      <a:pt x="319" y="302"/>
                    </a:lnTo>
                    <a:lnTo>
                      <a:pt x="319" y="303"/>
                    </a:lnTo>
                    <a:lnTo>
                      <a:pt x="319" y="305"/>
                    </a:lnTo>
                    <a:lnTo>
                      <a:pt x="320" y="305"/>
                    </a:lnTo>
                    <a:lnTo>
                      <a:pt x="320" y="306"/>
                    </a:lnTo>
                    <a:lnTo>
                      <a:pt x="320" y="308"/>
                    </a:lnTo>
                    <a:lnTo>
                      <a:pt x="320" y="309"/>
                    </a:lnTo>
                    <a:lnTo>
                      <a:pt x="320" y="311"/>
                    </a:lnTo>
                    <a:lnTo>
                      <a:pt x="322" y="311"/>
                    </a:lnTo>
                    <a:lnTo>
                      <a:pt x="323" y="311"/>
                    </a:lnTo>
                    <a:lnTo>
                      <a:pt x="323" y="313"/>
                    </a:lnTo>
                    <a:lnTo>
                      <a:pt x="325" y="313"/>
                    </a:lnTo>
                    <a:lnTo>
                      <a:pt x="327" y="313"/>
                    </a:lnTo>
                    <a:lnTo>
                      <a:pt x="327" y="314"/>
                    </a:lnTo>
                    <a:lnTo>
                      <a:pt x="328" y="314"/>
                    </a:lnTo>
                    <a:lnTo>
                      <a:pt x="328" y="316"/>
                    </a:lnTo>
                    <a:lnTo>
                      <a:pt x="330" y="316"/>
                    </a:lnTo>
                    <a:lnTo>
                      <a:pt x="330" y="317"/>
                    </a:lnTo>
                    <a:lnTo>
                      <a:pt x="331" y="317"/>
                    </a:lnTo>
                    <a:lnTo>
                      <a:pt x="331" y="319"/>
                    </a:lnTo>
                    <a:lnTo>
                      <a:pt x="333" y="319"/>
                    </a:lnTo>
                    <a:lnTo>
                      <a:pt x="333" y="317"/>
                    </a:lnTo>
                    <a:lnTo>
                      <a:pt x="335" y="317"/>
                    </a:lnTo>
                    <a:lnTo>
                      <a:pt x="335" y="319"/>
                    </a:lnTo>
                    <a:lnTo>
                      <a:pt x="336" y="319"/>
                    </a:lnTo>
                    <a:lnTo>
                      <a:pt x="336" y="317"/>
                    </a:lnTo>
                    <a:lnTo>
                      <a:pt x="338" y="317"/>
                    </a:lnTo>
                    <a:lnTo>
                      <a:pt x="339" y="317"/>
                    </a:lnTo>
                    <a:lnTo>
                      <a:pt x="341" y="317"/>
                    </a:lnTo>
                    <a:lnTo>
                      <a:pt x="341" y="319"/>
                    </a:lnTo>
                    <a:lnTo>
                      <a:pt x="343" y="319"/>
                    </a:lnTo>
                    <a:lnTo>
                      <a:pt x="343" y="321"/>
                    </a:lnTo>
                    <a:lnTo>
                      <a:pt x="344" y="321"/>
                    </a:lnTo>
                    <a:lnTo>
                      <a:pt x="344" y="322"/>
                    </a:lnTo>
                    <a:lnTo>
                      <a:pt x="344" y="324"/>
                    </a:lnTo>
                    <a:lnTo>
                      <a:pt x="346" y="324"/>
                    </a:lnTo>
                    <a:lnTo>
                      <a:pt x="346" y="325"/>
                    </a:lnTo>
                    <a:lnTo>
                      <a:pt x="346" y="327"/>
                    </a:lnTo>
                    <a:lnTo>
                      <a:pt x="346" y="328"/>
                    </a:lnTo>
                    <a:lnTo>
                      <a:pt x="346" y="330"/>
                    </a:lnTo>
                    <a:lnTo>
                      <a:pt x="346" y="332"/>
                    </a:lnTo>
                    <a:lnTo>
                      <a:pt x="346" y="333"/>
                    </a:lnTo>
                    <a:lnTo>
                      <a:pt x="347" y="333"/>
                    </a:lnTo>
                    <a:lnTo>
                      <a:pt x="347" y="335"/>
                    </a:lnTo>
                    <a:lnTo>
                      <a:pt x="347" y="336"/>
                    </a:lnTo>
                    <a:lnTo>
                      <a:pt x="347" y="338"/>
                    </a:lnTo>
                    <a:lnTo>
                      <a:pt x="347" y="340"/>
                    </a:lnTo>
                    <a:lnTo>
                      <a:pt x="349" y="341"/>
                    </a:lnTo>
                    <a:lnTo>
                      <a:pt x="349" y="343"/>
                    </a:lnTo>
                    <a:lnTo>
                      <a:pt x="350" y="344"/>
                    </a:lnTo>
                    <a:lnTo>
                      <a:pt x="350" y="346"/>
                    </a:lnTo>
                    <a:lnTo>
                      <a:pt x="350" y="347"/>
                    </a:lnTo>
                    <a:lnTo>
                      <a:pt x="352" y="347"/>
                    </a:lnTo>
                    <a:lnTo>
                      <a:pt x="352" y="349"/>
                    </a:lnTo>
                    <a:lnTo>
                      <a:pt x="352" y="351"/>
                    </a:lnTo>
                    <a:lnTo>
                      <a:pt x="352" y="352"/>
                    </a:lnTo>
                    <a:lnTo>
                      <a:pt x="354" y="352"/>
                    </a:lnTo>
                    <a:lnTo>
                      <a:pt x="355" y="352"/>
                    </a:lnTo>
                    <a:lnTo>
                      <a:pt x="357" y="351"/>
                    </a:lnTo>
                    <a:lnTo>
                      <a:pt x="358" y="351"/>
                    </a:lnTo>
                    <a:lnTo>
                      <a:pt x="360" y="351"/>
                    </a:lnTo>
                    <a:lnTo>
                      <a:pt x="362" y="351"/>
                    </a:lnTo>
                    <a:lnTo>
                      <a:pt x="363" y="351"/>
                    </a:lnTo>
                    <a:lnTo>
                      <a:pt x="365" y="351"/>
                    </a:lnTo>
                    <a:lnTo>
                      <a:pt x="366" y="351"/>
                    </a:lnTo>
                    <a:lnTo>
                      <a:pt x="366" y="349"/>
                    </a:lnTo>
                    <a:lnTo>
                      <a:pt x="368" y="349"/>
                    </a:lnTo>
                    <a:lnTo>
                      <a:pt x="369" y="349"/>
                    </a:lnTo>
                    <a:lnTo>
                      <a:pt x="369" y="347"/>
                    </a:lnTo>
                    <a:lnTo>
                      <a:pt x="369" y="346"/>
                    </a:lnTo>
                    <a:lnTo>
                      <a:pt x="371" y="344"/>
                    </a:lnTo>
                    <a:lnTo>
                      <a:pt x="371" y="343"/>
                    </a:lnTo>
                    <a:lnTo>
                      <a:pt x="371" y="341"/>
                    </a:lnTo>
                    <a:lnTo>
                      <a:pt x="369" y="341"/>
                    </a:lnTo>
                    <a:lnTo>
                      <a:pt x="371" y="341"/>
                    </a:lnTo>
                    <a:lnTo>
                      <a:pt x="373" y="341"/>
                    </a:lnTo>
                    <a:lnTo>
                      <a:pt x="374" y="341"/>
                    </a:lnTo>
                    <a:lnTo>
                      <a:pt x="376" y="341"/>
                    </a:lnTo>
                    <a:lnTo>
                      <a:pt x="377" y="341"/>
                    </a:lnTo>
                    <a:lnTo>
                      <a:pt x="379" y="341"/>
                    </a:lnTo>
                    <a:lnTo>
                      <a:pt x="381" y="340"/>
                    </a:lnTo>
                    <a:lnTo>
                      <a:pt x="382" y="340"/>
                    </a:lnTo>
                    <a:lnTo>
                      <a:pt x="384" y="340"/>
                    </a:lnTo>
                    <a:lnTo>
                      <a:pt x="385" y="340"/>
                    </a:lnTo>
                    <a:lnTo>
                      <a:pt x="387" y="340"/>
                    </a:lnTo>
                    <a:lnTo>
                      <a:pt x="387" y="338"/>
                    </a:lnTo>
                    <a:lnTo>
                      <a:pt x="388" y="338"/>
                    </a:lnTo>
                    <a:lnTo>
                      <a:pt x="390" y="338"/>
                    </a:lnTo>
                    <a:lnTo>
                      <a:pt x="390" y="336"/>
                    </a:lnTo>
                    <a:lnTo>
                      <a:pt x="388" y="336"/>
                    </a:lnTo>
                    <a:lnTo>
                      <a:pt x="388" y="335"/>
                    </a:lnTo>
                    <a:lnTo>
                      <a:pt x="388" y="333"/>
                    </a:lnTo>
                    <a:lnTo>
                      <a:pt x="388" y="332"/>
                    </a:lnTo>
                    <a:lnTo>
                      <a:pt x="387" y="330"/>
                    </a:lnTo>
                    <a:lnTo>
                      <a:pt x="385" y="330"/>
                    </a:lnTo>
                    <a:lnTo>
                      <a:pt x="387" y="328"/>
                    </a:lnTo>
                    <a:lnTo>
                      <a:pt x="387" y="327"/>
                    </a:lnTo>
                    <a:lnTo>
                      <a:pt x="388" y="327"/>
                    </a:lnTo>
                    <a:lnTo>
                      <a:pt x="390" y="325"/>
                    </a:lnTo>
                    <a:lnTo>
                      <a:pt x="390" y="324"/>
                    </a:lnTo>
                    <a:lnTo>
                      <a:pt x="392" y="322"/>
                    </a:lnTo>
                    <a:lnTo>
                      <a:pt x="390" y="322"/>
                    </a:lnTo>
                    <a:lnTo>
                      <a:pt x="390" y="321"/>
                    </a:lnTo>
                    <a:lnTo>
                      <a:pt x="392" y="321"/>
                    </a:lnTo>
                    <a:lnTo>
                      <a:pt x="392" y="322"/>
                    </a:lnTo>
                    <a:lnTo>
                      <a:pt x="393" y="322"/>
                    </a:lnTo>
                    <a:lnTo>
                      <a:pt x="395" y="322"/>
                    </a:lnTo>
                    <a:lnTo>
                      <a:pt x="395" y="321"/>
                    </a:lnTo>
                    <a:lnTo>
                      <a:pt x="396" y="319"/>
                    </a:lnTo>
                    <a:lnTo>
                      <a:pt x="396" y="317"/>
                    </a:lnTo>
                    <a:lnTo>
                      <a:pt x="396" y="316"/>
                    </a:lnTo>
                    <a:lnTo>
                      <a:pt x="396" y="314"/>
                    </a:lnTo>
                    <a:lnTo>
                      <a:pt x="396" y="313"/>
                    </a:lnTo>
                    <a:lnTo>
                      <a:pt x="398" y="313"/>
                    </a:lnTo>
                    <a:lnTo>
                      <a:pt x="398" y="311"/>
                    </a:lnTo>
                    <a:lnTo>
                      <a:pt x="398" y="309"/>
                    </a:lnTo>
                    <a:lnTo>
                      <a:pt x="396" y="309"/>
                    </a:lnTo>
                    <a:lnTo>
                      <a:pt x="396" y="311"/>
                    </a:lnTo>
                    <a:lnTo>
                      <a:pt x="395" y="311"/>
                    </a:lnTo>
                    <a:lnTo>
                      <a:pt x="395" y="309"/>
                    </a:lnTo>
                    <a:lnTo>
                      <a:pt x="393" y="309"/>
                    </a:lnTo>
                    <a:lnTo>
                      <a:pt x="393" y="308"/>
                    </a:lnTo>
                    <a:lnTo>
                      <a:pt x="393" y="306"/>
                    </a:lnTo>
                    <a:lnTo>
                      <a:pt x="393" y="305"/>
                    </a:lnTo>
                    <a:lnTo>
                      <a:pt x="393" y="303"/>
                    </a:lnTo>
                    <a:lnTo>
                      <a:pt x="395" y="303"/>
                    </a:lnTo>
                    <a:lnTo>
                      <a:pt x="393" y="303"/>
                    </a:lnTo>
                    <a:lnTo>
                      <a:pt x="393" y="302"/>
                    </a:lnTo>
                    <a:lnTo>
                      <a:pt x="392" y="302"/>
                    </a:lnTo>
                    <a:lnTo>
                      <a:pt x="390" y="302"/>
                    </a:lnTo>
                    <a:lnTo>
                      <a:pt x="390" y="303"/>
                    </a:lnTo>
                    <a:lnTo>
                      <a:pt x="388" y="303"/>
                    </a:lnTo>
                    <a:lnTo>
                      <a:pt x="388" y="305"/>
                    </a:lnTo>
                    <a:lnTo>
                      <a:pt x="387" y="305"/>
                    </a:lnTo>
                    <a:lnTo>
                      <a:pt x="385" y="305"/>
                    </a:lnTo>
                    <a:lnTo>
                      <a:pt x="385" y="306"/>
                    </a:lnTo>
                    <a:lnTo>
                      <a:pt x="385" y="305"/>
                    </a:lnTo>
                    <a:lnTo>
                      <a:pt x="384" y="305"/>
                    </a:lnTo>
                    <a:lnTo>
                      <a:pt x="384" y="303"/>
                    </a:lnTo>
                    <a:lnTo>
                      <a:pt x="382" y="303"/>
                    </a:lnTo>
                    <a:lnTo>
                      <a:pt x="382" y="302"/>
                    </a:lnTo>
                    <a:lnTo>
                      <a:pt x="381" y="302"/>
                    </a:lnTo>
                    <a:lnTo>
                      <a:pt x="381" y="300"/>
                    </a:lnTo>
                    <a:lnTo>
                      <a:pt x="379" y="300"/>
                    </a:lnTo>
                    <a:lnTo>
                      <a:pt x="379" y="298"/>
                    </a:lnTo>
                    <a:lnTo>
                      <a:pt x="377" y="298"/>
                    </a:lnTo>
                    <a:lnTo>
                      <a:pt x="377" y="297"/>
                    </a:lnTo>
                    <a:lnTo>
                      <a:pt x="376" y="297"/>
                    </a:lnTo>
                    <a:lnTo>
                      <a:pt x="376" y="295"/>
                    </a:lnTo>
                    <a:lnTo>
                      <a:pt x="377" y="294"/>
                    </a:lnTo>
                    <a:lnTo>
                      <a:pt x="377" y="292"/>
                    </a:lnTo>
                    <a:lnTo>
                      <a:pt x="377" y="290"/>
                    </a:lnTo>
                    <a:lnTo>
                      <a:pt x="379" y="290"/>
                    </a:lnTo>
                    <a:lnTo>
                      <a:pt x="381" y="290"/>
                    </a:lnTo>
                    <a:lnTo>
                      <a:pt x="382" y="290"/>
                    </a:lnTo>
                    <a:lnTo>
                      <a:pt x="384" y="290"/>
                    </a:lnTo>
                    <a:lnTo>
                      <a:pt x="385" y="290"/>
                    </a:lnTo>
                    <a:lnTo>
                      <a:pt x="385" y="289"/>
                    </a:lnTo>
                    <a:lnTo>
                      <a:pt x="387" y="289"/>
                    </a:lnTo>
                    <a:lnTo>
                      <a:pt x="387" y="287"/>
                    </a:lnTo>
                    <a:lnTo>
                      <a:pt x="387" y="286"/>
                    </a:lnTo>
                    <a:lnTo>
                      <a:pt x="387" y="284"/>
                    </a:lnTo>
                    <a:lnTo>
                      <a:pt x="387" y="282"/>
                    </a:lnTo>
                    <a:lnTo>
                      <a:pt x="388" y="282"/>
                    </a:lnTo>
                    <a:lnTo>
                      <a:pt x="388" y="281"/>
                    </a:lnTo>
                    <a:lnTo>
                      <a:pt x="390" y="279"/>
                    </a:lnTo>
                    <a:lnTo>
                      <a:pt x="392" y="279"/>
                    </a:lnTo>
                    <a:lnTo>
                      <a:pt x="393" y="279"/>
                    </a:lnTo>
                    <a:lnTo>
                      <a:pt x="393" y="278"/>
                    </a:lnTo>
                    <a:lnTo>
                      <a:pt x="395" y="278"/>
                    </a:lnTo>
                    <a:lnTo>
                      <a:pt x="396" y="278"/>
                    </a:lnTo>
                    <a:lnTo>
                      <a:pt x="398" y="281"/>
                    </a:lnTo>
                    <a:lnTo>
                      <a:pt x="400" y="282"/>
                    </a:lnTo>
                    <a:lnTo>
                      <a:pt x="401" y="282"/>
                    </a:lnTo>
                    <a:lnTo>
                      <a:pt x="401" y="284"/>
                    </a:lnTo>
                    <a:lnTo>
                      <a:pt x="403" y="284"/>
                    </a:lnTo>
                    <a:lnTo>
                      <a:pt x="404" y="284"/>
                    </a:lnTo>
                    <a:lnTo>
                      <a:pt x="406" y="284"/>
                    </a:lnTo>
                    <a:lnTo>
                      <a:pt x="407" y="284"/>
                    </a:lnTo>
                    <a:lnTo>
                      <a:pt x="409" y="284"/>
                    </a:lnTo>
                    <a:lnTo>
                      <a:pt x="411" y="284"/>
                    </a:lnTo>
                    <a:lnTo>
                      <a:pt x="412" y="284"/>
                    </a:lnTo>
                    <a:lnTo>
                      <a:pt x="412" y="286"/>
                    </a:lnTo>
                    <a:lnTo>
                      <a:pt x="414" y="286"/>
                    </a:lnTo>
                    <a:lnTo>
                      <a:pt x="415" y="286"/>
                    </a:lnTo>
                    <a:lnTo>
                      <a:pt x="417" y="286"/>
                    </a:lnTo>
                    <a:lnTo>
                      <a:pt x="419" y="286"/>
                    </a:lnTo>
                    <a:lnTo>
                      <a:pt x="419" y="287"/>
                    </a:lnTo>
                    <a:lnTo>
                      <a:pt x="419" y="289"/>
                    </a:lnTo>
                    <a:lnTo>
                      <a:pt x="420" y="289"/>
                    </a:lnTo>
                    <a:lnTo>
                      <a:pt x="420" y="287"/>
                    </a:lnTo>
                    <a:lnTo>
                      <a:pt x="422" y="287"/>
                    </a:lnTo>
                    <a:lnTo>
                      <a:pt x="423" y="287"/>
                    </a:lnTo>
                    <a:lnTo>
                      <a:pt x="425" y="286"/>
                    </a:lnTo>
                    <a:lnTo>
                      <a:pt x="423" y="286"/>
                    </a:lnTo>
                    <a:lnTo>
                      <a:pt x="425" y="286"/>
                    </a:lnTo>
                    <a:lnTo>
                      <a:pt x="425" y="284"/>
                    </a:lnTo>
                    <a:lnTo>
                      <a:pt x="423" y="284"/>
                    </a:lnTo>
                    <a:lnTo>
                      <a:pt x="423" y="282"/>
                    </a:lnTo>
                    <a:lnTo>
                      <a:pt x="422" y="282"/>
                    </a:lnTo>
                    <a:lnTo>
                      <a:pt x="422" y="281"/>
                    </a:lnTo>
                    <a:lnTo>
                      <a:pt x="423" y="281"/>
                    </a:lnTo>
                    <a:lnTo>
                      <a:pt x="423" y="282"/>
                    </a:lnTo>
                    <a:lnTo>
                      <a:pt x="423" y="281"/>
                    </a:lnTo>
                    <a:lnTo>
                      <a:pt x="425" y="281"/>
                    </a:lnTo>
                    <a:lnTo>
                      <a:pt x="425" y="282"/>
                    </a:lnTo>
                    <a:lnTo>
                      <a:pt x="425" y="281"/>
                    </a:lnTo>
                    <a:lnTo>
                      <a:pt x="426" y="281"/>
                    </a:lnTo>
                    <a:lnTo>
                      <a:pt x="425" y="281"/>
                    </a:lnTo>
                    <a:lnTo>
                      <a:pt x="425" y="279"/>
                    </a:lnTo>
                    <a:lnTo>
                      <a:pt x="426" y="279"/>
                    </a:lnTo>
                    <a:lnTo>
                      <a:pt x="426" y="278"/>
                    </a:lnTo>
                    <a:lnTo>
                      <a:pt x="428" y="278"/>
                    </a:lnTo>
                    <a:lnTo>
                      <a:pt x="430" y="278"/>
                    </a:lnTo>
                    <a:lnTo>
                      <a:pt x="430" y="276"/>
                    </a:lnTo>
                    <a:lnTo>
                      <a:pt x="428" y="276"/>
                    </a:lnTo>
                    <a:lnTo>
                      <a:pt x="428" y="275"/>
                    </a:lnTo>
                    <a:lnTo>
                      <a:pt x="428" y="273"/>
                    </a:lnTo>
                    <a:lnTo>
                      <a:pt x="426" y="273"/>
                    </a:lnTo>
                    <a:lnTo>
                      <a:pt x="426" y="271"/>
                    </a:lnTo>
                    <a:lnTo>
                      <a:pt x="425" y="271"/>
                    </a:lnTo>
                    <a:lnTo>
                      <a:pt x="425" y="270"/>
                    </a:lnTo>
                    <a:lnTo>
                      <a:pt x="425" y="268"/>
                    </a:lnTo>
                    <a:lnTo>
                      <a:pt x="425" y="267"/>
                    </a:lnTo>
                    <a:lnTo>
                      <a:pt x="425" y="265"/>
                    </a:lnTo>
                    <a:lnTo>
                      <a:pt x="425" y="263"/>
                    </a:lnTo>
                    <a:lnTo>
                      <a:pt x="423" y="263"/>
                    </a:lnTo>
                    <a:lnTo>
                      <a:pt x="423" y="262"/>
                    </a:lnTo>
                    <a:lnTo>
                      <a:pt x="425" y="262"/>
                    </a:lnTo>
                    <a:lnTo>
                      <a:pt x="425" y="260"/>
                    </a:lnTo>
                    <a:lnTo>
                      <a:pt x="423" y="260"/>
                    </a:lnTo>
                    <a:lnTo>
                      <a:pt x="425" y="259"/>
                    </a:lnTo>
                    <a:lnTo>
                      <a:pt x="423" y="259"/>
                    </a:lnTo>
                    <a:lnTo>
                      <a:pt x="423" y="257"/>
                    </a:lnTo>
                    <a:lnTo>
                      <a:pt x="423" y="256"/>
                    </a:lnTo>
                    <a:lnTo>
                      <a:pt x="422" y="256"/>
                    </a:lnTo>
                    <a:lnTo>
                      <a:pt x="422" y="254"/>
                    </a:lnTo>
                    <a:lnTo>
                      <a:pt x="423" y="254"/>
                    </a:lnTo>
                    <a:lnTo>
                      <a:pt x="422" y="254"/>
                    </a:lnTo>
                    <a:lnTo>
                      <a:pt x="422" y="252"/>
                    </a:lnTo>
                    <a:lnTo>
                      <a:pt x="420" y="252"/>
                    </a:lnTo>
                    <a:lnTo>
                      <a:pt x="420" y="251"/>
                    </a:lnTo>
                    <a:lnTo>
                      <a:pt x="420" y="249"/>
                    </a:lnTo>
                    <a:lnTo>
                      <a:pt x="422" y="248"/>
                    </a:lnTo>
                    <a:lnTo>
                      <a:pt x="422" y="246"/>
                    </a:lnTo>
                    <a:lnTo>
                      <a:pt x="423" y="246"/>
                    </a:lnTo>
                    <a:lnTo>
                      <a:pt x="423" y="244"/>
                    </a:lnTo>
                    <a:lnTo>
                      <a:pt x="423" y="243"/>
                    </a:lnTo>
                    <a:lnTo>
                      <a:pt x="423" y="241"/>
                    </a:lnTo>
                    <a:lnTo>
                      <a:pt x="423" y="240"/>
                    </a:lnTo>
                    <a:lnTo>
                      <a:pt x="425" y="240"/>
                    </a:lnTo>
                    <a:lnTo>
                      <a:pt x="425" y="238"/>
                    </a:lnTo>
                    <a:lnTo>
                      <a:pt x="426" y="238"/>
                    </a:lnTo>
                    <a:lnTo>
                      <a:pt x="426" y="237"/>
                    </a:lnTo>
                    <a:lnTo>
                      <a:pt x="426" y="235"/>
                    </a:lnTo>
                    <a:lnTo>
                      <a:pt x="426" y="233"/>
                    </a:lnTo>
                    <a:lnTo>
                      <a:pt x="425" y="233"/>
                    </a:lnTo>
                    <a:lnTo>
                      <a:pt x="425" y="232"/>
                    </a:lnTo>
                    <a:lnTo>
                      <a:pt x="423" y="230"/>
                    </a:lnTo>
                    <a:lnTo>
                      <a:pt x="423" y="229"/>
                    </a:lnTo>
                    <a:lnTo>
                      <a:pt x="422" y="229"/>
                    </a:lnTo>
                    <a:lnTo>
                      <a:pt x="422" y="227"/>
                    </a:lnTo>
                    <a:lnTo>
                      <a:pt x="420" y="227"/>
                    </a:lnTo>
                    <a:lnTo>
                      <a:pt x="419" y="227"/>
                    </a:lnTo>
                    <a:lnTo>
                      <a:pt x="419" y="225"/>
                    </a:lnTo>
                    <a:lnTo>
                      <a:pt x="417" y="225"/>
                    </a:lnTo>
                    <a:lnTo>
                      <a:pt x="417" y="224"/>
                    </a:lnTo>
                    <a:lnTo>
                      <a:pt x="415" y="224"/>
                    </a:lnTo>
                    <a:lnTo>
                      <a:pt x="415" y="222"/>
                    </a:lnTo>
                    <a:lnTo>
                      <a:pt x="414" y="222"/>
                    </a:lnTo>
                    <a:lnTo>
                      <a:pt x="414" y="221"/>
                    </a:lnTo>
                    <a:lnTo>
                      <a:pt x="412" y="221"/>
                    </a:lnTo>
                    <a:lnTo>
                      <a:pt x="412" y="219"/>
                    </a:lnTo>
                    <a:lnTo>
                      <a:pt x="411" y="219"/>
                    </a:lnTo>
                    <a:lnTo>
                      <a:pt x="411" y="221"/>
                    </a:lnTo>
                    <a:lnTo>
                      <a:pt x="409" y="221"/>
                    </a:lnTo>
                    <a:lnTo>
                      <a:pt x="407" y="221"/>
                    </a:lnTo>
                    <a:lnTo>
                      <a:pt x="407" y="219"/>
                    </a:lnTo>
                    <a:lnTo>
                      <a:pt x="406" y="219"/>
                    </a:lnTo>
                    <a:lnTo>
                      <a:pt x="404" y="219"/>
                    </a:lnTo>
                    <a:lnTo>
                      <a:pt x="404" y="218"/>
                    </a:lnTo>
                    <a:lnTo>
                      <a:pt x="404" y="219"/>
                    </a:lnTo>
                    <a:lnTo>
                      <a:pt x="403" y="219"/>
                    </a:lnTo>
                    <a:lnTo>
                      <a:pt x="403" y="221"/>
                    </a:lnTo>
                    <a:lnTo>
                      <a:pt x="401" y="221"/>
                    </a:lnTo>
                    <a:lnTo>
                      <a:pt x="400" y="221"/>
                    </a:lnTo>
                    <a:lnTo>
                      <a:pt x="398" y="221"/>
                    </a:lnTo>
                    <a:lnTo>
                      <a:pt x="398" y="219"/>
                    </a:lnTo>
                    <a:lnTo>
                      <a:pt x="396" y="219"/>
                    </a:lnTo>
                    <a:lnTo>
                      <a:pt x="396" y="218"/>
                    </a:lnTo>
                    <a:lnTo>
                      <a:pt x="395" y="218"/>
                    </a:lnTo>
                    <a:lnTo>
                      <a:pt x="395" y="216"/>
                    </a:lnTo>
                    <a:lnTo>
                      <a:pt x="393" y="216"/>
                    </a:lnTo>
                    <a:lnTo>
                      <a:pt x="392" y="216"/>
                    </a:lnTo>
                    <a:lnTo>
                      <a:pt x="392" y="214"/>
                    </a:lnTo>
                    <a:lnTo>
                      <a:pt x="390" y="214"/>
                    </a:lnTo>
                    <a:lnTo>
                      <a:pt x="390" y="213"/>
                    </a:lnTo>
                    <a:lnTo>
                      <a:pt x="390" y="211"/>
                    </a:lnTo>
                    <a:lnTo>
                      <a:pt x="388" y="211"/>
                    </a:lnTo>
                    <a:lnTo>
                      <a:pt x="388" y="210"/>
                    </a:lnTo>
                    <a:lnTo>
                      <a:pt x="387" y="210"/>
                    </a:lnTo>
                    <a:lnTo>
                      <a:pt x="388" y="208"/>
                    </a:lnTo>
                    <a:lnTo>
                      <a:pt x="387" y="208"/>
                    </a:lnTo>
                    <a:lnTo>
                      <a:pt x="387" y="206"/>
                    </a:lnTo>
                    <a:lnTo>
                      <a:pt x="387" y="205"/>
                    </a:lnTo>
                    <a:lnTo>
                      <a:pt x="385" y="205"/>
                    </a:lnTo>
                    <a:lnTo>
                      <a:pt x="385" y="203"/>
                    </a:lnTo>
                    <a:lnTo>
                      <a:pt x="384" y="203"/>
                    </a:lnTo>
                    <a:lnTo>
                      <a:pt x="382" y="203"/>
                    </a:lnTo>
                    <a:lnTo>
                      <a:pt x="382" y="202"/>
                    </a:lnTo>
                    <a:lnTo>
                      <a:pt x="381" y="202"/>
                    </a:lnTo>
                    <a:lnTo>
                      <a:pt x="381" y="200"/>
                    </a:lnTo>
                    <a:lnTo>
                      <a:pt x="379" y="200"/>
                    </a:lnTo>
                    <a:lnTo>
                      <a:pt x="379" y="199"/>
                    </a:lnTo>
                    <a:lnTo>
                      <a:pt x="377" y="199"/>
                    </a:lnTo>
                    <a:lnTo>
                      <a:pt x="376" y="199"/>
                    </a:lnTo>
                    <a:lnTo>
                      <a:pt x="374" y="197"/>
                    </a:lnTo>
                    <a:lnTo>
                      <a:pt x="373" y="197"/>
                    </a:lnTo>
                    <a:lnTo>
                      <a:pt x="373" y="195"/>
                    </a:lnTo>
                    <a:lnTo>
                      <a:pt x="373" y="194"/>
                    </a:lnTo>
                    <a:lnTo>
                      <a:pt x="374" y="194"/>
                    </a:lnTo>
                    <a:lnTo>
                      <a:pt x="374" y="192"/>
                    </a:lnTo>
                    <a:lnTo>
                      <a:pt x="374" y="191"/>
                    </a:lnTo>
                    <a:lnTo>
                      <a:pt x="374" y="189"/>
                    </a:lnTo>
                    <a:lnTo>
                      <a:pt x="373" y="189"/>
                    </a:lnTo>
                    <a:lnTo>
                      <a:pt x="373" y="187"/>
                    </a:lnTo>
                    <a:lnTo>
                      <a:pt x="371" y="186"/>
                    </a:lnTo>
                    <a:lnTo>
                      <a:pt x="369" y="186"/>
                    </a:lnTo>
                    <a:lnTo>
                      <a:pt x="369" y="184"/>
                    </a:lnTo>
                    <a:lnTo>
                      <a:pt x="368" y="184"/>
                    </a:lnTo>
                    <a:lnTo>
                      <a:pt x="366" y="184"/>
                    </a:lnTo>
                    <a:lnTo>
                      <a:pt x="366" y="186"/>
                    </a:lnTo>
                    <a:lnTo>
                      <a:pt x="366" y="184"/>
                    </a:lnTo>
                    <a:lnTo>
                      <a:pt x="368" y="184"/>
                    </a:lnTo>
                    <a:lnTo>
                      <a:pt x="369" y="184"/>
                    </a:lnTo>
                    <a:lnTo>
                      <a:pt x="369" y="183"/>
                    </a:lnTo>
                    <a:lnTo>
                      <a:pt x="371" y="183"/>
                    </a:lnTo>
                    <a:lnTo>
                      <a:pt x="371" y="181"/>
                    </a:lnTo>
                    <a:lnTo>
                      <a:pt x="373" y="179"/>
                    </a:lnTo>
                    <a:lnTo>
                      <a:pt x="374" y="179"/>
                    </a:lnTo>
                    <a:lnTo>
                      <a:pt x="374" y="178"/>
                    </a:lnTo>
                    <a:lnTo>
                      <a:pt x="374" y="176"/>
                    </a:lnTo>
                    <a:lnTo>
                      <a:pt x="376" y="176"/>
                    </a:lnTo>
                    <a:lnTo>
                      <a:pt x="376" y="175"/>
                    </a:lnTo>
                    <a:lnTo>
                      <a:pt x="374" y="173"/>
                    </a:lnTo>
                    <a:lnTo>
                      <a:pt x="374" y="172"/>
                    </a:lnTo>
                    <a:lnTo>
                      <a:pt x="374" y="170"/>
                    </a:lnTo>
                    <a:lnTo>
                      <a:pt x="373" y="168"/>
                    </a:lnTo>
                    <a:lnTo>
                      <a:pt x="373" y="167"/>
                    </a:lnTo>
                    <a:lnTo>
                      <a:pt x="373" y="165"/>
                    </a:lnTo>
                    <a:lnTo>
                      <a:pt x="371" y="165"/>
                    </a:lnTo>
                    <a:lnTo>
                      <a:pt x="371" y="164"/>
                    </a:lnTo>
                    <a:lnTo>
                      <a:pt x="369" y="162"/>
                    </a:lnTo>
                    <a:lnTo>
                      <a:pt x="369" y="160"/>
                    </a:lnTo>
                    <a:lnTo>
                      <a:pt x="369" y="159"/>
                    </a:lnTo>
                    <a:lnTo>
                      <a:pt x="369" y="157"/>
                    </a:lnTo>
                    <a:lnTo>
                      <a:pt x="369" y="159"/>
                    </a:lnTo>
                    <a:lnTo>
                      <a:pt x="371" y="159"/>
                    </a:lnTo>
                    <a:lnTo>
                      <a:pt x="371" y="157"/>
                    </a:lnTo>
                    <a:lnTo>
                      <a:pt x="373" y="157"/>
                    </a:lnTo>
                    <a:lnTo>
                      <a:pt x="374" y="159"/>
                    </a:lnTo>
                    <a:lnTo>
                      <a:pt x="376" y="159"/>
                    </a:lnTo>
                    <a:lnTo>
                      <a:pt x="377" y="159"/>
                    </a:lnTo>
                    <a:lnTo>
                      <a:pt x="377" y="160"/>
                    </a:lnTo>
                    <a:lnTo>
                      <a:pt x="379" y="160"/>
                    </a:lnTo>
                    <a:lnTo>
                      <a:pt x="381" y="160"/>
                    </a:lnTo>
                    <a:lnTo>
                      <a:pt x="381" y="159"/>
                    </a:lnTo>
                    <a:lnTo>
                      <a:pt x="382" y="157"/>
                    </a:lnTo>
                    <a:lnTo>
                      <a:pt x="381" y="156"/>
                    </a:lnTo>
                    <a:lnTo>
                      <a:pt x="381" y="154"/>
                    </a:lnTo>
                    <a:lnTo>
                      <a:pt x="379" y="153"/>
                    </a:lnTo>
                    <a:lnTo>
                      <a:pt x="377" y="153"/>
                    </a:lnTo>
                    <a:lnTo>
                      <a:pt x="377" y="151"/>
                    </a:lnTo>
                    <a:lnTo>
                      <a:pt x="376" y="149"/>
                    </a:lnTo>
                    <a:lnTo>
                      <a:pt x="374" y="149"/>
                    </a:lnTo>
                    <a:lnTo>
                      <a:pt x="373" y="149"/>
                    </a:lnTo>
                    <a:lnTo>
                      <a:pt x="371" y="149"/>
                    </a:lnTo>
                    <a:lnTo>
                      <a:pt x="369" y="149"/>
                    </a:lnTo>
                    <a:lnTo>
                      <a:pt x="368" y="149"/>
                    </a:lnTo>
                    <a:lnTo>
                      <a:pt x="366" y="148"/>
                    </a:lnTo>
                    <a:lnTo>
                      <a:pt x="366" y="146"/>
                    </a:lnTo>
                    <a:lnTo>
                      <a:pt x="366" y="145"/>
                    </a:lnTo>
                    <a:lnTo>
                      <a:pt x="366" y="143"/>
                    </a:lnTo>
                    <a:lnTo>
                      <a:pt x="368" y="143"/>
                    </a:lnTo>
                    <a:lnTo>
                      <a:pt x="368" y="141"/>
                    </a:lnTo>
                    <a:lnTo>
                      <a:pt x="368" y="140"/>
                    </a:lnTo>
                    <a:lnTo>
                      <a:pt x="368" y="138"/>
                    </a:lnTo>
                    <a:lnTo>
                      <a:pt x="366" y="138"/>
                    </a:lnTo>
                    <a:lnTo>
                      <a:pt x="366" y="137"/>
                    </a:lnTo>
                    <a:lnTo>
                      <a:pt x="366" y="135"/>
                    </a:lnTo>
                    <a:lnTo>
                      <a:pt x="368" y="135"/>
                    </a:lnTo>
                    <a:lnTo>
                      <a:pt x="369" y="135"/>
                    </a:lnTo>
                    <a:lnTo>
                      <a:pt x="371" y="135"/>
                    </a:lnTo>
                    <a:lnTo>
                      <a:pt x="371" y="137"/>
                    </a:lnTo>
                    <a:lnTo>
                      <a:pt x="373" y="137"/>
                    </a:lnTo>
                    <a:lnTo>
                      <a:pt x="373" y="135"/>
                    </a:lnTo>
                    <a:lnTo>
                      <a:pt x="373" y="134"/>
                    </a:lnTo>
                    <a:lnTo>
                      <a:pt x="371" y="134"/>
                    </a:lnTo>
                    <a:lnTo>
                      <a:pt x="371" y="132"/>
                    </a:lnTo>
                    <a:lnTo>
                      <a:pt x="369" y="130"/>
                    </a:lnTo>
                    <a:lnTo>
                      <a:pt x="369" y="129"/>
                    </a:lnTo>
                    <a:lnTo>
                      <a:pt x="368" y="129"/>
                    </a:lnTo>
                    <a:lnTo>
                      <a:pt x="368" y="127"/>
                    </a:lnTo>
                    <a:lnTo>
                      <a:pt x="368" y="126"/>
                    </a:lnTo>
                    <a:lnTo>
                      <a:pt x="368" y="124"/>
                    </a:lnTo>
                    <a:lnTo>
                      <a:pt x="368" y="122"/>
                    </a:lnTo>
                    <a:lnTo>
                      <a:pt x="368" y="121"/>
                    </a:lnTo>
                    <a:lnTo>
                      <a:pt x="366" y="121"/>
                    </a:lnTo>
                    <a:lnTo>
                      <a:pt x="368" y="121"/>
                    </a:lnTo>
                    <a:lnTo>
                      <a:pt x="366" y="121"/>
                    </a:lnTo>
                    <a:lnTo>
                      <a:pt x="366" y="119"/>
                    </a:lnTo>
                    <a:lnTo>
                      <a:pt x="368" y="119"/>
                    </a:lnTo>
                    <a:lnTo>
                      <a:pt x="366" y="118"/>
                    </a:lnTo>
                    <a:lnTo>
                      <a:pt x="366" y="116"/>
                    </a:lnTo>
                    <a:lnTo>
                      <a:pt x="366" y="110"/>
                    </a:lnTo>
                    <a:lnTo>
                      <a:pt x="368" y="108"/>
                    </a:lnTo>
                    <a:lnTo>
                      <a:pt x="368" y="107"/>
                    </a:lnTo>
                    <a:lnTo>
                      <a:pt x="368" y="105"/>
                    </a:lnTo>
                    <a:lnTo>
                      <a:pt x="366" y="105"/>
                    </a:lnTo>
                    <a:lnTo>
                      <a:pt x="366" y="103"/>
                    </a:lnTo>
                    <a:lnTo>
                      <a:pt x="368" y="103"/>
                    </a:lnTo>
                    <a:lnTo>
                      <a:pt x="366" y="100"/>
                    </a:lnTo>
                    <a:lnTo>
                      <a:pt x="368" y="97"/>
                    </a:lnTo>
                    <a:lnTo>
                      <a:pt x="366" y="92"/>
                    </a:lnTo>
                    <a:lnTo>
                      <a:pt x="366" y="88"/>
                    </a:lnTo>
                    <a:lnTo>
                      <a:pt x="371" y="86"/>
                    </a:lnTo>
                    <a:lnTo>
                      <a:pt x="371" y="84"/>
                    </a:lnTo>
                    <a:lnTo>
                      <a:pt x="371" y="83"/>
                    </a:lnTo>
                    <a:lnTo>
                      <a:pt x="371" y="80"/>
                    </a:lnTo>
                    <a:lnTo>
                      <a:pt x="371" y="78"/>
                    </a:lnTo>
                    <a:lnTo>
                      <a:pt x="373" y="78"/>
                    </a:lnTo>
                    <a:lnTo>
                      <a:pt x="373" y="80"/>
                    </a:lnTo>
                    <a:lnTo>
                      <a:pt x="374" y="80"/>
                    </a:lnTo>
                    <a:lnTo>
                      <a:pt x="374" y="81"/>
                    </a:lnTo>
                    <a:lnTo>
                      <a:pt x="376" y="81"/>
                    </a:lnTo>
                    <a:lnTo>
                      <a:pt x="377" y="81"/>
                    </a:lnTo>
                    <a:lnTo>
                      <a:pt x="377" y="83"/>
                    </a:lnTo>
                    <a:lnTo>
                      <a:pt x="381" y="81"/>
                    </a:lnTo>
                    <a:lnTo>
                      <a:pt x="387" y="81"/>
                    </a:lnTo>
                    <a:lnTo>
                      <a:pt x="390" y="81"/>
                    </a:lnTo>
                    <a:lnTo>
                      <a:pt x="390" y="80"/>
                    </a:lnTo>
                    <a:lnTo>
                      <a:pt x="392" y="80"/>
                    </a:lnTo>
                    <a:lnTo>
                      <a:pt x="392" y="78"/>
                    </a:lnTo>
                    <a:lnTo>
                      <a:pt x="392" y="77"/>
                    </a:lnTo>
                    <a:lnTo>
                      <a:pt x="393" y="77"/>
                    </a:lnTo>
                    <a:lnTo>
                      <a:pt x="395" y="77"/>
                    </a:lnTo>
                    <a:lnTo>
                      <a:pt x="395" y="75"/>
                    </a:lnTo>
                    <a:lnTo>
                      <a:pt x="396" y="75"/>
                    </a:lnTo>
                    <a:lnTo>
                      <a:pt x="396" y="77"/>
                    </a:lnTo>
                    <a:lnTo>
                      <a:pt x="396" y="75"/>
                    </a:lnTo>
                    <a:lnTo>
                      <a:pt x="398" y="75"/>
                    </a:lnTo>
                    <a:lnTo>
                      <a:pt x="400" y="75"/>
                    </a:lnTo>
                    <a:lnTo>
                      <a:pt x="400" y="73"/>
                    </a:lnTo>
                    <a:lnTo>
                      <a:pt x="401" y="73"/>
                    </a:lnTo>
                    <a:lnTo>
                      <a:pt x="403" y="73"/>
                    </a:lnTo>
                    <a:lnTo>
                      <a:pt x="404" y="73"/>
                    </a:lnTo>
                    <a:lnTo>
                      <a:pt x="404" y="72"/>
                    </a:lnTo>
                    <a:lnTo>
                      <a:pt x="404" y="73"/>
                    </a:lnTo>
                    <a:lnTo>
                      <a:pt x="406" y="73"/>
                    </a:lnTo>
                    <a:lnTo>
                      <a:pt x="407" y="73"/>
                    </a:lnTo>
                    <a:lnTo>
                      <a:pt x="407" y="75"/>
                    </a:lnTo>
                    <a:lnTo>
                      <a:pt x="409" y="73"/>
                    </a:lnTo>
                    <a:lnTo>
                      <a:pt x="409" y="72"/>
                    </a:lnTo>
                    <a:lnTo>
                      <a:pt x="409" y="70"/>
                    </a:lnTo>
                    <a:lnTo>
                      <a:pt x="411" y="70"/>
                    </a:lnTo>
                    <a:lnTo>
                      <a:pt x="412" y="70"/>
                    </a:lnTo>
                    <a:lnTo>
                      <a:pt x="414" y="70"/>
                    </a:lnTo>
                    <a:lnTo>
                      <a:pt x="415" y="70"/>
                    </a:lnTo>
                    <a:lnTo>
                      <a:pt x="417" y="70"/>
                    </a:lnTo>
                    <a:lnTo>
                      <a:pt x="419" y="70"/>
                    </a:lnTo>
                    <a:lnTo>
                      <a:pt x="419" y="72"/>
                    </a:lnTo>
                    <a:lnTo>
                      <a:pt x="420" y="72"/>
                    </a:lnTo>
                    <a:lnTo>
                      <a:pt x="422" y="70"/>
                    </a:lnTo>
                    <a:lnTo>
                      <a:pt x="423" y="70"/>
                    </a:lnTo>
                    <a:lnTo>
                      <a:pt x="423" y="69"/>
                    </a:lnTo>
                    <a:lnTo>
                      <a:pt x="423" y="67"/>
                    </a:lnTo>
                    <a:lnTo>
                      <a:pt x="425" y="67"/>
                    </a:lnTo>
                    <a:lnTo>
                      <a:pt x="425" y="65"/>
                    </a:lnTo>
                    <a:lnTo>
                      <a:pt x="426" y="65"/>
                    </a:lnTo>
                    <a:lnTo>
                      <a:pt x="426" y="64"/>
                    </a:lnTo>
                    <a:lnTo>
                      <a:pt x="428" y="62"/>
                    </a:lnTo>
                    <a:lnTo>
                      <a:pt x="426" y="62"/>
                    </a:lnTo>
                    <a:lnTo>
                      <a:pt x="426" y="61"/>
                    </a:lnTo>
                    <a:lnTo>
                      <a:pt x="426" y="59"/>
                    </a:lnTo>
                    <a:lnTo>
                      <a:pt x="426" y="61"/>
                    </a:lnTo>
                    <a:lnTo>
                      <a:pt x="428" y="61"/>
                    </a:lnTo>
                    <a:lnTo>
                      <a:pt x="428" y="59"/>
                    </a:lnTo>
                    <a:lnTo>
                      <a:pt x="428" y="57"/>
                    </a:lnTo>
                    <a:lnTo>
                      <a:pt x="428" y="56"/>
                    </a:lnTo>
                    <a:lnTo>
                      <a:pt x="428" y="54"/>
                    </a:lnTo>
                    <a:lnTo>
                      <a:pt x="430" y="54"/>
                    </a:lnTo>
                    <a:lnTo>
                      <a:pt x="431" y="54"/>
                    </a:lnTo>
                    <a:lnTo>
                      <a:pt x="433" y="54"/>
                    </a:lnTo>
                    <a:lnTo>
                      <a:pt x="434" y="54"/>
                    </a:lnTo>
                    <a:lnTo>
                      <a:pt x="434" y="53"/>
                    </a:lnTo>
                    <a:lnTo>
                      <a:pt x="434" y="51"/>
                    </a:lnTo>
                    <a:lnTo>
                      <a:pt x="434" y="50"/>
                    </a:lnTo>
                    <a:lnTo>
                      <a:pt x="433" y="50"/>
                    </a:lnTo>
                    <a:lnTo>
                      <a:pt x="433" y="48"/>
                    </a:lnTo>
                    <a:lnTo>
                      <a:pt x="433" y="46"/>
                    </a:lnTo>
                    <a:lnTo>
                      <a:pt x="433" y="45"/>
                    </a:lnTo>
                    <a:lnTo>
                      <a:pt x="431" y="45"/>
                    </a:lnTo>
                    <a:lnTo>
                      <a:pt x="431" y="43"/>
                    </a:lnTo>
                    <a:lnTo>
                      <a:pt x="431" y="42"/>
                    </a:lnTo>
                    <a:lnTo>
                      <a:pt x="433" y="42"/>
                    </a:lnTo>
                    <a:lnTo>
                      <a:pt x="434" y="42"/>
                    </a:lnTo>
                    <a:lnTo>
                      <a:pt x="434" y="40"/>
                    </a:lnTo>
                    <a:lnTo>
                      <a:pt x="436" y="40"/>
                    </a:lnTo>
                    <a:lnTo>
                      <a:pt x="436" y="38"/>
                    </a:lnTo>
                    <a:lnTo>
                      <a:pt x="438" y="38"/>
                    </a:lnTo>
                    <a:lnTo>
                      <a:pt x="439" y="38"/>
                    </a:lnTo>
                    <a:lnTo>
                      <a:pt x="439" y="37"/>
                    </a:lnTo>
                    <a:lnTo>
                      <a:pt x="439" y="35"/>
                    </a:lnTo>
                    <a:lnTo>
                      <a:pt x="439" y="34"/>
                    </a:lnTo>
                    <a:lnTo>
                      <a:pt x="439" y="32"/>
                    </a:lnTo>
                    <a:lnTo>
                      <a:pt x="439" y="31"/>
                    </a:lnTo>
                    <a:lnTo>
                      <a:pt x="441" y="31"/>
                    </a:lnTo>
                    <a:lnTo>
                      <a:pt x="442" y="31"/>
                    </a:lnTo>
                    <a:lnTo>
                      <a:pt x="444" y="31"/>
                    </a:lnTo>
                    <a:lnTo>
                      <a:pt x="445" y="31"/>
                    </a:lnTo>
                    <a:lnTo>
                      <a:pt x="445" y="29"/>
                    </a:lnTo>
                    <a:lnTo>
                      <a:pt x="445" y="27"/>
                    </a:lnTo>
                    <a:lnTo>
                      <a:pt x="447" y="27"/>
                    </a:lnTo>
                    <a:lnTo>
                      <a:pt x="447" y="26"/>
                    </a:lnTo>
                    <a:lnTo>
                      <a:pt x="447" y="24"/>
                    </a:lnTo>
                    <a:lnTo>
                      <a:pt x="447" y="23"/>
                    </a:lnTo>
                    <a:lnTo>
                      <a:pt x="447" y="21"/>
                    </a:lnTo>
                    <a:lnTo>
                      <a:pt x="449" y="21"/>
                    </a:lnTo>
                    <a:lnTo>
                      <a:pt x="449" y="19"/>
                    </a:lnTo>
                    <a:lnTo>
                      <a:pt x="450" y="19"/>
                    </a:lnTo>
                    <a:lnTo>
                      <a:pt x="452" y="19"/>
                    </a:lnTo>
                    <a:lnTo>
                      <a:pt x="452" y="18"/>
                    </a:lnTo>
                    <a:lnTo>
                      <a:pt x="453" y="18"/>
                    </a:lnTo>
                    <a:lnTo>
                      <a:pt x="453" y="16"/>
                    </a:lnTo>
                    <a:lnTo>
                      <a:pt x="455" y="16"/>
                    </a:lnTo>
                    <a:lnTo>
                      <a:pt x="455" y="15"/>
                    </a:lnTo>
                    <a:lnTo>
                      <a:pt x="457" y="15"/>
                    </a:lnTo>
                    <a:lnTo>
                      <a:pt x="457" y="13"/>
                    </a:lnTo>
                    <a:lnTo>
                      <a:pt x="458" y="13"/>
                    </a:lnTo>
                    <a:lnTo>
                      <a:pt x="458" y="12"/>
                    </a:lnTo>
                    <a:lnTo>
                      <a:pt x="458" y="10"/>
                    </a:lnTo>
                    <a:lnTo>
                      <a:pt x="460" y="10"/>
                    </a:lnTo>
                    <a:lnTo>
                      <a:pt x="460" y="8"/>
                    </a:lnTo>
                    <a:lnTo>
                      <a:pt x="461" y="8"/>
                    </a:lnTo>
                    <a:lnTo>
                      <a:pt x="461" y="7"/>
                    </a:lnTo>
                    <a:lnTo>
                      <a:pt x="463" y="7"/>
                    </a:lnTo>
                    <a:lnTo>
                      <a:pt x="463" y="5"/>
                    </a:lnTo>
                    <a:lnTo>
                      <a:pt x="464" y="5"/>
                    </a:lnTo>
                    <a:lnTo>
                      <a:pt x="464" y="4"/>
                    </a:lnTo>
                    <a:lnTo>
                      <a:pt x="466" y="4"/>
                    </a:lnTo>
                    <a:lnTo>
                      <a:pt x="466" y="2"/>
                    </a:lnTo>
                    <a:lnTo>
                      <a:pt x="468" y="2"/>
                    </a:lnTo>
                    <a:lnTo>
                      <a:pt x="468" y="0"/>
                    </a:lnTo>
                    <a:lnTo>
                      <a:pt x="469"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60" name="Freeform 58"/>
              <p:cNvSpPr>
                <a:spLocks/>
              </p:cNvSpPr>
              <p:nvPr/>
            </p:nvSpPr>
            <p:spPr bwMode="auto">
              <a:xfrm>
                <a:off x="2453" y="1963"/>
                <a:ext cx="656" cy="160"/>
              </a:xfrm>
              <a:custGeom>
                <a:avLst/>
                <a:gdLst>
                  <a:gd name="T0" fmla="*/ 13 w 656"/>
                  <a:gd name="T1" fmla="*/ 16 h 160"/>
                  <a:gd name="T2" fmla="*/ 27 w 656"/>
                  <a:gd name="T3" fmla="*/ 16 h 160"/>
                  <a:gd name="T4" fmla="*/ 24 w 656"/>
                  <a:gd name="T5" fmla="*/ 28 h 160"/>
                  <a:gd name="T6" fmla="*/ 19 w 656"/>
                  <a:gd name="T7" fmla="*/ 39 h 160"/>
                  <a:gd name="T8" fmla="*/ 24 w 656"/>
                  <a:gd name="T9" fmla="*/ 51 h 160"/>
                  <a:gd name="T10" fmla="*/ 43 w 656"/>
                  <a:gd name="T11" fmla="*/ 52 h 160"/>
                  <a:gd name="T12" fmla="*/ 49 w 656"/>
                  <a:gd name="T13" fmla="*/ 38 h 160"/>
                  <a:gd name="T14" fmla="*/ 64 w 656"/>
                  <a:gd name="T15" fmla="*/ 32 h 160"/>
                  <a:gd name="T16" fmla="*/ 73 w 656"/>
                  <a:gd name="T17" fmla="*/ 22 h 160"/>
                  <a:gd name="T18" fmla="*/ 89 w 656"/>
                  <a:gd name="T19" fmla="*/ 28 h 160"/>
                  <a:gd name="T20" fmla="*/ 103 w 656"/>
                  <a:gd name="T21" fmla="*/ 36 h 160"/>
                  <a:gd name="T22" fmla="*/ 113 w 656"/>
                  <a:gd name="T23" fmla="*/ 47 h 160"/>
                  <a:gd name="T24" fmla="*/ 124 w 656"/>
                  <a:gd name="T25" fmla="*/ 52 h 160"/>
                  <a:gd name="T26" fmla="*/ 133 w 656"/>
                  <a:gd name="T27" fmla="*/ 52 h 160"/>
                  <a:gd name="T28" fmla="*/ 146 w 656"/>
                  <a:gd name="T29" fmla="*/ 44 h 160"/>
                  <a:gd name="T30" fmla="*/ 149 w 656"/>
                  <a:gd name="T31" fmla="*/ 55 h 160"/>
                  <a:gd name="T32" fmla="*/ 159 w 656"/>
                  <a:gd name="T33" fmla="*/ 47 h 160"/>
                  <a:gd name="T34" fmla="*/ 163 w 656"/>
                  <a:gd name="T35" fmla="*/ 36 h 160"/>
                  <a:gd name="T36" fmla="*/ 173 w 656"/>
                  <a:gd name="T37" fmla="*/ 32 h 160"/>
                  <a:gd name="T38" fmla="*/ 186 w 656"/>
                  <a:gd name="T39" fmla="*/ 39 h 160"/>
                  <a:gd name="T40" fmla="*/ 206 w 656"/>
                  <a:gd name="T41" fmla="*/ 41 h 160"/>
                  <a:gd name="T42" fmla="*/ 209 w 656"/>
                  <a:gd name="T43" fmla="*/ 57 h 160"/>
                  <a:gd name="T44" fmla="*/ 208 w 656"/>
                  <a:gd name="T45" fmla="*/ 70 h 160"/>
                  <a:gd name="T46" fmla="*/ 214 w 656"/>
                  <a:gd name="T47" fmla="*/ 85 h 160"/>
                  <a:gd name="T48" fmla="*/ 231 w 656"/>
                  <a:gd name="T49" fmla="*/ 90 h 160"/>
                  <a:gd name="T50" fmla="*/ 241 w 656"/>
                  <a:gd name="T51" fmla="*/ 101 h 160"/>
                  <a:gd name="T52" fmla="*/ 254 w 656"/>
                  <a:gd name="T53" fmla="*/ 111 h 160"/>
                  <a:gd name="T54" fmla="*/ 265 w 656"/>
                  <a:gd name="T55" fmla="*/ 100 h 160"/>
                  <a:gd name="T56" fmla="*/ 281 w 656"/>
                  <a:gd name="T57" fmla="*/ 106 h 160"/>
                  <a:gd name="T58" fmla="*/ 298 w 656"/>
                  <a:gd name="T59" fmla="*/ 112 h 160"/>
                  <a:gd name="T60" fmla="*/ 314 w 656"/>
                  <a:gd name="T61" fmla="*/ 119 h 160"/>
                  <a:gd name="T62" fmla="*/ 325 w 656"/>
                  <a:gd name="T63" fmla="*/ 130 h 160"/>
                  <a:gd name="T64" fmla="*/ 334 w 656"/>
                  <a:gd name="T65" fmla="*/ 142 h 160"/>
                  <a:gd name="T66" fmla="*/ 347 w 656"/>
                  <a:gd name="T67" fmla="*/ 152 h 160"/>
                  <a:gd name="T68" fmla="*/ 357 w 656"/>
                  <a:gd name="T69" fmla="*/ 160 h 160"/>
                  <a:gd name="T70" fmla="*/ 372 w 656"/>
                  <a:gd name="T71" fmla="*/ 157 h 160"/>
                  <a:gd name="T72" fmla="*/ 382 w 656"/>
                  <a:gd name="T73" fmla="*/ 154 h 160"/>
                  <a:gd name="T74" fmla="*/ 398 w 656"/>
                  <a:gd name="T75" fmla="*/ 146 h 160"/>
                  <a:gd name="T76" fmla="*/ 407 w 656"/>
                  <a:gd name="T77" fmla="*/ 139 h 160"/>
                  <a:gd name="T78" fmla="*/ 422 w 656"/>
                  <a:gd name="T79" fmla="*/ 135 h 160"/>
                  <a:gd name="T80" fmla="*/ 430 w 656"/>
                  <a:gd name="T81" fmla="*/ 130 h 160"/>
                  <a:gd name="T82" fmla="*/ 445 w 656"/>
                  <a:gd name="T83" fmla="*/ 128 h 160"/>
                  <a:gd name="T84" fmla="*/ 460 w 656"/>
                  <a:gd name="T85" fmla="*/ 122 h 160"/>
                  <a:gd name="T86" fmla="*/ 469 w 656"/>
                  <a:gd name="T87" fmla="*/ 112 h 160"/>
                  <a:gd name="T88" fmla="*/ 480 w 656"/>
                  <a:gd name="T89" fmla="*/ 109 h 160"/>
                  <a:gd name="T90" fmla="*/ 491 w 656"/>
                  <a:gd name="T91" fmla="*/ 103 h 160"/>
                  <a:gd name="T92" fmla="*/ 504 w 656"/>
                  <a:gd name="T93" fmla="*/ 92 h 160"/>
                  <a:gd name="T94" fmla="*/ 515 w 656"/>
                  <a:gd name="T95" fmla="*/ 82 h 160"/>
                  <a:gd name="T96" fmla="*/ 529 w 656"/>
                  <a:gd name="T97" fmla="*/ 87 h 160"/>
                  <a:gd name="T98" fmla="*/ 540 w 656"/>
                  <a:gd name="T99" fmla="*/ 81 h 160"/>
                  <a:gd name="T100" fmla="*/ 545 w 656"/>
                  <a:gd name="T101" fmla="*/ 66 h 160"/>
                  <a:gd name="T102" fmla="*/ 559 w 656"/>
                  <a:gd name="T103" fmla="*/ 71 h 160"/>
                  <a:gd name="T104" fmla="*/ 570 w 656"/>
                  <a:gd name="T105" fmla="*/ 62 h 160"/>
                  <a:gd name="T106" fmla="*/ 570 w 656"/>
                  <a:gd name="T107" fmla="*/ 47 h 160"/>
                  <a:gd name="T108" fmla="*/ 580 w 656"/>
                  <a:gd name="T109" fmla="*/ 36 h 160"/>
                  <a:gd name="T110" fmla="*/ 583 w 656"/>
                  <a:gd name="T111" fmla="*/ 25 h 160"/>
                  <a:gd name="T112" fmla="*/ 586 w 656"/>
                  <a:gd name="T113" fmla="*/ 11 h 160"/>
                  <a:gd name="T114" fmla="*/ 596 w 656"/>
                  <a:gd name="T115" fmla="*/ 6 h 160"/>
                  <a:gd name="T116" fmla="*/ 615 w 656"/>
                  <a:gd name="T117" fmla="*/ 3 h 160"/>
                  <a:gd name="T118" fmla="*/ 632 w 656"/>
                  <a:gd name="T119" fmla="*/ 1 h 160"/>
                  <a:gd name="T120" fmla="*/ 645 w 656"/>
                  <a:gd name="T121" fmla="*/ 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56" h="160">
                    <a:moveTo>
                      <a:pt x="0" y="20"/>
                    </a:moveTo>
                    <a:lnTo>
                      <a:pt x="0" y="19"/>
                    </a:lnTo>
                    <a:lnTo>
                      <a:pt x="2" y="19"/>
                    </a:lnTo>
                    <a:lnTo>
                      <a:pt x="2" y="17"/>
                    </a:lnTo>
                    <a:lnTo>
                      <a:pt x="3" y="17"/>
                    </a:lnTo>
                    <a:lnTo>
                      <a:pt x="5" y="16"/>
                    </a:lnTo>
                    <a:lnTo>
                      <a:pt x="7" y="16"/>
                    </a:lnTo>
                    <a:lnTo>
                      <a:pt x="7" y="14"/>
                    </a:lnTo>
                    <a:lnTo>
                      <a:pt x="8" y="14"/>
                    </a:lnTo>
                    <a:lnTo>
                      <a:pt x="10" y="14"/>
                    </a:lnTo>
                    <a:lnTo>
                      <a:pt x="11" y="14"/>
                    </a:lnTo>
                    <a:lnTo>
                      <a:pt x="13" y="14"/>
                    </a:lnTo>
                    <a:lnTo>
                      <a:pt x="13" y="16"/>
                    </a:lnTo>
                    <a:lnTo>
                      <a:pt x="14" y="16"/>
                    </a:lnTo>
                    <a:lnTo>
                      <a:pt x="16" y="16"/>
                    </a:lnTo>
                    <a:lnTo>
                      <a:pt x="18" y="16"/>
                    </a:lnTo>
                    <a:lnTo>
                      <a:pt x="19" y="16"/>
                    </a:lnTo>
                    <a:lnTo>
                      <a:pt x="21" y="16"/>
                    </a:lnTo>
                    <a:lnTo>
                      <a:pt x="21" y="14"/>
                    </a:lnTo>
                    <a:lnTo>
                      <a:pt x="22" y="14"/>
                    </a:lnTo>
                    <a:lnTo>
                      <a:pt x="24" y="14"/>
                    </a:lnTo>
                    <a:lnTo>
                      <a:pt x="26" y="14"/>
                    </a:lnTo>
                    <a:lnTo>
                      <a:pt x="27" y="14"/>
                    </a:lnTo>
                    <a:lnTo>
                      <a:pt x="26" y="14"/>
                    </a:lnTo>
                    <a:lnTo>
                      <a:pt x="26" y="16"/>
                    </a:lnTo>
                    <a:lnTo>
                      <a:pt x="27" y="16"/>
                    </a:lnTo>
                    <a:lnTo>
                      <a:pt x="27" y="17"/>
                    </a:lnTo>
                    <a:lnTo>
                      <a:pt x="27" y="19"/>
                    </a:lnTo>
                    <a:lnTo>
                      <a:pt x="26" y="20"/>
                    </a:lnTo>
                    <a:lnTo>
                      <a:pt x="26" y="22"/>
                    </a:lnTo>
                    <a:lnTo>
                      <a:pt x="27" y="22"/>
                    </a:lnTo>
                    <a:lnTo>
                      <a:pt x="26" y="22"/>
                    </a:lnTo>
                    <a:lnTo>
                      <a:pt x="27" y="24"/>
                    </a:lnTo>
                    <a:lnTo>
                      <a:pt x="27" y="25"/>
                    </a:lnTo>
                    <a:lnTo>
                      <a:pt x="27" y="27"/>
                    </a:lnTo>
                    <a:lnTo>
                      <a:pt x="26" y="25"/>
                    </a:lnTo>
                    <a:lnTo>
                      <a:pt x="26" y="27"/>
                    </a:lnTo>
                    <a:lnTo>
                      <a:pt x="24" y="27"/>
                    </a:lnTo>
                    <a:lnTo>
                      <a:pt x="24" y="28"/>
                    </a:lnTo>
                    <a:lnTo>
                      <a:pt x="22" y="28"/>
                    </a:lnTo>
                    <a:lnTo>
                      <a:pt x="24" y="28"/>
                    </a:lnTo>
                    <a:lnTo>
                      <a:pt x="24" y="30"/>
                    </a:lnTo>
                    <a:lnTo>
                      <a:pt x="24" y="32"/>
                    </a:lnTo>
                    <a:lnTo>
                      <a:pt x="22" y="32"/>
                    </a:lnTo>
                    <a:lnTo>
                      <a:pt x="22" y="33"/>
                    </a:lnTo>
                    <a:lnTo>
                      <a:pt x="21" y="33"/>
                    </a:lnTo>
                    <a:lnTo>
                      <a:pt x="22" y="33"/>
                    </a:lnTo>
                    <a:lnTo>
                      <a:pt x="21" y="35"/>
                    </a:lnTo>
                    <a:lnTo>
                      <a:pt x="21" y="36"/>
                    </a:lnTo>
                    <a:lnTo>
                      <a:pt x="19" y="36"/>
                    </a:lnTo>
                    <a:lnTo>
                      <a:pt x="19" y="38"/>
                    </a:lnTo>
                    <a:lnTo>
                      <a:pt x="19" y="39"/>
                    </a:lnTo>
                    <a:lnTo>
                      <a:pt x="21" y="41"/>
                    </a:lnTo>
                    <a:lnTo>
                      <a:pt x="21" y="43"/>
                    </a:lnTo>
                    <a:lnTo>
                      <a:pt x="21" y="44"/>
                    </a:lnTo>
                    <a:lnTo>
                      <a:pt x="21" y="46"/>
                    </a:lnTo>
                    <a:lnTo>
                      <a:pt x="19" y="46"/>
                    </a:lnTo>
                    <a:lnTo>
                      <a:pt x="19" y="47"/>
                    </a:lnTo>
                    <a:lnTo>
                      <a:pt x="19" y="49"/>
                    </a:lnTo>
                    <a:lnTo>
                      <a:pt x="19" y="47"/>
                    </a:lnTo>
                    <a:lnTo>
                      <a:pt x="19" y="49"/>
                    </a:lnTo>
                    <a:lnTo>
                      <a:pt x="21" y="49"/>
                    </a:lnTo>
                    <a:lnTo>
                      <a:pt x="22" y="49"/>
                    </a:lnTo>
                    <a:lnTo>
                      <a:pt x="24" y="49"/>
                    </a:lnTo>
                    <a:lnTo>
                      <a:pt x="24" y="51"/>
                    </a:lnTo>
                    <a:lnTo>
                      <a:pt x="26" y="51"/>
                    </a:lnTo>
                    <a:lnTo>
                      <a:pt x="26" y="52"/>
                    </a:lnTo>
                    <a:lnTo>
                      <a:pt x="27" y="52"/>
                    </a:lnTo>
                    <a:lnTo>
                      <a:pt x="29" y="52"/>
                    </a:lnTo>
                    <a:lnTo>
                      <a:pt x="30" y="54"/>
                    </a:lnTo>
                    <a:lnTo>
                      <a:pt x="32" y="54"/>
                    </a:lnTo>
                    <a:lnTo>
                      <a:pt x="33" y="54"/>
                    </a:lnTo>
                    <a:lnTo>
                      <a:pt x="35" y="54"/>
                    </a:lnTo>
                    <a:lnTo>
                      <a:pt x="37" y="52"/>
                    </a:lnTo>
                    <a:lnTo>
                      <a:pt x="38" y="52"/>
                    </a:lnTo>
                    <a:lnTo>
                      <a:pt x="40" y="52"/>
                    </a:lnTo>
                    <a:lnTo>
                      <a:pt x="41" y="52"/>
                    </a:lnTo>
                    <a:lnTo>
                      <a:pt x="43" y="52"/>
                    </a:lnTo>
                    <a:lnTo>
                      <a:pt x="45" y="52"/>
                    </a:lnTo>
                    <a:lnTo>
                      <a:pt x="45" y="51"/>
                    </a:lnTo>
                    <a:lnTo>
                      <a:pt x="46" y="51"/>
                    </a:lnTo>
                    <a:lnTo>
                      <a:pt x="46" y="49"/>
                    </a:lnTo>
                    <a:lnTo>
                      <a:pt x="46" y="47"/>
                    </a:lnTo>
                    <a:lnTo>
                      <a:pt x="46" y="46"/>
                    </a:lnTo>
                    <a:lnTo>
                      <a:pt x="46" y="44"/>
                    </a:lnTo>
                    <a:lnTo>
                      <a:pt x="46" y="43"/>
                    </a:lnTo>
                    <a:lnTo>
                      <a:pt x="46" y="41"/>
                    </a:lnTo>
                    <a:lnTo>
                      <a:pt x="46" y="39"/>
                    </a:lnTo>
                    <a:lnTo>
                      <a:pt x="48" y="39"/>
                    </a:lnTo>
                    <a:lnTo>
                      <a:pt x="48" y="38"/>
                    </a:lnTo>
                    <a:lnTo>
                      <a:pt x="49" y="38"/>
                    </a:lnTo>
                    <a:lnTo>
                      <a:pt x="51" y="38"/>
                    </a:lnTo>
                    <a:lnTo>
                      <a:pt x="53" y="38"/>
                    </a:lnTo>
                    <a:lnTo>
                      <a:pt x="53" y="36"/>
                    </a:lnTo>
                    <a:lnTo>
                      <a:pt x="54" y="36"/>
                    </a:lnTo>
                    <a:lnTo>
                      <a:pt x="54" y="35"/>
                    </a:lnTo>
                    <a:lnTo>
                      <a:pt x="56" y="35"/>
                    </a:lnTo>
                    <a:lnTo>
                      <a:pt x="57" y="35"/>
                    </a:lnTo>
                    <a:lnTo>
                      <a:pt x="57" y="33"/>
                    </a:lnTo>
                    <a:lnTo>
                      <a:pt x="59" y="33"/>
                    </a:lnTo>
                    <a:lnTo>
                      <a:pt x="60" y="33"/>
                    </a:lnTo>
                    <a:lnTo>
                      <a:pt x="60" y="32"/>
                    </a:lnTo>
                    <a:lnTo>
                      <a:pt x="62" y="32"/>
                    </a:lnTo>
                    <a:lnTo>
                      <a:pt x="64" y="32"/>
                    </a:lnTo>
                    <a:lnTo>
                      <a:pt x="64" y="30"/>
                    </a:lnTo>
                    <a:lnTo>
                      <a:pt x="65" y="30"/>
                    </a:lnTo>
                    <a:lnTo>
                      <a:pt x="67" y="30"/>
                    </a:lnTo>
                    <a:lnTo>
                      <a:pt x="67" y="28"/>
                    </a:lnTo>
                    <a:lnTo>
                      <a:pt x="68" y="28"/>
                    </a:lnTo>
                    <a:lnTo>
                      <a:pt x="70" y="28"/>
                    </a:lnTo>
                    <a:lnTo>
                      <a:pt x="68" y="27"/>
                    </a:lnTo>
                    <a:lnTo>
                      <a:pt x="68" y="25"/>
                    </a:lnTo>
                    <a:lnTo>
                      <a:pt x="70" y="25"/>
                    </a:lnTo>
                    <a:lnTo>
                      <a:pt x="70" y="24"/>
                    </a:lnTo>
                    <a:lnTo>
                      <a:pt x="72" y="24"/>
                    </a:lnTo>
                    <a:lnTo>
                      <a:pt x="73" y="24"/>
                    </a:lnTo>
                    <a:lnTo>
                      <a:pt x="73" y="22"/>
                    </a:lnTo>
                    <a:lnTo>
                      <a:pt x="75" y="22"/>
                    </a:lnTo>
                    <a:lnTo>
                      <a:pt x="76" y="22"/>
                    </a:lnTo>
                    <a:lnTo>
                      <a:pt x="78" y="22"/>
                    </a:lnTo>
                    <a:lnTo>
                      <a:pt x="79" y="22"/>
                    </a:lnTo>
                    <a:lnTo>
                      <a:pt x="81" y="22"/>
                    </a:lnTo>
                    <a:lnTo>
                      <a:pt x="83" y="22"/>
                    </a:lnTo>
                    <a:lnTo>
                      <a:pt x="83" y="24"/>
                    </a:lnTo>
                    <a:lnTo>
                      <a:pt x="84" y="24"/>
                    </a:lnTo>
                    <a:lnTo>
                      <a:pt x="84" y="25"/>
                    </a:lnTo>
                    <a:lnTo>
                      <a:pt x="86" y="25"/>
                    </a:lnTo>
                    <a:lnTo>
                      <a:pt x="86" y="27"/>
                    </a:lnTo>
                    <a:lnTo>
                      <a:pt x="87" y="27"/>
                    </a:lnTo>
                    <a:lnTo>
                      <a:pt x="89" y="28"/>
                    </a:lnTo>
                    <a:lnTo>
                      <a:pt x="91" y="28"/>
                    </a:lnTo>
                    <a:lnTo>
                      <a:pt x="91" y="30"/>
                    </a:lnTo>
                    <a:lnTo>
                      <a:pt x="92" y="30"/>
                    </a:lnTo>
                    <a:lnTo>
                      <a:pt x="94" y="32"/>
                    </a:lnTo>
                    <a:lnTo>
                      <a:pt x="95" y="32"/>
                    </a:lnTo>
                    <a:lnTo>
                      <a:pt x="97" y="32"/>
                    </a:lnTo>
                    <a:lnTo>
                      <a:pt x="97" y="33"/>
                    </a:lnTo>
                    <a:lnTo>
                      <a:pt x="98" y="33"/>
                    </a:lnTo>
                    <a:lnTo>
                      <a:pt x="100" y="33"/>
                    </a:lnTo>
                    <a:lnTo>
                      <a:pt x="100" y="35"/>
                    </a:lnTo>
                    <a:lnTo>
                      <a:pt x="102" y="35"/>
                    </a:lnTo>
                    <a:lnTo>
                      <a:pt x="103" y="35"/>
                    </a:lnTo>
                    <a:lnTo>
                      <a:pt x="103" y="36"/>
                    </a:lnTo>
                    <a:lnTo>
                      <a:pt x="105" y="36"/>
                    </a:lnTo>
                    <a:lnTo>
                      <a:pt x="106" y="36"/>
                    </a:lnTo>
                    <a:lnTo>
                      <a:pt x="106" y="38"/>
                    </a:lnTo>
                    <a:lnTo>
                      <a:pt x="108" y="38"/>
                    </a:lnTo>
                    <a:lnTo>
                      <a:pt x="110" y="39"/>
                    </a:lnTo>
                    <a:lnTo>
                      <a:pt x="111" y="39"/>
                    </a:lnTo>
                    <a:lnTo>
                      <a:pt x="113" y="39"/>
                    </a:lnTo>
                    <a:lnTo>
                      <a:pt x="114" y="41"/>
                    </a:lnTo>
                    <a:lnTo>
                      <a:pt x="114" y="43"/>
                    </a:lnTo>
                    <a:lnTo>
                      <a:pt x="114" y="44"/>
                    </a:lnTo>
                    <a:lnTo>
                      <a:pt x="114" y="46"/>
                    </a:lnTo>
                    <a:lnTo>
                      <a:pt x="114" y="47"/>
                    </a:lnTo>
                    <a:lnTo>
                      <a:pt x="113" y="47"/>
                    </a:lnTo>
                    <a:lnTo>
                      <a:pt x="113" y="49"/>
                    </a:lnTo>
                    <a:lnTo>
                      <a:pt x="113" y="51"/>
                    </a:lnTo>
                    <a:lnTo>
                      <a:pt x="113" y="52"/>
                    </a:lnTo>
                    <a:lnTo>
                      <a:pt x="114" y="52"/>
                    </a:lnTo>
                    <a:lnTo>
                      <a:pt x="116" y="52"/>
                    </a:lnTo>
                    <a:lnTo>
                      <a:pt x="116" y="54"/>
                    </a:lnTo>
                    <a:lnTo>
                      <a:pt x="117" y="54"/>
                    </a:lnTo>
                    <a:lnTo>
                      <a:pt x="119" y="54"/>
                    </a:lnTo>
                    <a:lnTo>
                      <a:pt x="119" y="52"/>
                    </a:lnTo>
                    <a:lnTo>
                      <a:pt x="121" y="52"/>
                    </a:lnTo>
                    <a:lnTo>
                      <a:pt x="121" y="54"/>
                    </a:lnTo>
                    <a:lnTo>
                      <a:pt x="122" y="52"/>
                    </a:lnTo>
                    <a:lnTo>
                      <a:pt x="124" y="52"/>
                    </a:lnTo>
                    <a:lnTo>
                      <a:pt x="125" y="52"/>
                    </a:lnTo>
                    <a:lnTo>
                      <a:pt x="127" y="52"/>
                    </a:lnTo>
                    <a:lnTo>
                      <a:pt x="127" y="51"/>
                    </a:lnTo>
                    <a:lnTo>
                      <a:pt x="129" y="51"/>
                    </a:lnTo>
                    <a:lnTo>
                      <a:pt x="129" y="49"/>
                    </a:lnTo>
                    <a:lnTo>
                      <a:pt x="130" y="49"/>
                    </a:lnTo>
                    <a:lnTo>
                      <a:pt x="130" y="47"/>
                    </a:lnTo>
                    <a:lnTo>
                      <a:pt x="132" y="47"/>
                    </a:lnTo>
                    <a:lnTo>
                      <a:pt x="132" y="49"/>
                    </a:lnTo>
                    <a:lnTo>
                      <a:pt x="132" y="51"/>
                    </a:lnTo>
                    <a:lnTo>
                      <a:pt x="133" y="52"/>
                    </a:lnTo>
                    <a:lnTo>
                      <a:pt x="132" y="52"/>
                    </a:lnTo>
                    <a:lnTo>
                      <a:pt x="133" y="52"/>
                    </a:lnTo>
                    <a:lnTo>
                      <a:pt x="133" y="51"/>
                    </a:lnTo>
                    <a:lnTo>
                      <a:pt x="135" y="51"/>
                    </a:lnTo>
                    <a:lnTo>
                      <a:pt x="135" y="49"/>
                    </a:lnTo>
                    <a:lnTo>
                      <a:pt x="135" y="47"/>
                    </a:lnTo>
                    <a:lnTo>
                      <a:pt x="136" y="47"/>
                    </a:lnTo>
                    <a:lnTo>
                      <a:pt x="136" y="46"/>
                    </a:lnTo>
                    <a:lnTo>
                      <a:pt x="138" y="46"/>
                    </a:lnTo>
                    <a:lnTo>
                      <a:pt x="140" y="46"/>
                    </a:lnTo>
                    <a:lnTo>
                      <a:pt x="140" y="44"/>
                    </a:lnTo>
                    <a:lnTo>
                      <a:pt x="141" y="44"/>
                    </a:lnTo>
                    <a:lnTo>
                      <a:pt x="143" y="44"/>
                    </a:lnTo>
                    <a:lnTo>
                      <a:pt x="144" y="44"/>
                    </a:lnTo>
                    <a:lnTo>
                      <a:pt x="146" y="44"/>
                    </a:lnTo>
                    <a:lnTo>
                      <a:pt x="146" y="46"/>
                    </a:lnTo>
                    <a:lnTo>
                      <a:pt x="144" y="46"/>
                    </a:lnTo>
                    <a:lnTo>
                      <a:pt x="146" y="46"/>
                    </a:lnTo>
                    <a:lnTo>
                      <a:pt x="146" y="47"/>
                    </a:lnTo>
                    <a:lnTo>
                      <a:pt x="146" y="49"/>
                    </a:lnTo>
                    <a:lnTo>
                      <a:pt x="146" y="51"/>
                    </a:lnTo>
                    <a:lnTo>
                      <a:pt x="148" y="51"/>
                    </a:lnTo>
                    <a:lnTo>
                      <a:pt x="148" y="52"/>
                    </a:lnTo>
                    <a:lnTo>
                      <a:pt x="148" y="54"/>
                    </a:lnTo>
                    <a:lnTo>
                      <a:pt x="148" y="55"/>
                    </a:lnTo>
                    <a:lnTo>
                      <a:pt x="148" y="57"/>
                    </a:lnTo>
                    <a:lnTo>
                      <a:pt x="149" y="57"/>
                    </a:lnTo>
                    <a:lnTo>
                      <a:pt x="149" y="55"/>
                    </a:lnTo>
                    <a:lnTo>
                      <a:pt x="151" y="55"/>
                    </a:lnTo>
                    <a:lnTo>
                      <a:pt x="151" y="54"/>
                    </a:lnTo>
                    <a:lnTo>
                      <a:pt x="151" y="55"/>
                    </a:lnTo>
                    <a:lnTo>
                      <a:pt x="152" y="55"/>
                    </a:lnTo>
                    <a:lnTo>
                      <a:pt x="152" y="54"/>
                    </a:lnTo>
                    <a:lnTo>
                      <a:pt x="152" y="52"/>
                    </a:lnTo>
                    <a:lnTo>
                      <a:pt x="154" y="52"/>
                    </a:lnTo>
                    <a:lnTo>
                      <a:pt x="154" y="51"/>
                    </a:lnTo>
                    <a:lnTo>
                      <a:pt x="155" y="51"/>
                    </a:lnTo>
                    <a:lnTo>
                      <a:pt x="157" y="51"/>
                    </a:lnTo>
                    <a:lnTo>
                      <a:pt x="157" y="49"/>
                    </a:lnTo>
                    <a:lnTo>
                      <a:pt x="157" y="47"/>
                    </a:lnTo>
                    <a:lnTo>
                      <a:pt x="159" y="47"/>
                    </a:lnTo>
                    <a:lnTo>
                      <a:pt x="159" y="46"/>
                    </a:lnTo>
                    <a:lnTo>
                      <a:pt x="159" y="44"/>
                    </a:lnTo>
                    <a:lnTo>
                      <a:pt x="159" y="43"/>
                    </a:lnTo>
                    <a:lnTo>
                      <a:pt x="160" y="43"/>
                    </a:lnTo>
                    <a:lnTo>
                      <a:pt x="160" y="44"/>
                    </a:lnTo>
                    <a:lnTo>
                      <a:pt x="160" y="43"/>
                    </a:lnTo>
                    <a:lnTo>
                      <a:pt x="160" y="41"/>
                    </a:lnTo>
                    <a:lnTo>
                      <a:pt x="159" y="41"/>
                    </a:lnTo>
                    <a:lnTo>
                      <a:pt x="159" y="39"/>
                    </a:lnTo>
                    <a:lnTo>
                      <a:pt x="160" y="39"/>
                    </a:lnTo>
                    <a:lnTo>
                      <a:pt x="160" y="38"/>
                    </a:lnTo>
                    <a:lnTo>
                      <a:pt x="162" y="38"/>
                    </a:lnTo>
                    <a:lnTo>
                      <a:pt x="163" y="36"/>
                    </a:lnTo>
                    <a:lnTo>
                      <a:pt x="163" y="35"/>
                    </a:lnTo>
                    <a:lnTo>
                      <a:pt x="163" y="33"/>
                    </a:lnTo>
                    <a:lnTo>
                      <a:pt x="163" y="32"/>
                    </a:lnTo>
                    <a:lnTo>
                      <a:pt x="165" y="32"/>
                    </a:lnTo>
                    <a:lnTo>
                      <a:pt x="163" y="32"/>
                    </a:lnTo>
                    <a:lnTo>
                      <a:pt x="163" y="30"/>
                    </a:lnTo>
                    <a:lnTo>
                      <a:pt x="165" y="30"/>
                    </a:lnTo>
                    <a:lnTo>
                      <a:pt x="167" y="30"/>
                    </a:lnTo>
                    <a:lnTo>
                      <a:pt x="168" y="30"/>
                    </a:lnTo>
                    <a:lnTo>
                      <a:pt x="170" y="30"/>
                    </a:lnTo>
                    <a:lnTo>
                      <a:pt x="171" y="30"/>
                    </a:lnTo>
                    <a:lnTo>
                      <a:pt x="173" y="30"/>
                    </a:lnTo>
                    <a:lnTo>
                      <a:pt x="173" y="32"/>
                    </a:lnTo>
                    <a:lnTo>
                      <a:pt x="174" y="32"/>
                    </a:lnTo>
                    <a:lnTo>
                      <a:pt x="174" y="33"/>
                    </a:lnTo>
                    <a:lnTo>
                      <a:pt x="176" y="33"/>
                    </a:lnTo>
                    <a:lnTo>
                      <a:pt x="176" y="35"/>
                    </a:lnTo>
                    <a:lnTo>
                      <a:pt x="178" y="35"/>
                    </a:lnTo>
                    <a:lnTo>
                      <a:pt x="178" y="36"/>
                    </a:lnTo>
                    <a:lnTo>
                      <a:pt x="179" y="36"/>
                    </a:lnTo>
                    <a:lnTo>
                      <a:pt x="181" y="36"/>
                    </a:lnTo>
                    <a:lnTo>
                      <a:pt x="181" y="38"/>
                    </a:lnTo>
                    <a:lnTo>
                      <a:pt x="182" y="38"/>
                    </a:lnTo>
                    <a:lnTo>
                      <a:pt x="184" y="38"/>
                    </a:lnTo>
                    <a:lnTo>
                      <a:pt x="186" y="38"/>
                    </a:lnTo>
                    <a:lnTo>
                      <a:pt x="186" y="39"/>
                    </a:lnTo>
                    <a:lnTo>
                      <a:pt x="187" y="39"/>
                    </a:lnTo>
                    <a:lnTo>
                      <a:pt x="189" y="39"/>
                    </a:lnTo>
                    <a:lnTo>
                      <a:pt x="190" y="39"/>
                    </a:lnTo>
                    <a:lnTo>
                      <a:pt x="192" y="41"/>
                    </a:lnTo>
                    <a:lnTo>
                      <a:pt x="193" y="41"/>
                    </a:lnTo>
                    <a:lnTo>
                      <a:pt x="195" y="41"/>
                    </a:lnTo>
                    <a:lnTo>
                      <a:pt x="197" y="41"/>
                    </a:lnTo>
                    <a:lnTo>
                      <a:pt x="198" y="41"/>
                    </a:lnTo>
                    <a:lnTo>
                      <a:pt x="200" y="41"/>
                    </a:lnTo>
                    <a:lnTo>
                      <a:pt x="201" y="41"/>
                    </a:lnTo>
                    <a:lnTo>
                      <a:pt x="203" y="41"/>
                    </a:lnTo>
                    <a:lnTo>
                      <a:pt x="205" y="41"/>
                    </a:lnTo>
                    <a:lnTo>
                      <a:pt x="206" y="41"/>
                    </a:lnTo>
                    <a:lnTo>
                      <a:pt x="208" y="43"/>
                    </a:lnTo>
                    <a:lnTo>
                      <a:pt x="209" y="43"/>
                    </a:lnTo>
                    <a:lnTo>
                      <a:pt x="209" y="44"/>
                    </a:lnTo>
                    <a:lnTo>
                      <a:pt x="211" y="44"/>
                    </a:lnTo>
                    <a:lnTo>
                      <a:pt x="212" y="46"/>
                    </a:lnTo>
                    <a:lnTo>
                      <a:pt x="212" y="47"/>
                    </a:lnTo>
                    <a:lnTo>
                      <a:pt x="212" y="49"/>
                    </a:lnTo>
                    <a:lnTo>
                      <a:pt x="212" y="51"/>
                    </a:lnTo>
                    <a:lnTo>
                      <a:pt x="211" y="52"/>
                    </a:lnTo>
                    <a:lnTo>
                      <a:pt x="211" y="54"/>
                    </a:lnTo>
                    <a:lnTo>
                      <a:pt x="209" y="54"/>
                    </a:lnTo>
                    <a:lnTo>
                      <a:pt x="209" y="55"/>
                    </a:lnTo>
                    <a:lnTo>
                      <a:pt x="209" y="57"/>
                    </a:lnTo>
                    <a:lnTo>
                      <a:pt x="208" y="57"/>
                    </a:lnTo>
                    <a:lnTo>
                      <a:pt x="208" y="58"/>
                    </a:lnTo>
                    <a:lnTo>
                      <a:pt x="206" y="58"/>
                    </a:lnTo>
                    <a:lnTo>
                      <a:pt x="206" y="60"/>
                    </a:lnTo>
                    <a:lnTo>
                      <a:pt x="206" y="62"/>
                    </a:lnTo>
                    <a:lnTo>
                      <a:pt x="205" y="62"/>
                    </a:lnTo>
                    <a:lnTo>
                      <a:pt x="203" y="63"/>
                    </a:lnTo>
                    <a:lnTo>
                      <a:pt x="203" y="65"/>
                    </a:lnTo>
                    <a:lnTo>
                      <a:pt x="205" y="66"/>
                    </a:lnTo>
                    <a:lnTo>
                      <a:pt x="205" y="68"/>
                    </a:lnTo>
                    <a:lnTo>
                      <a:pt x="206" y="68"/>
                    </a:lnTo>
                    <a:lnTo>
                      <a:pt x="206" y="70"/>
                    </a:lnTo>
                    <a:lnTo>
                      <a:pt x="208" y="70"/>
                    </a:lnTo>
                    <a:lnTo>
                      <a:pt x="208" y="71"/>
                    </a:lnTo>
                    <a:lnTo>
                      <a:pt x="208" y="73"/>
                    </a:lnTo>
                    <a:lnTo>
                      <a:pt x="208" y="74"/>
                    </a:lnTo>
                    <a:lnTo>
                      <a:pt x="209" y="76"/>
                    </a:lnTo>
                    <a:lnTo>
                      <a:pt x="209" y="77"/>
                    </a:lnTo>
                    <a:lnTo>
                      <a:pt x="209" y="79"/>
                    </a:lnTo>
                    <a:lnTo>
                      <a:pt x="211" y="79"/>
                    </a:lnTo>
                    <a:lnTo>
                      <a:pt x="211" y="81"/>
                    </a:lnTo>
                    <a:lnTo>
                      <a:pt x="211" y="82"/>
                    </a:lnTo>
                    <a:lnTo>
                      <a:pt x="212" y="82"/>
                    </a:lnTo>
                    <a:lnTo>
                      <a:pt x="212" y="84"/>
                    </a:lnTo>
                    <a:lnTo>
                      <a:pt x="214" y="84"/>
                    </a:lnTo>
                    <a:lnTo>
                      <a:pt x="214" y="85"/>
                    </a:lnTo>
                    <a:lnTo>
                      <a:pt x="216" y="85"/>
                    </a:lnTo>
                    <a:lnTo>
                      <a:pt x="216" y="87"/>
                    </a:lnTo>
                    <a:lnTo>
                      <a:pt x="217" y="87"/>
                    </a:lnTo>
                    <a:lnTo>
                      <a:pt x="217" y="89"/>
                    </a:lnTo>
                    <a:lnTo>
                      <a:pt x="219" y="89"/>
                    </a:lnTo>
                    <a:lnTo>
                      <a:pt x="220" y="89"/>
                    </a:lnTo>
                    <a:lnTo>
                      <a:pt x="222" y="90"/>
                    </a:lnTo>
                    <a:lnTo>
                      <a:pt x="224" y="90"/>
                    </a:lnTo>
                    <a:lnTo>
                      <a:pt x="225" y="90"/>
                    </a:lnTo>
                    <a:lnTo>
                      <a:pt x="227" y="90"/>
                    </a:lnTo>
                    <a:lnTo>
                      <a:pt x="228" y="90"/>
                    </a:lnTo>
                    <a:lnTo>
                      <a:pt x="230" y="90"/>
                    </a:lnTo>
                    <a:lnTo>
                      <a:pt x="231" y="90"/>
                    </a:lnTo>
                    <a:lnTo>
                      <a:pt x="233" y="90"/>
                    </a:lnTo>
                    <a:lnTo>
                      <a:pt x="233" y="92"/>
                    </a:lnTo>
                    <a:lnTo>
                      <a:pt x="235" y="92"/>
                    </a:lnTo>
                    <a:lnTo>
                      <a:pt x="235" y="93"/>
                    </a:lnTo>
                    <a:lnTo>
                      <a:pt x="236" y="93"/>
                    </a:lnTo>
                    <a:lnTo>
                      <a:pt x="238" y="93"/>
                    </a:lnTo>
                    <a:lnTo>
                      <a:pt x="238" y="95"/>
                    </a:lnTo>
                    <a:lnTo>
                      <a:pt x="239" y="95"/>
                    </a:lnTo>
                    <a:lnTo>
                      <a:pt x="239" y="97"/>
                    </a:lnTo>
                    <a:lnTo>
                      <a:pt x="241" y="97"/>
                    </a:lnTo>
                    <a:lnTo>
                      <a:pt x="241" y="98"/>
                    </a:lnTo>
                    <a:lnTo>
                      <a:pt x="241" y="100"/>
                    </a:lnTo>
                    <a:lnTo>
                      <a:pt x="241" y="101"/>
                    </a:lnTo>
                    <a:lnTo>
                      <a:pt x="243" y="101"/>
                    </a:lnTo>
                    <a:lnTo>
                      <a:pt x="243" y="103"/>
                    </a:lnTo>
                    <a:lnTo>
                      <a:pt x="243" y="104"/>
                    </a:lnTo>
                    <a:lnTo>
                      <a:pt x="244" y="104"/>
                    </a:lnTo>
                    <a:lnTo>
                      <a:pt x="244" y="106"/>
                    </a:lnTo>
                    <a:lnTo>
                      <a:pt x="246" y="106"/>
                    </a:lnTo>
                    <a:lnTo>
                      <a:pt x="247" y="108"/>
                    </a:lnTo>
                    <a:lnTo>
                      <a:pt x="247" y="109"/>
                    </a:lnTo>
                    <a:lnTo>
                      <a:pt x="249" y="109"/>
                    </a:lnTo>
                    <a:lnTo>
                      <a:pt x="249" y="111"/>
                    </a:lnTo>
                    <a:lnTo>
                      <a:pt x="251" y="111"/>
                    </a:lnTo>
                    <a:lnTo>
                      <a:pt x="252" y="111"/>
                    </a:lnTo>
                    <a:lnTo>
                      <a:pt x="254" y="111"/>
                    </a:lnTo>
                    <a:lnTo>
                      <a:pt x="255" y="111"/>
                    </a:lnTo>
                    <a:lnTo>
                      <a:pt x="255" y="109"/>
                    </a:lnTo>
                    <a:lnTo>
                      <a:pt x="257" y="109"/>
                    </a:lnTo>
                    <a:lnTo>
                      <a:pt x="257" y="108"/>
                    </a:lnTo>
                    <a:lnTo>
                      <a:pt x="257" y="106"/>
                    </a:lnTo>
                    <a:lnTo>
                      <a:pt x="257" y="104"/>
                    </a:lnTo>
                    <a:lnTo>
                      <a:pt x="258" y="103"/>
                    </a:lnTo>
                    <a:lnTo>
                      <a:pt x="258" y="101"/>
                    </a:lnTo>
                    <a:lnTo>
                      <a:pt x="260" y="100"/>
                    </a:lnTo>
                    <a:lnTo>
                      <a:pt x="262" y="100"/>
                    </a:lnTo>
                    <a:lnTo>
                      <a:pt x="263" y="101"/>
                    </a:lnTo>
                    <a:lnTo>
                      <a:pt x="265" y="101"/>
                    </a:lnTo>
                    <a:lnTo>
                      <a:pt x="265" y="100"/>
                    </a:lnTo>
                    <a:lnTo>
                      <a:pt x="266" y="100"/>
                    </a:lnTo>
                    <a:lnTo>
                      <a:pt x="268" y="100"/>
                    </a:lnTo>
                    <a:lnTo>
                      <a:pt x="270" y="100"/>
                    </a:lnTo>
                    <a:lnTo>
                      <a:pt x="271" y="100"/>
                    </a:lnTo>
                    <a:lnTo>
                      <a:pt x="273" y="100"/>
                    </a:lnTo>
                    <a:lnTo>
                      <a:pt x="273" y="101"/>
                    </a:lnTo>
                    <a:lnTo>
                      <a:pt x="274" y="101"/>
                    </a:lnTo>
                    <a:lnTo>
                      <a:pt x="276" y="101"/>
                    </a:lnTo>
                    <a:lnTo>
                      <a:pt x="276" y="103"/>
                    </a:lnTo>
                    <a:lnTo>
                      <a:pt x="277" y="103"/>
                    </a:lnTo>
                    <a:lnTo>
                      <a:pt x="279" y="104"/>
                    </a:lnTo>
                    <a:lnTo>
                      <a:pt x="281" y="104"/>
                    </a:lnTo>
                    <a:lnTo>
                      <a:pt x="281" y="106"/>
                    </a:lnTo>
                    <a:lnTo>
                      <a:pt x="282" y="108"/>
                    </a:lnTo>
                    <a:lnTo>
                      <a:pt x="284" y="109"/>
                    </a:lnTo>
                    <a:lnTo>
                      <a:pt x="285" y="109"/>
                    </a:lnTo>
                    <a:lnTo>
                      <a:pt x="287" y="109"/>
                    </a:lnTo>
                    <a:lnTo>
                      <a:pt x="289" y="109"/>
                    </a:lnTo>
                    <a:lnTo>
                      <a:pt x="290" y="109"/>
                    </a:lnTo>
                    <a:lnTo>
                      <a:pt x="292" y="109"/>
                    </a:lnTo>
                    <a:lnTo>
                      <a:pt x="293" y="109"/>
                    </a:lnTo>
                    <a:lnTo>
                      <a:pt x="293" y="111"/>
                    </a:lnTo>
                    <a:lnTo>
                      <a:pt x="295" y="111"/>
                    </a:lnTo>
                    <a:lnTo>
                      <a:pt x="295" y="112"/>
                    </a:lnTo>
                    <a:lnTo>
                      <a:pt x="296" y="112"/>
                    </a:lnTo>
                    <a:lnTo>
                      <a:pt x="298" y="112"/>
                    </a:lnTo>
                    <a:lnTo>
                      <a:pt x="300" y="112"/>
                    </a:lnTo>
                    <a:lnTo>
                      <a:pt x="301" y="114"/>
                    </a:lnTo>
                    <a:lnTo>
                      <a:pt x="303" y="114"/>
                    </a:lnTo>
                    <a:lnTo>
                      <a:pt x="303" y="112"/>
                    </a:lnTo>
                    <a:lnTo>
                      <a:pt x="304" y="112"/>
                    </a:lnTo>
                    <a:lnTo>
                      <a:pt x="306" y="112"/>
                    </a:lnTo>
                    <a:lnTo>
                      <a:pt x="308" y="112"/>
                    </a:lnTo>
                    <a:lnTo>
                      <a:pt x="308" y="114"/>
                    </a:lnTo>
                    <a:lnTo>
                      <a:pt x="309" y="114"/>
                    </a:lnTo>
                    <a:lnTo>
                      <a:pt x="311" y="116"/>
                    </a:lnTo>
                    <a:lnTo>
                      <a:pt x="312" y="117"/>
                    </a:lnTo>
                    <a:lnTo>
                      <a:pt x="312" y="119"/>
                    </a:lnTo>
                    <a:lnTo>
                      <a:pt x="314" y="119"/>
                    </a:lnTo>
                    <a:lnTo>
                      <a:pt x="314" y="120"/>
                    </a:lnTo>
                    <a:lnTo>
                      <a:pt x="315" y="120"/>
                    </a:lnTo>
                    <a:lnTo>
                      <a:pt x="315" y="122"/>
                    </a:lnTo>
                    <a:lnTo>
                      <a:pt x="315" y="123"/>
                    </a:lnTo>
                    <a:lnTo>
                      <a:pt x="315" y="125"/>
                    </a:lnTo>
                    <a:lnTo>
                      <a:pt x="317" y="125"/>
                    </a:lnTo>
                    <a:lnTo>
                      <a:pt x="317" y="127"/>
                    </a:lnTo>
                    <a:lnTo>
                      <a:pt x="319" y="127"/>
                    </a:lnTo>
                    <a:lnTo>
                      <a:pt x="319" y="128"/>
                    </a:lnTo>
                    <a:lnTo>
                      <a:pt x="320" y="128"/>
                    </a:lnTo>
                    <a:lnTo>
                      <a:pt x="322" y="130"/>
                    </a:lnTo>
                    <a:lnTo>
                      <a:pt x="323" y="130"/>
                    </a:lnTo>
                    <a:lnTo>
                      <a:pt x="325" y="130"/>
                    </a:lnTo>
                    <a:lnTo>
                      <a:pt x="327" y="130"/>
                    </a:lnTo>
                    <a:lnTo>
                      <a:pt x="327" y="131"/>
                    </a:lnTo>
                    <a:lnTo>
                      <a:pt x="327" y="133"/>
                    </a:lnTo>
                    <a:lnTo>
                      <a:pt x="327" y="135"/>
                    </a:lnTo>
                    <a:lnTo>
                      <a:pt x="327" y="136"/>
                    </a:lnTo>
                    <a:lnTo>
                      <a:pt x="328" y="136"/>
                    </a:lnTo>
                    <a:lnTo>
                      <a:pt x="330" y="136"/>
                    </a:lnTo>
                    <a:lnTo>
                      <a:pt x="330" y="138"/>
                    </a:lnTo>
                    <a:lnTo>
                      <a:pt x="331" y="138"/>
                    </a:lnTo>
                    <a:lnTo>
                      <a:pt x="333" y="139"/>
                    </a:lnTo>
                    <a:lnTo>
                      <a:pt x="334" y="139"/>
                    </a:lnTo>
                    <a:lnTo>
                      <a:pt x="334" y="141"/>
                    </a:lnTo>
                    <a:lnTo>
                      <a:pt x="334" y="142"/>
                    </a:lnTo>
                    <a:lnTo>
                      <a:pt x="334" y="144"/>
                    </a:lnTo>
                    <a:lnTo>
                      <a:pt x="336" y="144"/>
                    </a:lnTo>
                    <a:lnTo>
                      <a:pt x="336" y="146"/>
                    </a:lnTo>
                    <a:lnTo>
                      <a:pt x="338" y="146"/>
                    </a:lnTo>
                    <a:lnTo>
                      <a:pt x="339" y="146"/>
                    </a:lnTo>
                    <a:lnTo>
                      <a:pt x="341" y="146"/>
                    </a:lnTo>
                    <a:lnTo>
                      <a:pt x="341" y="147"/>
                    </a:lnTo>
                    <a:lnTo>
                      <a:pt x="342" y="147"/>
                    </a:lnTo>
                    <a:lnTo>
                      <a:pt x="342" y="149"/>
                    </a:lnTo>
                    <a:lnTo>
                      <a:pt x="344" y="149"/>
                    </a:lnTo>
                    <a:lnTo>
                      <a:pt x="344" y="150"/>
                    </a:lnTo>
                    <a:lnTo>
                      <a:pt x="346" y="152"/>
                    </a:lnTo>
                    <a:lnTo>
                      <a:pt x="347" y="152"/>
                    </a:lnTo>
                    <a:lnTo>
                      <a:pt x="347" y="154"/>
                    </a:lnTo>
                    <a:lnTo>
                      <a:pt x="349" y="154"/>
                    </a:lnTo>
                    <a:lnTo>
                      <a:pt x="350" y="154"/>
                    </a:lnTo>
                    <a:lnTo>
                      <a:pt x="352" y="152"/>
                    </a:lnTo>
                    <a:lnTo>
                      <a:pt x="352" y="154"/>
                    </a:lnTo>
                    <a:lnTo>
                      <a:pt x="352" y="152"/>
                    </a:lnTo>
                    <a:lnTo>
                      <a:pt x="352" y="154"/>
                    </a:lnTo>
                    <a:lnTo>
                      <a:pt x="353" y="154"/>
                    </a:lnTo>
                    <a:lnTo>
                      <a:pt x="355" y="155"/>
                    </a:lnTo>
                    <a:lnTo>
                      <a:pt x="355" y="157"/>
                    </a:lnTo>
                    <a:lnTo>
                      <a:pt x="357" y="157"/>
                    </a:lnTo>
                    <a:lnTo>
                      <a:pt x="357" y="158"/>
                    </a:lnTo>
                    <a:lnTo>
                      <a:pt x="357" y="160"/>
                    </a:lnTo>
                    <a:lnTo>
                      <a:pt x="358" y="160"/>
                    </a:lnTo>
                    <a:lnTo>
                      <a:pt x="360" y="160"/>
                    </a:lnTo>
                    <a:lnTo>
                      <a:pt x="361" y="158"/>
                    </a:lnTo>
                    <a:lnTo>
                      <a:pt x="363" y="158"/>
                    </a:lnTo>
                    <a:lnTo>
                      <a:pt x="365" y="158"/>
                    </a:lnTo>
                    <a:lnTo>
                      <a:pt x="366" y="158"/>
                    </a:lnTo>
                    <a:lnTo>
                      <a:pt x="368" y="158"/>
                    </a:lnTo>
                    <a:lnTo>
                      <a:pt x="369" y="158"/>
                    </a:lnTo>
                    <a:lnTo>
                      <a:pt x="369" y="160"/>
                    </a:lnTo>
                    <a:lnTo>
                      <a:pt x="371" y="160"/>
                    </a:lnTo>
                    <a:lnTo>
                      <a:pt x="371" y="158"/>
                    </a:lnTo>
                    <a:lnTo>
                      <a:pt x="372" y="158"/>
                    </a:lnTo>
                    <a:lnTo>
                      <a:pt x="372" y="157"/>
                    </a:lnTo>
                    <a:lnTo>
                      <a:pt x="372" y="155"/>
                    </a:lnTo>
                    <a:lnTo>
                      <a:pt x="372" y="154"/>
                    </a:lnTo>
                    <a:lnTo>
                      <a:pt x="374" y="154"/>
                    </a:lnTo>
                    <a:lnTo>
                      <a:pt x="374" y="155"/>
                    </a:lnTo>
                    <a:lnTo>
                      <a:pt x="376" y="155"/>
                    </a:lnTo>
                    <a:lnTo>
                      <a:pt x="377" y="157"/>
                    </a:lnTo>
                    <a:lnTo>
                      <a:pt x="379" y="157"/>
                    </a:lnTo>
                    <a:lnTo>
                      <a:pt x="379" y="155"/>
                    </a:lnTo>
                    <a:lnTo>
                      <a:pt x="380" y="155"/>
                    </a:lnTo>
                    <a:lnTo>
                      <a:pt x="380" y="154"/>
                    </a:lnTo>
                    <a:lnTo>
                      <a:pt x="380" y="155"/>
                    </a:lnTo>
                    <a:lnTo>
                      <a:pt x="382" y="155"/>
                    </a:lnTo>
                    <a:lnTo>
                      <a:pt x="382" y="154"/>
                    </a:lnTo>
                    <a:lnTo>
                      <a:pt x="384" y="154"/>
                    </a:lnTo>
                    <a:lnTo>
                      <a:pt x="385" y="154"/>
                    </a:lnTo>
                    <a:lnTo>
                      <a:pt x="387" y="154"/>
                    </a:lnTo>
                    <a:lnTo>
                      <a:pt x="388" y="154"/>
                    </a:lnTo>
                    <a:lnTo>
                      <a:pt x="388" y="152"/>
                    </a:lnTo>
                    <a:lnTo>
                      <a:pt x="390" y="152"/>
                    </a:lnTo>
                    <a:lnTo>
                      <a:pt x="391" y="152"/>
                    </a:lnTo>
                    <a:lnTo>
                      <a:pt x="393" y="152"/>
                    </a:lnTo>
                    <a:lnTo>
                      <a:pt x="393" y="150"/>
                    </a:lnTo>
                    <a:lnTo>
                      <a:pt x="395" y="150"/>
                    </a:lnTo>
                    <a:lnTo>
                      <a:pt x="395" y="149"/>
                    </a:lnTo>
                    <a:lnTo>
                      <a:pt x="396" y="147"/>
                    </a:lnTo>
                    <a:lnTo>
                      <a:pt x="398" y="146"/>
                    </a:lnTo>
                    <a:lnTo>
                      <a:pt x="399" y="146"/>
                    </a:lnTo>
                    <a:lnTo>
                      <a:pt x="399" y="144"/>
                    </a:lnTo>
                    <a:lnTo>
                      <a:pt x="399" y="142"/>
                    </a:lnTo>
                    <a:lnTo>
                      <a:pt x="401" y="142"/>
                    </a:lnTo>
                    <a:lnTo>
                      <a:pt x="403" y="142"/>
                    </a:lnTo>
                    <a:lnTo>
                      <a:pt x="403" y="144"/>
                    </a:lnTo>
                    <a:lnTo>
                      <a:pt x="404" y="144"/>
                    </a:lnTo>
                    <a:lnTo>
                      <a:pt x="404" y="142"/>
                    </a:lnTo>
                    <a:lnTo>
                      <a:pt x="404" y="141"/>
                    </a:lnTo>
                    <a:lnTo>
                      <a:pt x="404" y="139"/>
                    </a:lnTo>
                    <a:lnTo>
                      <a:pt x="406" y="139"/>
                    </a:lnTo>
                    <a:lnTo>
                      <a:pt x="406" y="138"/>
                    </a:lnTo>
                    <a:lnTo>
                      <a:pt x="407" y="139"/>
                    </a:lnTo>
                    <a:lnTo>
                      <a:pt x="409" y="139"/>
                    </a:lnTo>
                    <a:lnTo>
                      <a:pt x="409" y="138"/>
                    </a:lnTo>
                    <a:lnTo>
                      <a:pt x="410" y="138"/>
                    </a:lnTo>
                    <a:lnTo>
                      <a:pt x="410" y="136"/>
                    </a:lnTo>
                    <a:lnTo>
                      <a:pt x="412" y="136"/>
                    </a:lnTo>
                    <a:lnTo>
                      <a:pt x="414" y="135"/>
                    </a:lnTo>
                    <a:lnTo>
                      <a:pt x="415" y="135"/>
                    </a:lnTo>
                    <a:lnTo>
                      <a:pt x="415" y="133"/>
                    </a:lnTo>
                    <a:lnTo>
                      <a:pt x="417" y="133"/>
                    </a:lnTo>
                    <a:lnTo>
                      <a:pt x="418" y="133"/>
                    </a:lnTo>
                    <a:lnTo>
                      <a:pt x="420" y="133"/>
                    </a:lnTo>
                    <a:lnTo>
                      <a:pt x="420" y="135"/>
                    </a:lnTo>
                    <a:lnTo>
                      <a:pt x="422" y="135"/>
                    </a:lnTo>
                    <a:lnTo>
                      <a:pt x="422" y="136"/>
                    </a:lnTo>
                    <a:lnTo>
                      <a:pt x="423" y="136"/>
                    </a:lnTo>
                    <a:lnTo>
                      <a:pt x="423" y="138"/>
                    </a:lnTo>
                    <a:lnTo>
                      <a:pt x="425" y="138"/>
                    </a:lnTo>
                    <a:lnTo>
                      <a:pt x="426" y="138"/>
                    </a:lnTo>
                    <a:lnTo>
                      <a:pt x="428" y="136"/>
                    </a:lnTo>
                    <a:lnTo>
                      <a:pt x="428" y="135"/>
                    </a:lnTo>
                    <a:lnTo>
                      <a:pt x="426" y="135"/>
                    </a:lnTo>
                    <a:lnTo>
                      <a:pt x="426" y="133"/>
                    </a:lnTo>
                    <a:lnTo>
                      <a:pt x="426" y="131"/>
                    </a:lnTo>
                    <a:lnTo>
                      <a:pt x="426" y="130"/>
                    </a:lnTo>
                    <a:lnTo>
                      <a:pt x="428" y="130"/>
                    </a:lnTo>
                    <a:lnTo>
                      <a:pt x="430" y="130"/>
                    </a:lnTo>
                    <a:lnTo>
                      <a:pt x="431" y="130"/>
                    </a:lnTo>
                    <a:lnTo>
                      <a:pt x="431" y="131"/>
                    </a:lnTo>
                    <a:lnTo>
                      <a:pt x="433" y="131"/>
                    </a:lnTo>
                    <a:lnTo>
                      <a:pt x="434" y="131"/>
                    </a:lnTo>
                    <a:lnTo>
                      <a:pt x="434" y="130"/>
                    </a:lnTo>
                    <a:lnTo>
                      <a:pt x="436" y="130"/>
                    </a:lnTo>
                    <a:lnTo>
                      <a:pt x="437" y="130"/>
                    </a:lnTo>
                    <a:lnTo>
                      <a:pt x="437" y="128"/>
                    </a:lnTo>
                    <a:lnTo>
                      <a:pt x="439" y="128"/>
                    </a:lnTo>
                    <a:lnTo>
                      <a:pt x="441" y="128"/>
                    </a:lnTo>
                    <a:lnTo>
                      <a:pt x="442" y="128"/>
                    </a:lnTo>
                    <a:lnTo>
                      <a:pt x="444" y="128"/>
                    </a:lnTo>
                    <a:lnTo>
                      <a:pt x="445" y="128"/>
                    </a:lnTo>
                    <a:lnTo>
                      <a:pt x="445" y="127"/>
                    </a:lnTo>
                    <a:lnTo>
                      <a:pt x="445" y="125"/>
                    </a:lnTo>
                    <a:lnTo>
                      <a:pt x="447" y="125"/>
                    </a:lnTo>
                    <a:lnTo>
                      <a:pt x="447" y="123"/>
                    </a:lnTo>
                    <a:lnTo>
                      <a:pt x="449" y="123"/>
                    </a:lnTo>
                    <a:lnTo>
                      <a:pt x="450" y="123"/>
                    </a:lnTo>
                    <a:lnTo>
                      <a:pt x="450" y="122"/>
                    </a:lnTo>
                    <a:lnTo>
                      <a:pt x="452" y="122"/>
                    </a:lnTo>
                    <a:lnTo>
                      <a:pt x="453" y="122"/>
                    </a:lnTo>
                    <a:lnTo>
                      <a:pt x="455" y="122"/>
                    </a:lnTo>
                    <a:lnTo>
                      <a:pt x="456" y="122"/>
                    </a:lnTo>
                    <a:lnTo>
                      <a:pt x="458" y="122"/>
                    </a:lnTo>
                    <a:lnTo>
                      <a:pt x="460" y="122"/>
                    </a:lnTo>
                    <a:lnTo>
                      <a:pt x="460" y="120"/>
                    </a:lnTo>
                    <a:lnTo>
                      <a:pt x="460" y="119"/>
                    </a:lnTo>
                    <a:lnTo>
                      <a:pt x="460" y="117"/>
                    </a:lnTo>
                    <a:lnTo>
                      <a:pt x="461" y="117"/>
                    </a:lnTo>
                    <a:lnTo>
                      <a:pt x="461" y="119"/>
                    </a:lnTo>
                    <a:lnTo>
                      <a:pt x="463" y="119"/>
                    </a:lnTo>
                    <a:lnTo>
                      <a:pt x="464" y="119"/>
                    </a:lnTo>
                    <a:lnTo>
                      <a:pt x="464" y="117"/>
                    </a:lnTo>
                    <a:lnTo>
                      <a:pt x="464" y="116"/>
                    </a:lnTo>
                    <a:lnTo>
                      <a:pt x="464" y="114"/>
                    </a:lnTo>
                    <a:lnTo>
                      <a:pt x="466" y="112"/>
                    </a:lnTo>
                    <a:lnTo>
                      <a:pt x="468" y="112"/>
                    </a:lnTo>
                    <a:lnTo>
                      <a:pt x="469" y="112"/>
                    </a:lnTo>
                    <a:lnTo>
                      <a:pt x="471" y="112"/>
                    </a:lnTo>
                    <a:lnTo>
                      <a:pt x="471" y="111"/>
                    </a:lnTo>
                    <a:lnTo>
                      <a:pt x="469" y="111"/>
                    </a:lnTo>
                    <a:lnTo>
                      <a:pt x="469" y="109"/>
                    </a:lnTo>
                    <a:lnTo>
                      <a:pt x="469" y="108"/>
                    </a:lnTo>
                    <a:lnTo>
                      <a:pt x="471" y="108"/>
                    </a:lnTo>
                    <a:lnTo>
                      <a:pt x="472" y="108"/>
                    </a:lnTo>
                    <a:lnTo>
                      <a:pt x="474" y="108"/>
                    </a:lnTo>
                    <a:lnTo>
                      <a:pt x="475" y="108"/>
                    </a:lnTo>
                    <a:lnTo>
                      <a:pt x="477" y="108"/>
                    </a:lnTo>
                    <a:lnTo>
                      <a:pt x="479" y="108"/>
                    </a:lnTo>
                    <a:lnTo>
                      <a:pt x="479" y="109"/>
                    </a:lnTo>
                    <a:lnTo>
                      <a:pt x="480" y="109"/>
                    </a:lnTo>
                    <a:lnTo>
                      <a:pt x="480" y="108"/>
                    </a:lnTo>
                    <a:lnTo>
                      <a:pt x="480" y="106"/>
                    </a:lnTo>
                    <a:lnTo>
                      <a:pt x="480" y="104"/>
                    </a:lnTo>
                    <a:lnTo>
                      <a:pt x="482" y="103"/>
                    </a:lnTo>
                    <a:lnTo>
                      <a:pt x="482" y="101"/>
                    </a:lnTo>
                    <a:lnTo>
                      <a:pt x="483" y="100"/>
                    </a:lnTo>
                    <a:lnTo>
                      <a:pt x="485" y="100"/>
                    </a:lnTo>
                    <a:lnTo>
                      <a:pt x="487" y="100"/>
                    </a:lnTo>
                    <a:lnTo>
                      <a:pt x="488" y="100"/>
                    </a:lnTo>
                    <a:lnTo>
                      <a:pt x="488" y="101"/>
                    </a:lnTo>
                    <a:lnTo>
                      <a:pt x="488" y="103"/>
                    </a:lnTo>
                    <a:lnTo>
                      <a:pt x="490" y="103"/>
                    </a:lnTo>
                    <a:lnTo>
                      <a:pt x="491" y="103"/>
                    </a:lnTo>
                    <a:lnTo>
                      <a:pt x="491" y="101"/>
                    </a:lnTo>
                    <a:lnTo>
                      <a:pt x="493" y="100"/>
                    </a:lnTo>
                    <a:lnTo>
                      <a:pt x="494" y="100"/>
                    </a:lnTo>
                    <a:lnTo>
                      <a:pt x="496" y="98"/>
                    </a:lnTo>
                    <a:lnTo>
                      <a:pt x="496" y="97"/>
                    </a:lnTo>
                    <a:lnTo>
                      <a:pt x="496" y="95"/>
                    </a:lnTo>
                    <a:lnTo>
                      <a:pt x="498" y="95"/>
                    </a:lnTo>
                    <a:lnTo>
                      <a:pt x="499" y="95"/>
                    </a:lnTo>
                    <a:lnTo>
                      <a:pt x="499" y="93"/>
                    </a:lnTo>
                    <a:lnTo>
                      <a:pt x="501" y="93"/>
                    </a:lnTo>
                    <a:lnTo>
                      <a:pt x="501" y="92"/>
                    </a:lnTo>
                    <a:lnTo>
                      <a:pt x="502" y="92"/>
                    </a:lnTo>
                    <a:lnTo>
                      <a:pt x="504" y="92"/>
                    </a:lnTo>
                    <a:lnTo>
                      <a:pt x="504" y="90"/>
                    </a:lnTo>
                    <a:lnTo>
                      <a:pt x="506" y="90"/>
                    </a:lnTo>
                    <a:lnTo>
                      <a:pt x="506" y="89"/>
                    </a:lnTo>
                    <a:lnTo>
                      <a:pt x="507" y="89"/>
                    </a:lnTo>
                    <a:lnTo>
                      <a:pt x="509" y="89"/>
                    </a:lnTo>
                    <a:lnTo>
                      <a:pt x="509" y="87"/>
                    </a:lnTo>
                    <a:lnTo>
                      <a:pt x="510" y="87"/>
                    </a:lnTo>
                    <a:lnTo>
                      <a:pt x="510" y="85"/>
                    </a:lnTo>
                    <a:lnTo>
                      <a:pt x="512" y="85"/>
                    </a:lnTo>
                    <a:lnTo>
                      <a:pt x="513" y="85"/>
                    </a:lnTo>
                    <a:lnTo>
                      <a:pt x="513" y="84"/>
                    </a:lnTo>
                    <a:lnTo>
                      <a:pt x="515" y="84"/>
                    </a:lnTo>
                    <a:lnTo>
                      <a:pt x="515" y="82"/>
                    </a:lnTo>
                    <a:lnTo>
                      <a:pt x="517" y="82"/>
                    </a:lnTo>
                    <a:lnTo>
                      <a:pt x="518" y="82"/>
                    </a:lnTo>
                    <a:lnTo>
                      <a:pt x="518" y="84"/>
                    </a:lnTo>
                    <a:lnTo>
                      <a:pt x="520" y="84"/>
                    </a:lnTo>
                    <a:lnTo>
                      <a:pt x="520" y="85"/>
                    </a:lnTo>
                    <a:lnTo>
                      <a:pt x="520" y="87"/>
                    </a:lnTo>
                    <a:lnTo>
                      <a:pt x="521" y="87"/>
                    </a:lnTo>
                    <a:lnTo>
                      <a:pt x="523" y="87"/>
                    </a:lnTo>
                    <a:lnTo>
                      <a:pt x="525" y="87"/>
                    </a:lnTo>
                    <a:lnTo>
                      <a:pt x="525" y="85"/>
                    </a:lnTo>
                    <a:lnTo>
                      <a:pt x="526" y="85"/>
                    </a:lnTo>
                    <a:lnTo>
                      <a:pt x="528" y="85"/>
                    </a:lnTo>
                    <a:lnTo>
                      <a:pt x="529" y="87"/>
                    </a:lnTo>
                    <a:lnTo>
                      <a:pt x="531" y="87"/>
                    </a:lnTo>
                    <a:lnTo>
                      <a:pt x="532" y="87"/>
                    </a:lnTo>
                    <a:lnTo>
                      <a:pt x="534" y="87"/>
                    </a:lnTo>
                    <a:lnTo>
                      <a:pt x="534" y="85"/>
                    </a:lnTo>
                    <a:lnTo>
                      <a:pt x="534" y="84"/>
                    </a:lnTo>
                    <a:lnTo>
                      <a:pt x="534" y="82"/>
                    </a:lnTo>
                    <a:lnTo>
                      <a:pt x="536" y="82"/>
                    </a:lnTo>
                    <a:lnTo>
                      <a:pt x="536" y="81"/>
                    </a:lnTo>
                    <a:lnTo>
                      <a:pt x="537" y="81"/>
                    </a:lnTo>
                    <a:lnTo>
                      <a:pt x="539" y="81"/>
                    </a:lnTo>
                    <a:lnTo>
                      <a:pt x="539" y="82"/>
                    </a:lnTo>
                    <a:lnTo>
                      <a:pt x="540" y="82"/>
                    </a:lnTo>
                    <a:lnTo>
                      <a:pt x="540" y="81"/>
                    </a:lnTo>
                    <a:lnTo>
                      <a:pt x="542" y="81"/>
                    </a:lnTo>
                    <a:lnTo>
                      <a:pt x="542" y="79"/>
                    </a:lnTo>
                    <a:lnTo>
                      <a:pt x="540" y="77"/>
                    </a:lnTo>
                    <a:lnTo>
                      <a:pt x="540" y="76"/>
                    </a:lnTo>
                    <a:lnTo>
                      <a:pt x="540" y="74"/>
                    </a:lnTo>
                    <a:lnTo>
                      <a:pt x="542" y="74"/>
                    </a:lnTo>
                    <a:lnTo>
                      <a:pt x="542" y="73"/>
                    </a:lnTo>
                    <a:lnTo>
                      <a:pt x="542" y="71"/>
                    </a:lnTo>
                    <a:lnTo>
                      <a:pt x="544" y="71"/>
                    </a:lnTo>
                    <a:lnTo>
                      <a:pt x="544" y="70"/>
                    </a:lnTo>
                    <a:lnTo>
                      <a:pt x="544" y="68"/>
                    </a:lnTo>
                    <a:lnTo>
                      <a:pt x="545" y="68"/>
                    </a:lnTo>
                    <a:lnTo>
                      <a:pt x="545" y="66"/>
                    </a:lnTo>
                    <a:lnTo>
                      <a:pt x="547" y="66"/>
                    </a:lnTo>
                    <a:lnTo>
                      <a:pt x="548" y="66"/>
                    </a:lnTo>
                    <a:lnTo>
                      <a:pt x="550" y="66"/>
                    </a:lnTo>
                    <a:lnTo>
                      <a:pt x="550" y="68"/>
                    </a:lnTo>
                    <a:lnTo>
                      <a:pt x="550" y="70"/>
                    </a:lnTo>
                    <a:lnTo>
                      <a:pt x="550" y="71"/>
                    </a:lnTo>
                    <a:lnTo>
                      <a:pt x="551" y="71"/>
                    </a:lnTo>
                    <a:lnTo>
                      <a:pt x="553" y="71"/>
                    </a:lnTo>
                    <a:lnTo>
                      <a:pt x="553" y="73"/>
                    </a:lnTo>
                    <a:lnTo>
                      <a:pt x="555" y="73"/>
                    </a:lnTo>
                    <a:lnTo>
                      <a:pt x="556" y="73"/>
                    </a:lnTo>
                    <a:lnTo>
                      <a:pt x="556" y="71"/>
                    </a:lnTo>
                    <a:lnTo>
                      <a:pt x="559" y="71"/>
                    </a:lnTo>
                    <a:lnTo>
                      <a:pt x="561" y="71"/>
                    </a:lnTo>
                    <a:lnTo>
                      <a:pt x="563" y="71"/>
                    </a:lnTo>
                    <a:lnTo>
                      <a:pt x="563" y="70"/>
                    </a:lnTo>
                    <a:lnTo>
                      <a:pt x="563" y="68"/>
                    </a:lnTo>
                    <a:lnTo>
                      <a:pt x="564" y="68"/>
                    </a:lnTo>
                    <a:lnTo>
                      <a:pt x="564" y="66"/>
                    </a:lnTo>
                    <a:lnTo>
                      <a:pt x="566" y="66"/>
                    </a:lnTo>
                    <a:lnTo>
                      <a:pt x="566" y="65"/>
                    </a:lnTo>
                    <a:lnTo>
                      <a:pt x="567" y="65"/>
                    </a:lnTo>
                    <a:lnTo>
                      <a:pt x="569" y="65"/>
                    </a:lnTo>
                    <a:lnTo>
                      <a:pt x="569" y="63"/>
                    </a:lnTo>
                    <a:lnTo>
                      <a:pt x="570" y="63"/>
                    </a:lnTo>
                    <a:lnTo>
                      <a:pt x="570" y="62"/>
                    </a:lnTo>
                    <a:lnTo>
                      <a:pt x="569" y="60"/>
                    </a:lnTo>
                    <a:lnTo>
                      <a:pt x="569" y="58"/>
                    </a:lnTo>
                    <a:lnTo>
                      <a:pt x="570" y="58"/>
                    </a:lnTo>
                    <a:lnTo>
                      <a:pt x="572" y="57"/>
                    </a:lnTo>
                    <a:lnTo>
                      <a:pt x="570" y="55"/>
                    </a:lnTo>
                    <a:lnTo>
                      <a:pt x="570" y="54"/>
                    </a:lnTo>
                    <a:lnTo>
                      <a:pt x="569" y="52"/>
                    </a:lnTo>
                    <a:lnTo>
                      <a:pt x="569" y="51"/>
                    </a:lnTo>
                    <a:lnTo>
                      <a:pt x="567" y="51"/>
                    </a:lnTo>
                    <a:lnTo>
                      <a:pt x="567" y="49"/>
                    </a:lnTo>
                    <a:lnTo>
                      <a:pt x="569" y="49"/>
                    </a:lnTo>
                    <a:lnTo>
                      <a:pt x="569" y="47"/>
                    </a:lnTo>
                    <a:lnTo>
                      <a:pt x="570" y="47"/>
                    </a:lnTo>
                    <a:lnTo>
                      <a:pt x="570" y="46"/>
                    </a:lnTo>
                    <a:lnTo>
                      <a:pt x="572" y="46"/>
                    </a:lnTo>
                    <a:lnTo>
                      <a:pt x="572" y="44"/>
                    </a:lnTo>
                    <a:lnTo>
                      <a:pt x="574" y="44"/>
                    </a:lnTo>
                    <a:lnTo>
                      <a:pt x="575" y="44"/>
                    </a:lnTo>
                    <a:lnTo>
                      <a:pt x="575" y="43"/>
                    </a:lnTo>
                    <a:lnTo>
                      <a:pt x="577" y="43"/>
                    </a:lnTo>
                    <a:lnTo>
                      <a:pt x="578" y="43"/>
                    </a:lnTo>
                    <a:lnTo>
                      <a:pt x="578" y="41"/>
                    </a:lnTo>
                    <a:lnTo>
                      <a:pt x="578" y="39"/>
                    </a:lnTo>
                    <a:lnTo>
                      <a:pt x="578" y="38"/>
                    </a:lnTo>
                    <a:lnTo>
                      <a:pt x="578" y="36"/>
                    </a:lnTo>
                    <a:lnTo>
                      <a:pt x="580" y="36"/>
                    </a:lnTo>
                    <a:lnTo>
                      <a:pt x="580" y="35"/>
                    </a:lnTo>
                    <a:lnTo>
                      <a:pt x="582" y="35"/>
                    </a:lnTo>
                    <a:lnTo>
                      <a:pt x="582" y="33"/>
                    </a:lnTo>
                    <a:lnTo>
                      <a:pt x="580" y="33"/>
                    </a:lnTo>
                    <a:lnTo>
                      <a:pt x="580" y="32"/>
                    </a:lnTo>
                    <a:lnTo>
                      <a:pt x="580" y="30"/>
                    </a:lnTo>
                    <a:lnTo>
                      <a:pt x="580" y="28"/>
                    </a:lnTo>
                    <a:lnTo>
                      <a:pt x="582" y="28"/>
                    </a:lnTo>
                    <a:lnTo>
                      <a:pt x="583" y="28"/>
                    </a:lnTo>
                    <a:lnTo>
                      <a:pt x="585" y="28"/>
                    </a:lnTo>
                    <a:lnTo>
                      <a:pt x="585" y="27"/>
                    </a:lnTo>
                    <a:lnTo>
                      <a:pt x="583" y="27"/>
                    </a:lnTo>
                    <a:lnTo>
                      <a:pt x="583" y="25"/>
                    </a:lnTo>
                    <a:lnTo>
                      <a:pt x="582" y="25"/>
                    </a:lnTo>
                    <a:lnTo>
                      <a:pt x="582" y="24"/>
                    </a:lnTo>
                    <a:lnTo>
                      <a:pt x="582" y="22"/>
                    </a:lnTo>
                    <a:lnTo>
                      <a:pt x="583" y="22"/>
                    </a:lnTo>
                    <a:lnTo>
                      <a:pt x="585" y="22"/>
                    </a:lnTo>
                    <a:lnTo>
                      <a:pt x="585" y="20"/>
                    </a:lnTo>
                    <a:lnTo>
                      <a:pt x="585" y="19"/>
                    </a:lnTo>
                    <a:lnTo>
                      <a:pt x="585" y="17"/>
                    </a:lnTo>
                    <a:lnTo>
                      <a:pt x="585" y="16"/>
                    </a:lnTo>
                    <a:lnTo>
                      <a:pt x="585" y="14"/>
                    </a:lnTo>
                    <a:lnTo>
                      <a:pt x="586" y="14"/>
                    </a:lnTo>
                    <a:lnTo>
                      <a:pt x="586" y="13"/>
                    </a:lnTo>
                    <a:lnTo>
                      <a:pt x="586" y="11"/>
                    </a:lnTo>
                    <a:lnTo>
                      <a:pt x="585" y="9"/>
                    </a:lnTo>
                    <a:lnTo>
                      <a:pt x="585" y="8"/>
                    </a:lnTo>
                    <a:lnTo>
                      <a:pt x="585" y="6"/>
                    </a:lnTo>
                    <a:lnTo>
                      <a:pt x="586" y="6"/>
                    </a:lnTo>
                    <a:lnTo>
                      <a:pt x="588" y="6"/>
                    </a:lnTo>
                    <a:lnTo>
                      <a:pt x="588" y="8"/>
                    </a:lnTo>
                    <a:lnTo>
                      <a:pt x="589" y="8"/>
                    </a:lnTo>
                    <a:lnTo>
                      <a:pt x="589" y="6"/>
                    </a:lnTo>
                    <a:lnTo>
                      <a:pt x="591" y="6"/>
                    </a:lnTo>
                    <a:lnTo>
                      <a:pt x="593" y="8"/>
                    </a:lnTo>
                    <a:lnTo>
                      <a:pt x="593" y="6"/>
                    </a:lnTo>
                    <a:lnTo>
                      <a:pt x="594" y="6"/>
                    </a:lnTo>
                    <a:lnTo>
                      <a:pt x="596" y="6"/>
                    </a:lnTo>
                    <a:lnTo>
                      <a:pt x="597" y="6"/>
                    </a:lnTo>
                    <a:lnTo>
                      <a:pt x="599" y="6"/>
                    </a:lnTo>
                    <a:lnTo>
                      <a:pt x="601" y="6"/>
                    </a:lnTo>
                    <a:lnTo>
                      <a:pt x="602" y="6"/>
                    </a:lnTo>
                    <a:lnTo>
                      <a:pt x="602" y="5"/>
                    </a:lnTo>
                    <a:lnTo>
                      <a:pt x="604" y="5"/>
                    </a:lnTo>
                    <a:lnTo>
                      <a:pt x="605" y="5"/>
                    </a:lnTo>
                    <a:lnTo>
                      <a:pt x="607" y="5"/>
                    </a:lnTo>
                    <a:lnTo>
                      <a:pt x="608" y="3"/>
                    </a:lnTo>
                    <a:lnTo>
                      <a:pt x="610" y="3"/>
                    </a:lnTo>
                    <a:lnTo>
                      <a:pt x="612" y="3"/>
                    </a:lnTo>
                    <a:lnTo>
                      <a:pt x="613" y="3"/>
                    </a:lnTo>
                    <a:lnTo>
                      <a:pt x="615" y="3"/>
                    </a:lnTo>
                    <a:lnTo>
                      <a:pt x="616" y="3"/>
                    </a:lnTo>
                    <a:lnTo>
                      <a:pt x="618" y="3"/>
                    </a:lnTo>
                    <a:lnTo>
                      <a:pt x="618" y="5"/>
                    </a:lnTo>
                    <a:lnTo>
                      <a:pt x="618" y="3"/>
                    </a:lnTo>
                    <a:lnTo>
                      <a:pt x="620" y="3"/>
                    </a:lnTo>
                    <a:lnTo>
                      <a:pt x="621" y="3"/>
                    </a:lnTo>
                    <a:lnTo>
                      <a:pt x="623" y="3"/>
                    </a:lnTo>
                    <a:lnTo>
                      <a:pt x="624" y="3"/>
                    </a:lnTo>
                    <a:lnTo>
                      <a:pt x="626" y="3"/>
                    </a:lnTo>
                    <a:lnTo>
                      <a:pt x="628" y="3"/>
                    </a:lnTo>
                    <a:lnTo>
                      <a:pt x="629" y="1"/>
                    </a:lnTo>
                    <a:lnTo>
                      <a:pt x="631" y="1"/>
                    </a:lnTo>
                    <a:lnTo>
                      <a:pt x="632" y="1"/>
                    </a:lnTo>
                    <a:lnTo>
                      <a:pt x="634" y="3"/>
                    </a:lnTo>
                    <a:lnTo>
                      <a:pt x="635" y="3"/>
                    </a:lnTo>
                    <a:lnTo>
                      <a:pt x="637" y="3"/>
                    </a:lnTo>
                    <a:lnTo>
                      <a:pt x="637" y="5"/>
                    </a:lnTo>
                    <a:lnTo>
                      <a:pt x="637" y="3"/>
                    </a:lnTo>
                    <a:lnTo>
                      <a:pt x="639" y="3"/>
                    </a:lnTo>
                    <a:lnTo>
                      <a:pt x="639" y="5"/>
                    </a:lnTo>
                    <a:lnTo>
                      <a:pt x="640" y="5"/>
                    </a:lnTo>
                    <a:lnTo>
                      <a:pt x="642" y="3"/>
                    </a:lnTo>
                    <a:lnTo>
                      <a:pt x="643" y="3"/>
                    </a:lnTo>
                    <a:lnTo>
                      <a:pt x="643" y="1"/>
                    </a:lnTo>
                    <a:lnTo>
                      <a:pt x="645" y="1"/>
                    </a:lnTo>
                    <a:lnTo>
                      <a:pt x="645" y="3"/>
                    </a:lnTo>
                    <a:lnTo>
                      <a:pt x="647" y="3"/>
                    </a:lnTo>
                    <a:lnTo>
                      <a:pt x="648" y="3"/>
                    </a:lnTo>
                    <a:lnTo>
                      <a:pt x="650" y="3"/>
                    </a:lnTo>
                    <a:lnTo>
                      <a:pt x="650" y="1"/>
                    </a:lnTo>
                    <a:lnTo>
                      <a:pt x="651" y="1"/>
                    </a:lnTo>
                    <a:lnTo>
                      <a:pt x="653" y="1"/>
                    </a:lnTo>
                    <a:lnTo>
                      <a:pt x="653" y="0"/>
                    </a:lnTo>
                    <a:lnTo>
                      <a:pt x="654" y="0"/>
                    </a:lnTo>
                    <a:lnTo>
                      <a:pt x="656"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61" name="Freeform 59"/>
              <p:cNvSpPr>
                <a:spLocks/>
              </p:cNvSpPr>
              <p:nvPr/>
            </p:nvSpPr>
            <p:spPr bwMode="auto">
              <a:xfrm>
                <a:off x="2425" y="2215"/>
                <a:ext cx="35" cy="54"/>
              </a:xfrm>
              <a:custGeom>
                <a:avLst/>
                <a:gdLst>
                  <a:gd name="T0" fmla="*/ 20 w 35"/>
                  <a:gd name="T1" fmla="*/ 0 h 54"/>
                  <a:gd name="T2" fmla="*/ 17 w 35"/>
                  <a:gd name="T3" fmla="*/ 0 h 54"/>
                  <a:gd name="T4" fmla="*/ 14 w 35"/>
                  <a:gd name="T5" fmla="*/ 1 h 54"/>
                  <a:gd name="T6" fmla="*/ 12 w 35"/>
                  <a:gd name="T7" fmla="*/ 3 h 54"/>
                  <a:gd name="T8" fmla="*/ 11 w 35"/>
                  <a:gd name="T9" fmla="*/ 5 h 54"/>
                  <a:gd name="T10" fmla="*/ 8 w 35"/>
                  <a:gd name="T11" fmla="*/ 6 h 54"/>
                  <a:gd name="T12" fmla="*/ 4 w 35"/>
                  <a:gd name="T13" fmla="*/ 6 h 54"/>
                  <a:gd name="T14" fmla="*/ 4 w 35"/>
                  <a:gd name="T15" fmla="*/ 9 h 54"/>
                  <a:gd name="T16" fmla="*/ 3 w 35"/>
                  <a:gd name="T17" fmla="*/ 11 h 54"/>
                  <a:gd name="T18" fmla="*/ 1 w 35"/>
                  <a:gd name="T19" fmla="*/ 12 h 54"/>
                  <a:gd name="T20" fmla="*/ 3 w 35"/>
                  <a:gd name="T21" fmla="*/ 14 h 54"/>
                  <a:gd name="T22" fmla="*/ 1 w 35"/>
                  <a:gd name="T23" fmla="*/ 16 h 54"/>
                  <a:gd name="T24" fmla="*/ 1 w 35"/>
                  <a:gd name="T25" fmla="*/ 19 h 54"/>
                  <a:gd name="T26" fmla="*/ 0 w 35"/>
                  <a:gd name="T27" fmla="*/ 20 h 54"/>
                  <a:gd name="T28" fmla="*/ 1 w 35"/>
                  <a:gd name="T29" fmla="*/ 22 h 54"/>
                  <a:gd name="T30" fmla="*/ 0 w 35"/>
                  <a:gd name="T31" fmla="*/ 24 h 54"/>
                  <a:gd name="T32" fmla="*/ 0 w 35"/>
                  <a:gd name="T33" fmla="*/ 27 h 54"/>
                  <a:gd name="T34" fmla="*/ 1 w 35"/>
                  <a:gd name="T35" fmla="*/ 30 h 54"/>
                  <a:gd name="T36" fmla="*/ 1 w 35"/>
                  <a:gd name="T37" fmla="*/ 33 h 54"/>
                  <a:gd name="T38" fmla="*/ 1 w 35"/>
                  <a:gd name="T39" fmla="*/ 36 h 54"/>
                  <a:gd name="T40" fmla="*/ 3 w 35"/>
                  <a:gd name="T41" fmla="*/ 38 h 54"/>
                  <a:gd name="T42" fmla="*/ 3 w 35"/>
                  <a:gd name="T43" fmla="*/ 41 h 54"/>
                  <a:gd name="T44" fmla="*/ 4 w 35"/>
                  <a:gd name="T45" fmla="*/ 43 h 54"/>
                  <a:gd name="T46" fmla="*/ 4 w 35"/>
                  <a:gd name="T47" fmla="*/ 46 h 54"/>
                  <a:gd name="T48" fmla="*/ 6 w 35"/>
                  <a:gd name="T49" fmla="*/ 47 h 54"/>
                  <a:gd name="T50" fmla="*/ 6 w 35"/>
                  <a:gd name="T51" fmla="*/ 50 h 54"/>
                  <a:gd name="T52" fmla="*/ 8 w 35"/>
                  <a:gd name="T53" fmla="*/ 52 h 54"/>
                  <a:gd name="T54" fmla="*/ 9 w 35"/>
                  <a:gd name="T55" fmla="*/ 54 h 54"/>
                  <a:gd name="T56" fmla="*/ 11 w 35"/>
                  <a:gd name="T57" fmla="*/ 52 h 54"/>
                  <a:gd name="T58" fmla="*/ 12 w 35"/>
                  <a:gd name="T59" fmla="*/ 49 h 54"/>
                  <a:gd name="T60" fmla="*/ 14 w 35"/>
                  <a:gd name="T61" fmla="*/ 47 h 54"/>
                  <a:gd name="T62" fmla="*/ 16 w 35"/>
                  <a:gd name="T63" fmla="*/ 46 h 54"/>
                  <a:gd name="T64" fmla="*/ 17 w 35"/>
                  <a:gd name="T65" fmla="*/ 44 h 54"/>
                  <a:gd name="T66" fmla="*/ 19 w 35"/>
                  <a:gd name="T67" fmla="*/ 46 h 54"/>
                  <a:gd name="T68" fmla="*/ 20 w 35"/>
                  <a:gd name="T69" fmla="*/ 47 h 54"/>
                  <a:gd name="T70" fmla="*/ 23 w 35"/>
                  <a:gd name="T71" fmla="*/ 47 h 54"/>
                  <a:gd name="T72" fmla="*/ 25 w 35"/>
                  <a:gd name="T73" fmla="*/ 46 h 54"/>
                  <a:gd name="T74" fmla="*/ 23 w 35"/>
                  <a:gd name="T75" fmla="*/ 44 h 54"/>
                  <a:gd name="T76" fmla="*/ 22 w 35"/>
                  <a:gd name="T77" fmla="*/ 43 h 54"/>
                  <a:gd name="T78" fmla="*/ 20 w 35"/>
                  <a:gd name="T79" fmla="*/ 41 h 54"/>
                  <a:gd name="T80" fmla="*/ 22 w 35"/>
                  <a:gd name="T81" fmla="*/ 38 h 54"/>
                  <a:gd name="T82" fmla="*/ 20 w 35"/>
                  <a:gd name="T83" fmla="*/ 36 h 54"/>
                  <a:gd name="T84" fmla="*/ 20 w 35"/>
                  <a:gd name="T85" fmla="*/ 33 h 54"/>
                  <a:gd name="T86" fmla="*/ 19 w 35"/>
                  <a:gd name="T87" fmla="*/ 31 h 54"/>
                  <a:gd name="T88" fmla="*/ 17 w 35"/>
                  <a:gd name="T89" fmla="*/ 30 h 54"/>
                  <a:gd name="T90" fmla="*/ 16 w 35"/>
                  <a:gd name="T91" fmla="*/ 27 h 54"/>
                  <a:gd name="T92" fmla="*/ 17 w 35"/>
                  <a:gd name="T93" fmla="*/ 25 h 54"/>
                  <a:gd name="T94" fmla="*/ 20 w 35"/>
                  <a:gd name="T95" fmla="*/ 22 h 54"/>
                  <a:gd name="T96" fmla="*/ 23 w 35"/>
                  <a:gd name="T97" fmla="*/ 22 h 54"/>
                  <a:gd name="T98" fmla="*/ 27 w 35"/>
                  <a:gd name="T99" fmla="*/ 22 h 54"/>
                  <a:gd name="T100" fmla="*/ 28 w 35"/>
                  <a:gd name="T101" fmla="*/ 20 h 54"/>
                  <a:gd name="T102" fmla="*/ 30 w 35"/>
                  <a:gd name="T103" fmla="*/ 17 h 54"/>
                  <a:gd name="T104" fmla="*/ 31 w 35"/>
                  <a:gd name="T105" fmla="*/ 16 h 54"/>
                  <a:gd name="T106" fmla="*/ 35 w 35"/>
                  <a:gd name="T107" fmla="*/ 16 h 54"/>
                  <a:gd name="T108" fmla="*/ 35 w 35"/>
                  <a:gd name="T109" fmla="*/ 12 h 54"/>
                  <a:gd name="T110" fmla="*/ 35 w 35"/>
                  <a:gd name="T111" fmla="*/ 9 h 54"/>
                  <a:gd name="T112" fmla="*/ 33 w 35"/>
                  <a:gd name="T113" fmla="*/ 8 h 54"/>
                  <a:gd name="T114" fmla="*/ 30 w 35"/>
                  <a:gd name="T115" fmla="*/ 8 h 54"/>
                  <a:gd name="T116" fmla="*/ 28 w 35"/>
                  <a:gd name="T117" fmla="*/ 6 h 54"/>
                  <a:gd name="T118" fmla="*/ 27 w 35"/>
                  <a:gd name="T119" fmla="*/ 3 h 54"/>
                  <a:gd name="T120" fmla="*/ 23 w 35"/>
                  <a:gd name="T121" fmla="*/ 1 h 54"/>
                  <a:gd name="T122" fmla="*/ 22 w 35"/>
                  <a:gd name="T12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5" h="54">
                    <a:moveTo>
                      <a:pt x="22" y="0"/>
                    </a:moveTo>
                    <a:lnTo>
                      <a:pt x="20" y="0"/>
                    </a:lnTo>
                    <a:lnTo>
                      <a:pt x="19" y="0"/>
                    </a:lnTo>
                    <a:lnTo>
                      <a:pt x="17" y="0"/>
                    </a:lnTo>
                    <a:lnTo>
                      <a:pt x="16" y="1"/>
                    </a:lnTo>
                    <a:lnTo>
                      <a:pt x="14" y="1"/>
                    </a:lnTo>
                    <a:lnTo>
                      <a:pt x="14" y="3"/>
                    </a:lnTo>
                    <a:lnTo>
                      <a:pt x="12" y="3"/>
                    </a:lnTo>
                    <a:lnTo>
                      <a:pt x="12" y="5"/>
                    </a:lnTo>
                    <a:lnTo>
                      <a:pt x="11" y="5"/>
                    </a:lnTo>
                    <a:lnTo>
                      <a:pt x="9" y="5"/>
                    </a:lnTo>
                    <a:lnTo>
                      <a:pt x="8" y="6"/>
                    </a:lnTo>
                    <a:lnTo>
                      <a:pt x="6" y="6"/>
                    </a:lnTo>
                    <a:lnTo>
                      <a:pt x="4" y="6"/>
                    </a:lnTo>
                    <a:lnTo>
                      <a:pt x="4" y="8"/>
                    </a:lnTo>
                    <a:lnTo>
                      <a:pt x="4" y="9"/>
                    </a:lnTo>
                    <a:lnTo>
                      <a:pt x="3" y="9"/>
                    </a:lnTo>
                    <a:lnTo>
                      <a:pt x="3" y="11"/>
                    </a:lnTo>
                    <a:lnTo>
                      <a:pt x="3" y="12"/>
                    </a:lnTo>
                    <a:lnTo>
                      <a:pt x="1" y="12"/>
                    </a:lnTo>
                    <a:lnTo>
                      <a:pt x="1" y="14"/>
                    </a:lnTo>
                    <a:lnTo>
                      <a:pt x="3" y="14"/>
                    </a:lnTo>
                    <a:lnTo>
                      <a:pt x="1" y="14"/>
                    </a:lnTo>
                    <a:lnTo>
                      <a:pt x="1" y="16"/>
                    </a:lnTo>
                    <a:lnTo>
                      <a:pt x="1" y="17"/>
                    </a:lnTo>
                    <a:lnTo>
                      <a:pt x="1" y="19"/>
                    </a:lnTo>
                    <a:lnTo>
                      <a:pt x="1" y="20"/>
                    </a:lnTo>
                    <a:lnTo>
                      <a:pt x="0" y="20"/>
                    </a:lnTo>
                    <a:lnTo>
                      <a:pt x="0" y="22"/>
                    </a:lnTo>
                    <a:lnTo>
                      <a:pt x="1" y="22"/>
                    </a:lnTo>
                    <a:lnTo>
                      <a:pt x="1" y="24"/>
                    </a:lnTo>
                    <a:lnTo>
                      <a:pt x="0" y="24"/>
                    </a:lnTo>
                    <a:lnTo>
                      <a:pt x="0" y="25"/>
                    </a:lnTo>
                    <a:lnTo>
                      <a:pt x="0" y="27"/>
                    </a:lnTo>
                    <a:lnTo>
                      <a:pt x="0" y="28"/>
                    </a:lnTo>
                    <a:lnTo>
                      <a:pt x="1" y="30"/>
                    </a:lnTo>
                    <a:lnTo>
                      <a:pt x="1" y="31"/>
                    </a:lnTo>
                    <a:lnTo>
                      <a:pt x="1" y="33"/>
                    </a:lnTo>
                    <a:lnTo>
                      <a:pt x="1" y="35"/>
                    </a:lnTo>
                    <a:lnTo>
                      <a:pt x="1" y="36"/>
                    </a:lnTo>
                    <a:lnTo>
                      <a:pt x="1" y="38"/>
                    </a:lnTo>
                    <a:lnTo>
                      <a:pt x="3" y="38"/>
                    </a:lnTo>
                    <a:lnTo>
                      <a:pt x="3" y="39"/>
                    </a:lnTo>
                    <a:lnTo>
                      <a:pt x="3" y="41"/>
                    </a:lnTo>
                    <a:lnTo>
                      <a:pt x="3" y="43"/>
                    </a:lnTo>
                    <a:lnTo>
                      <a:pt x="4" y="43"/>
                    </a:lnTo>
                    <a:lnTo>
                      <a:pt x="4" y="44"/>
                    </a:lnTo>
                    <a:lnTo>
                      <a:pt x="4" y="46"/>
                    </a:lnTo>
                    <a:lnTo>
                      <a:pt x="4" y="47"/>
                    </a:lnTo>
                    <a:lnTo>
                      <a:pt x="6" y="47"/>
                    </a:lnTo>
                    <a:lnTo>
                      <a:pt x="6" y="49"/>
                    </a:lnTo>
                    <a:lnTo>
                      <a:pt x="6" y="50"/>
                    </a:lnTo>
                    <a:lnTo>
                      <a:pt x="8" y="50"/>
                    </a:lnTo>
                    <a:lnTo>
                      <a:pt x="8" y="52"/>
                    </a:lnTo>
                    <a:lnTo>
                      <a:pt x="9" y="52"/>
                    </a:lnTo>
                    <a:lnTo>
                      <a:pt x="9" y="54"/>
                    </a:lnTo>
                    <a:lnTo>
                      <a:pt x="11" y="54"/>
                    </a:lnTo>
                    <a:lnTo>
                      <a:pt x="11" y="52"/>
                    </a:lnTo>
                    <a:lnTo>
                      <a:pt x="11" y="50"/>
                    </a:lnTo>
                    <a:lnTo>
                      <a:pt x="12" y="49"/>
                    </a:lnTo>
                    <a:lnTo>
                      <a:pt x="12" y="47"/>
                    </a:lnTo>
                    <a:lnTo>
                      <a:pt x="14" y="47"/>
                    </a:lnTo>
                    <a:lnTo>
                      <a:pt x="14" y="46"/>
                    </a:lnTo>
                    <a:lnTo>
                      <a:pt x="16" y="46"/>
                    </a:lnTo>
                    <a:lnTo>
                      <a:pt x="17" y="46"/>
                    </a:lnTo>
                    <a:lnTo>
                      <a:pt x="17" y="44"/>
                    </a:lnTo>
                    <a:lnTo>
                      <a:pt x="19" y="44"/>
                    </a:lnTo>
                    <a:lnTo>
                      <a:pt x="19" y="46"/>
                    </a:lnTo>
                    <a:lnTo>
                      <a:pt x="19" y="47"/>
                    </a:lnTo>
                    <a:lnTo>
                      <a:pt x="20" y="47"/>
                    </a:lnTo>
                    <a:lnTo>
                      <a:pt x="22" y="47"/>
                    </a:lnTo>
                    <a:lnTo>
                      <a:pt x="23" y="47"/>
                    </a:lnTo>
                    <a:lnTo>
                      <a:pt x="25" y="47"/>
                    </a:lnTo>
                    <a:lnTo>
                      <a:pt x="25" y="46"/>
                    </a:lnTo>
                    <a:lnTo>
                      <a:pt x="25" y="44"/>
                    </a:lnTo>
                    <a:lnTo>
                      <a:pt x="23" y="44"/>
                    </a:lnTo>
                    <a:lnTo>
                      <a:pt x="22" y="44"/>
                    </a:lnTo>
                    <a:lnTo>
                      <a:pt x="22" y="43"/>
                    </a:lnTo>
                    <a:lnTo>
                      <a:pt x="22" y="41"/>
                    </a:lnTo>
                    <a:lnTo>
                      <a:pt x="20" y="41"/>
                    </a:lnTo>
                    <a:lnTo>
                      <a:pt x="22" y="39"/>
                    </a:lnTo>
                    <a:lnTo>
                      <a:pt x="22" y="38"/>
                    </a:lnTo>
                    <a:lnTo>
                      <a:pt x="22" y="36"/>
                    </a:lnTo>
                    <a:lnTo>
                      <a:pt x="20" y="36"/>
                    </a:lnTo>
                    <a:lnTo>
                      <a:pt x="20" y="35"/>
                    </a:lnTo>
                    <a:lnTo>
                      <a:pt x="20" y="33"/>
                    </a:lnTo>
                    <a:lnTo>
                      <a:pt x="20" y="31"/>
                    </a:lnTo>
                    <a:lnTo>
                      <a:pt x="19" y="31"/>
                    </a:lnTo>
                    <a:lnTo>
                      <a:pt x="17" y="31"/>
                    </a:lnTo>
                    <a:lnTo>
                      <a:pt x="17" y="30"/>
                    </a:lnTo>
                    <a:lnTo>
                      <a:pt x="16" y="28"/>
                    </a:lnTo>
                    <a:lnTo>
                      <a:pt x="16" y="27"/>
                    </a:lnTo>
                    <a:lnTo>
                      <a:pt x="17" y="27"/>
                    </a:lnTo>
                    <a:lnTo>
                      <a:pt x="17" y="25"/>
                    </a:lnTo>
                    <a:lnTo>
                      <a:pt x="19" y="24"/>
                    </a:lnTo>
                    <a:lnTo>
                      <a:pt x="20" y="22"/>
                    </a:lnTo>
                    <a:lnTo>
                      <a:pt x="22" y="22"/>
                    </a:lnTo>
                    <a:lnTo>
                      <a:pt x="23" y="22"/>
                    </a:lnTo>
                    <a:lnTo>
                      <a:pt x="25" y="22"/>
                    </a:lnTo>
                    <a:lnTo>
                      <a:pt x="27" y="22"/>
                    </a:lnTo>
                    <a:lnTo>
                      <a:pt x="27" y="20"/>
                    </a:lnTo>
                    <a:lnTo>
                      <a:pt x="28" y="20"/>
                    </a:lnTo>
                    <a:lnTo>
                      <a:pt x="30" y="19"/>
                    </a:lnTo>
                    <a:lnTo>
                      <a:pt x="30" y="17"/>
                    </a:lnTo>
                    <a:lnTo>
                      <a:pt x="30" y="16"/>
                    </a:lnTo>
                    <a:lnTo>
                      <a:pt x="31" y="16"/>
                    </a:lnTo>
                    <a:lnTo>
                      <a:pt x="33" y="16"/>
                    </a:lnTo>
                    <a:lnTo>
                      <a:pt x="35" y="16"/>
                    </a:lnTo>
                    <a:lnTo>
                      <a:pt x="35" y="14"/>
                    </a:lnTo>
                    <a:lnTo>
                      <a:pt x="35" y="12"/>
                    </a:lnTo>
                    <a:lnTo>
                      <a:pt x="35" y="11"/>
                    </a:lnTo>
                    <a:lnTo>
                      <a:pt x="35" y="9"/>
                    </a:lnTo>
                    <a:lnTo>
                      <a:pt x="35" y="8"/>
                    </a:lnTo>
                    <a:lnTo>
                      <a:pt x="33" y="8"/>
                    </a:lnTo>
                    <a:lnTo>
                      <a:pt x="31" y="8"/>
                    </a:lnTo>
                    <a:lnTo>
                      <a:pt x="30" y="8"/>
                    </a:lnTo>
                    <a:lnTo>
                      <a:pt x="30" y="6"/>
                    </a:lnTo>
                    <a:lnTo>
                      <a:pt x="28" y="6"/>
                    </a:lnTo>
                    <a:lnTo>
                      <a:pt x="28" y="5"/>
                    </a:lnTo>
                    <a:lnTo>
                      <a:pt x="27" y="3"/>
                    </a:lnTo>
                    <a:lnTo>
                      <a:pt x="25" y="1"/>
                    </a:lnTo>
                    <a:lnTo>
                      <a:pt x="23" y="1"/>
                    </a:lnTo>
                    <a:lnTo>
                      <a:pt x="23" y="0"/>
                    </a:lnTo>
                    <a:lnTo>
                      <a:pt x="22"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62" name="Freeform 60"/>
              <p:cNvSpPr>
                <a:spLocks/>
              </p:cNvSpPr>
              <p:nvPr/>
            </p:nvSpPr>
            <p:spPr bwMode="auto">
              <a:xfrm>
                <a:off x="3090" y="2340"/>
                <a:ext cx="74" cy="78"/>
              </a:xfrm>
              <a:custGeom>
                <a:avLst/>
                <a:gdLst>
                  <a:gd name="T0" fmla="*/ 19 w 74"/>
                  <a:gd name="T1" fmla="*/ 5 h 78"/>
                  <a:gd name="T2" fmla="*/ 16 w 74"/>
                  <a:gd name="T3" fmla="*/ 5 h 78"/>
                  <a:gd name="T4" fmla="*/ 11 w 74"/>
                  <a:gd name="T5" fmla="*/ 6 h 78"/>
                  <a:gd name="T6" fmla="*/ 10 w 74"/>
                  <a:gd name="T7" fmla="*/ 11 h 78"/>
                  <a:gd name="T8" fmla="*/ 8 w 74"/>
                  <a:gd name="T9" fmla="*/ 16 h 78"/>
                  <a:gd name="T10" fmla="*/ 5 w 74"/>
                  <a:gd name="T11" fmla="*/ 19 h 78"/>
                  <a:gd name="T12" fmla="*/ 2 w 74"/>
                  <a:gd name="T13" fmla="*/ 24 h 78"/>
                  <a:gd name="T14" fmla="*/ 0 w 74"/>
                  <a:gd name="T15" fmla="*/ 28 h 78"/>
                  <a:gd name="T16" fmla="*/ 2 w 74"/>
                  <a:gd name="T17" fmla="*/ 33 h 78"/>
                  <a:gd name="T18" fmla="*/ 2 w 74"/>
                  <a:gd name="T19" fmla="*/ 36 h 78"/>
                  <a:gd name="T20" fmla="*/ 5 w 74"/>
                  <a:gd name="T21" fmla="*/ 40 h 78"/>
                  <a:gd name="T22" fmla="*/ 8 w 74"/>
                  <a:gd name="T23" fmla="*/ 43 h 78"/>
                  <a:gd name="T24" fmla="*/ 6 w 74"/>
                  <a:gd name="T25" fmla="*/ 49 h 78"/>
                  <a:gd name="T26" fmla="*/ 8 w 74"/>
                  <a:gd name="T27" fmla="*/ 54 h 78"/>
                  <a:gd name="T28" fmla="*/ 13 w 74"/>
                  <a:gd name="T29" fmla="*/ 57 h 78"/>
                  <a:gd name="T30" fmla="*/ 17 w 74"/>
                  <a:gd name="T31" fmla="*/ 59 h 78"/>
                  <a:gd name="T32" fmla="*/ 21 w 74"/>
                  <a:gd name="T33" fmla="*/ 60 h 78"/>
                  <a:gd name="T34" fmla="*/ 25 w 74"/>
                  <a:gd name="T35" fmla="*/ 62 h 78"/>
                  <a:gd name="T36" fmla="*/ 27 w 74"/>
                  <a:gd name="T37" fmla="*/ 65 h 78"/>
                  <a:gd name="T38" fmla="*/ 30 w 74"/>
                  <a:gd name="T39" fmla="*/ 68 h 78"/>
                  <a:gd name="T40" fmla="*/ 35 w 74"/>
                  <a:gd name="T41" fmla="*/ 71 h 78"/>
                  <a:gd name="T42" fmla="*/ 36 w 74"/>
                  <a:gd name="T43" fmla="*/ 76 h 78"/>
                  <a:gd name="T44" fmla="*/ 43 w 74"/>
                  <a:gd name="T45" fmla="*/ 76 h 78"/>
                  <a:gd name="T46" fmla="*/ 46 w 74"/>
                  <a:gd name="T47" fmla="*/ 76 h 78"/>
                  <a:gd name="T48" fmla="*/ 51 w 74"/>
                  <a:gd name="T49" fmla="*/ 71 h 78"/>
                  <a:gd name="T50" fmla="*/ 52 w 74"/>
                  <a:gd name="T51" fmla="*/ 67 h 78"/>
                  <a:gd name="T52" fmla="*/ 60 w 74"/>
                  <a:gd name="T53" fmla="*/ 65 h 78"/>
                  <a:gd name="T54" fmla="*/ 63 w 74"/>
                  <a:gd name="T55" fmla="*/ 65 h 78"/>
                  <a:gd name="T56" fmla="*/ 63 w 74"/>
                  <a:gd name="T57" fmla="*/ 59 h 78"/>
                  <a:gd name="T58" fmla="*/ 60 w 74"/>
                  <a:gd name="T59" fmla="*/ 54 h 78"/>
                  <a:gd name="T60" fmla="*/ 59 w 74"/>
                  <a:gd name="T61" fmla="*/ 46 h 78"/>
                  <a:gd name="T62" fmla="*/ 63 w 74"/>
                  <a:gd name="T63" fmla="*/ 46 h 78"/>
                  <a:gd name="T64" fmla="*/ 68 w 74"/>
                  <a:gd name="T65" fmla="*/ 47 h 78"/>
                  <a:gd name="T66" fmla="*/ 70 w 74"/>
                  <a:gd name="T67" fmla="*/ 43 h 78"/>
                  <a:gd name="T68" fmla="*/ 71 w 74"/>
                  <a:gd name="T69" fmla="*/ 40 h 78"/>
                  <a:gd name="T70" fmla="*/ 74 w 74"/>
                  <a:gd name="T71" fmla="*/ 35 h 78"/>
                  <a:gd name="T72" fmla="*/ 73 w 74"/>
                  <a:gd name="T73" fmla="*/ 30 h 78"/>
                  <a:gd name="T74" fmla="*/ 73 w 74"/>
                  <a:gd name="T75" fmla="*/ 25 h 78"/>
                  <a:gd name="T76" fmla="*/ 70 w 74"/>
                  <a:gd name="T77" fmla="*/ 21 h 78"/>
                  <a:gd name="T78" fmla="*/ 68 w 74"/>
                  <a:gd name="T79" fmla="*/ 14 h 78"/>
                  <a:gd name="T80" fmla="*/ 67 w 74"/>
                  <a:gd name="T81" fmla="*/ 8 h 78"/>
                  <a:gd name="T82" fmla="*/ 63 w 74"/>
                  <a:gd name="T83" fmla="*/ 3 h 78"/>
                  <a:gd name="T84" fmla="*/ 59 w 74"/>
                  <a:gd name="T85" fmla="*/ 5 h 78"/>
                  <a:gd name="T86" fmla="*/ 52 w 74"/>
                  <a:gd name="T87" fmla="*/ 6 h 78"/>
                  <a:gd name="T88" fmla="*/ 49 w 74"/>
                  <a:gd name="T89" fmla="*/ 5 h 78"/>
                  <a:gd name="T90" fmla="*/ 48 w 74"/>
                  <a:gd name="T91" fmla="*/ 0 h 78"/>
                  <a:gd name="T92" fmla="*/ 44 w 74"/>
                  <a:gd name="T93" fmla="*/ 3 h 78"/>
                  <a:gd name="T94" fmla="*/ 40 w 74"/>
                  <a:gd name="T95" fmla="*/ 6 h 78"/>
                  <a:gd name="T96" fmla="*/ 36 w 74"/>
                  <a:gd name="T97" fmla="*/ 2 h 78"/>
                  <a:gd name="T98" fmla="*/ 32 w 74"/>
                  <a:gd name="T99" fmla="*/ 0 h 78"/>
                  <a:gd name="T100" fmla="*/ 29 w 74"/>
                  <a:gd name="T101" fmla="*/ 3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4" h="78">
                    <a:moveTo>
                      <a:pt x="25" y="3"/>
                    </a:moveTo>
                    <a:lnTo>
                      <a:pt x="22" y="3"/>
                    </a:lnTo>
                    <a:lnTo>
                      <a:pt x="21" y="5"/>
                    </a:lnTo>
                    <a:lnTo>
                      <a:pt x="19" y="5"/>
                    </a:lnTo>
                    <a:lnTo>
                      <a:pt x="19" y="3"/>
                    </a:lnTo>
                    <a:lnTo>
                      <a:pt x="17" y="3"/>
                    </a:lnTo>
                    <a:lnTo>
                      <a:pt x="16" y="3"/>
                    </a:lnTo>
                    <a:lnTo>
                      <a:pt x="16" y="5"/>
                    </a:lnTo>
                    <a:lnTo>
                      <a:pt x="14" y="5"/>
                    </a:lnTo>
                    <a:lnTo>
                      <a:pt x="13" y="5"/>
                    </a:lnTo>
                    <a:lnTo>
                      <a:pt x="13" y="6"/>
                    </a:lnTo>
                    <a:lnTo>
                      <a:pt x="11" y="6"/>
                    </a:lnTo>
                    <a:lnTo>
                      <a:pt x="11" y="8"/>
                    </a:lnTo>
                    <a:lnTo>
                      <a:pt x="10" y="8"/>
                    </a:lnTo>
                    <a:lnTo>
                      <a:pt x="10" y="9"/>
                    </a:lnTo>
                    <a:lnTo>
                      <a:pt x="10" y="11"/>
                    </a:lnTo>
                    <a:lnTo>
                      <a:pt x="10" y="13"/>
                    </a:lnTo>
                    <a:lnTo>
                      <a:pt x="10" y="14"/>
                    </a:lnTo>
                    <a:lnTo>
                      <a:pt x="8" y="14"/>
                    </a:lnTo>
                    <a:lnTo>
                      <a:pt x="8" y="16"/>
                    </a:lnTo>
                    <a:lnTo>
                      <a:pt x="6" y="16"/>
                    </a:lnTo>
                    <a:lnTo>
                      <a:pt x="6" y="17"/>
                    </a:lnTo>
                    <a:lnTo>
                      <a:pt x="6" y="19"/>
                    </a:lnTo>
                    <a:lnTo>
                      <a:pt x="5" y="19"/>
                    </a:lnTo>
                    <a:lnTo>
                      <a:pt x="5" y="21"/>
                    </a:lnTo>
                    <a:lnTo>
                      <a:pt x="5" y="22"/>
                    </a:lnTo>
                    <a:lnTo>
                      <a:pt x="3" y="24"/>
                    </a:lnTo>
                    <a:lnTo>
                      <a:pt x="2" y="24"/>
                    </a:lnTo>
                    <a:lnTo>
                      <a:pt x="0" y="24"/>
                    </a:lnTo>
                    <a:lnTo>
                      <a:pt x="0" y="25"/>
                    </a:lnTo>
                    <a:lnTo>
                      <a:pt x="0" y="27"/>
                    </a:lnTo>
                    <a:lnTo>
                      <a:pt x="0" y="28"/>
                    </a:lnTo>
                    <a:lnTo>
                      <a:pt x="0" y="30"/>
                    </a:lnTo>
                    <a:lnTo>
                      <a:pt x="2" y="30"/>
                    </a:lnTo>
                    <a:lnTo>
                      <a:pt x="2" y="32"/>
                    </a:lnTo>
                    <a:lnTo>
                      <a:pt x="2" y="33"/>
                    </a:lnTo>
                    <a:lnTo>
                      <a:pt x="0" y="33"/>
                    </a:lnTo>
                    <a:lnTo>
                      <a:pt x="0" y="35"/>
                    </a:lnTo>
                    <a:lnTo>
                      <a:pt x="2" y="35"/>
                    </a:lnTo>
                    <a:lnTo>
                      <a:pt x="2" y="36"/>
                    </a:lnTo>
                    <a:lnTo>
                      <a:pt x="3" y="36"/>
                    </a:lnTo>
                    <a:lnTo>
                      <a:pt x="3" y="38"/>
                    </a:lnTo>
                    <a:lnTo>
                      <a:pt x="5" y="38"/>
                    </a:lnTo>
                    <a:lnTo>
                      <a:pt x="5" y="40"/>
                    </a:lnTo>
                    <a:lnTo>
                      <a:pt x="5" y="41"/>
                    </a:lnTo>
                    <a:lnTo>
                      <a:pt x="6" y="41"/>
                    </a:lnTo>
                    <a:lnTo>
                      <a:pt x="6" y="43"/>
                    </a:lnTo>
                    <a:lnTo>
                      <a:pt x="8" y="43"/>
                    </a:lnTo>
                    <a:lnTo>
                      <a:pt x="8" y="44"/>
                    </a:lnTo>
                    <a:lnTo>
                      <a:pt x="8" y="46"/>
                    </a:lnTo>
                    <a:lnTo>
                      <a:pt x="8" y="47"/>
                    </a:lnTo>
                    <a:lnTo>
                      <a:pt x="6" y="49"/>
                    </a:lnTo>
                    <a:lnTo>
                      <a:pt x="6" y="51"/>
                    </a:lnTo>
                    <a:lnTo>
                      <a:pt x="6" y="52"/>
                    </a:lnTo>
                    <a:lnTo>
                      <a:pt x="8" y="52"/>
                    </a:lnTo>
                    <a:lnTo>
                      <a:pt x="8" y="54"/>
                    </a:lnTo>
                    <a:lnTo>
                      <a:pt x="10" y="54"/>
                    </a:lnTo>
                    <a:lnTo>
                      <a:pt x="11" y="54"/>
                    </a:lnTo>
                    <a:lnTo>
                      <a:pt x="13" y="55"/>
                    </a:lnTo>
                    <a:lnTo>
                      <a:pt x="13" y="57"/>
                    </a:lnTo>
                    <a:lnTo>
                      <a:pt x="14" y="57"/>
                    </a:lnTo>
                    <a:lnTo>
                      <a:pt x="14" y="59"/>
                    </a:lnTo>
                    <a:lnTo>
                      <a:pt x="16" y="59"/>
                    </a:lnTo>
                    <a:lnTo>
                      <a:pt x="17" y="59"/>
                    </a:lnTo>
                    <a:lnTo>
                      <a:pt x="17" y="57"/>
                    </a:lnTo>
                    <a:lnTo>
                      <a:pt x="19" y="57"/>
                    </a:lnTo>
                    <a:lnTo>
                      <a:pt x="21" y="59"/>
                    </a:lnTo>
                    <a:lnTo>
                      <a:pt x="21" y="60"/>
                    </a:lnTo>
                    <a:lnTo>
                      <a:pt x="22" y="60"/>
                    </a:lnTo>
                    <a:lnTo>
                      <a:pt x="22" y="62"/>
                    </a:lnTo>
                    <a:lnTo>
                      <a:pt x="24" y="62"/>
                    </a:lnTo>
                    <a:lnTo>
                      <a:pt x="25" y="62"/>
                    </a:lnTo>
                    <a:lnTo>
                      <a:pt x="27" y="62"/>
                    </a:lnTo>
                    <a:lnTo>
                      <a:pt x="25" y="62"/>
                    </a:lnTo>
                    <a:lnTo>
                      <a:pt x="25" y="63"/>
                    </a:lnTo>
                    <a:lnTo>
                      <a:pt x="27" y="65"/>
                    </a:lnTo>
                    <a:lnTo>
                      <a:pt x="27" y="67"/>
                    </a:lnTo>
                    <a:lnTo>
                      <a:pt x="29" y="67"/>
                    </a:lnTo>
                    <a:lnTo>
                      <a:pt x="29" y="68"/>
                    </a:lnTo>
                    <a:lnTo>
                      <a:pt x="30" y="68"/>
                    </a:lnTo>
                    <a:lnTo>
                      <a:pt x="30" y="70"/>
                    </a:lnTo>
                    <a:lnTo>
                      <a:pt x="32" y="71"/>
                    </a:lnTo>
                    <a:lnTo>
                      <a:pt x="33" y="71"/>
                    </a:lnTo>
                    <a:lnTo>
                      <a:pt x="35" y="71"/>
                    </a:lnTo>
                    <a:lnTo>
                      <a:pt x="35" y="73"/>
                    </a:lnTo>
                    <a:lnTo>
                      <a:pt x="36" y="73"/>
                    </a:lnTo>
                    <a:lnTo>
                      <a:pt x="36" y="74"/>
                    </a:lnTo>
                    <a:lnTo>
                      <a:pt x="36" y="76"/>
                    </a:lnTo>
                    <a:lnTo>
                      <a:pt x="38" y="76"/>
                    </a:lnTo>
                    <a:lnTo>
                      <a:pt x="40" y="76"/>
                    </a:lnTo>
                    <a:lnTo>
                      <a:pt x="41" y="76"/>
                    </a:lnTo>
                    <a:lnTo>
                      <a:pt x="43" y="76"/>
                    </a:lnTo>
                    <a:lnTo>
                      <a:pt x="43" y="78"/>
                    </a:lnTo>
                    <a:lnTo>
                      <a:pt x="44" y="78"/>
                    </a:lnTo>
                    <a:lnTo>
                      <a:pt x="46" y="78"/>
                    </a:lnTo>
                    <a:lnTo>
                      <a:pt x="46" y="76"/>
                    </a:lnTo>
                    <a:lnTo>
                      <a:pt x="48" y="76"/>
                    </a:lnTo>
                    <a:lnTo>
                      <a:pt x="48" y="74"/>
                    </a:lnTo>
                    <a:lnTo>
                      <a:pt x="49" y="74"/>
                    </a:lnTo>
                    <a:lnTo>
                      <a:pt x="51" y="71"/>
                    </a:lnTo>
                    <a:lnTo>
                      <a:pt x="51" y="70"/>
                    </a:lnTo>
                    <a:lnTo>
                      <a:pt x="51" y="67"/>
                    </a:lnTo>
                    <a:lnTo>
                      <a:pt x="51" y="65"/>
                    </a:lnTo>
                    <a:lnTo>
                      <a:pt x="52" y="67"/>
                    </a:lnTo>
                    <a:lnTo>
                      <a:pt x="55" y="67"/>
                    </a:lnTo>
                    <a:lnTo>
                      <a:pt x="57" y="67"/>
                    </a:lnTo>
                    <a:lnTo>
                      <a:pt x="59" y="65"/>
                    </a:lnTo>
                    <a:lnTo>
                      <a:pt x="60" y="65"/>
                    </a:lnTo>
                    <a:lnTo>
                      <a:pt x="62" y="65"/>
                    </a:lnTo>
                    <a:lnTo>
                      <a:pt x="62" y="67"/>
                    </a:lnTo>
                    <a:lnTo>
                      <a:pt x="63" y="67"/>
                    </a:lnTo>
                    <a:lnTo>
                      <a:pt x="63" y="65"/>
                    </a:lnTo>
                    <a:lnTo>
                      <a:pt x="63" y="63"/>
                    </a:lnTo>
                    <a:lnTo>
                      <a:pt x="63" y="62"/>
                    </a:lnTo>
                    <a:lnTo>
                      <a:pt x="63" y="60"/>
                    </a:lnTo>
                    <a:lnTo>
                      <a:pt x="63" y="59"/>
                    </a:lnTo>
                    <a:lnTo>
                      <a:pt x="63" y="57"/>
                    </a:lnTo>
                    <a:lnTo>
                      <a:pt x="62" y="57"/>
                    </a:lnTo>
                    <a:lnTo>
                      <a:pt x="62" y="55"/>
                    </a:lnTo>
                    <a:lnTo>
                      <a:pt x="60" y="54"/>
                    </a:lnTo>
                    <a:lnTo>
                      <a:pt x="60" y="52"/>
                    </a:lnTo>
                    <a:lnTo>
                      <a:pt x="59" y="51"/>
                    </a:lnTo>
                    <a:lnTo>
                      <a:pt x="59" y="47"/>
                    </a:lnTo>
                    <a:lnTo>
                      <a:pt x="59" y="46"/>
                    </a:lnTo>
                    <a:lnTo>
                      <a:pt x="59" y="44"/>
                    </a:lnTo>
                    <a:lnTo>
                      <a:pt x="60" y="44"/>
                    </a:lnTo>
                    <a:lnTo>
                      <a:pt x="62" y="44"/>
                    </a:lnTo>
                    <a:lnTo>
                      <a:pt x="63" y="46"/>
                    </a:lnTo>
                    <a:lnTo>
                      <a:pt x="65" y="46"/>
                    </a:lnTo>
                    <a:lnTo>
                      <a:pt x="67" y="46"/>
                    </a:lnTo>
                    <a:lnTo>
                      <a:pt x="68" y="46"/>
                    </a:lnTo>
                    <a:lnTo>
                      <a:pt x="68" y="47"/>
                    </a:lnTo>
                    <a:lnTo>
                      <a:pt x="70" y="47"/>
                    </a:lnTo>
                    <a:lnTo>
                      <a:pt x="71" y="46"/>
                    </a:lnTo>
                    <a:lnTo>
                      <a:pt x="70" y="44"/>
                    </a:lnTo>
                    <a:lnTo>
                      <a:pt x="70" y="43"/>
                    </a:lnTo>
                    <a:lnTo>
                      <a:pt x="70" y="41"/>
                    </a:lnTo>
                    <a:lnTo>
                      <a:pt x="71" y="40"/>
                    </a:lnTo>
                    <a:lnTo>
                      <a:pt x="71" y="41"/>
                    </a:lnTo>
                    <a:lnTo>
                      <a:pt x="71" y="40"/>
                    </a:lnTo>
                    <a:lnTo>
                      <a:pt x="73" y="40"/>
                    </a:lnTo>
                    <a:lnTo>
                      <a:pt x="73" y="38"/>
                    </a:lnTo>
                    <a:lnTo>
                      <a:pt x="73" y="36"/>
                    </a:lnTo>
                    <a:lnTo>
                      <a:pt x="74" y="35"/>
                    </a:lnTo>
                    <a:lnTo>
                      <a:pt x="73" y="35"/>
                    </a:lnTo>
                    <a:lnTo>
                      <a:pt x="73" y="33"/>
                    </a:lnTo>
                    <a:lnTo>
                      <a:pt x="73" y="32"/>
                    </a:lnTo>
                    <a:lnTo>
                      <a:pt x="73" y="30"/>
                    </a:lnTo>
                    <a:lnTo>
                      <a:pt x="73" y="28"/>
                    </a:lnTo>
                    <a:lnTo>
                      <a:pt x="74" y="28"/>
                    </a:lnTo>
                    <a:lnTo>
                      <a:pt x="74" y="27"/>
                    </a:lnTo>
                    <a:lnTo>
                      <a:pt x="73" y="25"/>
                    </a:lnTo>
                    <a:lnTo>
                      <a:pt x="73" y="24"/>
                    </a:lnTo>
                    <a:lnTo>
                      <a:pt x="71" y="24"/>
                    </a:lnTo>
                    <a:lnTo>
                      <a:pt x="71" y="22"/>
                    </a:lnTo>
                    <a:lnTo>
                      <a:pt x="70" y="21"/>
                    </a:lnTo>
                    <a:lnTo>
                      <a:pt x="71" y="19"/>
                    </a:lnTo>
                    <a:lnTo>
                      <a:pt x="70" y="17"/>
                    </a:lnTo>
                    <a:lnTo>
                      <a:pt x="70" y="16"/>
                    </a:lnTo>
                    <a:lnTo>
                      <a:pt x="68" y="14"/>
                    </a:lnTo>
                    <a:lnTo>
                      <a:pt x="67" y="13"/>
                    </a:lnTo>
                    <a:lnTo>
                      <a:pt x="67" y="11"/>
                    </a:lnTo>
                    <a:lnTo>
                      <a:pt x="67" y="9"/>
                    </a:lnTo>
                    <a:lnTo>
                      <a:pt x="67" y="8"/>
                    </a:lnTo>
                    <a:lnTo>
                      <a:pt x="67" y="6"/>
                    </a:lnTo>
                    <a:lnTo>
                      <a:pt x="65" y="5"/>
                    </a:lnTo>
                    <a:lnTo>
                      <a:pt x="65" y="3"/>
                    </a:lnTo>
                    <a:lnTo>
                      <a:pt x="63" y="3"/>
                    </a:lnTo>
                    <a:lnTo>
                      <a:pt x="62" y="3"/>
                    </a:lnTo>
                    <a:lnTo>
                      <a:pt x="62" y="5"/>
                    </a:lnTo>
                    <a:lnTo>
                      <a:pt x="60" y="5"/>
                    </a:lnTo>
                    <a:lnTo>
                      <a:pt x="59" y="5"/>
                    </a:lnTo>
                    <a:lnTo>
                      <a:pt x="57" y="5"/>
                    </a:lnTo>
                    <a:lnTo>
                      <a:pt x="55" y="5"/>
                    </a:lnTo>
                    <a:lnTo>
                      <a:pt x="52" y="5"/>
                    </a:lnTo>
                    <a:lnTo>
                      <a:pt x="52" y="6"/>
                    </a:lnTo>
                    <a:lnTo>
                      <a:pt x="51" y="5"/>
                    </a:lnTo>
                    <a:lnTo>
                      <a:pt x="51" y="6"/>
                    </a:lnTo>
                    <a:lnTo>
                      <a:pt x="49" y="6"/>
                    </a:lnTo>
                    <a:lnTo>
                      <a:pt x="49" y="5"/>
                    </a:lnTo>
                    <a:lnTo>
                      <a:pt x="49" y="3"/>
                    </a:lnTo>
                    <a:lnTo>
                      <a:pt x="48" y="3"/>
                    </a:lnTo>
                    <a:lnTo>
                      <a:pt x="48" y="2"/>
                    </a:lnTo>
                    <a:lnTo>
                      <a:pt x="48" y="0"/>
                    </a:lnTo>
                    <a:lnTo>
                      <a:pt x="46" y="0"/>
                    </a:lnTo>
                    <a:lnTo>
                      <a:pt x="46" y="2"/>
                    </a:lnTo>
                    <a:lnTo>
                      <a:pt x="44" y="2"/>
                    </a:lnTo>
                    <a:lnTo>
                      <a:pt x="44" y="3"/>
                    </a:lnTo>
                    <a:lnTo>
                      <a:pt x="43" y="3"/>
                    </a:lnTo>
                    <a:lnTo>
                      <a:pt x="41" y="5"/>
                    </a:lnTo>
                    <a:lnTo>
                      <a:pt x="41" y="6"/>
                    </a:lnTo>
                    <a:lnTo>
                      <a:pt x="40" y="6"/>
                    </a:lnTo>
                    <a:lnTo>
                      <a:pt x="38" y="5"/>
                    </a:lnTo>
                    <a:lnTo>
                      <a:pt x="38" y="3"/>
                    </a:lnTo>
                    <a:lnTo>
                      <a:pt x="36" y="3"/>
                    </a:lnTo>
                    <a:lnTo>
                      <a:pt x="36" y="2"/>
                    </a:lnTo>
                    <a:lnTo>
                      <a:pt x="36" y="0"/>
                    </a:lnTo>
                    <a:lnTo>
                      <a:pt x="35" y="0"/>
                    </a:lnTo>
                    <a:lnTo>
                      <a:pt x="33" y="0"/>
                    </a:lnTo>
                    <a:lnTo>
                      <a:pt x="32" y="0"/>
                    </a:lnTo>
                    <a:lnTo>
                      <a:pt x="32" y="2"/>
                    </a:lnTo>
                    <a:lnTo>
                      <a:pt x="30" y="2"/>
                    </a:lnTo>
                    <a:lnTo>
                      <a:pt x="29" y="2"/>
                    </a:lnTo>
                    <a:lnTo>
                      <a:pt x="29" y="3"/>
                    </a:lnTo>
                    <a:lnTo>
                      <a:pt x="27" y="3"/>
                    </a:lnTo>
                    <a:lnTo>
                      <a:pt x="25" y="3"/>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63" name="Freeform 61"/>
              <p:cNvSpPr>
                <a:spLocks/>
              </p:cNvSpPr>
              <p:nvPr/>
            </p:nvSpPr>
            <p:spPr bwMode="auto">
              <a:xfrm>
                <a:off x="2317" y="2357"/>
                <a:ext cx="70" cy="73"/>
              </a:xfrm>
              <a:custGeom>
                <a:avLst/>
                <a:gdLst>
                  <a:gd name="T0" fmla="*/ 68 w 70"/>
                  <a:gd name="T1" fmla="*/ 56 h 73"/>
                  <a:gd name="T2" fmla="*/ 65 w 70"/>
                  <a:gd name="T3" fmla="*/ 53 h 73"/>
                  <a:gd name="T4" fmla="*/ 62 w 70"/>
                  <a:gd name="T5" fmla="*/ 50 h 73"/>
                  <a:gd name="T6" fmla="*/ 60 w 70"/>
                  <a:gd name="T7" fmla="*/ 48 h 73"/>
                  <a:gd name="T8" fmla="*/ 62 w 70"/>
                  <a:gd name="T9" fmla="*/ 43 h 73"/>
                  <a:gd name="T10" fmla="*/ 62 w 70"/>
                  <a:gd name="T11" fmla="*/ 37 h 73"/>
                  <a:gd name="T12" fmla="*/ 63 w 70"/>
                  <a:gd name="T13" fmla="*/ 32 h 73"/>
                  <a:gd name="T14" fmla="*/ 63 w 70"/>
                  <a:gd name="T15" fmla="*/ 26 h 73"/>
                  <a:gd name="T16" fmla="*/ 65 w 70"/>
                  <a:gd name="T17" fmla="*/ 21 h 73"/>
                  <a:gd name="T18" fmla="*/ 60 w 70"/>
                  <a:gd name="T19" fmla="*/ 23 h 73"/>
                  <a:gd name="T20" fmla="*/ 57 w 70"/>
                  <a:gd name="T21" fmla="*/ 23 h 73"/>
                  <a:gd name="T22" fmla="*/ 54 w 70"/>
                  <a:gd name="T23" fmla="*/ 19 h 73"/>
                  <a:gd name="T24" fmla="*/ 49 w 70"/>
                  <a:gd name="T25" fmla="*/ 18 h 73"/>
                  <a:gd name="T26" fmla="*/ 48 w 70"/>
                  <a:gd name="T27" fmla="*/ 13 h 73"/>
                  <a:gd name="T28" fmla="*/ 49 w 70"/>
                  <a:gd name="T29" fmla="*/ 11 h 73"/>
                  <a:gd name="T30" fmla="*/ 52 w 70"/>
                  <a:gd name="T31" fmla="*/ 8 h 73"/>
                  <a:gd name="T32" fmla="*/ 48 w 70"/>
                  <a:gd name="T33" fmla="*/ 7 h 73"/>
                  <a:gd name="T34" fmla="*/ 44 w 70"/>
                  <a:gd name="T35" fmla="*/ 4 h 73"/>
                  <a:gd name="T36" fmla="*/ 41 w 70"/>
                  <a:gd name="T37" fmla="*/ 4 h 73"/>
                  <a:gd name="T38" fmla="*/ 36 w 70"/>
                  <a:gd name="T39" fmla="*/ 4 h 73"/>
                  <a:gd name="T40" fmla="*/ 33 w 70"/>
                  <a:gd name="T41" fmla="*/ 4 h 73"/>
                  <a:gd name="T42" fmla="*/ 29 w 70"/>
                  <a:gd name="T43" fmla="*/ 4 h 73"/>
                  <a:gd name="T44" fmla="*/ 22 w 70"/>
                  <a:gd name="T45" fmla="*/ 4 h 73"/>
                  <a:gd name="T46" fmla="*/ 19 w 70"/>
                  <a:gd name="T47" fmla="*/ 0 h 73"/>
                  <a:gd name="T48" fmla="*/ 14 w 70"/>
                  <a:gd name="T49" fmla="*/ 2 h 73"/>
                  <a:gd name="T50" fmla="*/ 11 w 70"/>
                  <a:gd name="T51" fmla="*/ 4 h 73"/>
                  <a:gd name="T52" fmla="*/ 10 w 70"/>
                  <a:gd name="T53" fmla="*/ 8 h 73"/>
                  <a:gd name="T54" fmla="*/ 10 w 70"/>
                  <a:gd name="T55" fmla="*/ 15 h 73"/>
                  <a:gd name="T56" fmla="*/ 10 w 70"/>
                  <a:gd name="T57" fmla="*/ 18 h 73"/>
                  <a:gd name="T58" fmla="*/ 8 w 70"/>
                  <a:gd name="T59" fmla="*/ 19 h 73"/>
                  <a:gd name="T60" fmla="*/ 5 w 70"/>
                  <a:gd name="T61" fmla="*/ 23 h 73"/>
                  <a:gd name="T62" fmla="*/ 3 w 70"/>
                  <a:gd name="T63" fmla="*/ 26 h 73"/>
                  <a:gd name="T64" fmla="*/ 2 w 70"/>
                  <a:gd name="T65" fmla="*/ 30 h 73"/>
                  <a:gd name="T66" fmla="*/ 2 w 70"/>
                  <a:gd name="T67" fmla="*/ 34 h 73"/>
                  <a:gd name="T68" fmla="*/ 2 w 70"/>
                  <a:gd name="T69" fmla="*/ 37 h 73"/>
                  <a:gd name="T70" fmla="*/ 0 w 70"/>
                  <a:gd name="T71" fmla="*/ 38 h 73"/>
                  <a:gd name="T72" fmla="*/ 2 w 70"/>
                  <a:gd name="T73" fmla="*/ 42 h 73"/>
                  <a:gd name="T74" fmla="*/ 0 w 70"/>
                  <a:gd name="T75" fmla="*/ 46 h 73"/>
                  <a:gd name="T76" fmla="*/ 2 w 70"/>
                  <a:gd name="T77" fmla="*/ 53 h 73"/>
                  <a:gd name="T78" fmla="*/ 6 w 70"/>
                  <a:gd name="T79" fmla="*/ 54 h 73"/>
                  <a:gd name="T80" fmla="*/ 10 w 70"/>
                  <a:gd name="T81" fmla="*/ 54 h 73"/>
                  <a:gd name="T82" fmla="*/ 13 w 70"/>
                  <a:gd name="T83" fmla="*/ 54 h 73"/>
                  <a:gd name="T84" fmla="*/ 19 w 70"/>
                  <a:gd name="T85" fmla="*/ 53 h 73"/>
                  <a:gd name="T86" fmla="*/ 24 w 70"/>
                  <a:gd name="T87" fmla="*/ 53 h 73"/>
                  <a:gd name="T88" fmla="*/ 27 w 70"/>
                  <a:gd name="T89" fmla="*/ 56 h 73"/>
                  <a:gd name="T90" fmla="*/ 32 w 70"/>
                  <a:gd name="T91" fmla="*/ 57 h 73"/>
                  <a:gd name="T92" fmla="*/ 38 w 70"/>
                  <a:gd name="T93" fmla="*/ 57 h 73"/>
                  <a:gd name="T94" fmla="*/ 40 w 70"/>
                  <a:gd name="T95" fmla="*/ 53 h 73"/>
                  <a:gd name="T96" fmla="*/ 43 w 70"/>
                  <a:gd name="T97" fmla="*/ 50 h 73"/>
                  <a:gd name="T98" fmla="*/ 46 w 70"/>
                  <a:gd name="T99" fmla="*/ 48 h 73"/>
                  <a:gd name="T100" fmla="*/ 46 w 70"/>
                  <a:gd name="T101" fmla="*/ 51 h 73"/>
                  <a:gd name="T102" fmla="*/ 49 w 70"/>
                  <a:gd name="T103" fmla="*/ 54 h 73"/>
                  <a:gd name="T104" fmla="*/ 55 w 70"/>
                  <a:gd name="T105" fmla="*/ 56 h 73"/>
                  <a:gd name="T106" fmla="*/ 57 w 70"/>
                  <a:gd name="T107" fmla="*/ 62 h 73"/>
                  <a:gd name="T108" fmla="*/ 57 w 70"/>
                  <a:gd name="T109" fmla="*/ 69 h 73"/>
                  <a:gd name="T110" fmla="*/ 60 w 70"/>
                  <a:gd name="T111" fmla="*/ 72 h 73"/>
                  <a:gd name="T112" fmla="*/ 65 w 70"/>
                  <a:gd name="T113" fmla="*/ 73 h 73"/>
                  <a:gd name="T114" fmla="*/ 70 w 70"/>
                  <a:gd name="T115" fmla="*/ 72 h 73"/>
                  <a:gd name="T116" fmla="*/ 70 w 70"/>
                  <a:gd name="T117" fmla="*/ 69 h 73"/>
                  <a:gd name="T118" fmla="*/ 67 w 70"/>
                  <a:gd name="T119" fmla="*/ 65 h 73"/>
                  <a:gd name="T120" fmla="*/ 63 w 70"/>
                  <a:gd name="T121" fmla="*/ 62 h 73"/>
                  <a:gd name="T122" fmla="*/ 68 w 70"/>
                  <a:gd name="T123" fmla="*/ 61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 h="73">
                    <a:moveTo>
                      <a:pt x="70" y="59"/>
                    </a:moveTo>
                    <a:lnTo>
                      <a:pt x="70" y="57"/>
                    </a:lnTo>
                    <a:lnTo>
                      <a:pt x="68" y="57"/>
                    </a:lnTo>
                    <a:lnTo>
                      <a:pt x="68" y="56"/>
                    </a:lnTo>
                    <a:lnTo>
                      <a:pt x="68" y="54"/>
                    </a:lnTo>
                    <a:lnTo>
                      <a:pt x="67" y="54"/>
                    </a:lnTo>
                    <a:lnTo>
                      <a:pt x="67" y="53"/>
                    </a:lnTo>
                    <a:lnTo>
                      <a:pt x="65" y="53"/>
                    </a:lnTo>
                    <a:lnTo>
                      <a:pt x="65" y="51"/>
                    </a:lnTo>
                    <a:lnTo>
                      <a:pt x="65" y="50"/>
                    </a:lnTo>
                    <a:lnTo>
                      <a:pt x="63" y="50"/>
                    </a:lnTo>
                    <a:lnTo>
                      <a:pt x="62" y="50"/>
                    </a:lnTo>
                    <a:lnTo>
                      <a:pt x="62" y="51"/>
                    </a:lnTo>
                    <a:lnTo>
                      <a:pt x="62" y="50"/>
                    </a:lnTo>
                    <a:lnTo>
                      <a:pt x="60" y="50"/>
                    </a:lnTo>
                    <a:lnTo>
                      <a:pt x="60" y="48"/>
                    </a:lnTo>
                    <a:lnTo>
                      <a:pt x="60" y="46"/>
                    </a:lnTo>
                    <a:lnTo>
                      <a:pt x="60" y="45"/>
                    </a:lnTo>
                    <a:lnTo>
                      <a:pt x="60" y="43"/>
                    </a:lnTo>
                    <a:lnTo>
                      <a:pt x="62" y="43"/>
                    </a:lnTo>
                    <a:lnTo>
                      <a:pt x="62" y="42"/>
                    </a:lnTo>
                    <a:lnTo>
                      <a:pt x="62" y="40"/>
                    </a:lnTo>
                    <a:lnTo>
                      <a:pt x="62" y="38"/>
                    </a:lnTo>
                    <a:lnTo>
                      <a:pt x="62" y="37"/>
                    </a:lnTo>
                    <a:lnTo>
                      <a:pt x="62" y="35"/>
                    </a:lnTo>
                    <a:lnTo>
                      <a:pt x="62" y="34"/>
                    </a:lnTo>
                    <a:lnTo>
                      <a:pt x="62" y="32"/>
                    </a:lnTo>
                    <a:lnTo>
                      <a:pt x="63" y="32"/>
                    </a:lnTo>
                    <a:lnTo>
                      <a:pt x="63" y="30"/>
                    </a:lnTo>
                    <a:lnTo>
                      <a:pt x="63" y="29"/>
                    </a:lnTo>
                    <a:lnTo>
                      <a:pt x="63" y="27"/>
                    </a:lnTo>
                    <a:lnTo>
                      <a:pt x="63" y="26"/>
                    </a:lnTo>
                    <a:lnTo>
                      <a:pt x="63" y="24"/>
                    </a:lnTo>
                    <a:lnTo>
                      <a:pt x="63" y="23"/>
                    </a:lnTo>
                    <a:lnTo>
                      <a:pt x="63" y="21"/>
                    </a:lnTo>
                    <a:lnTo>
                      <a:pt x="65" y="21"/>
                    </a:lnTo>
                    <a:lnTo>
                      <a:pt x="63" y="21"/>
                    </a:lnTo>
                    <a:lnTo>
                      <a:pt x="62" y="21"/>
                    </a:lnTo>
                    <a:lnTo>
                      <a:pt x="62" y="23"/>
                    </a:lnTo>
                    <a:lnTo>
                      <a:pt x="60" y="23"/>
                    </a:lnTo>
                    <a:lnTo>
                      <a:pt x="60" y="24"/>
                    </a:lnTo>
                    <a:lnTo>
                      <a:pt x="59" y="24"/>
                    </a:lnTo>
                    <a:lnTo>
                      <a:pt x="59" y="23"/>
                    </a:lnTo>
                    <a:lnTo>
                      <a:pt x="57" y="23"/>
                    </a:lnTo>
                    <a:lnTo>
                      <a:pt x="57" y="21"/>
                    </a:lnTo>
                    <a:lnTo>
                      <a:pt x="55" y="21"/>
                    </a:lnTo>
                    <a:lnTo>
                      <a:pt x="55" y="19"/>
                    </a:lnTo>
                    <a:lnTo>
                      <a:pt x="54" y="19"/>
                    </a:lnTo>
                    <a:lnTo>
                      <a:pt x="52" y="19"/>
                    </a:lnTo>
                    <a:lnTo>
                      <a:pt x="52" y="18"/>
                    </a:lnTo>
                    <a:lnTo>
                      <a:pt x="51" y="18"/>
                    </a:lnTo>
                    <a:lnTo>
                      <a:pt x="49" y="18"/>
                    </a:lnTo>
                    <a:lnTo>
                      <a:pt x="49" y="16"/>
                    </a:lnTo>
                    <a:lnTo>
                      <a:pt x="48" y="15"/>
                    </a:lnTo>
                    <a:lnTo>
                      <a:pt x="46" y="13"/>
                    </a:lnTo>
                    <a:lnTo>
                      <a:pt x="48" y="13"/>
                    </a:lnTo>
                    <a:lnTo>
                      <a:pt x="48" y="11"/>
                    </a:lnTo>
                    <a:lnTo>
                      <a:pt x="48" y="13"/>
                    </a:lnTo>
                    <a:lnTo>
                      <a:pt x="48" y="11"/>
                    </a:lnTo>
                    <a:lnTo>
                      <a:pt x="49" y="11"/>
                    </a:lnTo>
                    <a:lnTo>
                      <a:pt x="51" y="11"/>
                    </a:lnTo>
                    <a:lnTo>
                      <a:pt x="51" y="10"/>
                    </a:lnTo>
                    <a:lnTo>
                      <a:pt x="52" y="10"/>
                    </a:lnTo>
                    <a:lnTo>
                      <a:pt x="52" y="8"/>
                    </a:lnTo>
                    <a:lnTo>
                      <a:pt x="51" y="8"/>
                    </a:lnTo>
                    <a:lnTo>
                      <a:pt x="51" y="7"/>
                    </a:lnTo>
                    <a:lnTo>
                      <a:pt x="49" y="7"/>
                    </a:lnTo>
                    <a:lnTo>
                      <a:pt x="48" y="7"/>
                    </a:lnTo>
                    <a:lnTo>
                      <a:pt x="46" y="7"/>
                    </a:lnTo>
                    <a:lnTo>
                      <a:pt x="46" y="5"/>
                    </a:lnTo>
                    <a:lnTo>
                      <a:pt x="44" y="5"/>
                    </a:lnTo>
                    <a:lnTo>
                      <a:pt x="44" y="4"/>
                    </a:lnTo>
                    <a:lnTo>
                      <a:pt x="44" y="5"/>
                    </a:lnTo>
                    <a:lnTo>
                      <a:pt x="43" y="5"/>
                    </a:lnTo>
                    <a:lnTo>
                      <a:pt x="43" y="4"/>
                    </a:lnTo>
                    <a:lnTo>
                      <a:pt x="41" y="4"/>
                    </a:lnTo>
                    <a:lnTo>
                      <a:pt x="40" y="4"/>
                    </a:lnTo>
                    <a:lnTo>
                      <a:pt x="38" y="4"/>
                    </a:lnTo>
                    <a:lnTo>
                      <a:pt x="36" y="5"/>
                    </a:lnTo>
                    <a:lnTo>
                      <a:pt x="36" y="4"/>
                    </a:lnTo>
                    <a:lnTo>
                      <a:pt x="35" y="4"/>
                    </a:lnTo>
                    <a:lnTo>
                      <a:pt x="33" y="4"/>
                    </a:lnTo>
                    <a:lnTo>
                      <a:pt x="33" y="5"/>
                    </a:lnTo>
                    <a:lnTo>
                      <a:pt x="33" y="4"/>
                    </a:lnTo>
                    <a:lnTo>
                      <a:pt x="32" y="5"/>
                    </a:lnTo>
                    <a:lnTo>
                      <a:pt x="30" y="5"/>
                    </a:lnTo>
                    <a:lnTo>
                      <a:pt x="29" y="5"/>
                    </a:lnTo>
                    <a:lnTo>
                      <a:pt x="29" y="4"/>
                    </a:lnTo>
                    <a:lnTo>
                      <a:pt x="27" y="4"/>
                    </a:lnTo>
                    <a:lnTo>
                      <a:pt x="25" y="4"/>
                    </a:lnTo>
                    <a:lnTo>
                      <a:pt x="24" y="4"/>
                    </a:lnTo>
                    <a:lnTo>
                      <a:pt x="22" y="4"/>
                    </a:lnTo>
                    <a:lnTo>
                      <a:pt x="21" y="4"/>
                    </a:lnTo>
                    <a:lnTo>
                      <a:pt x="21" y="2"/>
                    </a:lnTo>
                    <a:lnTo>
                      <a:pt x="19" y="2"/>
                    </a:lnTo>
                    <a:lnTo>
                      <a:pt x="19" y="0"/>
                    </a:lnTo>
                    <a:lnTo>
                      <a:pt x="17" y="0"/>
                    </a:lnTo>
                    <a:lnTo>
                      <a:pt x="17" y="2"/>
                    </a:lnTo>
                    <a:lnTo>
                      <a:pt x="16" y="2"/>
                    </a:lnTo>
                    <a:lnTo>
                      <a:pt x="14" y="2"/>
                    </a:lnTo>
                    <a:lnTo>
                      <a:pt x="13" y="2"/>
                    </a:lnTo>
                    <a:lnTo>
                      <a:pt x="11" y="0"/>
                    </a:lnTo>
                    <a:lnTo>
                      <a:pt x="11" y="2"/>
                    </a:lnTo>
                    <a:lnTo>
                      <a:pt x="11" y="4"/>
                    </a:lnTo>
                    <a:lnTo>
                      <a:pt x="11" y="5"/>
                    </a:lnTo>
                    <a:lnTo>
                      <a:pt x="11" y="7"/>
                    </a:lnTo>
                    <a:lnTo>
                      <a:pt x="11" y="8"/>
                    </a:lnTo>
                    <a:lnTo>
                      <a:pt x="10" y="8"/>
                    </a:lnTo>
                    <a:lnTo>
                      <a:pt x="10" y="10"/>
                    </a:lnTo>
                    <a:lnTo>
                      <a:pt x="8" y="11"/>
                    </a:lnTo>
                    <a:lnTo>
                      <a:pt x="10" y="13"/>
                    </a:lnTo>
                    <a:lnTo>
                      <a:pt x="10" y="15"/>
                    </a:lnTo>
                    <a:lnTo>
                      <a:pt x="10" y="16"/>
                    </a:lnTo>
                    <a:lnTo>
                      <a:pt x="8" y="16"/>
                    </a:lnTo>
                    <a:lnTo>
                      <a:pt x="10" y="16"/>
                    </a:lnTo>
                    <a:lnTo>
                      <a:pt x="10" y="18"/>
                    </a:lnTo>
                    <a:lnTo>
                      <a:pt x="10" y="19"/>
                    </a:lnTo>
                    <a:lnTo>
                      <a:pt x="8" y="19"/>
                    </a:lnTo>
                    <a:lnTo>
                      <a:pt x="8" y="21"/>
                    </a:lnTo>
                    <a:lnTo>
                      <a:pt x="8" y="19"/>
                    </a:lnTo>
                    <a:lnTo>
                      <a:pt x="6" y="19"/>
                    </a:lnTo>
                    <a:lnTo>
                      <a:pt x="6" y="21"/>
                    </a:lnTo>
                    <a:lnTo>
                      <a:pt x="6" y="23"/>
                    </a:lnTo>
                    <a:lnTo>
                      <a:pt x="5" y="23"/>
                    </a:lnTo>
                    <a:lnTo>
                      <a:pt x="5" y="24"/>
                    </a:lnTo>
                    <a:lnTo>
                      <a:pt x="5" y="26"/>
                    </a:lnTo>
                    <a:lnTo>
                      <a:pt x="3" y="24"/>
                    </a:lnTo>
                    <a:lnTo>
                      <a:pt x="3" y="26"/>
                    </a:lnTo>
                    <a:lnTo>
                      <a:pt x="3" y="27"/>
                    </a:lnTo>
                    <a:lnTo>
                      <a:pt x="3" y="29"/>
                    </a:lnTo>
                    <a:lnTo>
                      <a:pt x="2" y="29"/>
                    </a:lnTo>
                    <a:lnTo>
                      <a:pt x="2" y="30"/>
                    </a:lnTo>
                    <a:lnTo>
                      <a:pt x="0" y="30"/>
                    </a:lnTo>
                    <a:lnTo>
                      <a:pt x="0" y="32"/>
                    </a:lnTo>
                    <a:lnTo>
                      <a:pt x="2" y="32"/>
                    </a:lnTo>
                    <a:lnTo>
                      <a:pt x="2" y="34"/>
                    </a:lnTo>
                    <a:lnTo>
                      <a:pt x="0" y="34"/>
                    </a:lnTo>
                    <a:lnTo>
                      <a:pt x="0" y="35"/>
                    </a:lnTo>
                    <a:lnTo>
                      <a:pt x="2" y="35"/>
                    </a:lnTo>
                    <a:lnTo>
                      <a:pt x="2" y="37"/>
                    </a:lnTo>
                    <a:lnTo>
                      <a:pt x="0" y="37"/>
                    </a:lnTo>
                    <a:lnTo>
                      <a:pt x="2" y="37"/>
                    </a:lnTo>
                    <a:lnTo>
                      <a:pt x="2" y="38"/>
                    </a:lnTo>
                    <a:lnTo>
                      <a:pt x="0" y="38"/>
                    </a:lnTo>
                    <a:lnTo>
                      <a:pt x="0" y="40"/>
                    </a:lnTo>
                    <a:lnTo>
                      <a:pt x="2" y="40"/>
                    </a:lnTo>
                    <a:lnTo>
                      <a:pt x="0" y="40"/>
                    </a:lnTo>
                    <a:lnTo>
                      <a:pt x="2" y="42"/>
                    </a:lnTo>
                    <a:lnTo>
                      <a:pt x="2" y="43"/>
                    </a:lnTo>
                    <a:lnTo>
                      <a:pt x="2" y="45"/>
                    </a:lnTo>
                    <a:lnTo>
                      <a:pt x="2" y="46"/>
                    </a:lnTo>
                    <a:lnTo>
                      <a:pt x="0" y="46"/>
                    </a:lnTo>
                    <a:lnTo>
                      <a:pt x="0" y="48"/>
                    </a:lnTo>
                    <a:lnTo>
                      <a:pt x="2" y="50"/>
                    </a:lnTo>
                    <a:lnTo>
                      <a:pt x="2" y="51"/>
                    </a:lnTo>
                    <a:lnTo>
                      <a:pt x="2" y="53"/>
                    </a:lnTo>
                    <a:lnTo>
                      <a:pt x="3" y="53"/>
                    </a:lnTo>
                    <a:lnTo>
                      <a:pt x="3" y="54"/>
                    </a:lnTo>
                    <a:lnTo>
                      <a:pt x="5" y="54"/>
                    </a:lnTo>
                    <a:lnTo>
                      <a:pt x="6" y="54"/>
                    </a:lnTo>
                    <a:lnTo>
                      <a:pt x="6" y="56"/>
                    </a:lnTo>
                    <a:lnTo>
                      <a:pt x="8" y="56"/>
                    </a:lnTo>
                    <a:lnTo>
                      <a:pt x="10" y="56"/>
                    </a:lnTo>
                    <a:lnTo>
                      <a:pt x="10" y="54"/>
                    </a:lnTo>
                    <a:lnTo>
                      <a:pt x="8" y="54"/>
                    </a:lnTo>
                    <a:lnTo>
                      <a:pt x="10" y="54"/>
                    </a:lnTo>
                    <a:lnTo>
                      <a:pt x="11" y="54"/>
                    </a:lnTo>
                    <a:lnTo>
                      <a:pt x="13" y="54"/>
                    </a:lnTo>
                    <a:lnTo>
                      <a:pt x="14" y="54"/>
                    </a:lnTo>
                    <a:lnTo>
                      <a:pt x="16" y="54"/>
                    </a:lnTo>
                    <a:lnTo>
                      <a:pt x="17" y="54"/>
                    </a:lnTo>
                    <a:lnTo>
                      <a:pt x="19" y="53"/>
                    </a:lnTo>
                    <a:lnTo>
                      <a:pt x="21" y="54"/>
                    </a:lnTo>
                    <a:lnTo>
                      <a:pt x="22" y="54"/>
                    </a:lnTo>
                    <a:lnTo>
                      <a:pt x="22" y="53"/>
                    </a:lnTo>
                    <a:lnTo>
                      <a:pt x="24" y="53"/>
                    </a:lnTo>
                    <a:lnTo>
                      <a:pt x="25" y="53"/>
                    </a:lnTo>
                    <a:lnTo>
                      <a:pt x="25" y="54"/>
                    </a:lnTo>
                    <a:lnTo>
                      <a:pt x="25" y="56"/>
                    </a:lnTo>
                    <a:lnTo>
                      <a:pt x="27" y="56"/>
                    </a:lnTo>
                    <a:lnTo>
                      <a:pt x="27" y="57"/>
                    </a:lnTo>
                    <a:lnTo>
                      <a:pt x="29" y="57"/>
                    </a:lnTo>
                    <a:lnTo>
                      <a:pt x="30" y="57"/>
                    </a:lnTo>
                    <a:lnTo>
                      <a:pt x="32" y="57"/>
                    </a:lnTo>
                    <a:lnTo>
                      <a:pt x="33" y="57"/>
                    </a:lnTo>
                    <a:lnTo>
                      <a:pt x="35" y="57"/>
                    </a:lnTo>
                    <a:lnTo>
                      <a:pt x="36" y="57"/>
                    </a:lnTo>
                    <a:lnTo>
                      <a:pt x="38" y="57"/>
                    </a:lnTo>
                    <a:lnTo>
                      <a:pt x="38" y="56"/>
                    </a:lnTo>
                    <a:lnTo>
                      <a:pt x="38" y="54"/>
                    </a:lnTo>
                    <a:lnTo>
                      <a:pt x="38" y="53"/>
                    </a:lnTo>
                    <a:lnTo>
                      <a:pt x="40" y="53"/>
                    </a:lnTo>
                    <a:lnTo>
                      <a:pt x="40" y="51"/>
                    </a:lnTo>
                    <a:lnTo>
                      <a:pt x="40" y="50"/>
                    </a:lnTo>
                    <a:lnTo>
                      <a:pt x="41" y="50"/>
                    </a:lnTo>
                    <a:lnTo>
                      <a:pt x="43" y="50"/>
                    </a:lnTo>
                    <a:lnTo>
                      <a:pt x="44" y="50"/>
                    </a:lnTo>
                    <a:lnTo>
                      <a:pt x="44" y="48"/>
                    </a:lnTo>
                    <a:lnTo>
                      <a:pt x="44" y="46"/>
                    </a:lnTo>
                    <a:lnTo>
                      <a:pt x="46" y="48"/>
                    </a:lnTo>
                    <a:lnTo>
                      <a:pt x="48" y="48"/>
                    </a:lnTo>
                    <a:lnTo>
                      <a:pt x="48" y="50"/>
                    </a:lnTo>
                    <a:lnTo>
                      <a:pt x="46" y="50"/>
                    </a:lnTo>
                    <a:lnTo>
                      <a:pt x="46" y="51"/>
                    </a:lnTo>
                    <a:lnTo>
                      <a:pt x="48" y="51"/>
                    </a:lnTo>
                    <a:lnTo>
                      <a:pt x="48" y="53"/>
                    </a:lnTo>
                    <a:lnTo>
                      <a:pt x="49" y="53"/>
                    </a:lnTo>
                    <a:lnTo>
                      <a:pt x="49" y="54"/>
                    </a:lnTo>
                    <a:lnTo>
                      <a:pt x="51" y="54"/>
                    </a:lnTo>
                    <a:lnTo>
                      <a:pt x="52" y="56"/>
                    </a:lnTo>
                    <a:lnTo>
                      <a:pt x="54" y="56"/>
                    </a:lnTo>
                    <a:lnTo>
                      <a:pt x="55" y="56"/>
                    </a:lnTo>
                    <a:lnTo>
                      <a:pt x="57" y="57"/>
                    </a:lnTo>
                    <a:lnTo>
                      <a:pt x="57" y="59"/>
                    </a:lnTo>
                    <a:lnTo>
                      <a:pt x="57" y="61"/>
                    </a:lnTo>
                    <a:lnTo>
                      <a:pt x="57" y="62"/>
                    </a:lnTo>
                    <a:lnTo>
                      <a:pt x="57" y="64"/>
                    </a:lnTo>
                    <a:lnTo>
                      <a:pt x="57" y="65"/>
                    </a:lnTo>
                    <a:lnTo>
                      <a:pt x="57" y="67"/>
                    </a:lnTo>
                    <a:lnTo>
                      <a:pt x="57" y="69"/>
                    </a:lnTo>
                    <a:lnTo>
                      <a:pt x="59" y="69"/>
                    </a:lnTo>
                    <a:lnTo>
                      <a:pt x="59" y="70"/>
                    </a:lnTo>
                    <a:lnTo>
                      <a:pt x="60" y="70"/>
                    </a:lnTo>
                    <a:lnTo>
                      <a:pt x="60" y="72"/>
                    </a:lnTo>
                    <a:lnTo>
                      <a:pt x="62" y="72"/>
                    </a:lnTo>
                    <a:lnTo>
                      <a:pt x="63" y="72"/>
                    </a:lnTo>
                    <a:lnTo>
                      <a:pt x="65" y="72"/>
                    </a:lnTo>
                    <a:lnTo>
                      <a:pt x="65" y="73"/>
                    </a:lnTo>
                    <a:lnTo>
                      <a:pt x="67" y="73"/>
                    </a:lnTo>
                    <a:lnTo>
                      <a:pt x="68" y="73"/>
                    </a:lnTo>
                    <a:lnTo>
                      <a:pt x="70" y="73"/>
                    </a:lnTo>
                    <a:lnTo>
                      <a:pt x="70" y="72"/>
                    </a:lnTo>
                    <a:lnTo>
                      <a:pt x="68" y="72"/>
                    </a:lnTo>
                    <a:lnTo>
                      <a:pt x="68" y="70"/>
                    </a:lnTo>
                    <a:lnTo>
                      <a:pt x="70" y="70"/>
                    </a:lnTo>
                    <a:lnTo>
                      <a:pt x="70" y="69"/>
                    </a:lnTo>
                    <a:lnTo>
                      <a:pt x="68" y="69"/>
                    </a:lnTo>
                    <a:lnTo>
                      <a:pt x="68" y="67"/>
                    </a:lnTo>
                    <a:lnTo>
                      <a:pt x="67" y="67"/>
                    </a:lnTo>
                    <a:lnTo>
                      <a:pt x="67" y="65"/>
                    </a:lnTo>
                    <a:lnTo>
                      <a:pt x="65" y="65"/>
                    </a:lnTo>
                    <a:lnTo>
                      <a:pt x="65" y="64"/>
                    </a:lnTo>
                    <a:lnTo>
                      <a:pt x="63" y="64"/>
                    </a:lnTo>
                    <a:lnTo>
                      <a:pt x="63" y="62"/>
                    </a:lnTo>
                    <a:lnTo>
                      <a:pt x="65" y="62"/>
                    </a:lnTo>
                    <a:lnTo>
                      <a:pt x="67" y="62"/>
                    </a:lnTo>
                    <a:lnTo>
                      <a:pt x="67" y="61"/>
                    </a:lnTo>
                    <a:lnTo>
                      <a:pt x="68" y="61"/>
                    </a:lnTo>
                    <a:lnTo>
                      <a:pt x="70" y="59"/>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64" name="Freeform 62"/>
              <p:cNvSpPr>
                <a:spLocks/>
              </p:cNvSpPr>
              <p:nvPr/>
            </p:nvSpPr>
            <p:spPr bwMode="auto">
              <a:xfrm>
                <a:off x="2384" y="2368"/>
                <a:ext cx="28" cy="21"/>
              </a:xfrm>
              <a:custGeom>
                <a:avLst/>
                <a:gdLst>
                  <a:gd name="T0" fmla="*/ 15 w 28"/>
                  <a:gd name="T1" fmla="*/ 0 h 21"/>
                  <a:gd name="T2" fmla="*/ 15 w 28"/>
                  <a:gd name="T3" fmla="*/ 2 h 21"/>
                  <a:gd name="T4" fmla="*/ 14 w 28"/>
                  <a:gd name="T5" fmla="*/ 2 h 21"/>
                  <a:gd name="T6" fmla="*/ 12 w 28"/>
                  <a:gd name="T7" fmla="*/ 2 h 21"/>
                  <a:gd name="T8" fmla="*/ 12 w 28"/>
                  <a:gd name="T9" fmla="*/ 4 h 21"/>
                  <a:gd name="T10" fmla="*/ 12 w 28"/>
                  <a:gd name="T11" fmla="*/ 5 h 21"/>
                  <a:gd name="T12" fmla="*/ 11 w 28"/>
                  <a:gd name="T13" fmla="*/ 5 h 21"/>
                  <a:gd name="T14" fmla="*/ 9 w 28"/>
                  <a:gd name="T15" fmla="*/ 5 h 21"/>
                  <a:gd name="T16" fmla="*/ 7 w 28"/>
                  <a:gd name="T17" fmla="*/ 5 h 21"/>
                  <a:gd name="T18" fmla="*/ 7 w 28"/>
                  <a:gd name="T19" fmla="*/ 7 h 21"/>
                  <a:gd name="T20" fmla="*/ 6 w 28"/>
                  <a:gd name="T21" fmla="*/ 7 h 21"/>
                  <a:gd name="T22" fmla="*/ 6 w 28"/>
                  <a:gd name="T23" fmla="*/ 8 h 21"/>
                  <a:gd name="T24" fmla="*/ 4 w 28"/>
                  <a:gd name="T25" fmla="*/ 8 h 21"/>
                  <a:gd name="T26" fmla="*/ 3 w 28"/>
                  <a:gd name="T27" fmla="*/ 8 h 21"/>
                  <a:gd name="T28" fmla="*/ 1 w 28"/>
                  <a:gd name="T29" fmla="*/ 10 h 21"/>
                  <a:gd name="T30" fmla="*/ 1 w 28"/>
                  <a:gd name="T31" fmla="*/ 12 h 21"/>
                  <a:gd name="T32" fmla="*/ 0 w 28"/>
                  <a:gd name="T33" fmla="*/ 12 h 21"/>
                  <a:gd name="T34" fmla="*/ 0 w 28"/>
                  <a:gd name="T35" fmla="*/ 13 h 21"/>
                  <a:gd name="T36" fmla="*/ 1 w 28"/>
                  <a:gd name="T37" fmla="*/ 13 h 21"/>
                  <a:gd name="T38" fmla="*/ 3 w 28"/>
                  <a:gd name="T39" fmla="*/ 15 h 21"/>
                  <a:gd name="T40" fmla="*/ 4 w 28"/>
                  <a:gd name="T41" fmla="*/ 15 h 21"/>
                  <a:gd name="T42" fmla="*/ 6 w 28"/>
                  <a:gd name="T43" fmla="*/ 15 h 21"/>
                  <a:gd name="T44" fmla="*/ 6 w 28"/>
                  <a:gd name="T45" fmla="*/ 16 h 21"/>
                  <a:gd name="T46" fmla="*/ 6 w 28"/>
                  <a:gd name="T47" fmla="*/ 18 h 21"/>
                  <a:gd name="T48" fmla="*/ 7 w 28"/>
                  <a:gd name="T49" fmla="*/ 18 h 21"/>
                  <a:gd name="T50" fmla="*/ 7 w 28"/>
                  <a:gd name="T51" fmla="*/ 19 h 21"/>
                  <a:gd name="T52" fmla="*/ 9 w 28"/>
                  <a:gd name="T53" fmla="*/ 19 h 21"/>
                  <a:gd name="T54" fmla="*/ 9 w 28"/>
                  <a:gd name="T55" fmla="*/ 21 h 21"/>
                  <a:gd name="T56" fmla="*/ 11 w 28"/>
                  <a:gd name="T57" fmla="*/ 21 h 21"/>
                  <a:gd name="T58" fmla="*/ 12 w 28"/>
                  <a:gd name="T59" fmla="*/ 21 h 21"/>
                  <a:gd name="T60" fmla="*/ 14 w 28"/>
                  <a:gd name="T61" fmla="*/ 21 h 21"/>
                  <a:gd name="T62" fmla="*/ 14 w 28"/>
                  <a:gd name="T63" fmla="*/ 19 h 21"/>
                  <a:gd name="T64" fmla="*/ 15 w 28"/>
                  <a:gd name="T65" fmla="*/ 19 h 21"/>
                  <a:gd name="T66" fmla="*/ 17 w 28"/>
                  <a:gd name="T67" fmla="*/ 19 h 21"/>
                  <a:gd name="T68" fmla="*/ 19 w 28"/>
                  <a:gd name="T69" fmla="*/ 19 h 21"/>
                  <a:gd name="T70" fmla="*/ 19 w 28"/>
                  <a:gd name="T71" fmla="*/ 18 h 21"/>
                  <a:gd name="T72" fmla="*/ 20 w 28"/>
                  <a:gd name="T73" fmla="*/ 18 h 21"/>
                  <a:gd name="T74" fmla="*/ 22 w 28"/>
                  <a:gd name="T75" fmla="*/ 18 h 21"/>
                  <a:gd name="T76" fmla="*/ 22 w 28"/>
                  <a:gd name="T77" fmla="*/ 16 h 21"/>
                  <a:gd name="T78" fmla="*/ 23 w 28"/>
                  <a:gd name="T79" fmla="*/ 16 h 21"/>
                  <a:gd name="T80" fmla="*/ 25 w 28"/>
                  <a:gd name="T81" fmla="*/ 16 h 21"/>
                  <a:gd name="T82" fmla="*/ 26 w 28"/>
                  <a:gd name="T83" fmla="*/ 16 h 21"/>
                  <a:gd name="T84" fmla="*/ 26 w 28"/>
                  <a:gd name="T85" fmla="*/ 15 h 21"/>
                  <a:gd name="T86" fmla="*/ 28 w 28"/>
                  <a:gd name="T87" fmla="*/ 15 h 21"/>
                  <a:gd name="T88" fmla="*/ 28 w 28"/>
                  <a:gd name="T89" fmla="*/ 13 h 21"/>
                  <a:gd name="T90" fmla="*/ 28 w 28"/>
                  <a:gd name="T91" fmla="*/ 12 h 21"/>
                  <a:gd name="T92" fmla="*/ 26 w 28"/>
                  <a:gd name="T93" fmla="*/ 12 h 21"/>
                  <a:gd name="T94" fmla="*/ 25 w 28"/>
                  <a:gd name="T95" fmla="*/ 12 h 21"/>
                  <a:gd name="T96" fmla="*/ 25 w 28"/>
                  <a:gd name="T97" fmla="*/ 10 h 21"/>
                  <a:gd name="T98" fmla="*/ 23 w 28"/>
                  <a:gd name="T99" fmla="*/ 10 h 21"/>
                  <a:gd name="T100" fmla="*/ 23 w 28"/>
                  <a:gd name="T101" fmla="*/ 8 h 21"/>
                  <a:gd name="T102" fmla="*/ 22 w 28"/>
                  <a:gd name="T103" fmla="*/ 8 h 21"/>
                  <a:gd name="T104" fmla="*/ 20 w 28"/>
                  <a:gd name="T105" fmla="*/ 8 h 21"/>
                  <a:gd name="T106" fmla="*/ 20 w 28"/>
                  <a:gd name="T107" fmla="*/ 7 h 21"/>
                  <a:gd name="T108" fmla="*/ 20 w 28"/>
                  <a:gd name="T109" fmla="*/ 5 h 21"/>
                  <a:gd name="T110" fmla="*/ 20 w 28"/>
                  <a:gd name="T111" fmla="*/ 4 h 21"/>
                  <a:gd name="T112" fmla="*/ 19 w 28"/>
                  <a:gd name="T113" fmla="*/ 4 h 21"/>
                  <a:gd name="T114" fmla="*/ 19 w 28"/>
                  <a:gd name="T115" fmla="*/ 2 h 21"/>
                  <a:gd name="T116" fmla="*/ 17 w 28"/>
                  <a:gd name="T117" fmla="*/ 2 h 21"/>
                  <a:gd name="T118" fmla="*/ 15 w 28"/>
                  <a:gd name="T1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 h="21">
                    <a:moveTo>
                      <a:pt x="15" y="0"/>
                    </a:moveTo>
                    <a:lnTo>
                      <a:pt x="15" y="2"/>
                    </a:lnTo>
                    <a:lnTo>
                      <a:pt x="14" y="2"/>
                    </a:lnTo>
                    <a:lnTo>
                      <a:pt x="12" y="2"/>
                    </a:lnTo>
                    <a:lnTo>
                      <a:pt x="12" y="4"/>
                    </a:lnTo>
                    <a:lnTo>
                      <a:pt x="12" y="5"/>
                    </a:lnTo>
                    <a:lnTo>
                      <a:pt x="11" y="5"/>
                    </a:lnTo>
                    <a:lnTo>
                      <a:pt x="9" y="5"/>
                    </a:lnTo>
                    <a:lnTo>
                      <a:pt x="7" y="5"/>
                    </a:lnTo>
                    <a:lnTo>
                      <a:pt x="7" y="7"/>
                    </a:lnTo>
                    <a:lnTo>
                      <a:pt x="6" y="7"/>
                    </a:lnTo>
                    <a:lnTo>
                      <a:pt x="6" y="8"/>
                    </a:lnTo>
                    <a:lnTo>
                      <a:pt x="4" y="8"/>
                    </a:lnTo>
                    <a:lnTo>
                      <a:pt x="3" y="8"/>
                    </a:lnTo>
                    <a:lnTo>
                      <a:pt x="1" y="10"/>
                    </a:lnTo>
                    <a:lnTo>
                      <a:pt x="1" y="12"/>
                    </a:lnTo>
                    <a:lnTo>
                      <a:pt x="0" y="12"/>
                    </a:lnTo>
                    <a:lnTo>
                      <a:pt x="0" y="13"/>
                    </a:lnTo>
                    <a:lnTo>
                      <a:pt x="1" y="13"/>
                    </a:lnTo>
                    <a:lnTo>
                      <a:pt x="3" y="15"/>
                    </a:lnTo>
                    <a:lnTo>
                      <a:pt x="4" y="15"/>
                    </a:lnTo>
                    <a:lnTo>
                      <a:pt x="6" y="15"/>
                    </a:lnTo>
                    <a:lnTo>
                      <a:pt x="6" y="16"/>
                    </a:lnTo>
                    <a:lnTo>
                      <a:pt x="6" y="18"/>
                    </a:lnTo>
                    <a:lnTo>
                      <a:pt x="7" y="18"/>
                    </a:lnTo>
                    <a:lnTo>
                      <a:pt x="7" y="19"/>
                    </a:lnTo>
                    <a:lnTo>
                      <a:pt x="9" y="19"/>
                    </a:lnTo>
                    <a:lnTo>
                      <a:pt x="9" y="21"/>
                    </a:lnTo>
                    <a:lnTo>
                      <a:pt x="11" y="21"/>
                    </a:lnTo>
                    <a:lnTo>
                      <a:pt x="12" y="21"/>
                    </a:lnTo>
                    <a:lnTo>
                      <a:pt x="14" y="21"/>
                    </a:lnTo>
                    <a:lnTo>
                      <a:pt x="14" y="19"/>
                    </a:lnTo>
                    <a:lnTo>
                      <a:pt x="15" y="19"/>
                    </a:lnTo>
                    <a:lnTo>
                      <a:pt x="17" y="19"/>
                    </a:lnTo>
                    <a:lnTo>
                      <a:pt x="19" y="19"/>
                    </a:lnTo>
                    <a:lnTo>
                      <a:pt x="19" y="18"/>
                    </a:lnTo>
                    <a:lnTo>
                      <a:pt x="20" y="18"/>
                    </a:lnTo>
                    <a:lnTo>
                      <a:pt x="22" y="18"/>
                    </a:lnTo>
                    <a:lnTo>
                      <a:pt x="22" y="16"/>
                    </a:lnTo>
                    <a:lnTo>
                      <a:pt x="23" y="16"/>
                    </a:lnTo>
                    <a:lnTo>
                      <a:pt x="25" y="16"/>
                    </a:lnTo>
                    <a:lnTo>
                      <a:pt x="26" y="16"/>
                    </a:lnTo>
                    <a:lnTo>
                      <a:pt x="26" y="15"/>
                    </a:lnTo>
                    <a:lnTo>
                      <a:pt x="28" y="15"/>
                    </a:lnTo>
                    <a:lnTo>
                      <a:pt x="28" y="13"/>
                    </a:lnTo>
                    <a:lnTo>
                      <a:pt x="28" y="12"/>
                    </a:lnTo>
                    <a:lnTo>
                      <a:pt x="26" y="12"/>
                    </a:lnTo>
                    <a:lnTo>
                      <a:pt x="25" y="12"/>
                    </a:lnTo>
                    <a:lnTo>
                      <a:pt x="25" y="10"/>
                    </a:lnTo>
                    <a:lnTo>
                      <a:pt x="23" y="10"/>
                    </a:lnTo>
                    <a:lnTo>
                      <a:pt x="23" y="8"/>
                    </a:lnTo>
                    <a:lnTo>
                      <a:pt x="22" y="8"/>
                    </a:lnTo>
                    <a:lnTo>
                      <a:pt x="20" y="8"/>
                    </a:lnTo>
                    <a:lnTo>
                      <a:pt x="20" y="7"/>
                    </a:lnTo>
                    <a:lnTo>
                      <a:pt x="20" y="5"/>
                    </a:lnTo>
                    <a:lnTo>
                      <a:pt x="20" y="4"/>
                    </a:lnTo>
                    <a:lnTo>
                      <a:pt x="19" y="4"/>
                    </a:lnTo>
                    <a:lnTo>
                      <a:pt x="19" y="2"/>
                    </a:lnTo>
                    <a:lnTo>
                      <a:pt x="17" y="2"/>
                    </a:lnTo>
                    <a:lnTo>
                      <a:pt x="15" y="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65" name="Freeform 63"/>
              <p:cNvSpPr>
                <a:spLocks/>
              </p:cNvSpPr>
              <p:nvPr/>
            </p:nvSpPr>
            <p:spPr bwMode="auto">
              <a:xfrm>
                <a:off x="4083" y="2254"/>
                <a:ext cx="64" cy="59"/>
              </a:xfrm>
              <a:custGeom>
                <a:avLst/>
                <a:gdLst>
                  <a:gd name="T0" fmla="*/ 57 w 64"/>
                  <a:gd name="T1" fmla="*/ 2 h 59"/>
                  <a:gd name="T2" fmla="*/ 52 w 64"/>
                  <a:gd name="T3" fmla="*/ 0 h 59"/>
                  <a:gd name="T4" fmla="*/ 48 w 64"/>
                  <a:gd name="T5" fmla="*/ 4 h 59"/>
                  <a:gd name="T6" fmla="*/ 43 w 64"/>
                  <a:gd name="T7" fmla="*/ 5 h 59"/>
                  <a:gd name="T8" fmla="*/ 38 w 64"/>
                  <a:gd name="T9" fmla="*/ 8 h 59"/>
                  <a:gd name="T10" fmla="*/ 32 w 64"/>
                  <a:gd name="T11" fmla="*/ 8 h 59"/>
                  <a:gd name="T12" fmla="*/ 29 w 64"/>
                  <a:gd name="T13" fmla="*/ 4 h 59"/>
                  <a:gd name="T14" fmla="*/ 26 w 64"/>
                  <a:gd name="T15" fmla="*/ 0 h 59"/>
                  <a:gd name="T16" fmla="*/ 21 w 64"/>
                  <a:gd name="T17" fmla="*/ 0 h 59"/>
                  <a:gd name="T18" fmla="*/ 16 w 64"/>
                  <a:gd name="T19" fmla="*/ 5 h 59"/>
                  <a:gd name="T20" fmla="*/ 14 w 64"/>
                  <a:gd name="T21" fmla="*/ 7 h 59"/>
                  <a:gd name="T22" fmla="*/ 13 w 64"/>
                  <a:gd name="T23" fmla="*/ 11 h 59"/>
                  <a:gd name="T24" fmla="*/ 8 w 64"/>
                  <a:gd name="T25" fmla="*/ 18 h 59"/>
                  <a:gd name="T26" fmla="*/ 3 w 64"/>
                  <a:gd name="T27" fmla="*/ 24 h 59"/>
                  <a:gd name="T28" fmla="*/ 2 w 64"/>
                  <a:gd name="T29" fmla="*/ 31 h 59"/>
                  <a:gd name="T30" fmla="*/ 2 w 64"/>
                  <a:gd name="T31" fmla="*/ 35 h 59"/>
                  <a:gd name="T32" fmla="*/ 0 w 64"/>
                  <a:gd name="T33" fmla="*/ 40 h 59"/>
                  <a:gd name="T34" fmla="*/ 0 w 64"/>
                  <a:gd name="T35" fmla="*/ 45 h 59"/>
                  <a:gd name="T36" fmla="*/ 2 w 64"/>
                  <a:gd name="T37" fmla="*/ 48 h 59"/>
                  <a:gd name="T38" fmla="*/ 5 w 64"/>
                  <a:gd name="T39" fmla="*/ 50 h 59"/>
                  <a:gd name="T40" fmla="*/ 10 w 64"/>
                  <a:gd name="T41" fmla="*/ 48 h 59"/>
                  <a:gd name="T42" fmla="*/ 16 w 64"/>
                  <a:gd name="T43" fmla="*/ 46 h 59"/>
                  <a:gd name="T44" fmla="*/ 19 w 64"/>
                  <a:gd name="T45" fmla="*/ 46 h 59"/>
                  <a:gd name="T46" fmla="*/ 21 w 64"/>
                  <a:gd name="T47" fmla="*/ 48 h 59"/>
                  <a:gd name="T48" fmla="*/ 24 w 64"/>
                  <a:gd name="T49" fmla="*/ 51 h 59"/>
                  <a:gd name="T50" fmla="*/ 27 w 64"/>
                  <a:gd name="T51" fmla="*/ 53 h 59"/>
                  <a:gd name="T52" fmla="*/ 32 w 64"/>
                  <a:gd name="T53" fmla="*/ 53 h 59"/>
                  <a:gd name="T54" fmla="*/ 37 w 64"/>
                  <a:gd name="T55" fmla="*/ 50 h 59"/>
                  <a:gd name="T56" fmla="*/ 41 w 64"/>
                  <a:gd name="T57" fmla="*/ 50 h 59"/>
                  <a:gd name="T58" fmla="*/ 45 w 64"/>
                  <a:gd name="T59" fmla="*/ 51 h 59"/>
                  <a:gd name="T60" fmla="*/ 48 w 64"/>
                  <a:gd name="T61" fmla="*/ 56 h 59"/>
                  <a:gd name="T62" fmla="*/ 51 w 64"/>
                  <a:gd name="T63" fmla="*/ 59 h 59"/>
                  <a:gd name="T64" fmla="*/ 56 w 64"/>
                  <a:gd name="T65" fmla="*/ 59 h 59"/>
                  <a:gd name="T66" fmla="*/ 57 w 64"/>
                  <a:gd name="T67" fmla="*/ 57 h 59"/>
                  <a:gd name="T68" fmla="*/ 59 w 64"/>
                  <a:gd name="T69" fmla="*/ 57 h 59"/>
                  <a:gd name="T70" fmla="*/ 60 w 64"/>
                  <a:gd name="T71" fmla="*/ 56 h 59"/>
                  <a:gd name="T72" fmla="*/ 64 w 64"/>
                  <a:gd name="T73" fmla="*/ 51 h 59"/>
                  <a:gd name="T74" fmla="*/ 62 w 64"/>
                  <a:gd name="T75" fmla="*/ 46 h 59"/>
                  <a:gd name="T76" fmla="*/ 60 w 64"/>
                  <a:gd name="T77" fmla="*/ 43 h 59"/>
                  <a:gd name="T78" fmla="*/ 59 w 64"/>
                  <a:gd name="T79" fmla="*/ 40 h 59"/>
                  <a:gd name="T80" fmla="*/ 57 w 64"/>
                  <a:gd name="T81" fmla="*/ 37 h 59"/>
                  <a:gd name="T82" fmla="*/ 56 w 64"/>
                  <a:gd name="T83" fmla="*/ 35 h 59"/>
                  <a:gd name="T84" fmla="*/ 57 w 64"/>
                  <a:gd name="T85" fmla="*/ 31 h 59"/>
                  <a:gd name="T86" fmla="*/ 59 w 64"/>
                  <a:gd name="T87" fmla="*/ 26 h 59"/>
                  <a:gd name="T88" fmla="*/ 60 w 64"/>
                  <a:gd name="T89" fmla="*/ 23 h 59"/>
                  <a:gd name="T90" fmla="*/ 60 w 64"/>
                  <a:gd name="T91" fmla="*/ 19 h 59"/>
                  <a:gd name="T92" fmla="*/ 59 w 64"/>
                  <a:gd name="T93" fmla="*/ 16 h 59"/>
                  <a:gd name="T94" fmla="*/ 60 w 64"/>
                  <a:gd name="T95" fmla="*/ 11 h 59"/>
                  <a:gd name="T96" fmla="*/ 62 w 64"/>
                  <a:gd name="T97" fmla="*/ 8 h 59"/>
                  <a:gd name="T98" fmla="*/ 60 w 64"/>
                  <a:gd name="T99" fmla="*/ 7 h 59"/>
                  <a:gd name="T100" fmla="*/ 60 w 64"/>
                  <a:gd name="T101" fmla="*/ 5 h 59"/>
                  <a:gd name="T102" fmla="*/ 57 w 64"/>
                  <a:gd name="T103" fmla="*/ 2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4" h="59">
                    <a:moveTo>
                      <a:pt x="57" y="2"/>
                    </a:moveTo>
                    <a:lnTo>
                      <a:pt x="52" y="0"/>
                    </a:lnTo>
                    <a:lnTo>
                      <a:pt x="48" y="4"/>
                    </a:lnTo>
                    <a:lnTo>
                      <a:pt x="43" y="5"/>
                    </a:lnTo>
                    <a:lnTo>
                      <a:pt x="38" y="8"/>
                    </a:lnTo>
                    <a:lnTo>
                      <a:pt x="32" y="8"/>
                    </a:lnTo>
                    <a:lnTo>
                      <a:pt x="29" y="4"/>
                    </a:lnTo>
                    <a:lnTo>
                      <a:pt x="26" y="0"/>
                    </a:lnTo>
                    <a:lnTo>
                      <a:pt x="21" y="0"/>
                    </a:lnTo>
                    <a:lnTo>
                      <a:pt x="16" y="5"/>
                    </a:lnTo>
                    <a:lnTo>
                      <a:pt x="14" y="7"/>
                    </a:lnTo>
                    <a:lnTo>
                      <a:pt x="13" y="11"/>
                    </a:lnTo>
                    <a:lnTo>
                      <a:pt x="8" y="18"/>
                    </a:lnTo>
                    <a:lnTo>
                      <a:pt x="3" y="24"/>
                    </a:lnTo>
                    <a:lnTo>
                      <a:pt x="2" y="31"/>
                    </a:lnTo>
                    <a:lnTo>
                      <a:pt x="2" y="35"/>
                    </a:lnTo>
                    <a:lnTo>
                      <a:pt x="0" y="40"/>
                    </a:lnTo>
                    <a:lnTo>
                      <a:pt x="0" y="45"/>
                    </a:lnTo>
                    <a:lnTo>
                      <a:pt x="2" y="48"/>
                    </a:lnTo>
                    <a:lnTo>
                      <a:pt x="5" y="50"/>
                    </a:lnTo>
                    <a:lnTo>
                      <a:pt x="10" y="48"/>
                    </a:lnTo>
                    <a:lnTo>
                      <a:pt x="16" y="46"/>
                    </a:lnTo>
                    <a:lnTo>
                      <a:pt x="19" y="46"/>
                    </a:lnTo>
                    <a:lnTo>
                      <a:pt x="21" y="48"/>
                    </a:lnTo>
                    <a:lnTo>
                      <a:pt x="24" y="51"/>
                    </a:lnTo>
                    <a:lnTo>
                      <a:pt x="27" y="53"/>
                    </a:lnTo>
                    <a:lnTo>
                      <a:pt x="32" y="53"/>
                    </a:lnTo>
                    <a:lnTo>
                      <a:pt x="37" y="50"/>
                    </a:lnTo>
                    <a:lnTo>
                      <a:pt x="41" y="50"/>
                    </a:lnTo>
                    <a:lnTo>
                      <a:pt x="45" y="51"/>
                    </a:lnTo>
                    <a:lnTo>
                      <a:pt x="48" y="56"/>
                    </a:lnTo>
                    <a:lnTo>
                      <a:pt x="51" y="59"/>
                    </a:lnTo>
                    <a:lnTo>
                      <a:pt x="56" y="59"/>
                    </a:lnTo>
                    <a:lnTo>
                      <a:pt x="57" y="57"/>
                    </a:lnTo>
                    <a:lnTo>
                      <a:pt x="59" y="57"/>
                    </a:lnTo>
                    <a:lnTo>
                      <a:pt x="60" y="56"/>
                    </a:lnTo>
                    <a:lnTo>
                      <a:pt x="64" y="51"/>
                    </a:lnTo>
                    <a:lnTo>
                      <a:pt x="62" y="46"/>
                    </a:lnTo>
                    <a:lnTo>
                      <a:pt x="60" y="43"/>
                    </a:lnTo>
                    <a:lnTo>
                      <a:pt x="59" y="40"/>
                    </a:lnTo>
                    <a:lnTo>
                      <a:pt x="57" y="37"/>
                    </a:lnTo>
                    <a:lnTo>
                      <a:pt x="56" y="35"/>
                    </a:lnTo>
                    <a:lnTo>
                      <a:pt x="57" y="31"/>
                    </a:lnTo>
                    <a:lnTo>
                      <a:pt x="59" y="26"/>
                    </a:lnTo>
                    <a:lnTo>
                      <a:pt x="60" y="23"/>
                    </a:lnTo>
                    <a:lnTo>
                      <a:pt x="60" y="19"/>
                    </a:lnTo>
                    <a:lnTo>
                      <a:pt x="59" y="16"/>
                    </a:lnTo>
                    <a:lnTo>
                      <a:pt x="60" y="11"/>
                    </a:lnTo>
                    <a:lnTo>
                      <a:pt x="62" y="8"/>
                    </a:lnTo>
                    <a:lnTo>
                      <a:pt x="60" y="7"/>
                    </a:lnTo>
                    <a:lnTo>
                      <a:pt x="60" y="5"/>
                    </a:lnTo>
                    <a:lnTo>
                      <a:pt x="57" y="2"/>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66" name="Freeform 64"/>
              <p:cNvSpPr>
                <a:spLocks/>
              </p:cNvSpPr>
              <p:nvPr/>
            </p:nvSpPr>
            <p:spPr bwMode="auto">
              <a:xfrm>
                <a:off x="1786" y="2525"/>
                <a:ext cx="1443" cy="1174"/>
              </a:xfrm>
              <a:custGeom>
                <a:avLst/>
                <a:gdLst>
                  <a:gd name="T0" fmla="*/ 1310 w 1443"/>
                  <a:gd name="T1" fmla="*/ 108 h 1174"/>
                  <a:gd name="T2" fmla="*/ 1290 w 1443"/>
                  <a:gd name="T3" fmla="*/ 111 h 1174"/>
                  <a:gd name="T4" fmla="*/ 1244 w 1443"/>
                  <a:gd name="T5" fmla="*/ 205 h 1174"/>
                  <a:gd name="T6" fmla="*/ 1206 w 1443"/>
                  <a:gd name="T7" fmla="*/ 305 h 1174"/>
                  <a:gd name="T8" fmla="*/ 1131 w 1443"/>
                  <a:gd name="T9" fmla="*/ 414 h 1174"/>
                  <a:gd name="T10" fmla="*/ 1236 w 1443"/>
                  <a:gd name="T11" fmla="*/ 390 h 1174"/>
                  <a:gd name="T12" fmla="*/ 1320 w 1443"/>
                  <a:gd name="T13" fmla="*/ 422 h 1174"/>
                  <a:gd name="T14" fmla="*/ 1312 w 1443"/>
                  <a:gd name="T15" fmla="*/ 499 h 1174"/>
                  <a:gd name="T16" fmla="*/ 1415 w 1443"/>
                  <a:gd name="T17" fmla="*/ 539 h 1174"/>
                  <a:gd name="T18" fmla="*/ 1432 w 1443"/>
                  <a:gd name="T19" fmla="*/ 650 h 1174"/>
                  <a:gd name="T20" fmla="*/ 1342 w 1443"/>
                  <a:gd name="T21" fmla="*/ 604 h 1174"/>
                  <a:gd name="T22" fmla="*/ 1237 w 1443"/>
                  <a:gd name="T23" fmla="*/ 606 h 1174"/>
                  <a:gd name="T24" fmla="*/ 1195 w 1443"/>
                  <a:gd name="T25" fmla="*/ 717 h 1174"/>
                  <a:gd name="T26" fmla="*/ 1171 w 1443"/>
                  <a:gd name="T27" fmla="*/ 762 h 1174"/>
                  <a:gd name="T28" fmla="*/ 1150 w 1443"/>
                  <a:gd name="T29" fmla="*/ 672 h 1174"/>
                  <a:gd name="T30" fmla="*/ 1190 w 1443"/>
                  <a:gd name="T31" fmla="*/ 587 h 1174"/>
                  <a:gd name="T32" fmla="*/ 1093 w 1443"/>
                  <a:gd name="T33" fmla="*/ 555 h 1174"/>
                  <a:gd name="T34" fmla="*/ 1049 w 1443"/>
                  <a:gd name="T35" fmla="*/ 674 h 1174"/>
                  <a:gd name="T36" fmla="*/ 1108 w 1443"/>
                  <a:gd name="T37" fmla="*/ 745 h 1174"/>
                  <a:gd name="T38" fmla="*/ 1097 w 1443"/>
                  <a:gd name="T39" fmla="*/ 843 h 1174"/>
                  <a:gd name="T40" fmla="*/ 1013 w 1443"/>
                  <a:gd name="T41" fmla="*/ 921 h 1174"/>
                  <a:gd name="T42" fmla="*/ 837 w 1443"/>
                  <a:gd name="T43" fmla="*/ 954 h 1174"/>
                  <a:gd name="T44" fmla="*/ 775 w 1443"/>
                  <a:gd name="T45" fmla="*/ 1106 h 1174"/>
                  <a:gd name="T46" fmla="*/ 721 w 1443"/>
                  <a:gd name="T47" fmla="*/ 1174 h 1174"/>
                  <a:gd name="T48" fmla="*/ 518 w 1443"/>
                  <a:gd name="T49" fmla="*/ 1128 h 1174"/>
                  <a:gd name="T50" fmla="*/ 480 w 1443"/>
                  <a:gd name="T51" fmla="*/ 975 h 1174"/>
                  <a:gd name="T52" fmla="*/ 482 w 1443"/>
                  <a:gd name="T53" fmla="*/ 915 h 1174"/>
                  <a:gd name="T54" fmla="*/ 447 w 1443"/>
                  <a:gd name="T55" fmla="*/ 899 h 1174"/>
                  <a:gd name="T56" fmla="*/ 406 w 1443"/>
                  <a:gd name="T57" fmla="*/ 889 h 1174"/>
                  <a:gd name="T58" fmla="*/ 354 w 1443"/>
                  <a:gd name="T59" fmla="*/ 907 h 1174"/>
                  <a:gd name="T60" fmla="*/ 328 w 1443"/>
                  <a:gd name="T61" fmla="*/ 872 h 1174"/>
                  <a:gd name="T62" fmla="*/ 274 w 1443"/>
                  <a:gd name="T63" fmla="*/ 808 h 1174"/>
                  <a:gd name="T64" fmla="*/ 236 w 1443"/>
                  <a:gd name="T65" fmla="*/ 702 h 1174"/>
                  <a:gd name="T66" fmla="*/ 224 w 1443"/>
                  <a:gd name="T67" fmla="*/ 648 h 1174"/>
                  <a:gd name="T68" fmla="*/ 235 w 1443"/>
                  <a:gd name="T69" fmla="*/ 606 h 1174"/>
                  <a:gd name="T70" fmla="*/ 224 w 1443"/>
                  <a:gd name="T71" fmla="*/ 569 h 1174"/>
                  <a:gd name="T72" fmla="*/ 186 w 1443"/>
                  <a:gd name="T73" fmla="*/ 544 h 1174"/>
                  <a:gd name="T74" fmla="*/ 133 w 1443"/>
                  <a:gd name="T75" fmla="*/ 506 h 1174"/>
                  <a:gd name="T76" fmla="*/ 100 w 1443"/>
                  <a:gd name="T77" fmla="*/ 493 h 1174"/>
                  <a:gd name="T78" fmla="*/ 89 w 1443"/>
                  <a:gd name="T79" fmla="*/ 463 h 1174"/>
                  <a:gd name="T80" fmla="*/ 24 w 1443"/>
                  <a:gd name="T81" fmla="*/ 428 h 1174"/>
                  <a:gd name="T82" fmla="*/ 2 w 1443"/>
                  <a:gd name="T83" fmla="*/ 400 h 1174"/>
                  <a:gd name="T84" fmla="*/ 81 w 1443"/>
                  <a:gd name="T85" fmla="*/ 404 h 1174"/>
                  <a:gd name="T86" fmla="*/ 152 w 1443"/>
                  <a:gd name="T87" fmla="*/ 422 h 1174"/>
                  <a:gd name="T88" fmla="*/ 238 w 1443"/>
                  <a:gd name="T89" fmla="*/ 389 h 1174"/>
                  <a:gd name="T90" fmla="*/ 311 w 1443"/>
                  <a:gd name="T91" fmla="*/ 385 h 1174"/>
                  <a:gd name="T92" fmla="*/ 336 w 1443"/>
                  <a:gd name="T93" fmla="*/ 339 h 1174"/>
                  <a:gd name="T94" fmla="*/ 317 w 1443"/>
                  <a:gd name="T95" fmla="*/ 289 h 1174"/>
                  <a:gd name="T96" fmla="*/ 328 w 1443"/>
                  <a:gd name="T97" fmla="*/ 205 h 1174"/>
                  <a:gd name="T98" fmla="*/ 390 w 1443"/>
                  <a:gd name="T99" fmla="*/ 165 h 1174"/>
                  <a:gd name="T100" fmla="*/ 466 w 1443"/>
                  <a:gd name="T101" fmla="*/ 148 h 1174"/>
                  <a:gd name="T102" fmla="*/ 499 w 1443"/>
                  <a:gd name="T103" fmla="*/ 160 h 1174"/>
                  <a:gd name="T104" fmla="*/ 541 w 1443"/>
                  <a:gd name="T105" fmla="*/ 259 h 1174"/>
                  <a:gd name="T106" fmla="*/ 672 w 1443"/>
                  <a:gd name="T107" fmla="*/ 305 h 1174"/>
                  <a:gd name="T108" fmla="*/ 822 w 1443"/>
                  <a:gd name="T109" fmla="*/ 358 h 1174"/>
                  <a:gd name="T110" fmla="*/ 951 w 1443"/>
                  <a:gd name="T111" fmla="*/ 262 h 1174"/>
                  <a:gd name="T112" fmla="*/ 943 w 1443"/>
                  <a:gd name="T113" fmla="*/ 133 h 1174"/>
                  <a:gd name="T114" fmla="*/ 997 w 1443"/>
                  <a:gd name="T115" fmla="*/ 135 h 1174"/>
                  <a:gd name="T116" fmla="*/ 957 w 1443"/>
                  <a:gd name="T117" fmla="*/ 45 h 1174"/>
                  <a:gd name="T118" fmla="*/ 1049 w 1443"/>
                  <a:gd name="T119" fmla="*/ 35 h 1174"/>
                  <a:gd name="T120" fmla="*/ 1160 w 1443"/>
                  <a:gd name="T121" fmla="*/ 15 h 1174"/>
                  <a:gd name="T122" fmla="*/ 1242 w 1443"/>
                  <a:gd name="T123" fmla="*/ 37 h 1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43" h="1174">
                    <a:moveTo>
                      <a:pt x="1282" y="5"/>
                    </a:moveTo>
                    <a:lnTo>
                      <a:pt x="1283" y="8"/>
                    </a:lnTo>
                    <a:lnTo>
                      <a:pt x="1285" y="10"/>
                    </a:lnTo>
                    <a:lnTo>
                      <a:pt x="1290" y="8"/>
                    </a:lnTo>
                    <a:lnTo>
                      <a:pt x="1293" y="8"/>
                    </a:lnTo>
                    <a:lnTo>
                      <a:pt x="1299" y="15"/>
                    </a:lnTo>
                    <a:lnTo>
                      <a:pt x="1304" y="19"/>
                    </a:lnTo>
                    <a:lnTo>
                      <a:pt x="1306" y="24"/>
                    </a:lnTo>
                    <a:lnTo>
                      <a:pt x="1309" y="32"/>
                    </a:lnTo>
                    <a:lnTo>
                      <a:pt x="1307" y="38"/>
                    </a:lnTo>
                    <a:lnTo>
                      <a:pt x="1306" y="45"/>
                    </a:lnTo>
                    <a:lnTo>
                      <a:pt x="1304" y="51"/>
                    </a:lnTo>
                    <a:lnTo>
                      <a:pt x="1307" y="56"/>
                    </a:lnTo>
                    <a:lnTo>
                      <a:pt x="1312" y="59"/>
                    </a:lnTo>
                    <a:lnTo>
                      <a:pt x="1318" y="64"/>
                    </a:lnTo>
                    <a:lnTo>
                      <a:pt x="1321" y="67"/>
                    </a:lnTo>
                    <a:lnTo>
                      <a:pt x="1323" y="70"/>
                    </a:lnTo>
                    <a:lnTo>
                      <a:pt x="1321" y="70"/>
                    </a:lnTo>
                    <a:lnTo>
                      <a:pt x="1315" y="75"/>
                    </a:lnTo>
                    <a:lnTo>
                      <a:pt x="1312" y="78"/>
                    </a:lnTo>
                    <a:lnTo>
                      <a:pt x="1312" y="84"/>
                    </a:lnTo>
                    <a:lnTo>
                      <a:pt x="1312" y="91"/>
                    </a:lnTo>
                    <a:lnTo>
                      <a:pt x="1314" y="99"/>
                    </a:lnTo>
                    <a:lnTo>
                      <a:pt x="1312" y="107"/>
                    </a:lnTo>
                    <a:lnTo>
                      <a:pt x="1310" y="108"/>
                    </a:lnTo>
                    <a:lnTo>
                      <a:pt x="1307" y="107"/>
                    </a:lnTo>
                    <a:lnTo>
                      <a:pt x="1304" y="100"/>
                    </a:lnTo>
                    <a:lnTo>
                      <a:pt x="1301" y="97"/>
                    </a:lnTo>
                    <a:lnTo>
                      <a:pt x="1299" y="95"/>
                    </a:lnTo>
                    <a:lnTo>
                      <a:pt x="1298" y="92"/>
                    </a:lnTo>
                    <a:lnTo>
                      <a:pt x="1296" y="86"/>
                    </a:lnTo>
                    <a:lnTo>
                      <a:pt x="1293" y="78"/>
                    </a:lnTo>
                    <a:lnTo>
                      <a:pt x="1290" y="68"/>
                    </a:lnTo>
                    <a:lnTo>
                      <a:pt x="1288" y="61"/>
                    </a:lnTo>
                    <a:lnTo>
                      <a:pt x="1287" y="59"/>
                    </a:lnTo>
                    <a:lnTo>
                      <a:pt x="1282" y="57"/>
                    </a:lnTo>
                    <a:lnTo>
                      <a:pt x="1277" y="56"/>
                    </a:lnTo>
                    <a:lnTo>
                      <a:pt x="1274" y="57"/>
                    </a:lnTo>
                    <a:lnTo>
                      <a:pt x="1271" y="62"/>
                    </a:lnTo>
                    <a:lnTo>
                      <a:pt x="1272" y="68"/>
                    </a:lnTo>
                    <a:lnTo>
                      <a:pt x="1274" y="72"/>
                    </a:lnTo>
                    <a:lnTo>
                      <a:pt x="1279" y="78"/>
                    </a:lnTo>
                    <a:lnTo>
                      <a:pt x="1283" y="84"/>
                    </a:lnTo>
                    <a:lnTo>
                      <a:pt x="1285" y="89"/>
                    </a:lnTo>
                    <a:lnTo>
                      <a:pt x="1285" y="92"/>
                    </a:lnTo>
                    <a:lnTo>
                      <a:pt x="1285" y="97"/>
                    </a:lnTo>
                    <a:lnTo>
                      <a:pt x="1283" y="102"/>
                    </a:lnTo>
                    <a:lnTo>
                      <a:pt x="1283" y="103"/>
                    </a:lnTo>
                    <a:lnTo>
                      <a:pt x="1287" y="108"/>
                    </a:lnTo>
                    <a:lnTo>
                      <a:pt x="1290" y="111"/>
                    </a:lnTo>
                    <a:lnTo>
                      <a:pt x="1295" y="114"/>
                    </a:lnTo>
                    <a:lnTo>
                      <a:pt x="1293" y="118"/>
                    </a:lnTo>
                    <a:lnTo>
                      <a:pt x="1291" y="122"/>
                    </a:lnTo>
                    <a:lnTo>
                      <a:pt x="1296" y="124"/>
                    </a:lnTo>
                    <a:lnTo>
                      <a:pt x="1296" y="126"/>
                    </a:lnTo>
                    <a:lnTo>
                      <a:pt x="1296" y="127"/>
                    </a:lnTo>
                    <a:lnTo>
                      <a:pt x="1291" y="130"/>
                    </a:lnTo>
                    <a:lnTo>
                      <a:pt x="1291" y="132"/>
                    </a:lnTo>
                    <a:lnTo>
                      <a:pt x="1293" y="132"/>
                    </a:lnTo>
                    <a:lnTo>
                      <a:pt x="1288" y="137"/>
                    </a:lnTo>
                    <a:lnTo>
                      <a:pt x="1287" y="141"/>
                    </a:lnTo>
                    <a:lnTo>
                      <a:pt x="1285" y="146"/>
                    </a:lnTo>
                    <a:lnTo>
                      <a:pt x="1285" y="152"/>
                    </a:lnTo>
                    <a:lnTo>
                      <a:pt x="1282" y="157"/>
                    </a:lnTo>
                    <a:lnTo>
                      <a:pt x="1279" y="162"/>
                    </a:lnTo>
                    <a:lnTo>
                      <a:pt x="1277" y="168"/>
                    </a:lnTo>
                    <a:lnTo>
                      <a:pt x="1274" y="171"/>
                    </a:lnTo>
                    <a:lnTo>
                      <a:pt x="1269" y="175"/>
                    </a:lnTo>
                    <a:lnTo>
                      <a:pt x="1268" y="176"/>
                    </a:lnTo>
                    <a:lnTo>
                      <a:pt x="1263" y="178"/>
                    </a:lnTo>
                    <a:lnTo>
                      <a:pt x="1260" y="184"/>
                    </a:lnTo>
                    <a:lnTo>
                      <a:pt x="1260" y="189"/>
                    </a:lnTo>
                    <a:lnTo>
                      <a:pt x="1256" y="194"/>
                    </a:lnTo>
                    <a:lnTo>
                      <a:pt x="1250" y="198"/>
                    </a:lnTo>
                    <a:lnTo>
                      <a:pt x="1244" y="205"/>
                    </a:lnTo>
                    <a:lnTo>
                      <a:pt x="1242" y="211"/>
                    </a:lnTo>
                    <a:lnTo>
                      <a:pt x="1241" y="216"/>
                    </a:lnTo>
                    <a:lnTo>
                      <a:pt x="1237" y="222"/>
                    </a:lnTo>
                    <a:lnTo>
                      <a:pt x="1234" y="227"/>
                    </a:lnTo>
                    <a:lnTo>
                      <a:pt x="1233" y="233"/>
                    </a:lnTo>
                    <a:lnTo>
                      <a:pt x="1236" y="238"/>
                    </a:lnTo>
                    <a:lnTo>
                      <a:pt x="1236" y="244"/>
                    </a:lnTo>
                    <a:lnTo>
                      <a:pt x="1233" y="249"/>
                    </a:lnTo>
                    <a:lnTo>
                      <a:pt x="1231" y="252"/>
                    </a:lnTo>
                    <a:lnTo>
                      <a:pt x="1230" y="252"/>
                    </a:lnTo>
                    <a:lnTo>
                      <a:pt x="1230" y="257"/>
                    </a:lnTo>
                    <a:lnTo>
                      <a:pt x="1236" y="260"/>
                    </a:lnTo>
                    <a:lnTo>
                      <a:pt x="1237" y="265"/>
                    </a:lnTo>
                    <a:lnTo>
                      <a:pt x="1239" y="270"/>
                    </a:lnTo>
                    <a:lnTo>
                      <a:pt x="1237" y="276"/>
                    </a:lnTo>
                    <a:lnTo>
                      <a:pt x="1234" y="279"/>
                    </a:lnTo>
                    <a:lnTo>
                      <a:pt x="1231" y="279"/>
                    </a:lnTo>
                    <a:lnTo>
                      <a:pt x="1228" y="279"/>
                    </a:lnTo>
                    <a:lnTo>
                      <a:pt x="1223" y="281"/>
                    </a:lnTo>
                    <a:lnTo>
                      <a:pt x="1218" y="284"/>
                    </a:lnTo>
                    <a:lnTo>
                      <a:pt x="1214" y="286"/>
                    </a:lnTo>
                    <a:lnTo>
                      <a:pt x="1209" y="292"/>
                    </a:lnTo>
                    <a:lnTo>
                      <a:pt x="1209" y="293"/>
                    </a:lnTo>
                    <a:lnTo>
                      <a:pt x="1207" y="300"/>
                    </a:lnTo>
                    <a:lnTo>
                      <a:pt x="1206" y="305"/>
                    </a:lnTo>
                    <a:lnTo>
                      <a:pt x="1204" y="309"/>
                    </a:lnTo>
                    <a:lnTo>
                      <a:pt x="1199" y="312"/>
                    </a:lnTo>
                    <a:lnTo>
                      <a:pt x="1195" y="316"/>
                    </a:lnTo>
                    <a:lnTo>
                      <a:pt x="1195" y="320"/>
                    </a:lnTo>
                    <a:lnTo>
                      <a:pt x="1195" y="327"/>
                    </a:lnTo>
                    <a:lnTo>
                      <a:pt x="1193" y="333"/>
                    </a:lnTo>
                    <a:lnTo>
                      <a:pt x="1192" y="336"/>
                    </a:lnTo>
                    <a:lnTo>
                      <a:pt x="1185" y="339"/>
                    </a:lnTo>
                    <a:lnTo>
                      <a:pt x="1182" y="343"/>
                    </a:lnTo>
                    <a:lnTo>
                      <a:pt x="1177" y="346"/>
                    </a:lnTo>
                    <a:lnTo>
                      <a:pt x="1171" y="349"/>
                    </a:lnTo>
                    <a:lnTo>
                      <a:pt x="1166" y="351"/>
                    </a:lnTo>
                    <a:lnTo>
                      <a:pt x="1161" y="355"/>
                    </a:lnTo>
                    <a:lnTo>
                      <a:pt x="1155" y="358"/>
                    </a:lnTo>
                    <a:lnTo>
                      <a:pt x="1150" y="362"/>
                    </a:lnTo>
                    <a:lnTo>
                      <a:pt x="1144" y="365"/>
                    </a:lnTo>
                    <a:lnTo>
                      <a:pt x="1142" y="366"/>
                    </a:lnTo>
                    <a:lnTo>
                      <a:pt x="1139" y="370"/>
                    </a:lnTo>
                    <a:lnTo>
                      <a:pt x="1136" y="374"/>
                    </a:lnTo>
                    <a:lnTo>
                      <a:pt x="1136" y="381"/>
                    </a:lnTo>
                    <a:lnTo>
                      <a:pt x="1133" y="390"/>
                    </a:lnTo>
                    <a:lnTo>
                      <a:pt x="1133" y="401"/>
                    </a:lnTo>
                    <a:lnTo>
                      <a:pt x="1131" y="404"/>
                    </a:lnTo>
                    <a:lnTo>
                      <a:pt x="1131" y="408"/>
                    </a:lnTo>
                    <a:lnTo>
                      <a:pt x="1131" y="414"/>
                    </a:lnTo>
                    <a:lnTo>
                      <a:pt x="1135" y="417"/>
                    </a:lnTo>
                    <a:lnTo>
                      <a:pt x="1139" y="420"/>
                    </a:lnTo>
                    <a:lnTo>
                      <a:pt x="1142" y="423"/>
                    </a:lnTo>
                    <a:lnTo>
                      <a:pt x="1146" y="427"/>
                    </a:lnTo>
                    <a:lnTo>
                      <a:pt x="1147" y="431"/>
                    </a:lnTo>
                    <a:lnTo>
                      <a:pt x="1150" y="434"/>
                    </a:lnTo>
                    <a:lnTo>
                      <a:pt x="1152" y="434"/>
                    </a:lnTo>
                    <a:lnTo>
                      <a:pt x="1157" y="433"/>
                    </a:lnTo>
                    <a:lnTo>
                      <a:pt x="1163" y="427"/>
                    </a:lnTo>
                    <a:lnTo>
                      <a:pt x="1169" y="422"/>
                    </a:lnTo>
                    <a:lnTo>
                      <a:pt x="1176" y="422"/>
                    </a:lnTo>
                    <a:lnTo>
                      <a:pt x="1182" y="420"/>
                    </a:lnTo>
                    <a:lnTo>
                      <a:pt x="1184" y="417"/>
                    </a:lnTo>
                    <a:lnTo>
                      <a:pt x="1185" y="414"/>
                    </a:lnTo>
                    <a:lnTo>
                      <a:pt x="1187" y="409"/>
                    </a:lnTo>
                    <a:lnTo>
                      <a:pt x="1193" y="401"/>
                    </a:lnTo>
                    <a:lnTo>
                      <a:pt x="1198" y="395"/>
                    </a:lnTo>
                    <a:lnTo>
                      <a:pt x="1203" y="390"/>
                    </a:lnTo>
                    <a:lnTo>
                      <a:pt x="1204" y="384"/>
                    </a:lnTo>
                    <a:lnTo>
                      <a:pt x="1207" y="379"/>
                    </a:lnTo>
                    <a:lnTo>
                      <a:pt x="1214" y="377"/>
                    </a:lnTo>
                    <a:lnTo>
                      <a:pt x="1217" y="384"/>
                    </a:lnTo>
                    <a:lnTo>
                      <a:pt x="1223" y="389"/>
                    </a:lnTo>
                    <a:lnTo>
                      <a:pt x="1230" y="390"/>
                    </a:lnTo>
                    <a:lnTo>
                      <a:pt x="1236" y="390"/>
                    </a:lnTo>
                    <a:lnTo>
                      <a:pt x="1242" y="390"/>
                    </a:lnTo>
                    <a:lnTo>
                      <a:pt x="1244" y="389"/>
                    </a:lnTo>
                    <a:lnTo>
                      <a:pt x="1247" y="392"/>
                    </a:lnTo>
                    <a:lnTo>
                      <a:pt x="1249" y="396"/>
                    </a:lnTo>
                    <a:lnTo>
                      <a:pt x="1253" y="400"/>
                    </a:lnTo>
                    <a:lnTo>
                      <a:pt x="1261" y="401"/>
                    </a:lnTo>
                    <a:lnTo>
                      <a:pt x="1268" y="400"/>
                    </a:lnTo>
                    <a:lnTo>
                      <a:pt x="1272" y="400"/>
                    </a:lnTo>
                    <a:lnTo>
                      <a:pt x="1279" y="393"/>
                    </a:lnTo>
                    <a:lnTo>
                      <a:pt x="1283" y="389"/>
                    </a:lnTo>
                    <a:lnTo>
                      <a:pt x="1291" y="390"/>
                    </a:lnTo>
                    <a:lnTo>
                      <a:pt x="1298" y="393"/>
                    </a:lnTo>
                    <a:lnTo>
                      <a:pt x="1301" y="398"/>
                    </a:lnTo>
                    <a:lnTo>
                      <a:pt x="1301" y="403"/>
                    </a:lnTo>
                    <a:lnTo>
                      <a:pt x="1299" y="408"/>
                    </a:lnTo>
                    <a:lnTo>
                      <a:pt x="1304" y="408"/>
                    </a:lnTo>
                    <a:lnTo>
                      <a:pt x="1309" y="409"/>
                    </a:lnTo>
                    <a:lnTo>
                      <a:pt x="1312" y="412"/>
                    </a:lnTo>
                    <a:lnTo>
                      <a:pt x="1314" y="415"/>
                    </a:lnTo>
                    <a:lnTo>
                      <a:pt x="1312" y="417"/>
                    </a:lnTo>
                    <a:lnTo>
                      <a:pt x="1310" y="422"/>
                    </a:lnTo>
                    <a:lnTo>
                      <a:pt x="1310" y="425"/>
                    </a:lnTo>
                    <a:lnTo>
                      <a:pt x="1315" y="427"/>
                    </a:lnTo>
                    <a:lnTo>
                      <a:pt x="1317" y="422"/>
                    </a:lnTo>
                    <a:lnTo>
                      <a:pt x="1320" y="422"/>
                    </a:lnTo>
                    <a:lnTo>
                      <a:pt x="1321" y="428"/>
                    </a:lnTo>
                    <a:lnTo>
                      <a:pt x="1321" y="434"/>
                    </a:lnTo>
                    <a:lnTo>
                      <a:pt x="1318" y="434"/>
                    </a:lnTo>
                    <a:lnTo>
                      <a:pt x="1317" y="439"/>
                    </a:lnTo>
                    <a:lnTo>
                      <a:pt x="1318" y="442"/>
                    </a:lnTo>
                    <a:lnTo>
                      <a:pt x="1318" y="447"/>
                    </a:lnTo>
                    <a:lnTo>
                      <a:pt x="1318" y="450"/>
                    </a:lnTo>
                    <a:lnTo>
                      <a:pt x="1318" y="455"/>
                    </a:lnTo>
                    <a:lnTo>
                      <a:pt x="1318" y="460"/>
                    </a:lnTo>
                    <a:lnTo>
                      <a:pt x="1321" y="463"/>
                    </a:lnTo>
                    <a:lnTo>
                      <a:pt x="1321" y="466"/>
                    </a:lnTo>
                    <a:lnTo>
                      <a:pt x="1317" y="471"/>
                    </a:lnTo>
                    <a:lnTo>
                      <a:pt x="1314" y="473"/>
                    </a:lnTo>
                    <a:lnTo>
                      <a:pt x="1309" y="474"/>
                    </a:lnTo>
                    <a:lnTo>
                      <a:pt x="1307" y="476"/>
                    </a:lnTo>
                    <a:lnTo>
                      <a:pt x="1304" y="477"/>
                    </a:lnTo>
                    <a:lnTo>
                      <a:pt x="1302" y="479"/>
                    </a:lnTo>
                    <a:lnTo>
                      <a:pt x="1299" y="480"/>
                    </a:lnTo>
                    <a:lnTo>
                      <a:pt x="1299" y="485"/>
                    </a:lnTo>
                    <a:lnTo>
                      <a:pt x="1299" y="488"/>
                    </a:lnTo>
                    <a:lnTo>
                      <a:pt x="1299" y="493"/>
                    </a:lnTo>
                    <a:lnTo>
                      <a:pt x="1301" y="493"/>
                    </a:lnTo>
                    <a:lnTo>
                      <a:pt x="1306" y="493"/>
                    </a:lnTo>
                    <a:lnTo>
                      <a:pt x="1309" y="496"/>
                    </a:lnTo>
                    <a:lnTo>
                      <a:pt x="1312" y="499"/>
                    </a:lnTo>
                    <a:lnTo>
                      <a:pt x="1314" y="501"/>
                    </a:lnTo>
                    <a:lnTo>
                      <a:pt x="1320" y="501"/>
                    </a:lnTo>
                    <a:lnTo>
                      <a:pt x="1323" y="504"/>
                    </a:lnTo>
                    <a:lnTo>
                      <a:pt x="1326" y="511"/>
                    </a:lnTo>
                    <a:lnTo>
                      <a:pt x="1329" y="514"/>
                    </a:lnTo>
                    <a:lnTo>
                      <a:pt x="1334" y="515"/>
                    </a:lnTo>
                    <a:lnTo>
                      <a:pt x="1340" y="514"/>
                    </a:lnTo>
                    <a:lnTo>
                      <a:pt x="1350" y="514"/>
                    </a:lnTo>
                    <a:lnTo>
                      <a:pt x="1352" y="512"/>
                    </a:lnTo>
                    <a:lnTo>
                      <a:pt x="1356" y="517"/>
                    </a:lnTo>
                    <a:lnTo>
                      <a:pt x="1358" y="520"/>
                    </a:lnTo>
                    <a:lnTo>
                      <a:pt x="1363" y="523"/>
                    </a:lnTo>
                    <a:lnTo>
                      <a:pt x="1369" y="523"/>
                    </a:lnTo>
                    <a:lnTo>
                      <a:pt x="1377" y="523"/>
                    </a:lnTo>
                    <a:lnTo>
                      <a:pt x="1382" y="526"/>
                    </a:lnTo>
                    <a:lnTo>
                      <a:pt x="1385" y="526"/>
                    </a:lnTo>
                    <a:lnTo>
                      <a:pt x="1386" y="526"/>
                    </a:lnTo>
                    <a:lnTo>
                      <a:pt x="1391" y="530"/>
                    </a:lnTo>
                    <a:lnTo>
                      <a:pt x="1390" y="531"/>
                    </a:lnTo>
                    <a:lnTo>
                      <a:pt x="1390" y="534"/>
                    </a:lnTo>
                    <a:lnTo>
                      <a:pt x="1388" y="541"/>
                    </a:lnTo>
                    <a:lnTo>
                      <a:pt x="1393" y="542"/>
                    </a:lnTo>
                    <a:lnTo>
                      <a:pt x="1401" y="542"/>
                    </a:lnTo>
                    <a:lnTo>
                      <a:pt x="1409" y="541"/>
                    </a:lnTo>
                    <a:lnTo>
                      <a:pt x="1415" y="539"/>
                    </a:lnTo>
                    <a:lnTo>
                      <a:pt x="1423" y="541"/>
                    </a:lnTo>
                    <a:lnTo>
                      <a:pt x="1424" y="544"/>
                    </a:lnTo>
                    <a:lnTo>
                      <a:pt x="1421" y="547"/>
                    </a:lnTo>
                    <a:lnTo>
                      <a:pt x="1420" y="552"/>
                    </a:lnTo>
                    <a:lnTo>
                      <a:pt x="1421" y="555"/>
                    </a:lnTo>
                    <a:lnTo>
                      <a:pt x="1426" y="556"/>
                    </a:lnTo>
                    <a:lnTo>
                      <a:pt x="1429" y="558"/>
                    </a:lnTo>
                    <a:lnTo>
                      <a:pt x="1431" y="560"/>
                    </a:lnTo>
                    <a:lnTo>
                      <a:pt x="1434" y="566"/>
                    </a:lnTo>
                    <a:lnTo>
                      <a:pt x="1432" y="574"/>
                    </a:lnTo>
                    <a:lnTo>
                      <a:pt x="1432" y="580"/>
                    </a:lnTo>
                    <a:lnTo>
                      <a:pt x="1434" y="585"/>
                    </a:lnTo>
                    <a:lnTo>
                      <a:pt x="1437" y="590"/>
                    </a:lnTo>
                    <a:lnTo>
                      <a:pt x="1437" y="596"/>
                    </a:lnTo>
                    <a:lnTo>
                      <a:pt x="1439" y="602"/>
                    </a:lnTo>
                    <a:lnTo>
                      <a:pt x="1440" y="607"/>
                    </a:lnTo>
                    <a:lnTo>
                      <a:pt x="1442" y="614"/>
                    </a:lnTo>
                    <a:lnTo>
                      <a:pt x="1442" y="618"/>
                    </a:lnTo>
                    <a:lnTo>
                      <a:pt x="1442" y="620"/>
                    </a:lnTo>
                    <a:lnTo>
                      <a:pt x="1442" y="625"/>
                    </a:lnTo>
                    <a:lnTo>
                      <a:pt x="1440" y="631"/>
                    </a:lnTo>
                    <a:lnTo>
                      <a:pt x="1437" y="634"/>
                    </a:lnTo>
                    <a:lnTo>
                      <a:pt x="1432" y="639"/>
                    </a:lnTo>
                    <a:lnTo>
                      <a:pt x="1431" y="645"/>
                    </a:lnTo>
                    <a:lnTo>
                      <a:pt x="1432" y="650"/>
                    </a:lnTo>
                    <a:lnTo>
                      <a:pt x="1434" y="655"/>
                    </a:lnTo>
                    <a:lnTo>
                      <a:pt x="1435" y="659"/>
                    </a:lnTo>
                    <a:lnTo>
                      <a:pt x="1439" y="666"/>
                    </a:lnTo>
                    <a:lnTo>
                      <a:pt x="1443" y="669"/>
                    </a:lnTo>
                    <a:lnTo>
                      <a:pt x="1443" y="672"/>
                    </a:lnTo>
                    <a:lnTo>
                      <a:pt x="1435" y="672"/>
                    </a:lnTo>
                    <a:lnTo>
                      <a:pt x="1429" y="674"/>
                    </a:lnTo>
                    <a:lnTo>
                      <a:pt x="1421" y="675"/>
                    </a:lnTo>
                    <a:lnTo>
                      <a:pt x="1415" y="679"/>
                    </a:lnTo>
                    <a:lnTo>
                      <a:pt x="1409" y="677"/>
                    </a:lnTo>
                    <a:lnTo>
                      <a:pt x="1402" y="675"/>
                    </a:lnTo>
                    <a:lnTo>
                      <a:pt x="1394" y="672"/>
                    </a:lnTo>
                    <a:lnTo>
                      <a:pt x="1391" y="666"/>
                    </a:lnTo>
                    <a:lnTo>
                      <a:pt x="1388" y="663"/>
                    </a:lnTo>
                    <a:lnTo>
                      <a:pt x="1386" y="659"/>
                    </a:lnTo>
                    <a:lnTo>
                      <a:pt x="1383" y="653"/>
                    </a:lnTo>
                    <a:lnTo>
                      <a:pt x="1382" y="652"/>
                    </a:lnTo>
                    <a:lnTo>
                      <a:pt x="1375" y="642"/>
                    </a:lnTo>
                    <a:lnTo>
                      <a:pt x="1372" y="634"/>
                    </a:lnTo>
                    <a:lnTo>
                      <a:pt x="1369" y="629"/>
                    </a:lnTo>
                    <a:lnTo>
                      <a:pt x="1363" y="625"/>
                    </a:lnTo>
                    <a:lnTo>
                      <a:pt x="1356" y="618"/>
                    </a:lnTo>
                    <a:lnTo>
                      <a:pt x="1350" y="614"/>
                    </a:lnTo>
                    <a:lnTo>
                      <a:pt x="1345" y="609"/>
                    </a:lnTo>
                    <a:lnTo>
                      <a:pt x="1342" y="604"/>
                    </a:lnTo>
                    <a:lnTo>
                      <a:pt x="1339" y="601"/>
                    </a:lnTo>
                    <a:lnTo>
                      <a:pt x="1337" y="601"/>
                    </a:lnTo>
                    <a:lnTo>
                      <a:pt x="1336" y="599"/>
                    </a:lnTo>
                    <a:lnTo>
                      <a:pt x="1334" y="598"/>
                    </a:lnTo>
                    <a:lnTo>
                      <a:pt x="1329" y="599"/>
                    </a:lnTo>
                    <a:lnTo>
                      <a:pt x="1323" y="602"/>
                    </a:lnTo>
                    <a:lnTo>
                      <a:pt x="1320" y="604"/>
                    </a:lnTo>
                    <a:lnTo>
                      <a:pt x="1317" y="601"/>
                    </a:lnTo>
                    <a:lnTo>
                      <a:pt x="1315" y="599"/>
                    </a:lnTo>
                    <a:lnTo>
                      <a:pt x="1309" y="599"/>
                    </a:lnTo>
                    <a:lnTo>
                      <a:pt x="1307" y="596"/>
                    </a:lnTo>
                    <a:lnTo>
                      <a:pt x="1304" y="595"/>
                    </a:lnTo>
                    <a:lnTo>
                      <a:pt x="1302" y="595"/>
                    </a:lnTo>
                    <a:lnTo>
                      <a:pt x="1296" y="596"/>
                    </a:lnTo>
                    <a:lnTo>
                      <a:pt x="1290" y="595"/>
                    </a:lnTo>
                    <a:lnTo>
                      <a:pt x="1283" y="590"/>
                    </a:lnTo>
                    <a:lnTo>
                      <a:pt x="1279" y="590"/>
                    </a:lnTo>
                    <a:lnTo>
                      <a:pt x="1271" y="590"/>
                    </a:lnTo>
                    <a:lnTo>
                      <a:pt x="1269" y="590"/>
                    </a:lnTo>
                    <a:lnTo>
                      <a:pt x="1260" y="590"/>
                    </a:lnTo>
                    <a:lnTo>
                      <a:pt x="1252" y="593"/>
                    </a:lnTo>
                    <a:lnTo>
                      <a:pt x="1249" y="595"/>
                    </a:lnTo>
                    <a:lnTo>
                      <a:pt x="1245" y="596"/>
                    </a:lnTo>
                    <a:lnTo>
                      <a:pt x="1242" y="599"/>
                    </a:lnTo>
                    <a:lnTo>
                      <a:pt x="1237" y="606"/>
                    </a:lnTo>
                    <a:lnTo>
                      <a:pt x="1237" y="612"/>
                    </a:lnTo>
                    <a:lnTo>
                      <a:pt x="1237" y="614"/>
                    </a:lnTo>
                    <a:lnTo>
                      <a:pt x="1236" y="615"/>
                    </a:lnTo>
                    <a:lnTo>
                      <a:pt x="1236" y="617"/>
                    </a:lnTo>
                    <a:lnTo>
                      <a:pt x="1237" y="623"/>
                    </a:lnTo>
                    <a:lnTo>
                      <a:pt x="1237" y="629"/>
                    </a:lnTo>
                    <a:lnTo>
                      <a:pt x="1237" y="631"/>
                    </a:lnTo>
                    <a:lnTo>
                      <a:pt x="1237" y="634"/>
                    </a:lnTo>
                    <a:lnTo>
                      <a:pt x="1239" y="640"/>
                    </a:lnTo>
                    <a:lnTo>
                      <a:pt x="1241" y="648"/>
                    </a:lnTo>
                    <a:lnTo>
                      <a:pt x="1241" y="655"/>
                    </a:lnTo>
                    <a:lnTo>
                      <a:pt x="1241" y="659"/>
                    </a:lnTo>
                    <a:lnTo>
                      <a:pt x="1234" y="663"/>
                    </a:lnTo>
                    <a:lnTo>
                      <a:pt x="1228" y="664"/>
                    </a:lnTo>
                    <a:lnTo>
                      <a:pt x="1223" y="671"/>
                    </a:lnTo>
                    <a:lnTo>
                      <a:pt x="1220" y="677"/>
                    </a:lnTo>
                    <a:lnTo>
                      <a:pt x="1218" y="683"/>
                    </a:lnTo>
                    <a:lnTo>
                      <a:pt x="1217" y="688"/>
                    </a:lnTo>
                    <a:lnTo>
                      <a:pt x="1215" y="690"/>
                    </a:lnTo>
                    <a:lnTo>
                      <a:pt x="1212" y="696"/>
                    </a:lnTo>
                    <a:lnTo>
                      <a:pt x="1211" y="698"/>
                    </a:lnTo>
                    <a:lnTo>
                      <a:pt x="1207" y="704"/>
                    </a:lnTo>
                    <a:lnTo>
                      <a:pt x="1206" y="710"/>
                    </a:lnTo>
                    <a:lnTo>
                      <a:pt x="1201" y="712"/>
                    </a:lnTo>
                    <a:lnTo>
                      <a:pt x="1195" y="717"/>
                    </a:lnTo>
                    <a:lnTo>
                      <a:pt x="1193" y="723"/>
                    </a:lnTo>
                    <a:lnTo>
                      <a:pt x="1196" y="726"/>
                    </a:lnTo>
                    <a:lnTo>
                      <a:pt x="1199" y="726"/>
                    </a:lnTo>
                    <a:lnTo>
                      <a:pt x="1203" y="723"/>
                    </a:lnTo>
                    <a:lnTo>
                      <a:pt x="1207" y="726"/>
                    </a:lnTo>
                    <a:lnTo>
                      <a:pt x="1209" y="731"/>
                    </a:lnTo>
                    <a:lnTo>
                      <a:pt x="1212" y="731"/>
                    </a:lnTo>
                    <a:lnTo>
                      <a:pt x="1217" y="732"/>
                    </a:lnTo>
                    <a:lnTo>
                      <a:pt x="1222" y="734"/>
                    </a:lnTo>
                    <a:lnTo>
                      <a:pt x="1226" y="737"/>
                    </a:lnTo>
                    <a:lnTo>
                      <a:pt x="1230" y="742"/>
                    </a:lnTo>
                    <a:lnTo>
                      <a:pt x="1225" y="747"/>
                    </a:lnTo>
                    <a:lnTo>
                      <a:pt x="1218" y="747"/>
                    </a:lnTo>
                    <a:lnTo>
                      <a:pt x="1215" y="750"/>
                    </a:lnTo>
                    <a:lnTo>
                      <a:pt x="1212" y="751"/>
                    </a:lnTo>
                    <a:lnTo>
                      <a:pt x="1209" y="756"/>
                    </a:lnTo>
                    <a:lnTo>
                      <a:pt x="1203" y="758"/>
                    </a:lnTo>
                    <a:lnTo>
                      <a:pt x="1198" y="758"/>
                    </a:lnTo>
                    <a:lnTo>
                      <a:pt x="1192" y="756"/>
                    </a:lnTo>
                    <a:lnTo>
                      <a:pt x="1188" y="759"/>
                    </a:lnTo>
                    <a:lnTo>
                      <a:pt x="1187" y="759"/>
                    </a:lnTo>
                    <a:lnTo>
                      <a:pt x="1184" y="764"/>
                    </a:lnTo>
                    <a:lnTo>
                      <a:pt x="1179" y="766"/>
                    </a:lnTo>
                    <a:lnTo>
                      <a:pt x="1174" y="764"/>
                    </a:lnTo>
                    <a:lnTo>
                      <a:pt x="1171" y="762"/>
                    </a:lnTo>
                    <a:lnTo>
                      <a:pt x="1171" y="761"/>
                    </a:lnTo>
                    <a:lnTo>
                      <a:pt x="1171" y="758"/>
                    </a:lnTo>
                    <a:lnTo>
                      <a:pt x="1174" y="753"/>
                    </a:lnTo>
                    <a:lnTo>
                      <a:pt x="1176" y="750"/>
                    </a:lnTo>
                    <a:lnTo>
                      <a:pt x="1176" y="742"/>
                    </a:lnTo>
                    <a:lnTo>
                      <a:pt x="1173" y="737"/>
                    </a:lnTo>
                    <a:lnTo>
                      <a:pt x="1166" y="736"/>
                    </a:lnTo>
                    <a:lnTo>
                      <a:pt x="1163" y="731"/>
                    </a:lnTo>
                    <a:lnTo>
                      <a:pt x="1161" y="724"/>
                    </a:lnTo>
                    <a:lnTo>
                      <a:pt x="1160" y="723"/>
                    </a:lnTo>
                    <a:lnTo>
                      <a:pt x="1157" y="718"/>
                    </a:lnTo>
                    <a:lnTo>
                      <a:pt x="1154" y="715"/>
                    </a:lnTo>
                    <a:lnTo>
                      <a:pt x="1149" y="713"/>
                    </a:lnTo>
                    <a:lnTo>
                      <a:pt x="1149" y="709"/>
                    </a:lnTo>
                    <a:lnTo>
                      <a:pt x="1147" y="704"/>
                    </a:lnTo>
                    <a:lnTo>
                      <a:pt x="1144" y="699"/>
                    </a:lnTo>
                    <a:lnTo>
                      <a:pt x="1142" y="696"/>
                    </a:lnTo>
                    <a:lnTo>
                      <a:pt x="1141" y="693"/>
                    </a:lnTo>
                    <a:lnTo>
                      <a:pt x="1141" y="690"/>
                    </a:lnTo>
                    <a:lnTo>
                      <a:pt x="1136" y="683"/>
                    </a:lnTo>
                    <a:lnTo>
                      <a:pt x="1138" y="679"/>
                    </a:lnTo>
                    <a:lnTo>
                      <a:pt x="1139" y="671"/>
                    </a:lnTo>
                    <a:lnTo>
                      <a:pt x="1142" y="666"/>
                    </a:lnTo>
                    <a:lnTo>
                      <a:pt x="1147" y="669"/>
                    </a:lnTo>
                    <a:lnTo>
                      <a:pt x="1150" y="672"/>
                    </a:lnTo>
                    <a:lnTo>
                      <a:pt x="1155" y="674"/>
                    </a:lnTo>
                    <a:lnTo>
                      <a:pt x="1160" y="672"/>
                    </a:lnTo>
                    <a:lnTo>
                      <a:pt x="1163" y="669"/>
                    </a:lnTo>
                    <a:lnTo>
                      <a:pt x="1168" y="664"/>
                    </a:lnTo>
                    <a:lnTo>
                      <a:pt x="1171" y="658"/>
                    </a:lnTo>
                    <a:lnTo>
                      <a:pt x="1169" y="652"/>
                    </a:lnTo>
                    <a:lnTo>
                      <a:pt x="1166" y="648"/>
                    </a:lnTo>
                    <a:lnTo>
                      <a:pt x="1163" y="644"/>
                    </a:lnTo>
                    <a:lnTo>
                      <a:pt x="1165" y="640"/>
                    </a:lnTo>
                    <a:lnTo>
                      <a:pt x="1166" y="637"/>
                    </a:lnTo>
                    <a:lnTo>
                      <a:pt x="1166" y="634"/>
                    </a:lnTo>
                    <a:lnTo>
                      <a:pt x="1168" y="629"/>
                    </a:lnTo>
                    <a:lnTo>
                      <a:pt x="1171" y="625"/>
                    </a:lnTo>
                    <a:lnTo>
                      <a:pt x="1173" y="623"/>
                    </a:lnTo>
                    <a:lnTo>
                      <a:pt x="1176" y="621"/>
                    </a:lnTo>
                    <a:lnTo>
                      <a:pt x="1180" y="621"/>
                    </a:lnTo>
                    <a:lnTo>
                      <a:pt x="1185" y="620"/>
                    </a:lnTo>
                    <a:lnTo>
                      <a:pt x="1187" y="620"/>
                    </a:lnTo>
                    <a:lnTo>
                      <a:pt x="1193" y="617"/>
                    </a:lnTo>
                    <a:lnTo>
                      <a:pt x="1198" y="614"/>
                    </a:lnTo>
                    <a:lnTo>
                      <a:pt x="1199" y="609"/>
                    </a:lnTo>
                    <a:lnTo>
                      <a:pt x="1199" y="602"/>
                    </a:lnTo>
                    <a:lnTo>
                      <a:pt x="1199" y="596"/>
                    </a:lnTo>
                    <a:lnTo>
                      <a:pt x="1196" y="590"/>
                    </a:lnTo>
                    <a:lnTo>
                      <a:pt x="1190" y="587"/>
                    </a:lnTo>
                    <a:lnTo>
                      <a:pt x="1188" y="583"/>
                    </a:lnTo>
                    <a:lnTo>
                      <a:pt x="1185" y="582"/>
                    </a:lnTo>
                    <a:lnTo>
                      <a:pt x="1177" y="583"/>
                    </a:lnTo>
                    <a:lnTo>
                      <a:pt x="1176" y="583"/>
                    </a:lnTo>
                    <a:lnTo>
                      <a:pt x="1169" y="585"/>
                    </a:lnTo>
                    <a:lnTo>
                      <a:pt x="1163" y="587"/>
                    </a:lnTo>
                    <a:lnTo>
                      <a:pt x="1158" y="590"/>
                    </a:lnTo>
                    <a:lnTo>
                      <a:pt x="1155" y="585"/>
                    </a:lnTo>
                    <a:lnTo>
                      <a:pt x="1155" y="579"/>
                    </a:lnTo>
                    <a:lnTo>
                      <a:pt x="1157" y="574"/>
                    </a:lnTo>
                    <a:lnTo>
                      <a:pt x="1154" y="571"/>
                    </a:lnTo>
                    <a:lnTo>
                      <a:pt x="1147" y="572"/>
                    </a:lnTo>
                    <a:lnTo>
                      <a:pt x="1142" y="569"/>
                    </a:lnTo>
                    <a:lnTo>
                      <a:pt x="1141" y="566"/>
                    </a:lnTo>
                    <a:lnTo>
                      <a:pt x="1139" y="564"/>
                    </a:lnTo>
                    <a:lnTo>
                      <a:pt x="1135" y="564"/>
                    </a:lnTo>
                    <a:lnTo>
                      <a:pt x="1128" y="563"/>
                    </a:lnTo>
                    <a:lnTo>
                      <a:pt x="1123" y="555"/>
                    </a:lnTo>
                    <a:lnTo>
                      <a:pt x="1117" y="550"/>
                    </a:lnTo>
                    <a:lnTo>
                      <a:pt x="1116" y="550"/>
                    </a:lnTo>
                    <a:lnTo>
                      <a:pt x="1112" y="550"/>
                    </a:lnTo>
                    <a:lnTo>
                      <a:pt x="1109" y="555"/>
                    </a:lnTo>
                    <a:lnTo>
                      <a:pt x="1104" y="558"/>
                    </a:lnTo>
                    <a:lnTo>
                      <a:pt x="1100" y="558"/>
                    </a:lnTo>
                    <a:lnTo>
                      <a:pt x="1093" y="555"/>
                    </a:lnTo>
                    <a:lnTo>
                      <a:pt x="1090" y="550"/>
                    </a:lnTo>
                    <a:lnTo>
                      <a:pt x="1087" y="545"/>
                    </a:lnTo>
                    <a:lnTo>
                      <a:pt x="1082" y="544"/>
                    </a:lnTo>
                    <a:lnTo>
                      <a:pt x="1076" y="549"/>
                    </a:lnTo>
                    <a:lnTo>
                      <a:pt x="1071" y="555"/>
                    </a:lnTo>
                    <a:lnTo>
                      <a:pt x="1068" y="560"/>
                    </a:lnTo>
                    <a:lnTo>
                      <a:pt x="1062" y="566"/>
                    </a:lnTo>
                    <a:lnTo>
                      <a:pt x="1058" y="569"/>
                    </a:lnTo>
                    <a:lnTo>
                      <a:pt x="1057" y="572"/>
                    </a:lnTo>
                    <a:lnTo>
                      <a:pt x="1055" y="579"/>
                    </a:lnTo>
                    <a:lnTo>
                      <a:pt x="1054" y="587"/>
                    </a:lnTo>
                    <a:lnTo>
                      <a:pt x="1054" y="593"/>
                    </a:lnTo>
                    <a:lnTo>
                      <a:pt x="1057" y="598"/>
                    </a:lnTo>
                    <a:lnTo>
                      <a:pt x="1060" y="604"/>
                    </a:lnTo>
                    <a:lnTo>
                      <a:pt x="1066" y="607"/>
                    </a:lnTo>
                    <a:lnTo>
                      <a:pt x="1068" y="615"/>
                    </a:lnTo>
                    <a:lnTo>
                      <a:pt x="1070" y="621"/>
                    </a:lnTo>
                    <a:lnTo>
                      <a:pt x="1070" y="623"/>
                    </a:lnTo>
                    <a:lnTo>
                      <a:pt x="1070" y="629"/>
                    </a:lnTo>
                    <a:lnTo>
                      <a:pt x="1070" y="637"/>
                    </a:lnTo>
                    <a:lnTo>
                      <a:pt x="1066" y="645"/>
                    </a:lnTo>
                    <a:lnTo>
                      <a:pt x="1063" y="653"/>
                    </a:lnTo>
                    <a:lnTo>
                      <a:pt x="1058" y="661"/>
                    </a:lnTo>
                    <a:lnTo>
                      <a:pt x="1052" y="667"/>
                    </a:lnTo>
                    <a:lnTo>
                      <a:pt x="1049" y="674"/>
                    </a:lnTo>
                    <a:lnTo>
                      <a:pt x="1047" y="682"/>
                    </a:lnTo>
                    <a:lnTo>
                      <a:pt x="1047" y="685"/>
                    </a:lnTo>
                    <a:lnTo>
                      <a:pt x="1049" y="690"/>
                    </a:lnTo>
                    <a:lnTo>
                      <a:pt x="1051" y="698"/>
                    </a:lnTo>
                    <a:lnTo>
                      <a:pt x="1052" y="704"/>
                    </a:lnTo>
                    <a:lnTo>
                      <a:pt x="1051" y="710"/>
                    </a:lnTo>
                    <a:lnTo>
                      <a:pt x="1051" y="715"/>
                    </a:lnTo>
                    <a:lnTo>
                      <a:pt x="1052" y="720"/>
                    </a:lnTo>
                    <a:lnTo>
                      <a:pt x="1055" y="720"/>
                    </a:lnTo>
                    <a:lnTo>
                      <a:pt x="1057" y="720"/>
                    </a:lnTo>
                    <a:lnTo>
                      <a:pt x="1058" y="718"/>
                    </a:lnTo>
                    <a:lnTo>
                      <a:pt x="1063" y="715"/>
                    </a:lnTo>
                    <a:lnTo>
                      <a:pt x="1068" y="715"/>
                    </a:lnTo>
                    <a:lnTo>
                      <a:pt x="1071" y="718"/>
                    </a:lnTo>
                    <a:lnTo>
                      <a:pt x="1074" y="721"/>
                    </a:lnTo>
                    <a:lnTo>
                      <a:pt x="1079" y="723"/>
                    </a:lnTo>
                    <a:lnTo>
                      <a:pt x="1082" y="726"/>
                    </a:lnTo>
                    <a:lnTo>
                      <a:pt x="1085" y="729"/>
                    </a:lnTo>
                    <a:lnTo>
                      <a:pt x="1090" y="729"/>
                    </a:lnTo>
                    <a:lnTo>
                      <a:pt x="1097" y="729"/>
                    </a:lnTo>
                    <a:lnTo>
                      <a:pt x="1098" y="729"/>
                    </a:lnTo>
                    <a:lnTo>
                      <a:pt x="1100" y="729"/>
                    </a:lnTo>
                    <a:lnTo>
                      <a:pt x="1104" y="731"/>
                    </a:lnTo>
                    <a:lnTo>
                      <a:pt x="1106" y="739"/>
                    </a:lnTo>
                    <a:lnTo>
                      <a:pt x="1108" y="745"/>
                    </a:lnTo>
                    <a:lnTo>
                      <a:pt x="1108" y="751"/>
                    </a:lnTo>
                    <a:lnTo>
                      <a:pt x="1112" y="756"/>
                    </a:lnTo>
                    <a:lnTo>
                      <a:pt x="1116" y="762"/>
                    </a:lnTo>
                    <a:lnTo>
                      <a:pt x="1116" y="769"/>
                    </a:lnTo>
                    <a:lnTo>
                      <a:pt x="1117" y="775"/>
                    </a:lnTo>
                    <a:lnTo>
                      <a:pt x="1119" y="780"/>
                    </a:lnTo>
                    <a:lnTo>
                      <a:pt x="1125" y="785"/>
                    </a:lnTo>
                    <a:lnTo>
                      <a:pt x="1130" y="786"/>
                    </a:lnTo>
                    <a:lnTo>
                      <a:pt x="1135" y="788"/>
                    </a:lnTo>
                    <a:lnTo>
                      <a:pt x="1139" y="793"/>
                    </a:lnTo>
                    <a:lnTo>
                      <a:pt x="1139" y="799"/>
                    </a:lnTo>
                    <a:lnTo>
                      <a:pt x="1136" y="805"/>
                    </a:lnTo>
                    <a:lnTo>
                      <a:pt x="1135" y="808"/>
                    </a:lnTo>
                    <a:lnTo>
                      <a:pt x="1130" y="812"/>
                    </a:lnTo>
                    <a:lnTo>
                      <a:pt x="1125" y="813"/>
                    </a:lnTo>
                    <a:lnTo>
                      <a:pt x="1120" y="816"/>
                    </a:lnTo>
                    <a:lnTo>
                      <a:pt x="1116" y="820"/>
                    </a:lnTo>
                    <a:lnTo>
                      <a:pt x="1108" y="820"/>
                    </a:lnTo>
                    <a:lnTo>
                      <a:pt x="1103" y="821"/>
                    </a:lnTo>
                    <a:lnTo>
                      <a:pt x="1097" y="823"/>
                    </a:lnTo>
                    <a:lnTo>
                      <a:pt x="1093" y="831"/>
                    </a:lnTo>
                    <a:lnTo>
                      <a:pt x="1095" y="835"/>
                    </a:lnTo>
                    <a:lnTo>
                      <a:pt x="1097" y="839"/>
                    </a:lnTo>
                    <a:lnTo>
                      <a:pt x="1097" y="840"/>
                    </a:lnTo>
                    <a:lnTo>
                      <a:pt x="1097" y="843"/>
                    </a:lnTo>
                    <a:lnTo>
                      <a:pt x="1098" y="853"/>
                    </a:lnTo>
                    <a:lnTo>
                      <a:pt x="1098" y="862"/>
                    </a:lnTo>
                    <a:lnTo>
                      <a:pt x="1098" y="872"/>
                    </a:lnTo>
                    <a:lnTo>
                      <a:pt x="1097" y="878"/>
                    </a:lnTo>
                    <a:lnTo>
                      <a:pt x="1095" y="886"/>
                    </a:lnTo>
                    <a:lnTo>
                      <a:pt x="1090" y="894"/>
                    </a:lnTo>
                    <a:lnTo>
                      <a:pt x="1084" y="900"/>
                    </a:lnTo>
                    <a:lnTo>
                      <a:pt x="1084" y="908"/>
                    </a:lnTo>
                    <a:lnTo>
                      <a:pt x="1084" y="915"/>
                    </a:lnTo>
                    <a:lnTo>
                      <a:pt x="1085" y="921"/>
                    </a:lnTo>
                    <a:lnTo>
                      <a:pt x="1085" y="929"/>
                    </a:lnTo>
                    <a:lnTo>
                      <a:pt x="1085" y="934"/>
                    </a:lnTo>
                    <a:lnTo>
                      <a:pt x="1084" y="938"/>
                    </a:lnTo>
                    <a:lnTo>
                      <a:pt x="1081" y="942"/>
                    </a:lnTo>
                    <a:lnTo>
                      <a:pt x="1079" y="942"/>
                    </a:lnTo>
                    <a:lnTo>
                      <a:pt x="1071" y="942"/>
                    </a:lnTo>
                    <a:lnTo>
                      <a:pt x="1063" y="937"/>
                    </a:lnTo>
                    <a:lnTo>
                      <a:pt x="1058" y="932"/>
                    </a:lnTo>
                    <a:lnTo>
                      <a:pt x="1052" y="930"/>
                    </a:lnTo>
                    <a:lnTo>
                      <a:pt x="1047" y="927"/>
                    </a:lnTo>
                    <a:lnTo>
                      <a:pt x="1039" y="929"/>
                    </a:lnTo>
                    <a:lnTo>
                      <a:pt x="1035" y="924"/>
                    </a:lnTo>
                    <a:lnTo>
                      <a:pt x="1027" y="921"/>
                    </a:lnTo>
                    <a:lnTo>
                      <a:pt x="1019" y="919"/>
                    </a:lnTo>
                    <a:lnTo>
                      <a:pt x="1013" y="921"/>
                    </a:lnTo>
                    <a:lnTo>
                      <a:pt x="1011" y="923"/>
                    </a:lnTo>
                    <a:lnTo>
                      <a:pt x="1008" y="927"/>
                    </a:lnTo>
                    <a:lnTo>
                      <a:pt x="1005" y="932"/>
                    </a:lnTo>
                    <a:lnTo>
                      <a:pt x="997" y="935"/>
                    </a:lnTo>
                    <a:lnTo>
                      <a:pt x="990" y="937"/>
                    </a:lnTo>
                    <a:lnTo>
                      <a:pt x="990" y="940"/>
                    </a:lnTo>
                    <a:lnTo>
                      <a:pt x="982" y="942"/>
                    </a:lnTo>
                    <a:lnTo>
                      <a:pt x="973" y="945"/>
                    </a:lnTo>
                    <a:lnTo>
                      <a:pt x="965" y="951"/>
                    </a:lnTo>
                    <a:lnTo>
                      <a:pt x="957" y="953"/>
                    </a:lnTo>
                    <a:lnTo>
                      <a:pt x="951" y="957"/>
                    </a:lnTo>
                    <a:lnTo>
                      <a:pt x="943" y="961"/>
                    </a:lnTo>
                    <a:lnTo>
                      <a:pt x="929" y="965"/>
                    </a:lnTo>
                    <a:lnTo>
                      <a:pt x="921" y="964"/>
                    </a:lnTo>
                    <a:lnTo>
                      <a:pt x="914" y="959"/>
                    </a:lnTo>
                    <a:lnTo>
                      <a:pt x="906" y="953"/>
                    </a:lnTo>
                    <a:lnTo>
                      <a:pt x="898" y="953"/>
                    </a:lnTo>
                    <a:lnTo>
                      <a:pt x="891" y="951"/>
                    </a:lnTo>
                    <a:lnTo>
                      <a:pt x="884" y="948"/>
                    </a:lnTo>
                    <a:lnTo>
                      <a:pt x="879" y="948"/>
                    </a:lnTo>
                    <a:lnTo>
                      <a:pt x="875" y="953"/>
                    </a:lnTo>
                    <a:lnTo>
                      <a:pt x="864" y="954"/>
                    </a:lnTo>
                    <a:lnTo>
                      <a:pt x="854" y="956"/>
                    </a:lnTo>
                    <a:lnTo>
                      <a:pt x="846" y="956"/>
                    </a:lnTo>
                    <a:lnTo>
                      <a:pt x="837" y="954"/>
                    </a:lnTo>
                    <a:lnTo>
                      <a:pt x="829" y="953"/>
                    </a:lnTo>
                    <a:lnTo>
                      <a:pt x="822" y="951"/>
                    </a:lnTo>
                    <a:lnTo>
                      <a:pt x="819" y="953"/>
                    </a:lnTo>
                    <a:lnTo>
                      <a:pt x="813" y="956"/>
                    </a:lnTo>
                    <a:lnTo>
                      <a:pt x="808" y="962"/>
                    </a:lnTo>
                    <a:lnTo>
                      <a:pt x="807" y="964"/>
                    </a:lnTo>
                    <a:lnTo>
                      <a:pt x="805" y="970"/>
                    </a:lnTo>
                    <a:lnTo>
                      <a:pt x="799" y="976"/>
                    </a:lnTo>
                    <a:lnTo>
                      <a:pt x="794" y="984"/>
                    </a:lnTo>
                    <a:lnTo>
                      <a:pt x="791" y="994"/>
                    </a:lnTo>
                    <a:lnTo>
                      <a:pt x="791" y="1000"/>
                    </a:lnTo>
                    <a:lnTo>
                      <a:pt x="791" y="1005"/>
                    </a:lnTo>
                    <a:lnTo>
                      <a:pt x="789" y="1011"/>
                    </a:lnTo>
                    <a:lnTo>
                      <a:pt x="784" y="1018"/>
                    </a:lnTo>
                    <a:lnTo>
                      <a:pt x="783" y="1021"/>
                    </a:lnTo>
                    <a:lnTo>
                      <a:pt x="783" y="1029"/>
                    </a:lnTo>
                    <a:lnTo>
                      <a:pt x="784" y="1037"/>
                    </a:lnTo>
                    <a:lnTo>
                      <a:pt x="789" y="1041"/>
                    </a:lnTo>
                    <a:lnTo>
                      <a:pt x="792" y="1049"/>
                    </a:lnTo>
                    <a:lnTo>
                      <a:pt x="794" y="1059"/>
                    </a:lnTo>
                    <a:lnTo>
                      <a:pt x="794" y="1071"/>
                    </a:lnTo>
                    <a:lnTo>
                      <a:pt x="788" y="1083"/>
                    </a:lnTo>
                    <a:lnTo>
                      <a:pt x="786" y="1090"/>
                    </a:lnTo>
                    <a:lnTo>
                      <a:pt x="778" y="1100"/>
                    </a:lnTo>
                    <a:lnTo>
                      <a:pt x="775" y="1106"/>
                    </a:lnTo>
                    <a:lnTo>
                      <a:pt x="767" y="1114"/>
                    </a:lnTo>
                    <a:lnTo>
                      <a:pt x="761" y="1122"/>
                    </a:lnTo>
                    <a:lnTo>
                      <a:pt x="756" y="1128"/>
                    </a:lnTo>
                    <a:lnTo>
                      <a:pt x="753" y="1135"/>
                    </a:lnTo>
                    <a:lnTo>
                      <a:pt x="751" y="1136"/>
                    </a:lnTo>
                    <a:lnTo>
                      <a:pt x="751" y="1138"/>
                    </a:lnTo>
                    <a:lnTo>
                      <a:pt x="745" y="1148"/>
                    </a:lnTo>
                    <a:lnTo>
                      <a:pt x="743" y="1152"/>
                    </a:lnTo>
                    <a:lnTo>
                      <a:pt x="742" y="1157"/>
                    </a:lnTo>
                    <a:lnTo>
                      <a:pt x="742" y="1160"/>
                    </a:lnTo>
                    <a:lnTo>
                      <a:pt x="740" y="1163"/>
                    </a:lnTo>
                    <a:lnTo>
                      <a:pt x="739" y="1165"/>
                    </a:lnTo>
                    <a:lnTo>
                      <a:pt x="739" y="1167"/>
                    </a:lnTo>
                    <a:lnTo>
                      <a:pt x="737" y="1173"/>
                    </a:lnTo>
                    <a:lnTo>
                      <a:pt x="737" y="1174"/>
                    </a:lnTo>
                    <a:lnTo>
                      <a:pt x="735" y="1174"/>
                    </a:lnTo>
                    <a:lnTo>
                      <a:pt x="734" y="1174"/>
                    </a:lnTo>
                    <a:lnTo>
                      <a:pt x="732" y="1174"/>
                    </a:lnTo>
                    <a:lnTo>
                      <a:pt x="731" y="1174"/>
                    </a:lnTo>
                    <a:lnTo>
                      <a:pt x="729" y="1174"/>
                    </a:lnTo>
                    <a:lnTo>
                      <a:pt x="727" y="1174"/>
                    </a:lnTo>
                    <a:lnTo>
                      <a:pt x="726" y="1174"/>
                    </a:lnTo>
                    <a:lnTo>
                      <a:pt x="724" y="1174"/>
                    </a:lnTo>
                    <a:lnTo>
                      <a:pt x="723" y="1174"/>
                    </a:lnTo>
                    <a:lnTo>
                      <a:pt x="721" y="1174"/>
                    </a:lnTo>
                    <a:lnTo>
                      <a:pt x="720" y="1173"/>
                    </a:lnTo>
                    <a:lnTo>
                      <a:pt x="720" y="1171"/>
                    </a:lnTo>
                    <a:lnTo>
                      <a:pt x="718" y="1170"/>
                    </a:lnTo>
                    <a:lnTo>
                      <a:pt x="713" y="1170"/>
                    </a:lnTo>
                    <a:lnTo>
                      <a:pt x="708" y="1171"/>
                    </a:lnTo>
                    <a:lnTo>
                      <a:pt x="683" y="1171"/>
                    </a:lnTo>
                    <a:lnTo>
                      <a:pt x="670" y="1168"/>
                    </a:lnTo>
                    <a:lnTo>
                      <a:pt x="658" y="1167"/>
                    </a:lnTo>
                    <a:lnTo>
                      <a:pt x="629" y="1167"/>
                    </a:lnTo>
                    <a:lnTo>
                      <a:pt x="605" y="1167"/>
                    </a:lnTo>
                    <a:lnTo>
                      <a:pt x="586" y="1168"/>
                    </a:lnTo>
                    <a:lnTo>
                      <a:pt x="577" y="1168"/>
                    </a:lnTo>
                    <a:lnTo>
                      <a:pt x="561" y="1170"/>
                    </a:lnTo>
                    <a:lnTo>
                      <a:pt x="563" y="1168"/>
                    </a:lnTo>
                    <a:lnTo>
                      <a:pt x="545" y="1165"/>
                    </a:lnTo>
                    <a:lnTo>
                      <a:pt x="545" y="1160"/>
                    </a:lnTo>
                    <a:lnTo>
                      <a:pt x="537" y="1154"/>
                    </a:lnTo>
                    <a:lnTo>
                      <a:pt x="529" y="1148"/>
                    </a:lnTo>
                    <a:lnTo>
                      <a:pt x="528" y="1146"/>
                    </a:lnTo>
                    <a:lnTo>
                      <a:pt x="525" y="1144"/>
                    </a:lnTo>
                    <a:lnTo>
                      <a:pt x="517" y="1138"/>
                    </a:lnTo>
                    <a:lnTo>
                      <a:pt x="521" y="1135"/>
                    </a:lnTo>
                    <a:lnTo>
                      <a:pt x="523" y="1132"/>
                    </a:lnTo>
                    <a:lnTo>
                      <a:pt x="521" y="1130"/>
                    </a:lnTo>
                    <a:lnTo>
                      <a:pt x="518" y="1128"/>
                    </a:lnTo>
                    <a:lnTo>
                      <a:pt x="515" y="1127"/>
                    </a:lnTo>
                    <a:lnTo>
                      <a:pt x="518" y="1121"/>
                    </a:lnTo>
                    <a:lnTo>
                      <a:pt x="518" y="1119"/>
                    </a:lnTo>
                    <a:lnTo>
                      <a:pt x="512" y="1117"/>
                    </a:lnTo>
                    <a:lnTo>
                      <a:pt x="490" y="1092"/>
                    </a:lnTo>
                    <a:lnTo>
                      <a:pt x="476" y="1076"/>
                    </a:lnTo>
                    <a:lnTo>
                      <a:pt x="476" y="1062"/>
                    </a:lnTo>
                    <a:lnTo>
                      <a:pt x="476" y="1060"/>
                    </a:lnTo>
                    <a:lnTo>
                      <a:pt x="476" y="1051"/>
                    </a:lnTo>
                    <a:lnTo>
                      <a:pt x="476" y="1043"/>
                    </a:lnTo>
                    <a:lnTo>
                      <a:pt x="476" y="1038"/>
                    </a:lnTo>
                    <a:lnTo>
                      <a:pt x="474" y="1037"/>
                    </a:lnTo>
                    <a:lnTo>
                      <a:pt x="476" y="1030"/>
                    </a:lnTo>
                    <a:lnTo>
                      <a:pt x="476" y="1022"/>
                    </a:lnTo>
                    <a:lnTo>
                      <a:pt x="476" y="1018"/>
                    </a:lnTo>
                    <a:lnTo>
                      <a:pt x="476" y="1011"/>
                    </a:lnTo>
                    <a:lnTo>
                      <a:pt x="476" y="1006"/>
                    </a:lnTo>
                    <a:lnTo>
                      <a:pt x="476" y="1003"/>
                    </a:lnTo>
                    <a:lnTo>
                      <a:pt x="474" y="986"/>
                    </a:lnTo>
                    <a:lnTo>
                      <a:pt x="476" y="986"/>
                    </a:lnTo>
                    <a:lnTo>
                      <a:pt x="476" y="981"/>
                    </a:lnTo>
                    <a:lnTo>
                      <a:pt x="477" y="978"/>
                    </a:lnTo>
                    <a:lnTo>
                      <a:pt x="479" y="978"/>
                    </a:lnTo>
                    <a:lnTo>
                      <a:pt x="479" y="976"/>
                    </a:lnTo>
                    <a:lnTo>
                      <a:pt x="480" y="975"/>
                    </a:lnTo>
                    <a:lnTo>
                      <a:pt x="482" y="975"/>
                    </a:lnTo>
                    <a:lnTo>
                      <a:pt x="483" y="972"/>
                    </a:lnTo>
                    <a:lnTo>
                      <a:pt x="487" y="968"/>
                    </a:lnTo>
                    <a:lnTo>
                      <a:pt x="487" y="967"/>
                    </a:lnTo>
                    <a:lnTo>
                      <a:pt x="488" y="965"/>
                    </a:lnTo>
                    <a:lnTo>
                      <a:pt x="488" y="962"/>
                    </a:lnTo>
                    <a:lnTo>
                      <a:pt x="490" y="961"/>
                    </a:lnTo>
                    <a:lnTo>
                      <a:pt x="490" y="959"/>
                    </a:lnTo>
                    <a:lnTo>
                      <a:pt x="488" y="956"/>
                    </a:lnTo>
                    <a:lnTo>
                      <a:pt x="487" y="954"/>
                    </a:lnTo>
                    <a:lnTo>
                      <a:pt x="485" y="953"/>
                    </a:lnTo>
                    <a:lnTo>
                      <a:pt x="483" y="951"/>
                    </a:lnTo>
                    <a:lnTo>
                      <a:pt x="482" y="948"/>
                    </a:lnTo>
                    <a:lnTo>
                      <a:pt x="479" y="943"/>
                    </a:lnTo>
                    <a:lnTo>
                      <a:pt x="479" y="940"/>
                    </a:lnTo>
                    <a:lnTo>
                      <a:pt x="479" y="937"/>
                    </a:lnTo>
                    <a:lnTo>
                      <a:pt x="480" y="935"/>
                    </a:lnTo>
                    <a:lnTo>
                      <a:pt x="483" y="930"/>
                    </a:lnTo>
                    <a:lnTo>
                      <a:pt x="485" y="929"/>
                    </a:lnTo>
                    <a:lnTo>
                      <a:pt x="488" y="927"/>
                    </a:lnTo>
                    <a:lnTo>
                      <a:pt x="490" y="923"/>
                    </a:lnTo>
                    <a:lnTo>
                      <a:pt x="488" y="919"/>
                    </a:lnTo>
                    <a:lnTo>
                      <a:pt x="487" y="918"/>
                    </a:lnTo>
                    <a:lnTo>
                      <a:pt x="483" y="916"/>
                    </a:lnTo>
                    <a:lnTo>
                      <a:pt x="482" y="915"/>
                    </a:lnTo>
                    <a:lnTo>
                      <a:pt x="480" y="915"/>
                    </a:lnTo>
                    <a:lnTo>
                      <a:pt x="479" y="915"/>
                    </a:lnTo>
                    <a:lnTo>
                      <a:pt x="477" y="913"/>
                    </a:lnTo>
                    <a:lnTo>
                      <a:pt x="476" y="913"/>
                    </a:lnTo>
                    <a:lnTo>
                      <a:pt x="474" y="911"/>
                    </a:lnTo>
                    <a:lnTo>
                      <a:pt x="468" y="910"/>
                    </a:lnTo>
                    <a:lnTo>
                      <a:pt x="466" y="908"/>
                    </a:lnTo>
                    <a:lnTo>
                      <a:pt x="464" y="908"/>
                    </a:lnTo>
                    <a:lnTo>
                      <a:pt x="463" y="908"/>
                    </a:lnTo>
                    <a:lnTo>
                      <a:pt x="463" y="910"/>
                    </a:lnTo>
                    <a:lnTo>
                      <a:pt x="461" y="908"/>
                    </a:lnTo>
                    <a:lnTo>
                      <a:pt x="460" y="908"/>
                    </a:lnTo>
                    <a:lnTo>
                      <a:pt x="458" y="907"/>
                    </a:lnTo>
                    <a:lnTo>
                      <a:pt x="458" y="903"/>
                    </a:lnTo>
                    <a:lnTo>
                      <a:pt x="457" y="903"/>
                    </a:lnTo>
                    <a:lnTo>
                      <a:pt x="457" y="902"/>
                    </a:lnTo>
                    <a:lnTo>
                      <a:pt x="457" y="903"/>
                    </a:lnTo>
                    <a:lnTo>
                      <a:pt x="455" y="903"/>
                    </a:lnTo>
                    <a:lnTo>
                      <a:pt x="455" y="902"/>
                    </a:lnTo>
                    <a:lnTo>
                      <a:pt x="453" y="902"/>
                    </a:lnTo>
                    <a:lnTo>
                      <a:pt x="452" y="902"/>
                    </a:lnTo>
                    <a:lnTo>
                      <a:pt x="450" y="902"/>
                    </a:lnTo>
                    <a:lnTo>
                      <a:pt x="449" y="902"/>
                    </a:lnTo>
                    <a:lnTo>
                      <a:pt x="449" y="900"/>
                    </a:lnTo>
                    <a:lnTo>
                      <a:pt x="447" y="899"/>
                    </a:lnTo>
                    <a:lnTo>
                      <a:pt x="447" y="897"/>
                    </a:lnTo>
                    <a:lnTo>
                      <a:pt x="445" y="897"/>
                    </a:lnTo>
                    <a:lnTo>
                      <a:pt x="444" y="897"/>
                    </a:lnTo>
                    <a:lnTo>
                      <a:pt x="442" y="897"/>
                    </a:lnTo>
                    <a:lnTo>
                      <a:pt x="439" y="899"/>
                    </a:lnTo>
                    <a:lnTo>
                      <a:pt x="438" y="899"/>
                    </a:lnTo>
                    <a:lnTo>
                      <a:pt x="436" y="897"/>
                    </a:lnTo>
                    <a:lnTo>
                      <a:pt x="434" y="899"/>
                    </a:lnTo>
                    <a:lnTo>
                      <a:pt x="430" y="899"/>
                    </a:lnTo>
                    <a:lnTo>
                      <a:pt x="430" y="897"/>
                    </a:lnTo>
                    <a:lnTo>
                      <a:pt x="428" y="897"/>
                    </a:lnTo>
                    <a:lnTo>
                      <a:pt x="423" y="900"/>
                    </a:lnTo>
                    <a:lnTo>
                      <a:pt x="420" y="900"/>
                    </a:lnTo>
                    <a:lnTo>
                      <a:pt x="419" y="900"/>
                    </a:lnTo>
                    <a:lnTo>
                      <a:pt x="419" y="899"/>
                    </a:lnTo>
                    <a:lnTo>
                      <a:pt x="419" y="894"/>
                    </a:lnTo>
                    <a:lnTo>
                      <a:pt x="417" y="894"/>
                    </a:lnTo>
                    <a:lnTo>
                      <a:pt x="415" y="894"/>
                    </a:lnTo>
                    <a:lnTo>
                      <a:pt x="414" y="894"/>
                    </a:lnTo>
                    <a:lnTo>
                      <a:pt x="412" y="896"/>
                    </a:lnTo>
                    <a:lnTo>
                      <a:pt x="412" y="894"/>
                    </a:lnTo>
                    <a:lnTo>
                      <a:pt x="411" y="892"/>
                    </a:lnTo>
                    <a:lnTo>
                      <a:pt x="409" y="891"/>
                    </a:lnTo>
                    <a:lnTo>
                      <a:pt x="407" y="889"/>
                    </a:lnTo>
                    <a:lnTo>
                      <a:pt x="406" y="889"/>
                    </a:lnTo>
                    <a:lnTo>
                      <a:pt x="404" y="891"/>
                    </a:lnTo>
                    <a:lnTo>
                      <a:pt x="403" y="891"/>
                    </a:lnTo>
                    <a:lnTo>
                      <a:pt x="403" y="892"/>
                    </a:lnTo>
                    <a:lnTo>
                      <a:pt x="401" y="892"/>
                    </a:lnTo>
                    <a:lnTo>
                      <a:pt x="398" y="891"/>
                    </a:lnTo>
                    <a:lnTo>
                      <a:pt x="398" y="889"/>
                    </a:lnTo>
                    <a:lnTo>
                      <a:pt x="396" y="889"/>
                    </a:lnTo>
                    <a:lnTo>
                      <a:pt x="395" y="889"/>
                    </a:lnTo>
                    <a:lnTo>
                      <a:pt x="393" y="889"/>
                    </a:lnTo>
                    <a:lnTo>
                      <a:pt x="392" y="889"/>
                    </a:lnTo>
                    <a:lnTo>
                      <a:pt x="392" y="891"/>
                    </a:lnTo>
                    <a:lnTo>
                      <a:pt x="390" y="889"/>
                    </a:lnTo>
                    <a:lnTo>
                      <a:pt x="388" y="889"/>
                    </a:lnTo>
                    <a:lnTo>
                      <a:pt x="384" y="889"/>
                    </a:lnTo>
                    <a:lnTo>
                      <a:pt x="381" y="891"/>
                    </a:lnTo>
                    <a:lnTo>
                      <a:pt x="374" y="892"/>
                    </a:lnTo>
                    <a:lnTo>
                      <a:pt x="373" y="894"/>
                    </a:lnTo>
                    <a:lnTo>
                      <a:pt x="369" y="897"/>
                    </a:lnTo>
                    <a:lnTo>
                      <a:pt x="368" y="899"/>
                    </a:lnTo>
                    <a:lnTo>
                      <a:pt x="362" y="902"/>
                    </a:lnTo>
                    <a:lnTo>
                      <a:pt x="360" y="903"/>
                    </a:lnTo>
                    <a:lnTo>
                      <a:pt x="358" y="905"/>
                    </a:lnTo>
                    <a:lnTo>
                      <a:pt x="357" y="905"/>
                    </a:lnTo>
                    <a:lnTo>
                      <a:pt x="355" y="907"/>
                    </a:lnTo>
                    <a:lnTo>
                      <a:pt x="354" y="907"/>
                    </a:lnTo>
                    <a:lnTo>
                      <a:pt x="349" y="907"/>
                    </a:lnTo>
                    <a:lnTo>
                      <a:pt x="346" y="907"/>
                    </a:lnTo>
                    <a:lnTo>
                      <a:pt x="346" y="908"/>
                    </a:lnTo>
                    <a:lnTo>
                      <a:pt x="344" y="908"/>
                    </a:lnTo>
                    <a:lnTo>
                      <a:pt x="339" y="913"/>
                    </a:lnTo>
                    <a:lnTo>
                      <a:pt x="338" y="913"/>
                    </a:lnTo>
                    <a:lnTo>
                      <a:pt x="336" y="915"/>
                    </a:lnTo>
                    <a:lnTo>
                      <a:pt x="335" y="915"/>
                    </a:lnTo>
                    <a:lnTo>
                      <a:pt x="331" y="913"/>
                    </a:lnTo>
                    <a:lnTo>
                      <a:pt x="330" y="913"/>
                    </a:lnTo>
                    <a:lnTo>
                      <a:pt x="328" y="913"/>
                    </a:lnTo>
                    <a:lnTo>
                      <a:pt x="327" y="911"/>
                    </a:lnTo>
                    <a:lnTo>
                      <a:pt x="325" y="910"/>
                    </a:lnTo>
                    <a:lnTo>
                      <a:pt x="325" y="908"/>
                    </a:lnTo>
                    <a:lnTo>
                      <a:pt x="323" y="903"/>
                    </a:lnTo>
                    <a:lnTo>
                      <a:pt x="323" y="902"/>
                    </a:lnTo>
                    <a:lnTo>
                      <a:pt x="323" y="889"/>
                    </a:lnTo>
                    <a:lnTo>
                      <a:pt x="323" y="888"/>
                    </a:lnTo>
                    <a:lnTo>
                      <a:pt x="330" y="881"/>
                    </a:lnTo>
                    <a:lnTo>
                      <a:pt x="330" y="880"/>
                    </a:lnTo>
                    <a:lnTo>
                      <a:pt x="330" y="878"/>
                    </a:lnTo>
                    <a:lnTo>
                      <a:pt x="330" y="877"/>
                    </a:lnTo>
                    <a:lnTo>
                      <a:pt x="330" y="875"/>
                    </a:lnTo>
                    <a:lnTo>
                      <a:pt x="330" y="873"/>
                    </a:lnTo>
                    <a:lnTo>
                      <a:pt x="328" y="872"/>
                    </a:lnTo>
                    <a:lnTo>
                      <a:pt x="327" y="870"/>
                    </a:lnTo>
                    <a:lnTo>
                      <a:pt x="327" y="869"/>
                    </a:lnTo>
                    <a:lnTo>
                      <a:pt x="328" y="867"/>
                    </a:lnTo>
                    <a:lnTo>
                      <a:pt x="327" y="865"/>
                    </a:lnTo>
                    <a:lnTo>
                      <a:pt x="327" y="864"/>
                    </a:lnTo>
                    <a:lnTo>
                      <a:pt x="322" y="862"/>
                    </a:lnTo>
                    <a:lnTo>
                      <a:pt x="319" y="861"/>
                    </a:lnTo>
                    <a:lnTo>
                      <a:pt x="319" y="859"/>
                    </a:lnTo>
                    <a:lnTo>
                      <a:pt x="314" y="856"/>
                    </a:lnTo>
                    <a:lnTo>
                      <a:pt x="312" y="856"/>
                    </a:lnTo>
                    <a:lnTo>
                      <a:pt x="309" y="853"/>
                    </a:lnTo>
                    <a:lnTo>
                      <a:pt x="308" y="853"/>
                    </a:lnTo>
                    <a:lnTo>
                      <a:pt x="308" y="851"/>
                    </a:lnTo>
                    <a:lnTo>
                      <a:pt x="304" y="850"/>
                    </a:lnTo>
                    <a:lnTo>
                      <a:pt x="301" y="848"/>
                    </a:lnTo>
                    <a:lnTo>
                      <a:pt x="297" y="845"/>
                    </a:lnTo>
                    <a:lnTo>
                      <a:pt x="295" y="843"/>
                    </a:lnTo>
                    <a:lnTo>
                      <a:pt x="292" y="842"/>
                    </a:lnTo>
                    <a:lnTo>
                      <a:pt x="290" y="840"/>
                    </a:lnTo>
                    <a:lnTo>
                      <a:pt x="284" y="837"/>
                    </a:lnTo>
                    <a:lnTo>
                      <a:pt x="278" y="832"/>
                    </a:lnTo>
                    <a:lnTo>
                      <a:pt x="274" y="829"/>
                    </a:lnTo>
                    <a:lnTo>
                      <a:pt x="274" y="827"/>
                    </a:lnTo>
                    <a:lnTo>
                      <a:pt x="274" y="823"/>
                    </a:lnTo>
                    <a:lnTo>
                      <a:pt x="274" y="808"/>
                    </a:lnTo>
                    <a:lnTo>
                      <a:pt x="268" y="799"/>
                    </a:lnTo>
                    <a:lnTo>
                      <a:pt x="254" y="775"/>
                    </a:lnTo>
                    <a:lnTo>
                      <a:pt x="252" y="774"/>
                    </a:lnTo>
                    <a:lnTo>
                      <a:pt x="251" y="770"/>
                    </a:lnTo>
                    <a:lnTo>
                      <a:pt x="249" y="767"/>
                    </a:lnTo>
                    <a:lnTo>
                      <a:pt x="240" y="753"/>
                    </a:lnTo>
                    <a:lnTo>
                      <a:pt x="238" y="750"/>
                    </a:lnTo>
                    <a:lnTo>
                      <a:pt x="238" y="748"/>
                    </a:lnTo>
                    <a:lnTo>
                      <a:pt x="240" y="743"/>
                    </a:lnTo>
                    <a:lnTo>
                      <a:pt x="238" y="742"/>
                    </a:lnTo>
                    <a:lnTo>
                      <a:pt x="236" y="739"/>
                    </a:lnTo>
                    <a:lnTo>
                      <a:pt x="235" y="736"/>
                    </a:lnTo>
                    <a:lnTo>
                      <a:pt x="235" y="734"/>
                    </a:lnTo>
                    <a:lnTo>
                      <a:pt x="235" y="732"/>
                    </a:lnTo>
                    <a:lnTo>
                      <a:pt x="236" y="729"/>
                    </a:lnTo>
                    <a:lnTo>
                      <a:pt x="236" y="726"/>
                    </a:lnTo>
                    <a:lnTo>
                      <a:pt x="240" y="723"/>
                    </a:lnTo>
                    <a:lnTo>
                      <a:pt x="240" y="721"/>
                    </a:lnTo>
                    <a:lnTo>
                      <a:pt x="240" y="720"/>
                    </a:lnTo>
                    <a:lnTo>
                      <a:pt x="238" y="713"/>
                    </a:lnTo>
                    <a:lnTo>
                      <a:pt x="236" y="712"/>
                    </a:lnTo>
                    <a:lnTo>
                      <a:pt x="236" y="709"/>
                    </a:lnTo>
                    <a:lnTo>
                      <a:pt x="235" y="705"/>
                    </a:lnTo>
                    <a:lnTo>
                      <a:pt x="236" y="705"/>
                    </a:lnTo>
                    <a:lnTo>
                      <a:pt x="236" y="702"/>
                    </a:lnTo>
                    <a:lnTo>
                      <a:pt x="236" y="701"/>
                    </a:lnTo>
                    <a:lnTo>
                      <a:pt x="236" y="699"/>
                    </a:lnTo>
                    <a:lnTo>
                      <a:pt x="236" y="698"/>
                    </a:lnTo>
                    <a:lnTo>
                      <a:pt x="236" y="696"/>
                    </a:lnTo>
                    <a:lnTo>
                      <a:pt x="235" y="696"/>
                    </a:lnTo>
                    <a:lnTo>
                      <a:pt x="233" y="694"/>
                    </a:lnTo>
                    <a:lnTo>
                      <a:pt x="232" y="693"/>
                    </a:lnTo>
                    <a:lnTo>
                      <a:pt x="230" y="693"/>
                    </a:lnTo>
                    <a:lnTo>
                      <a:pt x="228" y="693"/>
                    </a:lnTo>
                    <a:lnTo>
                      <a:pt x="228" y="691"/>
                    </a:lnTo>
                    <a:lnTo>
                      <a:pt x="227" y="688"/>
                    </a:lnTo>
                    <a:lnTo>
                      <a:pt x="227" y="685"/>
                    </a:lnTo>
                    <a:lnTo>
                      <a:pt x="227" y="679"/>
                    </a:lnTo>
                    <a:lnTo>
                      <a:pt x="228" y="671"/>
                    </a:lnTo>
                    <a:lnTo>
                      <a:pt x="228" y="669"/>
                    </a:lnTo>
                    <a:lnTo>
                      <a:pt x="228" y="667"/>
                    </a:lnTo>
                    <a:lnTo>
                      <a:pt x="230" y="666"/>
                    </a:lnTo>
                    <a:lnTo>
                      <a:pt x="230" y="664"/>
                    </a:lnTo>
                    <a:lnTo>
                      <a:pt x="228" y="659"/>
                    </a:lnTo>
                    <a:lnTo>
                      <a:pt x="228" y="658"/>
                    </a:lnTo>
                    <a:lnTo>
                      <a:pt x="227" y="656"/>
                    </a:lnTo>
                    <a:lnTo>
                      <a:pt x="225" y="653"/>
                    </a:lnTo>
                    <a:lnTo>
                      <a:pt x="225" y="652"/>
                    </a:lnTo>
                    <a:lnTo>
                      <a:pt x="225" y="650"/>
                    </a:lnTo>
                    <a:lnTo>
                      <a:pt x="224" y="648"/>
                    </a:lnTo>
                    <a:lnTo>
                      <a:pt x="224" y="647"/>
                    </a:lnTo>
                    <a:lnTo>
                      <a:pt x="224" y="645"/>
                    </a:lnTo>
                    <a:lnTo>
                      <a:pt x="224" y="644"/>
                    </a:lnTo>
                    <a:lnTo>
                      <a:pt x="224" y="640"/>
                    </a:lnTo>
                    <a:lnTo>
                      <a:pt x="224" y="639"/>
                    </a:lnTo>
                    <a:lnTo>
                      <a:pt x="224" y="637"/>
                    </a:lnTo>
                    <a:lnTo>
                      <a:pt x="225" y="636"/>
                    </a:lnTo>
                    <a:lnTo>
                      <a:pt x="227" y="636"/>
                    </a:lnTo>
                    <a:lnTo>
                      <a:pt x="230" y="636"/>
                    </a:lnTo>
                    <a:lnTo>
                      <a:pt x="232" y="634"/>
                    </a:lnTo>
                    <a:lnTo>
                      <a:pt x="233" y="633"/>
                    </a:lnTo>
                    <a:lnTo>
                      <a:pt x="233" y="631"/>
                    </a:lnTo>
                    <a:lnTo>
                      <a:pt x="233" y="628"/>
                    </a:lnTo>
                    <a:lnTo>
                      <a:pt x="233" y="626"/>
                    </a:lnTo>
                    <a:lnTo>
                      <a:pt x="233" y="625"/>
                    </a:lnTo>
                    <a:lnTo>
                      <a:pt x="235" y="621"/>
                    </a:lnTo>
                    <a:lnTo>
                      <a:pt x="236" y="618"/>
                    </a:lnTo>
                    <a:lnTo>
                      <a:pt x="236" y="617"/>
                    </a:lnTo>
                    <a:lnTo>
                      <a:pt x="236" y="615"/>
                    </a:lnTo>
                    <a:lnTo>
                      <a:pt x="235" y="615"/>
                    </a:lnTo>
                    <a:lnTo>
                      <a:pt x="235" y="614"/>
                    </a:lnTo>
                    <a:lnTo>
                      <a:pt x="235" y="610"/>
                    </a:lnTo>
                    <a:lnTo>
                      <a:pt x="235" y="607"/>
                    </a:lnTo>
                    <a:lnTo>
                      <a:pt x="233" y="607"/>
                    </a:lnTo>
                    <a:lnTo>
                      <a:pt x="235" y="606"/>
                    </a:lnTo>
                    <a:lnTo>
                      <a:pt x="235" y="604"/>
                    </a:lnTo>
                    <a:lnTo>
                      <a:pt x="236" y="604"/>
                    </a:lnTo>
                    <a:lnTo>
                      <a:pt x="238" y="602"/>
                    </a:lnTo>
                    <a:lnTo>
                      <a:pt x="240" y="602"/>
                    </a:lnTo>
                    <a:lnTo>
                      <a:pt x="240" y="601"/>
                    </a:lnTo>
                    <a:lnTo>
                      <a:pt x="240" y="599"/>
                    </a:lnTo>
                    <a:lnTo>
                      <a:pt x="241" y="595"/>
                    </a:lnTo>
                    <a:lnTo>
                      <a:pt x="241" y="593"/>
                    </a:lnTo>
                    <a:lnTo>
                      <a:pt x="243" y="593"/>
                    </a:lnTo>
                    <a:lnTo>
                      <a:pt x="243" y="591"/>
                    </a:lnTo>
                    <a:lnTo>
                      <a:pt x="243" y="588"/>
                    </a:lnTo>
                    <a:lnTo>
                      <a:pt x="241" y="587"/>
                    </a:lnTo>
                    <a:lnTo>
                      <a:pt x="241" y="583"/>
                    </a:lnTo>
                    <a:lnTo>
                      <a:pt x="240" y="583"/>
                    </a:lnTo>
                    <a:lnTo>
                      <a:pt x="238" y="580"/>
                    </a:lnTo>
                    <a:lnTo>
                      <a:pt x="236" y="580"/>
                    </a:lnTo>
                    <a:lnTo>
                      <a:pt x="233" y="579"/>
                    </a:lnTo>
                    <a:lnTo>
                      <a:pt x="232" y="577"/>
                    </a:lnTo>
                    <a:lnTo>
                      <a:pt x="232" y="576"/>
                    </a:lnTo>
                    <a:lnTo>
                      <a:pt x="230" y="574"/>
                    </a:lnTo>
                    <a:lnTo>
                      <a:pt x="228" y="572"/>
                    </a:lnTo>
                    <a:lnTo>
                      <a:pt x="227" y="572"/>
                    </a:lnTo>
                    <a:lnTo>
                      <a:pt x="225" y="572"/>
                    </a:lnTo>
                    <a:lnTo>
                      <a:pt x="224" y="571"/>
                    </a:lnTo>
                    <a:lnTo>
                      <a:pt x="224" y="569"/>
                    </a:lnTo>
                    <a:lnTo>
                      <a:pt x="224" y="568"/>
                    </a:lnTo>
                    <a:lnTo>
                      <a:pt x="222" y="564"/>
                    </a:lnTo>
                    <a:lnTo>
                      <a:pt x="221" y="563"/>
                    </a:lnTo>
                    <a:lnTo>
                      <a:pt x="221" y="561"/>
                    </a:lnTo>
                    <a:lnTo>
                      <a:pt x="219" y="560"/>
                    </a:lnTo>
                    <a:lnTo>
                      <a:pt x="219" y="558"/>
                    </a:lnTo>
                    <a:lnTo>
                      <a:pt x="214" y="558"/>
                    </a:lnTo>
                    <a:lnTo>
                      <a:pt x="214" y="556"/>
                    </a:lnTo>
                    <a:lnTo>
                      <a:pt x="211" y="553"/>
                    </a:lnTo>
                    <a:lnTo>
                      <a:pt x="211" y="552"/>
                    </a:lnTo>
                    <a:lnTo>
                      <a:pt x="209" y="552"/>
                    </a:lnTo>
                    <a:lnTo>
                      <a:pt x="206" y="552"/>
                    </a:lnTo>
                    <a:lnTo>
                      <a:pt x="205" y="550"/>
                    </a:lnTo>
                    <a:lnTo>
                      <a:pt x="203" y="549"/>
                    </a:lnTo>
                    <a:lnTo>
                      <a:pt x="205" y="547"/>
                    </a:lnTo>
                    <a:lnTo>
                      <a:pt x="205" y="545"/>
                    </a:lnTo>
                    <a:lnTo>
                      <a:pt x="203" y="545"/>
                    </a:lnTo>
                    <a:lnTo>
                      <a:pt x="203" y="544"/>
                    </a:lnTo>
                    <a:lnTo>
                      <a:pt x="202" y="544"/>
                    </a:lnTo>
                    <a:lnTo>
                      <a:pt x="195" y="542"/>
                    </a:lnTo>
                    <a:lnTo>
                      <a:pt x="194" y="542"/>
                    </a:lnTo>
                    <a:lnTo>
                      <a:pt x="192" y="542"/>
                    </a:lnTo>
                    <a:lnTo>
                      <a:pt x="190" y="544"/>
                    </a:lnTo>
                    <a:lnTo>
                      <a:pt x="187" y="544"/>
                    </a:lnTo>
                    <a:lnTo>
                      <a:pt x="186" y="544"/>
                    </a:lnTo>
                    <a:lnTo>
                      <a:pt x="183" y="544"/>
                    </a:lnTo>
                    <a:lnTo>
                      <a:pt x="181" y="544"/>
                    </a:lnTo>
                    <a:lnTo>
                      <a:pt x="179" y="544"/>
                    </a:lnTo>
                    <a:lnTo>
                      <a:pt x="176" y="547"/>
                    </a:lnTo>
                    <a:lnTo>
                      <a:pt x="175" y="547"/>
                    </a:lnTo>
                    <a:lnTo>
                      <a:pt x="173" y="547"/>
                    </a:lnTo>
                    <a:lnTo>
                      <a:pt x="173" y="545"/>
                    </a:lnTo>
                    <a:lnTo>
                      <a:pt x="171" y="544"/>
                    </a:lnTo>
                    <a:lnTo>
                      <a:pt x="170" y="545"/>
                    </a:lnTo>
                    <a:lnTo>
                      <a:pt x="168" y="544"/>
                    </a:lnTo>
                    <a:lnTo>
                      <a:pt x="167" y="542"/>
                    </a:lnTo>
                    <a:lnTo>
                      <a:pt x="162" y="536"/>
                    </a:lnTo>
                    <a:lnTo>
                      <a:pt x="160" y="533"/>
                    </a:lnTo>
                    <a:lnTo>
                      <a:pt x="157" y="533"/>
                    </a:lnTo>
                    <a:lnTo>
                      <a:pt x="154" y="530"/>
                    </a:lnTo>
                    <a:lnTo>
                      <a:pt x="154" y="528"/>
                    </a:lnTo>
                    <a:lnTo>
                      <a:pt x="152" y="523"/>
                    </a:lnTo>
                    <a:lnTo>
                      <a:pt x="151" y="523"/>
                    </a:lnTo>
                    <a:lnTo>
                      <a:pt x="151" y="522"/>
                    </a:lnTo>
                    <a:lnTo>
                      <a:pt x="152" y="520"/>
                    </a:lnTo>
                    <a:lnTo>
                      <a:pt x="151" y="518"/>
                    </a:lnTo>
                    <a:lnTo>
                      <a:pt x="146" y="517"/>
                    </a:lnTo>
                    <a:lnTo>
                      <a:pt x="141" y="514"/>
                    </a:lnTo>
                    <a:lnTo>
                      <a:pt x="135" y="507"/>
                    </a:lnTo>
                    <a:lnTo>
                      <a:pt x="133" y="506"/>
                    </a:lnTo>
                    <a:lnTo>
                      <a:pt x="132" y="504"/>
                    </a:lnTo>
                    <a:lnTo>
                      <a:pt x="130" y="504"/>
                    </a:lnTo>
                    <a:lnTo>
                      <a:pt x="129" y="504"/>
                    </a:lnTo>
                    <a:lnTo>
                      <a:pt x="127" y="504"/>
                    </a:lnTo>
                    <a:lnTo>
                      <a:pt x="127" y="506"/>
                    </a:lnTo>
                    <a:lnTo>
                      <a:pt x="127" y="507"/>
                    </a:lnTo>
                    <a:lnTo>
                      <a:pt x="125" y="507"/>
                    </a:lnTo>
                    <a:lnTo>
                      <a:pt x="125" y="509"/>
                    </a:lnTo>
                    <a:lnTo>
                      <a:pt x="124" y="509"/>
                    </a:lnTo>
                    <a:lnTo>
                      <a:pt x="124" y="507"/>
                    </a:lnTo>
                    <a:lnTo>
                      <a:pt x="122" y="507"/>
                    </a:lnTo>
                    <a:lnTo>
                      <a:pt x="121" y="507"/>
                    </a:lnTo>
                    <a:lnTo>
                      <a:pt x="119" y="507"/>
                    </a:lnTo>
                    <a:lnTo>
                      <a:pt x="116" y="507"/>
                    </a:lnTo>
                    <a:lnTo>
                      <a:pt x="114" y="507"/>
                    </a:lnTo>
                    <a:lnTo>
                      <a:pt x="111" y="506"/>
                    </a:lnTo>
                    <a:lnTo>
                      <a:pt x="106" y="506"/>
                    </a:lnTo>
                    <a:lnTo>
                      <a:pt x="106" y="504"/>
                    </a:lnTo>
                    <a:lnTo>
                      <a:pt x="105" y="504"/>
                    </a:lnTo>
                    <a:lnTo>
                      <a:pt x="103" y="501"/>
                    </a:lnTo>
                    <a:lnTo>
                      <a:pt x="102" y="503"/>
                    </a:lnTo>
                    <a:lnTo>
                      <a:pt x="100" y="501"/>
                    </a:lnTo>
                    <a:lnTo>
                      <a:pt x="100" y="499"/>
                    </a:lnTo>
                    <a:lnTo>
                      <a:pt x="102" y="493"/>
                    </a:lnTo>
                    <a:lnTo>
                      <a:pt x="100" y="493"/>
                    </a:lnTo>
                    <a:lnTo>
                      <a:pt x="100" y="492"/>
                    </a:lnTo>
                    <a:lnTo>
                      <a:pt x="100" y="490"/>
                    </a:lnTo>
                    <a:lnTo>
                      <a:pt x="100" y="488"/>
                    </a:lnTo>
                    <a:lnTo>
                      <a:pt x="102" y="487"/>
                    </a:lnTo>
                    <a:lnTo>
                      <a:pt x="103" y="487"/>
                    </a:lnTo>
                    <a:lnTo>
                      <a:pt x="102" y="485"/>
                    </a:lnTo>
                    <a:lnTo>
                      <a:pt x="100" y="485"/>
                    </a:lnTo>
                    <a:lnTo>
                      <a:pt x="102" y="484"/>
                    </a:lnTo>
                    <a:lnTo>
                      <a:pt x="102" y="482"/>
                    </a:lnTo>
                    <a:lnTo>
                      <a:pt x="103" y="480"/>
                    </a:lnTo>
                    <a:lnTo>
                      <a:pt x="102" y="480"/>
                    </a:lnTo>
                    <a:lnTo>
                      <a:pt x="102" y="479"/>
                    </a:lnTo>
                    <a:lnTo>
                      <a:pt x="100" y="477"/>
                    </a:lnTo>
                    <a:lnTo>
                      <a:pt x="99" y="474"/>
                    </a:lnTo>
                    <a:lnTo>
                      <a:pt x="99" y="469"/>
                    </a:lnTo>
                    <a:lnTo>
                      <a:pt x="97" y="468"/>
                    </a:lnTo>
                    <a:lnTo>
                      <a:pt x="97" y="469"/>
                    </a:lnTo>
                    <a:lnTo>
                      <a:pt x="94" y="469"/>
                    </a:lnTo>
                    <a:lnTo>
                      <a:pt x="94" y="468"/>
                    </a:lnTo>
                    <a:lnTo>
                      <a:pt x="94" y="466"/>
                    </a:lnTo>
                    <a:lnTo>
                      <a:pt x="94" y="463"/>
                    </a:lnTo>
                    <a:lnTo>
                      <a:pt x="92" y="461"/>
                    </a:lnTo>
                    <a:lnTo>
                      <a:pt x="92" y="463"/>
                    </a:lnTo>
                    <a:lnTo>
                      <a:pt x="91" y="463"/>
                    </a:lnTo>
                    <a:lnTo>
                      <a:pt x="89" y="463"/>
                    </a:lnTo>
                    <a:lnTo>
                      <a:pt x="87" y="461"/>
                    </a:lnTo>
                    <a:lnTo>
                      <a:pt x="86" y="458"/>
                    </a:lnTo>
                    <a:lnTo>
                      <a:pt x="86" y="455"/>
                    </a:lnTo>
                    <a:lnTo>
                      <a:pt x="84" y="454"/>
                    </a:lnTo>
                    <a:lnTo>
                      <a:pt x="80" y="449"/>
                    </a:lnTo>
                    <a:lnTo>
                      <a:pt x="78" y="449"/>
                    </a:lnTo>
                    <a:lnTo>
                      <a:pt x="76" y="449"/>
                    </a:lnTo>
                    <a:lnTo>
                      <a:pt x="75" y="449"/>
                    </a:lnTo>
                    <a:lnTo>
                      <a:pt x="70" y="446"/>
                    </a:lnTo>
                    <a:lnTo>
                      <a:pt x="68" y="446"/>
                    </a:lnTo>
                    <a:lnTo>
                      <a:pt x="64" y="444"/>
                    </a:lnTo>
                    <a:lnTo>
                      <a:pt x="59" y="442"/>
                    </a:lnTo>
                    <a:lnTo>
                      <a:pt x="48" y="439"/>
                    </a:lnTo>
                    <a:lnTo>
                      <a:pt x="45" y="439"/>
                    </a:lnTo>
                    <a:lnTo>
                      <a:pt x="38" y="439"/>
                    </a:lnTo>
                    <a:lnTo>
                      <a:pt x="37" y="439"/>
                    </a:lnTo>
                    <a:lnTo>
                      <a:pt x="35" y="439"/>
                    </a:lnTo>
                    <a:lnTo>
                      <a:pt x="34" y="439"/>
                    </a:lnTo>
                    <a:lnTo>
                      <a:pt x="29" y="436"/>
                    </a:lnTo>
                    <a:lnTo>
                      <a:pt x="27" y="433"/>
                    </a:lnTo>
                    <a:lnTo>
                      <a:pt x="26" y="433"/>
                    </a:lnTo>
                    <a:lnTo>
                      <a:pt x="24" y="431"/>
                    </a:lnTo>
                    <a:lnTo>
                      <a:pt x="23" y="430"/>
                    </a:lnTo>
                    <a:lnTo>
                      <a:pt x="23" y="428"/>
                    </a:lnTo>
                    <a:lnTo>
                      <a:pt x="24" y="428"/>
                    </a:lnTo>
                    <a:lnTo>
                      <a:pt x="24" y="427"/>
                    </a:lnTo>
                    <a:lnTo>
                      <a:pt x="23" y="425"/>
                    </a:lnTo>
                    <a:lnTo>
                      <a:pt x="19" y="425"/>
                    </a:lnTo>
                    <a:lnTo>
                      <a:pt x="18" y="425"/>
                    </a:lnTo>
                    <a:lnTo>
                      <a:pt x="16" y="427"/>
                    </a:lnTo>
                    <a:lnTo>
                      <a:pt x="15" y="427"/>
                    </a:lnTo>
                    <a:lnTo>
                      <a:pt x="13" y="425"/>
                    </a:lnTo>
                    <a:lnTo>
                      <a:pt x="13" y="423"/>
                    </a:lnTo>
                    <a:lnTo>
                      <a:pt x="10" y="422"/>
                    </a:lnTo>
                    <a:lnTo>
                      <a:pt x="10" y="420"/>
                    </a:lnTo>
                    <a:lnTo>
                      <a:pt x="10" y="419"/>
                    </a:lnTo>
                    <a:lnTo>
                      <a:pt x="8" y="417"/>
                    </a:lnTo>
                    <a:lnTo>
                      <a:pt x="7" y="417"/>
                    </a:lnTo>
                    <a:lnTo>
                      <a:pt x="7" y="415"/>
                    </a:lnTo>
                    <a:lnTo>
                      <a:pt x="2" y="415"/>
                    </a:lnTo>
                    <a:lnTo>
                      <a:pt x="2" y="414"/>
                    </a:lnTo>
                    <a:lnTo>
                      <a:pt x="2" y="412"/>
                    </a:lnTo>
                    <a:lnTo>
                      <a:pt x="2" y="411"/>
                    </a:lnTo>
                    <a:lnTo>
                      <a:pt x="2" y="409"/>
                    </a:lnTo>
                    <a:lnTo>
                      <a:pt x="0" y="408"/>
                    </a:lnTo>
                    <a:lnTo>
                      <a:pt x="0" y="406"/>
                    </a:lnTo>
                    <a:lnTo>
                      <a:pt x="0" y="404"/>
                    </a:lnTo>
                    <a:lnTo>
                      <a:pt x="0" y="403"/>
                    </a:lnTo>
                    <a:lnTo>
                      <a:pt x="0" y="401"/>
                    </a:lnTo>
                    <a:lnTo>
                      <a:pt x="2" y="400"/>
                    </a:lnTo>
                    <a:lnTo>
                      <a:pt x="2" y="398"/>
                    </a:lnTo>
                    <a:lnTo>
                      <a:pt x="4" y="396"/>
                    </a:lnTo>
                    <a:lnTo>
                      <a:pt x="8" y="396"/>
                    </a:lnTo>
                    <a:lnTo>
                      <a:pt x="16" y="400"/>
                    </a:lnTo>
                    <a:lnTo>
                      <a:pt x="18" y="401"/>
                    </a:lnTo>
                    <a:lnTo>
                      <a:pt x="27" y="409"/>
                    </a:lnTo>
                    <a:lnTo>
                      <a:pt x="29" y="411"/>
                    </a:lnTo>
                    <a:lnTo>
                      <a:pt x="32" y="412"/>
                    </a:lnTo>
                    <a:lnTo>
                      <a:pt x="35" y="412"/>
                    </a:lnTo>
                    <a:lnTo>
                      <a:pt x="42" y="412"/>
                    </a:lnTo>
                    <a:lnTo>
                      <a:pt x="45" y="412"/>
                    </a:lnTo>
                    <a:lnTo>
                      <a:pt x="46" y="412"/>
                    </a:lnTo>
                    <a:lnTo>
                      <a:pt x="48" y="412"/>
                    </a:lnTo>
                    <a:lnTo>
                      <a:pt x="54" y="409"/>
                    </a:lnTo>
                    <a:lnTo>
                      <a:pt x="56" y="408"/>
                    </a:lnTo>
                    <a:lnTo>
                      <a:pt x="59" y="408"/>
                    </a:lnTo>
                    <a:lnTo>
                      <a:pt x="62" y="406"/>
                    </a:lnTo>
                    <a:lnTo>
                      <a:pt x="67" y="406"/>
                    </a:lnTo>
                    <a:lnTo>
                      <a:pt x="67" y="404"/>
                    </a:lnTo>
                    <a:lnTo>
                      <a:pt x="72" y="404"/>
                    </a:lnTo>
                    <a:lnTo>
                      <a:pt x="73" y="404"/>
                    </a:lnTo>
                    <a:lnTo>
                      <a:pt x="76" y="404"/>
                    </a:lnTo>
                    <a:lnTo>
                      <a:pt x="78" y="404"/>
                    </a:lnTo>
                    <a:lnTo>
                      <a:pt x="80" y="404"/>
                    </a:lnTo>
                    <a:lnTo>
                      <a:pt x="81" y="404"/>
                    </a:lnTo>
                    <a:lnTo>
                      <a:pt x="83" y="404"/>
                    </a:lnTo>
                    <a:lnTo>
                      <a:pt x="84" y="404"/>
                    </a:lnTo>
                    <a:lnTo>
                      <a:pt x="86" y="404"/>
                    </a:lnTo>
                    <a:lnTo>
                      <a:pt x="89" y="404"/>
                    </a:lnTo>
                    <a:lnTo>
                      <a:pt x="91" y="404"/>
                    </a:lnTo>
                    <a:lnTo>
                      <a:pt x="92" y="406"/>
                    </a:lnTo>
                    <a:lnTo>
                      <a:pt x="94" y="406"/>
                    </a:lnTo>
                    <a:lnTo>
                      <a:pt x="95" y="406"/>
                    </a:lnTo>
                    <a:lnTo>
                      <a:pt x="97" y="406"/>
                    </a:lnTo>
                    <a:lnTo>
                      <a:pt x="99" y="408"/>
                    </a:lnTo>
                    <a:lnTo>
                      <a:pt x="102" y="409"/>
                    </a:lnTo>
                    <a:lnTo>
                      <a:pt x="102" y="411"/>
                    </a:lnTo>
                    <a:lnTo>
                      <a:pt x="105" y="414"/>
                    </a:lnTo>
                    <a:lnTo>
                      <a:pt x="108" y="415"/>
                    </a:lnTo>
                    <a:lnTo>
                      <a:pt x="111" y="417"/>
                    </a:lnTo>
                    <a:lnTo>
                      <a:pt x="116" y="420"/>
                    </a:lnTo>
                    <a:lnTo>
                      <a:pt x="118" y="422"/>
                    </a:lnTo>
                    <a:lnTo>
                      <a:pt x="124" y="423"/>
                    </a:lnTo>
                    <a:lnTo>
                      <a:pt x="129" y="425"/>
                    </a:lnTo>
                    <a:lnTo>
                      <a:pt x="132" y="425"/>
                    </a:lnTo>
                    <a:lnTo>
                      <a:pt x="137" y="423"/>
                    </a:lnTo>
                    <a:lnTo>
                      <a:pt x="140" y="423"/>
                    </a:lnTo>
                    <a:lnTo>
                      <a:pt x="148" y="423"/>
                    </a:lnTo>
                    <a:lnTo>
                      <a:pt x="149" y="423"/>
                    </a:lnTo>
                    <a:lnTo>
                      <a:pt x="152" y="422"/>
                    </a:lnTo>
                    <a:lnTo>
                      <a:pt x="154" y="420"/>
                    </a:lnTo>
                    <a:lnTo>
                      <a:pt x="159" y="417"/>
                    </a:lnTo>
                    <a:lnTo>
                      <a:pt x="160" y="415"/>
                    </a:lnTo>
                    <a:lnTo>
                      <a:pt x="165" y="411"/>
                    </a:lnTo>
                    <a:lnTo>
                      <a:pt x="168" y="408"/>
                    </a:lnTo>
                    <a:lnTo>
                      <a:pt x="170" y="406"/>
                    </a:lnTo>
                    <a:lnTo>
                      <a:pt x="175" y="403"/>
                    </a:lnTo>
                    <a:lnTo>
                      <a:pt x="176" y="400"/>
                    </a:lnTo>
                    <a:lnTo>
                      <a:pt x="179" y="398"/>
                    </a:lnTo>
                    <a:lnTo>
                      <a:pt x="184" y="398"/>
                    </a:lnTo>
                    <a:lnTo>
                      <a:pt x="190" y="396"/>
                    </a:lnTo>
                    <a:lnTo>
                      <a:pt x="195" y="395"/>
                    </a:lnTo>
                    <a:lnTo>
                      <a:pt x="200" y="395"/>
                    </a:lnTo>
                    <a:lnTo>
                      <a:pt x="205" y="396"/>
                    </a:lnTo>
                    <a:lnTo>
                      <a:pt x="209" y="396"/>
                    </a:lnTo>
                    <a:lnTo>
                      <a:pt x="214" y="396"/>
                    </a:lnTo>
                    <a:lnTo>
                      <a:pt x="217" y="395"/>
                    </a:lnTo>
                    <a:lnTo>
                      <a:pt x="224" y="395"/>
                    </a:lnTo>
                    <a:lnTo>
                      <a:pt x="225" y="396"/>
                    </a:lnTo>
                    <a:lnTo>
                      <a:pt x="227" y="396"/>
                    </a:lnTo>
                    <a:lnTo>
                      <a:pt x="230" y="395"/>
                    </a:lnTo>
                    <a:lnTo>
                      <a:pt x="232" y="392"/>
                    </a:lnTo>
                    <a:lnTo>
                      <a:pt x="233" y="387"/>
                    </a:lnTo>
                    <a:lnTo>
                      <a:pt x="235" y="389"/>
                    </a:lnTo>
                    <a:lnTo>
                      <a:pt x="238" y="389"/>
                    </a:lnTo>
                    <a:lnTo>
                      <a:pt x="244" y="389"/>
                    </a:lnTo>
                    <a:lnTo>
                      <a:pt x="249" y="385"/>
                    </a:lnTo>
                    <a:lnTo>
                      <a:pt x="252" y="384"/>
                    </a:lnTo>
                    <a:lnTo>
                      <a:pt x="254" y="382"/>
                    </a:lnTo>
                    <a:lnTo>
                      <a:pt x="255" y="381"/>
                    </a:lnTo>
                    <a:lnTo>
                      <a:pt x="255" y="379"/>
                    </a:lnTo>
                    <a:lnTo>
                      <a:pt x="257" y="381"/>
                    </a:lnTo>
                    <a:lnTo>
                      <a:pt x="260" y="384"/>
                    </a:lnTo>
                    <a:lnTo>
                      <a:pt x="262" y="384"/>
                    </a:lnTo>
                    <a:lnTo>
                      <a:pt x="268" y="387"/>
                    </a:lnTo>
                    <a:lnTo>
                      <a:pt x="273" y="389"/>
                    </a:lnTo>
                    <a:lnTo>
                      <a:pt x="276" y="390"/>
                    </a:lnTo>
                    <a:lnTo>
                      <a:pt x="279" y="392"/>
                    </a:lnTo>
                    <a:lnTo>
                      <a:pt x="281" y="393"/>
                    </a:lnTo>
                    <a:lnTo>
                      <a:pt x="282" y="393"/>
                    </a:lnTo>
                    <a:lnTo>
                      <a:pt x="287" y="395"/>
                    </a:lnTo>
                    <a:lnTo>
                      <a:pt x="289" y="393"/>
                    </a:lnTo>
                    <a:lnTo>
                      <a:pt x="290" y="393"/>
                    </a:lnTo>
                    <a:lnTo>
                      <a:pt x="293" y="393"/>
                    </a:lnTo>
                    <a:lnTo>
                      <a:pt x="297" y="392"/>
                    </a:lnTo>
                    <a:lnTo>
                      <a:pt x="300" y="389"/>
                    </a:lnTo>
                    <a:lnTo>
                      <a:pt x="303" y="387"/>
                    </a:lnTo>
                    <a:lnTo>
                      <a:pt x="306" y="385"/>
                    </a:lnTo>
                    <a:lnTo>
                      <a:pt x="308" y="385"/>
                    </a:lnTo>
                    <a:lnTo>
                      <a:pt x="311" y="385"/>
                    </a:lnTo>
                    <a:lnTo>
                      <a:pt x="316" y="387"/>
                    </a:lnTo>
                    <a:lnTo>
                      <a:pt x="316" y="389"/>
                    </a:lnTo>
                    <a:lnTo>
                      <a:pt x="319" y="389"/>
                    </a:lnTo>
                    <a:lnTo>
                      <a:pt x="323" y="389"/>
                    </a:lnTo>
                    <a:lnTo>
                      <a:pt x="328" y="389"/>
                    </a:lnTo>
                    <a:lnTo>
                      <a:pt x="335" y="389"/>
                    </a:lnTo>
                    <a:lnTo>
                      <a:pt x="338" y="385"/>
                    </a:lnTo>
                    <a:lnTo>
                      <a:pt x="336" y="384"/>
                    </a:lnTo>
                    <a:lnTo>
                      <a:pt x="336" y="382"/>
                    </a:lnTo>
                    <a:lnTo>
                      <a:pt x="335" y="381"/>
                    </a:lnTo>
                    <a:lnTo>
                      <a:pt x="333" y="377"/>
                    </a:lnTo>
                    <a:lnTo>
                      <a:pt x="333" y="376"/>
                    </a:lnTo>
                    <a:lnTo>
                      <a:pt x="331" y="374"/>
                    </a:lnTo>
                    <a:lnTo>
                      <a:pt x="331" y="373"/>
                    </a:lnTo>
                    <a:lnTo>
                      <a:pt x="331" y="370"/>
                    </a:lnTo>
                    <a:lnTo>
                      <a:pt x="331" y="366"/>
                    </a:lnTo>
                    <a:lnTo>
                      <a:pt x="331" y="365"/>
                    </a:lnTo>
                    <a:lnTo>
                      <a:pt x="333" y="360"/>
                    </a:lnTo>
                    <a:lnTo>
                      <a:pt x="333" y="357"/>
                    </a:lnTo>
                    <a:lnTo>
                      <a:pt x="333" y="354"/>
                    </a:lnTo>
                    <a:lnTo>
                      <a:pt x="335" y="351"/>
                    </a:lnTo>
                    <a:lnTo>
                      <a:pt x="336" y="347"/>
                    </a:lnTo>
                    <a:lnTo>
                      <a:pt x="338" y="346"/>
                    </a:lnTo>
                    <a:lnTo>
                      <a:pt x="336" y="341"/>
                    </a:lnTo>
                    <a:lnTo>
                      <a:pt x="336" y="339"/>
                    </a:lnTo>
                    <a:lnTo>
                      <a:pt x="336" y="336"/>
                    </a:lnTo>
                    <a:lnTo>
                      <a:pt x="338" y="333"/>
                    </a:lnTo>
                    <a:lnTo>
                      <a:pt x="338" y="330"/>
                    </a:lnTo>
                    <a:lnTo>
                      <a:pt x="339" y="328"/>
                    </a:lnTo>
                    <a:lnTo>
                      <a:pt x="339" y="327"/>
                    </a:lnTo>
                    <a:lnTo>
                      <a:pt x="341" y="322"/>
                    </a:lnTo>
                    <a:lnTo>
                      <a:pt x="341" y="317"/>
                    </a:lnTo>
                    <a:lnTo>
                      <a:pt x="343" y="317"/>
                    </a:lnTo>
                    <a:lnTo>
                      <a:pt x="343" y="316"/>
                    </a:lnTo>
                    <a:lnTo>
                      <a:pt x="344" y="312"/>
                    </a:lnTo>
                    <a:lnTo>
                      <a:pt x="344" y="311"/>
                    </a:lnTo>
                    <a:lnTo>
                      <a:pt x="344" y="309"/>
                    </a:lnTo>
                    <a:lnTo>
                      <a:pt x="344" y="308"/>
                    </a:lnTo>
                    <a:lnTo>
                      <a:pt x="344" y="306"/>
                    </a:lnTo>
                    <a:lnTo>
                      <a:pt x="344" y="305"/>
                    </a:lnTo>
                    <a:lnTo>
                      <a:pt x="341" y="303"/>
                    </a:lnTo>
                    <a:lnTo>
                      <a:pt x="339" y="301"/>
                    </a:lnTo>
                    <a:lnTo>
                      <a:pt x="336" y="300"/>
                    </a:lnTo>
                    <a:lnTo>
                      <a:pt x="333" y="297"/>
                    </a:lnTo>
                    <a:lnTo>
                      <a:pt x="331" y="295"/>
                    </a:lnTo>
                    <a:lnTo>
                      <a:pt x="330" y="295"/>
                    </a:lnTo>
                    <a:lnTo>
                      <a:pt x="328" y="293"/>
                    </a:lnTo>
                    <a:lnTo>
                      <a:pt x="325" y="292"/>
                    </a:lnTo>
                    <a:lnTo>
                      <a:pt x="320" y="290"/>
                    </a:lnTo>
                    <a:lnTo>
                      <a:pt x="317" y="289"/>
                    </a:lnTo>
                    <a:lnTo>
                      <a:pt x="316" y="287"/>
                    </a:lnTo>
                    <a:lnTo>
                      <a:pt x="314" y="286"/>
                    </a:lnTo>
                    <a:lnTo>
                      <a:pt x="312" y="284"/>
                    </a:lnTo>
                    <a:lnTo>
                      <a:pt x="314" y="282"/>
                    </a:lnTo>
                    <a:lnTo>
                      <a:pt x="314" y="281"/>
                    </a:lnTo>
                    <a:lnTo>
                      <a:pt x="316" y="279"/>
                    </a:lnTo>
                    <a:lnTo>
                      <a:pt x="317" y="279"/>
                    </a:lnTo>
                    <a:lnTo>
                      <a:pt x="317" y="276"/>
                    </a:lnTo>
                    <a:lnTo>
                      <a:pt x="317" y="274"/>
                    </a:lnTo>
                    <a:lnTo>
                      <a:pt x="316" y="273"/>
                    </a:lnTo>
                    <a:lnTo>
                      <a:pt x="316" y="271"/>
                    </a:lnTo>
                    <a:lnTo>
                      <a:pt x="314" y="270"/>
                    </a:lnTo>
                    <a:lnTo>
                      <a:pt x="314" y="267"/>
                    </a:lnTo>
                    <a:lnTo>
                      <a:pt x="312" y="267"/>
                    </a:lnTo>
                    <a:lnTo>
                      <a:pt x="311" y="255"/>
                    </a:lnTo>
                    <a:lnTo>
                      <a:pt x="311" y="248"/>
                    </a:lnTo>
                    <a:lnTo>
                      <a:pt x="309" y="238"/>
                    </a:lnTo>
                    <a:lnTo>
                      <a:pt x="308" y="232"/>
                    </a:lnTo>
                    <a:lnTo>
                      <a:pt x="308" y="225"/>
                    </a:lnTo>
                    <a:lnTo>
                      <a:pt x="309" y="224"/>
                    </a:lnTo>
                    <a:lnTo>
                      <a:pt x="309" y="222"/>
                    </a:lnTo>
                    <a:lnTo>
                      <a:pt x="314" y="221"/>
                    </a:lnTo>
                    <a:lnTo>
                      <a:pt x="320" y="213"/>
                    </a:lnTo>
                    <a:lnTo>
                      <a:pt x="323" y="206"/>
                    </a:lnTo>
                    <a:lnTo>
                      <a:pt x="328" y="205"/>
                    </a:lnTo>
                    <a:lnTo>
                      <a:pt x="331" y="203"/>
                    </a:lnTo>
                    <a:lnTo>
                      <a:pt x="333" y="203"/>
                    </a:lnTo>
                    <a:lnTo>
                      <a:pt x="338" y="200"/>
                    </a:lnTo>
                    <a:lnTo>
                      <a:pt x="338" y="198"/>
                    </a:lnTo>
                    <a:lnTo>
                      <a:pt x="338" y="192"/>
                    </a:lnTo>
                    <a:lnTo>
                      <a:pt x="338" y="186"/>
                    </a:lnTo>
                    <a:lnTo>
                      <a:pt x="339" y="183"/>
                    </a:lnTo>
                    <a:lnTo>
                      <a:pt x="343" y="179"/>
                    </a:lnTo>
                    <a:lnTo>
                      <a:pt x="346" y="183"/>
                    </a:lnTo>
                    <a:lnTo>
                      <a:pt x="352" y="184"/>
                    </a:lnTo>
                    <a:lnTo>
                      <a:pt x="355" y="184"/>
                    </a:lnTo>
                    <a:lnTo>
                      <a:pt x="357" y="179"/>
                    </a:lnTo>
                    <a:lnTo>
                      <a:pt x="360" y="175"/>
                    </a:lnTo>
                    <a:lnTo>
                      <a:pt x="363" y="170"/>
                    </a:lnTo>
                    <a:lnTo>
                      <a:pt x="365" y="168"/>
                    </a:lnTo>
                    <a:lnTo>
                      <a:pt x="368" y="170"/>
                    </a:lnTo>
                    <a:lnTo>
                      <a:pt x="373" y="171"/>
                    </a:lnTo>
                    <a:lnTo>
                      <a:pt x="376" y="171"/>
                    </a:lnTo>
                    <a:lnTo>
                      <a:pt x="379" y="170"/>
                    </a:lnTo>
                    <a:lnTo>
                      <a:pt x="381" y="168"/>
                    </a:lnTo>
                    <a:lnTo>
                      <a:pt x="382" y="170"/>
                    </a:lnTo>
                    <a:lnTo>
                      <a:pt x="385" y="168"/>
                    </a:lnTo>
                    <a:lnTo>
                      <a:pt x="387" y="165"/>
                    </a:lnTo>
                    <a:lnTo>
                      <a:pt x="388" y="165"/>
                    </a:lnTo>
                    <a:lnTo>
                      <a:pt x="390" y="165"/>
                    </a:lnTo>
                    <a:lnTo>
                      <a:pt x="393" y="170"/>
                    </a:lnTo>
                    <a:lnTo>
                      <a:pt x="393" y="173"/>
                    </a:lnTo>
                    <a:lnTo>
                      <a:pt x="395" y="178"/>
                    </a:lnTo>
                    <a:lnTo>
                      <a:pt x="396" y="184"/>
                    </a:lnTo>
                    <a:lnTo>
                      <a:pt x="400" y="187"/>
                    </a:lnTo>
                    <a:lnTo>
                      <a:pt x="404" y="189"/>
                    </a:lnTo>
                    <a:lnTo>
                      <a:pt x="411" y="190"/>
                    </a:lnTo>
                    <a:lnTo>
                      <a:pt x="415" y="189"/>
                    </a:lnTo>
                    <a:lnTo>
                      <a:pt x="419" y="189"/>
                    </a:lnTo>
                    <a:lnTo>
                      <a:pt x="425" y="184"/>
                    </a:lnTo>
                    <a:lnTo>
                      <a:pt x="433" y="179"/>
                    </a:lnTo>
                    <a:lnTo>
                      <a:pt x="436" y="178"/>
                    </a:lnTo>
                    <a:lnTo>
                      <a:pt x="436" y="176"/>
                    </a:lnTo>
                    <a:lnTo>
                      <a:pt x="441" y="175"/>
                    </a:lnTo>
                    <a:lnTo>
                      <a:pt x="444" y="175"/>
                    </a:lnTo>
                    <a:lnTo>
                      <a:pt x="447" y="176"/>
                    </a:lnTo>
                    <a:lnTo>
                      <a:pt x="453" y="173"/>
                    </a:lnTo>
                    <a:lnTo>
                      <a:pt x="460" y="168"/>
                    </a:lnTo>
                    <a:lnTo>
                      <a:pt x="464" y="164"/>
                    </a:lnTo>
                    <a:lnTo>
                      <a:pt x="466" y="160"/>
                    </a:lnTo>
                    <a:lnTo>
                      <a:pt x="469" y="157"/>
                    </a:lnTo>
                    <a:lnTo>
                      <a:pt x="471" y="154"/>
                    </a:lnTo>
                    <a:lnTo>
                      <a:pt x="471" y="151"/>
                    </a:lnTo>
                    <a:lnTo>
                      <a:pt x="469" y="149"/>
                    </a:lnTo>
                    <a:lnTo>
                      <a:pt x="466" y="148"/>
                    </a:lnTo>
                    <a:lnTo>
                      <a:pt x="463" y="145"/>
                    </a:lnTo>
                    <a:lnTo>
                      <a:pt x="461" y="143"/>
                    </a:lnTo>
                    <a:lnTo>
                      <a:pt x="453" y="137"/>
                    </a:lnTo>
                    <a:lnTo>
                      <a:pt x="450" y="132"/>
                    </a:lnTo>
                    <a:lnTo>
                      <a:pt x="449" y="127"/>
                    </a:lnTo>
                    <a:lnTo>
                      <a:pt x="450" y="126"/>
                    </a:lnTo>
                    <a:lnTo>
                      <a:pt x="450" y="122"/>
                    </a:lnTo>
                    <a:lnTo>
                      <a:pt x="455" y="119"/>
                    </a:lnTo>
                    <a:lnTo>
                      <a:pt x="458" y="114"/>
                    </a:lnTo>
                    <a:lnTo>
                      <a:pt x="461" y="111"/>
                    </a:lnTo>
                    <a:lnTo>
                      <a:pt x="466" y="111"/>
                    </a:lnTo>
                    <a:lnTo>
                      <a:pt x="471" y="111"/>
                    </a:lnTo>
                    <a:lnTo>
                      <a:pt x="474" y="111"/>
                    </a:lnTo>
                    <a:lnTo>
                      <a:pt x="476" y="110"/>
                    </a:lnTo>
                    <a:lnTo>
                      <a:pt x="482" y="111"/>
                    </a:lnTo>
                    <a:lnTo>
                      <a:pt x="488" y="111"/>
                    </a:lnTo>
                    <a:lnTo>
                      <a:pt x="491" y="116"/>
                    </a:lnTo>
                    <a:lnTo>
                      <a:pt x="493" y="118"/>
                    </a:lnTo>
                    <a:lnTo>
                      <a:pt x="495" y="122"/>
                    </a:lnTo>
                    <a:lnTo>
                      <a:pt x="498" y="133"/>
                    </a:lnTo>
                    <a:lnTo>
                      <a:pt x="498" y="137"/>
                    </a:lnTo>
                    <a:lnTo>
                      <a:pt x="499" y="143"/>
                    </a:lnTo>
                    <a:lnTo>
                      <a:pt x="502" y="149"/>
                    </a:lnTo>
                    <a:lnTo>
                      <a:pt x="501" y="156"/>
                    </a:lnTo>
                    <a:lnTo>
                      <a:pt x="499" y="160"/>
                    </a:lnTo>
                    <a:lnTo>
                      <a:pt x="496" y="165"/>
                    </a:lnTo>
                    <a:lnTo>
                      <a:pt x="493" y="170"/>
                    </a:lnTo>
                    <a:lnTo>
                      <a:pt x="488" y="175"/>
                    </a:lnTo>
                    <a:lnTo>
                      <a:pt x="487" y="179"/>
                    </a:lnTo>
                    <a:lnTo>
                      <a:pt x="485" y="181"/>
                    </a:lnTo>
                    <a:lnTo>
                      <a:pt x="488" y="184"/>
                    </a:lnTo>
                    <a:lnTo>
                      <a:pt x="493" y="186"/>
                    </a:lnTo>
                    <a:lnTo>
                      <a:pt x="499" y="190"/>
                    </a:lnTo>
                    <a:lnTo>
                      <a:pt x="507" y="197"/>
                    </a:lnTo>
                    <a:lnTo>
                      <a:pt x="512" y="200"/>
                    </a:lnTo>
                    <a:lnTo>
                      <a:pt x="518" y="203"/>
                    </a:lnTo>
                    <a:lnTo>
                      <a:pt x="523" y="205"/>
                    </a:lnTo>
                    <a:lnTo>
                      <a:pt x="525" y="206"/>
                    </a:lnTo>
                    <a:lnTo>
                      <a:pt x="526" y="206"/>
                    </a:lnTo>
                    <a:lnTo>
                      <a:pt x="529" y="208"/>
                    </a:lnTo>
                    <a:lnTo>
                      <a:pt x="533" y="216"/>
                    </a:lnTo>
                    <a:lnTo>
                      <a:pt x="533" y="219"/>
                    </a:lnTo>
                    <a:lnTo>
                      <a:pt x="534" y="222"/>
                    </a:lnTo>
                    <a:lnTo>
                      <a:pt x="536" y="224"/>
                    </a:lnTo>
                    <a:lnTo>
                      <a:pt x="542" y="230"/>
                    </a:lnTo>
                    <a:lnTo>
                      <a:pt x="545" y="235"/>
                    </a:lnTo>
                    <a:lnTo>
                      <a:pt x="544" y="241"/>
                    </a:lnTo>
                    <a:lnTo>
                      <a:pt x="541" y="248"/>
                    </a:lnTo>
                    <a:lnTo>
                      <a:pt x="539" y="254"/>
                    </a:lnTo>
                    <a:lnTo>
                      <a:pt x="541" y="259"/>
                    </a:lnTo>
                    <a:lnTo>
                      <a:pt x="542" y="262"/>
                    </a:lnTo>
                    <a:lnTo>
                      <a:pt x="548" y="263"/>
                    </a:lnTo>
                    <a:lnTo>
                      <a:pt x="555" y="265"/>
                    </a:lnTo>
                    <a:lnTo>
                      <a:pt x="567" y="263"/>
                    </a:lnTo>
                    <a:lnTo>
                      <a:pt x="575" y="268"/>
                    </a:lnTo>
                    <a:lnTo>
                      <a:pt x="582" y="273"/>
                    </a:lnTo>
                    <a:lnTo>
                      <a:pt x="588" y="279"/>
                    </a:lnTo>
                    <a:lnTo>
                      <a:pt x="590" y="281"/>
                    </a:lnTo>
                    <a:lnTo>
                      <a:pt x="593" y="284"/>
                    </a:lnTo>
                    <a:lnTo>
                      <a:pt x="596" y="286"/>
                    </a:lnTo>
                    <a:lnTo>
                      <a:pt x="601" y="287"/>
                    </a:lnTo>
                    <a:lnTo>
                      <a:pt x="607" y="289"/>
                    </a:lnTo>
                    <a:lnTo>
                      <a:pt x="612" y="290"/>
                    </a:lnTo>
                    <a:lnTo>
                      <a:pt x="613" y="292"/>
                    </a:lnTo>
                    <a:lnTo>
                      <a:pt x="618" y="295"/>
                    </a:lnTo>
                    <a:lnTo>
                      <a:pt x="624" y="295"/>
                    </a:lnTo>
                    <a:lnTo>
                      <a:pt x="631" y="297"/>
                    </a:lnTo>
                    <a:lnTo>
                      <a:pt x="636" y="300"/>
                    </a:lnTo>
                    <a:lnTo>
                      <a:pt x="639" y="305"/>
                    </a:lnTo>
                    <a:lnTo>
                      <a:pt x="648" y="308"/>
                    </a:lnTo>
                    <a:lnTo>
                      <a:pt x="655" y="306"/>
                    </a:lnTo>
                    <a:lnTo>
                      <a:pt x="662" y="305"/>
                    </a:lnTo>
                    <a:lnTo>
                      <a:pt x="667" y="305"/>
                    </a:lnTo>
                    <a:lnTo>
                      <a:pt x="670" y="305"/>
                    </a:lnTo>
                    <a:lnTo>
                      <a:pt x="672" y="305"/>
                    </a:lnTo>
                    <a:lnTo>
                      <a:pt x="677" y="308"/>
                    </a:lnTo>
                    <a:lnTo>
                      <a:pt x="688" y="311"/>
                    </a:lnTo>
                    <a:lnTo>
                      <a:pt x="697" y="316"/>
                    </a:lnTo>
                    <a:lnTo>
                      <a:pt x="704" y="319"/>
                    </a:lnTo>
                    <a:lnTo>
                      <a:pt x="707" y="319"/>
                    </a:lnTo>
                    <a:lnTo>
                      <a:pt x="708" y="317"/>
                    </a:lnTo>
                    <a:lnTo>
                      <a:pt x="712" y="316"/>
                    </a:lnTo>
                    <a:lnTo>
                      <a:pt x="715" y="316"/>
                    </a:lnTo>
                    <a:lnTo>
                      <a:pt x="716" y="317"/>
                    </a:lnTo>
                    <a:lnTo>
                      <a:pt x="720" y="325"/>
                    </a:lnTo>
                    <a:lnTo>
                      <a:pt x="726" y="330"/>
                    </a:lnTo>
                    <a:lnTo>
                      <a:pt x="732" y="335"/>
                    </a:lnTo>
                    <a:lnTo>
                      <a:pt x="739" y="338"/>
                    </a:lnTo>
                    <a:lnTo>
                      <a:pt x="740" y="339"/>
                    </a:lnTo>
                    <a:lnTo>
                      <a:pt x="745" y="343"/>
                    </a:lnTo>
                    <a:lnTo>
                      <a:pt x="753" y="349"/>
                    </a:lnTo>
                    <a:lnTo>
                      <a:pt x="759" y="352"/>
                    </a:lnTo>
                    <a:lnTo>
                      <a:pt x="761" y="352"/>
                    </a:lnTo>
                    <a:lnTo>
                      <a:pt x="772" y="357"/>
                    </a:lnTo>
                    <a:lnTo>
                      <a:pt x="781" y="360"/>
                    </a:lnTo>
                    <a:lnTo>
                      <a:pt x="783" y="360"/>
                    </a:lnTo>
                    <a:lnTo>
                      <a:pt x="792" y="362"/>
                    </a:lnTo>
                    <a:lnTo>
                      <a:pt x="802" y="362"/>
                    </a:lnTo>
                    <a:lnTo>
                      <a:pt x="811" y="360"/>
                    </a:lnTo>
                    <a:lnTo>
                      <a:pt x="822" y="358"/>
                    </a:lnTo>
                    <a:lnTo>
                      <a:pt x="834" y="357"/>
                    </a:lnTo>
                    <a:lnTo>
                      <a:pt x="837" y="357"/>
                    </a:lnTo>
                    <a:lnTo>
                      <a:pt x="841" y="357"/>
                    </a:lnTo>
                    <a:lnTo>
                      <a:pt x="853" y="360"/>
                    </a:lnTo>
                    <a:lnTo>
                      <a:pt x="854" y="360"/>
                    </a:lnTo>
                    <a:lnTo>
                      <a:pt x="859" y="360"/>
                    </a:lnTo>
                    <a:lnTo>
                      <a:pt x="867" y="355"/>
                    </a:lnTo>
                    <a:lnTo>
                      <a:pt x="875" y="349"/>
                    </a:lnTo>
                    <a:lnTo>
                      <a:pt x="879" y="344"/>
                    </a:lnTo>
                    <a:lnTo>
                      <a:pt x="883" y="341"/>
                    </a:lnTo>
                    <a:lnTo>
                      <a:pt x="891" y="335"/>
                    </a:lnTo>
                    <a:lnTo>
                      <a:pt x="898" y="331"/>
                    </a:lnTo>
                    <a:lnTo>
                      <a:pt x="905" y="328"/>
                    </a:lnTo>
                    <a:lnTo>
                      <a:pt x="911" y="327"/>
                    </a:lnTo>
                    <a:lnTo>
                      <a:pt x="918" y="324"/>
                    </a:lnTo>
                    <a:lnTo>
                      <a:pt x="921" y="324"/>
                    </a:lnTo>
                    <a:lnTo>
                      <a:pt x="925" y="320"/>
                    </a:lnTo>
                    <a:lnTo>
                      <a:pt x="932" y="316"/>
                    </a:lnTo>
                    <a:lnTo>
                      <a:pt x="935" y="309"/>
                    </a:lnTo>
                    <a:lnTo>
                      <a:pt x="938" y="300"/>
                    </a:lnTo>
                    <a:lnTo>
                      <a:pt x="938" y="292"/>
                    </a:lnTo>
                    <a:lnTo>
                      <a:pt x="940" y="282"/>
                    </a:lnTo>
                    <a:lnTo>
                      <a:pt x="946" y="273"/>
                    </a:lnTo>
                    <a:lnTo>
                      <a:pt x="949" y="267"/>
                    </a:lnTo>
                    <a:lnTo>
                      <a:pt x="951" y="262"/>
                    </a:lnTo>
                    <a:lnTo>
                      <a:pt x="949" y="255"/>
                    </a:lnTo>
                    <a:lnTo>
                      <a:pt x="946" y="248"/>
                    </a:lnTo>
                    <a:lnTo>
                      <a:pt x="944" y="241"/>
                    </a:lnTo>
                    <a:lnTo>
                      <a:pt x="940" y="235"/>
                    </a:lnTo>
                    <a:lnTo>
                      <a:pt x="938" y="227"/>
                    </a:lnTo>
                    <a:lnTo>
                      <a:pt x="938" y="219"/>
                    </a:lnTo>
                    <a:lnTo>
                      <a:pt x="938" y="209"/>
                    </a:lnTo>
                    <a:lnTo>
                      <a:pt x="940" y="202"/>
                    </a:lnTo>
                    <a:lnTo>
                      <a:pt x="940" y="192"/>
                    </a:lnTo>
                    <a:lnTo>
                      <a:pt x="940" y="184"/>
                    </a:lnTo>
                    <a:lnTo>
                      <a:pt x="941" y="176"/>
                    </a:lnTo>
                    <a:lnTo>
                      <a:pt x="946" y="170"/>
                    </a:lnTo>
                    <a:lnTo>
                      <a:pt x="948" y="164"/>
                    </a:lnTo>
                    <a:lnTo>
                      <a:pt x="949" y="157"/>
                    </a:lnTo>
                    <a:lnTo>
                      <a:pt x="946" y="154"/>
                    </a:lnTo>
                    <a:lnTo>
                      <a:pt x="943" y="151"/>
                    </a:lnTo>
                    <a:lnTo>
                      <a:pt x="938" y="148"/>
                    </a:lnTo>
                    <a:lnTo>
                      <a:pt x="935" y="145"/>
                    </a:lnTo>
                    <a:lnTo>
                      <a:pt x="935" y="141"/>
                    </a:lnTo>
                    <a:lnTo>
                      <a:pt x="935" y="138"/>
                    </a:lnTo>
                    <a:lnTo>
                      <a:pt x="937" y="137"/>
                    </a:lnTo>
                    <a:lnTo>
                      <a:pt x="938" y="137"/>
                    </a:lnTo>
                    <a:lnTo>
                      <a:pt x="940" y="135"/>
                    </a:lnTo>
                    <a:lnTo>
                      <a:pt x="941" y="135"/>
                    </a:lnTo>
                    <a:lnTo>
                      <a:pt x="943" y="133"/>
                    </a:lnTo>
                    <a:lnTo>
                      <a:pt x="946" y="133"/>
                    </a:lnTo>
                    <a:lnTo>
                      <a:pt x="948" y="133"/>
                    </a:lnTo>
                    <a:lnTo>
                      <a:pt x="952" y="133"/>
                    </a:lnTo>
                    <a:lnTo>
                      <a:pt x="956" y="132"/>
                    </a:lnTo>
                    <a:lnTo>
                      <a:pt x="960" y="130"/>
                    </a:lnTo>
                    <a:lnTo>
                      <a:pt x="965" y="129"/>
                    </a:lnTo>
                    <a:lnTo>
                      <a:pt x="967" y="130"/>
                    </a:lnTo>
                    <a:lnTo>
                      <a:pt x="968" y="130"/>
                    </a:lnTo>
                    <a:lnTo>
                      <a:pt x="970" y="132"/>
                    </a:lnTo>
                    <a:lnTo>
                      <a:pt x="971" y="135"/>
                    </a:lnTo>
                    <a:lnTo>
                      <a:pt x="973" y="137"/>
                    </a:lnTo>
                    <a:lnTo>
                      <a:pt x="973" y="140"/>
                    </a:lnTo>
                    <a:lnTo>
                      <a:pt x="973" y="141"/>
                    </a:lnTo>
                    <a:lnTo>
                      <a:pt x="975" y="143"/>
                    </a:lnTo>
                    <a:lnTo>
                      <a:pt x="976" y="145"/>
                    </a:lnTo>
                    <a:lnTo>
                      <a:pt x="978" y="146"/>
                    </a:lnTo>
                    <a:lnTo>
                      <a:pt x="979" y="148"/>
                    </a:lnTo>
                    <a:lnTo>
                      <a:pt x="982" y="149"/>
                    </a:lnTo>
                    <a:lnTo>
                      <a:pt x="984" y="149"/>
                    </a:lnTo>
                    <a:lnTo>
                      <a:pt x="989" y="148"/>
                    </a:lnTo>
                    <a:lnTo>
                      <a:pt x="994" y="146"/>
                    </a:lnTo>
                    <a:lnTo>
                      <a:pt x="997" y="145"/>
                    </a:lnTo>
                    <a:lnTo>
                      <a:pt x="997" y="143"/>
                    </a:lnTo>
                    <a:lnTo>
                      <a:pt x="997" y="141"/>
                    </a:lnTo>
                    <a:lnTo>
                      <a:pt x="997" y="135"/>
                    </a:lnTo>
                    <a:lnTo>
                      <a:pt x="997" y="133"/>
                    </a:lnTo>
                    <a:lnTo>
                      <a:pt x="997" y="130"/>
                    </a:lnTo>
                    <a:lnTo>
                      <a:pt x="997" y="129"/>
                    </a:lnTo>
                    <a:lnTo>
                      <a:pt x="995" y="124"/>
                    </a:lnTo>
                    <a:lnTo>
                      <a:pt x="995" y="118"/>
                    </a:lnTo>
                    <a:lnTo>
                      <a:pt x="994" y="113"/>
                    </a:lnTo>
                    <a:lnTo>
                      <a:pt x="995" y="107"/>
                    </a:lnTo>
                    <a:lnTo>
                      <a:pt x="995" y="102"/>
                    </a:lnTo>
                    <a:lnTo>
                      <a:pt x="997" y="97"/>
                    </a:lnTo>
                    <a:lnTo>
                      <a:pt x="998" y="91"/>
                    </a:lnTo>
                    <a:lnTo>
                      <a:pt x="1001" y="83"/>
                    </a:lnTo>
                    <a:lnTo>
                      <a:pt x="1003" y="76"/>
                    </a:lnTo>
                    <a:lnTo>
                      <a:pt x="1003" y="73"/>
                    </a:lnTo>
                    <a:lnTo>
                      <a:pt x="1000" y="72"/>
                    </a:lnTo>
                    <a:lnTo>
                      <a:pt x="995" y="70"/>
                    </a:lnTo>
                    <a:lnTo>
                      <a:pt x="989" y="68"/>
                    </a:lnTo>
                    <a:lnTo>
                      <a:pt x="982" y="67"/>
                    </a:lnTo>
                    <a:lnTo>
                      <a:pt x="978" y="67"/>
                    </a:lnTo>
                    <a:lnTo>
                      <a:pt x="973" y="65"/>
                    </a:lnTo>
                    <a:lnTo>
                      <a:pt x="968" y="62"/>
                    </a:lnTo>
                    <a:lnTo>
                      <a:pt x="965" y="61"/>
                    </a:lnTo>
                    <a:lnTo>
                      <a:pt x="963" y="61"/>
                    </a:lnTo>
                    <a:lnTo>
                      <a:pt x="959" y="56"/>
                    </a:lnTo>
                    <a:lnTo>
                      <a:pt x="957" y="51"/>
                    </a:lnTo>
                    <a:lnTo>
                      <a:pt x="957" y="45"/>
                    </a:lnTo>
                    <a:lnTo>
                      <a:pt x="957" y="43"/>
                    </a:lnTo>
                    <a:lnTo>
                      <a:pt x="957" y="37"/>
                    </a:lnTo>
                    <a:lnTo>
                      <a:pt x="959" y="32"/>
                    </a:lnTo>
                    <a:lnTo>
                      <a:pt x="963" y="23"/>
                    </a:lnTo>
                    <a:lnTo>
                      <a:pt x="967" y="16"/>
                    </a:lnTo>
                    <a:lnTo>
                      <a:pt x="971" y="13"/>
                    </a:lnTo>
                    <a:lnTo>
                      <a:pt x="976" y="11"/>
                    </a:lnTo>
                    <a:lnTo>
                      <a:pt x="978" y="10"/>
                    </a:lnTo>
                    <a:lnTo>
                      <a:pt x="984" y="10"/>
                    </a:lnTo>
                    <a:lnTo>
                      <a:pt x="989" y="13"/>
                    </a:lnTo>
                    <a:lnTo>
                      <a:pt x="994" y="21"/>
                    </a:lnTo>
                    <a:lnTo>
                      <a:pt x="997" y="27"/>
                    </a:lnTo>
                    <a:lnTo>
                      <a:pt x="1000" y="30"/>
                    </a:lnTo>
                    <a:lnTo>
                      <a:pt x="1006" y="27"/>
                    </a:lnTo>
                    <a:lnTo>
                      <a:pt x="1016" y="23"/>
                    </a:lnTo>
                    <a:lnTo>
                      <a:pt x="1019" y="24"/>
                    </a:lnTo>
                    <a:lnTo>
                      <a:pt x="1020" y="27"/>
                    </a:lnTo>
                    <a:lnTo>
                      <a:pt x="1024" y="30"/>
                    </a:lnTo>
                    <a:lnTo>
                      <a:pt x="1027" y="35"/>
                    </a:lnTo>
                    <a:lnTo>
                      <a:pt x="1030" y="37"/>
                    </a:lnTo>
                    <a:lnTo>
                      <a:pt x="1035" y="34"/>
                    </a:lnTo>
                    <a:lnTo>
                      <a:pt x="1038" y="32"/>
                    </a:lnTo>
                    <a:lnTo>
                      <a:pt x="1039" y="32"/>
                    </a:lnTo>
                    <a:lnTo>
                      <a:pt x="1044" y="32"/>
                    </a:lnTo>
                    <a:lnTo>
                      <a:pt x="1049" y="35"/>
                    </a:lnTo>
                    <a:lnTo>
                      <a:pt x="1054" y="37"/>
                    </a:lnTo>
                    <a:lnTo>
                      <a:pt x="1060" y="37"/>
                    </a:lnTo>
                    <a:lnTo>
                      <a:pt x="1066" y="37"/>
                    </a:lnTo>
                    <a:lnTo>
                      <a:pt x="1073" y="37"/>
                    </a:lnTo>
                    <a:lnTo>
                      <a:pt x="1081" y="32"/>
                    </a:lnTo>
                    <a:lnTo>
                      <a:pt x="1087" y="26"/>
                    </a:lnTo>
                    <a:lnTo>
                      <a:pt x="1092" y="24"/>
                    </a:lnTo>
                    <a:lnTo>
                      <a:pt x="1098" y="27"/>
                    </a:lnTo>
                    <a:lnTo>
                      <a:pt x="1106" y="29"/>
                    </a:lnTo>
                    <a:lnTo>
                      <a:pt x="1109" y="29"/>
                    </a:lnTo>
                    <a:lnTo>
                      <a:pt x="1116" y="26"/>
                    </a:lnTo>
                    <a:lnTo>
                      <a:pt x="1122" y="21"/>
                    </a:lnTo>
                    <a:lnTo>
                      <a:pt x="1125" y="21"/>
                    </a:lnTo>
                    <a:lnTo>
                      <a:pt x="1128" y="23"/>
                    </a:lnTo>
                    <a:lnTo>
                      <a:pt x="1133" y="24"/>
                    </a:lnTo>
                    <a:lnTo>
                      <a:pt x="1136" y="23"/>
                    </a:lnTo>
                    <a:lnTo>
                      <a:pt x="1138" y="23"/>
                    </a:lnTo>
                    <a:lnTo>
                      <a:pt x="1139" y="21"/>
                    </a:lnTo>
                    <a:lnTo>
                      <a:pt x="1144" y="21"/>
                    </a:lnTo>
                    <a:lnTo>
                      <a:pt x="1146" y="21"/>
                    </a:lnTo>
                    <a:lnTo>
                      <a:pt x="1147" y="16"/>
                    </a:lnTo>
                    <a:lnTo>
                      <a:pt x="1149" y="16"/>
                    </a:lnTo>
                    <a:lnTo>
                      <a:pt x="1154" y="15"/>
                    </a:lnTo>
                    <a:lnTo>
                      <a:pt x="1158" y="15"/>
                    </a:lnTo>
                    <a:lnTo>
                      <a:pt x="1160" y="15"/>
                    </a:lnTo>
                    <a:lnTo>
                      <a:pt x="1161" y="16"/>
                    </a:lnTo>
                    <a:lnTo>
                      <a:pt x="1165" y="19"/>
                    </a:lnTo>
                    <a:lnTo>
                      <a:pt x="1166" y="19"/>
                    </a:lnTo>
                    <a:lnTo>
                      <a:pt x="1171" y="18"/>
                    </a:lnTo>
                    <a:lnTo>
                      <a:pt x="1177" y="15"/>
                    </a:lnTo>
                    <a:lnTo>
                      <a:pt x="1184" y="15"/>
                    </a:lnTo>
                    <a:lnTo>
                      <a:pt x="1192" y="16"/>
                    </a:lnTo>
                    <a:lnTo>
                      <a:pt x="1196" y="18"/>
                    </a:lnTo>
                    <a:lnTo>
                      <a:pt x="1198" y="23"/>
                    </a:lnTo>
                    <a:lnTo>
                      <a:pt x="1201" y="24"/>
                    </a:lnTo>
                    <a:lnTo>
                      <a:pt x="1204" y="26"/>
                    </a:lnTo>
                    <a:lnTo>
                      <a:pt x="1204" y="32"/>
                    </a:lnTo>
                    <a:lnTo>
                      <a:pt x="1203" y="38"/>
                    </a:lnTo>
                    <a:lnTo>
                      <a:pt x="1203" y="46"/>
                    </a:lnTo>
                    <a:lnTo>
                      <a:pt x="1207" y="54"/>
                    </a:lnTo>
                    <a:lnTo>
                      <a:pt x="1211" y="59"/>
                    </a:lnTo>
                    <a:lnTo>
                      <a:pt x="1215" y="61"/>
                    </a:lnTo>
                    <a:lnTo>
                      <a:pt x="1220" y="57"/>
                    </a:lnTo>
                    <a:lnTo>
                      <a:pt x="1223" y="56"/>
                    </a:lnTo>
                    <a:lnTo>
                      <a:pt x="1225" y="54"/>
                    </a:lnTo>
                    <a:lnTo>
                      <a:pt x="1230" y="53"/>
                    </a:lnTo>
                    <a:lnTo>
                      <a:pt x="1236" y="49"/>
                    </a:lnTo>
                    <a:lnTo>
                      <a:pt x="1239" y="46"/>
                    </a:lnTo>
                    <a:lnTo>
                      <a:pt x="1239" y="43"/>
                    </a:lnTo>
                    <a:lnTo>
                      <a:pt x="1242" y="37"/>
                    </a:lnTo>
                    <a:lnTo>
                      <a:pt x="1244" y="29"/>
                    </a:lnTo>
                    <a:lnTo>
                      <a:pt x="1244" y="27"/>
                    </a:lnTo>
                    <a:lnTo>
                      <a:pt x="1245" y="23"/>
                    </a:lnTo>
                    <a:lnTo>
                      <a:pt x="1249" y="18"/>
                    </a:lnTo>
                    <a:lnTo>
                      <a:pt x="1249" y="13"/>
                    </a:lnTo>
                    <a:lnTo>
                      <a:pt x="1250" y="7"/>
                    </a:lnTo>
                    <a:lnTo>
                      <a:pt x="1253" y="4"/>
                    </a:lnTo>
                    <a:lnTo>
                      <a:pt x="1260" y="5"/>
                    </a:lnTo>
                    <a:lnTo>
                      <a:pt x="1263" y="4"/>
                    </a:lnTo>
                    <a:lnTo>
                      <a:pt x="1268" y="0"/>
                    </a:lnTo>
                    <a:lnTo>
                      <a:pt x="1274" y="2"/>
                    </a:lnTo>
                    <a:lnTo>
                      <a:pt x="1279" y="4"/>
                    </a:lnTo>
                    <a:lnTo>
                      <a:pt x="1282" y="5"/>
                    </a:lnTo>
                    <a:close/>
                  </a:path>
                </a:pathLst>
              </a:custGeom>
              <a:solidFill>
                <a:srgbClr val="C9F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138"/>
              </a:p>
            </p:txBody>
          </p:sp>
          <p:sp>
            <p:nvSpPr>
              <p:cNvPr id="67" name="Freeform 65"/>
              <p:cNvSpPr>
                <a:spLocks/>
              </p:cNvSpPr>
              <p:nvPr/>
            </p:nvSpPr>
            <p:spPr bwMode="auto">
              <a:xfrm>
                <a:off x="1809" y="2530"/>
                <a:ext cx="1420" cy="1169"/>
              </a:xfrm>
              <a:custGeom>
                <a:avLst/>
                <a:gdLst>
                  <a:gd name="T0" fmla="*/ 1300 w 1420"/>
                  <a:gd name="T1" fmla="*/ 65 h 1169"/>
                  <a:gd name="T2" fmla="*/ 1265 w 1420"/>
                  <a:gd name="T3" fmla="*/ 56 h 1169"/>
                  <a:gd name="T4" fmla="*/ 1272 w 1420"/>
                  <a:gd name="T5" fmla="*/ 109 h 1169"/>
                  <a:gd name="T6" fmla="*/ 1246 w 1420"/>
                  <a:gd name="T7" fmla="*/ 170 h 1169"/>
                  <a:gd name="T8" fmla="*/ 1207 w 1420"/>
                  <a:gd name="T9" fmla="*/ 247 h 1169"/>
                  <a:gd name="T10" fmla="*/ 1176 w 1420"/>
                  <a:gd name="T11" fmla="*/ 307 h 1169"/>
                  <a:gd name="T12" fmla="*/ 1113 w 1420"/>
                  <a:gd name="T13" fmla="*/ 369 h 1169"/>
                  <a:gd name="T14" fmla="*/ 1153 w 1420"/>
                  <a:gd name="T15" fmla="*/ 417 h 1169"/>
                  <a:gd name="T16" fmla="*/ 1224 w 1420"/>
                  <a:gd name="T17" fmla="*/ 387 h 1169"/>
                  <a:gd name="T18" fmla="*/ 1289 w 1420"/>
                  <a:gd name="T19" fmla="*/ 412 h 1169"/>
                  <a:gd name="T20" fmla="*/ 1294 w 1420"/>
                  <a:gd name="T21" fmla="*/ 466 h 1169"/>
                  <a:gd name="T22" fmla="*/ 1303 w 1420"/>
                  <a:gd name="T23" fmla="*/ 506 h 1169"/>
                  <a:gd name="T24" fmla="*/ 1365 w 1420"/>
                  <a:gd name="T25" fmla="*/ 536 h 1169"/>
                  <a:gd name="T26" fmla="*/ 1414 w 1420"/>
                  <a:gd name="T27" fmla="*/ 585 h 1169"/>
                  <a:gd name="T28" fmla="*/ 1420 w 1420"/>
                  <a:gd name="T29" fmla="*/ 667 h 1169"/>
                  <a:gd name="T30" fmla="*/ 1333 w 1420"/>
                  <a:gd name="T31" fmla="*/ 613 h 1169"/>
                  <a:gd name="T32" fmla="*/ 1273 w 1420"/>
                  <a:gd name="T33" fmla="*/ 591 h 1169"/>
                  <a:gd name="T34" fmla="*/ 1214 w 1420"/>
                  <a:gd name="T35" fmla="*/ 624 h 1169"/>
                  <a:gd name="T36" fmla="*/ 1183 w 1420"/>
                  <a:gd name="T37" fmla="*/ 705 h 1169"/>
                  <a:gd name="T38" fmla="*/ 1189 w 1420"/>
                  <a:gd name="T39" fmla="*/ 746 h 1169"/>
                  <a:gd name="T40" fmla="*/ 1143 w 1420"/>
                  <a:gd name="T41" fmla="*/ 731 h 1169"/>
                  <a:gd name="T42" fmla="*/ 1124 w 1420"/>
                  <a:gd name="T43" fmla="*/ 664 h 1169"/>
                  <a:gd name="T44" fmla="*/ 1157 w 1420"/>
                  <a:gd name="T45" fmla="*/ 616 h 1169"/>
                  <a:gd name="T46" fmla="*/ 1132 w 1420"/>
                  <a:gd name="T47" fmla="*/ 580 h 1169"/>
                  <a:gd name="T48" fmla="*/ 1070 w 1420"/>
                  <a:gd name="T49" fmla="*/ 550 h 1169"/>
                  <a:gd name="T50" fmla="*/ 1047 w 1420"/>
                  <a:gd name="T51" fmla="*/ 616 h 1169"/>
                  <a:gd name="T52" fmla="*/ 1032 w 1420"/>
                  <a:gd name="T53" fmla="*/ 715 h 1169"/>
                  <a:gd name="T54" fmla="*/ 1085 w 1420"/>
                  <a:gd name="T55" fmla="*/ 746 h 1169"/>
                  <a:gd name="T56" fmla="*/ 1085 w 1420"/>
                  <a:gd name="T57" fmla="*/ 815 h 1169"/>
                  <a:gd name="T58" fmla="*/ 1062 w 1420"/>
                  <a:gd name="T59" fmla="*/ 916 h 1169"/>
                  <a:gd name="T60" fmla="*/ 985 w 1420"/>
                  <a:gd name="T61" fmla="*/ 922 h 1169"/>
                  <a:gd name="T62" fmla="*/ 861 w 1420"/>
                  <a:gd name="T63" fmla="*/ 943 h 1169"/>
                  <a:gd name="T64" fmla="*/ 768 w 1420"/>
                  <a:gd name="T65" fmla="*/ 995 h 1169"/>
                  <a:gd name="T66" fmla="*/ 733 w 1420"/>
                  <a:gd name="T67" fmla="*/ 1123 h 1169"/>
                  <a:gd name="T68" fmla="*/ 706 w 1420"/>
                  <a:gd name="T69" fmla="*/ 1169 h 1169"/>
                  <a:gd name="T70" fmla="*/ 554 w 1420"/>
                  <a:gd name="T71" fmla="*/ 1163 h 1169"/>
                  <a:gd name="T72" fmla="*/ 489 w 1420"/>
                  <a:gd name="T73" fmla="*/ 1112 h 1169"/>
                  <a:gd name="T74" fmla="*/ 453 w 1420"/>
                  <a:gd name="T75" fmla="*/ 976 h 1169"/>
                  <a:gd name="T76" fmla="*/ 459 w 1420"/>
                  <a:gd name="T77" fmla="*/ 943 h 1169"/>
                  <a:gd name="T78" fmla="*/ 451 w 1420"/>
                  <a:gd name="T79" fmla="*/ 906 h 1169"/>
                  <a:gd name="T80" fmla="*/ 427 w 1420"/>
                  <a:gd name="T81" fmla="*/ 897 h 1169"/>
                  <a:gd name="T82" fmla="*/ 396 w 1420"/>
                  <a:gd name="T83" fmla="*/ 895 h 1169"/>
                  <a:gd name="T84" fmla="*/ 375 w 1420"/>
                  <a:gd name="T85" fmla="*/ 884 h 1169"/>
                  <a:gd name="T86" fmla="*/ 334 w 1420"/>
                  <a:gd name="T87" fmla="*/ 900 h 1169"/>
                  <a:gd name="T88" fmla="*/ 300 w 1420"/>
                  <a:gd name="T89" fmla="*/ 898 h 1169"/>
                  <a:gd name="T90" fmla="*/ 296 w 1420"/>
                  <a:gd name="T91" fmla="*/ 856 h 1169"/>
                  <a:gd name="T92" fmla="*/ 251 w 1420"/>
                  <a:gd name="T93" fmla="*/ 818 h 1169"/>
                  <a:gd name="T94" fmla="*/ 213 w 1420"/>
                  <a:gd name="T95" fmla="*/ 721 h 1169"/>
                  <a:gd name="T96" fmla="*/ 207 w 1420"/>
                  <a:gd name="T97" fmla="*/ 688 h 1169"/>
                  <a:gd name="T98" fmla="*/ 201 w 1420"/>
                  <a:gd name="T99" fmla="*/ 643 h 1169"/>
                  <a:gd name="T100" fmla="*/ 213 w 1420"/>
                  <a:gd name="T101" fmla="*/ 613 h 1169"/>
                  <a:gd name="T102" fmla="*/ 220 w 1420"/>
                  <a:gd name="T103" fmla="*/ 588 h 1169"/>
                  <a:gd name="T104" fmla="*/ 201 w 1420"/>
                  <a:gd name="T105" fmla="*/ 563 h 1169"/>
                  <a:gd name="T106" fmla="*/ 180 w 1420"/>
                  <a:gd name="T107" fmla="*/ 539 h 1169"/>
                  <a:gd name="T108" fmla="*/ 145 w 1420"/>
                  <a:gd name="T109" fmla="*/ 539 h 1169"/>
                  <a:gd name="T110" fmla="*/ 107 w 1420"/>
                  <a:gd name="T111" fmla="*/ 499 h 1169"/>
                  <a:gd name="T112" fmla="*/ 82 w 1420"/>
                  <a:gd name="T113" fmla="*/ 499 h 1169"/>
                  <a:gd name="T114" fmla="*/ 79 w 1420"/>
                  <a:gd name="T115" fmla="*/ 475 h 1169"/>
                  <a:gd name="T116" fmla="*/ 63 w 1420"/>
                  <a:gd name="T117" fmla="*/ 450 h 1169"/>
                  <a:gd name="T118" fmla="*/ 4 w 1420"/>
                  <a:gd name="T119" fmla="*/ 428 h 1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20" h="1169">
                    <a:moveTo>
                      <a:pt x="1259" y="0"/>
                    </a:moveTo>
                    <a:lnTo>
                      <a:pt x="1260" y="3"/>
                    </a:lnTo>
                    <a:lnTo>
                      <a:pt x="1262" y="5"/>
                    </a:lnTo>
                    <a:lnTo>
                      <a:pt x="1267" y="3"/>
                    </a:lnTo>
                    <a:lnTo>
                      <a:pt x="1270" y="3"/>
                    </a:lnTo>
                    <a:lnTo>
                      <a:pt x="1276" y="10"/>
                    </a:lnTo>
                    <a:lnTo>
                      <a:pt x="1281" y="14"/>
                    </a:lnTo>
                    <a:lnTo>
                      <a:pt x="1283" y="19"/>
                    </a:lnTo>
                    <a:lnTo>
                      <a:pt x="1286" y="27"/>
                    </a:lnTo>
                    <a:lnTo>
                      <a:pt x="1284" y="33"/>
                    </a:lnTo>
                    <a:lnTo>
                      <a:pt x="1283" y="40"/>
                    </a:lnTo>
                    <a:lnTo>
                      <a:pt x="1281" y="46"/>
                    </a:lnTo>
                    <a:lnTo>
                      <a:pt x="1284" y="51"/>
                    </a:lnTo>
                    <a:lnTo>
                      <a:pt x="1289" y="54"/>
                    </a:lnTo>
                    <a:lnTo>
                      <a:pt x="1295" y="59"/>
                    </a:lnTo>
                    <a:lnTo>
                      <a:pt x="1298" y="62"/>
                    </a:lnTo>
                    <a:lnTo>
                      <a:pt x="1300" y="65"/>
                    </a:lnTo>
                    <a:lnTo>
                      <a:pt x="1298" y="65"/>
                    </a:lnTo>
                    <a:lnTo>
                      <a:pt x="1292" y="70"/>
                    </a:lnTo>
                    <a:lnTo>
                      <a:pt x="1289" y="73"/>
                    </a:lnTo>
                    <a:lnTo>
                      <a:pt x="1289" y="79"/>
                    </a:lnTo>
                    <a:lnTo>
                      <a:pt x="1289" y="86"/>
                    </a:lnTo>
                    <a:lnTo>
                      <a:pt x="1291" y="94"/>
                    </a:lnTo>
                    <a:lnTo>
                      <a:pt x="1289" y="102"/>
                    </a:lnTo>
                    <a:lnTo>
                      <a:pt x="1287" y="103"/>
                    </a:lnTo>
                    <a:lnTo>
                      <a:pt x="1284" y="102"/>
                    </a:lnTo>
                    <a:lnTo>
                      <a:pt x="1281" y="95"/>
                    </a:lnTo>
                    <a:lnTo>
                      <a:pt x="1278" y="92"/>
                    </a:lnTo>
                    <a:lnTo>
                      <a:pt x="1276" y="90"/>
                    </a:lnTo>
                    <a:lnTo>
                      <a:pt x="1275" y="87"/>
                    </a:lnTo>
                    <a:lnTo>
                      <a:pt x="1273" y="81"/>
                    </a:lnTo>
                    <a:lnTo>
                      <a:pt x="1270" y="73"/>
                    </a:lnTo>
                    <a:lnTo>
                      <a:pt x="1267" y="63"/>
                    </a:lnTo>
                    <a:lnTo>
                      <a:pt x="1265" y="56"/>
                    </a:lnTo>
                    <a:lnTo>
                      <a:pt x="1264" y="54"/>
                    </a:lnTo>
                    <a:lnTo>
                      <a:pt x="1259" y="52"/>
                    </a:lnTo>
                    <a:lnTo>
                      <a:pt x="1254" y="51"/>
                    </a:lnTo>
                    <a:lnTo>
                      <a:pt x="1251" y="52"/>
                    </a:lnTo>
                    <a:lnTo>
                      <a:pt x="1248" y="57"/>
                    </a:lnTo>
                    <a:lnTo>
                      <a:pt x="1249" y="63"/>
                    </a:lnTo>
                    <a:lnTo>
                      <a:pt x="1251" y="67"/>
                    </a:lnTo>
                    <a:lnTo>
                      <a:pt x="1256" y="73"/>
                    </a:lnTo>
                    <a:lnTo>
                      <a:pt x="1260" y="79"/>
                    </a:lnTo>
                    <a:lnTo>
                      <a:pt x="1262" y="84"/>
                    </a:lnTo>
                    <a:lnTo>
                      <a:pt x="1262" y="87"/>
                    </a:lnTo>
                    <a:lnTo>
                      <a:pt x="1262" y="92"/>
                    </a:lnTo>
                    <a:lnTo>
                      <a:pt x="1260" y="97"/>
                    </a:lnTo>
                    <a:lnTo>
                      <a:pt x="1260" y="98"/>
                    </a:lnTo>
                    <a:lnTo>
                      <a:pt x="1264" y="103"/>
                    </a:lnTo>
                    <a:lnTo>
                      <a:pt x="1267" y="106"/>
                    </a:lnTo>
                    <a:lnTo>
                      <a:pt x="1272" y="109"/>
                    </a:lnTo>
                    <a:lnTo>
                      <a:pt x="1270" y="113"/>
                    </a:lnTo>
                    <a:lnTo>
                      <a:pt x="1268" y="117"/>
                    </a:lnTo>
                    <a:lnTo>
                      <a:pt x="1273" y="119"/>
                    </a:lnTo>
                    <a:lnTo>
                      <a:pt x="1273" y="121"/>
                    </a:lnTo>
                    <a:lnTo>
                      <a:pt x="1273" y="122"/>
                    </a:lnTo>
                    <a:lnTo>
                      <a:pt x="1268" y="125"/>
                    </a:lnTo>
                    <a:lnTo>
                      <a:pt x="1268" y="127"/>
                    </a:lnTo>
                    <a:lnTo>
                      <a:pt x="1270" y="127"/>
                    </a:lnTo>
                    <a:lnTo>
                      <a:pt x="1265" y="132"/>
                    </a:lnTo>
                    <a:lnTo>
                      <a:pt x="1264" y="136"/>
                    </a:lnTo>
                    <a:lnTo>
                      <a:pt x="1262" y="141"/>
                    </a:lnTo>
                    <a:lnTo>
                      <a:pt x="1262" y="147"/>
                    </a:lnTo>
                    <a:lnTo>
                      <a:pt x="1259" y="152"/>
                    </a:lnTo>
                    <a:lnTo>
                      <a:pt x="1256" y="157"/>
                    </a:lnTo>
                    <a:lnTo>
                      <a:pt x="1254" y="163"/>
                    </a:lnTo>
                    <a:lnTo>
                      <a:pt x="1251" y="166"/>
                    </a:lnTo>
                    <a:lnTo>
                      <a:pt x="1246" y="170"/>
                    </a:lnTo>
                    <a:lnTo>
                      <a:pt x="1245" y="171"/>
                    </a:lnTo>
                    <a:lnTo>
                      <a:pt x="1240" y="173"/>
                    </a:lnTo>
                    <a:lnTo>
                      <a:pt x="1237" y="179"/>
                    </a:lnTo>
                    <a:lnTo>
                      <a:pt x="1237" y="184"/>
                    </a:lnTo>
                    <a:lnTo>
                      <a:pt x="1233" y="189"/>
                    </a:lnTo>
                    <a:lnTo>
                      <a:pt x="1227" y="193"/>
                    </a:lnTo>
                    <a:lnTo>
                      <a:pt x="1221" y="200"/>
                    </a:lnTo>
                    <a:lnTo>
                      <a:pt x="1219" y="206"/>
                    </a:lnTo>
                    <a:lnTo>
                      <a:pt x="1218" y="211"/>
                    </a:lnTo>
                    <a:lnTo>
                      <a:pt x="1214" y="217"/>
                    </a:lnTo>
                    <a:lnTo>
                      <a:pt x="1211" y="222"/>
                    </a:lnTo>
                    <a:lnTo>
                      <a:pt x="1210" y="228"/>
                    </a:lnTo>
                    <a:lnTo>
                      <a:pt x="1213" y="233"/>
                    </a:lnTo>
                    <a:lnTo>
                      <a:pt x="1213" y="239"/>
                    </a:lnTo>
                    <a:lnTo>
                      <a:pt x="1210" y="244"/>
                    </a:lnTo>
                    <a:lnTo>
                      <a:pt x="1208" y="247"/>
                    </a:lnTo>
                    <a:lnTo>
                      <a:pt x="1207" y="247"/>
                    </a:lnTo>
                    <a:lnTo>
                      <a:pt x="1207" y="252"/>
                    </a:lnTo>
                    <a:lnTo>
                      <a:pt x="1213" y="255"/>
                    </a:lnTo>
                    <a:lnTo>
                      <a:pt x="1214" y="260"/>
                    </a:lnTo>
                    <a:lnTo>
                      <a:pt x="1216" y="265"/>
                    </a:lnTo>
                    <a:lnTo>
                      <a:pt x="1214" y="271"/>
                    </a:lnTo>
                    <a:lnTo>
                      <a:pt x="1211" y="274"/>
                    </a:lnTo>
                    <a:lnTo>
                      <a:pt x="1208" y="274"/>
                    </a:lnTo>
                    <a:lnTo>
                      <a:pt x="1205" y="274"/>
                    </a:lnTo>
                    <a:lnTo>
                      <a:pt x="1200" y="276"/>
                    </a:lnTo>
                    <a:lnTo>
                      <a:pt x="1195" y="279"/>
                    </a:lnTo>
                    <a:lnTo>
                      <a:pt x="1191" y="281"/>
                    </a:lnTo>
                    <a:lnTo>
                      <a:pt x="1186" y="287"/>
                    </a:lnTo>
                    <a:lnTo>
                      <a:pt x="1186" y="288"/>
                    </a:lnTo>
                    <a:lnTo>
                      <a:pt x="1184" y="295"/>
                    </a:lnTo>
                    <a:lnTo>
                      <a:pt x="1183" y="300"/>
                    </a:lnTo>
                    <a:lnTo>
                      <a:pt x="1181" y="304"/>
                    </a:lnTo>
                    <a:lnTo>
                      <a:pt x="1176" y="307"/>
                    </a:lnTo>
                    <a:lnTo>
                      <a:pt x="1172" y="311"/>
                    </a:lnTo>
                    <a:lnTo>
                      <a:pt x="1172" y="315"/>
                    </a:lnTo>
                    <a:lnTo>
                      <a:pt x="1172" y="322"/>
                    </a:lnTo>
                    <a:lnTo>
                      <a:pt x="1170" y="328"/>
                    </a:lnTo>
                    <a:lnTo>
                      <a:pt x="1169" y="331"/>
                    </a:lnTo>
                    <a:lnTo>
                      <a:pt x="1162" y="334"/>
                    </a:lnTo>
                    <a:lnTo>
                      <a:pt x="1159" y="338"/>
                    </a:lnTo>
                    <a:lnTo>
                      <a:pt x="1154" y="341"/>
                    </a:lnTo>
                    <a:lnTo>
                      <a:pt x="1148" y="344"/>
                    </a:lnTo>
                    <a:lnTo>
                      <a:pt x="1143" y="346"/>
                    </a:lnTo>
                    <a:lnTo>
                      <a:pt x="1138" y="350"/>
                    </a:lnTo>
                    <a:lnTo>
                      <a:pt x="1132" y="353"/>
                    </a:lnTo>
                    <a:lnTo>
                      <a:pt x="1127" y="357"/>
                    </a:lnTo>
                    <a:lnTo>
                      <a:pt x="1121" y="360"/>
                    </a:lnTo>
                    <a:lnTo>
                      <a:pt x="1119" y="361"/>
                    </a:lnTo>
                    <a:lnTo>
                      <a:pt x="1116" y="365"/>
                    </a:lnTo>
                    <a:lnTo>
                      <a:pt x="1113" y="369"/>
                    </a:lnTo>
                    <a:lnTo>
                      <a:pt x="1113" y="376"/>
                    </a:lnTo>
                    <a:lnTo>
                      <a:pt x="1110" y="385"/>
                    </a:lnTo>
                    <a:lnTo>
                      <a:pt x="1110" y="396"/>
                    </a:lnTo>
                    <a:lnTo>
                      <a:pt x="1108" y="399"/>
                    </a:lnTo>
                    <a:lnTo>
                      <a:pt x="1108" y="403"/>
                    </a:lnTo>
                    <a:lnTo>
                      <a:pt x="1108" y="409"/>
                    </a:lnTo>
                    <a:lnTo>
                      <a:pt x="1112" y="412"/>
                    </a:lnTo>
                    <a:lnTo>
                      <a:pt x="1116" y="415"/>
                    </a:lnTo>
                    <a:lnTo>
                      <a:pt x="1119" y="418"/>
                    </a:lnTo>
                    <a:lnTo>
                      <a:pt x="1123" y="422"/>
                    </a:lnTo>
                    <a:lnTo>
                      <a:pt x="1124" y="426"/>
                    </a:lnTo>
                    <a:lnTo>
                      <a:pt x="1127" y="429"/>
                    </a:lnTo>
                    <a:lnTo>
                      <a:pt x="1129" y="429"/>
                    </a:lnTo>
                    <a:lnTo>
                      <a:pt x="1134" y="428"/>
                    </a:lnTo>
                    <a:lnTo>
                      <a:pt x="1140" y="422"/>
                    </a:lnTo>
                    <a:lnTo>
                      <a:pt x="1146" y="417"/>
                    </a:lnTo>
                    <a:lnTo>
                      <a:pt x="1153" y="417"/>
                    </a:lnTo>
                    <a:lnTo>
                      <a:pt x="1159" y="415"/>
                    </a:lnTo>
                    <a:lnTo>
                      <a:pt x="1161" y="412"/>
                    </a:lnTo>
                    <a:lnTo>
                      <a:pt x="1162" y="409"/>
                    </a:lnTo>
                    <a:lnTo>
                      <a:pt x="1164" y="404"/>
                    </a:lnTo>
                    <a:lnTo>
                      <a:pt x="1170" y="396"/>
                    </a:lnTo>
                    <a:lnTo>
                      <a:pt x="1175" y="390"/>
                    </a:lnTo>
                    <a:lnTo>
                      <a:pt x="1180" y="385"/>
                    </a:lnTo>
                    <a:lnTo>
                      <a:pt x="1181" y="379"/>
                    </a:lnTo>
                    <a:lnTo>
                      <a:pt x="1184" y="374"/>
                    </a:lnTo>
                    <a:lnTo>
                      <a:pt x="1191" y="372"/>
                    </a:lnTo>
                    <a:lnTo>
                      <a:pt x="1194" y="379"/>
                    </a:lnTo>
                    <a:lnTo>
                      <a:pt x="1200" y="384"/>
                    </a:lnTo>
                    <a:lnTo>
                      <a:pt x="1207" y="385"/>
                    </a:lnTo>
                    <a:lnTo>
                      <a:pt x="1213" y="385"/>
                    </a:lnTo>
                    <a:lnTo>
                      <a:pt x="1219" y="385"/>
                    </a:lnTo>
                    <a:lnTo>
                      <a:pt x="1221" y="384"/>
                    </a:lnTo>
                    <a:lnTo>
                      <a:pt x="1224" y="387"/>
                    </a:lnTo>
                    <a:lnTo>
                      <a:pt x="1226" y="391"/>
                    </a:lnTo>
                    <a:lnTo>
                      <a:pt x="1230" y="395"/>
                    </a:lnTo>
                    <a:lnTo>
                      <a:pt x="1238" y="396"/>
                    </a:lnTo>
                    <a:lnTo>
                      <a:pt x="1245" y="395"/>
                    </a:lnTo>
                    <a:lnTo>
                      <a:pt x="1249" y="395"/>
                    </a:lnTo>
                    <a:lnTo>
                      <a:pt x="1256" y="388"/>
                    </a:lnTo>
                    <a:lnTo>
                      <a:pt x="1260" y="384"/>
                    </a:lnTo>
                    <a:lnTo>
                      <a:pt x="1268" y="385"/>
                    </a:lnTo>
                    <a:lnTo>
                      <a:pt x="1275" y="388"/>
                    </a:lnTo>
                    <a:lnTo>
                      <a:pt x="1278" y="393"/>
                    </a:lnTo>
                    <a:lnTo>
                      <a:pt x="1278" y="398"/>
                    </a:lnTo>
                    <a:lnTo>
                      <a:pt x="1276" y="403"/>
                    </a:lnTo>
                    <a:lnTo>
                      <a:pt x="1281" y="403"/>
                    </a:lnTo>
                    <a:lnTo>
                      <a:pt x="1286" y="404"/>
                    </a:lnTo>
                    <a:lnTo>
                      <a:pt x="1289" y="407"/>
                    </a:lnTo>
                    <a:lnTo>
                      <a:pt x="1291" y="410"/>
                    </a:lnTo>
                    <a:lnTo>
                      <a:pt x="1289" y="412"/>
                    </a:lnTo>
                    <a:lnTo>
                      <a:pt x="1287" y="417"/>
                    </a:lnTo>
                    <a:lnTo>
                      <a:pt x="1287" y="420"/>
                    </a:lnTo>
                    <a:lnTo>
                      <a:pt x="1292" y="422"/>
                    </a:lnTo>
                    <a:lnTo>
                      <a:pt x="1294" y="417"/>
                    </a:lnTo>
                    <a:lnTo>
                      <a:pt x="1297" y="417"/>
                    </a:lnTo>
                    <a:lnTo>
                      <a:pt x="1298" y="423"/>
                    </a:lnTo>
                    <a:lnTo>
                      <a:pt x="1298" y="429"/>
                    </a:lnTo>
                    <a:lnTo>
                      <a:pt x="1295" y="429"/>
                    </a:lnTo>
                    <a:lnTo>
                      <a:pt x="1294" y="434"/>
                    </a:lnTo>
                    <a:lnTo>
                      <a:pt x="1295" y="437"/>
                    </a:lnTo>
                    <a:lnTo>
                      <a:pt x="1295" y="442"/>
                    </a:lnTo>
                    <a:lnTo>
                      <a:pt x="1295" y="445"/>
                    </a:lnTo>
                    <a:lnTo>
                      <a:pt x="1295" y="450"/>
                    </a:lnTo>
                    <a:lnTo>
                      <a:pt x="1295" y="455"/>
                    </a:lnTo>
                    <a:lnTo>
                      <a:pt x="1298" y="458"/>
                    </a:lnTo>
                    <a:lnTo>
                      <a:pt x="1298" y="461"/>
                    </a:lnTo>
                    <a:lnTo>
                      <a:pt x="1294" y="466"/>
                    </a:lnTo>
                    <a:lnTo>
                      <a:pt x="1291" y="468"/>
                    </a:lnTo>
                    <a:lnTo>
                      <a:pt x="1286" y="469"/>
                    </a:lnTo>
                    <a:lnTo>
                      <a:pt x="1284" y="471"/>
                    </a:lnTo>
                    <a:lnTo>
                      <a:pt x="1281" y="472"/>
                    </a:lnTo>
                    <a:lnTo>
                      <a:pt x="1279" y="474"/>
                    </a:lnTo>
                    <a:lnTo>
                      <a:pt x="1276" y="475"/>
                    </a:lnTo>
                    <a:lnTo>
                      <a:pt x="1276" y="480"/>
                    </a:lnTo>
                    <a:lnTo>
                      <a:pt x="1276" y="483"/>
                    </a:lnTo>
                    <a:lnTo>
                      <a:pt x="1276" y="488"/>
                    </a:lnTo>
                    <a:lnTo>
                      <a:pt x="1278" y="488"/>
                    </a:lnTo>
                    <a:lnTo>
                      <a:pt x="1283" y="488"/>
                    </a:lnTo>
                    <a:lnTo>
                      <a:pt x="1286" y="491"/>
                    </a:lnTo>
                    <a:lnTo>
                      <a:pt x="1289" y="494"/>
                    </a:lnTo>
                    <a:lnTo>
                      <a:pt x="1291" y="496"/>
                    </a:lnTo>
                    <a:lnTo>
                      <a:pt x="1297" y="496"/>
                    </a:lnTo>
                    <a:lnTo>
                      <a:pt x="1300" y="499"/>
                    </a:lnTo>
                    <a:lnTo>
                      <a:pt x="1303" y="506"/>
                    </a:lnTo>
                    <a:lnTo>
                      <a:pt x="1306" y="509"/>
                    </a:lnTo>
                    <a:lnTo>
                      <a:pt x="1311" y="510"/>
                    </a:lnTo>
                    <a:lnTo>
                      <a:pt x="1317" y="509"/>
                    </a:lnTo>
                    <a:lnTo>
                      <a:pt x="1327" y="509"/>
                    </a:lnTo>
                    <a:lnTo>
                      <a:pt x="1329" y="507"/>
                    </a:lnTo>
                    <a:lnTo>
                      <a:pt x="1333" y="512"/>
                    </a:lnTo>
                    <a:lnTo>
                      <a:pt x="1335" y="515"/>
                    </a:lnTo>
                    <a:lnTo>
                      <a:pt x="1340" y="518"/>
                    </a:lnTo>
                    <a:lnTo>
                      <a:pt x="1346" y="518"/>
                    </a:lnTo>
                    <a:lnTo>
                      <a:pt x="1354" y="518"/>
                    </a:lnTo>
                    <a:lnTo>
                      <a:pt x="1359" y="521"/>
                    </a:lnTo>
                    <a:lnTo>
                      <a:pt x="1362" y="521"/>
                    </a:lnTo>
                    <a:lnTo>
                      <a:pt x="1363" y="521"/>
                    </a:lnTo>
                    <a:lnTo>
                      <a:pt x="1368" y="525"/>
                    </a:lnTo>
                    <a:lnTo>
                      <a:pt x="1367" y="526"/>
                    </a:lnTo>
                    <a:lnTo>
                      <a:pt x="1367" y="529"/>
                    </a:lnTo>
                    <a:lnTo>
                      <a:pt x="1365" y="536"/>
                    </a:lnTo>
                    <a:lnTo>
                      <a:pt x="1370" y="537"/>
                    </a:lnTo>
                    <a:lnTo>
                      <a:pt x="1378" y="537"/>
                    </a:lnTo>
                    <a:lnTo>
                      <a:pt x="1386" y="536"/>
                    </a:lnTo>
                    <a:lnTo>
                      <a:pt x="1392" y="534"/>
                    </a:lnTo>
                    <a:lnTo>
                      <a:pt x="1400" y="536"/>
                    </a:lnTo>
                    <a:lnTo>
                      <a:pt x="1401" y="539"/>
                    </a:lnTo>
                    <a:lnTo>
                      <a:pt x="1398" y="542"/>
                    </a:lnTo>
                    <a:lnTo>
                      <a:pt x="1397" y="547"/>
                    </a:lnTo>
                    <a:lnTo>
                      <a:pt x="1398" y="550"/>
                    </a:lnTo>
                    <a:lnTo>
                      <a:pt x="1403" y="551"/>
                    </a:lnTo>
                    <a:lnTo>
                      <a:pt x="1406" y="553"/>
                    </a:lnTo>
                    <a:lnTo>
                      <a:pt x="1408" y="555"/>
                    </a:lnTo>
                    <a:lnTo>
                      <a:pt x="1411" y="561"/>
                    </a:lnTo>
                    <a:lnTo>
                      <a:pt x="1409" y="569"/>
                    </a:lnTo>
                    <a:lnTo>
                      <a:pt x="1409" y="575"/>
                    </a:lnTo>
                    <a:lnTo>
                      <a:pt x="1411" y="580"/>
                    </a:lnTo>
                    <a:lnTo>
                      <a:pt x="1414" y="585"/>
                    </a:lnTo>
                    <a:lnTo>
                      <a:pt x="1414" y="591"/>
                    </a:lnTo>
                    <a:lnTo>
                      <a:pt x="1416" y="597"/>
                    </a:lnTo>
                    <a:lnTo>
                      <a:pt x="1417" y="602"/>
                    </a:lnTo>
                    <a:lnTo>
                      <a:pt x="1419" y="609"/>
                    </a:lnTo>
                    <a:lnTo>
                      <a:pt x="1419" y="613"/>
                    </a:lnTo>
                    <a:lnTo>
                      <a:pt x="1419" y="615"/>
                    </a:lnTo>
                    <a:lnTo>
                      <a:pt x="1419" y="620"/>
                    </a:lnTo>
                    <a:lnTo>
                      <a:pt x="1417" y="626"/>
                    </a:lnTo>
                    <a:lnTo>
                      <a:pt x="1414" y="629"/>
                    </a:lnTo>
                    <a:lnTo>
                      <a:pt x="1409" y="634"/>
                    </a:lnTo>
                    <a:lnTo>
                      <a:pt x="1408" y="640"/>
                    </a:lnTo>
                    <a:lnTo>
                      <a:pt x="1409" y="645"/>
                    </a:lnTo>
                    <a:lnTo>
                      <a:pt x="1411" y="650"/>
                    </a:lnTo>
                    <a:lnTo>
                      <a:pt x="1412" y="654"/>
                    </a:lnTo>
                    <a:lnTo>
                      <a:pt x="1416" y="661"/>
                    </a:lnTo>
                    <a:lnTo>
                      <a:pt x="1420" y="664"/>
                    </a:lnTo>
                    <a:lnTo>
                      <a:pt x="1420" y="667"/>
                    </a:lnTo>
                    <a:lnTo>
                      <a:pt x="1412" y="667"/>
                    </a:lnTo>
                    <a:lnTo>
                      <a:pt x="1406" y="669"/>
                    </a:lnTo>
                    <a:lnTo>
                      <a:pt x="1398" y="670"/>
                    </a:lnTo>
                    <a:lnTo>
                      <a:pt x="1392" y="674"/>
                    </a:lnTo>
                    <a:lnTo>
                      <a:pt x="1386" y="672"/>
                    </a:lnTo>
                    <a:lnTo>
                      <a:pt x="1379" y="670"/>
                    </a:lnTo>
                    <a:lnTo>
                      <a:pt x="1371" y="667"/>
                    </a:lnTo>
                    <a:lnTo>
                      <a:pt x="1368" y="661"/>
                    </a:lnTo>
                    <a:lnTo>
                      <a:pt x="1365" y="658"/>
                    </a:lnTo>
                    <a:lnTo>
                      <a:pt x="1363" y="654"/>
                    </a:lnTo>
                    <a:lnTo>
                      <a:pt x="1360" y="648"/>
                    </a:lnTo>
                    <a:lnTo>
                      <a:pt x="1359" y="647"/>
                    </a:lnTo>
                    <a:lnTo>
                      <a:pt x="1352" y="637"/>
                    </a:lnTo>
                    <a:lnTo>
                      <a:pt x="1349" y="629"/>
                    </a:lnTo>
                    <a:lnTo>
                      <a:pt x="1346" y="624"/>
                    </a:lnTo>
                    <a:lnTo>
                      <a:pt x="1340" y="620"/>
                    </a:lnTo>
                    <a:lnTo>
                      <a:pt x="1333" y="613"/>
                    </a:lnTo>
                    <a:lnTo>
                      <a:pt x="1327" y="609"/>
                    </a:lnTo>
                    <a:lnTo>
                      <a:pt x="1322" y="604"/>
                    </a:lnTo>
                    <a:lnTo>
                      <a:pt x="1319" y="599"/>
                    </a:lnTo>
                    <a:lnTo>
                      <a:pt x="1316" y="596"/>
                    </a:lnTo>
                    <a:lnTo>
                      <a:pt x="1314" y="596"/>
                    </a:lnTo>
                    <a:lnTo>
                      <a:pt x="1313" y="594"/>
                    </a:lnTo>
                    <a:lnTo>
                      <a:pt x="1311" y="593"/>
                    </a:lnTo>
                    <a:lnTo>
                      <a:pt x="1306" y="594"/>
                    </a:lnTo>
                    <a:lnTo>
                      <a:pt x="1300" y="597"/>
                    </a:lnTo>
                    <a:lnTo>
                      <a:pt x="1297" y="599"/>
                    </a:lnTo>
                    <a:lnTo>
                      <a:pt x="1294" y="596"/>
                    </a:lnTo>
                    <a:lnTo>
                      <a:pt x="1292" y="594"/>
                    </a:lnTo>
                    <a:lnTo>
                      <a:pt x="1286" y="594"/>
                    </a:lnTo>
                    <a:lnTo>
                      <a:pt x="1284" y="591"/>
                    </a:lnTo>
                    <a:lnTo>
                      <a:pt x="1281" y="590"/>
                    </a:lnTo>
                    <a:lnTo>
                      <a:pt x="1279" y="590"/>
                    </a:lnTo>
                    <a:lnTo>
                      <a:pt x="1273" y="591"/>
                    </a:lnTo>
                    <a:lnTo>
                      <a:pt x="1267" y="590"/>
                    </a:lnTo>
                    <a:lnTo>
                      <a:pt x="1260" y="585"/>
                    </a:lnTo>
                    <a:lnTo>
                      <a:pt x="1256" y="585"/>
                    </a:lnTo>
                    <a:lnTo>
                      <a:pt x="1248" y="585"/>
                    </a:lnTo>
                    <a:lnTo>
                      <a:pt x="1246" y="585"/>
                    </a:lnTo>
                    <a:lnTo>
                      <a:pt x="1237" y="585"/>
                    </a:lnTo>
                    <a:lnTo>
                      <a:pt x="1229" y="588"/>
                    </a:lnTo>
                    <a:lnTo>
                      <a:pt x="1226" y="590"/>
                    </a:lnTo>
                    <a:lnTo>
                      <a:pt x="1222" y="591"/>
                    </a:lnTo>
                    <a:lnTo>
                      <a:pt x="1219" y="594"/>
                    </a:lnTo>
                    <a:lnTo>
                      <a:pt x="1214" y="601"/>
                    </a:lnTo>
                    <a:lnTo>
                      <a:pt x="1214" y="607"/>
                    </a:lnTo>
                    <a:lnTo>
                      <a:pt x="1214" y="609"/>
                    </a:lnTo>
                    <a:lnTo>
                      <a:pt x="1213" y="610"/>
                    </a:lnTo>
                    <a:lnTo>
                      <a:pt x="1213" y="612"/>
                    </a:lnTo>
                    <a:lnTo>
                      <a:pt x="1214" y="618"/>
                    </a:lnTo>
                    <a:lnTo>
                      <a:pt x="1214" y="624"/>
                    </a:lnTo>
                    <a:lnTo>
                      <a:pt x="1214" y="626"/>
                    </a:lnTo>
                    <a:lnTo>
                      <a:pt x="1214" y="629"/>
                    </a:lnTo>
                    <a:lnTo>
                      <a:pt x="1216" y="635"/>
                    </a:lnTo>
                    <a:lnTo>
                      <a:pt x="1218" y="643"/>
                    </a:lnTo>
                    <a:lnTo>
                      <a:pt x="1218" y="650"/>
                    </a:lnTo>
                    <a:lnTo>
                      <a:pt x="1218" y="654"/>
                    </a:lnTo>
                    <a:lnTo>
                      <a:pt x="1211" y="658"/>
                    </a:lnTo>
                    <a:lnTo>
                      <a:pt x="1205" y="659"/>
                    </a:lnTo>
                    <a:lnTo>
                      <a:pt x="1200" y="666"/>
                    </a:lnTo>
                    <a:lnTo>
                      <a:pt x="1197" y="672"/>
                    </a:lnTo>
                    <a:lnTo>
                      <a:pt x="1195" y="678"/>
                    </a:lnTo>
                    <a:lnTo>
                      <a:pt x="1194" y="683"/>
                    </a:lnTo>
                    <a:lnTo>
                      <a:pt x="1192" y="685"/>
                    </a:lnTo>
                    <a:lnTo>
                      <a:pt x="1189" y="691"/>
                    </a:lnTo>
                    <a:lnTo>
                      <a:pt x="1188" y="693"/>
                    </a:lnTo>
                    <a:lnTo>
                      <a:pt x="1184" y="699"/>
                    </a:lnTo>
                    <a:lnTo>
                      <a:pt x="1183" y="705"/>
                    </a:lnTo>
                    <a:lnTo>
                      <a:pt x="1178" y="707"/>
                    </a:lnTo>
                    <a:lnTo>
                      <a:pt x="1172" y="712"/>
                    </a:lnTo>
                    <a:lnTo>
                      <a:pt x="1170" y="718"/>
                    </a:lnTo>
                    <a:lnTo>
                      <a:pt x="1173" y="721"/>
                    </a:lnTo>
                    <a:lnTo>
                      <a:pt x="1176" y="721"/>
                    </a:lnTo>
                    <a:lnTo>
                      <a:pt x="1180" y="718"/>
                    </a:lnTo>
                    <a:lnTo>
                      <a:pt x="1184" y="721"/>
                    </a:lnTo>
                    <a:lnTo>
                      <a:pt x="1186" y="726"/>
                    </a:lnTo>
                    <a:lnTo>
                      <a:pt x="1189" y="726"/>
                    </a:lnTo>
                    <a:lnTo>
                      <a:pt x="1194" y="727"/>
                    </a:lnTo>
                    <a:lnTo>
                      <a:pt x="1199" y="729"/>
                    </a:lnTo>
                    <a:lnTo>
                      <a:pt x="1203" y="732"/>
                    </a:lnTo>
                    <a:lnTo>
                      <a:pt x="1207" y="737"/>
                    </a:lnTo>
                    <a:lnTo>
                      <a:pt x="1202" y="742"/>
                    </a:lnTo>
                    <a:lnTo>
                      <a:pt x="1195" y="742"/>
                    </a:lnTo>
                    <a:lnTo>
                      <a:pt x="1192" y="745"/>
                    </a:lnTo>
                    <a:lnTo>
                      <a:pt x="1189" y="746"/>
                    </a:lnTo>
                    <a:lnTo>
                      <a:pt x="1186" y="751"/>
                    </a:lnTo>
                    <a:lnTo>
                      <a:pt x="1180" y="753"/>
                    </a:lnTo>
                    <a:lnTo>
                      <a:pt x="1175" y="753"/>
                    </a:lnTo>
                    <a:lnTo>
                      <a:pt x="1169" y="751"/>
                    </a:lnTo>
                    <a:lnTo>
                      <a:pt x="1165" y="754"/>
                    </a:lnTo>
                    <a:lnTo>
                      <a:pt x="1164" y="754"/>
                    </a:lnTo>
                    <a:lnTo>
                      <a:pt x="1161" y="759"/>
                    </a:lnTo>
                    <a:lnTo>
                      <a:pt x="1156" y="761"/>
                    </a:lnTo>
                    <a:lnTo>
                      <a:pt x="1151" y="759"/>
                    </a:lnTo>
                    <a:lnTo>
                      <a:pt x="1148" y="757"/>
                    </a:lnTo>
                    <a:lnTo>
                      <a:pt x="1148" y="756"/>
                    </a:lnTo>
                    <a:lnTo>
                      <a:pt x="1148" y="753"/>
                    </a:lnTo>
                    <a:lnTo>
                      <a:pt x="1151" y="748"/>
                    </a:lnTo>
                    <a:lnTo>
                      <a:pt x="1153" y="745"/>
                    </a:lnTo>
                    <a:lnTo>
                      <a:pt x="1153" y="737"/>
                    </a:lnTo>
                    <a:lnTo>
                      <a:pt x="1150" y="732"/>
                    </a:lnTo>
                    <a:lnTo>
                      <a:pt x="1143" y="731"/>
                    </a:lnTo>
                    <a:lnTo>
                      <a:pt x="1140" y="726"/>
                    </a:lnTo>
                    <a:lnTo>
                      <a:pt x="1138" y="719"/>
                    </a:lnTo>
                    <a:lnTo>
                      <a:pt x="1137" y="718"/>
                    </a:lnTo>
                    <a:lnTo>
                      <a:pt x="1134" y="713"/>
                    </a:lnTo>
                    <a:lnTo>
                      <a:pt x="1131" y="710"/>
                    </a:lnTo>
                    <a:lnTo>
                      <a:pt x="1126" y="708"/>
                    </a:lnTo>
                    <a:lnTo>
                      <a:pt x="1126" y="704"/>
                    </a:lnTo>
                    <a:lnTo>
                      <a:pt x="1124" y="699"/>
                    </a:lnTo>
                    <a:lnTo>
                      <a:pt x="1121" y="694"/>
                    </a:lnTo>
                    <a:lnTo>
                      <a:pt x="1119" y="691"/>
                    </a:lnTo>
                    <a:lnTo>
                      <a:pt x="1118" y="688"/>
                    </a:lnTo>
                    <a:lnTo>
                      <a:pt x="1118" y="685"/>
                    </a:lnTo>
                    <a:lnTo>
                      <a:pt x="1113" y="678"/>
                    </a:lnTo>
                    <a:lnTo>
                      <a:pt x="1115" y="674"/>
                    </a:lnTo>
                    <a:lnTo>
                      <a:pt x="1116" y="666"/>
                    </a:lnTo>
                    <a:lnTo>
                      <a:pt x="1119" y="661"/>
                    </a:lnTo>
                    <a:lnTo>
                      <a:pt x="1124" y="664"/>
                    </a:lnTo>
                    <a:lnTo>
                      <a:pt x="1127" y="667"/>
                    </a:lnTo>
                    <a:lnTo>
                      <a:pt x="1132" y="669"/>
                    </a:lnTo>
                    <a:lnTo>
                      <a:pt x="1137" y="667"/>
                    </a:lnTo>
                    <a:lnTo>
                      <a:pt x="1140" y="664"/>
                    </a:lnTo>
                    <a:lnTo>
                      <a:pt x="1145" y="659"/>
                    </a:lnTo>
                    <a:lnTo>
                      <a:pt x="1148" y="653"/>
                    </a:lnTo>
                    <a:lnTo>
                      <a:pt x="1146" y="647"/>
                    </a:lnTo>
                    <a:lnTo>
                      <a:pt x="1143" y="643"/>
                    </a:lnTo>
                    <a:lnTo>
                      <a:pt x="1140" y="639"/>
                    </a:lnTo>
                    <a:lnTo>
                      <a:pt x="1142" y="635"/>
                    </a:lnTo>
                    <a:lnTo>
                      <a:pt x="1143" y="632"/>
                    </a:lnTo>
                    <a:lnTo>
                      <a:pt x="1143" y="629"/>
                    </a:lnTo>
                    <a:lnTo>
                      <a:pt x="1145" y="624"/>
                    </a:lnTo>
                    <a:lnTo>
                      <a:pt x="1148" y="620"/>
                    </a:lnTo>
                    <a:lnTo>
                      <a:pt x="1150" y="618"/>
                    </a:lnTo>
                    <a:lnTo>
                      <a:pt x="1153" y="616"/>
                    </a:lnTo>
                    <a:lnTo>
                      <a:pt x="1157" y="616"/>
                    </a:lnTo>
                    <a:lnTo>
                      <a:pt x="1162" y="615"/>
                    </a:lnTo>
                    <a:lnTo>
                      <a:pt x="1164" y="615"/>
                    </a:lnTo>
                    <a:lnTo>
                      <a:pt x="1170" y="612"/>
                    </a:lnTo>
                    <a:lnTo>
                      <a:pt x="1175" y="609"/>
                    </a:lnTo>
                    <a:lnTo>
                      <a:pt x="1176" y="604"/>
                    </a:lnTo>
                    <a:lnTo>
                      <a:pt x="1176" y="597"/>
                    </a:lnTo>
                    <a:lnTo>
                      <a:pt x="1176" y="591"/>
                    </a:lnTo>
                    <a:lnTo>
                      <a:pt x="1173" y="585"/>
                    </a:lnTo>
                    <a:lnTo>
                      <a:pt x="1167" y="582"/>
                    </a:lnTo>
                    <a:lnTo>
                      <a:pt x="1165" y="578"/>
                    </a:lnTo>
                    <a:lnTo>
                      <a:pt x="1162" y="577"/>
                    </a:lnTo>
                    <a:lnTo>
                      <a:pt x="1154" y="578"/>
                    </a:lnTo>
                    <a:lnTo>
                      <a:pt x="1153" y="578"/>
                    </a:lnTo>
                    <a:lnTo>
                      <a:pt x="1146" y="580"/>
                    </a:lnTo>
                    <a:lnTo>
                      <a:pt x="1140" y="582"/>
                    </a:lnTo>
                    <a:lnTo>
                      <a:pt x="1135" y="585"/>
                    </a:lnTo>
                    <a:lnTo>
                      <a:pt x="1132" y="580"/>
                    </a:lnTo>
                    <a:lnTo>
                      <a:pt x="1132" y="574"/>
                    </a:lnTo>
                    <a:lnTo>
                      <a:pt x="1134" y="569"/>
                    </a:lnTo>
                    <a:lnTo>
                      <a:pt x="1131" y="566"/>
                    </a:lnTo>
                    <a:lnTo>
                      <a:pt x="1124" y="567"/>
                    </a:lnTo>
                    <a:lnTo>
                      <a:pt x="1119" y="564"/>
                    </a:lnTo>
                    <a:lnTo>
                      <a:pt x="1118" y="561"/>
                    </a:lnTo>
                    <a:lnTo>
                      <a:pt x="1116" y="559"/>
                    </a:lnTo>
                    <a:lnTo>
                      <a:pt x="1112" y="559"/>
                    </a:lnTo>
                    <a:lnTo>
                      <a:pt x="1105" y="558"/>
                    </a:lnTo>
                    <a:lnTo>
                      <a:pt x="1100" y="550"/>
                    </a:lnTo>
                    <a:lnTo>
                      <a:pt x="1094" y="545"/>
                    </a:lnTo>
                    <a:lnTo>
                      <a:pt x="1093" y="545"/>
                    </a:lnTo>
                    <a:lnTo>
                      <a:pt x="1089" y="545"/>
                    </a:lnTo>
                    <a:lnTo>
                      <a:pt x="1086" y="550"/>
                    </a:lnTo>
                    <a:lnTo>
                      <a:pt x="1081" y="553"/>
                    </a:lnTo>
                    <a:lnTo>
                      <a:pt x="1077" y="553"/>
                    </a:lnTo>
                    <a:lnTo>
                      <a:pt x="1070" y="550"/>
                    </a:lnTo>
                    <a:lnTo>
                      <a:pt x="1067" y="545"/>
                    </a:lnTo>
                    <a:lnTo>
                      <a:pt x="1064" y="540"/>
                    </a:lnTo>
                    <a:lnTo>
                      <a:pt x="1059" y="539"/>
                    </a:lnTo>
                    <a:lnTo>
                      <a:pt x="1053" y="544"/>
                    </a:lnTo>
                    <a:lnTo>
                      <a:pt x="1048" y="550"/>
                    </a:lnTo>
                    <a:lnTo>
                      <a:pt x="1045" y="555"/>
                    </a:lnTo>
                    <a:lnTo>
                      <a:pt x="1039" y="561"/>
                    </a:lnTo>
                    <a:lnTo>
                      <a:pt x="1035" y="564"/>
                    </a:lnTo>
                    <a:lnTo>
                      <a:pt x="1034" y="567"/>
                    </a:lnTo>
                    <a:lnTo>
                      <a:pt x="1032" y="574"/>
                    </a:lnTo>
                    <a:lnTo>
                      <a:pt x="1031" y="582"/>
                    </a:lnTo>
                    <a:lnTo>
                      <a:pt x="1031" y="588"/>
                    </a:lnTo>
                    <a:lnTo>
                      <a:pt x="1034" y="593"/>
                    </a:lnTo>
                    <a:lnTo>
                      <a:pt x="1037" y="599"/>
                    </a:lnTo>
                    <a:lnTo>
                      <a:pt x="1043" y="602"/>
                    </a:lnTo>
                    <a:lnTo>
                      <a:pt x="1045" y="610"/>
                    </a:lnTo>
                    <a:lnTo>
                      <a:pt x="1047" y="616"/>
                    </a:lnTo>
                    <a:lnTo>
                      <a:pt x="1047" y="618"/>
                    </a:lnTo>
                    <a:lnTo>
                      <a:pt x="1047" y="624"/>
                    </a:lnTo>
                    <a:lnTo>
                      <a:pt x="1047" y="632"/>
                    </a:lnTo>
                    <a:lnTo>
                      <a:pt x="1043" y="640"/>
                    </a:lnTo>
                    <a:lnTo>
                      <a:pt x="1040" y="648"/>
                    </a:lnTo>
                    <a:lnTo>
                      <a:pt x="1035" y="656"/>
                    </a:lnTo>
                    <a:lnTo>
                      <a:pt x="1029" y="662"/>
                    </a:lnTo>
                    <a:lnTo>
                      <a:pt x="1026" y="669"/>
                    </a:lnTo>
                    <a:lnTo>
                      <a:pt x="1024" y="677"/>
                    </a:lnTo>
                    <a:lnTo>
                      <a:pt x="1024" y="680"/>
                    </a:lnTo>
                    <a:lnTo>
                      <a:pt x="1026" y="685"/>
                    </a:lnTo>
                    <a:lnTo>
                      <a:pt x="1028" y="693"/>
                    </a:lnTo>
                    <a:lnTo>
                      <a:pt x="1029" y="699"/>
                    </a:lnTo>
                    <a:lnTo>
                      <a:pt x="1028" y="705"/>
                    </a:lnTo>
                    <a:lnTo>
                      <a:pt x="1028" y="710"/>
                    </a:lnTo>
                    <a:lnTo>
                      <a:pt x="1029" y="715"/>
                    </a:lnTo>
                    <a:lnTo>
                      <a:pt x="1032" y="715"/>
                    </a:lnTo>
                    <a:lnTo>
                      <a:pt x="1034" y="715"/>
                    </a:lnTo>
                    <a:lnTo>
                      <a:pt x="1035" y="713"/>
                    </a:lnTo>
                    <a:lnTo>
                      <a:pt x="1040" y="710"/>
                    </a:lnTo>
                    <a:lnTo>
                      <a:pt x="1045" y="710"/>
                    </a:lnTo>
                    <a:lnTo>
                      <a:pt x="1048" y="713"/>
                    </a:lnTo>
                    <a:lnTo>
                      <a:pt x="1051" y="716"/>
                    </a:lnTo>
                    <a:lnTo>
                      <a:pt x="1056" y="718"/>
                    </a:lnTo>
                    <a:lnTo>
                      <a:pt x="1059" y="721"/>
                    </a:lnTo>
                    <a:lnTo>
                      <a:pt x="1062" y="724"/>
                    </a:lnTo>
                    <a:lnTo>
                      <a:pt x="1067" y="724"/>
                    </a:lnTo>
                    <a:lnTo>
                      <a:pt x="1074" y="724"/>
                    </a:lnTo>
                    <a:lnTo>
                      <a:pt x="1075" y="724"/>
                    </a:lnTo>
                    <a:lnTo>
                      <a:pt x="1077" y="724"/>
                    </a:lnTo>
                    <a:lnTo>
                      <a:pt x="1081" y="726"/>
                    </a:lnTo>
                    <a:lnTo>
                      <a:pt x="1083" y="734"/>
                    </a:lnTo>
                    <a:lnTo>
                      <a:pt x="1085" y="740"/>
                    </a:lnTo>
                    <a:lnTo>
                      <a:pt x="1085" y="746"/>
                    </a:lnTo>
                    <a:lnTo>
                      <a:pt x="1089" y="751"/>
                    </a:lnTo>
                    <a:lnTo>
                      <a:pt x="1093" y="757"/>
                    </a:lnTo>
                    <a:lnTo>
                      <a:pt x="1093" y="764"/>
                    </a:lnTo>
                    <a:lnTo>
                      <a:pt x="1094" y="770"/>
                    </a:lnTo>
                    <a:lnTo>
                      <a:pt x="1096" y="775"/>
                    </a:lnTo>
                    <a:lnTo>
                      <a:pt x="1102" y="780"/>
                    </a:lnTo>
                    <a:lnTo>
                      <a:pt x="1107" y="781"/>
                    </a:lnTo>
                    <a:lnTo>
                      <a:pt x="1112" y="783"/>
                    </a:lnTo>
                    <a:lnTo>
                      <a:pt x="1116" y="788"/>
                    </a:lnTo>
                    <a:lnTo>
                      <a:pt x="1116" y="794"/>
                    </a:lnTo>
                    <a:lnTo>
                      <a:pt x="1113" y="800"/>
                    </a:lnTo>
                    <a:lnTo>
                      <a:pt x="1112" y="803"/>
                    </a:lnTo>
                    <a:lnTo>
                      <a:pt x="1107" y="807"/>
                    </a:lnTo>
                    <a:lnTo>
                      <a:pt x="1102" y="808"/>
                    </a:lnTo>
                    <a:lnTo>
                      <a:pt x="1097" y="811"/>
                    </a:lnTo>
                    <a:lnTo>
                      <a:pt x="1093" y="815"/>
                    </a:lnTo>
                    <a:lnTo>
                      <a:pt x="1085" y="815"/>
                    </a:lnTo>
                    <a:lnTo>
                      <a:pt x="1080" y="816"/>
                    </a:lnTo>
                    <a:lnTo>
                      <a:pt x="1074" y="818"/>
                    </a:lnTo>
                    <a:lnTo>
                      <a:pt x="1070" y="826"/>
                    </a:lnTo>
                    <a:lnTo>
                      <a:pt x="1072" y="830"/>
                    </a:lnTo>
                    <a:lnTo>
                      <a:pt x="1074" y="834"/>
                    </a:lnTo>
                    <a:lnTo>
                      <a:pt x="1074" y="835"/>
                    </a:lnTo>
                    <a:lnTo>
                      <a:pt x="1074" y="838"/>
                    </a:lnTo>
                    <a:lnTo>
                      <a:pt x="1075" y="848"/>
                    </a:lnTo>
                    <a:lnTo>
                      <a:pt x="1075" y="857"/>
                    </a:lnTo>
                    <a:lnTo>
                      <a:pt x="1075" y="867"/>
                    </a:lnTo>
                    <a:lnTo>
                      <a:pt x="1074" y="873"/>
                    </a:lnTo>
                    <a:lnTo>
                      <a:pt x="1072" y="881"/>
                    </a:lnTo>
                    <a:lnTo>
                      <a:pt x="1067" y="889"/>
                    </a:lnTo>
                    <a:lnTo>
                      <a:pt x="1061" y="895"/>
                    </a:lnTo>
                    <a:lnTo>
                      <a:pt x="1061" y="903"/>
                    </a:lnTo>
                    <a:lnTo>
                      <a:pt x="1061" y="910"/>
                    </a:lnTo>
                    <a:lnTo>
                      <a:pt x="1062" y="916"/>
                    </a:lnTo>
                    <a:lnTo>
                      <a:pt x="1062" y="924"/>
                    </a:lnTo>
                    <a:lnTo>
                      <a:pt x="1062" y="929"/>
                    </a:lnTo>
                    <a:lnTo>
                      <a:pt x="1061" y="933"/>
                    </a:lnTo>
                    <a:lnTo>
                      <a:pt x="1058" y="937"/>
                    </a:lnTo>
                    <a:lnTo>
                      <a:pt x="1056" y="937"/>
                    </a:lnTo>
                    <a:lnTo>
                      <a:pt x="1048" y="937"/>
                    </a:lnTo>
                    <a:lnTo>
                      <a:pt x="1040" y="932"/>
                    </a:lnTo>
                    <a:lnTo>
                      <a:pt x="1035" y="927"/>
                    </a:lnTo>
                    <a:lnTo>
                      <a:pt x="1029" y="925"/>
                    </a:lnTo>
                    <a:lnTo>
                      <a:pt x="1024" y="922"/>
                    </a:lnTo>
                    <a:lnTo>
                      <a:pt x="1016" y="924"/>
                    </a:lnTo>
                    <a:lnTo>
                      <a:pt x="1012" y="919"/>
                    </a:lnTo>
                    <a:lnTo>
                      <a:pt x="1004" y="916"/>
                    </a:lnTo>
                    <a:lnTo>
                      <a:pt x="996" y="914"/>
                    </a:lnTo>
                    <a:lnTo>
                      <a:pt x="990" y="916"/>
                    </a:lnTo>
                    <a:lnTo>
                      <a:pt x="988" y="918"/>
                    </a:lnTo>
                    <a:lnTo>
                      <a:pt x="985" y="922"/>
                    </a:lnTo>
                    <a:lnTo>
                      <a:pt x="982" y="927"/>
                    </a:lnTo>
                    <a:lnTo>
                      <a:pt x="974" y="930"/>
                    </a:lnTo>
                    <a:lnTo>
                      <a:pt x="967" y="932"/>
                    </a:lnTo>
                    <a:lnTo>
                      <a:pt x="967" y="935"/>
                    </a:lnTo>
                    <a:lnTo>
                      <a:pt x="959" y="937"/>
                    </a:lnTo>
                    <a:lnTo>
                      <a:pt x="950" y="940"/>
                    </a:lnTo>
                    <a:lnTo>
                      <a:pt x="942" y="946"/>
                    </a:lnTo>
                    <a:lnTo>
                      <a:pt x="934" y="948"/>
                    </a:lnTo>
                    <a:lnTo>
                      <a:pt x="928" y="952"/>
                    </a:lnTo>
                    <a:lnTo>
                      <a:pt x="920" y="956"/>
                    </a:lnTo>
                    <a:lnTo>
                      <a:pt x="906" y="960"/>
                    </a:lnTo>
                    <a:lnTo>
                      <a:pt x="898" y="959"/>
                    </a:lnTo>
                    <a:lnTo>
                      <a:pt x="891" y="954"/>
                    </a:lnTo>
                    <a:lnTo>
                      <a:pt x="883" y="948"/>
                    </a:lnTo>
                    <a:lnTo>
                      <a:pt x="875" y="948"/>
                    </a:lnTo>
                    <a:lnTo>
                      <a:pt x="868" y="946"/>
                    </a:lnTo>
                    <a:lnTo>
                      <a:pt x="861" y="943"/>
                    </a:lnTo>
                    <a:lnTo>
                      <a:pt x="856" y="943"/>
                    </a:lnTo>
                    <a:lnTo>
                      <a:pt x="852" y="948"/>
                    </a:lnTo>
                    <a:lnTo>
                      <a:pt x="841" y="949"/>
                    </a:lnTo>
                    <a:lnTo>
                      <a:pt x="831" y="951"/>
                    </a:lnTo>
                    <a:lnTo>
                      <a:pt x="823" y="951"/>
                    </a:lnTo>
                    <a:lnTo>
                      <a:pt x="814" y="949"/>
                    </a:lnTo>
                    <a:lnTo>
                      <a:pt x="806" y="948"/>
                    </a:lnTo>
                    <a:lnTo>
                      <a:pt x="799" y="946"/>
                    </a:lnTo>
                    <a:lnTo>
                      <a:pt x="796" y="948"/>
                    </a:lnTo>
                    <a:lnTo>
                      <a:pt x="790" y="951"/>
                    </a:lnTo>
                    <a:lnTo>
                      <a:pt x="785" y="957"/>
                    </a:lnTo>
                    <a:lnTo>
                      <a:pt x="784" y="959"/>
                    </a:lnTo>
                    <a:lnTo>
                      <a:pt x="782" y="965"/>
                    </a:lnTo>
                    <a:lnTo>
                      <a:pt x="776" y="971"/>
                    </a:lnTo>
                    <a:lnTo>
                      <a:pt x="771" y="979"/>
                    </a:lnTo>
                    <a:lnTo>
                      <a:pt x="768" y="989"/>
                    </a:lnTo>
                    <a:lnTo>
                      <a:pt x="768" y="995"/>
                    </a:lnTo>
                    <a:lnTo>
                      <a:pt x="768" y="1000"/>
                    </a:lnTo>
                    <a:lnTo>
                      <a:pt x="766" y="1006"/>
                    </a:lnTo>
                    <a:lnTo>
                      <a:pt x="761" y="1013"/>
                    </a:lnTo>
                    <a:lnTo>
                      <a:pt x="760" y="1016"/>
                    </a:lnTo>
                    <a:lnTo>
                      <a:pt x="760" y="1024"/>
                    </a:lnTo>
                    <a:lnTo>
                      <a:pt x="761" y="1032"/>
                    </a:lnTo>
                    <a:lnTo>
                      <a:pt x="766" y="1036"/>
                    </a:lnTo>
                    <a:lnTo>
                      <a:pt x="769" y="1044"/>
                    </a:lnTo>
                    <a:lnTo>
                      <a:pt x="771" y="1054"/>
                    </a:lnTo>
                    <a:lnTo>
                      <a:pt x="771" y="1066"/>
                    </a:lnTo>
                    <a:lnTo>
                      <a:pt x="765" y="1078"/>
                    </a:lnTo>
                    <a:lnTo>
                      <a:pt x="763" y="1085"/>
                    </a:lnTo>
                    <a:lnTo>
                      <a:pt x="755" y="1095"/>
                    </a:lnTo>
                    <a:lnTo>
                      <a:pt x="752" y="1101"/>
                    </a:lnTo>
                    <a:lnTo>
                      <a:pt x="744" y="1109"/>
                    </a:lnTo>
                    <a:lnTo>
                      <a:pt x="738" y="1117"/>
                    </a:lnTo>
                    <a:lnTo>
                      <a:pt x="733" y="1123"/>
                    </a:lnTo>
                    <a:lnTo>
                      <a:pt x="730" y="1130"/>
                    </a:lnTo>
                    <a:lnTo>
                      <a:pt x="728" y="1131"/>
                    </a:lnTo>
                    <a:lnTo>
                      <a:pt x="728" y="1133"/>
                    </a:lnTo>
                    <a:lnTo>
                      <a:pt x="722" y="1143"/>
                    </a:lnTo>
                    <a:lnTo>
                      <a:pt x="720" y="1147"/>
                    </a:lnTo>
                    <a:lnTo>
                      <a:pt x="719" y="1152"/>
                    </a:lnTo>
                    <a:lnTo>
                      <a:pt x="719" y="1155"/>
                    </a:lnTo>
                    <a:lnTo>
                      <a:pt x="717" y="1158"/>
                    </a:lnTo>
                    <a:lnTo>
                      <a:pt x="716" y="1160"/>
                    </a:lnTo>
                    <a:lnTo>
                      <a:pt x="716" y="1162"/>
                    </a:lnTo>
                    <a:lnTo>
                      <a:pt x="714" y="1168"/>
                    </a:lnTo>
                    <a:lnTo>
                      <a:pt x="714" y="1169"/>
                    </a:lnTo>
                    <a:lnTo>
                      <a:pt x="712" y="1169"/>
                    </a:lnTo>
                    <a:lnTo>
                      <a:pt x="711" y="1169"/>
                    </a:lnTo>
                    <a:lnTo>
                      <a:pt x="709" y="1169"/>
                    </a:lnTo>
                    <a:lnTo>
                      <a:pt x="708" y="1169"/>
                    </a:lnTo>
                    <a:lnTo>
                      <a:pt x="706" y="1169"/>
                    </a:lnTo>
                    <a:lnTo>
                      <a:pt x="704" y="1169"/>
                    </a:lnTo>
                    <a:lnTo>
                      <a:pt x="703" y="1169"/>
                    </a:lnTo>
                    <a:lnTo>
                      <a:pt x="701" y="1169"/>
                    </a:lnTo>
                    <a:lnTo>
                      <a:pt x="700" y="1169"/>
                    </a:lnTo>
                    <a:lnTo>
                      <a:pt x="698" y="1169"/>
                    </a:lnTo>
                    <a:lnTo>
                      <a:pt x="697" y="1168"/>
                    </a:lnTo>
                    <a:lnTo>
                      <a:pt x="697" y="1166"/>
                    </a:lnTo>
                    <a:lnTo>
                      <a:pt x="695" y="1165"/>
                    </a:lnTo>
                    <a:lnTo>
                      <a:pt x="690" y="1165"/>
                    </a:lnTo>
                    <a:lnTo>
                      <a:pt x="685" y="1166"/>
                    </a:lnTo>
                    <a:lnTo>
                      <a:pt x="660" y="1166"/>
                    </a:lnTo>
                    <a:lnTo>
                      <a:pt x="647" y="1163"/>
                    </a:lnTo>
                    <a:lnTo>
                      <a:pt x="635" y="1162"/>
                    </a:lnTo>
                    <a:lnTo>
                      <a:pt x="606" y="1162"/>
                    </a:lnTo>
                    <a:lnTo>
                      <a:pt x="582" y="1162"/>
                    </a:lnTo>
                    <a:lnTo>
                      <a:pt x="563" y="1163"/>
                    </a:lnTo>
                    <a:lnTo>
                      <a:pt x="554" y="1163"/>
                    </a:lnTo>
                    <a:lnTo>
                      <a:pt x="538" y="1165"/>
                    </a:lnTo>
                    <a:lnTo>
                      <a:pt x="540" y="1163"/>
                    </a:lnTo>
                    <a:lnTo>
                      <a:pt x="522" y="1160"/>
                    </a:lnTo>
                    <a:lnTo>
                      <a:pt x="522" y="1155"/>
                    </a:lnTo>
                    <a:lnTo>
                      <a:pt x="514" y="1149"/>
                    </a:lnTo>
                    <a:lnTo>
                      <a:pt x="506" y="1143"/>
                    </a:lnTo>
                    <a:lnTo>
                      <a:pt x="505" y="1141"/>
                    </a:lnTo>
                    <a:lnTo>
                      <a:pt x="502" y="1139"/>
                    </a:lnTo>
                    <a:lnTo>
                      <a:pt x="494" y="1133"/>
                    </a:lnTo>
                    <a:lnTo>
                      <a:pt x="498" y="1130"/>
                    </a:lnTo>
                    <a:lnTo>
                      <a:pt x="500" y="1127"/>
                    </a:lnTo>
                    <a:lnTo>
                      <a:pt x="498" y="1125"/>
                    </a:lnTo>
                    <a:lnTo>
                      <a:pt x="495" y="1123"/>
                    </a:lnTo>
                    <a:lnTo>
                      <a:pt x="492" y="1122"/>
                    </a:lnTo>
                    <a:lnTo>
                      <a:pt x="495" y="1116"/>
                    </a:lnTo>
                    <a:lnTo>
                      <a:pt x="495" y="1114"/>
                    </a:lnTo>
                    <a:lnTo>
                      <a:pt x="489" y="1112"/>
                    </a:lnTo>
                    <a:lnTo>
                      <a:pt x="467" y="1087"/>
                    </a:lnTo>
                    <a:lnTo>
                      <a:pt x="453" y="1071"/>
                    </a:lnTo>
                    <a:lnTo>
                      <a:pt x="453" y="1057"/>
                    </a:lnTo>
                    <a:lnTo>
                      <a:pt x="453" y="1055"/>
                    </a:lnTo>
                    <a:lnTo>
                      <a:pt x="453" y="1046"/>
                    </a:lnTo>
                    <a:lnTo>
                      <a:pt x="453" y="1038"/>
                    </a:lnTo>
                    <a:lnTo>
                      <a:pt x="453" y="1033"/>
                    </a:lnTo>
                    <a:lnTo>
                      <a:pt x="451" y="1032"/>
                    </a:lnTo>
                    <a:lnTo>
                      <a:pt x="453" y="1025"/>
                    </a:lnTo>
                    <a:lnTo>
                      <a:pt x="453" y="1017"/>
                    </a:lnTo>
                    <a:lnTo>
                      <a:pt x="453" y="1013"/>
                    </a:lnTo>
                    <a:lnTo>
                      <a:pt x="453" y="1006"/>
                    </a:lnTo>
                    <a:lnTo>
                      <a:pt x="453" y="1001"/>
                    </a:lnTo>
                    <a:lnTo>
                      <a:pt x="453" y="998"/>
                    </a:lnTo>
                    <a:lnTo>
                      <a:pt x="451" y="981"/>
                    </a:lnTo>
                    <a:lnTo>
                      <a:pt x="453" y="981"/>
                    </a:lnTo>
                    <a:lnTo>
                      <a:pt x="453" y="976"/>
                    </a:lnTo>
                    <a:lnTo>
                      <a:pt x="454" y="973"/>
                    </a:lnTo>
                    <a:lnTo>
                      <a:pt x="456" y="973"/>
                    </a:lnTo>
                    <a:lnTo>
                      <a:pt x="456" y="971"/>
                    </a:lnTo>
                    <a:lnTo>
                      <a:pt x="457" y="970"/>
                    </a:lnTo>
                    <a:lnTo>
                      <a:pt x="459" y="970"/>
                    </a:lnTo>
                    <a:lnTo>
                      <a:pt x="460" y="967"/>
                    </a:lnTo>
                    <a:lnTo>
                      <a:pt x="464" y="963"/>
                    </a:lnTo>
                    <a:lnTo>
                      <a:pt x="464" y="962"/>
                    </a:lnTo>
                    <a:lnTo>
                      <a:pt x="465" y="960"/>
                    </a:lnTo>
                    <a:lnTo>
                      <a:pt x="465" y="957"/>
                    </a:lnTo>
                    <a:lnTo>
                      <a:pt x="467" y="956"/>
                    </a:lnTo>
                    <a:lnTo>
                      <a:pt x="467" y="954"/>
                    </a:lnTo>
                    <a:lnTo>
                      <a:pt x="465" y="951"/>
                    </a:lnTo>
                    <a:lnTo>
                      <a:pt x="464" y="949"/>
                    </a:lnTo>
                    <a:lnTo>
                      <a:pt x="462" y="948"/>
                    </a:lnTo>
                    <a:lnTo>
                      <a:pt x="460" y="946"/>
                    </a:lnTo>
                    <a:lnTo>
                      <a:pt x="459" y="943"/>
                    </a:lnTo>
                    <a:lnTo>
                      <a:pt x="456" y="938"/>
                    </a:lnTo>
                    <a:lnTo>
                      <a:pt x="456" y="935"/>
                    </a:lnTo>
                    <a:lnTo>
                      <a:pt x="456" y="932"/>
                    </a:lnTo>
                    <a:lnTo>
                      <a:pt x="457" y="930"/>
                    </a:lnTo>
                    <a:lnTo>
                      <a:pt x="460" y="925"/>
                    </a:lnTo>
                    <a:lnTo>
                      <a:pt x="462" y="924"/>
                    </a:lnTo>
                    <a:lnTo>
                      <a:pt x="465" y="922"/>
                    </a:lnTo>
                    <a:lnTo>
                      <a:pt x="467" y="918"/>
                    </a:lnTo>
                    <a:lnTo>
                      <a:pt x="465" y="914"/>
                    </a:lnTo>
                    <a:lnTo>
                      <a:pt x="464" y="913"/>
                    </a:lnTo>
                    <a:lnTo>
                      <a:pt x="460" y="911"/>
                    </a:lnTo>
                    <a:lnTo>
                      <a:pt x="459" y="910"/>
                    </a:lnTo>
                    <a:lnTo>
                      <a:pt x="457" y="910"/>
                    </a:lnTo>
                    <a:lnTo>
                      <a:pt x="456" y="910"/>
                    </a:lnTo>
                    <a:lnTo>
                      <a:pt x="454" y="908"/>
                    </a:lnTo>
                    <a:lnTo>
                      <a:pt x="453" y="908"/>
                    </a:lnTo>
                    <a:lnTo>
                      <a:pt x="451" y="906"/>
                    </a:lnTo>
                    <a:lnTo>
                      <a:pt x="445" y="905"/>
                    </a:lnTo>
                    <a:lnTo>
                      <a:pt x="443" y="903"/>
                    </a:lnTo>
                    <a:lnTo>
                      <a:pt x="441" y="903"/>
                    </a:lnTo>
                    <a:lnTo>
                      <a:pt x="440" y="903"/>
                    </a:lnTo>
                    <a:lnTo>
                      <a:pt x="440" y="905"/>
                    </a:lnTo>
                    <a:lnTo>
                      <a:pt x="438" y="903"/>
                    </a:lnTo>
                    <a:lnTo>
                      <a:pt x="437" y="903"/>
                    </a:lnTo>
                    <a:lnTo>
                      <a:pt x="435" y="902"/>
                    </a:lnTo>
                    <a:lnTo>
                      <a:pt x="435" y="898"/>
                    </a:lnTo>
                    <a:lnTo>
                      <a:pt x="434" y="898"/>
                    </a:lnTo>
                    <a:lnTo>
                      <a:pt x="434" y="897"/>
                    </a:lnTo>
                    <a:lnTo>
                      <a:pt x="434" y="898"/>
                    </a:lnTo>
                    <a:lnTo>
                      <a:pt x="432" y="898"/>
                    </a:lnTo>
                    <a:lnTo>
                      <a:pt x="432" y="897"/>
                    </a:lnTo>
                    <a:lnTo>
                      <a:pt x="430" y="897"/>
                    </a:lnTo>
                    <a:lnTo>
                      <a:pt x="429" y="897"/>
                    </a:lnTo>
                    <a:lnTo>
                      <a:pt x="427" y="897"/>
                    </a:lnTo>
                    <a:lnTo>
                      <a:pt x="426" y="897"/>
                    </a:lnTo>
                    <a:lnTo>
                      <a:pt x="426" y="895"/>
                    </a:lnTo>
                    <a:lnTo>
                      <a:pt x="424" y="894"/>
                    </a:lnTo>
                    <a:lnTo>
                      <a:pt x="424" y="892"/>
                    </a:lnTo>
                    <a:lnTo>
                      <a:pt x="422" y="892"/>
                    </a:lnTo>
                    <a:lnTo>
                      <a:pt x="421" y="892"/>
                    </a:lnTo>
                    <a:lnTo>
                      <a:pt x="419" y="892"/>
                    </a:lnTo>
                    <a:lnTo>
                      <a:pt x="416" y="894"/>
                    </a:lnTo>
                    <a:lnTo>
                      <a:pt x="415" y="894"/>
                    </a:lnTo>
                    <a:lnTo>
                      <a:pt x="413" y="892"/>
                    </a:lnTo>
                    <a:lnTo>
                      <a:pt x="411" y="894"/>
                    </a:lnTo>
                    <a:lnTo>
                      <a:pt x="407" y="894"/>
                    </a:lnTo>
                    <a:lnTo>
                      <a:pt x="407" y="892"/>
                    </a:lnTo>
                    <a:lnTo>
                      <a:pt x="405" y="892"/>
                    </a:lnTo>
                    <a:lnTo>
                      <a:pt x="400" y="895"/>
                    </a:lnTo>
                    <a:lnTo>
                      <a:pt x="397" y="895"/>
                    </a:lnTo>
                    <a:lnTo>
                      <a:pt x="396" y="895"/>
                    </a:lnTo>
                    <a:lnTo>
                      <a:pt x="396" y="894"/>
                    </a:lnTo>
                    <a:lnTo>
                      <a:pt x="396" y="889"/>
                    </a:lnTo>
                    <a:lnTo>
                      <a:pt x="394" y="889"/>
                    </a:lnTo>
                    <a:lnTo>
                      <a:pt x="392" y="889"/>
                    </a:lnTo>
                    <a:lnTo>
                      <a:pt x="391" y="889"/>
                    </a:lnTo>
                    <a:lnTo>
                      <a:pt x="389" y="891"/>
                    </a:lnTo>
                    <a:lnTo>
                      <a:pt x="389" y="889"/>
                    </a:lnTo>
                    <a:lnTo>
                      <a:pt x="388" y="887"/>
                    </a:lnTo>
                    <a:lnTo>
                      <a:pt x="386" y="886"/>
                    </a:lnTo>
                    <a:lnTo>
                      <a:pt x="384" y="884"/>
                    </a:lnTo>
                    <a:lnTo>
                      <a:pt x="383" y="884"/>
                    </a:lnTo>
                    <a:lnTo>
                      <a:pt x="381" y="886"/>
                    </a:lnTo>
                    <a:lnTo>
                      <a:pt x="380" y="886"/>
                    </a:lnTo>
                    <a:lnTo>
                      <a:pt x="380" y="887"/>
                    </a:lnTo>
                    <a:lnTo>
                      <a:pt x="378" y="887"/>
                    </a:lnTo>
                    <a:lnTo>
                      <a:pt x="375" y="886"/>
                    </a:lnTo>
                    <a:lnTo>
                      <a:pt x="375" y="884"/>
                    </a:lnTo>
                    <a:lnTo>
                      <a:pt x="373" y="884"/>
                    </a:lnTo>
                    <a:lnTo>
                      <a:pt x="372" y="884"/>
                    </a:lnTo>
                    <a:lnTo>
                      <a:pt x="370" y="884"/>
                    </a:lnTo>
                    <a:lnTo>
                      <a:pt x="369" y="884"/>
                    </a:lnTo>
                    <a:lnTo>
                      <a:pt x="369" y="886"/>
                    </a:lnTo>
                    <a:lnTo>
                      <a:pt x="367" y="884"/>
                    </a:lnTo>
                    <a:lnTo>
                      <a:pt x="365" y="884"/>
                    </a:lnTo>
                    <a:lnTo>
                      <a:pt x="361" y="884"/>
                    </a:lnTo>
                    <a:lnTo>
                      <a:pt x="358" y="886"/>
                    </a:lnTo>
                    <a:lnTo>
                      <a:pt x="351" y="887"/>
                    </a:lnTo>
                    <a:lnTo>
                      <a:pt x="350" y="889"/>
                    </a:lnTo>
                    <a:lnTo>
                      <a:pt x="346" y="892"/>
                    </a:lnTo>
                    <a:lnTo>
                      <a:pt x="345" y="894"/>
                    </a:lnTo>
                    <a:lnTo>
                      <a:pt x="339" y="897"/>
                    </a:lnTo>
                    <a:lnTo>
                      <a:pt x="337" y="898"/>
                    </a:lnTo>
                    <a:lnTo>
                      <a:pt x="335" y="900"/>
                    </a:lnTo>
                    <a:lnTo>
                      <a:pt x="334" y="900"/>
                    </a:lnTo>
                    <a:lnTo>
                      <a:pt x="332" y="902"/>
                    </a:lnTo>
                    <a:lnTo>
                      <a:pt x="331" y="902"/>
                    </a:lnTo>
                    <a:lnTo>
                      <a:pt x="326" y="902"/>
                    </a:lnTo>
                    <a:lnTo>
                      <a:pt x="323" y="902"/>
                    </a:lnTo>
                    <a:lnTo>
                      <a:pt x="323" y="903"/>
                    </a:lnTo>
                    <a:lnTo>
                      <a:pt x="321" y="903"/>
                    </a:lnTo>
                    <a:lnTo>
                      <a:pt x="316" y="908"/>
                    </a:lnTo>
                    <a:lnTo>
                      <a:pt x="315" y="908"/>
                    </a:lnTo>
                    <a:lnTo>
                      <a:pt x="313" y="910"/>
                    </a:lnTo>
                    <a:lnTo>
                      <a:pt x="312" y="910"/>
                    </a:lnTo>
                    <a:lnTo>
                      <a:pt x="308" y="908"/>
                    </a:lnTo>
                    <a:lnTo>
                      <a:pt x="307" y="908"/>
                    </a:lnTo>
                    <a:lnTo>
                      <a:pt x="305" y="908"/>
                    </a:lnTo>
                    <a:lnTo>
                      <a:pt x="304" y="906"/>
                    </a:lnTo>
                    <a:lnTo>
                      <a:pt x="302" y="905"/>
                    </a:lnTo>
                    <a:lnTo>
                      <a:pt x="302" y="903"/>
                    </a:lnTo>
                    <a:lnTo>
                      <a:pt x="300" y="898"/>
                    </a:lnTo>
                    <a:lnTo>
                      <a:pt x="300" y="897"/>
                    </a:lnTo>
                    <a:lnTo>
                      <a:pt x="300" y="884"/>
                    </a:lnTo>
                    <a:lnTo>
                      <a:pt x="300" y="883"/>
                    </a:lnTo>
                    <a:lnTo>
                      <a:pt x="307" y="876"/>
                    </a:lnTo>
                    <a:lnTo>
                      <a:pt x="307" y="875"/>
                    </a:lnTo>
                    <a:lnTo>
                      <a:pt x="307" y="873"/>
                    </a:lnTo>
                    <a:lnTo>
                      <a:pt x="307" y="872"/>
                    </a:lnTo>
                    <a:lnTo>
                      <a:pt x="307" y="870"/>
                    </a:lnTo>
                    <a:lnTo>
                      <a:pt x="307" y="868"/>
                    </a:lnTo>
                    <a:lnTo>
                      <a:pt x="305" y="867"/>
                    </a:lnTo>
                    <a:lnTo>
                      <a:pt x="304" y="865"/>
                    </a:lnTo>
                    <a:lnTo>
                      <a:pt x="304" y="864"/>
                    </a:lnTo>
                    <a:lnTo>
                      <a:pt x="305" y="862"/>
                    </a:lnTo>
                    <a:lnTo>
                      <a:pt x="304" y="860"/>
                    </a:lnTo>
                    <a:lnTo>
                      <a:pt x="304" y="859"/>
                    </a:lnTo>
                    <a:lnTo>
                      <a:pt x="299" y="857"/>
                    </a:lnTo>
                    <a:lnTo>
                      <a:pt x="296" y="856"/>
                    </a:lnTo>
                    <a:lnTo>
                      <a:pt x="296" y="854"/>
                    </a:lnTo>
                    <a:lnTo>
                      <a:pt x="291" y="851"/>
                    </a:lnTo>
                    <a:lnTo>
                      <a:pt x="289" y="851"/>
                    </a:lnTo>
                    <a:lnTo>
                      <a:pt x="286" y="848"/>
                    </a:lnTo>
                    <a:lnTo>
                      <a:pt x="285" y="848"/>
                    </a:lnTo>
                    <a:lnTo>
                      <a:pt x="285" y="846"/>
                    </a:lnTo>
                    <a:lnTo>
                      <a:pt x="281" y="845"/>
                    </a:lnTo>
                    <a:lnTo>
                      <a:pt x="278" y="843"/>
                    </a:lnTo>
                    <a:lnTo>
                      <a:pt x="274" y="840"/>
                    </a:lnTo>
                    <a:lnTo>
                      <a:pt x="272" y="838"/>
                    </a:lnTo>
                    <a:lnTo>
                      <a:pt x="269" y="837"/>
                    </a:lnTo>
                    <a:lnTo>
                      <a:pt x="267" y="835"/>
                    </a:lnTo>
                    <a:lnTo>
                      <a:pt x="261" y="832"/>
                    </a:lnTo>
                    <a:lnTo>
                      <a:pt x="255" y="827"/>
                    </a:lnTo>
                    <a:lnTo>
                      <a:pt x="251" y="824"/>
                    </a:lnTo>
                    <a:lnTo>
                      <a:pt x="251" y="822"/>
                    </a:lnTo>
                    <a:lnTo>
                      <a:pt x="251" y="818"/>
                    </a:lnTo>
                    <a:lnTo>
                      <a:pt x="251" y="803"/>
                    </a:lnTo>
                    <a:lnTo>
                      <a:pt x="245" y="794"/>
                    </a:lnTo>
                    <a:lnTo>
                      <a:pt x="231" y="770"/>
                    </a:lnTo>
                    <a:lnTo>
                      <a:pt x="229" y="769"/>
                    </a:lnTo>
                    <a:lnTo>
                      <a:pt x="228" y="765"/>
                    </a:lnTo>
                    <a:lnTo>
                      <a:pt x="226" y="762"/>
                    </a:lnTo>
                    <a:lnTo>
                      <a:pt x="217" y="748"/>
                    </a:lnTo>
                    <a:lnTo>
                      <a:pt x="215" y="745"/>
                    </a:lnTo>
                    <a:lnTo>
                      <a:pt x="215" y="743"/>
                    </a:lnTo>
                    <a:lnTo>
                      <a:pt x="217" y="738"/>
                    </a:lnTo>
                    <a:lnTo>
                      <a:pt x="215" y="737"/>
                    </a:lnTo>
                    <a:lnTo>
                      <a:pt x="213" y="734"/>
                    </a:lnTo>
                    <a:lnTo>
                      <a:pt x="212" y="731"/>
                    </a:lnTo>
                    <a:lnTo>
                      <a:pt x="212" y="729"/>
                    </a:lnTo>
                    <a:lnTo>
                      <a:pt x="212" y="727"/>
                    </a:lnTo>
                    <a:lnTo>
                      <a:pt x="213" y="724"/>
                    </a:lnTo>
                    <a:lnTo>
                      <a:pt x="213" y="721"/>
                    </a:lnTo>
                    <a:lnTo>
                      <a:pt x="217" y="718"/>
                    </a:lnTo>
                    <a:lnTo>
                      <a:pt x="217" y="716"/>
                    </a:lnTo>
                    <a:lnTo>
                      <a:pt x="217" y="715"/>
                    </a:lnTo>
                    <a:lnTo>
                      <a:pt x="215" y="708"/>
                    </a:lnTo>
                    <a:lnTo>
                      <a:pt x="213" y="707"/>
                    </a:lnTo>
                    <a:lnTo>
                      <a:pt x="213" y="704"/>
                    </a:lnTo>
                    <a:lnTo>
                      <a:pt x="212" y="700"/>
                    </a:lnTo>
                    <a:lnTo>
                      <a:pt x="213" y="700"/>
                    </a:lnTo>
                    <a:lnTo>
                      <a:pt x="213" y="697"/>
                    </a:lnTo>
                    <a:lnTo>
                      <a:pt x="213" y="696"/>
                    </a:lnTo>
                    <a:lnTo>
                      <a:pt x="213" y="694"/>
                    </a:lnTo>
                    <a:lnTo>
                      <a:pt x="213" y="693"/>
                    </a:lnTo>
                    <a:lnTo>
                      <a:pt x="213" y="691"/>
                    </a:lnTo>
                    <a:lnTo>
                      <a:pt x="212" y="691"/>
                    </a:lnTo>
                    <a:lnTo>
                      <a:pt x="210" y="689"/>
                    </a:lnTo>
                    <a:lnTo>
                      <a:pt x="209" y="688"/>
                    </a:lnTo>
                    <a:lnTo>
                      <a:pt x="207" y="688"/>
                    </a:lnTo>
                    <a:lnTo>
                      <a:pt x="205" y="688"/>
                    </a:lnTo>
                    <a:lnTo>
                      <a:pt x="205" y="686"/>
                    </a:lnTo>
                    <a:lnTo>
                      <a:pt x="204" y="683"/>
                    </a:lnTo>
                    <a:lnTo>
                      <a:pt x="204" y="680"/>
                    </a:lnTo>
                    <a:lnTo>
                      <a:pt x="204" y="674"/>
                    </a:lnTo>
                    <a:lnTo>
                      <a:pt x="205" y="666"/>
                    </a:lnTo>
                    <a:lnTo>
                      <a:pt x="205" y="664"/>
                    </a:lnTo>
                    <a:lnTo>
                      <a:pt x="205" y="662"/>
                    </a:lnTo>
                    <a:lnTo>
                      <a:pt x="207" y="661"/>
                    </a:lnTo>
                    <a:lnTo>
                      <a:pt x="207" y="659"/>
                    </a:lnTo>
                    <a:lnTo>
                      <a:pt x="205" y="654"/>
                    </a:lnTo>
                    <a:lnTo>
                      <a:pt x="205" y="653"/>
                    </a:lnTo>
                    <a:lnTo>
                      <a:pt x="204" y="651"/>
                    </a:lnTo>
                    <a:lnTo>
                      <a:pt x="202" y="648"/>
                    </a:lnTo>
                    <a:lnTo>
                      <a:pt x="202" y="647"/>
                    </a:lnTo>
                    <a:lnTo>
                      <a:pt x="202" y="645"/>
                    </a:lnTo>
                    <a:lnTo>
                      <a:pt x="201" y="643"/>
                    </a:lnTo>
                    <a:lnTo>
                      <a:pt x="201" y="642"/>
                    </a:lnTo>
                    <a:lnTo>
                      <a:pt x="201" y="640"/>
                    </a:lnTo>
                    <a:lnTo>
                      <a:pt x="201" y="639"/>
                    </a:lnTo>
                    <a:lnTo>
                      <a:pt x="201" y="635"/>
                    </a:lnTo>
                    <a:lnTo>
                      <a:pt x="201" y="634"/>
                    </a:lnTo>
                    <a:lnTo>
                      <a:pt x="201" y="632"/>
                    </a:lnTo>
                    <a:lnTo>
                      <a:pt x="202" y="631"/>
                    </a:lnTo>
                    <a:lnTo>
                      <a:pt x="204" y="631"/>
                    </a:lnTo>
                    <a:lnTo>
                      <a:pt x="207" y="631"/>
                    </a:lnTo>
                    <a:lnTo>
                      <a:pt x="209" y="629"/>
                    </a:lnTo>
                    <a:lnTo>
                      <a:pt x="210" y="628"/>
                    </a:lnTo>
                    <a:lnTo>
                      <a:pt x="210" y="626"/>
                    </a:lnTo>
                    <a:lnTo>
                      <a:pt x="210" y="623"/>
                    </a:lnTo>
                    <a:lnTo>
                      <a:pt x="210" y="621"/>
                    </a:lnTo>
                    <a:lnTo>
                      <a:pt x="210" y="620"/>
                    </a:lnTo>
                    <a:lnTo>
                      <a:pt x="212" y="616"/>
                    </a:lnTo>
                    <a:lnTo>
                      <a:pt x="213" y="613"/>
                    </a:lnTo>
                    <a:lnTo>
                      <a:pt x="213" y="612"/>
                    </a:lnTo>
                    <a:lnTo>
                      <a:pt x="213" y="610"/>
                    </a:lnTo>
                    <a:lnTo>
                      <a:pt x="212" y="610"/>
                    </a:lnTo>
                    <a:lnTo>
                      <a:pt x="212" y="609"/>
                    </a:lnTo>
                    <a:lnTo>
                      <a:pt x="212" y="605"/>
                    </a:lnTo>
                    <a:lnTo>
                      <a:pt x="212" y="602"/>
                    </a:lnTo>
                    <a:lnTo>
                      <a:pt x="210" y="602"/>
                    </a:lnTo>
                    <a:lnTo>
                      <a:pt x="212" y="601"/>
                    </a:lnTo>
                    <a:lnTo>
                      <a:pt x="212" y="599"/>
                    </a:lnTo>
                    <a:lnTo>
                      <a:pt x="213" y="599"/>
                    </a:lnTo>
                    <a:lnTo>
                      <a:pt x="215" y="597"/>
                    </a:lnTo>
                    <a:lnTo>
                      <a:pt x="217" y="597"/>
                    </a:lnTo>
                    <a:lnTo>
                      <a:pt x="217" y="596"/>
                    </a:lnTo>
                    <a:lnTo>
                      <a:pt x="217" y="594"/>
                    </a:lnTo>
                    <a:lnTo>
                      <a:pt x="218" y="590"/>
                    </a:lnTo>
                    <a:lnTo>
                      <a:pt x="218" y="588"/>
                    </a:lnTo>
                    <a:lnTo>
                      <a:pt x="220" y="588"/>
                    </a:lnTo>
                    <a:lnTo>
                      <a:pt x="220" y="586"/>
                    </a:lnTo>
                    <a:lnTo>
                      <a:pt x="220" y="583"/>
                    </a:lnTo>
                    <a:lnTo>
                      <a:pt x="218" y="582"/>
                    </a:lnTo>
                    <a:lnTo>
                      <a:pt x="218" y="578"/>
                    </a:lnTo>
                    <a:lnTo>
                      <a:pt x="217" y="578"/>
                    </a:lnTo>
                    <a:lnTo>
                      <a:pt x="215" y="575"/>
                    </a:lnTo>
                    <a:lnTo>
                      <a:pt x="213" y="575"/>
                    </a:lnTo>
                    <a:lnTo>
                      <a:pt x="210" y="574"/>
                    </a:lnTo>
                    <a:lnTo>
                      <a:pt x="209" y="572"/>
                    </a:lnTo>
                    <a:lnTo>
                      <a:pt x="209" y="571"/>
                    </a:lnTo>
                    <a:lnTo>
                      <a:pt x="207" y="569"/>
                    </a:lnTo>
                    <a:lnTo>
                      <a:pt x="205" y="567"/>
                    </a:lnTo>
                    <a:lnTo>
                      <a:pt x="204" y="567"/>
                    </a:lnTo>
                    <a:lnTo>
                      <a:pt x="202" y="567"/>
                    </a:lnTo>
                    <a:lnTo>
                      <a:pt x="201" y="566"/>
                    </a:lnTo>
                    <a:lnTo>
                      <a:pt x="201" y="564"/>
                    </a:lnTo>
                    <a:lnTo>
                      <a:pt x="201" y="563"/>
                    </a:lnTo>
                    <a:lnTo>
                      <a:pt x="199" y="559"/>
                    </a:lnTo>
                    <a:lnTo>
                      <a:pt x="198" y="558"/>
                    </a:lnTo>
                    <a:lnTo>
                      <a:pt x="198" y="556"/>
                    </a:lnTo>
                    <a:lnTo>
                      <a:pt x="196" y="555"/>
                    </a:lnTo>
                    <a:lnTo>
                      <a:pt x="196" y="553"/>
                    </a:lnTo>
                    <a:lnTo>
                      <a:pt x="191" y="553"/>
                    </a:lnTo>
                    <a:lnTo>
                      <a:pt x="191" y="551"/>
                    </a:lnTo>
                    <a:lnTo>
                      <a:pt x="188" y="548"/>
                    </a:lnTo>
                    <a:lnTo>
                      <a:pt x="188" y="547"/>
                    </a:lnTo>
                    <a:lnTo>
                      <a:pt x="186" y="547"/>
                    </a:lnTo>
                    <a:lnTo>
                      <a:pt x="183" y="547"/>
                    </a:lnTo>
                    <a:lnTo>
                      <a:pt x="182" y="545"/>
                    </a:lnTo>
                    <a:lnTo>
                      <a:pt x="180" y="544"/>
                    </a:lnTo>
                    <a:lnTo>
                      <a:pt x="182" y="542"/>
                    </a:lnTo>
                    <a:lnTo>
                      <a:pt x="182" y="540"/>
                    </a:lnTo>
                    <a:lnTo>
                      <a:pt x="180" y="540"/>
                    </a:lnTo>
                    <a:lnTo>
                      <a:pt x="180" y="539"/>
                    </a:lnTo>
                    <a:lnTo>
                      <a:pt x="179" y="539"/>
                    </a:lnTo>
                    <a:lnTo>
                      <a:pt x="172" y="537"/>
                    </a:lnTo>
                    <a:lnTo>
                      <a:pt x="171" y="537"/>
                    </a:lnTo>
                    <a:lnTo>
                      <a:pt x="169" y="537"/>
                    </a:lnTo>
                    <a:lnTo>
                      <a:pt x="167" y="539"/>
                    </a:lnTo>
                    <a:lnTo>
                      <a:pt x="164" y="539"/>
                    </a:lnTo>
                    <a:lnTo>
                      <a:pt x="163" y="539"/>
                    </a:lnTo>
                    <a:lnTo>
                      <a:pt x="160" y="539"/>
                    </a:lnTo>
                    <a:lnTo>
                      <a:pt x="158" y="539"/>
                    </a:lnTo>
                    <a:lnTo>
                      <a:pt x="156" y="539"/>
                    </a:lnTo>
                    <a:lnTo>
                      <a:pt x="153" y="542"/>
                    </a:lnTo>
                    <a:lnTo>
                      <a:pt x="152" y="542"/>
                    </a:lnTo>
                    <a:lnTo>
                      <a:pt x="150" y="542"/>
                    </a:lnTo>
                    <a:lnTo>
                      <a:pt x="150" y="540"/>
                    </a:lnTo>
                    <a:lnTo>
                      <a:pt x="148" y="539"/>
                    </a:lnTo>
                    <a:lnTo>
                      <a:pt x="147" y="540"/>
                    </a:lnTo>
                    <a:lnTo>
                      <a:pt x="145" y="539"/>
                    </a:lnTo>
                    <a:lnTo>
                      <a:pt x="144" y="537"/>
                    </a:lnTo>
                    <a:lnTo>
                      <a:pt x="139" y="531"/>
                    </a:lnTo>
                    <a:lnTo>
                      <a:pt x="137" y="528"/>
                    </a:lnTo>
                    <a:lnTo>
                      <a:pt x="134" y="528"/>
                    </a:lnTo>
                    <a:lnTo>
                      <a:pt x="131" y="525"/>
                    </a:lnTo>
                    <a:lnTo>
                      <a:pt x="131" y="523"/>
                    </a:lnTo>
                    <a:lnTo>
                      <a:pt x="129" y="518"/>
                    </a:lnTo>
                    <a:lnTo>
                      <a:pt x="128" y="518"/>
                    </a:lnTo>
                    <a:lnTo>
                      <a:pt x="128" y="517"/>
                    </a:lnTo>
                    <a:lnTo>
                      <a:pt x="129" y="515"/>
                    </a:lnTo>
                    <a:lnTo>
                      <a:pt x="128" y="513"/>
                    </a:lnTo>
                    <a:lnTo>
                      <a:pt x="123" y="512"/>
                    </a:lnTo>
                    <a:lnTo>
                      <a:pt x="118" y="509"/>
                    </a:lnTo>
                    <a:lnTo>
                      <a:pt x="112" y="502"/>
                    </a:lnTo>
                    <a:lnTo>
                      <a:pt x="110" y="501"/>
                    </a:lnTo>
                    <a:lnTo>
                      <a:pt x="109" y="499"/>
                    </a:lnTo>
                    <a:lnTo>
                      <a:pt x="107" y="499"/>
                    </a:lnTo>
                    <a:lnTo>
                      <a:pt x="106" y="499"/>
                    </a:lnTo>
                    <a:lnTo>
                      <a:pt x="104" y="499"/>
                    </a:lnTo>
                    <a:lnTo>
                      <a:pt x="104" y="501"/>
                    </a:lnTo>
                    <a:lnTo>
                      <a:pt x="104" y="502"/>
                    </a:lnTo>
                    <a:lnTo>
                      <a:pt x="102" y="502"/>
                    </a:lnTo>
                    <a:lnTo>
                      <a:pt x="102" y="504"/>
                    </a:lnTo>
                    <a:lnTo>
                      <a:pt x="101" y="504"/>
                    </a:lnTo>
                    <a:lnTo>
                      <a:pt x="101" y="502"/>
                    </a:lnTo>
                    <a:lnTo>
                      <a:pt x="99" y="502"/>
                    </a:lnTo>
                    <a:lnTo>
                      <a:pt x="98" y="502"/>
                    </a:lnTo>
                    <a:lnTo>
                      <a:pt x="96" y="502"/>
                    </a:lnTo>
                    <a:lnTo>
                      <a:pt x="93" y="502"/>
                    </a:lnTo>
                    <a:lnTo>
                      <a:pt x="91" y="502"/>
                    </a:lnTo>
                    <a:lnTo>
                      <a:pt x="88" y="501"/>
                    </a:lnTo>
                    <a:lnTo>
                      <a:pt x="83" y="501"/>
                    </a:lnTo>
                    <a:lnTo>
                      <a:pt x="83" y="499"/>
                    </a:lnTo>
                    <a:lnTo>
                      <a:pt x="82" y="499"/>
                    </a:lnTo>
                    <a:lnTo>
                      <a:pt x="80" y="496"/>
                    </a:lnTo>
                    <a:lnTo>
                      <a:pt x="79" y="498"/>
                    </a:lnTo>
                    <a:lnTo>
                      <a:pt x="77" y="496"/>
                    </a:lnTo>
                    <a:lnTo>
                      <a:pt x="77" y="494"/>
                    </a:lnTo>
                    <a:lnTo>
                      <a:pt x="79" y="488"/>
                    </a:lnTo>
                    <a:lnTo>
                      <a:pt x="77" y="488"/>
                    </a:lnTo>
                    <a:lnTo>
                      <a:pt x="77" y="487"/>
                    </a:lnTo>
                    <a:lnTo>
                      <a:pt x="77" y="485"/>
                    </a:lnTo>
                    <a:lnTo>
                      <a:pt x="77" y="483"/>
                    </a:lnTo>
                    <a:lnTo>
                      <a:pt x="79" y="482"/>
                    </a:lnTo>
                    <a:lnTo>
                      <a:pt x="80" y="482"/>
                    </a:lnTo>
                    <a:lnTo>
                      <a:pt x="79" y="480"/>
                    </a:lnTo>
                    <a:lnTo>
                      <a:pt x="77" y="480"/>
                    </a:lnTo>
                    <a:lnTo>
                      <a:pt x="79" y="479"/>
                    </a:lnTo>
                    <a:lnTo>
                      <a:pt x="79" y="477"/>
                    </a:lnTo>
                    <a:lnTo>
                      <a:pt x="80" y="475"/>
                    </a:lnTo>
                    <a:lnTo>
                      <a:pt x="79" y="475"/>
                    </a:lnTo>
                    <a:lnTo>
                      <a:pt x="79" y="474"/>
                    </a:lnTo>
                    <a:lnTo>
                      <a:pt x="77" y="472"/>
                    </a:lnTo>
                    <a:lnTo>
                      <a:pt x="76" y="469"/>
                    </a:lnTo>
                    <a:lnTo>
                      <a:pt x="76" y="464"/>
                    </a:lnTo>
                    <a:lnTo>
                      <a:pt x="74" y="463"/>
                    </a:lnTo>
                    <a:lnTo>
                      <a:pt x="74" y="464"/>
                    </a:lnTo>
                    <a:lnTo>
                      <a:pt x="71" y="464"/>
                    </a:lnTo>
                    <a:lnTo>
                      <a:pt x="71" y="463"/>
                    </a:lnTo>
                    <a:lnTo>
                      <a:pt x="71" y="461"/>
                    </a:lnTo>
                    <a:lnTo>
                      <a:pt x="71" y="458"/>
                    </a:lnTo>
                    <a:lnTo>
                      <a:pt x="69" y="456"/>
                    </a:lnTo>
                    <a:lnTo>
                      <a:pt x="69" y="458"/>
                    </a:lnTo>
                    <a:lnTo>
                      <a:pt x="68" y="458"/>
                    </a:lnTo>
                    <a:lnTo>
                      <a:pt x="66" y="458"/>
                    </a:lnTo>
                    <a:lnTo>
                      <a:pt x="64" y="456"/>
                    </a:lnTo>
                    <a:lnTo>
                      <a:pt x="63" y="453"/>
                    </a:lnTo>
                    <a:lnTo>
                      <a:pt x="63" y="450"/>
                    </a:lnTo>
                    <a:lnTo>
                      <a:pt x="61" y="449"/>
                    </a:lnTo>
                    <a:lnTo>
                      <a:pt x="57" y="444"/>
                    </a:lnTo>
                    <a:lnTo>
                      <a:pt x="55" y="444"/>
                    </a:lnTo>
                    <a:lnTo>
                      <a:pt x="53" y="444"/>
                    </a:lnTo>
                    <a:lnTo>
                      <a:pt x="52" y="444"/>
                    </a:lnTo>
                    <a:lnTo>
                      <a:pt x="47" y="441"/>
                    </a:lnTo>
                    <a:lnTo>
                      <a:pt x="45" y="441"/>
                    </a:lnTo>
                    <a:lnTo>
                      <a:pt x="41" y="439"/>
                    </a:lnTo>
                    <a:lnTo>
                      <a:pt x="36" y="437"/>
                    </a:lnTo>
                    <a:lnTo>
                      <a:pt x="25" y="434"/>
                    </a:lnTo>
                    <a:lnTo>
                      <a:pt x="22" y="434"/>
                    </a:lnTo>
                    <a:lnTo>
                      <a:pt x="15" y="434"/>
                    </a:lnTo>
                    <a:lnTo>
                      <a:pt x="14" y="434"/>
                    </a:lnTo>
                    <a:lnTo>
                      <a:pt x="12" y="434"/>
                    </a:lnTo>
                    <a:lnTo>
                      <a:pt x="11" y="434"/>
                    </a:lnTo>
                    <a:lnTo>
                      <a:pt x="6" y="431"/>
                    </a:lnTo>
                    <a:lnTo>
                      <a:pt x="4" y="428"/>
                    </a:lnTo>
                    <a:lnTo>
                      <a:pt x="3" y="428"/>
                    </a:lnTo>
                    <a:lnTo>
                      <a:pt x="1" y="426"/>
                    </a:lnTo>
                    <a:lnTo>
                      <a:pt x="0" y="425"/>
                    </a:lnTo>
                    <a:lnTo>
                      <a:pt x="0" y="423"/>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68" name="Freeform 66"/>
              <p:cNvSpPr>
                <a:spLocks/>
              </p:cNvSpPr>
              <p:nvPr/>
            </p:nvSpPr>
            <p:spPr bwMode="auto">
              <a:xfrm>
                <a:off x="1786" y="2525"/>
                <a:ext cx="1282" cy="428"/>
              </a:xfrm>
              <a:custGeom>
                <a:avLst/>
                <a:gdLst>
                  <a:gd name="T0" fmla="*/ 13 w 1282"/>
                  <a:gd name="T1" fmla="*/ 425 h 428"/>
                  <a:gd name="T2" fmla="*/ 2 w 1282"/>
                  <a:gd name="T3" fmla="*/ 414 h 428"/>
                  <a:gd name="T4" fmla="*/ 2 w 1282"/>
                  <a:gd name="T5" fmla="*/ 400 h 428"/>
                  <a:gd name="T6" fmla="*/ 35 w 1282"/>
                  <a:gd name="T7" fmla="*/ 412 h 428"/>
                  <a:gd name="T8" fmla="*/ 67 w 1282"/>
                  <a:gd name="T9" fmla="*/ 406 h 428"/>
                  <a:gd name="T10" fmla="*/ 84 w 1282"/>
                  <a:gd name="T11" fmla="*/ 404 h 428"/>
                  <a:gd name="T12" fmla="*/ 102 w 1282"/>
                  <a:gd name="T13" fmla="*/ 409 h 428"/>
                  <a:gd name="T14" fmla="*/ 132 w 1282"/>
                  <a:gd name="T15" fmla="*/ 425 h 428"/>
                  <a:gd name="T16" fmla="*/ 165 w 1282"/>
                  <a:gd name="T17" fmla="*/ 411 h 428"/>
                  <a:gd name="T18" fmla="*/ 200 w 1282"/>
                  <a:gd name="T19" fmla="*/ 395 h 428"/>
                  <a:gd name="T20" fmla="*/ 232 w 1282"/>
                  <a:gd name="T21" fmla="*/ 392 h 428"/>
                  <a:gd name="T22" fmla="*/ 255 w 1282"/>
                  <a:gd name="T23" fmla="*/ 379 h 428"/>
                  <a:gd name="T24" fmla="*/ 282 w 1282"/>
                  <a:gd name="T25" fmla="*/ 393 h 428"/>
                  <a:gd name="T26" fmla="*/ 308 w 1282"/>
                  <a:gd name="T27" fmla="*/ 385 h 428"/>
                  <a:gd name="T28" fmla="*/ 336 w 1282"/>
                  <a:gd name="T29" fmla="*/ 384 h 428"/>
                  <a:gd name="T30" fmla="*/ 331 w 1282"/>
                  <a:gd name="T31" fmla="*/ 365 h 428"/>
                  <a:gd name="T32" fmla="*/ 336 w 1282"/>
                  <a:gd name="T33" fmla="*/ 336 h 428"/>
                  <a:gd name="T34" fmla="*/ 344 w 1282"/>
                  <a:gd name="T35" fmla="*/ 312 h 428"/>
                  <a:gd name="T36" fmla="*/ 333 w 1282"/>
                  <a:gd name="T37" fmla="*/ 297 h 428"/>
                  <a:gd name="T38" fmla="*/ 312 w 1282"/>
                  <a:gd name="T39" fmla="*/ 284 h 428"/>
                  <a:gd name="T40" fmla="*/ 314 w 1282"/>
                  <a:gd name="T41" fmla="*/ 270 h 428"/>
                  <a:gd name="T42" fmla="*/ 309 w 1282"/>
                  <a:gd name="T43" fmla="*/ 222 h 428"/>
                  <a:gd name="T44" fmla="*/ 338 w 1282"/>
                  <a:gd name="T45" fmla="*/ 192 h 428"/>
                  <a:gd name="T46" fmla="*/ 363 w 1282"/>
                  <a:gd name="T47" fmla="*/ 170 h 428"/>
                  <a:gd name="T48" fmla="*/ 387 w 1282"/>
                  <a:gd name="T49" fmla="*/ 165 h 428"/>
                  <a:gd name="T50" fmla="*/ 411 w 1282"/>
                  <a:gd name="T51" fmla="*/ 190 h 428"/>
                  <a:gd name="T52" fmla="*/ 447 w 1282"/>
                  <a:gd name="T53" fmla="*/ 176 h 428"/>
                  <a:gd name="T54" fmla="*/ 466 w 1282"/>
                  <a:gd name="T55" fmla="*/ 148 h 428"/>
                  <a:gd name="T56" fmla="*/ 458 w 1282"/>
                  <a:gd name="T57" fmla="*/ 114 h 428"/>
                  <a:gd name="T58" fmla="*/ 493 w 1282"/>
                  <a:gd name="T59" fmla="*/ 118 h 428"/>
                  <a:gd name="T60" fmla="*/ 493 w 1282"/>
                  <a:gd name="T61" fmla="*/ 170 h 428"/>
                  <a:gd name="T62" fmla="*/ 518 w 1282"/>
                  <a:gd name="T63" fmla="*/ 203 h 428"/>
                  <a:gd name="T64" fmla="*/ 542 w 1282"/>
                  <a:gd name="T65" fmla="*/ 230 h 428"/>
                  <a:gd name="T66" fmla="*/ 567 w 1282"/>
                  <a:gd name="T67" fmla="*/ 263 h 428"/>
                  <a:gd name="T68" fmla="*/ 612 w 1282"/>
                  <a:gd name="T69" fmla="*/ 290 h 428"/>
                  <a:gd name="T70" fmla="*/ 662 w 1282"/>
                  <a:gd name="T71" fmla="*/ 305 h 428"/>
                  <a:gd name="T72" fmla="*/ 708 w 1282"/>
                  <a:gd name="T73" fmla="*/ 317 h 428"/>
                  <a:gd name="T74" fmla="*/ 745 w 1282"/>
                  <a:gd name="T75" fmla="*/ 343 h 428"/>
                  <a:gd name="T76" fmla="*/ 811 w 1282"/>
                  <a:gd name="T77" fmla="*/ 360 h 428"/>
                  <a:gd name="T78" fmla="*/ 875 w 1282"/>
                  <a:gd name="T79" fmla="*/ 349 h 428"/>
                  <a:gd name="T80" fmla="*/ 925 w 1282"/>
                  <a:gd name="T81" fmla="*/ 320 h 428"/>
                  <a:gd name="T82" fmla="*/ 949 w 1282"/>
                  <a:gd name="T83" fmla="*/ 255 h 428"/>
                  <a:gd name="T84" fmla="*/ 940 w 1282"/>
                  <a:gd name="T85" fmla="*/ 184 h 428"/>
                  <a:gd name="T86" fmla="*/ 935 w 1282"/>
                  <a:gd name="T87" fmla="*/ 141 h 428"/>
                  <a:gd name="T88" fmla="*/ 952 w 1282"/>
                  <a:gd name="T89" fmla="*/ 133 h 428"/>
                  <a:gd name="T90" fmla="*/ 973 w 1282"/>
                  <a:gd name="T91" fmla="*/ 140 h 428"/>
                  <a:gd name="T92" fmla="*/ 994 w 1282"/>
                  <a:gd name="T93" fmla="*/ 146 h 428"/>
                  <a:gd name="T94" fmla="*/ 995 w 1282"/>
                  <a:gd name="T95" fmla="*/ 118 h 428"/>
                  <a:gd name="T96" fmla="*/ 1000 w 1282"/>
                  <a:gd name="T97" fmla="*/ 72 h 428"/>
                  <a:gd name="T98" fmla="*/ 959 w 1282"/>
                  <a:gd name="T99" fmla="*/ 56 h 428"/>
                  <a:gd name="T100" fmla="*/ 976 w 1282"/>
                  <a:gd name="T101" fmla="*/ 11 h 428"/>
                  <a:gd name="T102" fmla="*/ 1019 w 1282"/>
                  <a:gd name="T103" fmla="*/ 24 h 428"/>
                  <a:gd name="T104" fmla="*/ 1049 w 1282"/>
                  <a:gd name="T105" fmla="*/ 35 h 428"/>
                  <a:gd name="T106" fmla="*/ 1106 w 1282"/>
                  <a:gd name="T107" fmla="*/ 29 h 428"/>
                  <a:gd name="T108" fmla="*/ 1139 w 1282"/>
                  <a:gd name="T109" fmla="*/ 21 h 428"/>
                  <a:gd name="T110" fmla="*/ 1165 w 1282"/>
                  <a:gd name="T111" fmla="*/ 19 h 428"/>
                  <a:gd name="T112" fmla="*/ 1204 w 1282"/>
                  <a:gd name="T113" fmla="*/ 26 h 428"/>
                  <a:gd name="T114" fmla="*/ 1225 w 1282"/>
                  <a:gd name="T115" fmla="*/ 54 h 428"/>
                  <a:gd name="T116" fmla="*/ 1249 w 1282"/>
                  <a:gd name="T117" fmla="*/ 18 h 428"/>
                  <a:gd name="T118" fmla="*/ 1282 w 1282"/>
                  <a:gd name="T119" fmla="*/ 5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82" h="428">
                    <a:moveTo>
                      <a:pt x="23" y="428"/>
                    </a:moveTo>
                    <a:lnTo>
                      <a:pt x="24" y="428"/>
                    </a:lnTo>
                    <a:lnTo>
                      <a:pt x="24" y="427"/>
                    </a:lnTo>
                    <a:lnTo>
                      <a:pt x="23" y="425"/>
                    </a:lnTo>
                    <a:lnTo>
                      <a:pt x="19" y="425"/>
                    </a:lnTo>
                    <a:lnTo>
                      <a:pt x="18" y="425"/>
                    </a:lnTo>
                    <a:lnTo>
                      <a:pt x="16" y="427"/>
                    </a:lnTo>
                    <a:lnTo>
                      <a:pt x="15" y="427"/>
                    </a:lnTo>
                    <a:lnTo>
                      <a:pt x="13" y="425"/>
                    </a:lnTo>
                    <a:lnTo>
                      <a:pt x="13" y="423"/>
                    </a:lnTo>
                    <a:lnTo>
                      <a:pt x="10" y="422"/>
                    </a:lnTo>
                    <a:lnTo>
                      <a:pt x="10" y="420"/>
                    </a:lnTo>
                    <a:lnTo>
                      <a:pt x="10" y="419"/>
                    </a:lnTo>
                    <a:lnTo>
                      <a:pt x="8" y="417"/>
                    </a:lnTo>
                    <a:lnTo>
                      <a:pt x="7" y="417"/>
                    </a:lnTo>
                    <a:lnTo>
                      <a:pt x="7" y="415"/>
                    </a:lnTo>
                    <a:lnTo>
                      <a:pt x="2" y="415"/>
                    </a:lnTo>
                    <a:lnTo>
                      <a:pt x="2" y="414"/>
                    </a:lnTo>
                    <a:lnTo>
                      <a:pt x="2" y="412"/>
                    </a:lnTo>
                    <a:lnTo>
                      <a:pt x="2" y="411"/>
                    </a:lnTo>
                    <a:lnTo>
                      <a:pt x="2" y="409"/>
                    </a:lnTo>
                    <a:lnTo>
                      <a:pt x="0" y="408"/>
                    </a:lnTo>
                    <a:lnTo>
                      <a:pt x="0" y="406"/>
                    </a:lnTo>
                    <a:lnTo>
                      <a:pt x="0" y="404"/>
                    </a:lnTo>
                    <a:lnTo>
                      <a:pt x="0" y="403"/>
                    </a:lnTo>
                    <a:lnTo>
                      <a:pt x="0" y="401"/>
                    </a:lnTo>
                    <a:lnTo>
                      <a:pt x="2" y="400"/>
                    </a:lnTo>
                    <a:lnTo>
                      <a:pt x="2" y="398"/>
                    </a:lnTo>
                    <a:lnTo>
                      <a:pt x="4" y="396"/>
                    </a:lnTo>
                    <a:lnTo>
                      <a:pt x="8" y="396"/>
                    </a:lnTo>
                    <a:lnTo>
                      <a:pt x="16" y="400"/>
                    </a:lnTo>
                    <a:lnTo>
                      <a:pt x="18" y="401"/>
                    </a:lnTo>
                    <a:lnTo>
                      <a:pt x="27" y="409"/>
                    </a:lnTo>
                    <a:lnTo>
                      <a:pt x="29" y="411"/>
                    </a:lnTo>
                    <a:lnTo>
                      <a:pt x="32" y="412"/>
                    </a:lnTo>
                    <a:lnTo>
                      <a:pt x="35" y="412"/>
                    </a:lnTo>
                    <a:lnTo>
                      <a:pt x="42" y="412"/>
                    </a:lnTo>
                    <a:lnTo>
                      <a:pt x="45" y="412"/>
                    </a:lnTo>
                    <a:lnTo>
                      <a:pt x="46" y="412"/>
                    </a:lnTo>
                    <a:lnTo>
                      <a:pt x="48" y="412"/>
                    </a:lnTo>
                    <a:lnTo>
                      <a:pt x="54" y="409"/>
                    </a:lnTo>
                    <a:lnTo>
                      <a:pt x="56" y="408"/>
                    </a:lnTo>
                    <a:lnTo>
                      <a:pt x="59" y="408"/>
                    </a:lnTo>
                    <a:lnTo>
                      <a:pt x="62" y="406"/>
                    </a:lnTo>
                    <a:lnTo>
                      <a:pt x="67" y="406"/>
                    </a:lnTo>
                    <a:lnTo>
                      <a:pt x="67" y="404"/>
                    </a:lnTo>
                    <a:lnTo>
                      <a:pt x="72" y="404"/>
                    </a:lnTo>
                    <a:lnTo>
                      <a:pt x="73" y="404"/>
                    </a:lnTo>
                    <a:lnTo>
                      <a:pt x="76" y="404"/>
                    </a:lnTo>
                    <a:lnTo>
                      <a:pt x="78" y="404"/>
                    </a:lnTo>
                    <a:lnTo>
                      <a:pt x="80" y="404"/>
                    </a:lnTo>
                    <a:lnTo>
                      <a:pt x="81" y="404"/>
                    </a:lnTo>
                    <a:lnTo>
                      <a:pt x="83" y="404"/>
                    </a:lnTo>
                    <a:lnTo>
                      <a:pt x="84" y="404"/>
                    </a:lnTo>
                    <a:lnTo>
                      <a:pt x="86" y="404"/>
                    </a:lnTo>
                    <a:lnTo>
                      <a:pt x="89" y="404"/>
                    </a:lnTo>
                    <a:lnTo>
                      <a:pt x="91" y="404"/>
                    </a:lnTo>
                    <a:lnTo>
                      <a:pt x="92" y="406"/>
                    </a:lnTo>
                    <a:lnTo>
                      <a:pt x="94" y="406"/>
                    </a:lnTo>
                    <a:lnTo>
                      <a:pt x="95" y="406"/>
                    </a:lnTo>
                    <a:lnTo>
                      <a:pt x="97" y="406"/>
                    </a:lnTo>
                    <a:lnTo>
                      <a:pt x="99" y="408"/>
                    </a:lnTo>
                    <a:lnTo>
                      <a:pt x="102" y="409"/>
                    </a:lnTo>
                    <a:lnTo>
                      <a:pt x="102" y="411"/>
                    </a:lnTo>
                    <a:lnTo>
                      <a:pt x="105" y="414"/>
                    </a:lnTo>
                    <a:lnTo>
                      <a:pt x="108" y="415"/>
                    </a:lnTo>
                    <a:lnTo>
                      <a:pt x="111" y="417"/>
                    </a:lnTo>
                    <a:lnTo>
                      <a:pt x="116" y="420"/>
                    </a:lnTo>
                    <a:lnTo>
                      <a:pt x="118" y="422"/>
                    </a:lnTo>
                    <a:lnTo>
                      <a:pt x="124" y="423"/>
                    </a:lnTo>
                    <a:lnTo>
                      <a:pt x="129" y="425"/>
                    </a:lnTo>
                    <a:lnTo>
                      <a:pt x="132" y="425"/>
                    </a:lnTo>
                    <a:lnTo>
                      <a:pt x="137" y="423"/>
                    </a:lnTo>
                    <a:lnTo>
                      <a:pt x="140" y="423"/>
                    </a:lnTo>
                    <a:lnTo>
                      <a:pt x="148" y="423"/>
                    </a:lnTo>
                    <a:lnTo>
                      <a:pt x="149" y="423"/>
                    </a:lnTo>
                    <a:lnTo>
                      <a:pt x="152" y="422"/>
                    </a:lnTo>
                    <a:lnTo>
                      <a:pt x="154" y="420"/>
                    </a:lnTo>
                    <a:lnTo>
                      <a:pt x="159" y="417"/>
                    </a:lnTo>
                    <a:lnTo>
                      <a:pt x="160" y="415"/>
                    </a:lnTo>
                    <a:lnTo>
                      <a:pt x="165" y="411"/>
                    </a:lnTo>
                    <a:lnTo>
                      <a:pt x="168" y="408"/>
                    </a:lnTo>
                    <a:lnTo>
                      <a:pt x="170" y="406"/>
                    </a:lnTo>
                    <a:lnTo>
                      <a:pt x="175" y="403"/>
                    </a:lnTo>
                    <a:lnTo>
                      <a:pt x="176" y="400"/>
                    </a:lnTo>
                    <a:lnTo>
                      <a:pt x="179" y="398"/>
                    </a:lnTo>
                    <a:lnTo>
                      <a:pt x="184" y="398"/>
                    </a:lnTo>
                    <a:lnTo>
                      <a:pt x="190" y="396"/>
                    </a:lnTo>
                    <a:lnTo>
                      <a:pt x="195" y="395"/>
                    </a:lnTo>
                    <a:lnTo>
                      <a:pt x="200" y="395"/>
                    </a:lnTo>
                    <a:lnTo>
                      <a:pt x="205" y="396"/>
                    </a:lnTo>
                    <a:lnTo>
                      <a:pt x="209" y="396"/>
                    </a:lnTo>
                    <a:lnTo>
                      <a:pt x="214" y="396"/>
                    </a:lnTo>
                    <a:lnTo>
                      <a:pt x="217" y="395"/>
                    </a:lnTo>
                    <a:lnTo>
                      <a:pt x="224" y="395"/>
                    </a:lnTo>
                    <a:lnTo>
                      <a:pt x="225" y="396"/>
                    </a:lnTo>
                    <a:lnTo>
                      <a:pt x="227" y="396"/>
                    </a:lnTo>
                    <a:lnTo>
                      <a:pt x="230" y="395"/>
                    </a:lnTo>
                    <a:lnTo>
                      <a:pt x="232" y="392"/>
                    </a:lnTo>
                    <a:lnTo>
                      <a:pt x="233" y="387"/>
                    </a:lnTo>
                    <a:lnTo>
                      <a:pt x="235" y="389"/>
                    </a:lnTo>
                    <a:lnTo>
                      <a:pt x="238" y="389"/>
                    </a:lnTo>
                    <a:lnTo>
                      <a:pt x="244" y="389"/>
                    </a:lnTo>
                    <a:lnTo>
                      <a:pt x="249" y="385"/>
                    </a:lnTo>
                    <a:lnTo>
                      <a:pt x="252" y="384"/>
                    </a:lnTo>
                    <a:lnTo>
                      <a:pt x="254" y="382"/>
                    </a:lnTo>
                    <a:lnTo>
                      <a:pt x="255" y="381"/>
                    </a:lnTo>
                    <a:lnTo>
                      <a:pt x="255" y="379"/>
                    </a:lnTo>
                    <a:lnTo>
                      <a:pt x="257" y="381"/>
                    </a:lnTo>
                    <a:lnTo>
                      <a:pt x="260" y="384"/>
                    </a:lnTo>
                    <a:lnTo>
                      <a:pt x="262" y="384"/>
                    </a:lnTo>
                    <a:lnTo>
                      <a:pt x="268" y="387"/>
                    </a:lnTo>
                    <a:lnTo>
                      <a:pt x="273" y="389"/>
                    </a:lnTo>
                    <a:lnTo>
                      <a:pt x="276" y="390"/>
                    </a:lnTo>
                    <a:lnTo>
                      <a:pt x="279" y="392"/>
                    </a:lnTo>
                    <a:lnTo>
                      <a:pt x="281" y="393"/>
                    </a:lnTo>
                    <a:lnTo>
                      <a:pt x="282" y="393"/>
                    </a:lnTo>
                    <a:lnTo>
                      <a:pt x="287" y="395"/>
                    </a:lnTo>
                    <a:lnTo>
                      <a:pt x="289" y="393"/>
                    </a:lnTo>
                    <a:lnTo>
                      <a:pt x="290" y="393"/>
                    </a:lnTo>
                    <a:lnTo>
                      <a:pt x="293" y="393"/>
                    </a:lnTo>
                    <a:lnTo>
                      <a:pt x="297" y="392"/>
                    </a:lnTo>
                    <a:lnTo>
                      <a:pt x="300" y="389"/>
                    </a:lnTo>
                    <a:lnTo>
                      <a:pt x="303" y="387"/>
                    </a:lnTo>
                    <a:lnTo>
                      <a:pt x="306" y="385"/>
                    </a:lnTo>
                    <a:lnTo>
                      <a:pt x="308" y="385"/>
                    </a:lnTo>
                    <a:lnTo>
                      <a:pt x="311" y="385"/>
                    </a:lnTo>
                    <a:lnTo>
                      <a:pt x="316" y="387"/>
                    </a:lnTo>
                    <a:lnTo>
                      <a:pt x="316" y="389"/>
                    </a:lnTo>
                    <a:lnTo>
                      <a:pt x="319" y="389"/>
                    </a:lnTo>
                    <a:lnTo>
                      <a:pt x="323" y="389"/>
                    </a:lnTo>
                    <a:lnTo>
                      <a:pt x="328" y="389"/>
                    </a:lnTo>
                    <a:lnTo>
                      <a:pt x="335" y="389"/>
                    </a:lnTo>
                    <a:lnTo>
                      <a:pt x="338" y="385"/>
                    </a:lnTo>
                    <a:lnTo>
                      <a:pt x="336" y="384"/>
                    </a:lnTo>
                    <a:lnTo>
                      <a:pt x="336" y="382"/>
                    </a:lnTo>
                    <a:lnTo>
                      <a:pt x="335" y="381"/>
                    </a:lnTo>
                    <a:lnTo>
                      <a:pt x="333" y="377"/>
                    </a:lnTo>
                    <a:lnTo>
                      <a:pt x="333" y="376"/>
                    </a:lnTo>
                    <a:lnTo>
                      <a:pt x="331" y="374"/>
                    </a:lnTo>
                    <a:lnTo>
                      <a:pt x="331" y="373"/>
                    </a:lnTo>
                    <a:lnTo>
                      <a:pt x="331" y="370"/>
                    </a:lnTo>
                    <a:lnTo>
                      <a:pt x="331" y="366"/>
                    </a:lnTo>
                    <a:lnTo>
                      <a:pt x="331" y="365"/>
                    </a:lnTo>
                    <a:lnTo>
                      <a:pt x="333" y="360"/>
                    </a:lnTo>
                    <a:lnTo>
                      <a:pt x="333" y="357"/>
                    </a:lnTo>
                    <a:lnTo>
                      <a:pt x="333" y="354"/>
                    </a:lnTo>
                    <a:lnTo>
                      <a:pt x="335" y="351"/>
                    </a:lnTo>
                    <a:lnTo>
                      <a:pt x="336" y="347"/>
                    </a:lnTo>
                    <a:lnTo>
                      <a:pt x="338" y="346"/>
                    </a:lnTo>
                    <a:lnTo>
                      <a:pt x="336" y="341"/>
                    </a:lnTo>
                    <a:lnTo>
                      <a:pt x="336" y="339"/>
                    </a:lnTo>
                    <a:lnTo>
                      <a:pt x="336" y="336"/>
                    </a:lnTo>
                    <a:lnTo>
                      <a:pt x="338" y="333"/>
                    </a:lnTo>
                    <a:lnTo>
                      <a:pt x="338" y="330"/>
                    </a:lnTo>
                    <a:lnTo>
                      <a:pt x="339" y="328"/>
                    </a:lnTo>
                    <a:lnTo>
                      <a:pt x="339" y="327"/>
                    </a:lnTo>
                    <a:lnTo>
                      <a:pt x="341" y="322"/>
                    </a:lnTo>
                    <a:lnTo>
                      <a:pt x="341" y="317"/>
                    </a:lnTo>
                    <a:lnTo>
                      <a:pt x="343" y="317"/>
                    </a:lnTo>
                    <a:lnTo>
                      <a:pt x="343" y="316"/>
                    </a:lnTo>
                    <a:lnTo>
                      <a:pt x="344" y="312"/>
                    </a:lnTo>
                    <a:lnTo>
                      <a:pt x="344" y="311"/>
                    </a:lnTo>
                    <a:lnTo>
                      <a:pt x="344" y="309"/>
                    </a:lnTo>
                    <a:lnTo>
                      <a:pt x="344" y="308"/>
                    </a:lnTo>
                    <a:lnTo>
                      <a:pt x="344" y="306"/>
                    </a:lnTo>
                    <a:lnTo>
                      <a:pt x="344" y="305"/>
                    </a:lnTo>
                    <a:lnTo>
                      <a:pt x="341" y="303"/>
                    </a:lnTo>
                    <a:lnTo>
                      <a:pt x="339" y="301"/>
                    </a:lnTo>
                    <a:lnTo>
                      <a:pt x="336" y="300"/>
                    </a:lnTo>
                    <a:lnTo>
                      <a:pt x="333" y="297"/>
                    </a:lnTo>
                    <a:lnTo>
                      <a:pt x="331" y="295"/>
                    </a:lnTo>
                    <a:lnTo>
                      <a:pt x="330" y="295"/>
                    </a:lnTo>
                    <a:lnTo>
                      <a:pt x="328" y="293"/>
                    </a:lnTo>
                    <a:lnTo>
                      <a:pt x="325" y="292"/>
                    </a:lnTo>
                    <a:lnTo>
                      <a:pt x="320" y="290"/>
                    </a:lnTo>
                    <a:lnTo>
                      <a:pt x="317" y="289"/>
                    </a:lnTo>
                    <a:lnTo>
                      <a:pt x="316" y="287"/>
                    </a:lnTo>
                    <a:lnTo>
                      <a:pt x="314" y="286"/>
                    </a:lnTo>
                    <a:lnTo>
                      <a:pt x="312" y="284"/>
                    </a:lnTo>
                    <a:lnTo>
                      <a:pt x="314" y="282"/>
                    </a:lnTo>
                    <a:lnTo>
                      <a:pt x="314" y="281"/>
                    </a:lnTo>
                    <a:lnTo>
                      <a:pt x="316" y="279"/>
                    </a:lnTo>
                    <a:lnTo>
                      <a:pt x="317" y="279"/>
                    </a:lnTo>
                    <a:lnTo>
                      <a:pt x="317" y="276"/>
                    </a:lnTo>
                    <a:lnTo>
                      <a:pt x="317" y="274"/>
                    </a:lnTo>
                    <a:lnTo>
                      <a:pt x="316" y="273"/>
                    </a:lnTo>
                    <a:lnTo>
                      <a:pt x="316" y="271"/>
                    </a:lnTo>
                    <a:lnTo>
                      <a:pt x="314" y="270"/>
                    </a:lnTo>
                    <a:lnTo>
                      <a:pt x="314" y="267"/>
                    </a:lnTo>
                    <a:lnTo>
                      <a:pt x="312" y="267"/>
                    </a:lnTo>
                    <a:lnTo>
                      <a:pt x="311" y="255"/>
                    </a:lnTo>
                    <a:lnTo>
                      <a:pt x="311" y="248"/>
                    </a:lnTo>
                    <a:lnTo>
                      <a:pt x="309" y="238"/>
                    </a:lnTo>
                    <a:lnTo>
                      <a:pt x="308" y="232"/>
                    </a:lnTo>
                    <a:lnTo>
                      <a:pt x="308" y="225"/>
                    </a:lnTo>
                    <a:lnTo>
                      <a:pt x="309" y="224"/>
                    </a:lnTo>
                    <a:lnTo>
                      <a:pt x="309" y="222"/>
                    </a:lnTo>
                    <a:lnTo>
                      <a:pt x="314" y="221"/>
                    </a:lnTo>
                    <a:lnTo>
                      <a:pt x="320" y="213"/>
                    </a:lnTo>
                    <a:lnTo>
                      <a:pt x="323" y="206"/>
                    </a:lnTo>
                    <a:lnTo>
                      <a:pt x="328" y="205"/>
                    </a:lnTo>
                    <a:lnTo>
                      <a:pt x="331" y="203"/>
                    </a:lnTo>
                    <a:lnTo>
                      <a:pt x="333" y="203"/>
                    </a:lnTo>
                    <a:lnTo>
                      <a:pt x="338" y="200"/>
                    </a:lnTo>
                    <a:lnTo>
                      <a:pt x="338" y="198"/>
                    </a:lnTo>
                    <a:lnTo>
                      <a:pt x="338" y="192"/>
                    </a:lnTo>
                    <a:lnTo>
                      <a:pt x="338" y="186"/>
                    </a:lnTo>
                    <a:lnTo>
                      <a:pt x="339" y="183"/>
                    </a:lnTo>
                    <a:lnTo>
                      <a:pt x="343" y="179"/>
                    </a:lnTo>
                    <a:lnTo>
                      <a:pt x="346" y="183"/>
                    </a:lnTo>
                    <a:lnTo>
                      <a:pt x="352" y="184"/>
                    </a:lnTo>
                    <a:lnTo>
                      <a:pt x="355" y="184"/>
                    </a:lnTo>
                    <a:lnTo>
                      <a:pt x="357" y="179"/>
                    </a:lnTo>
                    <a:lnTo>
                      <a:pt x="360" y="175"/>
                    </a:lnTo>
                    <a:lnTo>
                      <a:pt x="363" y="170"/>
                    </a:lnTo>
                    <a:lnTo>
                      <a:pt x="365" y="168"/>
                    </a:lnTo>
                    <a:lnTo>
                      <a:pt x="368" y="170"/>
                    </a:lnTo>
                    <a:lnTo>
                      <a:pt x="373" y="171"/>
                    </a:lnTo>
                    <a:lnTo>
                      <a:pt x="376" y="171"/>
                    </a:lnTo>
                    <a:lnTo>
                      <a:pt x="379" y="170"/>
                    </a:lnTo>
                    <a:lnTo>
                      <a:pt x="381" y="168"/>
                    </a:lnTo>
                    <a:lnTo>
                      <a:pt x="382" y="170"/>
                    </a:lnTo>
                    <a:lnTo>
                      <a:pt x="385" y="168"/>
                    </a:lnTo>
                    <a:lnTo>
                      <a:pt x="387" y="165"/>
                    </a:lnTo>
                    <a:lnTo>
                      <a:pt x="388" y="165"/>
                    </a:lnTo>
                    <a:lnTo>
                      <a:pt x="390" y="165"/>
                    </a:lnTo>
                    <a:lnTo>
                      <a:pt x="393" y="170"/>
                    </a:lnTo>
                    <a:lnTo>
                      <a:pt x="393" y="173"/>
                    </a:lnTo>
                    <a:lnTo>
                      <a:pt x="395" y="178"/>
                    </a:lnTo>
                    <a:lnTo>
                      <a:pt x="396" y="184"/>
                    </a:lnTo>
                    <a:lnTo>
                      <a:pt x="400" y="187"/>
                    </a:lnTo>
                    <a:lnTo>
                      <a:pt x="404" y="189"/>
                    </a:lnTo>
                    <a:lnTo>
                      <a:pt x="411" y="190"/>
                    </a:lnTo>
                    <a:lnTo>
                      <a:pt x="415" y="189"/>
                    </a:lnTo>
                    <a:lnTo>
                      <a:pt x="419" y="189"/>
                    </a:lnTo>
                    <a:lnTo>
                      <a:pt x="425" y="184"/>
                    </a:lnTo>
                    <a:lnTo>
                      <a:pt x="433" y="179"/>
                    </a:lnTo>
                    <a:lnTo>
                      <a:pt x="436" y="178"/>
                    </a:lnTo>
                    <a:lnTo>
                      <a:pt x="436" y="176"/>
                    </a:lnTo>
                    <a:lnTo>
                      <a:pt x="441" y="175"/>
                    </a:lnTo>
                    <a:lnTo>
                      <a:pt x="444" y="175"/>
                    </a:lnTo>
                    <a:lnTo>
                      <a:pt x="447" y="176"/>
                    </a:lnTo>
                    <a:lnTo>
                      <a:pt x="453" y="173"/>
                    </a:lnTo>
                    <a:lnTo>
                      <a:pt x="460" y="168"/>
                    </a:lnTo>
                    <a:lnTo>
                      <a:pt x="464" y="164"/>
                    </a:lnTo>
                    <a:lnTo>
                      <a:pt x="466" y="160"/>
                    </a:lnTo>
                    <a:lnTo>
                      <a:pt x="469" y="157"/>
                    </a:lnTo>
                    <a:lnTo>
                      <a:pt x="471" y="154"/>
                    </a:lnTo>
                    <a:lnTo>
                      <a:pt x="471" y="151"/>
                    </a:lnTo>
                    <a:lnTo>
                      <a:pt x="469" y="149"/>
                    </a:lnTo>
                    <a:lnTo>
                      <a:pt x="466" y="148"/>
                    </a:lnTo>
                    <a:lnTo>
                      <a:pt x="463" y="145"/>
                    </a:lnTo>
                    <a:lnTo>
                      <a:pt x="461" y="143"/>
                    </a:lnTo>
                    <a:lnTo>
                      <a:pt x="453" y="137"/>
                    </a:lnTo>
                    <a:lnTo>
                      <a:pt x="450" y="132"/>
                    </a:lnTo>
                    <a:lnTo>
                      <a:pt x="449" y="127"/>
                    </a:lnTo>
                    <a:lnTo>
                      <a:pt x="450" y="126"/>
                    </a:lnTo>
                    <a:lnTo>
                      <a:pt x="450" y="122"/>
                    </a:lnTo>
                    <a:lnTo>
                      <a:pt x="455" y="119"/>
                    </a:lnTo>
                    <a:lnTo>
                      <a:pt x="458" y="114"/>
                    </a:lnTo>
                    <a:lnTo>
                      <a:pt x="461" y="111"/>
                    </a:lnTo>
                    <a:lnTo>
                      <a:pt x="466" y="111"/>
                    </a:lnTo>
                    <a:lnTo>
                      <a:pt x="471" y="111"/>
                    </a:lnTo>
                    <a:lnTo>
                      <a:pt x="474" y="111"/>
                    </a:lnTo>
                    <a:lnTo>
                      <a:pt x="476" y="110"/>
                    </a:lnTo>
                    <a:lnTo>
                      <a:pt x="482" y="111"/>
                    </a:lnTo>
                    <a:lnTo>
                      <a:pt x="488" y="111"/>
                    </a:lnTo>
                    <a:lnTo>
                      <a:pt x="491" y="116"/>
                    </a:lnTo>
                    <a:lnTo>
                      <a:pt x="493" y="118"/>
                    </a:lnTo>
                    <a:lnTo>
                      <a:pt x="495" y="122"/>
                    </a:lnTo>
                    <a:lnTo>
                      <a:pt x="498" y="133"/>
                    </a:lnTo>
                    <a:lnTo>
                      <a:pt x="498" y="137"/>
                    </a:lnTo>
                    <a:lnTo>
                      <a:pt x="499" y="143"/>
                    </a:lnTo>
                    <a:lnTo>
                      <a:pt x="502" y="149"/>
                    </a:lnTo>
                    <a:lnTo>
                      <a:pt x="501" y="156"/>
                    </a:lnTo>
                    <a:lnTo>
                      <a:pt x="499" y="160"/>
                    </a:lnTo>
                    <a:lnTo>
                      <a:pt x="496" y="165"/>
                    </a:lnTo>
                    <a:lnTo>
                      <a:pt x="493" y="170"/>
                    </a:lnTo>
                    <a:lnTo>
                      <a:pt x="488" y="175"/>
                    </a:lnTo>
                    <a:lnTo>
                      <a:pt x="487" y="179"/>
                    </a:lnTo>
                    <a:lnTo>
                      <a:pt x="485" y="181"/>
                    </a:lnTo>
                    <a:lnTo>
                      <a:pt x="488" y="184"/>
                    </a:lnTo>
                    <a:lnTo>
                      <a:pt x="493" y="186"/>
                    </a:lnTo>
                    <a:lnTo>
                      <a:pt x="499" y="190"/>
                    </a:lnTo>
                    <a:lnTo>
                      <a:pt x="507" y="197"/>
                    </a:lnTo>
                    <a:lnTo>
                      <a:pt x="512" y="200"/>
                    </a:lnTo>
                    <a:lnTo>
                      <a:pt x="518" y="203"/>
                    </a:lnTo>
                    <a:lnTo>
                      <a:pt x="523" y="205"/>
                    </a:lnTo>
                    <a:lnTo>
                      <a:pt x="525" y="206"/>
                    </a:lnTo>
                    <a:lnTo>
                      <a:pt x="526" y="206"/>
                    </a:lnTo>
                    <a:lnTo>
                      <a:pt x="529" y="208"/>
                    </a:lnTo>
                    <a:lnTo>
                      <a:pt x="533" y="216"/>
                    </a:lnTo>
                    <a:lnTo>
                      <a:pt x="533" y="219"/>
                    </a:lnTo>
                    <a:lnTo>
                      <a:pt x="534" y="222"/>
                    </a:lnTo>
                    <a:lnTo>
                      <a:pt x="536" y="224"/>
                    </a:lnTo>
                    <a:lnTo>
                      <a:pt x="542" y="230"/>
                    </a:lnTo>
                    <a:lnTo>
                      <a:pt x="545" y="235"/>
                    </a:lnTo>
                    <a:lnTo>
                      <a:pt x="544" y="241"/>
                    </a:lnTo>
                    <a:lnTo>
                      <a:pt x="541" y="248"/>
                    </a:lnTo>
                    <a:lnTo>
                      <a:pt x="539" y="254"/>
                    </a:lnTo>
                    <a:lnTo>
                      <a:pt x="541" y="259"/>
                    </a:lnTo>
                    <a:lnTo>
                      <a:pt x="542" y="262"/>
                    </a:lnTo>
                    <a:lnTo>
                      <a:pt x="548" y="263"/>
                    </a:lnTo>
                    <a:lnTo>
                      <a:pt x="555" y="265"/>
                    </a:lnTo>
                    <a:lnTo>
                      <a:pt x="567" y="263"/>
                    </a:lnTo>
                    <a:lnTo>
                      <a:pt x="575" y="268"/>
                    </a:lnTo>
                    <a:lnTo>
                      <a:pt x="582" y="273"/>
                    </a:lnTo>
                    <a:lnTo>
                      <a:pt x="588" y="279"/>
                    </a:lnTo>
                    <a:lnTo>
                      <a:pt x="590" y="281"/>
                    </a:lnTo>
                    <a:lnTo>
                      <a:pt x="593" y="284"/>
                    </a:lnTo>
                    <a:lnTo>
                      <a:pt x="596" y="286"/>
                    </a:lnTo>
                    <a:lnTo>
                      <a:pt x="601" y="287"/>
                    </a:lnTo>
                    <a:lnTo>
                      <a:pt x="607" y="289"/>
                    </a:lnTo>
                    <a:lnTo>
                      <a:pt x="612" y="290"/>
                    </a:lnTo>
                    <a:lnTo>
                      <a:pt x="613" y="292"/>
                    </a:lnTo>
                    <a:lnTo>
                      <a:pt x="618" y="295"/>
                    </a:lnTo>
                    <a:lnTo>
                      <a:pt x="624" y="295"/>
                    </a:lnTo>
                    <a:lnTo>
                      <a:pt x="631" y="297"/>
                    </a:lnTo>
                    <a:lnTo>
                      <a:pt x="636" y="300"/>
                    </a:lnTo>
                    <a:lnTo>
                      <a:pt x="639" y="305"/>
                    </a:lnTo>
                    <a:lnTo>
                      <a:pt x="648" y="308"/>
                    </a:lnTo>
                    <a:lnTo>
                      <a:pt x="655" y="306"/>
                    </a:lnTo>
                    <a:lnTo>
                      <a:pt x="662" y="305"/>
                    </a:lnTo>
                    <a:lnTo>
                      <a:pt x="667" y="305"/>
                    </a:lnTo>
                    <a:lnTo>
                      <a:pt x="670" y="305"/>
                    </a:lnTo>
                    <a:lnTo>
                      <a:pt x="672" y="305"/>
                    </a:lnTo>
                    <a:lnTo>
                      <a:pt x="677" y="308"/>
                    </a:lnTo>
                    <a:lnTo>
                      <a:pt x="688" y="311"/>
                    </a:lnTo>
                    <a:lnTo>
                      <a:pt x="697" y="316"/>
                    </a:lnTo>
                    <a:lnTo>
                      <a:pt x="704" y="319"/>
                    </a:lnTo>
                    <a:lnTo>
                      <a:pt x="707" y="319"/>
                    </a:lnTo>
                    <a:lnTo>
                      <a:pt x="708" y="317"/>
                    </a:lnTo>
                    <a:lnTo>
                      <a:pt x="712" y="316"/>
                    </a:lnTo>
                    <a:lnTo>
                      <a:pt x="715" y="316"/>
                    </a:lnTo>
                    <a:lnTo>
                      <a:pt x="716" y="317"/>
                    </a:lnTo>
                    <a:lnTo>
                      <a:pt x="720" y="325"/>
                    </a:lnTo>
                    <a:lnTo>
                      <a:pt x="726" y="330"/>
                    </a:lnTo>
                    <a:lnTo>
                      <a:pt x="732" y="335"/>
                    </a:lnTo>
                    <a:lnTo>
                      <a:pt x="739" y="338"/>
                    </a:lnTo>
                    <a:lnTo>
                      <a:pt x="740" y="339"/>
                    </a:lnTo>
                    <a:lnTo>
                      <a:pt x="745" y="343"/>
                    </a:lnTo>
                    <a:lnTo>
                      <a:pt x="753" y="349"/>
                    </a:lnTo>
                    <a:lnTo>
                      <a:pt x="759" y="352"/>
                    </a:lnTo>
                    <a:lnTo>
                      <a:pt x="761" y="352"/>
                    </a:lnTo>
                    <a:lnTo>
                      <a:pt x="772" y="357"/>
                    </a:lnTo>
                    <a:lnTo>
                      <a:pt x="781" y="360"/>
                    </a:lnTo>
                    <a:lnTo>
                      <a:pt x="783" y="360"/>
                    </a:lnTo>
                    <a:lnTo>
                      <a:pt x="792" y="362"/>
                    </a:lnTo>
                    <a:lnTo>
                      <a:pt x="802" y="362"/>
                    </a:lnTo>
                    <a:lnTo>
                      <a:pt x="811" y="360"/>
                    </a:lnTo>
                    <a:lnTo>
                      <a:pt x="822" y="358"/>
                    </a:lnTo>
                    <a:lnTo>
                      <a:pt x="834" y="357"/>
                    </a:lnTo>
                    <a:lnTo>
                      <a:pt x="837" y="357"/>
                    </a:lnTo>
                    <a:lnTo>
                      <a:pt x="841" y="357"/>
                    </a:lnTo>
                    <a:lnTo>
                      <a:pt x="853" y="360"/>
                    </a:lnTo>
                    <a:lnTo>
                      <a:pt x="854" y="360"/>
                    </a:lnTo>
                    <a:lnTo>
                      <a:pt x="859" y="360"/>
                    </a:lnTo>
                    <a:lnTo>
                      <a:pt x="867" y="355"/>
                    </a:lnTo>
                    <a:lnTo>
                      <a:pt x="875" y="349"/>
                    </a:lnTo>
                    <a:lnTo>
                      <a:pt x="879" y="344"/>
                    </a:lnTo>
                    <a:lnTo>
                      <a:pt x="883" y="341"/>
                    </a:lnTo>
                    <a:lnTo>
                      <a:pt x="891" y="335"/>
                    </a:lnTo>
                    <a:lnTo>
                      <a:pt x="898" y="331"/>
                    </a:lnTo>
                    <a:lnTo>
                      <a:pt x="905" y="328"/>
                    </a:lnTo>
                    <a:lnTo>
                      <a:pt x="911" y="327"/>
                    </a:lnTo>
                    <a:lnTo>
                      <a:pt x="918" y="324"/>
                    </a:lnTo>
                    <a:lnTo>
                      <a:pt x="921" y="324"/>
                    </a:lnTo>
                    <a:lnTo>
                      <a:pt x="925" y="320"/>
                    </a:lnTo>
                    <a:lnTo>
                      <a:pt x="932" y="316"/>
                    </a:lnTo>
                    <a:lnTo>
                      <a:pt x="935" y="309"/>
                    </a:lnTo>
                    <a:lnTo>
                      <a:pt x="938" y="300"/>
                    </a:lnTo>
                    <a:lnTo>
                      <a:pt x="938" y="292"/>
                    </a:lnTo>
                    <a:lnTo>
                      <a:pt x="940" y="282"/>
                    </a:lnTo>
                    <a:lnTo>
                      <a:pt x="946" y="273"/>
                    </a:lnTo>
                    <a:lnTo>
                      <a:pt x="949" y="267"/>
                    </a:lnTo>
                    <a:lnTo>
                      <a:pt x="951" y="262"/>
                    </a:lnTo>
                    <a:lnTo>
                      <a:pt x="949" y="255"/>
                    </a:lnTo>
                    <a:lnTo>
                      <a:pt x="946" y="248"/>
                    </a:lnTo>
                    <a:lnTo>
                      <a:pt x="944" y="241"/>
                    </a:lnTo>
                    <a:lnTo>
                      <a:pt x="940" y="235"/>
                    </a:lnTo>
                    <a:lnTo>
                      <a:pt x="938" y="227"/>
                    </a:lnTo>
                    <a:lnTo>
                      <a:pt x="938" y="219"/>
                    </a:lnTo>
                    <a:lnTo>
                      <a:pt x="938" y="209"/>
                    </a:lnTo>
                    <a:lnTo>
                      <a:pt x="940" y="202"/>
                    </a:lnTo>
                    <a:lnTo>
                      <a:pt x="940" y="192"/>
                    </a:lnTo>
                    <a:lnTo>
                      <a:pt x="940" y="184"/>
                    </a:lnTo>
                    <a:lnTo>
                      <a:pt x="941" y="176"/>
                    </a:lnTo>
                    <a:lnTo>
                      <a:pt x="946" y="170"/>
                    </a:lnTo>
                    <a:lnTo>
                      <a:pt x="948" y="164"/>
                    </a:lnTo>
                    <a:lnTo>
                      <a:pt x="949" y="157"/>
                    </a:lnTo>
                    <a:lnTo>
                      <a:pt x="946" y="154"/>
                    </a:lnTo>
                    <a:lnTo>
                      <a:pt x="943" y="151"/>
                    </a:lnTo>
                    <a:lnTo>
                      <a:pt x="938" y="148"/>
                    </a:lnTo>
                    <a:lnTo>
                      <a:pt x="935" y="145"/>
                    </a:lnTo>
                    <a:lnTo>
                      <a:pt x="935" y="141"/>
                    </a:lnTo>
                    <a:lnTo>
                      <a:pt x="935" y="138"/>
                    </a:lnTo>
                    <a:lnTo>
                      <a:pt x="937" y="137"/>
                    </a:lnTo>
                    <a:lnTo>
                      <a:pt x="938" y="137"/>
                    </a:lnTo>
                    <a:lnTo>
                      <a:pt x="940" y="135"/>
                    </a:lnTo>
                    <a:lnTo>
                      <a:pt x="941" y="135"/>
                    </a:lnTo>
                    <a:lnTo>
                      <a:pt x="943" y="133"/>
                    </a:lnTo>
                    <a:lnTo>
                      <a:pt x="946" y="133"/>
                    </a:lnTo>
                    <a:lnTo>
                      <a:pt x="948" y="133"/>
                    </a:lnTo>
                    <a:lnTo>
                      <a:pt x="952" y="133"/>
                    </a:lnTo>
                    <a:lnTo>
                      <a:pt x="956" y="132"/>
                    </a:lnTo>
                    <a:lnTo>
                      <a:pt x="960" y="130"/>
                    </a:lnTo>
                    <a:lnTo>
                      <a:pt x="965" y="129"/>
                    </a:lnTo>
                    <a:lnTo>
                      <a:pt x="967" y="130"/>
                    </a:lnTo>
                    <a:lnTo>
                      <a:pt x="968" y="130"/>
                    </a:lnTo>
                    <a:lnTo>
                      <a:pt x="970" y="132"/>
                    </a:lnTo>
                    <a:lnTo>
                      <a:pt x="971" y="135"/>
                    </a:lnTo>
                    <a:lnTo>
                      <a:pt x="973" y="137"/>
                    </a:lnTo>
                    <a:lnTo>
                      <a:pt x="973" y="140"/>
                    </a:lnTo>
                    <a:lnTo>
                      <a:pt x="973" y="141"/>
                    </a:lnTo>
                    <a:lnTo>
                      <a:pt x="975" y="143"/>
                    </a:lnTo>
                    <a:lnTo>
                      <a:pt x="976" y="145"/>
                    </a:lnTo>
                    <a:lnTo>
                      <a:pt x="978" y="146"/>
                    </a:lnTo>
                    <a:lnTo>
                      <a:pt x="979" y="148"/>
                    </a:lnTo>
                    <a:lnTo>
                      <a:pt x="982" y="149"/>
                    </a:lnTo>
                    <a:lnTo>
                      <a:pt x="984" y="149"/>
                    </a:lnTo>
                    <a:lnTo>
                      <a:pt x="989" y="148"/>
                    </a:lnTo>
                    <a:lnTo>
                      <a:pt x="994" y="146"/>
                    </a:lnTo>
                    <a:lnTo>
                      <a:pt x="997" y="145"/>
                    </a:lnTo>
                    <a:lnTo>
                      <a:pt x="997" y="143"/>
                    </a:lnTo>
                    <a:lnTo>
                      <a:pt x="997" y="141"/>
                    </a:lnTo>
                    <a:lnTo>
                      <a:pt x="997" y="135"/>
                    </a:lnTo>
                    <a:lnTo>
                      <a:pt x="997" y="133"/>
                    </a:lnTo>
                    <a:lnTo>
                      <a:pt x="997" y="130"/>
                    </a:lnTo>
                    <a:lnTo>
                      <a:pt x="997" y="129"/>
                    </a:lnTo>
                    <a:lnTo>
                      <a:pt x="995" y="124"/>
                    </a:lnTo>
                    <a:lnTo>
                      <a:pt x="995" y="118"/>
                    </a:lnTo>
                    <a:lnTo>
                      <a:pt x="994" y="113"/>
                    </a:lnTo>
                    <a:lnTo>
                      <a:pt x="995" y="107"/>
                    </a:lnTo>
                    <a:lnTo>
                      <a:pt x="995" y="102"/>
                    </a:lnTo>
                    <a:lnTo>
                      <a:pt x="997" y="97"/>
                    </a:lnTo>
                    <a:lnTo>
                      <a:pt x="998" y="91"/>
                    </a:lnTo>
                    <a:lnTo>
                      <a:pt x="1001" y="83"/>
                    </a:lnTo>
                    <a:lnTo>
                      <a:pt x="1003" y="76"/>
                    </a:lnTo>
                    <a:lnTo>
                      <a:pt x="1003" y="73"/>
                    </a:lnTo>
                    <a:lnTo>
                      <a:pt x="1000" y="72"/>
                    </a:lnTo>
                    <a:lnTo>
                      <a:pt x="995" y="70"/>
                    </a:lnTo>
                    <a:lnTo>
                      <a:pt x="989" y="68"/>
                    </a:lnTo>
                    <a:lnTo>
                      <a:pt x="982" y="67"/>
                    </a:lnTo>
                    <a:lnTo>
                      <a:pt x="978" y="67"/>
                    </a:lnTo>
                    <a:lnTo>
                      <a:pt x="973" y="65"/>
                    </a:lnTo>
                    <a:lnTo>
                      <a:pt x="968" y="62"/>
                    </a:lnTo>
                    <a:lnTo>
                      <a:pt x="965" y="61"/>
                    </a:lnTo>
                    <a:lnTo>
                      <a:pt x="963" y="61"/>
                    </a:lnTo>
                    <a:lnTo>
                      <a:pt x="959" y="56"/>
                    </a:lnTo>
                    <a:lnTo>
                      <a:pt x="957" y="51"/>
                    </a:lnTo>
                    <a:lnTo>
                      <a:pt x="957" y="45"/>
                    </a:lnTo>
                    <a:lnTo>
                      <a:pt x="957" y="43"/>
                    </a:lnTo>
                    <a:lnTo>
                      <a:pt x="957" y="37"/>
                    </a:lnTo>
                    <a:lnTo>
                      <a:pt x="959" y="32"/>
                    </a:lnTo>
                    <a:lnTo>
                      <a:pt x="963" y="23"/>
                    </a:lnTo>
                    <a:lnTo>
                      <a:pt x="967" y="16"/>
                    </a:lnTo>
                    <a:lnTo>
                      <a:pt x="971" y="13"/>
                    </a:lnTo>
                    <a:lnTo>
                      <a:pt x="976" y="11"/>
                    </a:lnTo>
                    <a:lnTo>
                      <a:pt x="978" y="10"/>
                    </a:lnTo>
                    <a:lnTo>
                      <a:pt x="984" y="10"/>
                    </a:lnTo>
                    <a:lnTo>
                      <a:pt x="989" y="13"/>
                    </a:lnTo>
                    <a:lnTo>
                      <a:pt x="994" y="21"/>
                    </a:lnTo>
                    <a:lnTo>
                      <a:pt x="997" y="27"/>
                    </a:lnTo>
                    <a:lnTo>
                      <a:pt x="1000" y="30"/>
                    </a:lnTo>
                    <a:lnTo>
                      <a:pt x="1006" y="27"/>
                    </a:lnTo>
                    <a:lnTo>
                      <a:pt x="1016" y="23"/>
                    </a:lnTo>
                    <a:lnTo>
                      <a:pt x="1019" y="24"/>
                    </a:lnTo>
                    <a:lnTo>
                      <a:pt x="1020" y="27"/>
                    </a:lnTo>
                    <a:lnTo>
                      <a:pt x="1024" y="30"/>
                    </a:lnTo>
                    <a:lnTo>
                      <a:pt x="1027" y="35"/>
                    </a:lnTo>
                    <a:lnTo>
                      <a:pt x="1030" y="37"/>
                    </a:lnTo>
                    <a:lnTo>
                      <a:pt x="1035" y="34"/>
                    </a:lnTo>
                    <a:lnTo>
                      <a:pt x="1038" y="32"/>
                    </a:lnTo>
                    <a:lnTo>
                      <a:pt x="1039" y="32"/>
                    </a:lnTo>
                    <a:lnTo>
                      <a:pt x="1044" y="32"/>
                    </a:lnTo>
                    <a:lnTo>
                      <a:pt x="1049" y="35"/>
                    </a:lnTo>
                    <a:lnTo>
                      <a:pt x="1054" y="37"/>
                    </a:lnTo>
                    <a:lnTo>
                      <a:pt x="1060" y="37"/>
                    </a:lnTo>
                    <a:lnTo>
                      <a:pt x="1066" y="37"/>
                    </a:lnTo>
                    <a:lnTo>
                      <a:pt x="1073" y="37"/>
                    </a:lnTo>
                    <a:lnTo>
                      <a:pt x="1081" y="32"/>
                    </a:lnTo>
                    <a:lnTo>
                      <a:pt x="1087" y="26"/>
                    </a:lnTo>
                    <a:lnTo>
                      <a:pt x="1092" y="24"/>
                    </a:lnTo>
                    <a:lnTo>
                      <a:pt x="1098" y="27"/>
                    </a:lnTo>
                    <a:lnTo>
                      <a:pt x="1106" y="29"/>
                    </a:lnTo>
                    <a:lnTo>
                      <a:pt x="1109" y="29"/>
                    </a:lnTo>
                    <a:lnTo>
                      <a:pt x="1116" y="26"/>
                    </a:lnTo>
                    <a:lnTo>
                      <a:pt x="1122" y="21"/>
                    </a:lnTo>
                    <a:lnTo>
                      <a:pt x="1125" y="21"/>
                    </a:lnTo>
                    <a:lnTo>
                      <a:pt x="1128" y="23"/>
                    </a:lnTo>
                    <a:lnTo>
                      <a:pt x="1133" y="24"/>
                    </a:lnTo>
                    <a:lnTo>
                      <a:pt x="1136" y="23"/>
                    </a:lnTo>
                    <a:lnTo>
                      <a:pt x="1138" y="23"/>
                    </a:lnTo>
                    <a:lnTo>
                      <a:pt x="1139" y="21"/>
                    </a:lnTo>
                    <a:lnTo>
                      <a:pt x="1144" y="21"/>
                    </a:lnTo>
                    <a:lnTo>
                      <a:pt x="1146" y="21"/>
                    </a:lnTo>
                    <a:lnTo>
                      <a:pt x="1147" y="16"/>
                    </a:lnTo>
                    <a:lnTo>
                      <a:pt x="1149" y="16"/>
                    </a:lnTo>
                    <a:lnTo>
                      <a:pt x="1154" y="15"/>
                    </a:lnTo>
                    <a:lnTo>
                      <a:pt x="1158" y="15"/>
                    </a:lnTo>
                    <a:lnTo>
                      <a:pt x="1160" y="15"/>
                    </a:lnTo>
                    <a:lnTo>
                      <a:pt x="1161" y="16"/>
                    </a:lnTo>
                    <a:lnTo>
                      <a:pt x="1165" y="19"/>
                    </a:lnTo>
                    <a:lnTo>
                      <a:pt x="1166" y="19"/>
                    </a:lnTo>
                    <a:lnTo>
                      <a:pt x="1171" y="18"/>
                    </a:lnTo>
                    <a:lnTo>
                      <a:pt x="1177" y="15"/>
                    </a:lnTo>
                    <a:lnTo>
                      <a:pt x="1184" y="15"/>
                    </a:lnTo>
                    <a:lnTo>
                      <a:pt x="1192" y="16"/>
                    </a:lnTo>
                    <a:lnTo>
                      <a:pt x="1196" y="18"/>
                    </a:lnTo>
                    <a:lnTo>
                      <a:pt x="1198" y="23"/>
                    </a:lnTo>
                    <a:lnTo>
                      <a:pt x="1201" y="24"/>
                    </a:lnTo>
                    <a:lnTo>
                      <a:pt x="1204" y="26"/>
                    </a:lnTo>
                    <a:lnTo>
                      <a:pt x="1204" y="32"/>
                    </a:lnTo>
                    <a:lnTo>
                      <a:pt x="1203" y="38"/>
                    </a:lnTo>
                    <a:lnTo>
                      <a:pt x="1203" y="46"/>
                    </a:lnTo>
                    <a:lnTo>
                      <a:pt x="1207" y="54"/>
                    </a:lnTo>
                    <a:lnTo>
                      <a:pt x="1211" y="59"/>
                    </a:lnTo>
                    <a:lnTo>
                      <a:pt x="1215" y="61"/>
                    </a:lnTo>
                    <a:lnTo>
                      <a:pt x="1220" y="57"/>
                    </a:lnTo>
                    <a:lnTo>
                      <a:pt x="1223" y="56"/>
                    </a:lnTo>
                    <a:lnTo>
                      <a:pt x="1225" y="54"/>
                    </a:lnTo>
                    <a:lnTo>
                      <a:pt x="1230" y="53"/>
                    </a:lnTo>
                    <a:lnTo>
                      <a:pt x="1236" y="49"/>
                    </a:lnTo>
                    <a:lnTo>
                      <a:pt x="1239" y="46"/>
                    </a:lnTo>
                    <a:lnTo>
                      <a:pt x="1239" y="43"/>
                    </a:lnTo>
                    <a:lnTo>
                      <a:pt x="1242" y="37"/>
                    </a:lnTo>
                    <a:lnTo>
                      <a:pt x="1244" y="29"/>
                    </a:lnTo>
                    <a:lnTo>
                      <a:pt x="1244" y="27"/>
                    </a:lnTo>
                    <a:lnTo>
                      <a:pt x="1245" y="23"/>
                    </a:lnTo>
                    <a:lnTo>
                      <a:pt x="1249" y="18"/>
                    </a:lnTo>
                    <a:lnTo>
                      <a:pt x="1249" y="13"/>
                    </a:lnTo>
                    <a:lnTo>
                      <a:pt x="1250" y="7"/>
                    </a:lnTo>
                    <a:lnTo>
                      <a:pt x="1253" y="4"/>
                    </a:lnTo>
                    <a:lnTo>
                      <a:pt x="1260" y="5"/>
                    </a:lnTo>
                    <a:lnTo>
                      <a:pt x="1263" y="4"/>
                    </a:lnTo>
                    <a:lnTo>
                      <a:pt x="1268" y="0"/>
                    </a:lnTo>
                    <a:lnTo>
                      <a:pt x="1274" y="2"/>
                    </a:lnTo>
                    <a:lnTo>
                      <a:pt x="1279" y="4"/>
                    </a:lnTo>
                    <a:lnTo>
                      <a:pt x="1282" y="5"/>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69" name="Freeform 67"/>
              <p:cNvSpPr>
                <a:spLocks/>
              </p:cNvSpPr>
              <p:nvPr/>
            </p:nvSpPr>
            <p:spPr bwMode="auto">
              <a:xfrm>
                <a:off x="2447" y="646"/>
                <a:ext cx="1033" cy="772"/>
              </a:xfrm>
              <a:custGeom>
                <a:avLst/>
                <a:gdLst>
                  <a:gd name="T0" fmla="*/ 556 w 1033"/>
                  <a:gd name="T1" fmla="*/ 111 h 772"/>
                  <a:gd name="T2" fmla="*/ 629 w 1033"/>
                  <a:gd name="T3" fmla="*/ 133 h 772"/>
                  <a:gd name="T4" fmla="*/ 727 w 1033"/>
                  <a:gd name="T5" fmla="*/ 105 h 772"/>
                  <a:gd name="T6" fmla="*/ 797 w 1033"/>
                  <a:gd name="T7" fmla="*/ 95 h 772"/>
                  <a:gd name="T8" fmla="*/ 887 w 1033"/>
                  <a:gd name="T9" fmla="*/ 111 h 772"/>
                  <a:gd name="T10" fmla="*/ 938 w 1033"/>
                  <a:gd name="T11" fmla="*/ 117 h 772"/>
                  <a:gd name="T12" fmla="*/ 1031 w 1033"/>
                  <a:gd name="T13" fmla="*/ 136 h 772"/>
                  <a:gd name="T14" fmla="*/ 996 w 1033"/>
                  <a:gd name="T15" fmla="*/ 154 h 772"/>
                  <a:gd name="T16" fmla="*/ 952 w 1033"/>
                  <a:gd name="T17" fmla="*/ 152 h 772"/>
                  <a:gd name="T18" fmla="*/ 960 w 1033"/>
                  <a:gd name="T19" fmla="*/ 171 h 772"/>
                  <a:gd name="T20" fmla="*/ 942 w 1033"/>
                  <a:gd name="T21" fmla="*/ 203 h 772"/>
                  <a:gd name="T22" fmla="*/ 965 w 1033"/>
                  <a:gd name="T23" fmla="*/ 222 h 772"/>
                  <a:gd name="T24" fmla="*/ 976 w 1033"/>
                  <a:gd name="T25" fmla="*/ 250 h 772"/>
                  <a:gd name="T26" fmla="*/ 984 w 1033"/>
                  <a:gd name="T27" fmla="*/ 287 h 772"/>
                  <a:gd name="T28" fmla="*/ 977 w 1033"/>
                  <a:gd name="T29" fmla="*/ 336 h 772"/>
                  <a:gd name="T30" fmla="*/ 984 w 1033"/>
                  <a:gd name="T31" fmla="*/ 385 h 772"/>
                  <a:gd name="T32" fmla="*/ 953 w 1033"/>
                  <a:gd name="T33" fmla="*/ 418 h 772"/>
                  <a:gd name="T34" fmla="*/ 953 w 1033"/>
                  <a:gd name="T35" fmla="*/ 475 h 772"/>
                  <a:gd name="T36" fmla="*/ 974 w 1033"/>
                  <a:gd name="T37" fmla="*/ 523 h 772"/>
                  <a:gd name="T38" fmla="*/ 969 w 1033"/>
                  <a:gd name="T39" fmla="*/ 559 h 772"/>
                  <a:gd name="T40" fmla="*/ 974 w 1033"/>
                  <a:gd name="T41" fmla="*/ 700 h 772"/>
                  <a:gd name="T42" fmla="*/ 920 w 1033"/>
                  <a:gd name="T43" fmla="*/ 765 h 772"/>
                  <a:gd name="T44" fmla="*/ 884 w 1033"/>
                  <a:gd name="T45" fmla="*/ 751 h 772"/>
                  <a:gd name="T46" fmla="*/ 841 w 1033"/>
                  <a:gd name="T47" fmla="*/ 758 h 772"/>
                  <a:gd name="T48" fmla="*/ 814 w 1033"/>
                  <a:gd name="T49" fmla="*/ 720 h 772"/>
                  <a:gd name="T50" fmla="*/ 800 w 1033"/>
                  <a:gd name="T51" fmla="*/ 670 h 772"/>
                  <a:gd name="T52" fmla="*/ 825 w 1033"/>
                  <a:gd name="T53" fmla="*/ 645 h 772"/>
                  <a:gd name="T54" fmla="*/ 825 w 1033"/>
                  <a:gd name="T55" fmla="*/ 615 h 772"/>
                  <a:gd name="T56" fmla="*/ 820 w 1033"/>
                  <a:gd name="T57" fmla="*/ 582 h 772"/>
                  <a:gd name="T58" fmla="*/ 805 w 1033"/>
                  <a:gd name="T59" fmla="*/ 547 h 772"/>
                  <a:gd name="T60" fmla="*/ 765 w 1033"/>
                  <a:gd name="T61" fmla="*/ 558 h 772"/>
                  <a:gd name="T62" fmla="*/ 748 w 1033"/>
                  <a:gd name="T63" fmla="*/ 520 h 772"/>
                  <a:gd name="T64" fmla="*/ 732 w 1033"/>
                  <a:gd name="T65" fmla="*/ 493 h 772"/>
                  <a:gd name="T66" fmla="*/ 692 w 1033"/>
                  <a:gd name="T67" fmla="*/ 485 h 772"/>
                  <a:gd name="T68" fmla="*/ 667 w 1033"/>
                  <a:gd name="T69" fmla="*/ 458 h 772"/>
                  <a:gd name="T70" fmla="*/ 651 w 1033"/>
                  <a:gd name="T71" fmla="*/ 414 h 772"/>
                  <a:gd name="T72" fmla="*/ 610 w 1033"/>
                  <a:gd name="T73" fmla="*/ 414 h 772"/>
                  <a:gd name="T74" fmla="*/ 603 w 1033"/>
                  <a:gd name="T75" fmla="*/ 404 h 772"/>
                  <a:gd name="T76" fmla="*/ 583 w 1033"/>
                  <a:gd name="T77" fmla="*/ 390 h 772"/>
                  <a:gd name="T78" fmla="*/ 562 w 1033"/>
                  <a:gd name="T79" fmla="*/ 396 h 772"/>
                  <a:gd name="T80" fmla="*/ 546 w 1033"/>
                  <a:gd name="T81" fmla="*/ 406 h 772"/>
                  <a:gd name="T82" fmla="*/ 523 w 1033"/>
                  <a:gd name="T83" fmla="*/ 411 h 772"/>
                  <a:gd name="T84" fmla="*/ 480 w 1033"/>
                  <a:gd name="T85" fmla="*/ 412 h 772"/>
                  <a:gd name="T86" fmla="*/ 443 w 1033"/>
                  <a:gd name="T87" fmla="*/ 411 h 772"/>
                  <a:gd name="T88" fmla="*/ 402 w 1033"/>
                  <a:gd name="T89" fmla="*/ 384 h 772"/>
                  <a:gd name="T90" fmla="*/ 377 w 1033"/>
                  <a:gd name="T91" fmla="*/ 385 h 772"/>
                  <a:gd name="T92" fmla="*/ 355 w 1033"/>
                  <a:gd name="T93" fmla="*/ 423 h 772"/>
                  <a:gd name="T94" fmla="*/ 315 w 1033"/>
                  <a:gd name="T95" fmla="*/ 444 h 772"/>
                  <a:gd name="T96" fmla="*/ 272 w 1033"/>
                  <a:gd name="T97" fmla="*/ 450 h 772"/>
                  <a:gd name="T98" fmla="*/ 244 w 1033"/>
                  <a:gd name="T99" fmla="*/ 452 h 772"/>
                  <a:gd name="T100" fmla="*/ 217 w 1033"/>
                  <a:gd name="T101" fmla="*/ 428 h 772"/>
                  <a:gd name="T102" fmla="*/ 171 w 1033"/>
                  <a:gd name="T103" fmla="*/ 444 h 772"/>
                  <a:gd name="T104" fmla="*/ 131 w 1033"/>
                  <a:gd name="T105" fmla="*/ 437 h 772"/>
                  <a:gd name="T106" fmla="*/ 97 w 1033"/>
                  <a:gd name="T107" fmla="*/ 411 h 772"/>
                  <a:gd name="T108" fmla="*/ 57 w 1033"/>
                  <a:gd name="T109" fmla="*/ 387 h 772"/>
                  <a:gd name="T110" fmla="*/ 16 w 1033"/>
                  <a:gd name="T111" fmla="*/ 361 h 772"/>
                  <a:gd name="T112" fmla="*/ 1 w 1033"/>
                  <a:gd name="T113" fmla="*/ 281 h 772"/>
                  <a:gd name="T114" fmla="*/ 71 w 1033"/>
                  <a:gd name="T115" fmla="*/ 173 h 772"/>
                  <a:gd name="T116" fmla="*/ 192 w 1033"/>
                  <a:gd name="T117" fmla="*/ 170 h 772"/>
                  <a:gd name="T118" fmla="*/ 266 w 1033"/>
                  <a:gd name="T119" fmla="*/ 148 h 772"/>
                  <a:gd name="T120" fmla="*/ 344 w 1033"/>
                  <a:gd name="T121" fmla="*/ 146 h 772"/>
                  <a:gd name="T122" fmla="*/ 423 w 1033"/>
                  <a:gd name="T123" fmla="*/ 8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33" h="772">
                    <a:moveTo>
                      <a:pt x="491" y="64"/>
                    </a:moveTo>
                    <a:lnTo>
                      <a:pt x="496" y="64"/>
                    </a:lnTo>
                    <a:lnTo>
                      <a:pt x="497" y="64"/>
                    </a:lnTo>
                    <a:lnTo>
                      <a:pt x="502" y="62"/>
                    </a:lnTo>
                    <a:lnTo>
                      <a:pt x="504" y="62"/>
                    </a:lnTo>
                    <a:lnTo>
                      <a:pt x="505" y="62"/>
                    </a:lnTo>
                    <a:lnTo>
                      <a:pt x="507" y="60"/>
                    </a:lnTo>
                    <a:lnTo>
                      <a:pt x="508" y="60"/>
                    </a:lnTo>
                    <a:lnTo>
                      <a:pt x="510" y="59"/>
                    </a:lnTo>
                    <a:lnTo>
                      <a:pt x="512" y="59"/>
                    </a:lnTo>
                    <a:lnTo>
                      <a:pt x="513" y="60"/>
                    </a:lnTo>
                    <a:lnTo>
                      <a:pt x="518" y="60"/>
                    </a:lnTo>
                    <a:lnTo>
                      <a:pt x="521" y="60"/>
                    </a:lnTo>
                    <a:lnTo>
                      <a:pt x="524" y="62"/>
                    </a:lnTo>
                    <a:lnTo>
                      <a:pt x="526" y="64"/>
                    </a:lnTo>
                    <a:lnTo>
                      <a:pt x="527" y="65"/>
                    </a:lnTo>
                    <a:lnTo>
                      <a:pt x="529" y="65"/>
                    </a:lnTo>
                    <a:lnTo>
                      <a:pt x="529" y="68"/>
                    </a:lnTo>
                    <a:lnTo>
                      <a:pt x="529" y="70"/>
                    </a:lnTo>
                    <a:lnTo>
                      <a:pt x="531" y="71"/>
                    </a:lnTo>
                    <a:lnTo>
                      <a:pt x="531" y="73"/>
                    </a:lnTo>
                    <a:lnTo>
                      <a:pt x="531" y="76"/>
                    </a:lnTo>
                    <a:lnTo>
                      <a:pt x="531" y="78"/>
                    </a:lnTo>
                    <a:lnTo>
                      <a:pt x="531" y="79"/>
                    </a:lnTo>
                    <a:lnTo>
                      <a:pt x="531" y="81"/>
                    </a:lnTo>
                    <a:lnTo>
                      <a:pt x="534" y="83"/>
                    </a:lnTo>
                    <a:lnTo>
                      <a:pt x="534" y="84"/>
                    </a:lnTo>
                    <a:lnTo>
                      <a:pt x="535" y="84"/>
                    </a:lnTo>
                    <a:lnTo>
                      <a:pt x="537" y="86"/>
                    </a:lnTo>
                    <a:lnTo>
                      <a:pt x="538" y="86"/>
                    </a:lnTo>
                    <a:lnTo>
                      <a:pt x="540" y="87"/>
                    </a:lnTo>
                    <a:lnTo>
                      <a:pt x="542" y="89"/>
                    </a:lnTo>
                    <a:lnTo>
                      <a:pt x="543" y="92"/>
                    </a:lnTo>
                    <a:lnTo>
                      <a:pt x="546" y="97"/>
                    </a:lnTo>
                    <a:lnTo>
                      <a:pt x="548" y="98"/>
                    </a:lnTo>
                    <a:lnTo>
                      <a:pt x="550" y="105"/>
                    </a:lnTo>
                    <a:lnTo>
                      <a:pt x="553" y="108"/>
                    </a:lnTo>
                    <a:lnTo>
                      <a:pt x="554" y="109"/>
                    </a:lnTo>
                    <a:lnTo>
                      <a:pt x="554" y="111"/>
                    </a:lnTo>
                    <a:lnTo>
                      <a:pt x="556" y="111"/>
                    </a:lnTo>
                    <a:lnTo>
                      <a:pt x="556" y="113"/>
                    </a:lnTo>
                    <a:lnTo>
                      <a:pt x="556" y="114"/>
                    </a:lnTo>
                    <a:lnTo>
                      <a:pt x="556" y="116"/>
                    </a:lnTo>
                    <a:lnTo>
                      <a:pt x="557" y="117"/>
                    </a:lnTo>
                    <a:lnTo>
                      <a:pt x="561" y="119"/>
                    </a:lnTo>
                    <a:lnTo>
                      <a:pt x="562" y="119"/>
                    </a:lnTo>
                    <a:lnTo>
                      <a:pt x="564" y="119"/>
                    </a:lnTo>
                    <a:lnTo>
                      <a:pt x="567" y="121"/>
                    </a:lnTo>
                    <a:lnTo>
                      <a:pt x="569" y="122"/>
                    </a:lnTo>
                    <a:lnTo>
                      <a:pt x="570" y="124"/>
                    </a:lnTo>
                    <a:lnTo>
                      <a:pt x="572" y="125"/>
                    </a:lnTo>
                    <a:lnTo>
                      <a:pt x="573" y="125"/>
                    </a:lnTo>
                    <a:lnTo>
                      <a:pt x="573" y="127"/>
                    </a:lnTo>
                    <a:lnTo>
                      <a:pt x="575" y="128"/>
                    </a:lnTo>
                    <a:lnTo>
                      <a:pt x="576" y="132"/>
                    </a:lnTo>
                    <a:lnTo>
                      <a:pt x="578" y="135"/>
                    </a:lnTo>
                    <a:lnTo>
                      <a:pt x="580" y="136"/>
                    </a:lnTo>
                    <a:lnTo>
                      <a:pt x="580" y="138"/>
                    </a:lnTo>
                    <a:lnTo>
                      <a:pt x="581" y="140"/>
                    </a:lnTo>
                    <a:lnTo>
                      <a:pt x="583" y="140"/>
                    </a:lnTo>
                    <a:lnTo>
                      <a:pt x="583" y="141"/>
                    </a:lnTo>
                    <a:lnTo>
                      <a:pt x="586" y="140"/>
                    </a:lnTo>
                    <a:lnTo>
                      <a:pt x="588" y="140"/>
                    </a:lnTo>
                    <a:lnTo>
                      <a:pt x="589" y="140"/>
                    </a:lnTo>
                    <a:lnTo>
                      <a:pt x="591" y="140"/>
                    </a:lnTo>
                    <a:lnTo>
                      <a:pt x="592" y="138"/>
                    </a:lnTo>
                    <a:lnTo>
                      <a:pt x="594" y="140"/>
                    </a:lnTo>
                    <a:lnTo>
                      <a:pt x="595" y="140"/>
                    </a:lnTo>
                    <a:lnTo>
                      <a:pt x="597" y="140"/>
                    </a:lnTo>
                    <a:lnTo>
                      <a:pt x="600" y="141"/>
                    </a:lnTo>
                    <a:lnTo>
                      <a:pt x="602" y="141"/>
                    </a:lnTo>
                    <a:lnTo>
                      <a:pt x="603" y="140"/>
                    </a:lnTo>
                    <a:lnTo>
                      <a:pt x="607" y="140"/>
                    </a:lnTo>
                    <a:lnTo>
                      <a:pt x="608" y="140"/>
                    </a:lnTo>
                    <a:lnTo>
                      <a:pt x="611" y="138"/>
                    </a:lnTo>
                    <a:lnTo>
                      <a:pt x="614" y="136"/>
                    </a:lnTo>
                    <a:lnTo>
                      <a:pt x="616" y="136"/>
                    </a:lnTo>
                    <a:lnTo>
                      <a:pt x="619" y="133"/>
                    </a:lnTo>
                    <a:lnTo>
                      <a:pt x="624" y="132"/>
                    </a:lnTo>
                    <a:lnTo>
                      <a:pt x="629" y="133"/>
                    </a:lnTo>
                    <a:lnTo>
                      <a:pt x="632" y="133"/>
                    </a:lnTo>
                    <a:lnTo>
                      <a:pt x="634" y="135"/>
                    </a:lnTo>
                    <a:lnTo>
                      <a:pt x="635" y="133"/>
                    </a:lnTo>
                    <a:lnTo>
                      <a:pt x="637" y="133"/>
                    </a:lnTo>
                    <a:lnTo>
                      <a:pt x="638" y="133"/>
                    </a:lnTo>
                    <a:lnTo>
                      <a:pt x="641" y="133"/>
                    </a:lnTo>
                    <a:lnTo>
                      <a:pt x="643" y="132"/>
                    </a:lnTo>
                    <a:lnTo>
                      <a:pt x="646" y="130"/>
                    </a:lnTo>
                    <a:lnTo>
                      <a:pt x="651" y="127"/>
                    </a:lnTo>
                    <a:lnTo>
                      <a:pt x="656" y="125"/>
                    </a:lnTo>
                    <a:lnTo>
                      <a:pt x="659" y="125"/>
                    </a:lnTo>
                    <a:lnTo>
                      <a:pt x="665" y="128"/>
                    </a:lnTo>
                    <a:lnTo>
                      <a:pt x="667" y="128"/>
                    </a:lnTo>
                    <a:lnTo>
                      <a:pt x="668" y="128"/>
                    </a:lnTo>
                    <a:lnTo>
                      <a:pt x="670" y="127"/>
                    </a:lnTo>
                    <a:lnTo>
                      <a:pt x="672" y="127"/>
                    </a:lnTo>
                    <a:lnTo>
                      <a:pt x="673" y="127"/>
                    </a:lnTo>
                    <a:lnTo>
                      <a:pt x="676" y="125"/>
                    </a:lnTo>
                    <a:lnTo>
                      <a:pt x="678" y="125"/>
                    </a:lnTo>
                    <a:lnTo>
                      <a:pt x="679" y="125"/>
                    </a:lnTo>
                    <a:lnTo>
                      <a:pt x="684" y="125"/>
                    </a:lnTo>
                    <a:lnTo>
                      <a:pt x="686" y="124"/>
                    </a:lnTo>
                    <a:lnTo>
                      <a:pt x="689" y="122"/>
                    </a:lnTo>
                    <a:lnTo>
                      <a:pt x="692" y="122"/>
                    </a:lnTo>
                    <a:lnTo>
                      <a:pt x="694" y="121"/>
                    </a:lnTo>
                    <a:lnTo>
                      <a:pt x="694" y="119"/>
                    </a:lnTo>
                    <a:lnTo>
                      <a:pt x="695" y="119"/>
                    </a:lnTo>
                    <a:lnTo>
                      <a:pt x="697" y="119"/>
                    </a:lnTo>
                    <a:lnTo>
                      <a:pt x="698" y="117"/>
                    </a:lnTo>
                    <a:lnTo>
                      <a:pt x="705" y="119"/>
                    </a:lnTo>
                    <a:lnTo>
                      <a:pt x="706" y="119"/>
                    </a:lnTo>
                    <a:lnTo>
                      <a:pt x="706" y="117"/>
                    </a:lnTo>
                    <a:lnTo>
                      <a:pt x="710" y="117"/>
                    </a:lnTo>
                    <a:lnTo>
                      <a:pt x="713" y="116"/>
                    </a:lnTo>
                    <a:lnTo>
                      <a:pt x="716" y="114"/>
                    </a:lnTo>
                    <a:lnTo>
                      <a:pt x="719" y="111"/>
                    </a:lnTo>
                    <a:lnTo>
                      <a:pt x="721" y="109"/>
                    </a:lnTo>
                    <a:lnTo>
                      <a:pt x="721" y="108"/>
                    </a:lnTo>
                    <a:lnTo>
                      <a:pt x="722" y="106"/>
                    </a:lnTo>
                    <a:lnTo>
                      <a:pt x="727" y="105"/>
                    </a:lnTo>
                    <a:lnTo>
                      <a:pt x="730" y="105"/>
                    </a:lnTo>
                    <a:lnTo>
                      <a:pt x="732" y="105"/>
                    </a:lnTo>
                    <a:lnTo>
                      <a:pt x="732" y="103"/>
                    </a:lnTo>
                    <a:lnTo>
                      <a:pt x="733" y="103"/>
                    </a:lnTo>
                    <a:lnTo>
                      <a:pt x="735" y="102"/>
                    </a:lnTo>
                    <a:lnTo>
                      <a:pt x="738" y="100"/>
                    </a:lnTo>
                    <a:lnTo>
                      <a:pt x="741" y="98"/>
                    </a:lnTo>
                    <a:lnTo>
                      <a:pt x="743" y="97"/>
                    </a:lnTo>
                    <a:lnTo>
                      <a:pt x="744" y="94"/>
                    </a:lnTo>
                    <a:lnTo>
                      <a:pt x="746" y="92"/>
                    </a:lnTo>
                    <a:lnTo>
                      <a:pt x="746" y="90"/>
                    </a:lnTo>
                    <a:lnTo>
                      <a:pt x="748" y="87"/>
                    </a:lnTo>
                    <a:lnTo>
                      <a:pt x="748" y="86"/>
                    </a:lnTo>
                    <a:lnTo>
                      <a:pt x="749" y="84"/>
                    </a:lnTo>
                    <a:lnTo>
                      <a:pt x="749" y="83"/>
                    </a:lnTo>
                    <a:lnTo>
                      <a:pt x="751" y="81"/>
                    </a:lnTo>
                    <a:lnTo>
                      <a:pt x="751" y="79"/>
                    </a:lnTo>
                    <a:lnTo>
                      <a:pt x="751" y="78"/>
                    </a:lnTo>
                    <a:lnTo>
                      <a:pt x="752" y="78"/>
                    </a:lnTo>
                    <a:lnTo>
                      <a:pt x="754" y="78"/>
                    </a:lnTo>
                    <a:lnTo>
                      <a:pt x="755" y="78"/>
                    </a:lnTo>
                    <a:lnTo>
                      <a:pt x="757" y="76"/>
                    </a:lnTo>
                    <a:lnTo>
                      <a:pt x="757" y="75"/>
                    </a:lnTo>
                    <a:lnTo>
                      <a:pt x="760" y="75"/>
                    </a:lnTo>
                    <a:lnTo>
                      <a:pt x="762" y="75"/>
                    </a:lnTo>
                    <a:lnTo>
                      <a:pt x="763" y="73"/>
                    </a:lnTo>
                    <a:lnTo>
                      <a:pt x="768" y="75"/>
                    </a:lnTo>
                    <a:lnTo>
                      <a:pt x="773" y="76"/>
                    </a:lnTo>
                    <a:lnTo>
                      <a:pt x="774" y="76"/>
                    </a:lnTo>
                    <a:lnTo>
                      <a:pt x="776" y="78"/>
                    </a:lnTo>
                    <a:lnTo>
                      <a:pt x="778" y="78"/>
                    </a:lnTo>
                    <a:lnTo>
                      <a:pt x="778" y="79"/>
                    </a:lnTo>
                    <a:lnTo>
                      <a:pt x="782" y="83"/>
                    </a:lnTo>
                    <a:lnTo>
                      <a:pt x="784" y="84"/>
                    </a:lnTo>
                    <a:lnTo>
                      <a:pt x="787" y="86"/>
                    </a:lnTo>
                    <a:lnTo>
                      <a:pt x="789" y="86"/>
                    </a:lnTo>
                    <a:lnTo>
                      <a:pt x="793" y="89"/>
                    </a:lnTo>
                    <a:lnTo>
                      <a:pt x="795" y="92"/>
                    </a:lnTo>
                    <a:lnTo>
                      <a:pt x="797" y="94"/>
                    </a:lnTo>
                    <a:lnTo>
                      <a:pt x="797" y="95"/>
                    </a:lnTo>
                    <a:lnTo>
                      <a:pt x="798" y="97"/>
                    </a:lnTo>
                    <a:lnTo>
                      <a:pt x="800" y="100"/>
                    </a:lnTo>
                    <a:lnTo>
                      <a:pt x="801" y="103"/>
                    </a:lnTo>
                    <a:lnTo>
                      <a:pt x="803" y="108"/>
                    </a:lnTo>
                    <a:lnTo>
                      <a:pt x="805" y="111"/>
                    </a:lnTo>
                    <a:lnTo>
                      <a:pt x="806" y="116"/>
                    </a:lnTo>
                    <a:lnTo>
                      <a:pt x="808" y="121"/>
                    </a:lnTo>
                    <a:lnTo>
                      <a:pt x="809" y="122"/>
                    </a:lnTo>
                    <a:lnTo>
                      <a:pt x="809" y="125"/>
                    </a:lnTo>
                    <a:lnTo>
                      <a:pt x="811" y="127"/>
                    </a:lnTo>
                    <a:lnTo>
                      <a:pt x="813" y="127"/>
                    </a:lnTo>
                    <a:lnTo>
                      <a:pt x="814" y="127"/>
                    </a:lnTo>
                    <a:lnTo>
                      <a:pt x="816" y="127"/>
                    </a:lnTo>
                    <a:lnTo>
                      <a:pt x="817" y="127"/>
                    </a:lnTo>
                    <a:lnTo>
                      <a:pt x="819" y="127"/>
                    </a:lnTo>
                    <a:lnTo>
                      <a:pt x="820" y="127"/>
                    </a:lnTo>
                    <a:lnTo>
                      <a:pt x="825" y="125"/>
                    </a:lnTo>
                    <a:lnTo>
                      <a:pt x="828" y="124"/>
                    </a:lnTo>
                    <a:lnTo>
                      <a:pt x="830" y="122"/>
                    </a:lnTo>
                    <a:lnTo>
                      <a:pt x="833" y="121"/>
                    </a:lnTo>
                    <a:lnTo>
                      <a:pt x="836" y="119"/>
                    </a:lnTo>
                    <a:lnTo>
                      <a:pt x="836" y="117"/>
                    </a:lnTo>
                    <a:lnTo>
                      <a:pt x="839" y="117"/>
                    </a:lnTo>
                    <a:lnTo>
                      <a:pt x="841" y="116"/>
                    </a:lnTo>
                    <a:lnTo>
                      <a:pt x="846" y="113"/>
                    </a:lnTo>
                    <a:lnTo>
                      <a:pt x="847" y="113"/>
                    </a:lnTo>
                    <a:lnTo>
                      <a:pt x="849" y="111"/>
                    </a:lnTo>
                    <a:lnTo>
                      <a:pt x="852" y="111"/>
                    </a:lnTo>
                    <a:lnTo>
                      <a:pt x="854" y="109"/>
                    </a:lnTo>
                    <a:lnTo>
                      <a:pt x="857" y="109"/>
                    </a:lnTo>
                    <a:lnTo>
                      <a:pt x="863" y="109"/>
                    </a:lnTo>
                    <a:lnTo>
                      <a:pt x="866" y="109"/>
                    </a:lnTo>
                    <a:lnTo>
                      <a:pt x="870" y="109"/>
                    </a:lnTo>
                    <a:lnTo>
                      <a:pt x="871" y="109"/>
                    </a:lnTo>
                    <a:lnTo>
                      <a:pt x="874" y="109"/>
                    </a:lnTo>
                    <a:lnTo>
                      <a:pt x="876" y="109"/>
                    </a:lnTo>
                    <a:lnTo>
                      <a:pt x="879" y="109"/>
                    </a:lnTo>
                    <a:lnTo>
                      <a:pt x="881" y="111"/>
                    </a:lnTo>
                    <a:lnTo>
                      <a:pt x="885" y="111"/>
                    </a:lnTo>
                    <a:lnTo>
                      <a:pt x="887" y="111"/>
                    </a:lnTo>
                    <a:lnTo>
                      <a:pt x="890" y="106"/>
                    </a:lnTo>
                    <a:lnTo>
                      <a:pt x="892" y="106"/>
                    </a:lnTo>
                    <a:lnTo>
                      <a:pt x="895" y="106"/>
                    </a:lnTo>
                    <a:lnTo>
                      <a:pt x="895" y="105"/>
                    </a:lnTo>
                    <a:lnTo>
                      <a:pt x="896" y="105"/>
                    </a:lnTo>
                    <a:lnTo>
                      <a:pt x="896" y="103"/>
                    </a:lnTo>
                    <a:lnTo>
                      <a:pt x="896" y="100"/>
                    </a:lnTo>
                    <a:lnTo>
                      <a:pt x="898" y="98"/>
                    </a:lnTo>
                    <a:lnTo>
                      <a:pt x="900" y="97"/>
                    </a:lnTo>
                    <a:lnTo>
                      <a:pt x="901" y="95"/>
                    </a:lnTo>
                    <a:lnTo>
                      <a:pt x="904" y="95"/>
                    </a:lnTo>
                    <a:lnTo>
                      <a:pt x="906" y="95"/>
                    </a:lnTo>
                    <a:lnTo>
                      <a:pt x="912" y="100"/>
                    </a:lnTo>
                    <a:lnTo>
                      <a:pt x="915" y="103"/>
                    </a:lnTo>
                    <a:lnTo>
                      <a:pt x="919" y="105"/>
                    </a:lnTo>
                    <a:lnTo>
                      <a:pt x="919" y="106"/>
                    </a:lnTo>
                    <a:lnTo>
                      <a:pt x="917" y="106"/>
                    </a:lnTo>
                    <a:lnTo>
                      <a:pt x="915" y="106"/>
                    </a:lnTo>
                    <a:lnTo>
                      <a:pt x="915" y="108"/>
                    </a:lnTo>
                    <a:lnTo>
                      <a:pt x="914" y="108"/>
                    </a:lnTo>
                    <a:lnTo>
                      <a:pt x="912" y="108"/>
                    </a:lnTo>
                    <a:lnTo>
                      <a:pt x="912" y="109"/>
                    </a:lnTo>
                    <a:lnTo>
                      <a:pt x="911" y="109"/>
                    </a:lnTo>
                    <a:lnTo>
                      <a:pt x="909" y="109"/>
                    </a:lnTo>
                    <a:lnTo>
                      <a:pt x="908" y="111"/>
                    </a:lnTo>
                    <a:lnTo>
                      <a:pt x="906" y="113"/>
                    </a:lnTo>
                    <a:lnTo>
                      <a:pt x="904" y="113"/>
                    </a:lnTo>
                    <a:lnTo>
                      <a:pt x="903" y="114"/>
                    </a:lnTo>
                    <a:lnTo>
                      <a:pt x="901" y="114"/>
                    </a:lnTo>
                    <a:lnTo>
                      <a:pt x="900" y="114"/>
                    </a:lnTo>
                    <a:lnTo>
                      <a:pt x="901" y="114"/>
                    </a:lnTo>
                    <a:lnTo>
                      <a:pt x="903" y="116"/>
                    </a:lnTo>
                    <a:lnTo>
                      <a:pt x="904" y="117"/>
                    </a:lnTo>
                    <a:lnTo>
                      <a:pt x="909" y="114"/>
                    </a:lnTo>
                    <a:lnTo>
                      <a:pt x="911" y="114"/>
                    </a:lnTo>
                    <a:lnTo>
                      <a:pt x="915" y="113"/>
                    </a:lnTo>
                    <a:lnTo>
                      <a:pt x="922" y="113"/>
                    </a:lnTo>
                    <a:lnTo>
                      <a:pt x="928" y="114"/>
                    </a:lnTo>
                    <a:lnTo>
                      <a:pt x="934" y="116"/>
                    </a:lnTo>
                    <a:lnTo>
                      <a:pt x="938" y="117"/>
                    </a:lnTo>
                    <a:lnTo>
                      <a:pt x="942" y="119"/>
                    </a:lnTo>
                    <a:lnTo>
                      <a:pt x="946" y="121"/>
                    </a:lnTo>
                    <a:lnTo>
                      <a:pt x="952" y="121"/>
                    </a:lnTo>
                    <a:lnTo>
                      <a:pt x="955" y="121"/>
                    </a:lnTo>
                    <a:lnTo>
                      <a:pt x="958" y="121"/>
                    </a:lnTo>
                    <a:lnTo>
                      <a:pt x="961" y="119"/>
                    </a:lnTo>
                    <a:lnTo>
                      <a:pt x="966" y="117"/>
                    </a:lnTo>
                    <a:lnTo>
                      <a:pt x="969" y="116"/>
                    </a:lnTo>
                    <a:lnTo>
                      <a:pt x="972" y="114"/>
                    </a:lnTo>
                    <a:lnTo>
                      <a:pt x="974" y="114"/>
                    </a:lnTo>
                    <a:lnTo>
                      <a:pt x="976" y="116"/>
                    </a:lnTo>
                    <a:lnTo>
                      <a:pt x="977" y="116"/>
                    </a:lnTo>
                    <a:lnTo>
                      <a:pt x="980" y="119"/>
                    </a:lnTo>
                    <a:lnTo>
                      <a:pt x="982" y="119"/>
                    </a:lnTo>
                    <a:lnTo>
                      <a:pt x="984" y="121"/>
                    </a:lnTo>
                    <a:lnTo>
                      <a:pt x="985" y="121"/>
                    </a:lnTo>
                    <a:lnTo>
                      <a:pt x="988" y="122"/>
                    </a:lnTo>
                    <a:lnTo>
                      <a:pt x="990" y="122"/>
                    </a:lnTo>
                    <a:lnTo>
                      <a:pt x="991" y="122"/>
                    </a:lnTo>
                    <a:lnTo>
                      <a:pt x="993" y="122"/>
                    </a:lnTo>
                    <a:lnTo>
                      <a:pt x="998" y="125"/>
                    </a:lnTo>
                    <a:lnTo>
                      <a:pt x="1003" y="128"/>
                    </a:lnTo>
                    <a:lnTo>
                      <a:pt x="1006" y="133"/>
                    </a:lnTo>
                    <a:lnTo>
                      <a:pt x="1009" y="138"/>
                    </a:lnTo>
                    <a:lnTo>
                      <a:pt x="1012" y="140"/>
                    </a:lnTo>
                    <a:lnTo>
                      <a:pt x="1017" y="141"/>
                    </a:lnTo>
                    <a:lnTo>
                      <a:pt x="1018" y="141"/>
                    </a:lnTo>
                    <a:lnTo>
                      <a:pt x="1020" y="143"/>
                    </a:lnTo>
                    <a:lnTo>
                      <a:pt x="1023" y="141"/>
                    </a:lnTo>
                    <a:lnTo>
                      <a:pt x="1025" y="141"/>
                    </a:lnTo>
                    <a:lnTo>
                      <a:pt x="1026" y="138"/>
                    </a:lnTo>
                    <a:lnTo>
                      <a:pt x="1028" y="136"/>
                    </a:lnTo>
                    <a:lnTo>
                      <a:pt x="1028" y="135"/>
                    </a:lnTo>
                    <a:lnTo>
                      <a:pt x="1028" y="133"/>
                    </a:lnTo>
                    <a:lnTo>
                      <a:pt x="1030" y="133"/>
                    </a:lnTo>
                    <a:lnTo>
                      <a:pt x="1030" y="132"/>
                    </a:lnTo>
                    <a:lnTo>
                      <a:pt x="1030" y="133"/>
                    </a:lnTo>
                    <a:lnTo>
                      <a:pt x="1031" y="133"/>
                    </a:lnTo>
                    <a:lnTo>
                      <a:pt x="1031" y="135"/>
                    </a:lnTo>
                    <a:lnTo>
                      <a:pt x="1031" y="136"/>
                    </a:lnTo>
                    <a:lnTo>
                      <a:pt x="1031" y="138"/>
                    </a:lnTo>
                    <a:lnTo>
                      <a:pt x="1031" y="140"/>
                    </a:lnTo>
                    <a:lnTo>
                      <a:pt x="1030" y="140"/>
                    </a:lnTo>
                    <a:lnTo>
                      <a:pt x="1030" y="141"/>
                    </a:lnTo>
                    <a:lnTo>
                      <a:pt x="1030" y="143"/>
                    </a:lnTo>
                    <a:lnTo>
                      <a:pt x="1031" y="144"/>
                    </a:lnTo>
                    <a:lnTo>
                      <a:pt x="1031" y="146"/>
                    </a:lnTo>
                    <a:lnTo>
                      <a:pt x="1031" y="148"/>
                    </a:lnTo>
                    <a:lnTo>
                      <a:pt x="1033" y="148"/>
                    </a:lnTo>
                    <a:lnTo>
                      <a:pt x="1033" y="149"/>
                    </a:lnTo>
                    <a:lnTo>
                      <a:pt x="1033" y="151"/>
                    </a:lnTo>
                    <a:lnTo>
                      <a:pt x="1031" y="151"/>
                    </a:lnTo>
                    <a:lnTo>
                      <a:pt x="1031" y="152"/>
                    </a:lnTo>
                    <a:lnTo>
                      <a:pt x="1030" y="152"/>
                    </a:lnTo>
                    <a:lnTo>
                      <a:pt x="1030" y="154"/>
                    </a:lnTo>
                    <a:lnTo>
                      <a:pt x="1028" y="154"/>
                    </a:lnTo>
                    <a:lnTo>
                      <a:pt x="1026" y="154"/>
                    </a:lnTo>
                    <a:lnTo>
                      <a:pt x="1025" y="155"/>
                    </a:lnTo>
                    <a:lnTo>
                      <a:pt x="1023" y="155"/>
                    </a:lnTo>
                    <a:lnTo>
                      <a:pt x="1022" y="155"/>
                    </a:lnTo>
                    <a:lnTo>
                      <a:pt x="1022" y="157"/>
                    </a:lnTo>
                    <a:lnTo>
                      <a:pt x="1020" y="157"/>
                    </a:lnTo>
                    <a:lnTo>
                      <a:pt x="1018" y="157"/>
                    </a:lnTo>
                    <a:lnTo>
                      <a:pt x="1017" y="155"/>
                    </a:lnTo>
                    <a:lnTo>
                      <a:pt x="1015" y="155"/>
                    </a:lnTo>
                    <a:lnTo>
                      <a:pt x="1014" y="155"/>
                    </a:lnTo>
                    <a:lnTo>
                      <a:pt x="1012" y="155"/>
                    </a:lnTo>
                    <a:lnTo>
                      <a:pt x="1012" y="154"/>
                    </a:lnTo>
                    <a:lnTo>
                      <a:pt x="1011" y="154"/>
                    </a:lnTo>
                    <a:lnTo>
                      <a:pt x="1009" y="154"/>
                    </a:lnTo>
                    <a:lnTo>
                      <a:pt x="1009" y="155"/>
                    </a:lnTo>
                    <a:lnTo>
                      <a:pt x="1007" y="155"/>
                    </a:lnTo>
                    <a:lnTo>
                      <a:pt x="1006" y="155"/>
                    </a:lnTo>
                    <a:lnTo>
                      <a:pt x="1006" y="154"/>
                    </a:lnTo>
                    <a:lnTo>
                      <a:pt x="1004" y="154"/>
                    </a:lnTo>
                    <a:lnTo>
                      <a:pt x="1003" y="154"/>
                    </a:lnTo>
                    <a:lnTo>
                      <a:pt x="1001" y="154"/>
                    </a:lnTo>
                    <a:lnTo>
                      <a:pt x="999" y="154"/>
                    </a:lnTo>
                    <a:lnTo>
                      <a:pt x="998" y="154"/>
                    </a:lnTo>
                    <a:lnTo>
                      <a:pt x="996" y="154"/>
                    </a:lnTo>
                    <a:lnTo>
                      <a:pt x="995" y="154"/>
                    </a:lnTo>
                    <a:lnTo>
                      <a:pt x="995" y="155"/>
                    </a:lnTo>
                    <a:lnTo>
                      <a:pt x="993" y="155"/>
                    </a:lnTo>
                    <a:lnTo>
                      <a:pt x="991" y="155"/>
                    </a:lnTo>
                    <a:lnTo>
                      <a:pt x="991" y="154"/>
                    </a:lnTo>
                    <a:lnTo>
                      <a:pt x="993" y="154"/>
                    </a:lnTo>
                    <a:lnTo>
                      <a:pt x="993" y="152"/>
                    </a:lnTo>
                    <a:lnTo>
                      <a:pt x="991" y="152"/>
                    </a:lnTo>
                    <a:lnTo>
                      <a:pt x="990" y="152"/>
                    </a:lnTo>
                    <a:lnTo>
                      <a:pt x="988" y="152"/>
                    </a:lnTo>
                    <a:lnTo>
                      <a:pt x="988" y="151"/>
                    </a:lnTo>
                    <a:lnTo>
                      <a:pt x="987" y="151"/>
                    </a:lnTo>
                    <a:lnTo>
                      <a:pt x="987" y="149"/>
                    </a:lnTo>
                    <a:lnTo>
                      <a:pt x="985" y="149"/>
                    </a:lnTo>
                    <a:lnTo>
                      <a:pt x="985" y="151"/>
                    </a:lnTo>
                    <a:lnTo>
                      <a:pt x="984" y="151"/>
                    </a:lnTo>
                    <a:lnTo>
                      <a:pt x="982" y="151"/>
                    </a:lnTo>
                    <a:lnTo>
                      <a:pt x="980" y="151"/>
                    </a:lnTo>
                    <a:lnTo>
                      <a:pt x="979" y="151"/>
                    </a:lnTo>
                    <a:lnTo>
                      <a:pt x="979" y="149"/>
                    </a:lnTo>
                    <a:lnTo>
                      <a:pt x="977" y="149"/>
                    </a:lnTo>
                    <a:lnTo>
                      <a:pt x="976" y="149"/>
                    </a:lnTo>
                    <a:lnTo>
                      <a:pt x="974" y="151"/>
                    </a:lnTo>
                    <a:lnTo>
                      <a:pt x="972" y="151"/>
                    </a:lnTo>
                    <a:lnTo>
                      <a:pt x="972" y="152"/>
                    </a:lnTo>
                    <a:lnTo>
                      <a:pt x="971" y="152"/>
                    </a:lnTo>
                    <a:lnTo>
                      <a:pt x="969" y="152"/>
                    </a:lnTo>
                    <a:lnTo>
                      <a:pt x="968" y="152"/>
                    </a:lnTo>
                    <a:lnTo>
                      <a:pt x="968" y="154"/>
                    </a:lnTo>
                    <a:lnTo>
                      <a:pt x="966" y="154"/>
                    </a:lnTo>
                    <a:lnTo>
                      <a:pt x="965" y="154"/>
                    </a:lnTo>
                    <a:lnTo>
                      <a:pt x="963" y="154"/>
                    </a:lnTo>
                    <a:lnTo>
                      <a:pt x="961" y="152"/>
                    </a:lnTo>
                    <a:lnTo>
                      <a:pt x="960" y="152"/>
                    </a:lnTo>
                    <a:lnTo>
                      <a:pt x="958" y="152"/>
                    </a:lnTo>
                    <a:lnTo>
                      <a:pt x="957" y="152"/>
                    </a:lnTo>
                    <a:lnTo>
                      <a:pt x="957" y="151"/>
                    </a:lnTo>
                    <a:lnTo>
                      <a:pt x="955" y="151"/>
                    </a:lnTo>
                    <a:lnTo>
                      <a:pt x="953" y="152"/>
                    </a:lnTo>
                    <a:lnTo>
                      <a:pt x="952" y="152"/>
                    </a:lnTo>
                    <a:lnTo>
                      <a:pt x="952" y="154"/>
                    </a:lnTo>
                    <a:lnTo>
                      <a:pt x="952" y="155"/>
                    </a:lnTo>
                    <a:lnTo>
                      <a:pt x="950" y="155"/>
                    </a:lnTo>
                    <a:lnTo>
                      <a:pt x="950" y="157"/>
                    </a:lnTo>
                    <a:lnTo>
                      <a:pt x="949" y="157"/>
                    </a:lnTo>
                    <a:lnTo>
                      <a:pt x="947" y="159"/>
                    </a:lnTo>
                    <a:lnTo>
                      <a:pt x="947" y="157"/>
                    </a:lnTo>
                    <a:lnTo>
                      <a:pt x="946" y="157"/>
                    </a:lnTo>
                    <a:lnTo>
                      <a:pt x="944" y="157"/>
                    </a:lnTo>
                    <a:lnTo>
                      <a:pt x="942" y="157"/>
                    </a:lnTo>
                    <a:lnTo>
                      <a:pt x="942" y="159"/>
                    </a:lnTo>
                    <a:lnTo>
                      <a:pt x="942" y="160"/>
                    </a:lnTo>
                    <a:lnTo>
                      <a:pt x="942" y="162"/>
                    </a:lnTo>
                    <a:lnTo>
                      <a:pt x="942" y="163"/>
                    </a:lnTo>
                    <a:lnTo>
                      <a:pt x="941" y="163"/>
                    </a:lnTo>
                    <a:lnTo>
                      <a:pt x="941" y="165"/>
                    </a:lnTo>
                    <a:lnTo>
                      <a:pt x="941" y="167"/>
                    </a:lnTo>
                    <a:lnTo>
                      <a:pt x="941" y="168"/>
                    </a:lnTo>
                    <a:lnTo>
                      <a:pt x="939" y="170"/>
                    </a:lnTo>
                    <a:lnTo>
                      <a:pt x="938" y="170"/>
                    </a:lnTo>
                    <a:lnTo>
                      <a:pt x="939" y="170"/>
                    </a:lnTo>
                    <a:lnTo>
                      <a:pt x="939" y="171"/>
                    </a:lnTo>
                    <a:lnTo>
                      <a:pt x="941" y="171"/>
                    </a:lnTo>
                    <a:lnTo>
                      <a:pt x="941" y="173"/>
                    </a:lnTo>
                    <a:lnTo>
                      <a:pt x="941" y="174"/>
                    </a:lnTo>
                    <a:lnTo>
                      <a:pt x="942" y="174"/>
                    </a:lnTo>
                    <a:lnTo>
                      <a:pt x="942" y="176"/>
                    </a:lnTo>
                    <a:lnTo>
                      <a:pt x="942" y="174"/>
                    </a:lnTo>
                    <a:lnTo>
                      <a:pt x="944" y="174"/>
                    </a:lnTo>
                    <a:lnTo>
                      <a:pt x="946" y="176"/>
                    </a:lnTo>
                    <a:lnTo>
                      <a:pt x="947" y="176"/>
                    </a:lnTo>
                    <a:lnTo>
                      <a:pt x="949" y="176"/>
                    </a:lnTo>
                    <a:lnTo>
                      <a:pt x="949" y="174"/>
                    </a:lnTo>
                    <a:lnTo>
                      <a:pt x="950" y="174"/>
                    </a:lnTo>
                    <a:lnTo>
                      <a:pt x="952" y="174"/>
                    </a:lnTo>
                    <a:lnTo>
                      <a:pt x="953" y="173"/>
                    </a:lnTo>
                    <a:lnTo>
                      <a:pt x="955" y="173"/>
                    </a:lnTo>
                    <a:lnTo>
                      <a:pt x="957" y="173"/>
                    </a:lnTo>
                    <a:lnTo>
                      <a:pt x="958" y="171"/>
                    </a:lnTo>
                    <a:lnTo>
                      <a:pt x="960" y="171"/>
                    </a:lnTo>
                    <a:lnTo>
                      <a:pt x="961" y="173"/>
                    </a:lnTo>
                    <a:lnTo>
                      <a:pt x="963" y="173"/>
                    </a:lnTo>
                    <a:lnTo>
                      <a:pt x="965" y="173"/>
                    </a:lnTo>
                    <a:lnTo>
                      <a:pt x="966" y="173"/>
                    </a:lnTo>
                    <a:lnTo>
                      <a:pt x="968" y="174"/>
                    </a:lnTo>
                    <a:lnTo>
                      <a:pt x="968" y="176"/>
                    </a:lnTo>
                    <a:lnTo>
                      <a:pt x="968" y="178"/>
                    </a:lnTo>
                    <a:lnTo>
                      <a:pt x="966" y="178"/>
                    </a:lnTo>
                    <a:lnTo>
                      <a:pt x="966" y="179"/>
                    </a:lnTo>
                    <a:lnTo>
                      <a:pt x="965" y="179"/>
                    </a:lnTo>
                    <a:lnTo>
                      <a:pt x="963" y="179"/>
                    </a:lnTo>
                    <a:lnTo>
                      <a:pt x="963" y="181"/>
                    </a:lnTo>
                    <a:lnTo>
                      <a:pt x="963" y="182"/>
                    </a:lnTo>
                    <a:lnTo>
                      <a:pt x="963" y="184"/>
                    </a:lnTo>
                    <a:lnTo>
                      <a:pt x="961" y="184"/>
                    </a:lnTo>
                    <a:lnTo>
                      <a:pt x="961" y="186"/>
                    </a:lnTo>
                    <a:lnTo>
                      <a:pt x="961" y="187"/>
                    </a:lnTo>
                    <a:lnTo>
                      <a:pt x="961" y="189"/>
                    </a:lnTo>
                    <a:lnTo>
                      <a:pt x="961" y="190"/>
                    </a:lnTo>
                    <a:lnTo>
                      <a:pt x="960" y="190"/>
                    </a:lnTo>
                    <a:lnTo>
                      <a:pt x="958" y="190"/>
                    </a:lnTo>
                    <a:lnTo>
                      <a:pt x="957" y="190"/>
                    </a:lnTo>
                    <a:lnTo>
                      <a:pt x="955" y="192"/>
                    </a:lnTo>
                    <a:lnTo>
                      <a:pt x="953" y="192"/>
                    </a:lnTo>
                    <a:lnTo>
                      <a:pt x="953" y="190"/>
                    </a:lnTo>
                    <a:lnTo>
                      <a:pt x="952" y="190"/>
                    </a:lnTo>
                    <a:lnTo>
                      <a:pt x="950" y="190"/>
                    </a:lnTo>
                    <a:lnTo>
                      <a:pt x="949" y="190"/>
                    </a:lnTo>
                    <a:lnTo>
                      <a:pt x="947" y="190"/>
                    </a:lnTo>
                    <a:lnTo>
                      <a:pt x="947" y="192"/>
                    </a:lnTo>
                    <a:lnTo>
                      <a:pt x="946" y="192"/>
                    </a:lnTo>
                    <a:lnTo>
                      <a:pt x="946" y="193"/>
                    </a:lnTo>
                    <a:lnTo>
                      <a:pt x="944" y="193"/>
                    </a:lnTo>
                    <a:lnTo>
                      <a:pt x="944" y="195"/>
                    </a:lnTo>
                    <a:lnTo>
                      <a:pt x="944" y="197"/>
                    </a:lnTo>
                    <a:lnTo>
                      <a:pt x="944" y="198"/>
                    </a:lnTo>
                    <a:lnTo>
                      <a:pt x="944" y="200"/>
                    </a:lnTo>
                    <a:lnTo>
                      <a:pt x="944" y="201"/>
                    </a:lnTo>
                    <a:lnTo>
                      <a:pt x="942" y="201"/>
                    </a:lnTo>
                    <a:lnTo>
                      <a:pt x="942" y="203"/>
                    </a:lnTo>
                    <a:lnTo>
                      <a:pt x="942" y="205"/>
                    </a:lnTo>
                    <a:lnTo>
                      <a:pt x="942" y="206"/>
                    </a:lnTo>
                    <a:lnTo>
                      <a:pt x="942" y="208"/>
                    </a:lnTo>
                    <a:lnTo>
                      <a:pt x="942" y="209"/>
                    </a:lnTo>
                    <a:lnTo>
                      <a:pt x="941" y="211"/>
                    </a:lnTo>
                    <a:lnTo>
                      <a:pt x="939" y="211"/>
                    </a:lnTo>
                    <a:lnTo>
                      <a:pt x="939" y="212"/>
                    </a:lnTo>
                    <a:lnTo>
                      <a:pt x="938" y="212"/>
                    </a:lnTo>
                    <a:lnTo>
                      <a:pt x="938" y="214"/>
                    </a:lnTo>
                    <a:lnTo>
                      <a:pt x="936" y="214"/>
                    </a:lnTo>
                    <a:lnTo>
                      <a:pt x="936" y="216"/>
                    </a:lnTo>
                    <a:lnTo>
                      <a:pt x="936" y="217"/>
                    </a:lnTo>
                    <a:lnTo>
                      <a:pt x="938" y="217"/>
                    </a:lnTo>
                    <a:lnTo>
                      <a:pt x="939" y="217"/>
                    </a:lnTo>
                    <a:lnTo>
                      <a:pt x="939" y="219"/>
                    </a:lnTo>
                    <a:lnTo>
                      <a:pt x="941" y="219"/>
                    </a:lnTo>
                    <a:lnTo>
                      <a:pt x="942" y="219"/>
                    </a:lnTo>
                    <a:lnTo>
                      <a:pt x="944" y="219"/>
                    </a:lnTo>
                    <a:lnTo>
                      <a:pt x="944" y="217"/>
                    </a:lnTo>
                    <a:lnTo>
                      <a:pt x="946" y="217"/>
                    </a:lnTo>
                    <a:lnTo>
                      <a:pt x="947" y="217"/>
                    </a:lnTo>
                    <a:lnTo>
                      <a:pt x="947" y="216"/>
                    </a:lnTo>
                    <a:lnTo>
                      <a:pt x="949" y="216"/>
                    </a:lnTo>
                    <a:lnTo>
                      <a:pt x="950" y="216"/>
                    </a:lnTo>
                    <a:lnTo>
                      <a:pt x="952" y="216"/>
                    </a:lnTo>
                    <a:lnTo>
                      <a:pt x="952" y="217"/>
                    </a:lnTo>
                    <a:lnTo>
                      <a:pt x="953" y="216"/>
                    </a:lnTo>
                    <a:lnTo>
                      <a:pt x="955" y="216"/>
                    </a:lnTo>
                    <a:lnTo>
                      <a:pt x="957" y="216"/>
                    </a:lnTo>
                    <a:lnTo>
                      <a:pt x="957" y="217"/>
                    </a:lnTo>
                    <a:lnTo>
                      <a:pt x="958" y="217"/>
                    </a:lnTo>
                    <a:lnTo>
                      <a:pt x="960" y="217"/>
                    </a:lnTo>
                    <a:lnTo>
                      <a:pt x="961" y="217"/>
                    </a:lnTo>
                    <a:lnTo>
                      <a:pt x="963" y="217"/>
                    </a:lnTo>
                    <a:lnTo>
                      <a:pt x="963" y="219"/>
                    </a:lnTo>
                    <a:lnTo>
                      <a:pt x="965" y="219"/>
                    </a:lnTo>
                    <a:lnTo>
                      <a:pt x="965" y="220"/>
                    </a:lnTo>
                    <a:lnTo>
                      <a:pt x="966" y="220"/>
                    </a:lnTo>
                    <a:lnTo>
                      <a:pt x="965" y="220"/>
                    </a:lnTo>
                    <a:lnTo>
                      <a:pt x="965" y="222"/>
                    </a:lnTo>
                    <a:lnTo>
                      <a:pt x="965" y="224"/>
                    </a:lnTo>
                    <a:lnTo>
                      <a:pt x="963" y="224"/>
                    </a:lnTo>
                    <a:lnTo>
                      <a:pt x="963" y="225"/>
                    </a:lnTo>
                    <a:lnTo>
                      <a:pt x="961" y="225"/>
                    </a:lnTo>
                    <a:lnTo>
                      <a:pt x="960" y="225"/>
                    </a:lnTo>
                    <a:lnTo>
                      <a:pt x="960" y="227"/>
                    </a:lnTo>
                    <a:lnTo>
                      <a:pt x="960" y="228"/>
                    </a:lnTo>
                    <a:lnTo>
                      <a:pt x="960" y="230"/>
                    </a:lnTo>
                    <a:lnTo>
                      <a:pt x="958" y="230"/>
                    </a:lnTo>
                    <a:lnTo>
                      <a:pt x="957" y="230"/>
                    </a:lnTo>
                    <a:lnTo>
                      <a:pt x="957" y="231"/>
                    </a:lnTo>
                    <a:lnTo>
                      <a:pt x="955" y="231"/>
                    </a:lnTo>
                    <a:lnTo>
                      <a:pt x="955" y="233"/>
                    </a:lnTo>
                    <a:lnTo>
                      <a:pt x="955" y="235"/>
                    </a:lnTo>
                    <a:lnTo>
                      <a:pt x="955" y="236"/>
                    </a:lnTo>
                    <a:lnTo>
                      <a:pt x="957" y="236"/>
                    </a:lnTo>
                    <a:lnTo>
                      <a:pt x="957" y="238"/>
                    </a:lnTo>
                    <a:lnTo>
                      <a:pt x="958" y="238"/>
                    </a:lnTo>
                    <a:lnTo>
                      <a:pt x="960" y="239"/>
                    </a:lnTo>
                    <a:lnTo>
                      <a:pt x="961" y="239"/>
                    </a:lnTo>
                    <a:lnTo>
                      <a:pt x="961" y="241"/>
                    </a:lnTo>
                    <a:lnTo>
                      <a:pt x="961" y="239"/>
                    </a:lnTo>
                    <a:lnTo>
                      <a:pt x="963" y="239"/>
                    </a:lnTo>
                    <a:lnTo>
                      <a:pt x="965" y="239"/>
                    </a:lnTo>
                    <a:lnTo>
                      <a:pt x="965" y="238"/>
                    </a:lnTo>
                    <a:lnTo>
                      <a:pt x="966" y="238"/>
                    </a:lnTo>
                    <a:lnTo>
                      <a:pt x="968" y="238"/>
                    </a:lnTo>
                    <a:lnTo>
                      <a:pt x="968" y="236"/>
                    </a:lnTo>
                    <a:lnTo>
                      <a:pt x="969" y="236"/>
                    </a:lnTo>
                    <a:lnTo>
                      <a:pt x="969" y="238"/>
                    </a:lnTo>
                    <a:lnTo>
                      <a:pt x="971" y="238"/>
                    </a:lnTo>
                    <a:lnTo>
                      <a:pt x="971" y="239"/>
                    </a:lnTo>
                    <a:lnTo>
                      <a:pt x="972" y="241"/>
                    </a:lnTo>
                    <a:lnTo>
                      <a:pt x="972" y="243"/>
                    </a:lnTo>
                    <a:lnTo>
                      <a:pt x="974" y="243"/>
                    </a:lnTo>
                    <a:lnTo>
                      <a:pt x="974" y="244"/>
                    </a:lnTo>
                    <a:lnTo>
                      <a:pt x="976" y="246"/>
                    </a:lnTo>
                    <a:lnTo>
                      <a:pt x="976" y="247"/>
                    </a:lnTo>
                    <a:lnTo>
                      <a:pt x="976" y="249"/>
                    </a:lnTo>
                    <a:lnTo>
                      <a:pt x="976" y="250"/>
                    </a:lnTo>
                    <a:lnTo>
                      <a:pt x="976" y="252"/>
                    </a:lnTo>
                    <a:lnTo>
                      <a:pt x="976" y="254"/>
                    </a:lnTo>
                    <a:lnTo>
                      <a:pt x="976" y="255"/>
                    </a:lnTo>
                    <a:lnTo>
                      <a:pt x="976" y="257"/>
                    </a:lnTo>
                    <a:lnTo>
                      <a:pt x="976" y="258"/>
                    </a:lnTo>
                    <a:lnTo>
                      <a:pt x="976" y="260"/>
                    </a:lnTo>
                    <a:lnTo>
                      <a:pt x="974" y="260"/>
                    </a:lnTo>
                    <a:lnTo>
                      <a:pt x="974" y="262"/>
                    </a:lnTo>
                    <a:lnTo>
                      <a:pt x="974" y="263"/>
                    </a:lnTo>
                    <a:lnTo>
                      <a:pt x="974" y="265"/>
                    </a:lnTo>
                    <a:lnTo>
                      <a:pt x="974" y="266"/>
                    </a:lnTo>
                    <a:lnTo>
                      <a:pt x="974" y="268"/>
                    </a:lnTo>
                    <a:lnTo>
                      <a:pt x="974" y="270"/>
                    </a:lnTo>
                    <a:lnTo>
                      <a:pt x="974" y="271"/>
                    </a:lnTo>
                    <a:lnTo>
                      <a:pt x="974" y="273"/>
                    </a:lnTo>
                    <a:lnTo>
                      <a:pt x="972" y="273"/>
                    </a:lnTo>
                    <a:lnTo>
                      <a:pt x="974" y="274"/>
                    </a:lnTo>
                    <a:lnTo>
                      <a:pt x="976" y="274"/>
                    </a:lnTo>
                    <a:lnTo>
                      <a:pt x="976" y="273"/>
                    </a:lnTo>
                    <a:lnTo>
                      <a:pt x="976" y="274"/>
                    </a:lnTo>
                    <a:lnTo>
                      <a:pt x="977" y="274"/>
                    </a:lnTo>
                    <a:lnTo>
                      <a:pt x="979" y="274"/>
                    </a:lnTo>
                    <a:lnTo>
                      <a:pt x="979" y="273"/>
                    </a:lnTo>
                    <a:lnTo>
                      <a:pt x="979" y="274"/>
                    </a:lnTo>
                    <a:lnTo>
                      <a:pt x="980" y="274"/>
                    </a:lnTo>
                    <a:lnTo>
                      <a:pt x="982" y="274"/>
                    </a:lnTo>
                    <a:lnTo>
                      <a:pt x="982" y="273"/>
                    </a:lnTo>
                    <a:lnTo>
                      <a:pt x="984" y="273"/>
                    </a:lnTo>
                    <a:lnTo>
                      <a:pt x="984" y="274"/>
                    </a:lnTo>
                    <a:lnTo>
                      <a:pt x="985" y="274"/>
                    </a:lnTo>
                    <a:lnTo>
                      <a:pt x="985" y="276"/>
                    </a:lnTo>
                    <a:lnTo>
                      <a:pt x="984" y="276"/>
                    </a:lnTo>
                    <a:lnTo>
                      <a:pt x="984" y="277"/>
                    </a:lnTo>
                    <a:lnTo>
                      <a:pt x="984" y="279"/>
                    </a:lnTo>
                    <a:lnTo>
                      <a:pt x="984" y="281"/>
                    </a:lnTo>
                    <a:lnTo>
                      <a:pt x="984" y="282"/>
                    </a:lnTo>
                    <a:lnTo>
                      <a:pt x="984" y="284"/>
                    </a:lnTo>
                    <a:lnTo>
                      <a:pt x="982" y="285"/>
                    </a:lnTo>
                    <a:lnTo>
                      <a:pt x="984" y="285"/>
                    </a:lnTo>
                    <a:lnTo>
                      <a:pt x="984" y="287"/>
                    </a:lnTo>
                    <a:lnTo>
                      <a:pt x="984" y="289"/>
                    </a:lnTo>
                    <a:lnTo>
                      <a:pt x="984" y="290"/>
                    </a:lnTo>
                    <a:lnTo>
                      <a:pt x="985" y="290"/>
                    </a:lnTo>
                    <a:lnTo>
                      <a:pt x="985" y="292"/>
                    </a:lnTo>
                    <a:lnTo>
                      <a:pt x="984" y="292"/>
                    </a:lnTo>
                    <a:lnTo>
                      <a:pt x="984" y="293"/>
                    </a:lnTo>
                    <a:lnTo>
                      <a:pt x="984" y="295"/>
                    </a:lnTo>
                    <a:lnTo>
                      <a:pt x="982" y="295"/>
                    </a:lnTo>
                    <a:lnTo>
                      <a:pt x="982" y="296"/>
                    </a:lnTo>
                    <a:lnTo>
                      <a:pt x="980" y="298"/>
                    </a:lnTo>
                    <a:lnTo>
                      <a:pt x="982" y="298"/>
                    </a:lnTo>
                    <a:lnTo>
                      <a:pt x="982" y="300"/>
                    </a:lnTo>
                    <a:lnTo>
                      <a:pt x="984" y="300"/>
                    </a:lnTo>
                    <a:lnTo>
                      <a:pt x="984" y="301"/>
                    </a:lnTo>
                    <a:lnTo>
                      <a:pt x="984" y="303"/>
                    </a:lnTo>
                    <a:lnTo>
                      <a:pt x="984" y="304"/>
                    </a:lnTo>
                    <a:lnTo>
                      <a:pt x="982" y="304"/>
                    </a:lnTo>
                    <a:lnTo>
                      <a:pt x="982" y="306"/>
                    </a:lnTo>
                    <a:lnTo>
                      <a:pt x="982" y="308"/>
                    </a:lnTo>
                    <a:lnTo>
                      <a:pt x="982" y="309"/>
                    </a:lnTo>
                    <a:lnTo>
                      <a:pt x="982" y="311"/>
                    </a:lnTo>
                    <a:lnTo>
                      <a:pt x="982" y="312"/>
                    </a:lnTo>
                    <a:lnTo>
                      <a:pt x="980" y="314"/>
                    </a:lnTo>
                    <a:lnTo>
                      <a:pt x="980" y="315"/>
                    </a:lnTo>
                    <a:lnTo>
                      <a:pt x="980" y="317"/>
                    </a:lnTo>
                    <a:lnTo>
                      <a:pt x="980" y="319"/>
                    </a:lnTo>
                    <a:lnTo>
                      <a:pt x="980" y="320"/>
                    </a:lnTo>
                    <a:lnTo>
                      <a:pt x="979" y="320"/>
                    </a:lnTo>
                    <a:lnTo>
                      <a:pt x="979" y="322"/>
                    </a:lnTo>
                    <a:lnTo>
                      <a:pt x="979" y="323"/>
                    </a:lnTo>
                    <a:lnTo>
                      <a:pt x="977" y="325"/>
                    </a:lnTo>
                    <a:lnTo>
                      <a:pt x="977" y="327"/>
                    </a:lnTo>
                    <a:lnTo>
                      <a:pt x="977" y="328"/>
                    </a:lnTo>
                    <a:lnTo>
                      <a:pt x="976" y="328"/>
                    </a:lnTo>
                    <a:lnTo>
                      <a:pt x="977" y="328"/>
                    </a:lnTo>
                    <a:lnTo>
                      <a:pt x="977" y="330"/>
                    </a:lnTo>
                    <a:lnTo>
                      <a:pt x="977" y="331"/>
                    </a:lnTo>
                    <a:lnTo>
                      <a:pt x="977" y="333"/>
                    </a:lnTo>
                    <a:lnTo>
                      <a:pt x="977" y="334"/>
                    </a:lnTo>
                    <a:lnTo>
                      <a:pt x="977" y="336"/>
                    </a:lnTo>
                    <a:lnTo>
                      <a:pt x="977" y="338"/>
                    </a:lnTo>
                    <a:lnTo>
                      <a:pt x="977" y="339"/>
                    </a:lnTo>
                    <a:lnTo>
                      <a:pt x="976" y="339"/>
                    </a:lnTo>
                    <a:lnTo>
                      <a:pt x="976" y="341"/>
                    </a:lnTo>
                    <a:lnTo>
                      <a:pt x="974" y="341"/>
                    </a:lnTo>
                    <a:lnTo>
                      <a:pt x="974" y="342"/>
                    </a:lnTo>
                    <a:lnTo>
                      <a:pt x="974" y="344"/>
                    </a:lnTo>
                    <a:lnTo>
                      <a:pt x="974" y="346"/>
                    </a:lnTo>
                    <a:lnTo>
                      <a:pt x="976" y="346"/>
                    </a:lnTo>
                    <a:lnTo>
                      <a:pt x="976" y="347"/>
                    </a:lnTo>
                    <a:lnTo>
                      <a:pt x="977" y="347"/>
                    </a:lnTo>
                    <a:lnTo>
                      <a:pt x="979" y="347"/>
                    </a:lnTo>
                    <a:lnTo>
                      <a:pt x="979" y="349"/>
                    </a:lnTo>
                    <a:lnTo>
                      <a:pt x="979" y="350"/>
                    </a:lnTo>
                    <a:lnTo>
                      <a:pt x="979" y="352"/>
                    </a:lnTo>
                    <a:lnTo>
                      <a:pt x="979" y="353"/>
                    </a:lnTo>
                    <a:lnTo>
                      <a:pt x="979" y="355"/>
                    </a:lnTo>
                    <a:lnTo>
                      <a:pt x="980" y="357"/>
                    </a:lnTo>
                    <a:lnTo>
                      <a:pt x="982" y="357"/>
                    </a:lnTo>
                    <a:lnTo>
                      <a:pt x="982" y="358"/>
                    </a:lnTo>
                    <a:lnTo>
                      <a:pt x="984" y="358"/>
                    </a:lnTo>
                    <a:lnTo>
                      <a:pt x="984" y="360"/>
                    </a:lnTo>
                    <a:lnTo>
                      <a:pt x="984" y="361"/>
                    </a:lnTo>
                    <a:lnTo>
                      <a:pt x="984" y="363"/>
                    </a:lnTo>
                    <a:lnTo>
                      <a:pt x="984" y="365"/>
                    </a:lnTo>
                    <a:lnTo>
                      <a:pt x="984" y="366"/>
                    </a:lnTo>
                    <a:lnTo>
                      <a:pt x="984" y="368"/>
                    </a:lnTo>
                    <a:lnTo>
                      <a:pt x="984" y="369"/>
                    </a:lnTo>
                    <a:lnTo>
                      <a:pt x="984" y="371"/>
                    </a:lnTo>
                    <a:lnTo>
                      <a:pt x="984" y="372"/>
                    </a:lnTo>
                    <a:lnTo>
                      <a:pt x="984" y="374"/>
                    </a:lnTo>
                    <a:lnTo>
                      <a:pt x="985" y="374"/>
                    </a:lnTo>
                    <a:lnTo>
                      <a:pt x="985" y="376"/>
                    </a:lnTo>
                    <a:lnTo>
                      <a:pt x="985" y="377"/>
                    </a:lnTo>
                    <a:lnTo>
                      <a:pt x="985" y="379"/>
                    </a:lnTo>
                    <a:lnTo>
                      <a:pt x="985" y="380"/>
                    </a:lnTo>
                    <a:lnTo>
                      <a:pt x="985" y="382"/>
                    </a:lnTo>
                    <a:lnTo>
                      <a:pt x="984" y="382"/>
                    </a:lnTo>
                    <a:lnTo>
                      <a:pt x="984" y="384"/>
                    </a:lnTo>
                    <a:lnTo>
                      <a:pt x="984" y="385"/>
                    </a:lnTo>
                    <a:lnTo>
                      <a:pt x="984" y="387"/>
                    </a:lnTo>
                    <a:lnTo>
                      <a:pt x="982" y="388"/>
                    </a:lnTo>
                    <a:lnTo>
                      <a:pt x="982" y="390"/>
                    </a:lnTo>
                    <a:lnTo>
                      <a:pt x="982" y="392"/>
                    </a:lnTo>
                    <a:lnTo>
                      <a:pt x="980" y="392"/>
                    </a:lnTo>
                    <a:lnTo>
                      <a:pt x="979" y="393"/>
                    </a:lnTo>
                    <a:lnTo>
                      <a:pt x="977" y="393"/>
                    </a:lnTo>
                    <a:lnTo>
                      <a:pt x="976" y="393"/>
                    </a:lnTo>
                    <a:lnTo>
                      <a:pt x="974" y="393"/>
                    </a:lnTo>
                    <a:lnTo>
                      <a:pt x="974" y="392"/>
                    </a:lnTo>
                    <a:lnTo>
                      <a:pt x="972" y="392"/>
                    </a:lnTo>
                    <a:lnTo>
                      <a:pt x="971" y="390"/>
                    </a:lnTo>
                    <a:lnTo>
                      <a:pt x="969" y="390"/>
                    </a:lnTo>
                    <a:lnTo>
                      <a:pt x="968" y="390"/>
                    </a:lnTo>
                    <a:lnTo>
                      <a:pt x="968" y="388"/>
                    </a:lnTo>
                    <a:lnTo>
                      <a:pt x="966" y="388"/>
                    </a:lnTo>
                    <a:lnTo>
                      <a:pt x="965" y="388"/>
                    </a:lnTo>
                    <a:lnTo>
                      <a:pt x="963" y="388"/>
                    </a:lnTo>
                    <a:lnTo>
                      <a:pt x="961" y="388"/>
                    </a:lnTo>
                    <a:lnTo>
                      <a:pt x="961" y="390"/>
                    </a:lnTo>
                    <a:lnTo>
                      <a:pt x="961" y="392"/>
                    </a:lnTo>
                    <a:lnTo>
                      <a:pt x="961" y="393"/>
                    </a:lnTo>
                    <a:lnTo>
                      <a:pt x="961" y="395"/>
                    </a:lnTo>
                    <a:lnTo>
                      <a:pt x="961" y="396"/>
                    </a:lnTo>
                    <a:lnTo>
                      <a:pt x="961" y="398"/>
                    </a:lnTo>
                    <a:lnTo>
                      <a:pt x="960" y="399"/>
                    </a:lnTo>
                    <a:lnTo>
                      <a:pt x="960" y="401"/>
                    </a:lnTo>
                    <a:lnTo>
                      <a:pt x="958" y="401"/>
                    </a:lnTo>
                    <a:lnTo>
                      <a:pt x="958" y="403"/>
                    </a:lnTo>
                    <a:lnTo>
                      <a:pt x="958" y="404"/>
                    </a:lnTo>
                    <a:lnTo>
                      <a:pt x="958" y="406"/>
                    </a:lnTo>
                    <a:lnTo>
                      <a:pt x="957" y="407"/>
                    </a:lnTo>
                    <a:lnTo>
                      <a:pt x="957" y="409"/>
                    </a:lnTo>
                    <a:lnTo>
                      <a:pt x="957" y="411"/>
                    </a:lnTo>
                    <a:lnTo>
                      <a:pt x="955" y="411"/>
                    </a:lnTo>
                    <a:lnTo>
                      <a:pt x="955" y="412"/>
                    </a:lnTo>
                    <a:lnTo>
                      <a:pt x="955" y="414"/>
                    </a:lnTo>
                    <a:lnTo>
                      <a:pt x="953" y="415"/>
                    </a:lnTo>
                    <a:lnTo>
                      <a:pt x="953" y="417"/>
                    </a:lnTo>
                    <a:lnTo>
                      <a:pt x="953" y="418"/>
                    </a:lnTo>
                    <a:lnTo>
                      <a:pt x="955" y="420"/>
                    </a:lnTo>
                    <a:lnTo>
                      <a:pt x="955" y="422"/>
                    </a:lnTo>
                    <a:lnTo>
                      <a:pt x="955" y="423"/>
                    </a:lnTo>
                    <a:lnTo>
                      <a:pt x="955" y="425"/>
                    </a:lnTo>
                    <a:lnTo>
                      <a:pt x="955" y="426"/>
                    </a:lnTo>
                    <a:lnTo>
                      <a:pt x="957" y="426"/>
                    </a:lnTo>
                    <a:lnTo>
                      <a:pt x="957" y="428"/>
                    </a:lnTo>
                    <a:lnTo>
                      <a:pt x="958" y="428"/>
                    </a:lnTo>
                    <a:lnTo>
                      <a:pt x="960" y="430"/>
                    </a:lnTo>
                    <a:lnTo>
                      <a:pt x="960" y="431"/>
                    </a:lnTo>
                    <a:lnTo>
                      <a:pt x="960" y="433"/>
                    </a:lnTo>
                    <a:lnTo>
                      <a:pt x="960" y="434"/>
                    </a:lnTo>
                    <a:lnTo>
                      <a:pt x="960" y="436"/>
                    </a:lnTo>
                    <a:lnTo>
                      <a:pt x="960" y="437"/>
                    </a:lnTo>
                    <a:lnTo>
                      <a:pt x="960" y="439"/>
                    </a:lnTo>
                    <a:lnTo>
                      <a:pt x="960" y="441"/>
                    </a:lnTo>
                    <a:lnTo>
                      <a:pt x="960" y="442"/>
                    </a:lnTo>
                    <a:lnTo>
                      <a:pt x="960" y="444"/>
                    </a:lnTo>
                    <a:lnTo>
                      <a:pt x="960" y="445"/>
                    </a:lnTo>
                    <a:lnTo>
                      <a:pt x="960" y="447"/>
                    </a:lnTo>
                    <a:lnTo>
                      <a:pt x="958" y="450"/>
                    </a:lnTo>
                    <a:lnTo>
                      <a:pt x="958" y="452"/>
                    </a:lnTo>
                    <a:lnTo>
                      <a:pt x="958" y="453"/>
                    </a:lnTo>
                    <a:lnTo>
                      <a:pt x="958" y="455"/>
                    </a:lnTo>
                    <a:lnTo>
                      <a:pt x="958" y="456"/>
                    </a:lnTo>
                    <a:lnTo>
                      <a:pt x="958" y="458"/>
                    </a:lnTo>
                    <a:lnTo>
                      <a:pt x="958" y="460"/>
                    </a:lnTo>
                    <a:lnTo>
                      <a:pt x="958" y="461"/>
                    </a:lnTo>
                    <a:lnTo>
                      <a:pt x="958" y="463"/>
                    </a:lnTo>
                    <a:lnTo>
                      <a:pt x="958" y="464"/>
                    </a:lnTo>
                    <a:lnTo>
                      <a:pt x="957" y="464"/>
                    </a:lnTo>
                    <a:lnTo>
                      <a:pt x="957" y="466"/>
                    </a:lnTo>
                    <a:lnTo>
                      <a:pt x="957" y="468"/>
                    </a:lnTo>
                    <a:lnTo>
                      <a:pt x="955" y="468"/>
                    </a:lnTo>
                    <a:lnTo>
                      <a:pt x="955" y="469"/>
                    </a:lnTo>
                    <a:lnTo>
                      <a:pt x="953" y="469"/>
                    </a:lnTo>
                    <a:lnTo>
                      <a:pt x="953" y="471"/>
                    </a:lnTo>
                    <a:lnTo>
                      <a:pt x="953" y="472"/>
                    </a:lnTo>
                    <a:lnTo>
                      <a:pt x="953" y="474"/>
                    </a:lnTo>
                    <a:lnTo>
                      <a:pt x="953" y="475"/>
                    </a:lnTo>
                    <a:lnTo>
                      <a:pt x="953" y="477"/>
                    </a:lnTo>
                    <a:lnTo>
                      <a:pt x="953" y="479"/>
                    </a:lnTo>
                    <a:lnTo>
                      <a:pt x="953" y="480"/>
                    </a:lnTo>
                    <a:lnTo>
                      <a:pt x="952" y="480"/>
                    </a:lnTo>
                    <a:lnTo>
                      <a:pt x="952" y="482"/>
                    </a:lnTo>
                    <a:lnTo>
                      <a:pt x="953" y="482"/>
                    </a:lnTo>
                    <a:lnTo>
                      <a:pt x="953" y="483"/>
                    </a:lnTo>
                    <a:lnTo>
                      <a:pt x="955" y="483"/>
                    </a:lnTo>
                    <a:lnTo>
                      <a:pt x="955" y="485"/>
                    </a:lnTo>
                    <a:lnTo>
                      <a:pt x="957" y="485"/>
                    </a:lnTo>
                    <a:lnTo>
                      <a:pt x="957" y="487"/>
                    </a:lnTo>
                    <a:lnTo>
                      <a:pt x="958" y="487"/>
                    </a:lnTo>
                    <a:lnTo>
                      <a:pt x="958" y="488"/>
                    </a:lnTo>
                    <a:lnTo>
                      <a:pt x="958" y="490"/>
                    </a:lnTo>
                    <a:lnTo>
                      <a:pt x="960" y="490"/>
                    </a:lnTo>
                    <a:lnTo>
                      <a:pt x="960" y="491"/>
                    </a:lnTo>
                    <a:lnTo>
                      <a:pt x="960" y="493"/>
                    </a:lnTo>
                    <a:lnTo>
                      <a:pt x="961" y="493"/>
                    </a:lnTo>
                    <a:lnTo>
                      <a:pt x="961" y="495"/>
                    </a:lnTo>
                    <a:lnTo>
                      <a:pt x="965" y="495"/>
                    </a:lnTo>
                    <a:lnTo>
                      <a:pt x="966" y="495"/>
                    </a:lnTo>
                    <a:lnTo>
                      <a:pt x="968" y="495"/>
                    </a:lnTo>
                    <a:lnTo>
                      <a:pt x="969" y="499"/>
                    </a:lnTo>
                    <a:lnTo>
                      <a:pt x="971" y="509"/>
                    </a:lnTo>
                    <a:lnTo>
                      <a:pt x="971" y="510"/>
                    </a:lnTo>
                    <a:lnTo>
                      <a:pt x="971" y="512"/>
                    </a:lnTo>
                    <a:lnTo>
                      <a:pt x="972" y="512"/>
                    </a:lnTo>
                    <a:lnTo>
                      <a:pt x="972" y="514"/>
                    </a:lnTo>
                    <a:lnTo>
                      <a:pt x="972" y="515"/>
                    </a:lnTo>
                    <a:lnTo>
                      <a:pt x="972" y="517"/>
                    </a:lnTo>
                    <a:lnTo>
                      <a:pt x="972" y="518"/>
                    </a:lnTo>
                    <a:lnTo>
                      <a:pt x="974" y="518"/>
                    </a:lnTo>
                    <a:lnTo>
                      <a:pt x="972" y="518"/>
                    </a:lnTo>
                    <a:lnTo>
                      <a:pt x="972" y="520"/>
                    </a:lnTo>
                    <a:lnTo>
                      <a:pt x="971" y="521"/>
                    </a:lnTo>
                    <a:lnTo>
                      <a:pt x="969" y="521"/>
                    </a:lnTo>
                    <a:lnTo>
                      <a:pt x="969" y="523"/>
                    </a:lnTo>
                    <a:lnTo>
                      <a:pt x="971" y="525"/>
                    </a:lnTo>
                    <a:lnTo>
                      <a:pt x="972" y="525"/>
                    </a:lnTo>
                    <a:lnTo>
                      <a:pt x="974" y="523"/>
                    </a:lnTo>
                    <a:lnTo>
                      <a:pt x="976" y="523"/>
                    </a:lnTo>
                    <a:lnTo>
                      <a:pt x="977" y="523"/>
                    </a:lnTo>
                    <a:lnTo>
                      <a:pt x="977" y="521"/>
                    </a:lnTo>
                    <a:lnTo>
                      <a:pt x="979" y="521"/>
                    </a:lnTo>
                    <a:lnTo>
                      <a:pt x="979" y="523"/>
                    </a:lnTo>
                    <a:lnTo>
                      <a:pt x="980" y="523"/>
                    </a:lnTo>
                    <a:lnTo>
                      <a:pt x="980" y="525"/>
                    </a:lnTo>
                    <a:lnTo>
                      <a:pt x="980" y="526"/>
                    </a:lnTo>
                    <a:lnTo>
                      <a:pt x="980" y="528"/>
                    </a:lnTo>
                    <a:lnTo>
                      <a:pt x="979" y="528"/>
                    </a:lnTo>
                    <a:lnTo>
                      <a:pt x="979" y="529"/>
                    </a:lnTo>
                    <a:lnTo>
                      <a:pt x="979" y="531"/>
                    </a:lnTo>
                    <a:lnTo>
                      <a:pt x="977" y="531"/>
                    </a:lnTo>
                    <a:lnTo>
                      <a:pt x="977" y="533"/>
                    </a:lnTo>
                    <a:lnTo>
                      <a:pt x="976" y="534"/>
                    </a:lnTo>
                    <a:lnTo>
                      <a:pt x="976" y="536"/>
                    </a:lnTo>
                    <a:lnTo>
                      <a:pt x="974" y="536"/>
                    </a:lnTo>
                    <a:lnTo>
                      <a:pt x="974" y="537"/>
                    </a:lnTo>
                    <a:lnTo>
                      <a:pt x="972" y="537"/>
                    </a:lnTo>
                    <a:lnTo>
                      <a:pt x="972" y="539"/>
                    </a:lnTo>
                    <a:lnTo>
                      <a:pt x="974" y="539"/>
                    </a:lnTo>
                    <a:lnTo>
                      <a:pt x="974" y="540"/>
                    </a:lnTo>
                    <a:lnTo>
                      <a:pt x="974" y="542"/>
                    </a:lnTo>
                    <a:lnTo>
                      <a:pt x="972" y="544"/>
                    </a:lnTo>
                    <a:lnTo>
                      <a:pt x="969" y="545"/>
                    </a:lnTo>
                    <a:lnTo>
                      <a:pt x="968" y="544"/>
                    </a:lnTo>
                    <a:lnTo>
                      <a:pt x="966" y="544"/>
                    </a:lnTo>
                    <a:lnTo>
                      <a:pt x="966" y="545"/>
                    </a:lnTo>
                    <a:lnTo>
                      <a:pt x="968" y="545"/>
                    </a:lnTo>
                    <a:lnTo>
                      <a:pt x="968" y="547"/>
                    </a:lnTo>
                    <a:lnTo>
                      <a:pt x="966" y="548"/>
                    </a:lnTo>
                    <a:lnTo>
                      <a:pt x="966" y="550"/>
                    </a:lnTo>
                    <a:lnTo>
                      <a:pt x="966" y="552"/>
                    </a:lnTo>
                    <a:lnTo>
                      <a:pt x="966" y="553"/>
                    </a:lnTo>
                    <a:lnTo>
                      <a:pt x="966" y="555"/>
                    </a:lnTo>
                    <a:lnTo>
                      <a:pt x="968" y="555"/>
                    </a:lnTo>
                    <a:lnTo>
                      <a:pt x="968" y="556"/>
                    </a:lnTo>
                    <a:lnTo>
                      <a:pt x="968" y="558"/>
                    </a:lnTo>
                    <a:lnTo>
                      <a:pt x="969" y="558"/>
                    </a:lnTo>
                    <a:lnTo>
                      <a:pt x="969" y="559"/>
                    </a:lnTo>
                    <a:lnTo>
                      <a:pt x="971" y="559"/>
                    </a:lnTo>
                    <a:lnTo>
                      <a:pt x="971" y="561"/>
                    </a:lnTo>
                    <a:lnTo>
                      <a:pt x="969" y="561"/>
                    </a:lnTo>
                    <a:lnTo>
                      <a:pt x="971" y="561"/>
                    </a:lnTo>
                    <a:lnTo>
                      <a:pt x="969" y="563"/>
                    </a:lnTo>
                    <a:lnTo>
                      <a:pt x="969" y="564"/>
                    </a:lnTo>
                    <a:lnTo>
                      <a:pt x="968" y="566"/>
                    </a:lnTo>
                    <a:lnTo>
                      <a:pt x="968" y="567"/>
                    </a:lnTo>
                    <a:lnTo>
                      <a:pt x="968" y="569"/>
                    </a:lnTo>
                    <a:lnTo>
                      <a:pt x="966" y="569"/>
                    </a:lnTo>
                    <a:lnTo>
                      <a:pt x="965" y="569"/>
                    </a:lnTo>
                    <a:lnTo>
                      <a:pt x="965" y="571"/>
                    </a:lnTo>
                    <a:lnTo>
                      <a:pt x="965" y="572"/>
                    </a:lnTo>
                    <a:lnTo>
                      <a:pt x="965" y="574"/>
                    </a:lnTo>
                    <a:lnTo>
                      <a:pt x="965" y="575"/>
                    </a:lnTo>
                    <a:lnTo>
                      <a:pt x="966" y="575"/>
                    </a:lnTo>
                    <a:lnTo>
                      <a:pt x="966" y="577"/>
                    </a:lnTo>
                    <a:lnTo>
                      <a:pt x="968" y="577"/>
                    </a:lnTo>
                    <a:lnTo>
                      <a:pt x="969" y="577"/>
                    </a:lnTo>
                    <a:lnTo>
                      <a:pt x="971" y="577"/>
                    </a:lnTo>
                    <a:lnTo>
                      <a:pt x="971" y="578"/>
                    </a:lnTo>
                    <a:lnTo>
                      <a:pt x="971" y="580"/>
                    </a:lnTo>
                    <a:lnTo>
                      <a:pt x="971" y="582"/>
                    </a:lnTo>
                    <a:lnTo>
                      <a:pt x="969" y="582"/>
                    </a:lnTo>
                    <a:lnTo>
                      <a:pt x="968" y="583"/>
                    </a:lnTo>
                    <a:lnTo>
                      <a:pt x="968" y="585"/>
                    </a:lnTo>
                    <a:lnTo>
                      <a:pt x="966" y="585"/>
                    </a:lnTo>
                    <a:lnTo>
                      <a:pt x="965" y="585"/>
                    </a:lnTo>
                    <a:lnTo>
                      <a:pt x="965" y="586"/>
                    </a:lnTo>
                    <a:lnTo>
                      <a:pt x="974" y="597"/>
                    </a:lnTo>
                    <a:lnTo>
                      <a:pt x="988" y="597"/>
                    </a:lnTo>
                    <a:lnTo>
                      <a:pt x="995" y="604"/>
                    </a:lnTo>
                    <a:lnTo>
                      <a:pt x="1003" y="617"/>
                    </a:lnTo>
                    <a:lnTo>
                      <a:pt x="1003" y="628"/>
                    </a:lnTo>
                    <a:lnTo>
                      <a:pt x="1003" y="634"/>
                    </a:lnTo>
                    <a:lnTo>
                      <a:pt x="999" y="643"/>
                    </a:lnTo>
                    <a:lnTo>
                      <a:pt x="995" y="659"/>
                    </a:lnTo>
                    <a:lnTo>
                      <a:pt x="980" y="672"/>
                    </a:lnTo>
                    <a:lnTo>
                      <a:pt x="976" y="686"/>
                    </a:lnTo>
                    <a:lnTo>
                      <a:pt x="974" y="700"/>
                    </a:lnTo>
                    <a:lnTo>
                      <a:pt x="972" y="713"/>
                    </a:lnTo>
                    <a:lnTo>
                      <a:pt x="979" y="716"/>
                    </a:lnTo>
                    <a:lnTo>
                      <a:pt x="979" y="721"/>
                    </a:lnTo>
                    <a:lnTo>
                      <a:pt x="979" y="739"/>
                    </a:lnTo>
                    <a:lnTo>
                      <a:pt x="977" y="746"/>
                    </a:lnTo>
                    <a:lnTo>
                      <a:pt x="971" y="751"/>
                    </a:lnTo>
                    <a:lnTo>
                      <a:pt x="969" y="753"/>
                    </a:lnTo>
                    <a:lnTo>
                      <a:pt x="968" y="753"/>
                    </a:lnTo>
                    <a:lnTo>
                      <a:pt x="965" y="753"/>
                    </a:lnTo>
                    <a:lnTo>
                      <a:pt x="963" y="753"/>
                    </a:lnTo>
                    <a:lnTo>
                      <a:pt x="961" y="753"/>
                    </a:lnTo>
                    <a:lnTo>
                      <a:pt x="960" y="754"/>
                    </a:lnTo>
                    <a:lnTo>
                      <a:pt x="958" y="754"/>
                    </a:lnTo>
                    <a:lnTo>
                      <a:pt x="957" y="756"/>
                    </a:lnTo>
                    <a:lnTo>
                      <a:pt x="955" y="756"/>
                    </a:lnTo>
                    <a:lnTo>
                      <a:pt x="953" y="756"/>
                    </a:lnTo>
                    <a:lnTo>
                      <a:pt x="952" y="756"/>
                    </a:lnTo>
                    <a:lnTo>
                      <a:pt x="950" y="756"/>
                    </a:lnTo>
                    <a:lnTo>
                      <a:pt x="949" y="758"/>
                    </a:lnTo>
                    <a:lnTo>
                      <a:pt x="947" y="758"/>
                    </a:lnTo>
                    <a:lnTo>
                      <a:pt x="946" y="756"/>
                    </a:lnTo>
                    <a:lnTo>
                      <a:pt x="942" y="756"/>
                    </a:lnTo>
                    <a:lnTo>
                      <a:pt x="941" y="756"/>
                    </a:lnTo>
                    <a:lnTo>
                      <a:pt x="939" y="756"/>
                    </a:lnTo>
                    <a:lnTo>
                      <a:pt x="938" y="758"/>
                    </a:lnTo>
                    <a:lnTo>
                      <a:pt x="936" y="758"/>
                    </a:lnTo>
                    <a:lnTo>
                      <a:pt x="934" y="758"/>
                    </a:lnTo>
                    <a:lnTo>
                      <a:pt x="933" y="758"/>
                    </a:lnTo>
                    <a:lnTo>
                      <a:pt x="931" y="758"/>
                    </a:lnTo>
                    <a:lnTo>
                      <a:pt x="930" y="758"/>
                    </a:lnTo>
                    <a:lnTo>
                      <a:pt x="928" y="758"/>
                    </a:lnTo>
                    <a:lnTo>
                      <a:pt x="927" y="758"/>
                    </a:lnTo>
                    <a:lnTo>
                      <a:pt x="925" y="758"/>
                    </a:lnTo>
                    <a:lnTo>
                      <a:pt x="925" y="759"/>
                    </a:lnTo>
                    <a:lnTo>
                      <a:pt x="925" y="761"/>
                    </a:lnTo>
                    <a:lnTo>
                      <a:pt x="925" y="762"/>
                    </a:lnTo>
                    <a:lnTo>
                      <a:pt x="923" y="762"/>
                    </a:lnTo>
                    <a:lnTo>
                      <a:pt x="923" y="764"/>
                    </a:lnTo>
                    <a:lnTo>
                      <a:pt x="922" y="765"/>
                    </a:lnTo>
                    <a:lnTo>
                      <a:pt x="920" y="765"/>
                    </a:lnTo>
                    <a:lnTo>
                      <a:pt x="919" y="765"/>
                    </a:lnTo>
                    <a:lnTo>
                      <a:pt x="917" y="765"/>
                    </a:lnTo>
                    <a:lnTo>
                      <a:pt x="917" y="767"/>
                    </a:lnTo>
                    <a:lnTo>
                      <a:pt x="915" y="767"/>
                    </a:lnTo>
                    <a:lnTo>
                      <a:pt x="915" y="769"/>
                    </a:lnTo>
                    <a:lnTo>
                      <a:pt x="914" y="769"/>
                    </a:lnTo>
                    <a:lnTo>
                      <a:pt x="912" y="770"/>
                    </a:lnTo>
                    <a:lnTo>
                      <a:pt x="911" y="770"/>
                    </a:lnTo>
                    <a:lnTo>
                      <a:pt x="909" y="770"/>
                    </a:lnTo>
                    <a:lnTo>
                      <a:pt x="908" y="770"/>
                    </a:lnTo>
                    <a:lnTo>
                      <a:pt x="906" y="770"/>
                    </a:lnTo>
                    <a:lnTo>
                      <a:pt x="904" y="772"/>
                    </a:lnTo>
                    <a:lnTo>
                      <a:pt x="903" y="772"/>
                    </a:lnTo>
                    <a:lnTo>
                      <a:pt x="901" y="772"/>
                    </a:lnTo>
                    <a:lnTo>
                      <a:pt x="900" y="772"/>
                    </a:lnTo>
                    <a:lnTo>
                      <a:pt x="901" y="772"/>
                    </a:lnTo>
                    <a:lnTo>
                      <a:pt x="901" y="770"/>
                    </a:lnTo>
                    <a:lnTo>
                      <a:pt x="901" y="769"/>
                    </a:lnTo>
                    <a:lnTo>
                      <a:pt x="903" y="769"/>
                    </a:lnTo>
                    <a:lnTo>
                      <a:pt x="903" y="767"/>
                    </a:lnTo>
                    <a:lnTo>
                      <a:pt x="903" y="765"/>
                    </a:lnTo>
                    <a:lnTo>
                      <a:pt x="903" y="764"/>
                    </a:lnTo>
                    <a:lnTo>
                      <a:pt x="903" y="762"/>
                    </a:lnTo>
                    <a:lnTo>
                      <a:pt x="903" y="761"/>
                    </a:lnTo>
                    <a:lnTo>
                      <a:pt x="901" y="759"/>
                    </a:lnTo>
                    <a:lnTo>
                      <a:pt x="901" y="758"/>
                    </a:lnTo>
                    <a:lnTo>
                      <a:pt x="900" y="756"/>
                    </a:lnTo>
                    <a:lnTo>
                      <a:pt x="900" y="754"/>
                    </a:lnTo>
                    <a:lnTo>
                      <a:pt x="900" y="753"/>
                    </a:lnTo>
                    <a:lnTo>
                      <a:pt x="900" y="751"/>
                    </a:lnTo>
                    <a:lnTo>
                      <a:pt x="898" y="750"/>
                    </a:lnTo>
                    <a:lnTo>
                      <a:pt x="896" y="750"/>
                    </a:lnTo>
                    <a:lnTo>
                      <a:pt x="895" y="750"/>
                    </a:lnTo>
                    <a:lnTo>
                      <a:pt x="893" y="750"/>
                    </a:lnTo>
                    <a:lnTo>
                      <a:pt x="892" y="750"/>
                    </a:lnTo>
                    <a:lnTo>
                      <a:pt x="890" y="750"/>
                    </a:lnTo>
                    <a:lnTo>
                      <a:pt x="889" y="750"/>
                    </a:lnTo>
                    <a:lnTo>
                      <a:pt x="887" y="750"/>
                    </a:lnTo>
                    <a:lnTo>
                      <a:pt x="885" y="750"/>
                    </a:lnTo>
                    <a:lnTo>
                      <a:pt x="884" y="751"/>
                    </a:lnTo>
                    <a:lnTo>
                      <a:pt x="882" y="751"/>
                    </a:lnTo>
                    <a:lnTo>
                      <a:pt x="881" y="751"/>
                    </a:lnTo>
                    <a:lnTo>
                      <a:pt x="879" y="750"/>
                    </a:lnTo>
                    <a:lnTo>
                      <a:pt x="877" y="750"/>
                    </a:lnTo>
                    <a:lnTo>
                      <a:pt x="876" y="750"/>
                    </a:lnTo>
                    <a:lnTo>
                      <a:pt x="874" y="750"/>
                    </a:lnTo>
                    <a:lnTo>
                      <a:pt x="874" y="748"/>
                    </a:lnTo>
                    <a:lnTo>
                      <a:pt x="873" y="748"/>
                    </a:lnTo>
                    <a:lnTo>
                      <a:pt x="871" y="748"/>
                    </a:lnTo>
                    <a:lnTo>
                      <a:pt x="870" y="748"/>
                    </a:lnTo>
                    <a:lnTo>
                      <a:pt x="868" y="748"/>
                    </a:lnTo>
                    <a:lnTo>
                      <a:pt x="866" y="748"/>
                    </a:lnTo>
                    <a:lnTo>
                      <a:pt x="865" y="748"/>
                    </a:lnTo>
                    <a:lnTo>
                      <a:pt x="863" y="748"/>
                    </a:lnTo>
                    <a:lnTo>
                      <a:pt x="863" y="750"/>
                    </a:lnTo>
                    <a:lnTo>
                      <a:pt x="862" y="750"/>
                    </a:lnTo>
                    <a:lnTo>
                      <a:pt x="862" y="751"/>
                    </a:lnTo>
                    <a:lnTo>
                      <a:pt x="860" y="751"/>
                    </a:lnTo>
                    <a:lnTo>
                      <a:pt x="858" y="751"/>
                    </a:lnTo>
                    <a:lnTo>
                      <a:pt x="858" y="750"/>
                    </a:lnTo>
                    <a:lnTo>
                      <a:pt x="857" y="751"/>
                    </a:lnTo>
                    <a:lnTo>
                      <a:pt x="855" y="751"/>
                    </a:lnTo>
                    <a:lnTo>
                      <a:pt x="854" y="751"/>
                    </a:lnTo>
                    <a:lnTo>
                      <a:pt x="854" y="753"/>
                    </a:lnTo>
                    <a:lnTo>
                      <a:pt x="852" y="753"/>
                    </a:lnTo>
                    <a:lnTo>
                      <a:pt x="851" y="753"/>
                    </a:lnTo>
                    <a:lnTo>
                      <a:pt x="851" y="754"/>
                    </a:lnTo>
                    <a:lnTo>
                      <a:pt x="852" y="754"/>
                    </a:lnTo>
                    <a:lnTo>
                      <a:pt x="852" y="756"/>
                    </a:lnTo>
                    <a:lnTo>
                      <a:pt x="852" y="758"/>
                    </a:lnTo>
                    <a:lnTo>
                      <a:pt x="851" y="758"/>
                    </a:lnTo>
                    <a:lnTo>
                      <a:pt x="851" y="759"/>
                    </a:lnTo>
                    <a:lnTo>
                      <a:pt x="849" y="759"/>
                    </a:lnTo>
                    <a:lnTo>
                      <a:pt x="847" y="759"/>
                    </a:lnTo>
                    <a:lnTo>
                      <a:pt x="846" y="759"/>
                    </a:lnTo>
                    <a:lnTo>
                      <a:pt x="846" y="761"/>
                    </a:lnTo>
                    <a:lnTo>
                      <a:pt x="844" y="759"/>
                    </a:lnTo>
                    <a:lnTo>
                      <a:pt x="844" y="758"/>
                    </a:lnTo>
                    <a:lnTo>
                      <a:pt x="843" y="758"/>
                    </a:lnTo>
                    <a:lnTo>
                      <a:pt x="841" y="758"/>
                    </a:lnTo>
                    <a:lnTo>
                      <a:pt x="841" y="759"/>
                    </a:lnTo>
                    <a:lnTo>
                      <a:pt x="841" y="758"/>
                    </a:lnTo>
                    <a:lnTo>
                      <a:pt x="839" y="758"/>
                    </a:lnTo>
                    <a:lnTo>
                      <a:pt x="838" y="758"/>
                    </a:lnTo>
                    <a:lnTo>
                      <a:pt x="836" y="758"/>
                    </a:lnTo>
                    <a:lnTo>
                      <a:pt x="835" y="759"/>
                    </a:lnTo>
                    <a:lnTo>
                      <a:pt x="833" y="759"/>
                    </a:lnTo>
                    <a:lnTo>
                      <a:pt x="832" y="759"/>
                    </a:lnTo>
                    <a:lnTo>
                      <a:pt x="830" y="759"/>
                    </a:lnTo>
                    <a:lnTo>
                      <a:pt x="828" y="759"/>
                    </a:lnTo>
                    <a:lnTo>
                      <a:pt x="827" y="759"/>
                    </a:lnTo>
                    <a:lnTo>
                      <a:pt x="827" y="758"/>
                    </a:lnTo>
                    <a:lnTo>
                      <a:pt x="825" y="758"/>
                    </a:lnTo>
                    <a:lnTo>
                      <a:pt x="825" y="756"/>
                    </a:lnTo>
                    <a:lnTo>
                      <a:pt x="824" y="754"/>
                    </a:lnTo>
                    <a:lnTo>
                      <a:pt x="824" y="753"/>
                    </a:lnTo>
                    <a:lnTo>
                      <a:pt x="822" y="753"/>
                    </a:lnTo>
                    <a:lnTo>
                      <a:pt x="822" y="751"/>
                    </a:lnTo>
                    <a:lnTo>
                      <a:pt x="820" y="750"/>
                    </a:lnTo>
                    <a:lnTo>
                      <a:pt x="820" y="748"/>
                    </a:lnTo>
                    <a:lnTo>
                      <a:pt x="819" y="748"/>
                    </a:lnTo>
                    <a:lnTo>
                      <a:pt x="819" y="746"/>
                    </a:lnTo>
                    <a:lnTo>
                      <a:pt x="817" y="746"/>
                    </a:lnTo>
                    <a:lnTo>
                      <a:pt x="817" y="745"/>
                    </a:lnTo>
                    <a:lnTo>
                      <a:pt x="816" y="745"/>
                    </a:lnTo>
                    <a:lnTo>
                      <a:pt x="816" y="743"/>
                    </a:lnTo>
                    <a:lnTo>
                      <a:pt x="816" y="742"/>
                    </a:lnTo>
                    <a:lnTo>
                      <a:pt x="816" y="740"/>
                    </a:lnTo>
                    <a:lnTo>
                      <a:pt x="816" y="739"/>
                    </a:lnTo>
                    <a:lnTo>
                      <a:pt x="814" y="737"/>
                    </a:lnTo>
                    <a:lnTo>
                      <a:pt x="814" y="735"/>
                    </a:lnTo>
                    <a:lnTo>
                      <a:pt x="814" y="734"/>
                    </a:lnTo>
                    <a:lnTo>
                      <a:pt x="814" y="732"/>
                    </a:lnTo>
                    <a:lnTo>
                      <a:pt x="814" y="731"/>
                    </a:lnTo>
                    <a:lnTo>
                      <a:pt x="814" y="729"/>
                    </a:lnTo>
                    <a:lnTo>
                      <a:pt x="814" y="726"/>
                    </a:lnTo>
                    <a:lnTo>
                      <a:pt x="814" y="724"/>
                    </a:lnTo>
                    <a:lnTo>
                      <a:pt x="814" y="723"/>
                    </a:lnTo>
                    <a:lnTo>
                      <a:pt x="814" y="721"/>
                    </a:lnTo>
                    <a:lnTo>
                      <a:pt x="814" y="720"/>
                    </a:lnTo>
                    <a:lnTo>
                      <a:pt x="814" y="718"/>
                    </a:lnTo>
                    <a:lnTo>
                      <a:pt x="813" y="718"/>
                    </a:lnTo>
                    <a:lnTo>
                      <a:pt x="813" y="716"/>
                    </a:lnTo>
                    <a:lnTo>
                      <a:pt x="813" y="715"/>
                    </a:lnTo>
                    <a:lnTo>
                      <a:pt x="813" y="713"/>
                    </a:lnTo>
                    <a:lnTo>
                      <a:pt x="813" y="712"/>
                    </a:lnTo>
                    <a:lnTo>
                      <a:pt x="813" y="710"/>
                    </a:lnTo>
                    <a:lnTo>
                      <a:pt x="813" y="708"/>
                    </a:lnTo>
                    <a:lnTo>
                      <a:pt x="813" y="707"/>
                    </a:lnTo>
                    <a:lnTo>
                      <a:pt x="813" y="705"/>
                    </a:lnTo>
                    <a:lnTo>
                      <a:pt x="811" y="705"/>
                    </a:lnTo>
                    <a:lnTo>
                      <a:pt x="811" y="704"/>
                    </a:lnTo>
                    <a:lnTo>
                      <a:pt x="811" y="702"/>
                    </a:lnTo>
                    <a:lnTo>
                      <a:pt x="811" y="700"/>
                    </a:lnTo>
                    <a:lnTo>
                      <a:pt x="811" y="699"/>
                    </a:lnTo>
                    <a:lnTo>
                      <a:pt x="809" y="699"/>
                    </a:lnTo>
                    <a:lnTo>
                      <a:pt x="809" y="697"/>
                    </a:lnTo>
                    <a:lnTo>
                      <a:pt x="809" y="696"/>
                    </a:lnTo>
                    <a:lnTo>
                      <a:pt x="808" y="696"/>
                    </a:lnTo>
                    <a:lnTo>
                      <a:pt x="809" y="694"/>
                    </a:lnTo>
                    <a:lnTo>
                      <a:pt x="809" y="693"/>
                    </a:lnTo>
                    <a:lnTo>
                      <a:pt x="808" y="693"/>
                    </a:lnTo>
                    <a:lnTo>
                      <a:pt x="808" y="691"/>
                    </a:lnTo>
                    <a:lnTo>
                      <a:pt x="808" y="689"/>
                    </a:lnTo>
                    <a:lnTo>
                      <a:pt x="808" y="688"/>
                    </a:lnTo>
                    <a:lnTo>
                      <a:pt x="806" y="688"/>
                    </a:lnTo>
                    <a:lnTo>
                      <a:pt x="806" y="686"/>
                    </a:lnTo>
                    <a:lnTo>
                      <a:pt x="805" y="686"/>
                    </a:lnTo>
                    <a:lnTo>
                      <a:pt x="805" y="685"/>
                    </a:lnTo>
                    <a:lnTo>
                      <a:pt x="805" y="683"/>
                    </a:lnTo>
                    <a:lnTo>
                      <a:pt x="805" y="681"/>
                    </a:lnTo>
                    <a:lnTo>
                      <a:pt x="805" y="680"/>
                    </a:lnTo>
                    <a:lnTo>
                      <a:pt x="803" y="680"/>
                    </a:lnTo>
                    <a:lnTo>
                      <a:pt x="803" y="678"/>
                    </a:lnTo>
                    <a:lnTo>
                      <a:pt x="803" y="677"/>
                    </a:lnTo>
                    <a:lnTo>
                      <a:pt x="803" y="675"/>
                    </a:lnTo>
                    <a:lnTo>
                      <a:pt x="801" y="675"/>
                    </a:lnTo>
                    <a:lnTo>
                      <a:pt x="801" y="674"/>
                    </a:lnTo>
                    <a:lnTo>
                      <a:pt x="800" y="672"/>
                    </a:lnTo>
                    <a:lnTo>
                      <a:pt x="800" y="670"/>
                    </a:lnTo>
                    <a:lnTo>
                      <a:pt x="798" y="670"/>
                    </a:lnTo>
                    <a:lnTo>
                      <a:pt x="798" y="669"/>
                    </a:lnTo>
                    <a:lnTo>
                      <a:pt x="797" y="667"/>
                    </a:lnTo>
                    <a:lnTo>
                      <a:pt x="797" y="666"/>
                    </a:lnTo>
                    <a:lnTo>
                      <a:pt x="797" y="664"/>
                    </a:lnTo>
                    <a:lnTo>
                      <a:pt x="798" y="664"/>
                    </a:lnTo>
                    <a:lnTo>
                      <a:pt x="798" y="662"/>
                    </a:lnTo>
                    <a:lnTo>
                      <a:pt x="797" y="662"/>
                    </a:lnTo>
                    <a:lnTo>
                      <a:pt x="797" y="661"/>
                    </a:lnTo>
                    <a:lnTo>
                      <a:pt x="795" y="661"/>
                    </a:lnTo>
                    <a:lnTo>
                      <a:pt x="795" y="659"/>
                    </a:lnTo>
                    <a:lnTo>
                      <a:pt x="795" y="658"/>
                    </a:lnTo>
                    <a:lnTo>
                      <a:pt x="795" y="656"/>
                    </a:lnTo>
                    <a:lnTo>
                      <a:pt x="797" y="656"/>
                    </a:lnTo>
                    <a:lnTo>
                      <a:pt x="797" y="655"/>
                    </a:lnTo>
                    <a:lnTo>
                      <a:pt x="798" y="655"/>
                    </a:lnTo>
                    <a:lnTo>
                      <a:pt x="800" y="655"/>
                    </a:lnTo>
                    <a:lnTo>
                      <a:pt x="801" y="655"/>
                    </a:lnTo>
                    <a:lnTo>
                      <a:pt x="801" y="653"/>
                    </a:lnTo>
                    <a:lnTo>
                      <a:pt x="803" y="653"/>
                    </a:lnTo>
                    <a:lnTo>
                      <a:pt x="805" y="653"/>
                    </a:lnTo>
                    <a:lnTo>
                      <a:pt x="806" y="653"/>
                    </a:lnTo>
                    <a:lnTo>
                      <a:pt x="808" y="653"/>
                    </a:lnTo>
                    <a:lnTo>
                      <a:pt x="808" y="651"/>
                    </a:lnTo>
                    <a:lnTo>
                      <a:pt x="809" y="651"/>
                    </a:lnTo>
                    <a:lnTo>
                      <a:pt x="811" y="651"/>
                    </a:lnTo>
                    <a:lnTo>
                      <a:pt x="813" y="651"/>
                    </a:lnTo>
                    <a:lnTo>
                      <a:pt x="813" y="653"/>
                    </a:lnTo>
                    <a:lnTo>
                      <a:pt x="814" y="653"/>
                    </a:lnTo>
                    <a:lnTo>
                      <a:pt x="814" y="651"/>
                    </a:lnTo>
                    <a:lnTo>
                      <a:pt x="816" y="651"/>
                    </a:lnTo>
                    <a:lnTo>
                      <a:pt x="817" y="650"/>
                    </a:lnTo>
                    <a:lnTo>
                      <a:pt x="819" y="650"/>
                    </a:lnTo>
                    <a:lnTo>
                      <a:pt x="819" y="648"/>
                    </a:lnTo>
                    <a:lnTo>
                      <a:pt x="820" y="648"/>
                    </a:lnTo>
                    <a:lnTo>
                      <a:pt x="822" y="648"/>
                    </a:lnTo>
                    <a:lnTo>
                      <a:pt x="824" y="648"/>
                    </a:lnTo>
                    <a:lnTo>
                      <a:pt x="824" y="647"/>
                    </a:lnTo>
                    <a:lnTo>
                      <a:pt x="825" y="647"/>
                    </a:lnTo>
                    <a:lnTo>
                      <a:pt x="825" y="645"/>
                    </a:lnTo>
                    <a:lnTo>
                      <a:pt x="827" y="645"/>
                    </a:lnTo>
                    <a:lnTo>
                      <a:pt x="827" y="643"/>
                    </a:lnTo>
                    <a:lnTo>
                      <a:pt x="828" y="643"/>
                    </a:lnTo>
                    <a:lnTo>
                      <a:pt x="830" y="642"/>
                    </a:lnTo>
                    <a:lnTo>
                      <a:pt x="828" y="642"/>
                    </a:lnTo>
                    <a:lnTo>
                      <a:pt x="828" y="640"/>
                    </a:lnTo>
                    <a:lnTo>
                      <a:pt x="827" y="640"/>
                    </a:lnTo>
                    <a:lnTo>
                      <a:pt x="827" y="639"/>
                    </a:lnTo>
                    <a:lnTo>
                      <a:pt x="825" y="639"/>
                    </a:lnTo>
                    <a:lnTo>
                      <a:pt x="824" y="637"/>
                    </a:lnTo>
                    <a:lnTo>
                      <a:pt x="824" y="636"/>
                    </a:lnTo>
                    <a:lnTo>
                      <a:pt x="822" y="636"/>
                    </a:lnTo>
                    <a:lnTo>
                      <a:pt x="822" y="634"/>
                    </a:lnTo>
                    <a:lnTo>
                      <a:pt x="824" y="632"/>
                    </a:lnTo>
                    <a:lnTo>
                      <a:pt x="825" y="632"/>
                    </a:lnTo>
                    <a:lnTo>
                      <a:pt x="827" y="632"/>
                    </a:lnTo>
                    <a:lnTo>
                      <a:pt x="827" y="634"/>
                    </a:lnTo>
                    <a:lnTo>
                      <a:pt x="828" y="634"/>
                    </a:lnTo>
                    <a:lnTo>
                      <a:pt x="830" y="634"/>
                    </a:lnTo>
                    <a:lnTo>
                      <a:pt x="830" y="632"/>
                    </a:lnTo>
                    <a:lnTo>
                      <a:pt x="830" y="631"/>
                    </a:lnTo>
                    <a:lnTo>
                      <a:pt x="830" y="629"/>
                    </a:lnTo>
                    <a:lnTo>
                      <a:pt x="832" y="629"/>
                    </a:lnTo>
                    <a:lnTo>
                      <a:pt x="832" y="628"/>
                    </a:lnTo>
                    <a:lnTo>
                      <a:pt x="832" y="626"/>
                    </a:lnTo>
                    <a:lnTo>
                      <a:pt x="830" y="626"/>
                    </a:lnTo>
                    <a:lnTo>
                      <a:pt x="830" y="624"/>
                    </a:lnTo>
                    <a:lnTo>
                      <a:pt x="828" y="624"/>
                    </a:lnTo>
                    <a:lnTo>
                      <a:pt x="827" y="624"/>
                    </a:lnTo>
                    <a:lnTo>
                      <a:pt x="827" y="623"/>
                    </a:lnTo>
                    <a:lnTo>
                      <a:pt x="825" y="623"/>
                    </a:lnTo>
                    <a:lnTo>
                      <a:pt x="824" y="623"/>
                    </a:lnTo>
                    <a:lnTo>
                      <a:pt x="822" y="623"/>
                    </a:lnTo>
                    <a:lnTo>
                      <a:pt x="822" y="621"/>
                    </a:lnTo>
                    <a:lnTo>
                      <a:pt x="822" y="620"/>
                    </a:lnTo>
                    <a:lnTo>
                      <a:pt x="824" y="620"/>
                    </a:lnTo>
                    <a:lnTo>
                      <a:pt x="824" y="618"/>
                    </a:lnTo>
                    <a:lnTo>
                      <a:pt x="824" y="617"/>
                    </a:lnTo>
                    <a:lnTo>
                      <a:pt x="825" y="617"/>
                    </a:lnTo>
                    <a:lnTo>
                      <a:pt x="825" y="615"/>
                    </a:lnTo>
                    <a:lnTo>
                      <a:pt x="827" y="615"/>
                    </a:lnTo>
                    <a:lnTo>
                      <a:pt x="828" y="613"/>
                    </a:lnTo>
                    <a:lnTo>
                      <a:pt x="830" y="613"/>
                    </a:lnTo>
                    <a:lnTo>
                      <a:pt x="832" y="613"/>
                    </a:lnTo>
                    <a:lnTo>
                      <a:pt x="832" y="612"/>
                    </a:lnTo>
                    <a:lnTo>
                      <a:pt x="833" y="612"/>
                    </a:lnTo>
                    <a:lnTo>
                      <a:pt x="833" y="610"/>
                    </a:lnTo>
                    <a:lnTo>
                      <a:pt x="833" y="609"/>
                    </a:lnTo>
                    <a:lnTo>
                      <a:pt x="832" y="609"/>
                    </a:lnTo>
                    <a:lnTo>
                      <a:pt x="830" y="607"/>
                    </a:lnTo>
                    <a:lnTo>
                      <a:pt x="827" y="605"/>
                    </a:lnTo>
                    <a:lnTo>
                      <a:pt x="825" y="605"/>
                    </a:lnTo>
                    <a:lnTo>
                      <a:pt x="825" y="604"/>
                    </a:lnTo>
                    <a:lnTo>
                      <a:pt x="827" y="602"/>
                    </a:lnTo>
                    <a:lnTo>
                      <a:pt x="828" y="601"/>
                    </a:lnTo>
                    <a:lnTo>
                      <a:pt x="830" y="601"/>
                    </a:lnTo>
                    <a:lnTo>
                      <a:pt x="832" y="599"/>
                    </a:lnTo>
                    <a:lnTo>
                      <a:pt x="833" y="599"/>
                    </a:lnTo>
                    <a:lnTo>
                      <a:pt x="835" y="597"/>
                    </a:lnTo>
                    <a:lnTo>
                      <a:pt x="835" y="596"/>
                    </a:lnTo>
                    <a:lnTo>
                      <a:pt x="836" y="596"/>
                    </a:lnTo>
                    <a:lnTo>
                      <a:pt x="838" y="596"/>
                    </a:lnTo>
                    <a:lnTo>
                      <a:pt x="838" y="594"/>
                    </a:lnTo>
                    <a:lnTo>
                      <a:pt x="836" y="594"/>
                    </a:lnTo>
                    <a:lnTo>
                      <a:pt x="835" y="594"/>
                    </a:lnTo>
                    <a:lnTo>
                      <a:pt x="835" y="593"/>
                    </a:lnTo>
                    <a:lnTo>
                      <a:pt x="833" y="591"/>
                    </a:lnTo>
                    <a:lnTo>
                      <a:pt x="830" y="591"/>
                    </a:lnTo>
                    <a:lnTo>
                      <a:pt x="828" y="591"/>
                    </a:lnTo>
                    <a:lnTo>
                      <a:pt x="828" y="593"/>
                    </a:lnTo>
                    <a:lnTo>
                      <a:pt x="827" y="593"/>
                    </a:lnTo>
                    <a:lnTo>
                      <a:pt x="825" y="591"/>
                    </a:lnTo>
                    <a:lnTo>
                      <a:pt x="824" y="590"/>
                    </a:lnTo>
                    <a:lnTo>
                      <a:pt x="824" y="588"/>
                    </a:lnTo>
                    <a:lnTo>
                      <a:pt x="824" y="586"/>
                    </a:lnTo>
                    <a:lnTo>
                      <a:pt x="822" y="586"/>
                    </a:lnTo>
                    <a:lnTo>
                      <a:pt x="822" y="585"/>
                    </a:lnTo>
                    <a:lnTo>
                      <a:pt x="822" y="583"/>
                    </a:lnTo>
                    <a:lnTo>
                      <a:pt x="822" y="582"/>
                    </a:lnTo>
                    <a:lnTo>
                      <a:pt x="820" y="582"/>
                    </a:lnTo>
                    <a:lnTo>
                      <a:pt x="819" y="582"/>
                    </a:lnTo>
                    <a:lnTo>
                      <a:pt x="819" y="580"/>
                    </a:lnTo>
                    <a:lnTo>
                      <a:pt x="820" y="580"/>
                    </a:lnTo>
                    <a:lnTo>
                      <a:pt x="820" y="578"/>
                    </a:lnTo>
                    <a:lnTo>
                      <a:pt x="820" y="577"/>
                    </a:lnTo>
                    <a:lnTo>
                      <a:pt x="820" y="575"/>
                    </a:lnTo>
                    <a:lnTo>
                      <a:pt x="819" y="575"/>
                    </a:lnTo>
                    <a:lnTo>
                      <a:pt x="819" y="574"/>
                    </a:lnTo>
                    <a:lnTo>
                      <a:pt x="817" y="574"/>
                    </a:lnTo>
                    <a:lnTo>
                      <a:pt x="817" y="572"/>
                    </a:lnTo>
                    <a:lnTo>
                      <a:pt x="816" y="572"/>
                    </a:lnTo>
                    <a:lnTo>
                      <a:pt x="814" y="572"/>
                    </a:lnTo>
                    <a:lnTo>
                      <a:pt x="813" y="572"/>
                    </a:lnTo>
                    <a:lnTo>
                      <a:pt x="813" y="574"/>
                    </a:lnTo>
                    <a:lnTo>
                      <a:pt x="811" y="574"/>
                    </a:lnTo>
                    <a:lnTo>
                      <a:pt x="811" y="572"/>
                    </a:lnTo>
                    <a:lnTo>
                      <a:pt x="813" y="572"/>
                    </a:lnTo>
                    <a:lnTo>
                      <a:pt x="813" y="571"/>
                    </a:lnTo>
                    <a:lnTo>
                      <a:pt x="813" y="569"/>
                    </a:lnTo>
                    <a:lnTo>
                      <a:pt x="813" y="567"/>
                    </a:lnTo>
                    <a:lnTo>
                      <a:pt x="813" y="566"/>
                    </a:lnTo>
                    <a:lnTo>
                      <a:pt x="813" y="564"/>
                    </a:lnTo>
                    <a:lnTo>
                      <a:pt x="813" y="563"/>
                    </a:lnTo>
                    <a:lnTo>
                      <a:pt x="813" y="561"/>
                    </a:lnTo>
                    <a:lnTo>
                      <a:pt x="813" y="559"/>
                    </a:lnTo>
                    <a:lnTo>
                      <a:pt x="811" y="559"/>
                    </a:lnTo>
                    <a:lnTo>
                      <a:pt x="811" y="558"/>
                    </a:lnTo>
                    <a:lnTo>
                      <a:pt x="811" y="556"/>
                    </a:lnTo>
                    <a:lnTo>
                      <a:pt x="813" y="556"/>
                    </a:lnTo>
                    <a:lnTo>
                      <a:pt x="813" y="555"/>
                    </a:lnTo>
                    <a:lnTo>
                      <a:pt x="813" y="553"/>
                    </a:lnTo>
                    <a:lnTo>
                      <a:pt x="813" y="552"/>
                    </a:lnTo>
                    <a:lnTo>
                      <a:pt x="813" y="550"/>
                    </a:lnTo>
                    <a:lnTo>
                      <a:pt x="811" y="550"/>
                    </a:lnTo>
                    <a:lnTo>
                      <a:pt x="809" y="550"/>
                    </a:lnTo>
                    <a:lnTo>
                      <a:pt x="809" y="548"/>
                    </a:lnTo>
                    <a:lnTo>
                      <a:pt x="808" y="548"/>
                    </a:lnTo>
                    <a:lnTo>
                      <a:pt x="808" y="547"/>
                    </a:lnTo>
                    <a:lnTo>
                      <a:pt x="806" y="547"/>
                    </a:lnTo>
                    <a:lnTo>
                      <a:pt x="805" y="547"/>
                    </a:lnTo>
                    <a:lnTo>
                      <a:pt x="805" y="548"/>
                    </a:lnTo>
                    <a:lnTo>
                      <a:pt x="803" y="548"/>
                    </a:lnTo>
                    <a:lnTo>
                      <a:pt x="801" y="548"/>
                    </a:lnTo>
                    <a:lnTo>
                      <a:pt x="800" y="548"/>
                    </a:lnTo>
                    <a:lnTo>
                      <a:pt x="800" y="547"/>
                    </a:lnTo>
                    <a:lnTo>
                      <a:pt x="798" y="547"/>
                    </a:lnTo>
                    <a:lnTo>
                      <a:pt x="797" y="547"/>
                    </a:lnTo>
                    <a:lnTo>
                      <a:pt x="795" y="547"/>
                    </a:lnTo>
                    <a:lnTo>
                      <a:pt x="795" y="548"/>
                    </a:lnTo>
                    <a:lnTo>
                      <a:pt x="793" y="548"/>
                    </a:lnTo>
                    <a:lnTo>
                      <a:pt x="793" y="550"/>
                    </a:lnTo>
                    <a:lnTo>
                      <a:pt x="792" y="550"/>
                    </a:lnTo>
                    <a:lnTo>
                      <a:pt x="790" y="550"/>
                    </a:lnTo>
                    <a:lnTo>
                      <a:pt x="789" y="550"/>
                    </a:lnTo>
                    <a:lnTo>
                      <a:pt x="787" y="550"/>
                    </a:lnTo>
                    <a:lnTo>
                      <a:pt x="786" y="550"/>
                    </a:lnTo>
                    <a:lnTo>
                      <a:pt x="786" y="552"/>
                    </a:lnTo>
                    <a:lnTo>
                      <a:pt x="786" y="553"/>
                    </a:lnTo>
                    <a:lnTo>
                      <a:pt x="784" y="553"/>
                    </a:lnTo>
                    <a:lnTo>
                      <a:pt x="782" y="553"/>
                    </a:lnTo>
                    <a:lnTo>
                      <a:pt x="781" y="553"/>
                    </a:lnTo>
                    <a:lnTo>
                      <a:pt x="781" y="555"/>
                    </a:lnTo>
                    <a:lnTo>
                      <a:pt x="779" y="555"/>
                    </a:lnTo>
                    <a:lnTo>
                      <a:pt x="779" y="556"/>
                    </a:lnTo>
                    <a:lnTo>
                      <a:pt x="779" y="558"/>
                    </a:lnTo>
                    <a:lnTo>
                      <a:pt x="778" y="558"/>
                    </a:lnTo>
                    <a:lnTo>
                      <a:pt x="778" y="559"/>
                    </a:lnTo>
                    <a:lnTo>
                      <a:pt x="776" y="559"/>
                    </a:lnTo>
                    <a:lnTo>
                      <a:pt x="776" y="561"/>
                    </a:lnTo>
                    <a:lnTo>
                      <a:pt x="774" y="561"/>
                    </a:lnTo>
                    <a:lnTo>
                      <a:pt x="773" y="561"/>
                    </a:lnTo>
                    <a:lnTo>
                      <a:pt x="771" y="561"/>
                    </a:lnTo>
                    <a:lnTo>
                      <a:pt x="770" y="561"/>
                    </a:lnTo>
                    <a:lnTo>
                      <a:pt x="770" y="563"/>
                    </a:lnTo>
                    <a:lnTo>
                      <a:pt x="768" y="563"/>
                    </a:lnTo>
                    <a:lnTo>
                      <a:pt x="768" y="561"/>
                    </a:lnTo>
                    <a:lnTo>
                      <a:pt x="767" y="561"/>
                    </a:lnTo>
                    <a:lnTo>
                      <a:pt x="767" y="559"/>
                    </a:lnTo>
                    <a:lnTo>
                      <a:pt x="765" y="559"/>
                    </a:lnTo>
                    <a:lnTo>
                      <a:pt x="765" y="558"/>
                    </a:lnTo>
                    <a:lnTo>
                      <a:pt x="765" y="556"/>
                    </a:lnTo>
                    <a:lnTo>
                      <a:pt x="763" y="556"/>
                    </a:lnTo>
                    <a:lnTo>
                      <a:pt x="763" y="555"/>
                    </a:lnTo>
                    <a:lnTo>
                      <a:pt x="762" y="555"/>
                    </a:lnTo>
                    <a:lnTo>
                      <a:pt x="760" y="555"/>
                    </a:lnTo>
                    <a:lnTo>
                      <a:pt x="760" y="553"/>
                    </a:lnTo>
                    <a:lnTo>
                      <a:pt x="759" y="553"/>
                    </a:lnTo>
                    <a:lnTo>
                      <a:pt x="757" y="553"/>
                    </a:lnTo>
                    <a:lnTo>
                      <a:pt x="755" y="552"/>
                    </a:lnTo>
                    <a:lnTo>
                      <a:pt x="754" y="552"/>
                    </a:lnTo>
                    <a:lnTo>
                      <a:pt x="754" y="550"/>
                    </a:lnTo>
                    <a:lnTo>
                      <a:pt x="752" y="550"/>
                    </a:lnTo>
                    <a:lnTo>
                      <a:pt x="752" y="552"/>
                    </a:lnTo>
                    <a:lnTo>
                      <a:pt x="751" y="552"/>
                    </a:lnTo>
                    <a:lnTo>
                      <a:pt x="749" y="552"/>
                    </a:lnTo>
                    <a:lnTo>
                      <a:pt x="749" y="550"/>
                    </a:lnTo>
                    <a:lnTo>
                      <a:pt x="748" y="550"/>
                    </a:lnTo>
                    <a:lnTo>
                      <a:pt x="746" y="548"/>
                    </a:lnTo>
                    <a:lnTo>
                      <a:pt x="744" y="547"/>
                    </a:lnTo>
                    <a:lnTo>
                      <a:pt x="746" y="547"/>
                    </a:lnTo>
                    <a:lnTo>
                      <a:pt x="746" y="545"/>
                    </a:lnTo>
                    <a:lnTo>
                      <a:pt x="746" y="544"/>
                    </a:lnTo>
                    <a:lnTo>
                      <a:pt x="746" y="542"/>
                    </a:lnTo>
                    <a:lnTo>
                      <a:pt x="744" y="540"/>
                    </a:lnTo>
                    <a:lnTo>
                      <a:pt x="744" y="539"/>
                    </a:lnTo>
                    <a:lnTo>
                      <a:pt x="744" y="537"/>
                    </a:lnTo>
                    <a:lnTo>
                      <a:pt x="744" y="536"/>
                    </a:lnTo>
                    <a:lnTo>
                      <a:pt x="744" y="534"/>
                    </a:lnTo>
                    <a:lnTo>
                      <a:pt x="744" y="533"/>
                    </a:lnTo>
                    <a:lnTo>
                      <a:pt x="743" y="531"/>
                    </a:lnTo>
                    <a:lnTo>
                      <a:pt x="744" y="531"/>
                    </a:lnTo>
                    <a:lnTo>
                      <a:pt x="744" y="529"/>
                    </a:lnTo>
                    <a:lnTo>
                      <a:pt x="744" y="528"/>
                    </a:lnTo>
                    <a:lnTo>
                      <a:pt x="744" y="526"/>
                    </a:lnTo>
                    <a:lnTo>
                      <a:pt x="744" y="525"/>
                    </a:lnTo>
                    <a:lnTo>
                      <a:pt x="744" y="523"/>
                    </a:lnTo>
                    <a:lnTo>
                      <a:pt x="744" y="521"/>
                    </a:lnTo>
                    <a:lnTo>
                      <a:pt x="746" y="521"/>
                    </a:lnTo>
                    <a:lnTo>
                      <a:pt x="746" y="520"/>
                    </a:lnTo>
                    <a:lnTo>
                      <a:pt x="748" y="520"/>
                    </a:lnTo>
                    <a:lnTo>
                      <a:pt x="748" y="518"/>
                    </a:lnTo>
                    <a:lnTo>
                      <a:pt x="749" y="518"/>
                    </a:lnTo>
                    <a:lnTo>
                      <a:pt x="749" y="517"/>
                    </a:lnTo>
                    <a:lnTo>
                      <a:pt x="751" y="517"/>
                    </a:lnTo>
                    <a:lnTo>
                      <a:pt x="752" y="517"/>
                    </a:lnTo>
                    <a:lnTo>
                      <a:pt x="752" y="515"/>
                    </a:lnTo>
                    <a:lnTo>
                      <a:pt x="754" y="515"/>
                    </a:lnTo>
                    <a:lnTo>
                      <a:pt x="754" y="514"/>
                    </a:lnTo>
                    <a:lnTo>
                      <a:pt x="755" y="514"/>
                    </a:lnTo>
                    <a:lnTo>
                      <a:pt x="755" y="512"/>
                    </a:lnTo>
                    <a:lnTo>
                      <a:pt x="755" y="510"/>
                    </a:lnTo>
                    <a:lnTo>
                      <a:pt x="755" y="509"/>
                    </a:lnTo>
                    <a:lnTo>
                      <a:pt x="755" y="507"/>
                    </a:lnTo>
                    <a:lnTo>
                      <a:pt x="755" y="506"/>
                    </a:lnTo>
                    <a:lnTo>
                      <a:pt x="755" y="504"/>
                    </a:lnTo>
                    <a:lnTo>
                      <a:pt x="755" y="502"/>
                    </a:lnTo>
                    <a:lnTo>
                      <a:pt x="757" y="502"/>
                    </a:lnTo>
                    <a:lnTo>
                      <a:pt x="757" y="501"/>
                    </a:lnTo>
                    <a:lnTo>
                      <a:pt x="755" y="501"/>
                    </a:lnTo>
                    <a:lnTo>
                      <a:pt x="754" y="501"/>
                    </a:lnTo>
                    <a:lnTo>
                      <a:pt x="752" y="501"/>
                    </a:lnTo>
                    <a:lnTo>
                      <a:pt x="751" y="502"/>
                    </a:lnTo>
                    <a:lnTo>
                      <a:pt x="749" y="502"/>
                    </a:lnTo>
                    <a:lnTo>
                      <a:pt x="749" y="501"/>
                    </a:lnTo>
                    <a:lnTo>
                      <a:pt x="748" y="501"/>
                    </a:lnTo>
                    <a:lnTo>
                      <a:pt x="748" y="499"/>
                    </a:lnTo>
                    <a:lnTo>
                      <a:pt x="748" y="498"/>
                    </a:lnTo>
                    <a:lnTo>
                      <a:pt x="746" y="498"/>
                    </a:lnTo>
                    <a:lnTo>
                      <a:pt x="746" y="496"/>
                    </a:lnTo>
                    <a:lnTo>
                      <a:pt x="746" y="495"/>
                    </a:lnTo>
                    <a:lnTo>
                      <a:pt x="744" y="495"/>
                    </a:lnTo>
                    <a:lnTo>
                      <a:pt x="743" y="495"/>
                    </a:lnTo>
                    <a:lnTo>
                      <a:pt x="741" y="495"/>
                    </a:lnTo>
                    <a:lnTo>
                      <a:pt x="740" y="495"/>
                    </a:lnTo>
                    <a:lnTo>
                      <a:pt x="738" y="495"/>
                    </a:lnTo>
                    <a:lnTo>
                      <a:pt x="736" y="495"/>
                    </a:lnTo>
                    <a:lnTo>
                      <a:pt x="735" y="495"/>
                    </a:lnTo>
                    <a:lnTo>
                      <a:pt x="733" y="495"/>
                    </a:lnTo>
                    <a:lnTo>
                      <a:pt x="732" y="495"/>
                    </a:lnTo>
                    <a:lnTo>
                      <a:pt x="732" y="493"/>
                    </a:lnTo>
                    <a:lnTo>
                      <a:pt x="730" y="493"/>
                    </a:lnTo>
                    <a:lnTo>
                      <a:pt x="730" y="491"/>
                    </a:lnTo>
                    <a:lnTo>
                      <a:pt x="732" y="491"/>
                    </a:lnTo>
                    <a:lnTo>
                      <a:pt x="732" y="490"/>
                    </a:lnTo>
                    <a:lnTo>
                      <a:pt x="730" y="490"/>
                    </a:lnTo>
                    <a:lnTo>
                      <a:pt x="730" y="488"/>
                    </a:lnTo>
                    <a:lnTo>
                      <a:pt x="730" y="487"/>
                    </a:lnTo>
                    <a:lnTo>
                      <a:pt x="732" y="487"/>
                    </a:lnTo>
                    <a:lnTo>
                      <a:pt x="732" y="485"/>
                    </a:lnTo>
                    <a:lnTo>
                      <a:pt x="730" y="483"/>
                    </a:lnTo>
                    <a:lnTo>
                      <a:pt x="730" y="482"/>
                    </a:lnTo>
                    <a:lnTo>
                      <a:pt x="730" y="480"/>
                    </a:lnTo>
                    <a:lnTo>
                      <a:pt x="729" y="479"/>
                    </a:lnTo>
                    <a:lnTo>
                      <a:pt x="729" y="477"/>
                    </a:lnTo>
                    <a:lnTo>
                      <a:pt x="727" y="477"/>
                    </a:lnTo>
                    <a:lnTo>
                      <a:pt x="725" y="479"/>
                    </a:lnTo>
                    <a:lnTo>
                      <a:pt x="724" y="479"/>
                    </a:lnTo>
                    <a:lnTo>
                      <a:pt x="724" y="480"/>
                    </a:lnTo>
                    <a:lnTo>
                      <a:pt x="722" y="480"/>
                    </a:lnTo>
                    <a:lnTo>
                      <a:pt x="721" y="482"/>
                    </a:lnTo>
                    <a:lnTo>
                      <a:pt x="719" y="482"/>
                    </a:lnTo>
                    <a:lnTo>
                      <a:pt x="717" y="482"/>
                    </a:lnTo>
                    <a:lnTo>
                      <a:pt x="716" y="482"/>
                    </a:lnTo>
                    <a:lnTo>
                      <a:pt x="714" y="482"/>
                    </a:lnTo>
                    <a:lnTo>
                      <a:pt x="713" y="482"/>
                    </a:lnTo>
                    <a:lnTo>
                      <a:pt x="713" y="483"/>
                    </a:lnTo>
                    <a:lnTo>
                      <a:pt x="713" y="485"/>
                    </a:lnTo>
                    <a:lnTo>
                      <a:pt x="711" y="485"/>
                    </a:lnTo>
                    <a:lnTo>
                      <a:pt x="710" y="485"/>
                    </a:lnTo>
                    <a:lnTo>
                      <a:pt x="708" y="485"/>
                    </a:lnTo>
                    <a:lnTo>
                      <a:pt x="706" y="485"/>
                    </a:lnTo>
                    <a:lnTo>
                      <a:pt x="705" y="485"/>
                    </a:lnTo>
                    <a:lnTo>
                      <a:pt x="703" y="485"/>
                    </a:lnTo>
                    <a:lnTo>
                      <a:pt x="702" y="485"/>
                    </a:lnTo>
                    <a:lnTo>
                      <a:pt x="700" y="487"/>
                    </a:lnTo>
                    <a:lnTo>
                      <a:pt x="697" y="487"/>
                    </a:lnTo>
                    <a:lnTo>
                      <a:pt x="697" y="488"/>
                    </a:lnTo>
                    <a:lnTo>
                      <a:pt x="695" y="487"/>
                    </a:lnTo>
                    <a:lnTo>
                      <a:pt x="694" y="485"/>
                    </a:lnTo>
                    <a:lnTo>
                      <a:pt x="692" y="485"/>
                    </a:lnTo>
                    <a:lnTo>
                      <a:pt x="692" y="487"/>
                    </a:lnTo>
                    <a:lnTo>
                      <a:pt x="691" y="487"/>
                    </a:lnTo>
                    <a:lnTo>
                      <a:pt x="691" y="485"/>
                    </a:lnTo>
                    <a:lnTo>
                      <a:pt x="689" y="485"/>
                    </a:lnTo>
                    <a:lnTo>
                      <a:pt x="687" y="483"/>
                    </a:lnTo>
                    <a:lnTo>
                      <a:pt x="686" y="482"/>
                    </a:lnTo>
                    <a:lnTo>
                      <a:pt x="684" y="482"/>
                    </a:lnTo>
                    <a:lnTo>
                      <a:pt x="683" y="482"/>
                    </a:lnTo>
                    <a:lnTo>
                      <a:pt x="681" y="482"/>
                    </a:lnTo>
                    <a:lnTo>
                      <a:pt x="679" y="482"/>
                    </a:lnTo>
                    <a:lnTo>
                      <a:pt x="678" y="482"/>
                    </a:lnTo>
                    <a:lnTo>
                      <a:pt x="678" y="480"/>
                    </a:lnTo>
                    <a:lnTo>
                      <a:pt x="676" y="480"/>
                    </a:lnTo>
                    <a:lnTo>
                      <a:pt x="675" y="480"/>
                    </a:lnTo>
                    <a:lnTo>
                      <a:pt x="673" y="480"/>
                    </a:lnTo>
                    <a:lnTo>
                      <a:pt x="673" y="479"/>
                    </a:lnTo>
                    <a:lnTo>
                      <a:pt x="672" y="479"/>
                    </a:lnTo>
                    <a:lnTo>
                      <a:pt x="670" y="479"/>
                    </a:lnTo>
                    <a:lnTo>
                      <a:pt x="668" y="477"/>
                    </a:lnTo>
                    <a:lnTo>
                      <a:pt x="667" y="477"/>
                    </a:lnTo>
                    <a:lnTo>
                      <a:pt x="667" y="479"/>
                    </a:lnTo>
                    <a:lnTo>
                      <a:pt x="665" y="479"/>
                    </a:lnTo>
                    <a:lnTo>
                      <a:pt x="665" y="477"/>
                    </a:lnTo>
                    <a:lnTo>
                      <a:pt x="665" y="475"/>
                    </a:lnTo>
                    <a:lnTo>
                      <a:pt x="665" y="474"/>
                    </a:lnTo>
                    <a:lnTo>
                      <a:pt x="665" y="472"/>
                    </a:lnTo>
                    <a:lnTo>
                      <a:pt x="667" y="471"/>
                    </a:lnTo>
                    <a:lnTo>
                      <a:pt x="668" y="469"/>
                    </a:lnTo>
                    <a:lnTo>
                      <a:pt x="668" y="468"/>
                    </a:lnTo>
                    <a:lnTo>
                      <a:pt x="667" y="468"/>
                    </a:lnTo>
                    <a:lnTo>
                      <a:pt x="665" y="466"/>
                    </a:lnTo>
                    <a:lnTo>
                      <a:pt x="667" y="466"/>
                    </a:lnTo>
                    <a:lnTo>
                      <a:pt x="667" y="464"/>
                    </a:lnTo>
                    <a:lnTo>
                      <a:pt x="667" y="466"/>
                    </a:lnTo>
                    <a:lnTo>
                      <a:pt x="668" y="464"/>
                    </a:lnTo>
                    <a:lnTo>
                      <a:pt x="668" y="463"/>
                    </a:lnTo>
                    <a:lnTo>
                      <a:pt x="667" y="463"/>
                    </a:lnTo>
                    <a:lnTo>
                      <a:pt x="667" y="461"/>
                    </a:lnTo>
                    <a:lnTo>
                      <a:pt x="667" y="460"/>
                    </a:lnTo>
                    <a:lnTo>
                      <a:pt x="667" y="458"/>
                    </a:lnTo>
                    <a:lnTo>
                      <a:pt x="668" y="456"/>
                    </a:lnTo>
                    <a:lnTo>
                      <a:pt x="668" y="455"/>
                    </a:lnTo>
                    <a:lnTo>
                      <a:pt x="667" y="453"/>
                    </a:lnTo>
                    <a:lnTo>
                      <a:pt x="665" y="452"/>
                    </a:lnTo>
                    <a:lnTo>
                      <a:pt x="667" y="452"/>
                    </a:lnTo>
                    <a:lnTo>
                      <a:pt x="667" y="450"/>
                    </a:lnTo>
                    <a:lnTo>
                      <a:pt x="665" y="450"/>
                    </a:lnTo>
                    <a:lnTo>
                      <a:pt x="665" y="449"/>
                    </a:lnTo>
                    <a:lnTo>
                      <a:pt x="665" y="447"/>
                    </a:lnTo>
                    <a:lnTo>
                      <a:pt x="667" y="447"/>
                    </a:lnTo>
                    <a:lnTo>
                      <a:pt x="667" y="445"/>
                    </a:lnTo>
                    <a:lnTo>
                      <a:pt x="667" y="444"/>
                    </a:lnTo>
                    <a:lnTo>
                      <a:pt x="667" y="442"/>
                    </a:lnTo>
                    <a:lnTo>
                      <a:pt x="665" y="442"/>
                    </a:lnTo>
                    <a:lnTo>
                      <a:pt x="665" y="441"/>
                    </a:lnTo>
                    <a:lnTo>
                      <a:pt x="665" y="439"/>
                    </a:lnTo>
                    <a:lnTo>
                      <a:pt x="667" y="439"/>
                    </a:lnTo>
                    <a:lnTo>
                      <a:pt x="667" y="437"/>
                    </a:lnTo>
                    <a:lnTo>
                      <a:pt x="665" y="437"/>
                    </a:lnTo>
                    <a:lnTo>
                      <a:pt x="664" y="437"/>
                    </a:lnTo>
                    <a:lnTo>
                      <a:pt x="664" y="436"/>
                    </a:lnTo>
                    <a:lnTo>
                      <a:pt x="662" y="436"/>
                    </a:lnTo>
                    <a:lnTo>
                      <a:pt x="662" y="434"/>
                    </a:lnTo>
                    <a:lnTo>
                      <a:pt x="662" y="433"/>
                    </a:lnTo>
                    <a:lnTo>
                      <a:pt x="662" y="431"/>
                    </a:lnTo>
                    <a:lnTo>
                      <a:pt x="660" y="431"/>
                    </a:lnTo>
                    <a:lnTo>
                      <a:pt x="660" y="430"/>
                    </a:lnTo>
                    <a:lnTo>
                      <a:pt x="659" y="430"/>
                    </a:lnTo>
                    <a:lnTo>
                      <a:pt x="659" y="428"/>
                    </a:lnTo>
                    <a:lnTo>
                      <a:pt x="659" y="426"/>
                    </a:lnTo>
                    <a:lnTo>
                      <a:pt x="657" y="425"/>
                    </a:lnTo>
                    <a:lnTo>
                      <a:pt x="657" y="423"/>
                    </a:lnTo>
                    <a:lnTo>
                      <a:pt x="656" y="422"/>
                    </a:lnTo>
                    <a:lnTo>
                      <a:pt x="656" y="420"/>
                    </a:lnTo>
                    <a:lnTo>
                      <a:pt x="654" y="420"/>
                    </a:lnTo>
                    <a:lnTo>
                      <a:pt x="654" y="418"/>
                    </a:lnTo>
                    <a:lnTo>
                      <a:pt x="654" y="417"/>
                    </a:lnTo>
                    <a:lnTo>
                      <a:pt x="653" y="417"/>
                    </a:lnTo>
                    <a:lnTo>
                      <a:pt x="653" y="415"/>
                    </a:lnTo>
                    <a:lnTo>
                      <a:pt x="651" y="414"/>
                    </a:lnTo>
                    <a:lnTo>
                      <a:pt x="649" y="414"/>
                    </a:lnTo>
                    <a:lnTo>
                      <a:pt x="649" y="412"/>
                    </a:lnTo>
                    <a:lnTo>
                      <a:pt x="649" y="411"/>
                    </a:lnTo>
                    <a:lnTo>
                      <a:pt x="651" y="404"/>
                    </a:lnTo>
                    <a:lnTo>
                      <a:pt x="649" y="404"/>
                    </a:lnTo>
                    <a:lnTo>
                      <a:pt x="648" y="404"/>
                    </a:lnTo>
                    <a:lnTo>
                      <a:pt x="646" y="404"/>
                    </a:lnTo>
                    <a:lnTo>
                      <a:pt x="646" y="406"/>
                    </a:lnTo>
                    <a:lnTo>
                      <a:pt x="645" y="406"/>
                    </a:lnTo>
                    <a:lnTo>
                      <a:pt x="645" y="407"/>
                    </a:lnTo>
                    <a:lnTo>
                      <a:pt x="643" y="407"/>
                    </a:lnTo>
                    <a:lnTo>
                      <a:pt x="641" y="409"/>
                    </a:lnTo>
                    <a:lnTo>
                      <a:pt x="640" y="411"/>
                    </a:lnTo>
                    <a:lnTo>
                      <a:pt x="638" y="411"/>
                    </a:lnTo>
                    <a:lnTo>
                      <a:pt x="637" y="411"/>
                    </a:lnTo>
                    <a:lnTo>
                      <a:pt x="634" y="411"/>
                    </a:lnTo>
                    <a:lnTo>
                      <a:pt x="632" y="411"/>
                    </a:lnTo>
                    <a:lnTo>
                      <a:pt x="630" y="411"/>
                    </a:lnTo>
                    <a:lnTo>
                      <a:pt x="630" y="409"/>
                    </a:lnTo>
                    <a:lnTo>
                      <a:pt x="629" y="409"/>
                    </a:lnTo>
                    <a:lnTo>
                      <a:pt x="627" y="407"/>
                    </a:lnTo>
                    <a:lnTo>
                      <a:pt x="627" y="406"/>
                    </a:lnTo>
                    <a:lnTo>
                      <a:pt x="626" y="406"/>
                    </a:lnTo>
                    <a:lnTo>
                      <a:pt x="626" y="404"/>
                    </a:lnTo>
                    <a:lnTo>
                      <a:pt x="626" y="403"/>
                    </a:lnTo>
                    <a:lnTo>
                      <a:pt x="624" y="403"/>
                    </a:lnTo>
                    <a:lnTo>
                      <a:pt x="622" y="403"/>
                    </a:lnTo>
                    <a:lnTo>
                      <a:pt x="622" y="404"/>
                    </a:lnTo>
                    <a:lnTo>
                      <a:pt x="622" y="406"/>
                    </a:lnTo>
                    <a:lnTo>
                      <a:pt x="621" y="407"/>
                    </a:lnTo>
                    <a:lnTo>
                      <a:pt x="619" y="409"/>
                    </a:lnTo>
                    <a:lnTo>
                      <a:pt x="619" y="411"/>
                    </a:lnTo>
                    <a:lnTo>
                      <a:pt x="618" y="411"/>
                    </a:lnTo>
                    <a:lnTo>
                      <a:pt x="618" y="412"/>
                    </a:lnTo>
                    <a:lnTo>
                      <a:pt x="616" y="412"/>
                    </a:lnTo>
                    <a:lnTo>
                      <a:pt x="616" y="414"/>
                    </a:lnTo>
                    <a:lnTo>
                      <a:pt x="614" y="414"/>
                    </a:lnTo>
                    <a:lnTo>
                      <a:pt x="613" y="414"/>
                    </a:lnTo>
                    <a:lnTo>
                      <a:pt x="611" y="414"/>
                    </a:lnTo>
                    <a:lnTo>
                      <a:pt x="610" y="414"/>
                    </a:lnTo>
                    <a:lnTo>
                      <a:pt x="608" y="414"/>
                    </a:lnTo>
                    <a:lnTo>
                      <a:pt x="607" y="414"/>
                    </a:lnTo>
                    <a:lnTo>
                      <a:pt x="605" y="414"/>
                    </a:lnTo>
                    <a:lnTo>
                      <a:pt x="605" y="415"/>
                    </a:lnTo>
                    <a:lnTo>
                      <a:pt x="603" y="415"/>
                    </a:lnTo>
                    <a:lnTo>
                      <a:pt x="602" y="415"/>
                    </a:lnTo>
                    <a:lnTo>
                      <a:pt x="600" y="417"/>
                    </a:lnTo>
                    <a:lnTo>
                      <a:pt x="599" y="417"/>
                    </a:lnTo>
                    <a:lnTo>
                      <a:pt x="597" y="417"/>
                    </a:lnTo>
                    <a:lnTo>
                      <a:pt x="595" y="417"/>
                    </a:lnTo>
                    <a:lnTo>
                      <a:pt x="594" y="417"/>
                    </a:lnTo>
                    <a:lnTo>
                      <a:pt x="592" y="417"/>
                    </a:lnTo>
                    <a:lnTo>
                      <a:pt x="591" y="417"/>
                    </a:lnTo>
                    <a:lnTo>
                      <a:pt x="591" y="418"/>
                    </a:lnTo>
                    <a:lnTo>
                      <a:pt x="589" y="418"/>
                    </a:lnTo>
                    <a:lnTo>
                      <a:pt x="589" y="420"/>
                    </a:lnTo>
                    <a:lnTo>
                      <a:pt x="588" y="420"/>
                    </a:lnTo>
                    <a:lnTo>
                      <a:pt x="586" y="420"/>
                    </a:lnTo>
                    <a:lnTo>
                      <a:pt x="586" y="418"/>
                    </a:lnTo>
                    <a:lnTo>
                      <a:pt x="588" y="418"/>
                    </a:lnTo>
                    <a:lnTo>
                      <a:pt x="588" y="417"/>
                    </a:lnTo>
                    <a:lnTo>
                      <a:pt x="589" y="417"/>
                    </a:lnTo>
                    <a:lnTo>
                      <a:pt x="589" y="415"/>
                    </a:lnTo>
                    <a:lnTo>
                      <a:pt x="588" y="415"/>
                    </a:lnTo>
                    <a:lnTo>
                      <a:pt x="588" y="414"/>
                    </a:lnTo>
                    <a:lnTo>
                      <a:pt x="588" y="412"/>
                    </a:lnTo>
                    <a:lnTo>
                      <a:pt x="589" y="412"/>
                    </a:lnTo>
                    <a:lnTo>
                      <a:pt x="591" y="412"/>
                    </a:lnTo>
                    <a:lnTo>
                      <a:pt x="592" y="412"/>
                    </a:lnTo>
                    <a:lnTo>
                      <a:pt x="594" y="411"/>
                    </a:lnTo>
                    <a:lnTo>
                      <a:pt x="595" y="411"/>
                    </a:lnTo>
                    <a:lnTo>
                      <a:pt x="595" y="409"/>
                    </a:lnTo>
                    <a:lnTo>
                      <a:pt x="595" y="407"/>
                    </a:lnTo>
                    <a:lnTo>
                      <a:pt x="597" y="407"/>
                    </a:lnTo>
                    <a:lnTo>
                      <a:pt x="597" y="406"/>
                    </a:lnTo>
                    <a:lnTo>
                      <a:pt x="597" y="404"/>
                    </a:lnTo>
                    <a:lnTo>
                      <a:pt x="599" y="404"/>
                    </a:lnTo>
                    <a:lnTo>
                      <a:pt x="600" y="404"/>
                    </a:lnTo>
                    <a:lnTo>
                      <a:pt x="602" y="404"/>
                    </a:lnTo>
                    <a:lnTo>
                      <a:pt x="603" y="404"/>
                    </a:lnTo>
                    <a:lnTo>
                      <a:pt x="603" y="403"/>
                    </a:lnTo>
                    <a:lnTo>
                      <a:pt x="605" y="403"/>
                    </a:lnTo>
                    <a:lnTo>
                      <a:pt x="607" y="403"/>
                    </a:lnTo>
                    <a:lnTo>
                      <a:pt x="608" y="403"/>
                    </a:lnTo>
                    <a:lnTo>
                      <a:pt x="610" y="403"/>
                    </a:lnTo>
                    <a:lnTo>
                      <a:pt x="610" y="401"/>
                    </a:lnTo>
                    <a:lnTo>
                      <a:pt x="611" y="399"/>
                    </a:lnTo>
                    <a:lnTo>
                      <a:pt x="611" y="398"/>
                    </a:lnTo>
                    <a:lnTo>
                      <a:pt x="613" y="398"/>
                    </a:lnTo>
                    <a:lnTo>
                      <a:pt x="613" y="396"/>
                    </a:lnTo>
                    <a:lnTo>
                      <a:pt x="613" y="395"/>
                    </a:lnTo>
                    <a:lnTo>
                      <a:pt x="613" y="393"/>
                    </a:lnTo>
                    <a:lnTo>
                      <a:pt x="611" y="393"/>
                    </a:lnTo>
                    <a:lnTo>
                      <a:pt x="610" y="393"/>
                    </a:lnTo>
                    <a:lnTo>
                      <a:pt x="608" y="393"/>
                    </a:lnTo>
                    <a:lnTo>
                      <a:pt x="607" y="393"/>
                    </a:lnTo>
                    <a:lnTo>
                      <a:pt x="605" y="392"/>
                    </a:lnTo>
                    <a:lnTo>
                      <a:pt x="603" y="392"/>
                    </a:lnTo>
                    <a:lnTo>
                      <a:pt x="602" y="392"/>
                    </a:lnTo>
                    <a:lnTo>
                      <a:pt x="600" y="392"/>
                    </a:lnTo>
                    <a:lnTo>
                      <a:pt x="599" y="392"/>
                    </a:lnTo>
                    <a:lnTo>
                      <a:pt x="597" y="392"/>
                    </a:lnTo>
                    <a:lnTo>
                      <a:pt x="597" y="390"/>
                    </a:lnTo>
                    <a:lnTo>
                      <a:pt x="595" y="390"/>
                    </a:lnTo>
                    <a:lnTo>
                      <a:pt x="595" y="392"/>
                    </a:lnTo>
                    <a:lnTo>
                      <a:pt x="594" y="392"/>
                    </a:lnTo>
                    <a:lnTo>
                      <a:pt x="594" y="393"/>
                    </a:lnTo>
                    <a:lnTo>
                      <a:pt x="592" y="393"/>
                    </a:lnTo>
                    <a:lnTo>
                      <a:pt x="591" y="393"/>
                    </a:lnTo>
                    <a:lnTo>
                      <a:pt x="591" y="392"/>
                    </a:lnTo>
                    <a:lnTo>
                      <a:pt x="591" y="390"/>
                    </a:lnTo>
                    <a:lnTo>
                      <a:pt x="589" y="390"/>
                    </a:lnTo>
                    <a:lnTo>
                      <a:pt x="589" y="388"/>
                    </a:lnTo>
                    <a:lnTo>
                      <a:pt x="588" y="388"/>
                    </a:lnTo>
                    <a:lnTo>
                      <a:pt x="586" y="388"/>
                    </a:lnTo>
                    <a:lnTo>
                      <a:pt x="586" y="390"/>
                    </a:lnTo>
                    <a:lnTo>
                      <a:pt x="586" y="392"/>
                    </a:lnTo>
                    <a:lnTo>
                      <a:pt x="584" y="392"/>
                    </a:lnTo>
                    <a:lnTo>
                      <a:pt x="583" y="392"/>
                    </a:lnTo>
                    <a:lnTo>
                      <a:pt x="583" y="390"/>
                    </a:lnTo>
                    <a:lnTo>
                      <a:pt x="581" y="392"/>
                    </a:lnTo>
                    <a:lnTo>
                      <a:pt x="581" y="390"/>
                    </a:lnTo>
                    <a:lnTo>
                      <a:pt x="581" y="388"/>
                    </a:lnTo>
                    <a:lnTo>
                      <a:pt x="581" y="387"/>
                    </a:lnTo>
                    <a:lnTo>
                      <a:pt x="583" y="387"/>
                    </a:lnTo>
                    <a:lnTo>
                      <a:pt x="583" y="385"/>
                    </a:lnTo>
                    <a:lnTo>
                      <a:pt x="583" y="384"/>
                    </a:lnTo>
                    <a:lnTo>
                      <a:pt x="584" y="384"/>
                    </a:lnTo>
                    <a:lnTo>
                      <a:pt x="583" y="382"/>
                    </a:lnTo>
                    <a:lnTo>
                      <a:pt x="581" y="382"/>
                    </a:lnTo>
                    <a:lnTo>
                      <a:pt x="581" y="384"/>
                    </a:lnTo>
                    <a:lnTo>
                      <a:pt x="580" y="384"/>
                    </a:lnTo>
                    <a:lnTo>
                      <a:pt x="578" y="385"/>
                    </a:lnTo>
                    <a:lnTo>
                      <a:pt x="576" y="385"/>
                    </a:lnTo>
                    <a:lnTo>
                      <a:pt x="576" y="387"/>
                    </a:lnTo>
                    <a:lnTo>
                      <a:pt x="576" y="388"/>
                    </a:lnTo>
                    <a:lnTo>
                      <a:pt x="578" y="388"/>
                    </a:lnTo>
                    <a:lnTo>
                      <a:pt x="576" y="390"/>
                    </a:lnTo>
                    <a:lnTo>
                      <a:pt x="575" y="390"/>
                    </a:lnTo>
                    <a:lnTo>
                      <a:pt x="575" y="392"/>
                    </a:lnTo>
                    <a:lnTo>
                      <a:pt x="573" y="392"/>
                    </a:lnTo>
                    <a:lnTo>
                      <a:pt x="573" y="393"/>
                    </a:lnTo>
                    <a:lnTo>
                      <a:pt x="572" y="395"/>
                    </a:lnTo>
                    <a:lnTo>
                      <a:pt x="572" y="396"/>
                    </a:lnTo>
                    <a:lnTo>
                      <a:pt x="570" y="396"/>
                    </a:lnTo>
                    <a:lnTo>
                      <a:pt x="570" y="398"/>
                    </a:lnTo>
                    <a:lnTo>
                      <a:pt x="569" y="398"/>
                    </a:lnTo>
                    <a:lnTo>
                      <a:pt x="569" y="396"/>
                    </a:lnTo>
                    <a:lnTo>
                      <a:pt x="569" y="395"/>
                    </a:lnTo>
                    <a:lnTo>
                      <a:pt x="567" y="395"/>
                    </a:lnTo>
                    <a:lnTo>
                      <a:pt x="565" y="395"/>
                    </a:lnTo>
                    <a:lnTo>
                      <a:pt x="565" y="393"/>
                    </a:lnTo>
                    <a:lnTo>
                      <a:pt x="567" y="393"/>
                    </a:lnTo>
                    <a:lnTo>
                      <a:pt x="567" y="392"/>
                    </a:lnTo>
                    <a:lnTo>
                      <a:pt x="565" y="392"/>
                    </a:lnTo>
                    <a:lnTo>
                      <a:pt x="565" y="393"/>
                    </a:lnTo>
                    <a:lnTo>
                      <a:pt x="564" y="393"/>
                    </a:lnTo>
                    <a:lnTo>
                      <a:pt x="564" y="395"/>
                    </a:lnTo>
                    <a:lnTo>
                      <a:pt x="562" y="395"/>
                    </a:lnTo>
                    <a:lnTo>
                      <a:pt x="562" y="396"/>
                    </a:lnTo>
                    <a:lnTo>
                      <a:pt x="562" y="398"/>
                    </a:lnTo>
                    <a:lnTo>
                      <a:pt x="561" y="398"/>
                    </a:lnTo>
                    <a:lnTo>
                      <a:pt x="561" y="399"/>
                    </a:lnTo>
                    <a:lnTo>
                      <a:pt x="559" y="399"/>
                    </a:lnTo>
                    <a:lnTo>
                      <a:pt x="559" y="398"/>
                    </a:lnTo>
                    <a:lnTo>
                      <a:pt x="559" y="396"/>
                    </a:lnTo>
                    <a:lnTo>
                      <a:pt x="561" y="395"/>
                    </a:lnTo>
                    <a:lnTo>
                      <a:pt x="561" y="393"/>
                    </a:lnTo>
                    <a:lnTo>
                      <a:pt x="559" y="393"/>
                    </a:lnTo>
                    <a:lnTo>
                      <a:pt x="557" y="393"/>
                    </a:lnTo>
                    <a:lnTo>
                      <a:pt x="556" y="393"/>
                    </a:lnTo>
                    <a:lnTo>
                      <a:pt x="556" y="395"/>
                    </a:lnTo>
                    <a:lnTo>
                      <a:pt x="554" y="395"/>
                    </a:lnTo>
                    <a:lnTo>
                      <a:pt x="554" y="396"/>
                    </a:lnTo>
                    <a:lnTo>
                      <a:pt x="554" y="398"/>
                    </a:lnTo>
                    <a:lnTo>
                      <a:pt x="553" y="398"/>
                    </a:lnTo>
                    <a:lnTo>
                      <a:pt x="551" y="398"/>
                    </a:lnTo>
                    <a:lnTo>
                      <a:pt x="551" y="396"/>
                    </a:lnTo>
                    <a:lnTo>
                      <a:pt x="550" y="395"/>
                    </a:lnTo>
                    <a:lnTo>
                      <a:pt x="548" y="395"/>
                    </a:lnTo>
                    <a:lnTo>
                      <a:pt x="548" y="393"/>
                    </a:lnTo>
                    <a:lnTo>
                      <a:pt x="546" y="393"/>
                    </a:lnTo>
                    <a:lnTo>
                      <a:pt x="546" y="395"/>
                    </a:lnTo>
                    <a:lnTo>
                      <a:pt x="546" y="396"/>
                    </a:lnTo>
                    <a:lnTo>
                      <a:pt x="548" y="396"/>
                    </a:lnTo>
                    <a:lnTo>
                      <a:pt x="548" y="398"/>
                    </a:lnTo>
                    <a:lnTo>
                      <a:pt x="546" y="398"/>
                    </a:lnTo>
                    <a:lnTo>
                      <a:pt x="546" y="399"/>
                    </a:lnTo>
                    <a:lnTo>
                      <a:pt x="546" y="401"/>
                    </a:lnTo>
                    <a:lnTo>
                      <a:pt x="545" y="401"/>
                    </a:lnTo>
                    <a:lnTo>
                      <a:pt x="545" y="403"/>
                    </a:lnTo>
                    <a:lnTo>
                      <a:pt x="546" y="403"/>
                    </a:lnTo>
                    <a:lnTo>
                      <a:pt x="548" y="403"/>
                    </a:lnTo>
                    <a:lnTo>
                      <a:pt x="548" y="404"/>
                    </a:lnTo>
                    <a:lnTo>
                      <a:pt x="550" y="404"/>
                    </a:lnTo>
                    <a:lnTo>
                      <a:pt x="550" y="403"/>
                    </a:lnTo>
                    <a:lnTo>
                      <a:pt x="550" y="404"/>
                    </a:lnTo>
                    <a:lnTo>
                      <a:pt x="548" y="404"/>
                    </a:lnTo>
                    <a:lnTo>
                      <a:pt x="546" y="404"/>
                    </a:lnTo>
                    <a:lnTo>
                      <a:pt x="546" y="406"/>
                    </a:lnTo>
                    <a:lnTo>
                      <a:pt x="546" y="407"/>
                    </a:lnTo>
                    <a:lnTo>
                      <a:pt x="548" y="407"/>
                    </a:lnTo>
                    <a:lnTo>
                      <a:pt x="546" y="407"/>
                    </a:lnTo>
                    <a:lnTo>
                      <a:pt x="545" y="407"/>
                    </a:lnTo>
                    <a:lnTo>
                      <a:pt x="545" y="409"/>
                    </a:lnTo>
                    <a:lnTo>
                      <a:pt x="543" y="409"/>
                    </a:lnTo>
                    <a:lnTo>
                      <a:pt x="543" y="407"/>
                    </a:lnTo>
                    <a:lnTo>
                      <a:pt x="543" y="406"/>
                    </a:lnTo>
                    <a:lnTo>
                      <a:pt x="542" y="406"/>
                    </a:lnTo>
                    <a:lnTo>
                      <a:pt x="540" y="406"/>
                    </a:lnTo>
                    <a:lnTo>
                      <a:pt x="538" y="406"/>
                    </a:lnTo>
                    <a:lnTo>
                      <a:pt x="538" y="407"/>
                    </a:lnTo>
                    <a:lnTo>
                      <a:pt x="540" y="407"/>
                    </a:lnTo>
                    <a:lnTo>
                      <a:pt x="540" y="409"/>
                    </a:lnTo>
                    <a:lnTo>
                      <a:pt x="542" y="409"/>
                    </a:lnTo>
                    <a:lnTo>
                      <a:pt x="540" y="411"/>
                    </a:lnTo>
                    <a:lnTo>
                      <a:pt x="538" y="411"/>
                    </a:lnTo>
                    <a:lnTo>
                      <a:pt x="537" y="411"/>
                    </a:lnTo>
                    <a:lnTo>
                      <a:pt x="537" y="412"/>
                    </a:lnTo>
                    <a:lnTo>
                      <a:pt x="537" y="414"/>
                    </a:lnTo>
                    <a:lnTo>
                      <a:pt x="535" y="414"/>
                    </a:lnTo>
                    <a:lnTo>
                      <a:pt x="534" y="414"/>
                    </a:lnTo>
                    <a:lnTo>
                      <a:pt x="534" y="412"/>
                    </a:lnTo>
                    <a:lnTo>
                      <a:pt x="532" y="414"/>
                    </a:lnTo>
                    <a:lnTo>
                      <a:pt x="532" y="415"/>
                    </a:lnTo>
                    <a:lnTo>
                      <a:pt x="531" y="415"/>
                    </a:lnTo>
                    <a:lnTo>
                      <a:pt x="531" y="414"/>
                    </a:lnTo>
                    <a:lnTo>
                      <a:pt x="531" y="412"/>
                    </a:lnTo>
                    <a:lnTo>
                      <a:pt x="529" y="412"/>
                    </a:lnTo>
                    <a:lnTo>
                      <a:pt x="527" y="412"/>
                    </a:lnTo>
                    <a:lnTo>
                      <a:pt x="526" y="412"/>
                    </a:lnTo>
                    <a:lnTo>
                      <a:pt x="526" y="411"/>
                    </a:lnTo>
                    <a:lnTo>
                      <a:pt x="526" y="409"/>
                    </a:lnTo>
                    <a:lnTo>
                      <a:pt x="524" y="409"/>
                    </a:lnTo>
                    <a:lnTo>
                      <a:pt x="524" y="407"/>
                    </a:lnTo>
                    <a:lnTo>
                      <a:pt x="526" y="407"/>
                    </a:lnTo>
                    <a:lnTo>
                      <a:pt x="524" y="407"/>
                    </a:lnTo>
                    <a:lnTo>
                      <a:pt x="523" y="407"/>
                    </a:lnTo>
                    <a:lnTo>
                      <a:pt x="523" y="409"/>
                    </a:lnTo>
                    <a:lnTo>
                      <a:pt x="523" y="411"/>
                    </a:lnTo>
                    <a:lnTo>
                      <a:pt x="523" y="412"/>
                    </a:lnTo>
                    <a:lnTo>
                      <a:pt x="521" y="412"/>
                    </a:lnTo>
                    <a:lnTo>
                      <a:pt x="521" y="411"/>
                    </a:lnTo>
                    <a:lnTo>
                      <a:pt x="519" y="411"/>
                    </a:lnTo>
                    <a:lnTo>
                      <a:pt x="518" y="411"/>
                    </a:lnTo>
                    <a:lnTo>
                      <a:pt x="516" y="411"/>
                    </a:lnTo>
                    <a:lnTo>
                      <a:pt x="515" y="411"/>
                    </a:lnTo>
                    <a:lnTo>
                      <a:pt x="515" y="412"/>
                    </a:lnTo>
                    <a:lnTo>
                      <a:pt x="513" y="412"/>
                    </a:lnTo>
                    <a:lnTo>
                      <a:pt x="510" y="414"/>
                    </a:lnTo>
                    <a:lnTo>
                      <a:pt x="507" y="414"/>
                    </a:lnTo>
                    <a:lnTo>
                      <a:pt x="507" y="412"/>
                    </a:lnTo>
                    <a:lnTo>
                      <a:pt x="505" y="412"/>
                    </a:lnTo>
                    <a:lnTo>
                      <a:pt x="505" y="411"/>
                    </a:lnTo>
                    <a:lnTo>
                      <a:pt x="504" y="411"/>
                    </a:lnTo>
                    <a:lnTo>
                      <a:pt x="502" y="411"/>
                    </a:lnTo>
                    <a:lnTo>
                      <a:pt x="500" y="411"/>
                    </a:lnTo>
                    <a:lnTo>
                      <a:pt x="500" y="412"/>
                    </a:lnTo>
                    <a:lnTo>
                      <a:pt x="499" y="412"/>
                    </a:lnTo>
                    <a:lnTo>
                      <a:pt x="499" y="414"/>
                    </a:lnTo>
                    <a:lnTo>
                      <a:pt x="497" y="414"/>
                    </a:lnTo>
                    <a:lnTo>
                      <a:pt x="497" y="415"/>
                    </a:lnTo>
                    <a:lnTo>
                      <a:pt x="496" y="415"/>
                    </a:lnTo>
                    <a:lnTo>
                      <a:pt x="494" y="417"/>
                    </a:lnTo>
                    <a:lnTo>
                      <a:pt x="493" y="415"/>
                    </a:lnTo>
                    <a:lnTo>
                      <a:pt x="491" y="415"/>
                    </a:lnTo>
                    <a:lnTo>
                      <a:pt x="491" y="414"/>
                    </a:lnTo>
                    <a:lnTo>
                      <a:pt x="489" y="412"/>
                    </a:lnTo>
                    <a:lnTo>
                      <a:pt x="489" y="411"/>
                    </a:lnTo>
                    <a:lnTo>
                      <a:pt x="488" y="409"/>
                    </a:lnTo>
                    <a:lnTo>
                      <a:pt x="488" y="407"/>
                    </a:lnTo>
                    <a:lnTo>
                      <a:pt x="488" y="406"/>
                    </a:lnTo>
                    <a:lnTo>
                      <a:pt x="486" y="406"/>
                    </a:lnTo>
                    <a:lnTo>
                      <a:pt x="486" y="407"/>
                    </a:lnTo>
                    <a:lnTo>
                      <a:pt x="486" y="409"/>
                    </a:lnTo>
                    <a:lnTo>
                      <a:pt x="486" y="411"/>
                    </a:lnTo>
                    <a:lnTo>
                      <a:pt x="485" y="411"/>
                    </a:lnTo>
                    <a:lnTo>
                      <a:pt x="483" y="411"/>
                    </a:lnTo>
                    <a:lnTo>
                      <a:pt x="481" y="411"/>
                    </a:lnTo>
                    <a:lnTo>
                      <a:pt x="480" y="412"/>
                    </a:lnTo>
                    <a:lnTo>
                      <a:pt x="478" y="412"/>
                    </a:lnTo>
                    <a:lnTo>
                      <a:pt x="477" y="412"/>
                    </a:lnTo>
                    <a:lnTo>
                      <a:pt x="475" y="414"/>
                    </a:lnTo>
                    <a:lnTo>
                      <a:pt x="474" y="414"/>
                    </a:lnTo>
                    <a:lnTo>
                      <a:pt x="474" y="415"/>
                    </a:lnTo>
                    <a:lnTo>
                      <a:pt x="472" y="415"/>
                    </a:lnTo>
                    <a:lnTo>
                      <a:pt x="472" y="417"/>
                    </a:lnTo>
                    <a:lnTo>
                      <a:pt x="470" y="417"/>
                    </a:lnTo>
                    <a:lnTo>
                      <a:pt x="470" y="418"/>
                    </a:lnTo>
                    <a:lnTo>
                      <a:pt x="469" y="418"/>
                    </a:lnTo>
                    <a:lnTo>
                      <a:pt x="469" y="417"/>
                    </a:lnTo>
                    <a:lnTo>
                      <a:pt x="469" y="418"/>
                    </a:lnTo>
                    <a:lnTo>
                      <a:pt x="467" y="418"/>
                    </a:lnTo>
                    <a:lnTo>
                      <a:pt x="467" y="417"/>
                    </a:lnTo>
                    <a:lnTo>
                      <a:pt x="466" y="417"/>
                    </a:lnTo>
                    <a:lnTo>
                      <a:pt x="466" y="415"/>
                    </a:lnTo>
                    <a:lnTo>
                      <a:pt x="466" y="414"/>
                    </a:lnTo>
                    <a:lnTo>
                      <a:pt x="464" y="414"/>
                    </a:lnTo>
                    <a:lnTo>
                      <a:pt x="462" y="414"/>
                    </a:lnTo>
                    <a:lnTo>
                      <a:pt x="462" y="412"/>
                    </a:lnTo>
                    <a:lnTo>
                      <a:pt x="462" y="414"/>
                    </a:lnTo>
                    <a:lnTo>
                      <a:pt x="461" y="414"/>
                    </a:lnTo>
                    <a:lnTo>
                      <a:pt x="459" y="414"/>
                    </a:lnTo>
                    <a:lnTo>
                      <a:pt x="459" y="412"/>
                    </a:lnTo>
                    <a:lnTo>
                      <a:pt x="459" y="414"/>
                    </a:lnTo>
                    <a:lnTo>
                      <a:pt x="458" y="414"/>
                    </a:lnTo>
                    <a:lnTo>
                      <a:pt x="456" y="412"/>
                    </a:lnTo>
                    <a:lnTo>
                      <a:pt x="456" y="411"/>
                    </a:lnTo>
                    <a:lnTo>
                      <a:pt x="456" y="409"/>
                    </a:lnTo>
                    <a:lnTo>
                      <a:pt x="455" y="409"/>
                    </a:lnTo>
                    <a:lnTo>
                      <a:pt x="455" y="407"/>
                    </a:lnTo>
                    <a:lnTo>
                      <a:pt x="453" y="407"/>
                    </a:lnTo>
                    <a:lnTo>
                      <a:pt x="451" y="407"/>
                    </a:lnTo>
                    <a:lnTo>
                      <a:pt x="451" y="409"/>
                    </a:lnTo>
                    <a:lnTo>
                      <a:pt x="450" y="409"/>
                    </a:lnTo>
                    <a:lnTo>
                      <a:pt x="448" y="409"/>
                    </a:lnTo>
                    <a:lnTo>
                      <a:pt x="447" y="409"/>
                    </a:lnTo>
                    <a:lnTo>
                      <a:pt x="445" y="409"/>
                    </a:lnTo>
                    <a:lnTo>
                      <a:pt x="443" y="409"/>
                    </a:lnTo>
                    <a:lnTo>
                      <a:pt x="443" y="411"/>
                    </a:lnTo>
                    <a:lnTo>
                      <a:pt x="442" y="411"/>
                    </a:lnTo>
                    <a:lnTo>
                      <a:pt x="440" y="411"/>
                    </a:lnTo>
                    <a:lnTo>
                      <a:pt x="440" y="412"/>
                    </a:lnTo>
                    <a:lnTo>
                      <a:pt x="439" y="412"/>
                    </a:lnTo>
                    <a:lnTo>
                      <a:pt x="439" y="411"/>
                    </a:lnTo>
                    <a:lnTo>
                      <a:pt x="439" y="409"/>
                    </a:lnTo>
                    <a:lnTo>
                      <a:pt x="437" y="409"/>
                    </a:lnTo>
                    <a:lnTo>
                      <a:pt x="437" y="407"/>
                    </a:lnTo>
                    <a:lnTo>
                      <a:pt x="437" y="406"/>
                    </a:lnTo>
                    <a:lnTo>
                      <a:pt x="439" y="406"/>
                    </a:lnTo>
                    <a:lnTo>
                      <a:pt x="439" y="404"/>
                    </a:lnTo>
                    <a:lnTo>
                      <a:pt x="437" y="404"/>
                    </a:lnTo>
                    <a:lnTo>
                      <a:pt x="437" y="403"/>
                    </a:lnTo>
                    <a:lnTo>
                      <a:pt x="436" y="401"/>
                    </a:lnTo>
                    <a:lnTo>
                      <a:pt x="434" y="401"/>
                    </a:lnTo>
                    <a:lnTo>
                      <a:pt x="432" y="401"/>
                    </a:lnTo>
                    <a:lnTo>
                      <a:pt x="431" y="401"/>
                    </a:lnTo>
                    <a:lnTo>
                      <a:pt x="429" y="401"/>
                    </a:lnTo>
                    <a:lnTo>
                      <a:pt x="428" y="401"/>
                    </a:lnTo>
                    <a:lnTo>
                      <a:pt x="426" y="401"/>
                    </a:lnTo>
                    <a:lnTo>
                      <a:pt x="424" y="399"/>
                    </a:lnTo>
                    <a:lnTo>
                      <a:pt x="423" y="399"/>
                    </a:lnTo>
                    <a:lnTo>
                      <a:pt x="421" y="399"/>
                    </a:lnTo>
                    <a:lnTo>
                      <a:pt x="420" y="399"/>
                    </a:lnTo>
                    <a:lnTo>
                      <a:pt x="420" y="401"/>
                    </a:lnTo>
                    <a:lnTo>
                      <a:pt x="418" y="401"/>
                    </a:lnTo>
                    <a:lnTo>
                      <a:pt x="416" y="399"/>
                    </a:lnTo>
                    <a:lnTo>
                      <a:pt x="416" y="398"/>
                    </a:lnTo>
                    <a:lnTo>
                      <a:pt x="415" y="398"/>
                    </a:lnTo>
                    <a:lnTo>
                      <a:pt x="413" y="396"/>
                    </a:lnTo>
                    <a:lnTo>
                      <a:pt x="413" y="395"/>
                    </a:lnTo>
                    <a:lnTo>
                      <a:pt x="412" y="393"/>
                    </a:lnTo>
                    <a:lnTo>
                      <a:pt x="410" y="392"/>
                    </a:lnTo>
                    <a:lnTo>
                      <a:pt x="409" y="390"/>
                    </a:lnTo>
                    <a:lnTo>
                      <a:pt x="407" y="388"/>
                    </a:lnTo>
                    <a:lnTo>
                      <a:pt x="405" y="387"/>
                    </a:lnTo>
                    <a:lnTo>
                      <a:pt x="404" y="387"/>
                    </a:lnTo>
                    <a:lnTo>
                      <a:pt x="404" y="385"/>
                    </a:lnTo>
                    <a:lnTo>
                      <a:pt x="402" y="385"/>
                    </a:lnTo>
                    <a:lnTo>
                      <a:pt x="402" y="384"/>
                    </a:lnTo>
                    <a:lnTo>
                      <a:pt x="401" y="384"/>
                    </a:lnTo>
                    <a:lnTo>
                      <a:pt x="399" y="382"/>
                    </a:lnTo>
                    <a:lnTo>
                      <a:pt x="397" y="382"/>
                    </a:lnTo>
                    <a:lnTo>
                      <a:pt x="397" y="380"/>
                    </a:lnTo>
                    <a:lnTo>
                      <a:pt x="397" y="379"/>
                    </a:lnTo>
                    <a:lnTo>
                      <a:pt x="396" y="379"/>
                    </a:lnTo>
                    <a:lnTo>
                      <a:pt x="396" y="377"/>
                    </a:lnTo>
                    <a:lnTo>
                      <a:pt x="396" y="376"/>
                    </a:lnTo>
                    <a:lnTo>
                      <a:pt x="394" y="374"/>
                    </a:lnTo>
                    <a:lnTo>
                      <a:pt x="394" y="372"/>
                    </a:lnTo>
                    <a:lnTo>
                      <a:pt x="393" y="371"/>
                    </a:lnTo>
                    <a:lnTo>
                      <a:pt x="393" y="369"/>
                    </a:lnTo>
                    <a:lnTo>
                      <a:pt x="391" y="369"/>
                    </a:lnTo>
                    <a:lnTo>
                      <a:pt x="391" y="368"/>
                    </a:lnTo>
                    <a:lnTo>
                      <a:pt x="390" y="368"/>
                    </a:lnTo>
                    <a:lnTo>
                      <a:pt x="388" y="368"/>
                    </a:lnTo>
                    <a:lnTo>
                      <a:pt x="386" y="368"/>
                    </a:lnTo>
                    <a:lnTo>
                      <a:pt x="386" y="369"/>
                    </a:lnTo>
                    <a:lnTo>
                      <a:pt x="386" y="371"/>
                    </a:lnTo>
                    <a:lnTo>
                      <a:pt x="385" y="371"/>
                    </a:lnTo>
                    <a:lnTo>
                      <a:pt x="383" y="372"/>
                    </a:lnTo>
                    <a:lnTo>
                      <a:pt x="383" y="374"/>
                    </a:lnTo>
                    <a:lnTo>
                      <a:pt x="383" y="376"/>
                    </a:lnTo>
                    <a:lnTo>
                      <a:pt x="382" y="377"/>
                    </a:lnTo>
                    <a:lnTo>
                      <a:pt x="383" y="377"/>
                    </a:lnTo>
                    <a:lnTo>
                      <a:pt x="383" y="379"/>
                    </a:lnTo>
                    <a:lnTo>
                      <a:pt x="382" y="379"/>
                    </a:lnTo>
                    <a:lnTo>
                      <a:pt x="380" y="379"/>
                    </a:lnTo>
                    <a:lnTo>
                      <a:pt x="380" y="380"/>
                    </a:lnTo>
                    <a:lnTo>
                      <a:pt x="382" y="380"/>
                    </a:lnTo>
                    <a:lnTo>
                      <a:pt x="382" y="382"/>
                    </a:lnTo>
                    <a:lnTo>
                      <a:pt x="382" y="380"/>
                    </a:lnTo>
                    <a:lnTo>
                      <a:pt x="380" y="380"/>
                    </a:lnTo>
                    <a:lnTo>
                      <a:pt x="378" y="380"/>
                    </a:lnTo>
                    <a:lnTo>
                      <a:pt x="378" y="382"/>
                    </a:lnTo>
                    <a:lnTo>
                      <a:pt x="378" y="384"/>
                    </a:lnTo>
                    <a:lnTo>
                      <a:pt x="378" y="385"/>
                    </a:lnTo>
                    <a:lnTo>
                      <a:pt x="378" y="387"/>
                    </a:lnTo>
                    <a:lnTo>
                      <a:pt x="377" y="387"/>
                    </a:lnTo>
                    <a:lnTo>
                      <a:pt x="377" y="385"/>
                    </a:lnTo>
                    <a:lnTo>
                      <a:pt x="375" y="385"/>
                    </a:lnTo>
                    <a:lnTo>
                      <a:pt x="375" y="387"/>
                    </a:lnTo>
                    <a:lnTo>
                      <a:pt x="374" y="388"/>
                    </a:lnTo>
                    <a:lnTo>
                      <a:pt x="372" y="388"/>
                    </a:lnTo>
                    <a:lnTo>
                      <a:pt x="372" y="390"/>
                    </a:lnTo>
                    <a:lnTo>
                      <a:pt x="372" y="392"/>
                    </a:lnTo>
                    <a:lnTo>
                      <a:pt x="372" y="393"/>
                    </a:lnTo>
                    <a:lnTo>
                      <a:pt x="371" y="393"/>
                    </a:lnTo>
                    <a:lnTo>
                      <a:pt x="371" y="395"/>
                    </a:lnTo>
                    <a:lnTo>
                      <a:pt x="369" y="395"/>
                    </a:lnTo>
                    <a:lnTo>
                      <a:pt x="369" y="396"/>
                    </a:lnTo>
                    <a:lnTo>
                      <a:pt x="369" y="398"/>
                    </a:lnTo>
                    <a:lnTo>
                      <a:pt x="367" y="398"/>
                    </a:lnTo>
                    <a:lnTo>
                      <a:pt x="367" y="399"/>
                    </a:lnTo>
                    <a:lnTo>
                      <a:pt x="367" y="401"/>
                    </a:lnTo>
                    <a:lnTo>
                      <a:pt x="367" y="403"/>
                    </a:lnTo>
                    <a:lnTo>
                      <a:pt x="366" y="404"/>
                    </a:lnTo>
                    <a:lnTo>
                      <a:pt x="366" y="406"/>
                    </a:lnTo>
                    <a:lnTo>
                      <a:pt x="364" y="406"/>
                    </a:lnTo>
                    <a:lnTo>
                      <a:pt x="364" y="407"/>
                    </a:lnTo>
                    <a:lnTo>
                      <a:pt x="366" y="407"/>
                    </a:lnTo>
                    <a:lnTo>
                      <a:pt x="364" y="407"/>
                    </a:lnTo>
                    <a:lnTo>
                      <a:pt x="364" y="409"/>
                    </a:lnTo>
                    <a:lnTo>
                      <a:pt x="364" y="411"/>
                    </a:lnTo>
                    <a:lnTo>
                      <a:pt x="363" y="411"/>
                    </a:lnTo>
                    <a:lnTo>
                      <a:pt x="363" y="412"/>
                    </a:lnTo>
                    <a:lnTo>
                      <a:pt x="361" y="412"/>
                    </a:lnTo>
                    <a:lnTo>
                      <a:pt x="361" y="414"/>
                    </a:lnTo>
                    <a:lnTo>
                      <a:pt x="363" y="414"/>
                    </a:lnTo>
                    <a:lnTo>
                      <a:pt x="363" y="415"/>
                    </a:lnTo>
                    <a:lnTo>
                      <a:pt x="363" y="417"/>
                    </a:lnTo>
                    <a:lnTo>
                      <a:pt x="361" y="417"/>
                    </a:lnTo>
                    <a:lnTo>
                      <a:pt x="361" y="418"/>
                    </a:lnTo>
                    <a:lnTo>
                      <a:pt x="359" y="418"/>
                    </a:lnTo>
                    <a:lnTo>
                      <a:pt x="359" y="420"/>
                    </a:lnTo>
                    <a:lnTo>
                      <a:pt x="358" y="420"/>
                    </a:lnTo>
                    <a:lnTo>
                      <a:pt x="358" y="422"/>
                    </a:lnTo>
                    <a:lnTo>
                      <a:pt x="358" y="423"/>
                    </a:lnTo>
                    <a:lnTo>
                      <a:pt x="356" y="423"/>
                    </a:lnTo>
                    <a:lnTo>
                      <a:pt x="355" y="423"/>
                    </a:lnTo>
                    <a:lnTo>
                      <a:pt x="353" y="425"/>
                    </a:lnTo>
                    <a:lnTo>
                      <a:pt x="352" y="425"/>
                    </a:lnTo>
                    <a:lnTo>
                      <a:pt x="352" y="426"/>
                    </a:lnTo>
                    <a:lnTo>
                      <a:pt x="352" y="428"/>
                    </a:lnTo>
                    <a:lnTo>
                      <a:pt x="350" y="428"/>
                    </a:lnTo>
                    <a:lnTo>
                      <a:pt x="350" y="430"/>
                    </a:lnTo>
                    <a:lnTo>
                      <a:pt x="350" y="431"/>
                    </a:lnTo>
                    <a:lnTo>
                      <a:pt x="348" y="431"/>
                    </a:lnTo>
                    <a:lnTo>
                      <a:pt x="347" y="431"/>
                    </a:lnTo>
                    <a:lnTo>
                      <a:pt x="348" y="431"/>
                    </a:lnTo>
                    <a:lnTo>
                      <a:pt x="348" y="433"/>
                    </a:lnTo>
                    <a:lnTo>
                      <a:pt x="347" y="433"/>
                    </a:lnTo>
                    <a:lnTo>
                      <a:pt x="345" y="434"/>
                    </a:lnTo>
                    <a:lnTo>
                      <a:pt x="344" y="434"/>
                    </a:lnTo>
                    <a:lnTo>
                      <a:pt x="344" y="436"/>
                    </a:lnTo>
                    <a:lnTo>
                      <a:pt x="342" y="434"/>
                    </a:lnTo>
                    <a:lnTo>
                      <a:pt x="340" y="434"/>
                    </a:lnTo>
                    <a:lnTo>
                      <a:pt x="339" y="433"/>
                    </a:lnTo>
                    <a:lnTo>
                      <a:pt x="339" y="434"/>
                    </a:lnTo>
                    <a:lnTo>
                      <a:pt x="337" y="434"/>
                    </a:lnTo>
                    <a:lnTo>
                      <a:pt x="336" y="434"/>
                    </a:lnTo>
                    <a:lnTo>
                      <a:pt x="336" y="436"/>
                    </a:lnTo>
                    <a:lnTo>
                      <a:pt x="334" y="436"/>
                    </a:lnTo>
                    <a:lnTo>
                      <a:pt x="334" y="437"/>
                    </a:lnTo>
                    <a:lnTo>
                      <a:pt x="333" y="437"/>
                    </a:lnTo>
                    <a:lnTo>
                      <a:pt x="331" y="437"/>
                    </a:lnTo>
                    <a:lnTo>
                      <a:pt x="329" y="437"/>
                    </a:lnTo>
                    <a:lnTo>
                      <a:pt x="329" y="439"/>
                    </a:lnTo>
                    <a:lnTo>
                      <a:pt x="328" y="439"/>
                    </a:lnTo>
                    <a:lnTo>
                      <a:pt x="328" y="441"/>
                    </a:lnTo>
                    <a:lnTo>
                      <a:pt x="326" y="441"/>
                    </a:lnTo>
                    <a:lnTo>
                      <a:pt x="325" y="441"/>
                    </a:lnTo>
                    <a:lnTo>
                      <a:pt x="323" y="441"/>
                    </a:lnTo>
                    <a:lnTo>
                      <a:pt x="321" y="441"/>
                    </a:lnTo>
                    <a:lnTo>
                      <a:pt x="320" y="441"/>
                    </a:lnTo>
                    <a:lnTo>
                      <a:pt x="320" y="442"/>
                    </a:lnTo>
                    <a:lnTo>
                      <a:pt x="318" y="442"/>
                    </a:lnTo>
                    <a:lnTo>
                      <a:pt x="317" y="442"/>
                    </a:lnTo>
                    <a:lnTo>
                      <a:pt x="317" y="444"/>
                    </a:lnTo>
                    <a:lnTo>
                      <a:pt x="315" y="444"/>
                    </a:lnTo>
                    <a:lnTo>
                      <a:pt x="314" y="445"/>
                    </a:lnTo>
                    <a:lnTo>
                      <a:pt x="314" y="447"/>
                    </a:lnTo>
                    <a:lnTo>
                      <a:pt x="312" y="447"/>
                    </a:lnTo>
                    <a:lnTo>
                      <a:pt x="310" y="447"/>
                    </a:lnTo>
                    <a:lnTo>
                      <a:pt x="309" y="447"/>
                    </a:lnTo>
                    <a:lnTo>
                      <a:pt x="307" y="447"/>
                    </a:lnTo>
                    <a:lnTo>
                      <a:pt x="306" y="447"/>
                    </a:lnTo>
                    <a:lnTo>
                      <a:pt x="306" y="445"/>
                    </a:lnTo>
                    <a:lnTo>
                      <a:pt x="304" y="447"/>
                    </a:lnTo>
                    <a:lnTo>
                      <a:pt x="304" y="449"/>
                    </a:lnTo>
                    <a:lnTo>
                      <a:pt x="302" y="449"/>
                    </a:lnTo>
                    <a:lnTo>
                      <a:pt x="301" y="449"/>
                    </a:lnTo>
                    <a:lnTo>
                      <a:pt x="301" y="447"/>
                    </a:lnTo>
                    <a:lnTo>
                      <a:pt x="299" y="447"/>
                    </a:lnTo>
                    <a:lnTo>
                      <a:pt x="298" y="447"/>
                    </a:lnTo>
                    <a:lnTo>
                      <a:pt x="296" y="447"/>
                    </a:lnTo>
                    <a:lnTo>
                      <a:pt x="296" y="449"/>
                    </a:lnTo>
                    <a:lnTo>
                      <a:pt x="295" y="449"/>
                    </a:lnTo>
                    <a:lnTo>
                      <a:pt x="295" y="450"/>
                    </a:lnTo>
                    <a:lnTo>
                      <a:pt x="293" y="450"/>
                    </a:lnTo>
                    <a:lnTo>
                      <a:pt x="291" y="450"/>
                    </a:lnTo>
                    <a:lnTo>
                      <a:pt x="290" y="450"/>
                    </a:lnTo>
                    <a:lnTo>
                      <a:pt x="288" y="450"/>
                    </a:lnTo>
                    <a:lnTo>
                      <a:pt x="287" y="449"/>
                    </a:lnTo>
                    <a:lnTo>
                      <a:pt x="285" y="449"/>
                    </a:lnTo>
                    <a:lnTo>
                      <a:pt x="283" y="449"/>
                    </a:lnTo>
                    <a:lnTo>
                      <a:pt x="283" y="447"/>
                    </a:lnTo>
                    <a:lnTo>
                      <a:pt x="283" y="445"/>
                    </a:lnTo>
                    <a:lnTo>
                      <a:pt x="282" y="445"/>
                    </a:lnTo>
                    <a:lnTo>
                      <a:pt x="282" y="444"/>
                    </a:lnTo>
                    <a:lnTo>
                      <a:pt x="280" y="444"/>
                    </a:lnTo>
                    <a:lnTo>
                      <a:pt x="280" y="445"/>
                    </a:lnTo>
                    <a:lnTo>
                      <a:pt x="279" y="445"/>
                    </a:lnTo>
                    <a:lnTo>
                      <a:pt x="279" y="447"/>
                    </a:lnTo>
                    <a:lnTo>
                      <a:pt x="279" y="449"/>
                    </a:lnTo>
                    <a:lnTo>
                      <a:pt x="277" y="449"/>
                    </a:lnTo>
                    <a:lnTo>
                      <a:pt x="276" y="449"/>
                    </a:lnTo>
                    <a:lnTo>
                      <a:pt x="276" y="450"/>
                    </a:lnTo>
                    <a:lnTo>
                      <a:pt x="274" y="450"/>
                    </a:lnTo>
                    <a:lnTo>
                      <a:pt x="272" y="450"/>
                    </a:lnTo>
                    <a:lnTo>
                      <a:pt x="271" y="450"/>
                    </a:lnTo>
                    <a:lnTo>
                      <a:pt x="269" y="450"/>
                    </a:lnTo>
                    <a:lnTo>
                      <a:pt x="268" y="450"/>
                    </a:lnTo>
                    <a:lnTo>
                      <a:pt x="266" y="450"/>
                    </a:lnTo>
                    <a:lnTo>
                      <a:pt x="264" y="450"/>
                    </a:lnTo>
                    <a:lnTo>
                      <a:pt x="263" y="450"/>
                    </a:lnTo>
                    <a:lnTo>
                      <a:pt x="263" y="449"/>
                    </a:lnTo>
                    <a:lnTo>
                      <a:pt x="261" y="449"/>
                    </a:lnTo>
                    <a:lnTo>
                      <a:pt x="261" y="447"/>
                    </a:lnTo>
                    <a:lnTo>
                      <a:pt x="261" y="445"/>
                    </a:lnTo>
                    <a:lnTo>
                      <a:pt x="260" y="445"/>
                    </a:lnTo>
                    <a:lnTo>
                      <a:pt x="258" y="445"/>
                    </a:lnTo>
                    <a:lnTo>
                      <a:pt x="257" y="445"/>
                    </a:lnTo>
                    <a:lnTo>
                      <a:pt x="255" y="445"/>
                    </a:lnTo>
                    <a:lnTo>
                      <a:pt x="255" y="447"/>
                    </a:lnTo>
                    <a:lnTo>
                      <a:pt x="255" y="449"/>
                    </a:lnTo>
                    <a:lnTo>
                      <a:pt x="253" y="449"/>
                    </a:lnTo>
                    <a:lnTo>
                      <a:pt x="255" y="449"/>
                    </a:lnTo>
                    <a:lnTo>
                      <a:pt x="255" y="447"/>
                    </a:lnTo>
                    <a:lnTo>
                      <a:pt x="253" y="447"/>
                    </a:lnTo>
                    <a:lnTo>
                      <a:pt x="253" y="445"/>
                    </a:lnTo>
                    <a:lnTo>
                      <a:pt x="253" y="444"/>
                    </a:lnTo>
                    <a:lnTo>
                      <a:pt x="252" y="444"/>
                    </a:lnTo>
                    <a:lnTo>
                      <a:pt x="252" y="442"/>
                    </a:lnTo>
                    <a:lnTo>
                      <a:pt x="250" y="442"/>
                    </a:lnTo>
                    <a:lnTo>
                      <a:pt x="250" y="444"/>
                    </a:lnTo>
                    <a:lnTo>
                      <a:pt x="249" y="444"/>
                    </a:lnTo>
                    <a:lnTo>
                      <a:pt x="249" y="445"/>
                    </a:lnTo>
                    <a:lnTo>
                      <a:pt x="247" y="445"/>
                    </a:lnTo>
                    <a:lnTo>
                      <a:pt x="247" y="447"/>
                    </a:lnTo>
                    <a:lnTo>
                      <a:pt x="247" y="445"/>
                    </a:lnTo>
                    <a:lnTo>
                      <a:pt x="245" y="445"/>
                    </a:lnTo>
                    <a:lnTo>
                      <a:pt x="245" y="447"/>
                    </a:lnTo>
                    <a:lnTo>
                      <a:pt x="245" y="449"/>
                    </a:lnTo>
                    <a:lnTo>
                      <a:pt x="245" y="450"/>
                    </a:lnTo>
                    <a:lnTo>
                      <a:pt x="247" y="452"/>
                    </a:lnTo>
                    <a:lnTo>
                      <a:pt x="247" y="453"/>
                    </a:lnTo>
                    <a:lnTo>
                      <a:pt x="245" y="453"/>
                    </a:lnTo>
                    <a:lnTo>
                      <a:pt x="244" y="453"/>
                    </a:lnTo>
                    <a:lnTo>
                      <a:pt x="244" y="452"/>
                    </a:lnTo>
                    <a:lnTo>
                      <a:pt x="244" y="450"/>
                    </a:lnTo>
                    <a:lnTo>
                      <a:pt x="242" y="449"/>
                    </a:lnTo>
                    <a:lnTo>
                      <a:pt x="242" y="447"/>
                    </a:lnTo>
                    <a:lnTo>
                      <a:pt x="241" y="447"/>
                    </a:lnTo>
                    <a:lnTo>
                      <a:pt x="241" y="445"/>
                    </a:lnTo>
                    <a:lnTo>
                      <a:pt x="242" y="445"/>
                    </a:lnTo>
                    <a:lnTo>
                      <a:pt x="244" y="445"/>
                    </a:lnTo>
                    <a:lnTo>
                      <a:pt x="244" y="444"/>
                    </a:lnTo>
                    <a:lnTo>
                      <a:pt x="244" y="442"/>
                    </a:lnTo>
                    <a:lnTo>
                      <a:pt x="244" y="441"/>
                    </a:lnTo>
                    <a:lnTo>
                      <a:pt x="244" y="442"/>
                    </a:lnTo>
                    <a:lnTo>
                      <a:pt x="242" y="442"/>
                    </a:lnTo>
                    <a:lnTo>
                      <a:pt x="241" y="442"/>
                    </a:lnTo>
                    <a:lnTo>
                      <a:pt x="241" y="441"/>
                    </a:lnTo>
                    <a:lnTo>
                      <a:pt x="239" y="441"/>
                    </a:lnTo>
                    <a:lnTo>
                      <a:pt x="239" y="439"/>
                    </a:lnTo>
                    <a:lnTo>
                      <a:pt x="237" y="439"/>
                    </a:lnTo>
                    <a:lnTo>
                      <a:pt x="237" y="437"/>
                    </a:lnTo>
                    <a:lnTo>
                      <a:pt x="236" y="437"/>
                    </a:lnTo>
                    <a:lnTo>
                      <a:pt x="234" y="437"/>
                    </a:lnTo>
                    <a:lnTo>
                      <a:pt x="234" y="436"/>
                    </a:lnTo>
                    <a:lnTo>
                      <a:pt x="234" y="434"/>
                    </a:lnTo>
                    <a:lnTo>
                      <a:pt x="233" y="434"/>
                    </a:lnTo>
                    <a:lnTo>
                      <a:pt x="233" y="433"/>
                    </a:lnTo>
                    <a:lnTo>
                      <a:pt x="231" y="433"/>
                    </a:lnTo>
                    <a:lnTo>
                      <a:pt x="230" y="433"/>
                    </a:lnTo>
                    <a:lnTo>
                      <a:pt x="230" y="431"/>
                    </a:lnTo>
                    <a:lnTo>
                      <a:pt x="228" y="431"/>
                    </a:lnTo>
                    <a:lnTo>
                      <a:pt x="226" y="431"/>
                    </a:lnTo>
                    <a:lnTo>
                      <a:pt x="226" y="430"/>
                    </a:lnTo>
                    <a:lnTo>
                      <a:pt x="225" y="430"/>
                    </a:lnTo>
                    <a:lnTo>
                      <a:pt x="223" y="428"/>
                    </a:lnTo>
                    <a:lnTo>
                      <a:pt x="223" y="430"/>
                    </a:lnTo>
                    <a:lnTo>
                      <a:pt x="222" y="430"/>
                    </a:lnTo>
                    <a:lnTo>
                      <a:pt x="222" y="428"/>
                    </a:lnTo>
                    <a:lnTo>
                      <a:pt x="222" y="430"/>
                    </a:lnTo>
                    <a:lnTo>
                      <a:pt x="220" y="430"/>
                    </a:lnTo>
                    <a:lnTo>
                      <a:pt x="220" y="428"/>
                    </a:lnTo>
                    <a:lnTo>
                      <a:pt x="218" y="428"/>
                    </a:lnTo>
                    <a:lnTo>
                      <a:pt x="217" y="428"/>
                    </a:lnTo>
                    <a:lnTo>
                      <a:pt x="215" y="428"/>
                    </a:lnTo>
                    <a:lnTo>
                      <a:pt x="215" y="426"/>
                    </a:lnTo>
                    <a:lnTo>
                      <a:pt x="214" y="426"/>
                    </a:lnTo>
                    <a:lnTo>
                      <a:pt x="212" y="426"/>
                    </a:lnTo>
                    <a:lnTo>
                      <a:pt x="211" y="426"/>
                    </a:lnTo>
                    <a:lnTo>
                      <a:pt x="209" y="428"/>
                    </a:lnTo>
                    <a:lnTo>
                      <a:pt x="206" y="426"/>
                    </a:lnTo>
                    <a:lnTo>
                      <a:pt x="204" y="426"/>
                    </a:lnTo>
                    <a:lnTo>
                      <a:pt x="201" y="426"/>
                    </a:lnTo>
                    <a:lnTo>
                      <a:pt x="199" y="426"/>
                    </a:lnTo>
                    <a:lnTo>
                      <a:pt x="198" y="426"/>
                    </a:lnTo>
                    <a:lnTo>
                      <a:pt x="198" y="428"/>
                    </a:lnTo>
                    <a:lnTo>
                      <a:pt x="198" y="430"/>
                    </a:lnTo>
                    <a:lnTo>
                      <a:pt x="196" y="431"/>
                    </a:lnTo>
                    <a:lnTo>
                      <a:pt x="196" y="433"/>
                    </a:lnTo>
                    <a:lnTo>
                      <a:pt x="195" y="434"/>
                    </a:lnTo>
                    <a:lnTo>
                      <a:pt x="193" y="434"/>
                    </a:lnTo>
                    <a:lnTo>
                      <a:pt x="192" y="434"/>
                    </a:lnTo>
                    <a:lnTo>
                      <a:pt x="192" y="436"/>
                    </a:lnTo>
                    <a:lnTo>
                      <a:pt x="192" y="437"/>
                    </a:lnTo>
                    <a:lnTo>
                      <a:pt x="190" y="437"/>
                    </a:lnTo>
                    <a:lnTo>
                      <a:pt x="188" y="437"/>
                    </a:lnTo>
                    <a:lnTo>
                      <a:pt x="187" y="437"/>
                    </a:lnTo>
                    <a:lnTo>
                      <a:pt x="185" y="439"/>
                    </a:lnTo>
                    <a:lnTo>
                      <a:pt x="184" y="439"/>
                    </a:lnTo>
                    <a:lnTo>
                      <a:pt x="182" y="439"/>
                    </a:lnTo>
                    <a:lnTo>
                      <a:pt x="182" y="441"/>
                    </a:lnTo>
                    <a:lnTo>
                      <a:pt x="180" y="441"/>
                    </a:lnTo>
                    <a:lnTo>
                      <a:pt x="180" y="442"/>
                    </a:lnTo>
                    <a:lnTo>
                      <a:pt x="179" y="442"/>
                    </a:lnTo>
                    <a:lnTo>
                      <a:pt x="179" y="444"/>
                    </a:lnTo>
                    <a:lnTo>
                      <a:pt x="179" y="442"/>
                    </a:lnTo>
                    <a:lnTo>
                      <a:pt x="177" y="442"/>
                    </a:lnTo>
                    <a:lnTo>
                      <a:pt x="176" y="442"/>
                    </a:lnTo>
                    <a:lnTo>
                      <a:pt x="174" y="442"/>
                    </a:lnTo>
                    <a:lnTo>
                      <a:pt x="174" y="444"/>
                    </a:lnTo>
                    <a:lnTo>
                      <a:pt x="173" y="444"/>
                    </a:lnTo>
                    <a:lnTo>
                      <a:pt x="173" y="445"/>
                    </a:lnTo>
                    <a:lnTo>
                      <a:pt x="171" y="445"/>
                    </a:lnTo>
                    <a:lnTo>
                      <a:pt x="171" y="444"/>
                    </a:lnTo>
                    <a:lnTo>
                      <a:pt x="169" y="444"/>
                    </a:lnTo>
                    <a:lnTo>
                      <a:pt x="168" y="444"/>
                    </a:lnTo>
                    <a:lnTo>
                      <a:pt x="168" y="445"/>
                    </a:lnTo>
                    <a:lnTo>
                      <a:pt x="168" y="447"/>
                    </a:lnTo>
                    <a:lnTo>
                      <a:pt x="166" y="447"/>
                    </a:lnTo>
                    <a:lnTo>
                      <a:pt x="165" y="447"/>
                    </a:lnTo>
                    <a:lnTo>
                      <a:pt x="163" y="447"/>
                    </a:lnTo>
                    <a:lnTo>
                      <a:pt x="163" y="449"/>
                    </a:lnTo>
                    <a:lnTo>
                      <a:pt x="161" y="449"/>
                    </a:lnTo>
                    <a:lnTo>
                      <a:pt x="160" y="449"/>
                    </a:lnTo>
                    <a:lnTo>
                      <a:pt x="158" y="449"/>
                    </a:lnTo>
                    <a:lnTo>
                      <a:pt x="157" y="449"/>
                    </a:lnTo>
                    <a:lnTo>
                      <a:pt x="155" y="449"/>
                    </a:lnTo>
                    <a:lnTo>
                      <a:pt x="155" y="447"/>
                    </a:lnTo>
                    <a:lnTo>
                      <a:pt x="154" y="447"/>
                    </a:lnTo>
                    <a:lnTo>
                      <a:pt x="152" y="447"/>
                    </a:lnTo>
                    <a:lnTo>
                      <a:pt x="150" y="445"/>
                    </a:lnTo>
                    <a:lnTo>
                      <a:pt x="149" y="445"/>
                    </a:lnTo>
                    <a:lnTo>
                      <a:pt x="149" y="447"/>
                    </a:lnTo>
                    <a:lnTo>
                      <a:pt x="147" y="447"/>
                    </a:lnTo>
                    <a:lnTo>
                      <a:pt x="146" y="447"/>
                    </a:lnTo>
                    <a:lnTo>
                      <a:pt x="147" y="445"/>
                    </a:lnTo>
                    <a:lnTo>
                      <a:pt x="146" y="445"/>
                    </a:lnTo>
                    <a:lnTo>
                      <a:pt x="144" y="445"/>
                    </a:lnTo>
                    <a:lnTo>
                      <a:pt x="144" y="444"/>
                    </a:lnTo>
                    <a:lnTo>
                      <a:pt x="142" y="442"/>
                    </a:lnTo>
                    <a:lnTo>
                      <a:pt x="141" y="442"/>
                    </a:lnTo>
                    <a:lnTo>
                      <a:pt x="141" y="444"/>
                    </a:lnTo>
                    <a:lnTo>
                      <a:pt x="139" y="444"/>
                    </a:lnTo>
                    <a:lnTo>
                      <a:pt x="139" y="442"/>
                    </a:lnTo>
                    <a:lnTo>
                      <a:pt x="138" y="444"/>
                    </a:lnTo>
                    <a:lnTo>
                      <a:pt x="136" y="444"/>
                    </a:lnTo>
                    <a:lnTo>
                      <a:pt x="136" y="442"/>
                    </a:lnTo>
                    <a:lnTo>
                      <a:pt x="136" y="441"/>
                    </a:lnTo>
                    <a:lnTo>
                      <a:pt x="135" y="441"/>
                    </a:lnTo>
                    <a:lnTo>
                      <a:pt x="135" y="442"/>
                    </a:lnTo>
                    <a:lnTo>
                      <a:pt x="133" y="441"/>
                    </a:lnTo>
                    <a:lnTo>
                      <a:pt x="133" y="439"/>
                    </a:lnTo>
                    <a:lnTo>
                      <a:pt x="133" y="437"/>
                    </a:lnTo>
                    <a:lnTo>
                      <a:pt x="131" y="437"/>
                    </a:lnTo>
                    <a:lnTo>
                      <a:pt x="131" y="436"/>
                    </a:lnTo>
                    <a:lnTo>
                      <a:pt x="130" y="436"/>
                    </a:lnTo>
                    <a:lnTo>
                      <a:pt x="130" y="434"/>
                    </a:lnTo>
                    <a:lnTo>
                      <a:pt x="128" y="434"/>
                    </a:lnTo>
                    <a:lnTo>
                      <a:pt x="127" y="434"/>
                    </a:lnTo>
                    <a:lnTo>
                      <a:pt x="127" y="436"/>
                    </a:lnTo>
                    <a:lnTo>
                      <a:pt x="127" y="434"/>
                    </a:lnTo>
                    <a:lnTo>
                      <a:pt x="125" y="434"/>
                    </a:lnTo>
                    <a:lnTo>
                      <a:pt x="125" y="433"/>
                    </a:lnTo>
                    <a:lnTo>
                      <a:pt x="123" y="433"/>
                    </a:lnTo>
                    <a:lnTo>
                      <a:pt x="123" y="431"/>
                    </a:lnTo>
                    <a:lnTo>
                      <a:pt x="122" y="431"/>
                    </a:lnTo>
                    <a:lnTo>
                      <a:pt x="122" y="430"/>
                    </a:lnTo>
                    <a:lnTo>
                      <a:pt x="120" y="430"/>
                    </a:lnTo>
                    <a:lnTo>
                      <a:pt x="119" y="430"/>
                    </a:lnTo>
                    <a:lnTo>
                      <a:pt x="119" y="428"/>
                    </a:lnTo>
                    <a:lnTo>
                      <a:pt x="117" y="428"/>
                    </a:lnTo>
                    <a:lnTo>
                      <a:pt x="117" y="426"/>
                    </a:lnTo>
                    <a:lnTo>
                      <a:pt x="116" y="426"/>
                    </a:lnTo>
                    <a:lnTo>
                      <a:pt x="116" y="425"/>
                    </a:lnTo>
                    <a:lnTo>
                      <a:pt x="114" y="425"/>
                    </a:lnTo>
                    <a:lnTo>
                      <a:pt x="112" y="425"/>
                    </a:lnTo>
                    <a:lnTo>
                      <a:pt x="112" y="423"/>
                    </a:lnTo>
                    <a:lnTo>
                      <a:pt x="111" y="423"/>
                    </a:lnTo>
                    <a:lnTo>
                      <a:pt x="109" y="423"/>
                    </a:lnTo>
                    <a:lnTo>
                      <a:pt x="109" y="422"/>
                    </a:lnTo>
                    <a:lnTo>
                      <a:pt x="108" y="422"/>
                    </a:lnTo>
                    <a:lnTo>
                      <a:pt x="106" y="422"/>
                    </a:lnTo>
                    <a:lnTo>
                      <a:pt x="106" y="420"/>
                    </a:lnTo>
                    <a:lnTo>
                      <a:pt x="104" y="420"/>
                    </a:lnTo>
                    <a:lnTo>
                      <a:pt x="103" y="420"/>
                    </a:lnTo>
                    <a:lnTo>
                      <a:pt x="103" y="418"/>
                    </a:lnTo>
                    <a:lnTo>
                      <a:pt x="101" y="417"/>
                    </a:lnTo>
                    <a:lnTo>
                      <a:pt x="100" y="417"/>
                    </a:lnTo>
                    <a:lnTo>
                      <a:pt x="100" y="415"/>
                    </a:lnTo>
                    <a:lnTo>
                      <a:pt x="100" y="414"/>
                    </a:lnTo>
                    <a:lnTo>
                      <a:pt x="98" y="414"/>
                    </a:lnTo>
                    <a:lnTo>
                      <a:pt x="98" y="412"/>
                    </a:lnTo>
                    <a:lnTo>
                      <a:pt x="97" y="412"/>
                    </a:lnTo>
                    <a:lnTo>
                      <a:pt x="97" y="411"/>
                    </a:lnTo>
                    <a:lnTo>
                      <a:pt x="95" y="411"/>
                    </a:lnTo>
                    <a:lnTo>
                      <a:pt x="95" y="409"/>
                    </a:lnTo>
                    <a:lnTo>
                      <a:pt x="93" y="409"/>
                    </a:lnTo>
                    <a:lnTo>
                      <a:pt x="92" y="409"/>
                    </a:lnTo>
                    <a:lnTo>
                      <a:pt x="90" y="407"/>
                    </a:lnTo>
                    <a:lnTo>
                      <a:pt x="89" y="407"/>
                    </a:lnTo>
                    <a:lnTo>
                      <a:pt x="89" y="406"/>
                    </a:lnTo>
                    <a:lnTo>
                      <a:pt x="89" y="404"/>
                    </a:lnTo>
                    <a:lnTo>
                      <a:pt x="87" y="403"/>
                    </a:lnTo>
                    <a:lnTo>
                      <a:pt x="87" y="401"/>
                    </a:lnTo>
                    <a:lnTo>
                      <a:pt x="87" y="399"/>
                    </a:lnTo>
                    <a:lnTo>
                      <a:pt x="85" y="399"/>
                    </a:lnTo>
                    <a:lnTo>
                      <a:pt x="85" y="398"/>
                    </a:lnTo>
                    <a:lnTo>
                      <a:pt x="85" y="396"/>
                    </a:lnTo>
                    <a:lnTo>
                      <a:pt x="84" y="396"/>
                    </a:lnTo>
                    <a:lnTo>
                      <a:pt x="84" y="395"/>
                    </a:lnTo>
                    <a:lnTo>
                      <a:pt x="82" y="395"/>
                    </a:lnTo>
                    <a:lnTo>
                      <a:pt x="82" y="393"/>
                    </a:lnTo>
                    <a:lnTo>
                      <a:pt x="81" y="393"/>
                    </a:lnTo>
                    <a:lnTo>
                      <a:pt x="81" y="392"/>
                    </a:lnTo>
                    <a:lnTo>
                      <a:pt x="79" y="392"/>
                    </a:lnTo>
                    <a:lnTo>
                      <a:pt x="79" y="393"/>
                    </a:lnTo>
                    <a:lnTo>
                      <a:pt x="78" y="393"/>
                    </a:lnTo>
                    <a:lnTo>
                      <a:pt x="76" y="393"/>
                    </a:lnTo>
                    <a:lnTo>
                      <a:pt x="76" y="392"/>
                    </a:lnTo>
                    <a:lnTo>
                      <a:pt x="74" y="392"/>
                    </a:lnTo>
                    <a:lnTo>
                      <a:pt x="73" y="392"/>
                    </a:lnTo>
                    <a:lnTo>
                      <a:pt x="73" y="390"/>
                    </a:lnTo>
                    <a:lnTo>
                      <a:pt x="71" y="390"/>
                    </a:lnTo>
                    <a:lnTo>
                      <a:pt x="70" y="390"/>
                    </a:lnTo>
                    <a:lnTo>
                      <a:pt x="70" y="388"/>
                    </a:lnTo>
                    <a:lnTo>
                      <a:pt x="68" y="388"/>
                    </a:lnTo>
                    <a:lnTo>
                      <a:pt x="68" y="387"/>
                    </a:lnTo>
                    <a:lnTo>
                      <a:pt x="66" y="387"/>
                    </a:lnTo>
                    <a:lnTo>
                      <a:pt x="65" y="387"/>
                    </a:lnTo>
                    <a:lnTo>
                      <a:pt x="63" y="387"/>
                    </a:lnTo>
                    <a:lnTo>
                      <a:pt x="62" y="387"/>
                    </a:lnTo>
                    <a:lnTo>
                      <a:pt x="60" y="387"/>
                    </a:lnTo>
                    <a:lnTo>
                      <a:pt x="59" y="387"/>
                    </a:lnTo>
                    <a:lnTo>
                      <a:pt x="57" y="387"/>
                    </a:lnTo>
                    <a:lnTo>
                      <a:pt x="55" y="387"/>
                    </a:lnTo>
                    <a:lnTo>
                      <a:pt x="54" y="385"/>
                    </a:lnTo>
                    <a:lnTo>
                      <a:pt x="52" y="385"/>
                    </a:lnTo>
                    <a:lnTo>
                      <a:pt x="51" y="385"/>
                    </a:lnTo>
                    <a:lnTo>
                      <a:pt x="49" y="385"/>
                    </a:lnTo>
                    <a:lnTo>
                      <a:pt x="47" y="385"/>
                    </a:lnTo>
                    <a:lnTo>
                      <a:pt x="46" y="384"/>
                    </a:lnTo>
                    <a:lnTo>
                      <a:pt x="44" y="384"/>
                    </a:lnTo>
                    <a:lnTo>
                      <a:pt x="43" y="384"/>
                    </a:lnTo>
                    <a:lnTo>
                      <a:pt x="41" y="384"/>
                    </a:lnTo>
                    <a:lnTo>
                      <a:pt x="39" y="384"/>
                    </a:lnTo>
                    <a:lnTo>
                      <a:pt x="38" y="384"/>
                    </a:lnTo>
                    <a:lnTo>
                      <a:pt x="36" y="384"/>
                    </a:lnTo>
                    <a:lnTo>
                      <a:pt x="36" y="382"/>
                    </a:lnTo>
                    <a:lnTo>
                      <a:pt x="35" y="382"/>
                    </a:lnTo>
                    <a:lnTo>
                      <a:pt x="33" y="382"/>
                    </a:lnTo>
                    <a:lnTo>
                      <a:pt x="33" y="380"/>
                    </a:lnTo>
                    <a:lnTo>
                      <a:pt x="32" y="380"/>
                    </a:lnTo>
                    <a:lnTo>
                      <a:pt x="30" y="380"/>
                    </a:lnTo>
                    <a:lnTo>
                      <a:pt x="30" y="379"/>
                    </a:lnTo>
                    <a:lnTo>
                      <a:pt x="28" y="379"/>
                    </a:lnTo>
                    <a:lnTo>
                      <a:pt x="27" y="379"/>
                    </a:lnTo>
                    <a:lnTo>
                      <a:pt x="27" y="377"/>
                    </a:lnTo>
                    <a:lnTo>
                      <a:pt x="27" y="379"/>
                    </a:lnTo>
                    <a:lnTo>
                      <a:pt x="25" y="379"/>
                    </a:lnTo>
                    <a:lnTo>
                      <a:pt x="25" y="380"/>
                    </a:lnTo>
                    <a:lnTo>
                      <a:pt x="25" y="379"/>
                    </a:lnTo>
                    <a:lnTo>
                      <a:pt x="24" y="379"/>
                    </a:lnTo>
                    <a:lnTo>
                      <a:pt x="24" y="377"/>
                    </a:lnTo>
                    <a:lnTo>
                      <a:pt x="22" y="377"/>
                    </a:lnTo>
                    <a:lnTo>
                      <a:pt x="20" y="376"/>
                    </a:lnTo>
                    <a:lnTo>
                      <a:pt x="20" y="374"/>
                    </a:lnTo>
                    <a:lnTo>
                      <a:pt x="19" y="372"/>
                    </a:lnTo>
                    <a:lnTo>
                      <a:pt x="19" y="371"/>
                    </a:lnTo>
                    <a:lnTo>
                      <a:pt x="17" y="369"/>
                    </a:lnTo>
                    <a:lnTo>
                      <a:pt x="17" y="368"/>
                    </a:lnTo>
                    <a:lnTo>
                      <a:pt x="17" y="366"/>
                    </a:lnTo>
                    <a:lnTo>
                      <a:pt x="17" y="365"/>
                    </a:lnTo>
                    <a:lnTo>
                      <a:pt x="16" y="363"/>
                    </a:lnTo>
                    <a:lnTo>
                      <a:pt x="16" y="361"/>
                    </a:lnTo>
                    <a:lnTo>
                      <a:pt x="16" y="360"/>
                    </a:lnTo>
                    <a:lnTo>
                      <a:pt x="14" y="360"/>
                    </a:lnTo>
                    <a:lnTo>
                      <a:pt x="13" y="360"/>
                    </a:lnTo>
                    <a:lnTo>
                      <a:pt x="13" y="358"/>
                    </a:lnTo>
                    <a:lnTo>
                      <a:pt x="11" y="357"/>
                    </a:lnTo>
                    <a:lnTo>
                      <a:pt x="11" y="355"/>
                    </a:lnTo>
                    <a:lnTo>
                      <a:pt x="9" y="355"/>
                    </a:lnTo>
                    <a:lnTo>
                      <a:pt x="9" y="353"/>
                    </a:lnTo>
                    <a:lnTo>
                      <a:pt x="8" y="352"/>
                    </a:lnTo>
                    <a:lnTo>
                      <a:pt x="8" y="350"/>
                    </a:lnTo>
                    <a:lnTo>
                      <a:pt x="8" y="349"/>
                    </a:lnTo>
                    <a:lnTo>
                      <a:pt x="8" y="347"/>
                    </a:lnTo>
                    <a:lnTo>
                      <a:pt x="6" y="346"/>
                    </a:lnTo>
                    <a:lnTo>
                      <a:pt x="6" y="344"/>
                    </a:lnTo>
                    <a:lnTo>
                      <a:pt x="8" y="344"/>
                    </a:lnTo>
                    <a:lnTo>
                      <a:pt x="8" y="342"/>
                    </a:lnTo>
                    <a:lnTo>
                      <a:pt x="8" y="341"/>
                    </a:lnTo>
                    <a:lnTo>
                      <a:pt x="8" y="339"/>
                    </a:lnTo>
                    <a:lnTo>
                      <a:pt x="6" y="339"/>
                    </a:lnTo>
                    <a:lnTo>
                      <a:pt x="5" y="339"/>
                    </a:lnTo>
                    <a:lnTo>
                      <a:pt x="5" y="338"/>
                    </a:lnTo>
                    <a:lnTo>
                      <a:pt x="3" y="336"/>
                    </a:lnTo>
                    <a:lnTo>
                      <a:pt x="1" y="334"/>
                    </a:lnTo>
                    <a:lnTo>
                      <a:pt x="0" y="333"/>
                    </a:lnTo>
                    <a:lnTo>
                      <a:pt x="0" y="331"/>
                    </a:lnTo>
                    <a:lnTo>
                      <a:pt x="5" y="325"/>
                    </a:lnTo>
                    <a:lnTo>
                      <a:pt x="5" y="323"/>
                    </a:lnTo>
                    <a:lnTo>
                      <a:pt x="6" y="322"/>
                    </a:lnTo>
                    <a:lnTo>
                      <a:pt x="8" y="320"/>
                    </a:lnTo>
                    <a:lnTo>
                      <a:pt x="9" y="319"/>
                    </a:lnTo>
                    <a:lnTo>
                      <a:pt x="11" y="315"/>
                    </a:lnTo>
                    <a:lnTo>
                      <a:pt x="14" y="312"/>
                    </a:lnTo>
                    <a:lnTo>
                      <a:pt x="14" y="311"/>
                    </a:lnTo>
                    <a:lnTo>
                      <a:pt x="13" y="308"/>
                    </a:lnTo>
                    <a:lnTo>
                      <a:pt x="13" y="304"/>
                    </a:lnTo>
                    <a:lnTo>
                      <a:pt x="11" y="304"/>
                    </a:lnTo>
                    <a:lnTo>
                      <a:pt x="11" y="303"/>
                    </a:lnTo>
                    <a:lnTo>
                      <a:pt x="9" y="298"/>
                    </a:lnTo>
                    <a:lnTo>
                      <a:pt x="6" y="289"/>
                    </a:lnTo>
                    <a:lnTo>
                      <a:pt x="1" y="281"/>
                    </a:lnTo>
                    <a:lnTo>
                      <a:pt x="1" y="279"/>
                    </a:lnTo>
                    <a:lnTo>
                      <a:pt x="0" y="270"/>
                    </a:lnTo>
                    <a:lnTo>
                      <a:pt x="0" y="268"/>
                    </a:lnTo>
                    <a:lnTo>
                      <a:pt x="3" y="263"/>
                    </a:lnTo>
                    <a:lnTo>
                      <a:pt x="5" y="263"/>
                    </a:lnTo>
                    <a:lnTo>
                      <a:pt x="6" y="262"/>
                    </a:lnTo>
                    <a:lnTo>
                      <a:pt x="6" y="260"/>
                    </a:lnTo>
                    <a:lnTo>
                      <a:pt x="14" y="244"/>
                    </a:lnTo>
                    <a:lnTo>
                      <a:pt x="14" y="239"/>
                    </a:lnTo>
                    <a:lnTo>
                      <a:pt x="16" y="236"/>
                    </a:lnTo>
                    <a:lnTo>
                      <a:pt x="16" y="233"/>
                    </a:lnTo>
                    <a:lnTo>
                      <a:pt x="17" y="231"/>
                    </a:lnTo>
                    <a:lnTo>
                      <a:pt x="24" y="212"/>
                    </a:lnTo>
                    <a:lnTo>
                      <a:pt x="27" y="201"/>
                    </a:lnTo>
                    <a:lnTo>
                      <a:pt x="28" y="198"/>
                    </a:lnTo>
                    <a:lnTo>
                      <a:pt x="30" y="192"/>
                    </a:lnTo>
                    <a:lnTo>
                      <a:pt x="32" y="189"/>
                    </a:lnTo>
                    <a:lnTo>
                      <a:pt x="32" y="187"/>
                    </a:lnTo>
                    <a:lnTo>
                      <a:pt x="30" y="186"/>
                    </a:lnTo>
                    <a:lnTo>
                      <a:pt x="32" y="186"/>
                    </a:lnTo>
                    <a:lnTo>
                      <a:pt x="32" y="184"/>
                    </a:lnTo>
                    <a:lnTo>
                      <a:pt x="33" y="181"/>
                    </a:lnTo>
                    <a:lnTo>
                      <a:pt x="33" y="179"/>
                    </a:lnTo>
                    <a:lnTo>
                      <a:pt x="33" y="178"/>
                    </a:lnTo>
                    <a:lnTo>
                      <a:pt x="35" y="178"/>
                    </a:lnTo>
                    <a:lnTo>
                      <a:pt x="36" y="178"/>
                    </a:lnTo>
                    <a:lnTo>
                      <a:pt x="43" y="176"/>
                    </a:lnTo>
                    <a:lnTo>
                      <a:pt x="46" y="176"/>
                    </a:lnTo>
                    <a:lnTo>
                      <a:pt x="47" y="176"/>
                    </a:lnTo>
                    <a:lnTo>
                      <a:pt x="49" y="174"/>
                    </a:lnTo>
                    <a:lnTo>
                      <a:pt x="51" y="173"/>
                    </a:lnTo>
                    <a:lnTo>
                      <a:pt x="52" y="173"/>
                    </a:lnTo>
                    <a:lnTo>
                      <a:pt x="54" y="171"/>
                    </a:lnTo>
                    <a:lnTo>
                      <a:pt x="55" y="171"/>
                    </a:lnTo>
                    <a:lnTo>
                      <a:pt x="57" y="171"/>
                    </a:lnTo>
                    <a:lnTo>
                      <a:pt x="59" y="171"/>
                    </a:lnTo>
                    <a:lnTo>
                      <a:pt x="63" y="171"/>
                    </a:lnTo>
                    <a:lnTo>
                      <a:pt x="66" y="171"/>
                    </a:lnTo>
                    <a:lnTo>
                      <a:pt x="70" y="173"/>
                    </a:lnTo>
                    <a:lnTo>
                      <a:pt x="71" y="173"/>
                    </a:lnTo>
                    <a:lnTo>
                      <a:pt x="74" y="171"/>
                    </a:lnTo>
                    <a:lnTo>
                      <a:pt x="78" y="170"/>
                    </a:lnTo>
                    <a:lnTo>
                      <a:pt x="79" y="168"/>
                    </a:lnTo>
                    <a:lnTo>
                      <a:pt x="82" y="167"/>
                    </a:lnTo>
                    <a:lnTo>
                      <a:pt x="85" y="168"/>
                    </a:lnTo>
                    <a:lnTo>
                      <a:pt x="92" y="168"/>
                    </a:lnTo>
                    <a:lnTo>
                      <a:pt x="98" y="167"/>
                    </a:lnTo>
                    <a:lnTo>
                      <a:pt x="104" y="168"/>
                    </a:lnTo>
                    <a:lnTo>
                      <a:pt x="106" y="168"/>
                    </a:lnTo>
                    <a:lnTo>
                      <a:pt x="106" y="167"/>
                    </a:lnTo>
                    <a:lnTo>
                      <a:pt x="109" y="167"/>
                    </a:lnTo>
                    <a:lnTo>
                      <a:pt x="111" y="168"/>
                    </a:lnTo>
                    <a:lnTo>
                      <a:pt x="112" y="168"/>
                    </a:lnTo>
                    <a:lnTo>
                      <a:pt x="117" y="168"/>
                    </a:lnTo>
                    <a:lnTo>
                      <a:pt x="122" y="167"/>
                    </a:lnTo>
                    <a:lnTo>
                      <a:pt x="125" y="167"/>
                    </a:lnTo>
                    <a:lnTo>
                      <a:pt x="128" y="168"/>
                    </a:lnTo>
                    <a:lnTo>
                      <a:pt x="133" y="170"/>
                    </a:lnTo>
                    <a:lnTo>
                      <a:pt x="136" y="170"/>
                    </a:lnTo>
                    <a:lnTo>
                      <a:pt x="142" y="173"/>
                    </a:lnTo>
                    <a:lnTo>
                      <a:pt x="144" y="174"/>
                    </a:lnTo>
                    <a:lnTo>
                      <a:pt x="147" y="176"/>
                    </a:lnTo>
                    <a:lnTo>
                      <a:pt x="150" y="178"/>
                    </a:lnTo>
                    <a:lnTo>
                      <a:pt x="154" y="179"/>
                    </a:lnTo>
                    <a:lnTo>
                      <a:pt x="157" y="181"/>
                    </a:lnTo>
                    <a:lnTo>
                      <a:pt x="160" y="184"/>
                    </a:lnTo>
                    <a:lnTo>
                      <a:pt x="163" y="186"/>
                    </a:lnTo>
                    <a:lnTo>
                      <a:pt x="166" y="187"/>
                    </a:lnTo>
                    <a:lnTo>
                      <a:pt x="169" y="187"/>
                    </a:lnTo>
                    <a:lnTo>
                      <a:pt x="174" y="186"/>
                    </a:lnTo>
                    <a:lnTo>
                      <a:pt x="176" y="186"/>
                    </a:lnTo>
                    <a:lnTo>
                      <a:pt x="179" y="184"/>
                    </a:lnTo>
                    <a:lnTo>
                      <a:pt x="180" y="182"/>
                    </a:lnTo>
                    <a:lnTo>
                      <a:pt x="184" y="181"/>
                    </a:lnTo>
                    <a:lnTo>
                      <a:pt x="185" y="181"/>
                    </a:lnTo>
                    <a:lnTo>
                      <a:pt x="188" y="181"/>
                    </a:lnTo>
                    <a:lnTo>
                      <a:pt x="190" y="181"/>
                    </a:lnTo>
                    <a:lnTo>
                      <a:pt x="192" y="178"/>
                    </a:lnTo>
                    <a:lnTo>
                      <a:pt x="192" y="174"/>
                    </a:lnTo>
                    <a:lnTo>
                      <a:pt x="192" y="170"/>
                    </a:lnTo>
                    <a:lnTo>
                      <a:pt x="192" y="165"/>
                    </a:lnTo>
                    <a:lnTo>
                      <a:pt x="192" y="159"/>
                    </a:lnTo>
                    <a:lnTo>
                      <a:pt x="192" y="157"/>
                    </a:lnTo>
                    <a:lnTo>
                      <a:pt x="193" y="155"/>
                    </a:lnTo>
                    <a:lnTo>
                      <a:pt x="193" y="154"/>
                    </a:lnTo>
                    <a:lnTo>
                      <a:pt x="193" y="152"/>
                    </a:lnTo>
                    <a:lnTo>
                      <a:pt x="196" y="149"/>
                    </a:lnTo>
                    <a:lnTo>
                      <a:pt x="199" y="144"/>
                    </a:lnTo>
                    <a:lnTo>
                      <a:pt x="201" y="143"/>
                    </a:lnTo>
                    <a:lnTo>
                      <a:pt x="203" y="143"/>
                    </a:lnTo>
                    <a:lnTo>
                      <a:pt x="206" y="140"/>
                    </a:lnTo>
                    <a:lnTo>
                      <a:pt x="204" y="138"/>
                    </a:lnTo>
                    <a:lnTo>
                      <a:pt x="204" y="136"/>
                    </a:lnTo>
                    <a:lnTo>
                      <a:pt x="203" y="135"/>
                    </a:lnTo>
                    <a:lnTo>
                      <a:pt x="204" y="135"/>
                    </a:lnTo>
                    <a:lnTo>
                      <a:pt x="206" y="135"/>
                    </a:lnTo>
                    <a:lnTo>
                      <a:pt x="209" y="135"/>
                    </a:lnTo>
                    <a:lnTo>
                      <a:pt x="212" y="135"/>
                    </a:lnTo>
                    <a:lnTo>
                      <a:pt x="214" y="133"/>
                    </a:lnTo>
                    <a:lnTo>
                      <a:pt x="215" y="132"/>
                    </a:lnTo>
                    <a:lnTo>
                      <a:pt x="217" y="130"/>
                    </a:lnTo>
                    <a:lnTo>
                      <a:pt x="218" y="130"/>
                    </a:lnTo>
                    <a:lnTo>
                      <a:pt x="223" y="130"/>
                    </a:lnTo>
                    <a:lnTo>
                      <a:pt x="226" y="132"/>
                    </a:lnTo>
                    <a:lnTo>
                      <a:pt x="230" y="132"/>
                    </a:lnTo>
                    <a:lnTo>
                      <a:pt x="233" y="133"/>
                    </a:lnTo>
                    <a:lnTo>
                      <a:pt x="239" y="133"/>
                    </a:lnTo>
                    <a:lnTo>
                      <a:pt x="242" y="132"/>
                    </a:lnTo>
                    <a:lnTo>
                      <a:pt x="247" y="132"/>
                    </a:lnTo>
                    <a:lnTo>
                      <a:pt x="250" y="133"/>
                    </a:lnTo>
                    <a:lnTo>
                      <a:pt x="250" y="135"/>
                    </a:lnTo>
                    <a:lnTo>
                      <a:pt x="252" y="135"/>
                    </a:lnTo>
                    <a:lnTo>
                      <a:pt x="255" y="138"/>
                    </a:lnTo>
                    <a:lnTo>
                      <a:pt x="257" y="138"/>
                    </a:lnTo>
                    <a:lnTo>
                      <a:pt x="258" y="140"/>
                    </a:lnTo>
                    <a:lnTo>
                      <a:pt x="261" y="141"/>
                    </a:lnTo>
                    <a:lnTo>
                      <a:pt x="263" y="141"/>
                    </a:lnTo>
                    <a:lnTo>
                      <a:pt x="263" y="143"/>
                    </a:lnTo>
                    <a:lnTo>
                      <a:pt x="264" y="144"/>
                    </a:lnTo>
                    <a:lnTo>
                      <a:pt x="266" y="148"/>
                    </a:lnTo>
                    <a:lnTo>
                      <a:pt x="266" y="151"/>
                    </a:lnTo>
                    <a:lnTo>
                      <a:pt x="268" y="152"/>
                    </a:lnTo>
                    <a:lnTo>
                      <a:pt x="269" y="154"/>
                    </a:lnTo>
                    <a:lnTo>
                      <a:pt x="272" y="155"/>
                    </a:lnTo>
                    <a:lnTo>
                      <a:pt x="272" y="157"/>
                    </a:lnTo>
                    <a:lnTo>
                      <a:pt x="274" y="157"/>
                    </a:lnTo>
                    <a:lnTo>
                      <a:pt x="274" y="160"/>
                    </a:lnTo>
                    <a:lnTo>
                      <a:pt x="276" y="163"/>
                    </a:lnTo>
                    <a:lnTo>
                      <a:pt x="276" y="165"/>
                    </a:lnTo>
                    <a:lnTo>
                      <a:pt x="277" y="165"/>
                    </a:lnTo>
                    <a:lnTo>
                      <a:pt x="277" y="167"/>
                    </a:lnTo>
                    <a:lnTo>
                      <a:pt x="279" y="168"/>
                    </a:lnTo>
                    <a:lnTo>
                      <a:pt x="277" y="171"/>
                    </a:lnTo>
                    <a:lnTo>
                      <a:pt x="276" y="176"/>
                    </a:lnTo>
                    <a:lnTo>
                      <a:pt x="280" y="179"/>
                    </a:lnTo>
                    <a:lnTo>
                      <a:pt x="282" y="181"/>
                    </a:lnTo>
                    <a:lnTo>
                      <a:pt x="285" y="181"/>
                    </a:lnTo>
                    <a:lnTo>
                      <a:pt x="290" y="182"/>
                    </a:lnTo>
                    <a:lnTo>
                      <a:pt x="296" y="187"/>
                    </a:lnTo>
                    <a:lnTo>
                      <a:pt x="298" y="187"/>
                    </a:lnTo>
                    <a:lnTo>
                      <a:pt x="298" y="189"/>
                    </a:lnTo>
                    <a:lnTo>
                      <a:pt x="298" y="193"/>
                    </a:lnTo>
                    <a:lnTo>
                      <a:pt x="298" y="197"/>
                    </a:lnTo>
                    <a:lnTo>
                      <a:pt x="298" y="200"/>
                    </a:lnTo>
                    <a:lnTo>
                      <a:pt x="298" y="201"/>
                    </a:lnTo>
                    <a:lnTo>
                      <a:pt x="301" y="206"/>
                    </a:lnTo>
                    <a:lnTo>
                      <a:pt x="304" y="208"/>
                    </a:lnTo>
                    <a:lnTo>
                      <a:pt x="306" y="208"/>
                    </a:lnTo>
                    <a:lnTo>
                      <a:pt x="307" y="208"/>
                    </a:lnTo>
                    <a:lnTo>
                      <a:pt x="309" y="206"/>
                    </a:lnTo>
                    <a:lnTo>
                      <a:pt x="309" y="205"/>
                    </a:lnTo>
                    <a:lnTo>
                      <a:pt x="310" y="203"/>
                    </a:lnTo>
                    <a:lnTo>
                      <a:pt x="312" y="200"/>
                    </a:lnTo>
                    <a:lnTo>
                      <a:pt x="315" y="193"/>
                    </a:lnTo>
                    <a:lnTo>
                      <a:pt x="318" y="189"/>
                    </a:lnTo>
                    <a:lnTo>
                      <a:pt x="323" y="182"/>
                    </a:lnTo>
                    <a:lnTo>
                      <a:pt x="328" y="176"/>
                    </a:lnTo>
                    <a:lnTo>
                      <a:pt x="333" y="167"/>
                    </a:lnTo>
                    <a:lnTo>
                      <a:pt x="339" y="154"/>
                    </a:lnTo>
                    <a:lnTo>
                      <a:pt x="344" y="146"/>
                    </a:lnTo>
                    <a:lnTo>
                      <a:pt x="344" y="143"/>
                    </a:lnTo>
                    <a:lnTo>
                      <a:pt x="352" y="124"/>
                    </a:lnTo>
                    <a:lnTo>
                      <a:pt x="355" y="119"/>
                    </a:lnTo>
                    <a:lnTo>
                      <a:pt x="356" y="116"/>
                    </a:lnTo>
                    <a:lnTo>
                      <a:pt x="358" y="114"/>
                    </a:lnTo>
                    <a:lnTo>
                      <a:pt x="359" y="111"/>
                    </a:lnTo>
                    <a:lnTo>
                      <a:pt x="361" y="106"/>
                    </a:lnTo>
                    <a:lnTo>
                      <a:pt x="364" y="102"/>
                    </a:lnTo>
                    <a:lnTo>
                      <a:pt x="366" y="98"/>
                    </a:lnTo>
                    <a:lnTo>
                      <a:pt x="369" y="94"/>
                    </a:lnTo>
                    <a:lnTo>
                      <a:pt x="369" y="90"/>
                    </a:lnTo>
                    <a:lnTo>
                      <a:pt x="371" y="87"/>
                    </a:lnTo>
                    <a:lnTo>
                      <a:pt x="374" y="86"/>
                    </a:lnTo>
                    <a:lnTo>
                      <a:pt x="375" y="86"/>
                    </a:lnTo>
                    <a:lnTo>
                      <a:pt x="375" y="84"/>
                    </a:lnTo>
                    <a:lnTo>
                      <a:pt x="375" y="83"/>
                    </a:lnTo>
                    <a:lnTo>
                      <a:pt x="377" y="79"/>
                    </a:lnTo>
                    <a:lnTo>
                      <a:pt x="377" y="78"/>
                    </a:lnTo>
                    <a:lnTo>
                      <a:pt x="378" y="76"/>
                    </a:lnTo>
                    <a:lnTo>
                      <a:pt x="380" y="75"/>
                    </a:lnTo>
                    <a:lnTo>
                      <a:pt x="382" y="75"/>
                    </a:lnTo>
                    <a:lnTo>
                      <a:pt x="383" y="75"/>
                    </a:lnTo>
                    <a:lnTo>
                      <a:pt x="383" y="73"/>
                    </a:lnTo>
                    <a:lnTo>
                      <a:pt x="385" y="71"/>
                    </a:lnTo>
                    <a:lnTo>
                      <a:pt x="386" y="68"/>
                    </a:lnTo>
                    <a:lnTo>
                      <a:pt x="390" y="62"/>
                    </a:lnTo>
                    <a:lnTo>
                      <a:pt x="393" y="59"/>
                    </a:lnTo>
                    <a:lnTo>
                      <a:pt x="396" y="54"/>
                    </a:lnTo>
                    <a:lnTo>
                      <a:pt x="397" y="49"/>
                    </a:lnTo>
                    <a:lnTo>
                      <a:pt x="399" y="46"/>
                    </a:lnTo>
                    <a:lnTo>
                      <a:pt x="401" y="43"/>
                    </a:lnTo>
                    <a:lnTo>
                      <a:pt x="402" y="40"/>
                    </a:lnTo>
                    <a:lnTo>
                      <a:pt x="405" y="37"/>
                    </a:lnTo>
                    <a:lnTo>
                      <a:pt x="409" y="32"/>
                    </a:lnTo>
                    <a:lnTo>
                      <a:pt x="412" y="27"/>
                    </a:lnTo>
                    <a:lnTo>
                      <a:pt x="413" y="24"/>
                    </a:lnTo>
                    <a:lnTo>
                      <a:pt x="416" y="19"/>
                    </a:lnTo>
                    <a:lnTo>
                      <a:pt x="418" y="14"/>
                    </a:lnTo>
                    <a:lnTo>
                      <a:pt x="421" y="11"/>
                    </a:lnTo>
                    <a:lnTo>
                      <a:pt x="423" y="8"/>
                    </a:lnTo>
                    <a:lnTo>
                      <a:pt x="424" y="5"/>
                    </a:lnTo>
                    <a:lnTo>
                      <a:pt x="428" y="0"/>
                    </a:lnTo>
                    <a:lnTo>
                      <a:pt x="432" y="3"/>
                    </a:lnTo>
                    <a:lnTo>
                      <a:pt x="432" y="5"/>
                    </a:lnTo>
                    <a:lnTo>
                      <a:pt x="434" y="8"/>
                    </a:lnTo>
                    <a:lnTo>
                      <a:pt x="436" y="10"/>
                    </a:lnTo>
                    <a:lnTo>
                      <a:pt x="437" y="13"/>
                    </a:lnTo>
                    <a:lnTo>
                      <a:pt x="439" y="16"/>
                    </a:lnTo>
                    <a:lnTo>
                      <a:pt x="440" y="18"/>
                    </a:lnTo>
                    <a:lnTo>
                      <a:pt x="442" y="19"/>
                    </a:lnTo>
                    <a:lnTo>
                      <a:pt x="443" y="21"/>
                    </a:lnTo>
                    <a:lnTo>
                      <a:pt x="445" y="22"/>
                    </a:lnTo>
                    <a:lnTo>
                      <a:pt x="447" y="25"/>
                    </a:lnTo>
                    <a:lnTo>
                      <a:pt x="448" y="27"/>
                    </a:lnTo>
                    <a:lnTo>
                      <a:pt x="450" y="29"/>
                    </a:lnTo>
                    <a:lnTo>
                      <a:pt x="451" y="32"/>
                    </a:lnTo>
                    <a:lnTo>
                      <a:pt x="453" y="35"/>
                    </a:lnTo>
                    <a:lnTo>
                      <a:pt x="455" y="37"/>
                    </a:lnTo>
                    <a:lnTo>
                      <a:pt x="455" y="38"/>
                    </a:lnTo>
                    <a:lnTo>
                      <a:pt x="456" y="40"/>
                    </a:lnTo>
                    <a:lnTo>
                      <a:pt x="456" y="41"/>
                    </a:lnTo>
                    <a:lnTo>
                      <a:pt x="456" y="43"/>
                    </a:lnTo>
                    <a:lnTo>
                      <a:pt x="456" y="45"/>
                    </a:lnTo>
                    <a:lnTo>
                      <a:pt x="458" y="46"/>
                    </a:lnTo>
                    <a:lnTo>
                      <a:pt x="461" y="49"/>
                    </a:lnTo>
                    <a:lnTo>
                      <a:pt x="464" y="51"/>
                    </a:lnTo>
                    <a:lnTo>
                      <a:pt x="467" y="51"/>
                    </a:lnTo>
                    <a:lnTo>
                      <a:pt x="470" y="51"/>
                    </a:lnTo>
                    <a:lnTo>
                      <a:pt x="474" y="52"/>
                    </a:lnTo>
                    <a:lnTo>
                      <a:pt x="478" y="54"/>
                    </a:lnTo>
                    <a:lnTo>
                      <a:pt x="483" y="56"/>
                    </a:lnTo>
                    <a:lnTo>
                      <a:pt x="488" y="59"/>
                    </a:lnTo>
                    <a:lnTo>
                      <a:pt x="489" y="60"/>
                    </a:lnTo>
                    <a:lnTo>
                      <a:pt x="491" y="62"/>
                    </a:lnTo>
                    <a:lnTo>
                      <a:pt x="491" y="64"/>
                    </a:lnTo>
                    <a:close/>
                  </a:path>
                </a:pathLst>
              </a:custGeom>
              <a:solidFill>
                <a:srgbClr val="C9F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138"/>
              </a:p>
            </p:txBody>
          </p:sp>
          <p:sp>
            <p:nvSpPr>
              <p:cNvPr id="70" name="Freeform 68"/>
              <p:cNvSpPr>
                <a:spLocks/>
              </p:cNvSpPr>
              <p:nvPr/>
            </p:nvSpPr>
            <p:spPr bwMode="auto">
              <a:xfrm>
                <a:off x="2938" y="705"/>
                <a:ext cx="542" cy="713"/>
              </a:xfrm>
              <a:custGeom>
                <a:avLst/>
                <a:gdLst>
                  <a:gd name="T0" fmla="*/ 38 w 542"/>
                  <a:gd name="T1" fmla="*/ 6 h 713"/>
                  <a:gd name="T2" fmla="*/ 55 w 542"/>
                  <a:gd name="T3" fmla="*/ 38 h 713"/>
                  <a:gd name="T4" fmla="*/ 81 w 542"/>
                  <a:gd name="T5" fmla="*/ 66 h 713"/>
                  <a:gd name="T6" fmla="*/ 104 w 542"/>
                  <a:gd name="T7" fmla="*/ 81 h 713"/>
                  <a:gd name="T8" fmla="*/ 147 w 542"/>
                  <a:gd name="T9" fmla="*/ 74 h 713"/>
                  <a:gd name="T10" fmla="*/ 195 w 542"/>
                  <a:gd name="T11" fmla="*/ 65 h 713"/>
                  <a:gd name="T12" fmla="*/ 231 w 542"/>
                  <a:gd name="T13" fmla="*/ 47 h 713"/>
                  <a:gd name="T14" fmla="*/ 260 w 542"/>
                  <a:gd name="T15" fmla="*/ 22 h 713"/>
                  <a:gd name="T16" fmla="*/ 291 w 542"/>
                  <a:gd name="T17" fmla="*/ 24 h 713"/>
                  <a:gd name="T18" fmla="*/ 320 w 542"/>
                  <a:gd name="T19" fmla="*/ 68 h 713"/>
                  <a:gd name="T20" fmla="*/ 358 w 542"/>
                  <a:gd name="T21" fmla="*/ 52 h 713"/>
                  <a:gd name="T22" fmla="*/ 404 w 542"/>
                  <a:gd name="T23" fmla="*/ 46 h 713"/>
                  <a:gd name="T24" fmla="*/ 421 w 542"/>
                  <a:gd name="T25" fmla="*/ 49 h 713"/>
                  <a:gd name="T26" fmla="*/ 437 w 542"/>
                  <a:gd name="T27" fmla="*/ 55 h 713"/>
                  <a:gd name="T28" fmla="*/ 493 w 542"/>
                  <a:gd name="T29" fmla="*/ 62 h 713"/>
                  <a:gd name="T30" fmla="*/ 537 w 542"/>
                  <a:gd name="T31" fmla="*/ 77 h 713"/>
                  <a:gd name="T32" fmla="*/ 542 w 542"/>
                  <a:gd name="T33" fmla="*/ 89 h 713"/>
                  <a:gd name="T34" fmla="*/ 523 w 542"/>
                  <a:gd name="T35" fmla="*/ 96 h 713"/>
                  <a:gd name="T36" fmla="*/ 502 w 542"/>
                  <a:gd name="T37" fmla="*/ 96 h 713"/>
                  <a:gd name="T38" fmla="*/ 488 w 542"/>
                  <a:gd name="T39" fmla="*/ 90 h 713"/>
                  <a:gd name="T40" fmla="*/ 466 w 542"/>
                  <a:gd name="T41" fmla="*/ 92 h 713"/>
                  <a:gd name="T42" fmla="*/ 451 w 542"/>
                  <a:gd name="T43" fmla="*/ 104 h 713"/>
                  <a:gd name="T44" fmla="*/ 456 w 542"/>
                  <a:gd name="T45" fmla="*/ 117 h 713"/>
                  <a:gd name="T46" fmla="*/ 475 w 542"/>
                  <a:gd name="T47" fmla="*/ 119 h 713"/>
                  <a:gd name="T48" fmla="*/ 462 w 542"/>
                  <a:gd name="T49" fmla="*/ 131 h 713"/>
                  <a:gd name="T50" fmla="*/ 451 w 542"/>
                  <a:gd name="T51" fmla="*/ 147 h 713"/>
                  <a:gd name="T52" fmla="*/ 453 w 542"/>
                  <a:gd name="T53" fmla="*/ 158 h 713"/>
                  <a:gd name="T54" fmla="*/ 474 w 542"/>
                  <a:gd name="T55" fmla="*/ 160 h 713"/>
                  <a:gd name="T56" fmla="*/ 464 w 542"/>
                  <a:gd name="T57" fmla="*/ 174 h 713"/>
                  <a:gd name="T58" fmla="*/ 478 w 542"/>
                  <a:gd name="T59" fmla="*/ 179 h 713"/>
                  <a:gd name="T60" fmla="*/ 483 w 542"/>
                  <a:gd name="T61" fmla="*/ 201 h 713"/>
                  <a:gd name="T62" fmla="*/ 488 w 542"/>
                  <a:gd name="T63" fmla="*/ 215 h 713"/>
                  <a:gd name="T64" fmla="*/ 493 w 542"/>
                  <a:gd name="T65" fmla="*/ 230 h 713"/>
                  <a:gd name="T66" fmla="*/ 491 w 542"/>
                  <a:gd name="T67" fmla="*/ 247 h 713"/>
                  <a:gd name="T68" fmla="*/ 486 w 542"/>
                  <a:gd name="T69" fmla="*/ 269 h 713"/>
                  <a:gd name="T70" fmla="*/ 488 w 542"/>
                  <a:gd name="T71" fmla="*/ 288 h 713"/>
                  <a:gd name="T72" fmla="*/ 493 w 542"/>
                  <a:gd name="T73" fmla="*/ 312 h 713"/>
                  <a:gd name="T74" fmla="*/ 488 w 542"/>
                  <a:gd name="T75" fmla="*/ 334 h 713"/>
                  <a:gd name="T76" fmla="*/ 470 w 542"/>
                  <a:gd name="T77" fmla="*/ 336 h 713"/>
                  <a:gd name="T78" fmla="*/ 462 w 542"/>
                  <a:gd name="T79" fmla="*/ 359 h 713"/>
                  <a:gd name="T80" fmla="*/ 469 w 542"/>
                  <a:gd name="T81" fmla="*/ 383 h 713"/>
                  <a:gd name="T82" fmla="*/ 464 w 542"/>
                  <a:gd name="T83" fmla="*/ 409 h 713"/>
                  <a:gd name="T84" fmla="*/ 466 w 542"/>
                  <a:gd name="T85" fmla="*/ 428 h 713"/>
                  <a:gd name="T86" fmla="*/ 481 w 542"/>
                  <a:gd name="T87" fmla="*/ 455 h 713"/>
                  <a:gd name="T88" fmla="*/ 488 w 542"/>
                  <a:gd name="T89" fmla="*/ 464 h 713"/>
                  <a:gd name="T90" fmla="*/ 483 w 542"/>
                  <a:gd name="T91" fmla="*/ 481 h 713"/>
                  <a:gd name="T92" fmla="*/ 478 w 542"/>
                  <a:gd name="T93" fmla="*/ 499 h 713"/>
                  <a:gd name="T94" fmla="*/ 475 w 542"/>
                  <a:gd name="T95" fmla="*/ 516 h 713"/>
                  <a:gd name="T96" fmla="*/ 512 w 542"/>
                  <a:gd name="T97" fmla="*/ 558 h 713"/>
                  <a:gd name="T98" fmla="*/ 472 w 542"/>
                  <a:gd name="T99" fmla="*/ 694 h 713"/>
                  <a:gd name="T100" fmla="*/ 443 w 542"/>
                  <a:gd name="T101" fmla="*/ 699 h 713"/>
                  <a:gd name="T102" fmla="*/ 424 w 542"/>
                  <a:gd name="T103" fmla="*/ 708 h 713"/>
                  <a:gd name="T104" fmla="*/ 412 w 542"/>
                  <a:gd name="T105" fmla="*/ 706 h 713"/>
                  <a:gd name="T106" fmla="*/ 396 w 542"/>
                  <a:gd name="T107" fmla="*/ 691 h 713"/>
                  <a:gd name="T108" fmla="*/ 372 w 542"/>
                  <a:gd name="T109" fmla="*/ 691 h 713"/>
                  <a:gd name="T110" fmla="*/ 360 w 542"/>
                  <a:gd name="T111" fmla="*/ 700 h 713"/>
                  <a:gd name="T112" fmla="*/ 339 w 542"/>
                  <a:gd name="T113" fmla="*/ 700 h 713"/>
                  <a:gd name="T114" fmla="*/ 325 w 542"/>
                  <a:gd name="T115" fmla="*/ 684 h 713"/>
                  <a:gd name="T116" fmla="*/ 322 w 542"/>
                  <a:gd name="T117" fmla="*/ 657 h 713"/>
                  <a:gd name="T118" fmla="*/ 318 w 542"/>
                  <a:gd name="T119" fmla="*/ 635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2" h="713">
                    <a:moveTo>
                      <a:pt x="0" y="5"/>
                    </a:moveTo>
                    <a:lnTo>
                      <a:pt x="5" y="5"/>
                    </a:lnTo>
                    <a:lnTo>
                      <a:pt x="6" y="5"/>
                    </a:lnTo>
                    <a:lnTo>
                      <a:pt x="11" y="3"/>
                    </a:lnTo>
                    <a:lnTo>
                      <a:pt x="13" y="3"/>
                    </a:lnTo>
                    <a:lnTo>
                      <a:pt x="14" y="3"/>
                    </a:lnTo>
                    <a:lnTo>
                      <a:pt x="16" y="1"/>
                    </a:lnTo>
                    <a:lnTo>
                      <a:pt x="17" y="1"/>
                    </a:lnTo>
                    <a:lnTo>
                      <a:pt x="19" y="0"/>
                    </a:lnTo>
                    <a:lnTo>
                      <a:pt x="21" y="0"/>
                    </a:lnTo>
                    <a:lnTo>
                      <a:pt x="22" y="1"/>
                    </a:lnTo>
                    <a:lnTo>
                      <a:pt x="27" y="1"/>
                    </a:lnTo>
                    <a:lnTo>
                      <a:pt x="30" y="1"/>
                    </a:lnTo>
                    <a:lnTo>
                      <a:pt x="33" y="3"/>
                    </a:lnTo>
                    <a:lnTo>
                      <a:pt x="35" y="5"/>
                    </a:lnTo>
                    <a:lnTo>
                      <a:pt x="36" y="6"/>
                    </a:lnTo>
                    <a:lnTo>
                      <a:pt x="38" y="6"/>
                    </a:lnTo>
                    <a:lnTo>
                      <a:pt x="38" y="9"/>
                    </a:lnTo>
                    <a:lnTo>
                      <a:pt x="38" y="11"/>
                    </a:lnTo>
                    <a:lnTo>
                      <a:pt x="40" y="12"/>
                    </a:lnTo>
                    <a:lnTo>
                      <a:pt x="40" y="14"/>
                    </a:lnTo>
                    <a:lnTo>
                      <a:pt x="40" y="17"/>
                    </a:lnTo>
                    <a:lnTo>
                      <a:pt x="40" y="19"/>
                    </a:lnTo>
                    <a:lnTo>
                      <a:pt x="40" y="20"/>
                    </a:lnTo>
                    <a:lnTo>
                      <a:pt x="40" y="22"/>
                    </a:lnTo>
                    <a:lnTo>
                      <a:pt x="43" y="24"/>
                    </a:lnTo>
                    <a:lnTo>
                      <a:pt x="43" y="25"/>
                    </a:lnTo>
                    <a:lnTo>
                      <a:pt x="44" y="25"/>
                    </a:lnTo>
                    <a:lnTo>
                      <a:pt x="46" y="27"/>
                    </a:lnTo>
                    <a:lnTo>
                      <a:pt x="47" y="27"/>
                    </a:lnTo>
                    <a:lnTo>
                      <a:pt x="49" y="28"/>
                    </a:lnTo>
                    <a:lnTo>
                      <a:pt x="51" y="30"/>
                    </a:lnTo>
                    <a:lnTo>
                      <a:pt x="52" y="33"/>
                    </a:lnTo>
                    <a:lnTo>
                      <a:pt x="55" y="38"/>
                    </a:lnTo>
                    <a:lnTo>
                      <a:pt x="57" y="39"/>
                    </a:lnTo>
                    <a:lnTo>
                      <a:pt x="59" y="46"/>
                    </a:lnTo>
                    <a:lnTo>
                      <a:pt x="62" y="49"/>
                    </a:lnTo>
                    <a:lnTo>
                      <a:pt x="63" y="50"/>
                    </a:lnTo>
                    <a:lnTo>
                      <a:pt x="63" y="52"/>
                    </a:lnTo>
                    <a:lnTo>
                      <a:pt x="65" y="52"/>
                    </a:lnTo>
                    <a:lnTo>
                      <a:pt x="65" y="54"/>
                    </a:lnTo>
                    <a:lnTo>
                      <a:pt x="65" y="55"/>
                    </a:lnTo>
                    <a:lnTo>
                      <a:pt x="65" y="57"/>
                    </a:lnTo>
                    <a:lnTo>
                      <a:pt x="66" y="58"/>
                    </a:lnTo>
                    <a:lnTo>
                      <a:pt x="70" y="60"/>
                    </a:lnTo>
                    <a:lnTo>
                      <a:pt x="71" y="60"/>
                    </a:lnTo>
                    <a:lnTo>
                      <a:pt x="73" y="60"/>
                    </a:lnTo>
                    <a:lnTo>
                      <a:pt x="76" y="62"/>
                    </a:lnTo>
                    <a:lnTo>
                      <a:pt x="78" y="63"/>
                    </a:lnTo>
                    <a:lnTo>
                      <a:pt x="79" y="65"/>
                    </a:lnTo>
                    <a:lnTo>
                      <a:pt x="81" y="66"/>
                    </a:lnTo>
                    <a:lnTo>
                      <a:pt x="82" y="66"/>
                    </a:lnTo>
                    <a:lnTo>
                      <a:pt x="82" y="68"/>
                    </a:lnTo>
                    <a:lnTo>
                      <a:pt x="84" y="69"/>
                    </a:lnTo>
                    <a:lnTo>
                      <a:pt x="85" y="73"/>
                    </a:lnTo>
                    <a:lnTo>
                      <a:pt x="87" y="76"/>
                    </a:lnTo>
                    <a:lnTo>
                      <a:pt x="89" y="77"/>
                    </a:lnTo>
                    <a:lnTo>
                      <a:pt x="89" y="79"/>
                    </a:lnTo>
                    <a:lnTo>
                      <a:pt x="90" y="81"/>
                    </a:lnTo>
                    <a:lnTo>
                      <a:pt x="92" y="81"/>
                    </a:lnTo>
                    <a:lnTo>
                      <a:pt x="92" y="82"/>
                    </a:lnTo>
                    <a:lnTo>
                      <a:pt x="95" y="81"/>
                    </a:lnTo>
                    <a:lnTo>
                      <a:pt x="97" y="81"/>
                    </a:lnTo>
                    <a:lnTo>
                      <a:pt x="98" y="81"/>
                    </a:lnTo>
                    <a:lnTo>
                      <a:pt x="100" y="81"/>
                    </a:lnTo>
                    <a:lnTo>
                      <a:pt x="101" y="79"/>
                    </a:lnTo>
                    <a:lnTo>
                      <a:pt x="103" y="81"/>
                    </a:lnTo>
                    <a:lnTo>
                      <a:pt x="104" y="81"/>
                    </a:lnTo>
                    <a:lnTo>
                      <a:pt x="106" y="81"/>
                    </a:lnTo>
                    <a:lnTo>
                      <a:pt x="109" y="82"/>
                    </a:lnTo>
                    <a:lnTo>
                      <a:pt x="111" y="82"/>
                    </a:lnTo>
                    <a:lnTo>
                      <a:pt x="112" y="81"/>
                    </a:lnTo>
                    <a:lnTo>
                      <a:pt x="116" y="81"/>
                    </a:lnTo>
                    <a:lnTo>
                      <a:pt x="117" y="81"/>
                    </a:lnTo>
                    <a:lnTo>
                      <a:pt x="120" y="79"/>
                    </a:lnTo>
                    <a:lnTo>
                      <a:pt x="123" y="77"/>
                    </a:lnTo>
                    <a:lnTo>
                      <a:pt x="125" y="77"/>
                    </a:lnTo>
                    <a:lnTo>
                      <a:pt x="128" y="74"/>
                    </a:lnTo>
                    <a:lnTo>
                      <a:pt x="133" y="73"/>
                    </a:lnTo>
                    <a:lnTo>
                      <a:pt x="138" y="74"/>
                    </a:lnTo>
                    <a:lnTo>
                      <a:pt x="141" y="74"/>
                    </a:lnTo>
                    <a:lnTo>
                      <a:pt x="143" y="76"/>
                    </a:lnTo>
                    <a:lnTo>
                      <a:pt x="144" y="74"/>
                    </a:lnTo>
                    <a:lnTo>
                      <a:pt x="146" y="74"/>
                    </a:lnTo>
                    <a:lnTo>
                      <a:pt x="147" y="74"/>
                    </a:lnTo>
                    <a:lnTo>
                      <a:pt x="150" y="74"/>
                    </a:lnTo>
                    <a:lnTo>
                      <a:pt x="152" y="73"/>
                    </a:lnTo>
                    <a:lnTo>
                      <a:pt x="155" y="71"/>
                    </a:lnTo>
                    <a:lnTo>
                      <a:pt x="160" y="68"/>
                    </a:lnTo>
                    <a:lnTo>
                      <a:pt x="165" y="66"/>
                    </a:lnTo>
                    <a:lnTo>
                      <a:pt x="168" y="66"/>
                    </a:lnTo>
                    <a:lnTo>
                      <a:pt x="174" y="69"/>
                    </a:lnTo>
                    <a:lnTo>
                      <a:pt x="176" y="69"/>
                    </a:lnTo>
                    <a:lnTo>
                      <a:pt x="177" y="69"/>
                    </a:lnTo>
                    <a:lnTo>
                      <a:pt x="179" y="68"/>
                    </a:lnTo>
                    <a:lnTo>
                      <a:pt x="181" y="68"/>
                    </a:lnTo>
                    <a:lnTo>
                      <a:pt x="182" y="68"/>
                    </a:lnTo>
                    <a:lnTo>
                      <a:pt x="185" y="66"/>
                    </a:lnTo>
                    <a:lnTo>
                      <a:pt x="187" y="66"/>
                    </a:lnTo>
                    <a:lnTo>
                      <a:pt x="188" y="66"/>
                    </a:lnTo>
                    <a:lnTo>
                      <a:pt x="193" y="66"/>
                    </a:lnTo>
                    <a:lnTo>
                      <a:pt x="195" y="65"/>
                    </a:lnTo>
                    <a:lnTo>
                      <a:pt x="198" y="63"/>
                    </a:lnTo>
                    <a:lnTo>
                      <a:pt x="201" y="63"/>
                    </a:lnTo>
                    <a:lnTo>
                      <a:pt x="203" y="62"/>
                    </a:lnTo>
                    <a:lnTo>
                      <a:pt x="203" y="60"/>
                    </a:lnTo>
                    <a:lnTo>
                      <a:pt x="204" y="60"/>
                    </a:lnTo>
                    <a:lnTo>
                      <a:pt x="206" y="60"/>
                    </a:lnTo>
                    <a:lnTo>
                      <a:pt x="207" y="58"/>
                    </a:lnTo>
                    <a:lnTo>
                      <a:pt x="214" y="60"/>
                    </a:lnTo>
                    <a:lnTo>
                      <a:pt x="215" y="60"/>
                    </a:lnTo>
                    <a:lnTo>
                      <a:pt x="215" y="58"/>
                    </a:lnTo>
                    <a:lnTo>
                      <a:pt x="219" y="58"/>
                    </a:lnTo>
                    <a:lnTo>
                      <a:pt x="222" y="57"/>
                    </a:lnTo>
                    <a:lnTo>
                      <a:pt x="225" y="55"/>
                    </a:lnTo>
                    <a:lnTo>
                      <a:pt x="228" y="52"/>
                    </a:lnTo>
                    <a:lnTo>
                      <a:pt x="230" y="50"/>
                    </a:lnTo>
                    <a:lnTo>
                      <a:pt x="230" y="49"/>
                    </a:lnTo>
                    <a:lnTo>
                      <a:pt x="231" y="47"/>
                    </a:lnTo>
                    <a:lnTo>
                      <a:pt x="236" y="46"/>
                    </a:lnTo>
                    <a:lnTo>
                      <a:pt x="239" y="46"/>
                    </a:lnTo>
                    <a:lnTo>
                      <a:pt x="241" y="46"/>
                    </a:lnTo>
                    <a:lnTo>
                      <a:pt x="241" y="44"/>
                    </a:lnTo>
                    <a:lnTo>
                      <a:pt x="242" y="44"/>
                    </a:lnTo>
                    <a:lnTo>
                      <a:pt x="244" y="43"/>
                    </a:lnTo>
                    <a:lnTo>
                      <a:pt x="247" y="41"/>
                    </a:lnTo>
                    <a:lnTo>
                      <a:pt x="250" y="39"/>
                    </a:lnTo>
                    <a:lnTo>
                      <a:pt x="252" y="38"/>
                    </a:lnTo>
                    <a:lnTo>
                      <a:pt x="253" y="35"/>
                    </a:lnTo>
                    <a:lnTo>
                      <a:pt x="255" y="33"/>
                    </a:lnTo>
                    <a:lnTo>
                      <a:pt x="255" y="31"/>
                    </a:lnTo>
                    <a:lnTo>
                      <a:pt x="257" y="28"/>
                    </a:lnTo>
                    <a:lnTo>
                      <a:pt x="257" y="27"/>
                    </a:lnTo>
                    <a:lnTo>
                      <a:pt x="258" y="25"/>
                    </a:lnTo>
                    <a:lnTo>
                      <a:pt x="258" y="24"/>
                    </a:lnTo>
                    <a:lnTo>
                      <a:pt x="260" y="22"/>
                    </a:lnTo>
                    <a:lnTo>
                      <a:pt x="260" y="20"/>
                    </a:lnTo>
                    <a:lnTo>
                      <a:pt x="260" y="19"/>
                    </a:lnTo>
                    <a:lnTo>
                      <a:pt x="261" y="19"/>
                    </a:lnTo>
                    <a:lnTo>
                      <a:pt x="263" y="19"/>
                    </a:lnTo>
                    <a:lnTo>
                      <a:pt x="264" y="19"/>
                    </a:lnTo>
                    <a:lnTo>
                      <a:pt x="266" y="17"/>
                    </a:lnTo>
                    <a:lnTo>
                      <a:pt x="266" y="16"/>
                    </a:lnTo>
                    <a:lnTo>
                      <a:pt x="269" y="16"/>
                    </a:lnTo>
                    <a:lnTo>
                      <a:pt x="271" y="16"/>
                    </a:lnTo>
                    <a:lnTo>
                      <a:pt x="272" y="14"/>
                    </a:lnTo>
                    <a:lnTo>
                      <a:pt x="277" y="16"/>
                    </a:lnTo>
                    <a:lnTo>
                      <a:pt x="282" y="17"/>
                    </a:lnTo>
                    <a:lnTo>
                      <a:pt x="283" y="17"/>
                    </a:lnTo>
                    <a:lnTo>
                      <a:pt x="285" y="19"/>
                    </a:lnTo>
                    <a:lnTo>
                      <a:pt x="287" y="19"/>
                    </a:lnTo>
                    <a:lnTo>
                      <a:pt x="287" y="20"/>
                    </a:lnTo>
                    <a:lnTo>
                      <a:pt x="291" y="24"/>
                    </a:lnTo>
                    <a:lnTo>
                      <a:pt x="293" y="25"/>
                    </a:lnTo>
                    <a:lnTo>
                      <a:pt x="296" y="27"/>
                    </a:lnTo>
                    <a:lnTo>
                      <a:pt x="298" y="27"/>
                    </a:lnTo>
                    <a:lnTo>
                      <a:pt x="302" y="30"/>
                    </a:lnTo>
                    <a:lnTo>
                      <a:pt x="304" y="33"/>
                    </a:lnTo>
                    <a:lnTo>
                      <a:pt x="306" y="35"/>
                    </a:lnTo>
                    <a:lnTo>
                      <a:pt x="306" y="36"/>
                    </a:lnTo>
                    <a:lnTo>
                      <a:pt x="307" y="38"/>
                    </a:lnTo>
                    <a:lnTo>
                      <a:pt x="309" y="41"/>
                    </a:lnTo>
                    <a:lnTo>
                      <a:pt x="310" y="44"/>
                    </a:lnTo>
                    <a:lnTo>
                      <a:pt x="312" y="49"/>
                    </a:lnTo>
                    <a:lnTo>
                      <a:pt x="314" y="52"/>
                    </a:lnTo>
                    <a:lnTo>
                      <a:pt x="315" y="57"/>
                    </a:lnTo>
                    <a:lnTo>
                      <a:pt x="317" y="62"/>
                    </a:lnTo>
                    <a:lnTo>
                      <a:pt x="318" y="63"/>
                    </a:lnTo>
                    <a:lnTo>
                      <a:pt x="318" y="66"/>
                    </a:lnTo>
                    <a:lnTo>
                      <a:pt x="320" y="68"/>
                    </a:lnTo>
                    <a:lnTo>
                      <a:pt x="322" y="68"/>
                    </a:lnTo>
                    <a:lnTo>
                      <a:pt x="323" y="68"/>
                    </a:lnTo>
                    <a:lnTo>
                      <a:pt x="325" y="68"/>
                    </a:lnTo>
                    <a:lnTo>
                      <a:pt x="326" y="68"/>
                    </a:lnTo>
                    <a:lnTo>
                      <a:pt x="328" y="68"/>
                    </a:lnTo>
                    <a:lnTo>
                      <a:pt x="329" y="68"/>
                    </a:lnTo>
                    <a:lnTo>
                      <a:pt x="334" y="66"/>
                    </a:lnTo>
                    <a:lnTo>
                      <a:pt x="337" y="65"/>
                    </a:lnTo>
                    <a:lnTo>
                      <a:pt x="339" y="63"/>
                    </a:lnTo>
                    <a:lnTo>
                      <a:pt x="342" y="62"/>
                    </a:lnTo>
                    <a:lnTo>
                      <a:pt x="345" y="60"/>
                    </a:lnTo>
                    <a:lnTo>
                      <a:pt x="345" y="58"/>
                    </a:lnTo>
                    <a:lnTo>
                      <a:pt x="348" y="58"/>
                    </a:lnTo>
                    <a:lnTo>
                      <a:pt x="350" y="57"/>
                    </a:lnTo>
                    <a:lnTo>
                      <a:pt x="355" y="54"/>
                    </a:lnTo>
                    <a:lnTo>
                      <a:pt x="356" y="54"/>
                    </a:lnTo>
                    <a:lnTo>
                      <a:pt x="358" y="52"/>
                    </a:lnTo>
                    <a:lnTo>
                      <a:pt x="361" y="52"/>
                    </a:lnTo>
                    <a:lnTo>
                      <a:pt x="363" y="50"/>
                    </a:lnTo>
                    <a:lnTo>
                      <a:pt x="366" y="50"/>
                    </a:lnTo>
                    <a:lnTo>
                      <a:pt x="372" y="50"/>
                    </a:lnTo>
                    <a:lnTo>
                      <a:pt x="375" y="50"/>
                    </a:lnTo>
                    <a:lnTo>
                      <a:pt x="379" y="50"/>
                    </a:lnTo>
                    <a:lnTo>
                      <a:pt x="380" y="50"/>
                    </a:lnTo>
                    <a:lnTo>
                      <a:pt x="383" y="50"/>
                    </a:lnTo>
                    <a:lnTo>
                      <a:pt x="385" y="50"/>
                    </a:lnTo>
                    <a:lnTo>
                      <a:pt x="388" y="50"/>
                    </a:lnTo>
                    <a:lnTo>
                      <a:pt x="390" y="52"/>
                    </a:lnTo>
                    <a:lnTo>
                      <a:pt x="394" y="52"/>
                    </a:lnTo>
                    <a:lnTo>
                      <a:pt x="396" y="52"/>
                    </a:lnTo>
                    <a:lnTo>
                      <a:pt x="399" y="47"/>
                    </a:lnTo>
                    <a:lnTo>
                      <a:pt x="401" y="47"/>
                    </a:lnTo>
                    <a:lnTo>
                      <a:pt x="404" y="47"/>
                    </a:lnTo>
                    <a:lnTo>
                      <a:pt x="404" y="46"/>
                    </a:lnTo>
                    <a:lnTo>
                      <a:pt x="405" y="46"/>
                    </a:lnTo>
                    <a:lnTo>
                      <a:pt x="405" y="44"/>
                    </a:lnTo>
                    <a:lnTo>
                      <a:pt x="405" y="41"/>
                    </a:lnTo>
                    <a:lnTo>
                      <a:pt x="407" y="39"/>
                    </a:lnTo>
                    <a:lnTo>
                      <a:pt x="409" y="38"/>
                    </a:lnTo>
                    <a:lnTo>
                      <a:pt x="410" y="36"/>
                    </a:lnTo>
                    <a:lnTo>
                      <a:pt x="413" y="36"/>
                    </a:lnTo>
                    <a:lnTo>
                      <a:pt x="415" y="36"/>
                    </a:lnTo>
                    <a:lnTo>
                      <a:pt x="421" y="41"/>
                    </a:lnTo>
                    <a:lnTo>
                      <a:pt x="424" y="44"/>
                    </a:lnTo>
                    <a:lnTo>
                      <a:pt x="428" y="46"/>
                    </a:lnTo>
                    <a:lnTo>
                      <a:pt x="428" y="47"/>
                    </a:lnTo>
                    <a:lnTo>
                      <a:pt x="426" y="47"/>
                    </a:lnTo>
                    <a:lnTo>
                      <a:pt x="424" y="47"/>
                    </a:lnTo>
                    <a:lnTo>
                      <a:pt x="424" y="49"/>
                    </a:lnTo>
                    <a:lnTo>
                      <a:pt x="423" y="49"/>
                    </a:lnTo>
                    <a:lnTo>
                      <a:pt x="421" y="49"/>
                    </a:lnTo>
                    <a:lnTo>
                      <a:pt x="421" y="50"/>
                    </a:lnTo>
                    <a:lnTo>
                      <a:pt x="420" y="50"/>
                    </a:lnTo>
                    <a:lnTo>
                      <a:pt x="418" y="50"/>
                    </a:lnTo>
                    <a:lnTo>
                      <a:pt x="417" y="52"/>
                    </a:lnTo>
                    <a:lnTo>
                      <a:pt x="415" y="54"/>
                    </a:lnTo>
                    <a:lnTo>
                      <a:pt x="413" y="54"/>
                    </a:lnTo>
                    <a:lnTo>
                      <a:pt x="412" y="55"/>
                    </a:lnTo>
                    <a:lnTo>
                      <a:pt x="410" y="55"/>
                    </a:lnTo>
                    <a:lnTo>
                      <a:pt x="409" y="55"/>
                    </a:lnTo>
                    <a:lnTo>
                      <a:pt x="410" y="55"/>
                    </a:lnTo>
                    <a:lnTo>
                      <a:pt x="412" y="57"/>
                    </a:lnTo>
                    <a:lnTo>
                      <a:pt x="413" y="58"/>
                    </a:lnTo>
                    <a:lnTo>
                      <a:pt x="418" y="55"/>
                    </a:lnTo>
                    <a:lnTo>
                      <a:pt x="420" y="55"/>
                    </a:lnTo>
                    <a:lnTo>
                      <a:pt x="424" y="54"/>
                    </a:lnTo>
                    <a:lnTo>
                      <a:pt x="431" y="54"/>
                    </a:lnTo>
                    <a:lnTo>
                      <a:pt x="437" y="55"/>
                    </a:lnTo>
                    <a:lnTo>
                      <a:pt x="443" y="57"/>
                    </a:lnTo>
                    <a:lnTo>
                      <a:pt x="447" y="58"/>
                    </a:lnTo>
                    <a:lnTo>
                      <a:pt x="451" y="60"/>
                    </a:lnTo>
                    <a:lnTo>
                      <a:pt x="455" y="62"/>
                    </a:lnTo>
                    <a:lnTo>
                      <a:pt x="461" y="62"/>
                    </a:lnTo>
                    <a:lnTo>
                      <a:pt x="464" y="62"/>
                    </a:lnTo>
                    <a:lnTo>
                      <a:pt x="467" y="62"/>
                    </a:lnTo>
                    <a:lnTo>
                      <a:pt x="470" y="60"/>
                    </a:lnTo>
                    <a:lnTo>
                      <a:pt x="475" y="58"/>
                    </a:lnTo>
                    <a:lnTo>
                      <a:pt x="478" y="57"/>
                    </a:lnTo>
                    <a:lnTo>
                      <a:pt x="481" y="55"/>
                    </a:lnTo>
                    <a:lnTo>
                      <a:pt x="483" y="55"/>
                    </a:lnTo>
                    <a:lnTo>
                      <a:pt x="485" y="57"/>
                    </a:lnTo>
                    <a:lnTo>
                      <a:pt x="486" y="57"/>
                    </a:lnTo>
                    <a:lnTo>
                      <a:pt x="489" y="60"/>
                    </a:lnTo>
                    <a:lnTo>
                      <a:pt x="491" y="60"/>
                    </a:lnTo>
                    <a:lnTo>
                      <a:pt x="493" y="62"/>
                    </a:lnTo>
                    <a:lnTo>
                      <a:pt x="494" y="62"/>
                    </a:lnTo>
                    <a:lnTo>
                      <a:pt x="497" y="63"/>
                    </a:lnTo>
                    <a:lnTo>
                      <a:pt x="499" y="63"/>
                    </a:lnTo>
                    <a:lnTo>
                      <a:pt x="500" y="63"/>
                    </a:lnTo>
                    <a:lnTo>
                      <a:pt x="502" y="63"/>
                    </a:lnTo>
                    <a:lnTo>
                      <a:pt x="507" y="66"/>
                    </a:lnTo>
                    <a:lnTo>
                      <a:pt x="512" y="69"/>
                    </a:lnTo>
                    <a:lnTo>
                      <a:pt x="515" y="74"/>
                    </a:lnTo>
                    <a:lnTo>
                      <a:pt x="518" y="79"/>
                    </a:lnTo>
                    <a:lnTo>
                      <a:pt x="521" y="81"/>
                    </a:lnTo>
                    <a:lnTo>
                      <a:pt x="526" y="82"/>
                    </a:lnTo>
                    <a:lnTo>
                      <a:pt x="527" y="82"/>
                    </a:lnTo>
                    <a:lnTo>
                      <a:pt x="529" y="84"/>
                    </a:lnTo>
                    <a:lnTo>
                      <a:pt x="532" y="82"/>
                    </a:lnTo>
                    <a:lnTo>
                      <a:pt x="534" y="82"/>
                    </a:lnTo>
                    <a:lnTo>
                      <a:pt x="535" y="79"/>
                    </a:lnTo>
                    <a:lnTo>
                      <a:pt x="537" y="77"/>
                    </a:lnTo>
                    <a:lnTo>
                      <a:pt x="537" y="76"/>
                    </a:lnTo>
                    <a:lnTo>
                      <a:pt x="537" y="74"/>
                    </a:lnTo>
                    <a:lnTo>
                      <a:pt x="539" y="74"/>
                    </a:lnTo>
                    <a:lnTo>
                      <a:pt x="539" y="73"/>
                    </a:lnTo>
                    <a:lnTo>
                      <a:pt x="539" y="74"/>
                    </a:lnTo>
                    <a:lnTo>
                      <a:pt x="540" y="74"/>
                    </a:lnTo>
                    <a:lnTo>
                      <a:pt x="540" y="76"/>
                    </a:lnTo>
                    <a:lnTo>
                      <a:pt x="540" y="77"/>
                    </a:lnTo>
                    <a:lnTo>
                      <a:pt x="540" y="79"/>
                    </a:lnTo>
                    <a:lnTo>
                      <a:pt x="540" y="81"/>
                    </a:lnTo>
                    <a:lnTo>
                      <a:pt x="539" y="81"/>
                    </a:lnTo>
                    <a:lnTo>
                      <a:pt x="539" y="82"/>
                    </a:lnTo>
                    <a:lnTo>
                      <a:pt x="539" y="84"/>
                    </a:lnTo>
                    <a:lnTo>
                      <a:pt x="540" y="85"/>
                    </a:lnTo>
                    <a:lnTo>
                      <a:pt x="540" y="87"/>
                    </a:lnTo>
                    <a:lnTo>
                      <a:pt x="540" y="89"/>
                    </a:lnTo>
                    <a:lnTo>
                      <a:pt x="542" y="89"/>
                    </a:lnTo>
                    <a:lnTo>
                      <a:pt x="542" y="90"/>
                    </a:lnTo>
                    <a:lnTo>
                      <a:pt x="542" y="92"/>
                    </a:lnTo>
                    <a:lnTo>
                      <a:pt x="540" y="92"/>
                    </a:lnTo>
                    <a:lnTo>
                      <a:pt x="540" y="93"/>
                    </a:lnTo>
                    <a:lnTo>
                      <a:pt x="539" y="93"/>
                    </a:lnTo>
                    <a:lnTo>
                      <a:pt x="539" y="95"/>
                    </a:lnTo>
                    <a:lnTo>
                      <a:pt x="537" y="95"/>
                    </a:lnTo>
                    <a:lnTo>
                      <a:pt x="535" y="95"/>
                    </a:lnTo>
                    <a:lnTo>
                      <a:pt x="534" y="96"/>
                    </a:lnTo>
                    <a:lnTo>
                      <a:pt x="532" y="96"/>
                    </a:lnTo>
                    <a:lnTo>
                      <a:pt x="531" y="96"/>
                    </a:lnTo>
                    <a:lnTo>
                      <a:pt x="531" y="98"/>
                    </a:lnTo>
                    <a:lnTo>
                      <a:pt x="529" y="98"/>
                    </a:lnTo>
                    <a:lnTo>
                      <a:pt x="527" y="98"/>
                    </a:lnTo>
                    <a:lnTo>
                      <a:pt x="526" y="96"/>
                    </a:lnTo>
                    <a:lnTo>
                      <a:pt x="524" y="96"/>
                    </a:lnTo>
                    <a:lnTo>
                      <a:pt x="523" y="96"/>
                    </a:lnTo>
                    <a:lnTo>
                      <a:pt x="521" y="96"/>
                    </a:lnTo>
                    <a:lnTo>
                      <a:pt x="521" y="95"/>
                    </a:lnTo>
                    <a:lnTo>
                      <a:pt x="520" y="95"/>
                    </a:lnTo>
                    <a:lnTo>
                      <a:pt x="518" y="95"/>
                    </a:lnTo>
                    <a:lnTo>
                      <a:pt x="518" y="96"/>
                    </a:lnTo>
                    <a:lnTo>
                      <a:pt x="516" y="96"/>
                    </a:lnTo>
                    <a:lnTo>
                      <a:pt x="515" y="96"/>
                    </a:lnTo>
                    <a:lnTo>
                      <a:pt x="515" y="95"/>
                    </a:lnTo>
                    <a:lnTo>
                      <a:pt x="513" y="95"/>
                    </a:lnTo>
                    <a:lnTo>
                      <a:pt x="512" y="95"/>
                    </a:lnTo>
                    <a:lnTo>
                      <a:pt x="510" y="95"/>
                    </a:lnTo>
                    <a:lnTo>
                      <a:pt x="508" y="95"/>
                    </a:lnTo>
                    <a:lnTo>
                      <a:pt x="507" y="95"/>
                    </a:lnTo>
                    <a:lnTo>
                      <a:pt x="505" y="95"/>
                    </a:lnTo>
                    <a:lnTo>
                      <a:pt x="504" y="95"/>
                    </a:lnTo>
                    <a:lnTo>
                      <a:pt x="504" y="96"/>
                    </a:lnTo>
                    <a:lnTo>
                      <a:pt x="502" y="96"/>
                    </a:lnTo>
                    <a:lnTo>
                      <a:pt x="500" y="96"/>
                    </a:lnTo>
                    <a:lnTo>
                      <a:pt x="500" y="95"/>
                    </a:lnTo>
                    <a:lnTo>
                      <a:pt x="502" y="95"/>
                    </a:lnTo>
                    <a:lnTo>
                      <a:pt x="502" y="93"/>
                    </a:lnTo>
                    <a:lnTo>
                      <a:pt x="500" y="93"/>
                    </a:lnTo>
                    <a:lnTo>
                      <a:pt x="499" y="93"/>
                    </a:lnTo>
                    <a:lnTo>
                      <a:pt x="497" y="93"/>
                    </a:lnTo>
                    <a:lnTo>
                      <a:pt x="497" y="92"/>
                    </a:lnTo>
                    <a:lnTo>
                      <a:pt x="496" y="92"/>
                    </a:lnTo>
                    <a:lnTo>
                      <a:pt x="496" y="90"/>
                    </a:lnTo>
                    <a:lnTo>
                      <a:pt x="494" y="90"/>
                    </a:lnTo>
                    <a:lnTo>
                      <a:pt x="494" y="92"/>
                    </a:lnTo>
                    <a:lnTo>
                      <a:pt x="493" y="92"/>
                    </a:lnTo>
                    <a:lnTo>
                      <a:pt x="491" y="92"/>
                    </a:lnTo>
                    <a:lnTo>
                      <a:pt x="489" y="92"/>
                    </a:lnTo>
                    <a:lnTo>
                      <a:pt x="488" y="92"/>
                    </a:lnTo>
                    <a:lnTo>
                      <a:pt x="488" y="90"/>
                    </a:lnTo>
                    <a:lnTo>
                      <a:pt x="486" y="90"/>
                    </a:lnTo>
                    <a:lnTo>
                      <a:pt x="485" y="90"/>
                    </a:lnTo>
                    <a:lnTo>
                      <a:pt x="483" y="92"/>
                    </a:lnTo>
                    <a:lnTo>
                      <a:pt x="481" y="92"/>
                    </a:lnTo>
                    <a:lnTo>
                      <a:pt x="481" y="93"/>
                    </a:lnTo>
                    <a:lnTo>
                      <a:pt x="480" y="93"/>
                    </a:lnTo>
                    <a:lnTo>
                      <a:pt x="478" y="93"/>
                    </a:lnTo>
                    <a:lnTo>
                      <a:pt x="477" y="93"/>
                    </a:lnTo>
                    <a:lnTo>
                      <a:pt x="477" y="95"/>
                    </a:lnTo>
                    <a:lnTo>
                      <a:pt x="475" y="95"/>
                    </a:lnTo>
                    <a:lnTo>
                      <a:pt x="474" y="95"/>
                    </a:lnTo>
                    <a:lnTo>
                      <a:pt x="472" y="95"/>
                    </a:lnTo>
                    <a:lnTo>
                      <a:pt x="470" y="93"/>
                    </a:lnTo>
                    <a:lnTo>
                      <a:pt x="469" y="93"/>
                    </a:lnTo>
                    <a:lnTo>
                      <a:pt x="467" y="93"/>
                    </a:lnTo>
                    <a:lnTo>
                      <a:pt x="466" y="93"/>
                    </a:lnTo>
                    <a:lnTo>
                      <a:pt x="466" y="92"/>
                    </a:lnTo>
                    <a:lnTo>
                      <a:pt x="464" y="92"/>
                    </a:lnTo>
                    <a:lnTo>
                      <a:pt x="462" y="93"/>
                    </a:lnTo>
                    <a:lnTo>
                      <a:pt x="461" y="93"/>
                    </a:lnTo>
                    <a:lnTo>
                      <a:pt x="461" y="95"/>
                    </a:lnTo>
                    <a:lnTo>
                      <a:pt x="461" y="96"/>
                    </a:lnTo>
                    <a:lnTo>
                      <a:pt x="459" y="96"/>
                    </a:lnTo>
                    <a:lnTo>
                      <a:pt x="459" y="98"/>
                    </a:lnTo>
                    <a:lnTo>
                      <a:pt x="458" y="98"/>
                    </a:lnTo>
                    <a:lnTo>
                      <a:pt x="456" y="100"/>
                    </a:lnTo>
                    <a:lnTo>
                      <a:pt x="456" y="98"/>
                    </a:lnTo>
                    <a:lnTo>
                      <a:pt x="455" y="98"/>
                    </a:lnTo>
                    <a:lnTo>
                      <a:pt x="453" y="98"/>
                    </a:lnTo>
                    <a:lnTo>
                      <a:pt x="451" y="98"/>
                    </a:lnTo>
                    <a:lnTo>
                      <a:pt x="451" y="100"/>
                    </a:lnTo>
                    <a:lnTo>
                      <a:pt x="451" y="101"/>
                    </a:lnTo>
                    <a:lnTo>
                      <a:pt x="451" y="103"/>
                    </a:lnTo>
                    <a:lnTo>
                      <a:pt x="451" y="104"/>
                    </a:lnTo>
                    <a:lnTo>
                      <a:pt x="450" y="104"/>
                    </a:lnTo>
                    <a:lnTo>
                      <a:pt x="450" y="106"/>
                    </a:lnTo>
                    <a:lnTo>
                      <a:pt x="450" y="108"/>
                    </a:lnTo>
                    <a:lnTo>
                      <a:pt x="450" y="109"/>
                    </a:lnTo>
                    <a:lnTo>
                      <a:pt x="448" y="111"/>
                    </a:lnTo>
                    <a:lnTo>
                      <a:pt x="447" y="111"/>
                    </a:lnTo>
                    <a:lnTo>
                      <a:pt x="448" y="111"/>
                    </a:lnTo>
                    <a:lnTo>
                      <a:pt x="448" y="112"/>
                    </a:lnTo>
                    <a:lnTo>
                      <a:pt x="450" y="112"/>
                    </a:lnTo>
                    <a:lnTo>
                      <a:pt x="450" y="114"/>
                    </a:lnTo>
                    <a:lnTo>
                      <a:pt x="450" y="115"/>
                    </a:lnTo>
                    <a:lnTo>
                      <a:pt x="451" y="115"/>
                    </a:lnTo>
                    <a:lnTo>
                      <a:pt x="451" y="117"/>
                    </a:lnTo>
                    <a:lnTo>
                      <a:pt x="451" y="115"/>
                    </a:lnTo>
                    <a:lnTo>
                      <a:pt x="453" y="115"/>
                    </a:lnTo>
                    <a:lnTo>
                      <a:pt x="455" y="117"/>
                    </a:lnTo>
                    <a:lnTo>
                      <a:pt x="456" y="117"/>
                    </a:lnTo>
                    <a:lnTo>
                      <a:pt x="458" y="117"/>
                    </a:lnTo>
                    <a:lnTo>
                      <a:pt x="458" y="115"/>
                    </a:lnTo>
                    <a:lnTo>
                      <a:pt x="459" y="115"/>
                    </a:lnTo>
                    <a:lnTo>
                      <a:pt x="461" y="115"/>
                    </a:lnTo>
                    <a:lnTo>
                      <a:pt x="462" y="114"/>
                    </a:lnTo>
                    <a:lnTo>
                      <a:pt x="464" y="114"/>
                    </a:lnTo>
                    <a:lnTo>
                      <a:pt x="466" y="114"/>
                    </a:lnTo>
                    <a:lnTo>
                      <a:pt x="467" y="112"/>
                    </a:lnTo>
                    <a:lnTo>
                      <a:pt x="469" y="112"/>
                    </a:lnTo>
                    <a:lnTo>
                      <a:pt x="470" y="114"/>
                    </a:lnTo>
                    <a:lnTo>
                      <a:pt x="472" y="114"/>
                    </a:lnTo>
                    <a:lnTo>
                      <a:pt x="474" y="114"/>
                    </a:lnTo>
                    <a:lnTo>
                      <a:pt x="475" y="114"/>
                    </a:lnTo>
                    <a:lnTo>
                      <a:pt x="477" y="115"/>
                    </a:lnTo>
                    <a:lnTo>
                      <a:pt x="477" y="117"/>
                    </a:lnTo>
                    <a:lnTo>
                      <a:pt x="477" y="119"/>
                    </a:lnTo>
                    <a:lnTo>
                      <a:pt x="475" y="119"/>
                    </a:lnTo>
                    <a:lnTo>
                      <a:pt x="475" y="120"/>
                    </a:lnTo>
                    <a:lnTo>
                      <a:pt x="474" y="120"/>
                    </a:lnTo>
                    <a:lnTo>
                      <a:pt x="472" y="120"/>
                    </a:lnTo>
                    <a:lnTo>
                      <a:pt x="472" y="122"/>
                    </a:lnTo>
                    <a:lnTo>
                      <a:pt x="472" y="123"/>
                    </a:lnTo>
                    <a:lnTo>
                      <a:pt x="472" y="125"/>
                    </a:lnTo>
                    <a:lnTo>
                      <a:pt x="470" y="125"/>
                    </a:lnTo>
                    <a:lnTo>
                      <a:pt x="470" y="127"/>
                    </a:lnTo>
                    <a:lnTo>
                      <a:pt x="470" y="128"/>
                    </a:lnTo>
                    <a:lnTo>
                      <a:pt x="470" y="130"/>
                    </a:lnTo>
                    <a:lnTo>
                      <a:pt x="470" y="131"/>
                    </a:lnTo>
                    <a:lnTo>
                      <a:pt x="469" y="131"/>
                    </a:lnTo>
                    <a:lnTo>
                      <a:pt x="467" y="131"/>
                    </a:lnTo>
                    <a:lnTo>
                      <a:pt x="466" y="131"/>
                    </a:lnTo>
                    <a:lnTo>
                      <a:pt x="464" y="133"/>
                    </a:lnTo>
                    <a:lnTo>
                      <a:pt x="462" y="133"/>
                    </a:lnTo>
                    <a:lnTo>
                      <a:pt x="462" y="131"/>
                    </a:lnTo>
                    <a:lnTo>
                      <a:pt x="461" y="131"/>
                    </a:lnTo>
                    <a:lnTo>
                      <a:pt x="459" y="131"/>
                    </a:lnTo>
                    <a:lnTo>
                      <a:pt x="458" y="131"/>
                    </a:lnTo>
                    <a:lnTo>
                      <a:pt x="456" y="131"/>
                    </a:lnTo>
                    <a:lnTo>
                      <a:pt x="456" y="133"/>
                    </a:lnTo>
                    <a:lnTo>
                      <a:pt x="455" y="133"/>
                    </a:lnTo>
                    <a:lnTo>
                      <a:pt x="455" y="134"/>
                    </a:lnTo>
                    <a:lnTo>
                      <a:pt x="453" y="134"/>
                    </a:lnTo>
                    <a:lnTo>
                      <a:pt x="453" y="136"/>
                    </a:lnTo>
                    <a:lnTo>
                      <a:pt x="453" y="138"/>
                    </a:lnTo>
                    <a:lnTo>
                      <a:pt x="453" y="139"/>
                    </a:lnTo>
                    <a:lnTo>
                      <a:pt x="453" y="141"/>
                    </a:lnTo>
                    <a:lnTo>
                      <a:pt x="453" y="142"/>
                    </a:lnTo>
                    <a:lnTo>
                      <a:pt x="451" y="142"/>
                    </a:lnTo>
                    <a:lnTo>
                      <a:pt x="451" y="144"/>
                    </a:lnTo>
                    <a:lnTo>
                      <a:pt x="451" y="146"/>
                    </a:lnTo>
                    <a:lnTo>
                      <a:pt x="451" y="147"/>
                    </a:lnTo>
                    <a:lnTo>
                      <a:pt x="451" y="149"/>
                    </a:lnTo>
                    <a:lnTo>
                      <a:pt x="451" y="150"/>
                    </a:lnTo>
                    <a:lnTo>
                      <a:pt x="450" y="152"/>
                    </a:lnTo>
                    <a:lnTo>
                      <a:pt x="448" y="152"/>
                    </a:lnTo>
                    <a:lnTo>
                      <a:pt x="448" y="153"/>
                    </a:lnTo>
                    <a:lnTo>
                      <a:pt x="447" y="153"/>
                    </a:lnTo>
                    <a:lnTo>
                      <a:pt x="447" y="155"/>
                    </a:lnTo>
                    <a:lnTo>
                      <a:pt x="445" y="155"/>
                    </a:lnTo>
                    <a:lnTo>
                      <a:pt x="445" y="157"/>
                    </a:lnTo>
                    <a:lnTo>
                      <a:pt x="445" y="158"/>
                    </a:lnTo>
                    <a:lnTo>
                      <a:pt x="447" y="158"/>
                    </a:lnTo>
                    <a:lnTo>
                      <a:pt x="448" y="158"/>
                    </a:lnTo>
                    <a:lnTo>
                      <a:pt x="448" y="160"/>
                    </a:lnTo>
                    <a:lnTo>
                      <a:pt x="450" y="160"/>
                    </a:lnTo>
                    <a:lnTo>
                      <a:pt x="451" y="160"/>
                    </a:lnTo>
                    <a:lnTo>
                      <a:pt x="453" y="160"/>
                    </a:lnTo>
                    <a:lnTo>
                      <a:pt x="453" y="158"/>
                    </a:lnTo>
                    <a:lnTo>
                      <a:pt x="455" y="158"/>
                    </a:lnTo>
                    <a:lnTo>
                      <a:pt x="456" y="158"/>
                    </a:lnTo>
                    <a:lnTo>
                      <a:pt x="456" y="157"/>
                    </a:lnTo>
                    <a:lnTo>
                      <a:pt x="458" y="157"/>
                    </a:lnTo>
                    <a:lnTo>
                      <a:pt x="459" y="157"/>
                    </a:lnTo>
                    <a:lnTo>
                      <a:pt x="461" y="157"/>
                    </a:lnTo>
                    <a:lnTo>
                      <a:pt x="461" y="158"/>
                    </a:lnTo>
                    <a:lnTo>
                      <a:pt x="462" y="157"/>
                    </a:lnTo>
                    <a:lnTo>
                      <a:pt x="464" y="157"/>
                    </a:lnTo>
                    <a:lnTo>
                      <a:pt x="466" y="157"/>
                    </a:lnTo>
                    <a:lnTo>
                      <a:pt x="466" y="158"/>
                    </a:lnTo>
                    <a:lnTo>
                      <a:pt x="467" y="158"/>
                    </a:lnTo>
                    <a:lnTo>
                      <a:pt x="469" y="158"/>
                    </a:lnTo>
                    <a:lnTo>
                      <a:pt x="470" y="158"/>
                    </a:lnTo>
                    <a:lnTo>
                      <a:pt x="472" y="158"/>
                    </a:lnTo>
                    <a:lnTo>
                      <a:pt x="472" y="160"/>
                    </a:lnTo>
                    <a:lnTo>
                      <a:pt x="474" y="160"/>
                    </a:lnTo>
                    <a:lnTo>
                      <a:pt x="474" y="161"/>
                    </a:lnTo>
                    <a:lnTo>
                      <a:pt x="475" y="161"/>
                    </a:lnTo>
                    <a:lnTo>
                      <a:pt x="474" y="161"/>
                    </a:lnTo>
                    <a:lnTo>
                      <a:pt x="474" y="163"/>
                    </a:lnTo>
                    <a:lnTo>
                      <a:pt x="474" y="165"/>
                    </a:lnTo>
                    <a:lnTo>
                      <a:pt x="472" y="165"/>
                    </a:lnTo>
                    <a:lnTo>
                      <a:pt x="472" y="166"/>
                    </a:lnTo>
                    <a:lnTo>
                      <a:pt x="470" y="166"/>
                    </a:lnTo>
                    <a:lnTo>
                      <a:pt x="469" y="166"/>
                    </a:lnTo>
                    <a:lnTo>
                      <a:pt x="469" y="168"/>
                    </a:lnTo>
                    <a:lnTo>
                      <a:pt x="469" y="169"/>
                    </a:lnTo>
                    <a:lnTo>
                      <a:pt x="469" y="171"/>
                    </a:lnTo>
                    <a:lnTo>
                      <a:pt x="467" y="171"/>
                    </a:lnTo>
                    <a:lnTo>
                      <a:pt x="466" y="171"/>
                    </a:lnTo>
                    <a:lnTo>
                      <a:pt x="466" y="172"/>
                    </a:lnTo>
                    <a:lnTo>
                      <a:pt x="464" y="172"/>
                    </a:lnTo>
                    <a:lnTo>
                      <a:pt x="464" y="174"/>
                    </a:lnTo>
                    <a:lnTo>
                      <a:pt x="464" y="176"/>
                    </a:lnTo>
                    <a:lnTo>
                      <a:pt x="464" y="177"/>
                    </a:lnTo>
                    <a:lnTo>
                      <a:pt x="466" y="177"/>
                    </a:lnTo>
                    <a:lnTo>
                      <a:pt x="466" y="179"/>
                    </a:lnTo>
                    <a:lnTo>
                      <a:pt x="467" y="179"/>
                    </a:lnTo>
                    <a:lnTo>
                      <a:pt x="469" y="180"/>
                    </a:lnTo>
                    <a:lnTo>
                      <a:pt x="470" y="180"/>
                    </a:lnTo>
                    <a:lnTo>
                      <a:pt x="470" y="182"/>
                    </a:lnTo>
                    <a:lnTo>
                      <a:pt x="470" y="180"/>
                    </a:lnTo>
                    <a:lnTo>
                      <a:pt x="472" y="180"/>
                    </a:lnTo>
                    <a:lnTo>
                      <a:pt x="474" y="180"/>
                    </a:lnTo>
                    <a:lnTo>
                      <a:pt x="474" y="179"/>
                    </a:lnTo>
                    <a:lnTo>
                      <a:pt x="475" y="179"/>
                    </a:lnTo>
                    <a:lnTo>
                      <a:pt x="477" y="179"/>
                    </a:lnTo>
                    <a:lnTo>
                      <a:pt x="477" y="177"/>
                    </a:lnTo>
                    <a:lnTo>
                      <a:pt x="478" y="177"/>
                    </a:lnTo>
                    <a:lnTo>
                      <a:pt x="478" y="179"/>
                    </a:lnTo>
                    <a:lnTo>
                      <a:pt x="480" y="179"/>
                    </a:lnTo>
                    <a:lnTo>
                      <a:pt x="480" y="180"/>
                    </a:lnTo>
                    <a:lnTo>
                      <a:pt x="481" y="182"/>
                    </a:lnTo>
                    <a:lnTo>
                      <a:pt x="481" y="184"/>
                    </a:lnTo>
                    <a:lnTo>
                      <a:pt x="483" y="184"/>
                    </a:lnTo>
                    <a:lnTo>
                      <a:pt x="483" y="185"/>
                    </a:lnTo>
                    <a:lnTo>
                      <a:pt x="485" y="187"/>
                    </a:lnTo>
                    <a:lnTo>
                      <a:pt x="485" y="188"/>
                    </a:lnTo>
                    <a:lnTo>
                      <a:pt x="485" y="190"/>
                    </a:lnTo>
                    <a:lnTo>
                      <a:pt x="485" y="191"/>
                    </a:lnTo>
                    <a:lnTo>
                      <a:pt x="485" y="193"/>
                    </a:lnTo>
                    <a:lnTo>
                      <a:pt x="485" y="195"/>
                    </a:lnTo>
                    <a:lnTo>
                      <a:pt x="485" y="196"/>
                    </a:lnTo>
                    <a:lnTo>
                      <a:pt x="485" y="198"/>
                    </a:lnTo>
                    <a:lnTo>
                      <a:pt x="485" y="199"/>
                    </a:lnTo>
                    <a:lnTo>
                      <a:pt x="485" y="201"/>
                    </a:lnTo>
                    <a:lnTo>
                      <a:pt x="483" y="201"/>
                    </a:lnTo>
                    <a:lnTo>
                      <a:pt x="483" y="203"/>
                    </a:lnTo>
                    <a:lnTo>
                      <a:pt x="483" y="204"/>
                    </a:lnTo>
                    <a:lnTo>
                      <a:pt x="483" y="206"/>
                    </a:lnTo>
                    <a:lnTo>
                      <a:pt x="483" y="207"/>
                    </a:lnTo>
                    <a:lnTo>
                      <a:pt x="483" y="209"/>
                    </a:lnTo>
                    <a:lnTo>
                      <a:pt x="483" y="211"/>
                    </a:lnTo>
                    <a:lnTo>
                      <a:pt x="483" y="212"/>
                    </a:lnTo>
                    <a:lnTo>
                      <a:pt x="483" y="214"/>
                    </a:lnTo>
                    <a:lnTo>
                      <a:pt x="481" y="214"/>
                    </a:lnTo>
                    <a:lnTo>
                      <a:pt x="483" y="215"/>
                    </a:lnTo>
                    <a:lnTo>
                      <a:pt x="485" y="215"/>
                    </a:lnTo>
                    <a:lnTo>
                      <a:pt x="485" y="214"/>
                    </a:lnTo>
                    <a:lnTo>
                      <a:pt x="485" y="215"/>
                    </a:lnTo>
                    <a:lnTo>
                      <a:pt x="486" y="215"/>
                    </a:lnTo>
                    <a:lnTo>
                      <a:pt x="488" y="215"/>
                    </a:lnTo>
                    <a:lnTo>
                      <a:pt x="488" y="214"/>
                    </a:lnTo>
                    <a:lnTo>
                      <a:pt x="488" y="215"/>
                    </a:lnTo>
                    <a:lnTo>
                      <a:pt x="489" y="215"/>
                    </a:lnTo>
                    <a:lnTo>
                      <a:pt x="491" y="215"/>
                    </a:lnTo>
                    <a:lnTo>
                      <a:pt x="491" y="214"/>
                    </a:lnTo>
                    <a:lnTo>
                      <a:pt x="493" y="214"/>
                    </a:lnTo>
                    <a:lnTo>
                      <a:pt x="493" y="215"/>
                    </a:lnTo>
                    <a:lnTo>
                      <a:pt x="494" y="215"/>
                    </a:lnTo>
                    <a:lnTo>
                      <a:pt x="494" y="217"/>
                    </a:lnTo>
                    <a:lnTo>
                      <a:pt x="493" y="217"/>
                    </a:lnTo>
                    <a:lnTo>
                      <a:pt x="493" y="218"/>
                    </a:lnTo>
                    <a:lnTo>
                      <a:pt x="493" y="220"/>
                    </a:lnTo>
                    <a:lnTo>
                      <a:pt x="493" y="222"/>
                    </a:lnTo>
                    <a:lnTo>
                      <a:pt x="493" y="223"/>
                    </a:lnTo>
                    <a:lnTo>
                      <a:pt x="493" y="225"/>
                    </a:lnTo>
                    <a:lnTo>
                      <a:pt x="491" y="226"/>
                    </a:lnTo>
                    <a:lnTo>
                      <a:pt x="493" y="226"/>
                    </a:lnTo>
                    <a:lnTo>
                      <a:pt x="493" y="228"/>
                    </a:lnTo>
                    <a:lnTo>
                      <a:pt x="493" y="230"/>
                    </a:lnTo>
                    <a:lnTo>
                      <a:pt x="493" y="231"/>
                    </a:lnTo>
                    <a:lnTo>
                      <a:pt x="494" y="231"/>
                    </a:lnTo>
                    <a:lnTo>
                      <a:pt x="494" y="233"/>
                    </a:lnTo>
                    <a:lnTo>
                      <a:pt x="493" y="233"/>
                    </a:lnTo>
                    <a:lnTo>
                      <a:pt x="493" y="234"/>
                    </a:lnTo>
                    <a:lnTo>
                      <a:pt x="493" y="236"/>
                    </a:lnTo>
                    <a:lnTo>
                      <a:pt x="491" y="236"/>
                    </a:lnTo>
                    <a:lnTo>
                      <a:pt x="491" y="237"/>
                    </a:lnTo>
                    <a:lnTo>
                      <a:pt x="489" y="239"/>
                    </a:lnTo>
                    <a:lnTo>
                      <a:pt x="491" y="239"/>
                    </a:lnTo>
                    <a:lnTo>
                      <a:pt x="491" y="241"/>
                    </a:lnTo>
                    <a:lnTo>
                      <a:pt x="493" y="241"/>
                    </a:lnTo>
                    <a:lnTo>
                      <a:pt x="493" y="242"/>
                    </a:lnTo>
                    <a:lnTo>
                      <a:pt x="493" y="244"/>
                    </a:lnTo>
                    <a:lnTo>
                      <a:pt x="493" y="245"/>
                    </a:lnTo>
                    <a:lnTo>
                      <a:pt x="491" y="245"/>
                    </a:lnTo>
                    <a:lnTo>
                      <a:pt x="491" y="247"/>
                    </a:lnTo>
                    <a:lnTo>
                      <a:pt x="491" y="249"/>
                    </a:lnTo>
                    <a:lnTo>
                      <a:pt x="491" y="250"/>
                    </a:lnTo>
                    <a:lnTo>
                      <a:pt x="491" y="252"/>
                    </a:lnTo>
                    <a:lnTo>
                      <a:pt x="491" y="253"/>
                    </a:lnTo>
                    <a:lnTo>
                      <a:pt x="489" y="255"/>
                    </a:lnTo>
                    <a:lnTo>
                      <a:pt x="489" y="256"/>
                    </a:lnTo>
                    <a:lnTo>
                      <a:pt x="489" y="258"/>
                    </a:lnTo>
                    <a:lnTo>
                      <a:pt x="489" y="260"/>
                    </a:lnTo>
                    <a:lnTo>
                      <a:pt x="489" y="261"/>
                    </a:lnTo>
                    <a:lnTo>
                      <a:pt x="488" y="261"/>
                    </a:lnTo>
                    <a:lnTo>
                      <a:pt x="488" y="263"/>
                    </a:lnTo>
                    <a:lnTo>
                      <a:pt x="488" y="264"/>
                    </a:lnTo>
                    <a:lnTo>
                      <a:pt x="486" y="266"/>
                    </a:lnTo>
                    <a:lnTo>
                      <a:pt x="486" y="268"/>
                    </a:lnTo>
                    <a:lnTo>
                      <a:pt x="486" y="269"/>
                    </a:lnTo>
                    <a:lnTo>
                      <a:pt x="485" y="269"/>
                    </a:lnTo>
                    <a:lnTo>
                      <a:pt x="486" y="269"/>
                    </a:lnTo>
                    <a:lnTo>
                      <a:pt x="486" y="271"/>
                    </a:lnTo>
                    <a:lnTo>
                      <a:pt x="486" y="272"/>
                    </a:lnTo>
                    <a:lnTo>
                      <a:pt x="486" y="274"/>
                    </a:lnTo>
                    <a:lnTo>
                      <a:pt x="486" y="275"/>
                    </a:lnTo>
                    <a:lnTo>
                      <a:pt x="486" y="277"/>
                    </a:lnTo>
                    <a:lnTo>
                      <a:pt x="486" y="279"/>
                    </a:lnTo>
                    <a:lnTo>
                      <a:pt x="486" y="280"/>
                    </a:lnTo>
                    <a:lnTo>
                      <a:pt x="485" y="280"/>
                    </a:lnTo>
                    <a:lnTo>
                      <a:pt x="485" y="282"/>
                    </a:lnTo>
                    <a:lnTo>
                      <a:pt x="483" y="282"/>
                    </a:lnTo>
                    <a:lnTo>
                      <a:pt x="483" y="283"/>
                    </a:lnTo>
                    <a:lnTo>
                      <a:pt x="483" y="285"/>
                    </a:lnTo>
                    <a:lnTo>
                      <a:pt x="483" y="287"/>
                    </a:lnTo>
                    <a:lnTo>
                      <a:pt x="485" y="287"/>
                    </a:lnTo>
                    <a:lnTo>
                      <a:pt x="485" y="288"/>
                    </a:lnTo>
                    <a:lnTo>
                      <a:pt x="486" y="288"/>
                    </a:lnTo>
                    <a:lnTo>
                      <a:pt x="488" y="288"/>
                    </a:lnTo>
                    <a:lnTo>
                      <a:pt x="488" y="290"/>
                    </a:lnTo>
                    <a:lnTo>
                      <a:pt x="488" y="291"/>
                    </a:lnTo>
                    <a:lnTo>
                      <a:pt x="488" y="293"/>
                    </a:lnTo>
                    <a:lnTo>
                      <a:pt x="488" y="294"/>
                    </a:lnTo>
                    <a:lnTo>
                      <a:pt x="488" y="296"/>
                    </a:lnTo>
                    <a:lnTo>
                      <a:pt x="489" y="298"/>
                    </a:lnTo>
                    <a:lnTo>
                      <a:pt x="491" y="298"/>
                    </a:lnTo>
                    <a:lnTo>
                      <a:pt x="491" y="299"/>
                    </a:lnTo>
                    <a:lnTo>
                      <a:pt x="493" y="299"/>
                    </a:lnTo>
                    <a:lnTo>
                      <a:pt x="493" y="301"/>
                    </a:lnTo>
                    <a:lnTo>
                      <a:pt x="493" y="302"/>
                    </a:lnTo>
                    <a:lnTo>
                      <a:pt x="493" y="304"/>
                    </a:lnTo>
                    <a:lnTo>
                      <a:pt x="493" y="306"/>
                    </a:lnTo>
                    <a:lnTo>
                      <a:pt x="493" y="307"/>
                    </a:lnTo>
                    <a:lnTo>
                      <a:pt x="493" y="309"/>
                    </a:lnTo>
                    <a:lnTo>
                      <a:pt x="493" y="310"/>
                    </a:lnTo>
                    <a:lnTo>
                      <a:pt x="493" y="312"/>
                    </a:lnTo>
                    <a:lnTo>
                      <a:pt x="493" y="313"/>
                    </a:lnTo>
                    <a:lnTo>
                      <a:pt x="493" y="315"/>
                    </a:lnTo>
                    <a:lnTo>
                      <a:pt x="494" y="315"/>
                    </a:lnTo>
                    <a:lnTo>
                      <a:pt x="494" y="317"/>
                    </a:lnTo>
                    <a:lnTo>
                      <a:pt x="494" y="318"/>
                    </a:lnTo>
                    <a:lnTo>
                      <a:pt x="494" y="320"/>
                    </a:lnTo>
                    <a:lnTo>
                      <a:pt x="494" y="321"/>
                    </a:lnTo>
                    <a:lnTo>
                      <a:pt x="494" y="323"/>
                    </a:lnTo>
                    <a:lnTo>
                      <a:pt x="493" y="323"/>
                    </a:lnTo>
                    <a:lnTo>
                      <a:pt x="493" y="325"/>
                    </a:lnTo>
                    <a:lnTo>
                      <a:pt x="493" y="326"/>
                    </a:lnTo>
                    <a:lnTo>
                      <a:pt x="493" y="328"/>
                    </a:lnTo>
                    <a:lnTo>
                      <a:pt x="491" y="329"/>
                    </a:lnTo>
                    <a:lnTo>
                      <a:pt x="491" y="331"/>
                    </a:lnTo>
                    <a:lnTo>
                      <a:pt x="491" y="333"/>
                    </a:lnTo>
                    <a:lnTo>
                      <a:pt x="489" y="333"/>
                    </a:lnTo>
                    <a:lnTo>
                      <a:pt x="488" y="334"/>
                    </a:lnTo>
                    <a:lnTo>
                      <a:pt x="486" y="334"/>
                    </a:lnTo>
                    <a:lnTo>
                      <a:pt x="485" y="334"/>
                    </a:lnTo>
                    <a:lnTo>
                      <a:pt x="483" y="334"/>
                    </a:lnTo>
                    <a:lnTo>
                      <a:pt x="483" y="333"/>
                    </a:lnTo>
                    <a:lnTo>
                      <a:pt x="481" y="333"/>
                    </a:lnTo>
                    <a:lnTo>
                      <a:pt x="480" y="331"/>
                    </a:lnTo>
                    <a:lnTo>
                      <a:pt x="478" y="331"/>
                    </a:lnTo>
                    <a:lnTo>
                      <a:pt x="477" y="331"/>
                    </a:lnTo>
                    <a:lnTo>
                      <a:pt x="477" y="329"/>
                    </a:lnTo>
                    <a:lnTo>
                      <a:pt x="475" y="329"/>
                    </a:lnTo>
                    <a:lnTo>
                      <a:pt x="474" y="329"/>
                    </a:lnTo>
                    <a:lnTo>
                      <a:pt x="472" y="329"/>
                    </a:lnTo>
                    <a:lnTo>
                      <a:pt x="470" y="329"/>
                    </a:lnTo>
                    <a:lnTo>
                      <a:pt x="470" y="331"/>
                    </a:lnTo>
                    <a:lnTo>
                      <a:pt x="470" y="333"/>
                    </a:lnTo>
                    <a:lnTo>
                      <a:pt x="470" y="334"/>
                    </a:lnTo>
                    <a:lnTo>
                      <a:pt x="470" y="336"/>
                    </a:lnTo>
                    <a:lnTo>
                      <a:pt x="470" y="337"/>
                    </a:lnTo>
                    <a:lnTo>
                      <a:pt x="470" y="339"/>
                    </a:lnTo>
                    <a:lnTo>
                      <a:pt x="469" y="340"/>
                    </a:lnTo>
                    <a:lnTo>
                      <a:pt x="469" y="342"/>
                    </a:lnTo>
                    <a:lnTo>
                      <a:pt x="467" y="342"/>
                    </a:lnTo>
                    <a:lnTo>
                      <a:pt x="467" y="344"/>
                    </a:lnTo>
                    <a:lnTo>
                      <a:pt x="467" y="345"/>
                    </a:lnTo>
                    <a:lnTo>
                      <a:pt x="467" y="347"/>
                    </a:lnTo>
                    <a:lnTo>
                      <a:pt x="466" y="348"/>
                    </a:lnTo>
                    <a:lnTo>
                      <a:pt x="466" y="350"/>
                    </a:lnTo>
                    <a:lnTo>
                      <a:pt x="466" y="352"/>
                    </a:lnTo>
                    <a:lnTo>
                      <a:pt x="464" y="352"/>
                    </a:lnTo>
                    <a:lnTo>
                      <a:pt x="464" y="353"/>
                    </a:lnTo>
                    <a:lnTo>
                      <a:pt x="464" y="355"/>
                    </a:lnTo>
                    <a:lnTo>
                      <a:pt x="462" y="356"/>
                    </a:lnTo>
                    <a:lnTo>
                      <a:pt x="462" y="358"/>
                    </a:lnTo>
                    <a:lnTo>
                      <a:pt x="462" y="359"/>
                    </a:lnTo>
                    <a:lnTo>
                      <a:pt x="464" y="361"/>
                    </a:lnTo>
                    <a:lnTo>
                      <a:pt x="464" y="363"/>
                    </a:lnTo>
                    <a:lnTo>
                      <a:pt x="464" y="364"/>
                    </a:lnTo>
                    <a:lnTo>
                      <a:pt x="464" y="366"/>
                    </a:lnTo>
                    <a:lnTo>
                      <a:pt x="464" y="367"/>
                    </a:lnTo>
                    <a:lnTo>
                      <a:pt x="466" y="367"/>
                    </a:lnTo>
                    <a:lnTo>
                      <a:pt x="466" y="369"/>
                    </a:lnTo>
                    <a:lnTo>
                      <a:pt x="467" y="369"/>
                    </a:lnTo>
                    <a:lnTo>
                      <a:pt x="469" y="371"/>
                    </a:lnTo>
                    <a:lnTo>
                      <a:pt x="469" y="372"/>
                    </a:lnTo>
                    <a:lnTo>
                      <a:pt x="469" y="374"/>
                    </a:lnTo>
                    <a:lnTo>
                      <a:pt x="469" y="375"/>
                    </a:lnTo>
                    <a:lnTo>
                      <a:pt x="469" y="377"/>
                    </a:lnTo>
                    <a:lnTo>
                      <a:pt x="469" y="378"/>
                    </a:lnTo>
                    <a:lnTo>
                      <a:pt x="469" y="380"/>
                    </a:lnTo>
                    <a:lnTo>
                      <a:pt x="469" y="382"/>
                    </a:lnTo>
                    <a:lnTo>
                      <a:pt x="469" y="383"/>
                    </a:lnTo>
                    <a:lnTo>
                      <a:pt x="469" y="385"/>
                    </a:lnTo>
                    <a:lnTo>
                      <a:pt x="469" y="386"/>
                    </a:lnTo>
                    <a:lnTo>
                      <a:pt x="469" y="388"/>
                    </a:lnTo>
                    <a:lnTo>
                      <a:pt x="467" y="391"/>
                    </a:lnTo>
                    <a:lnTo>
                      <a:pt x="467" y="393"/>
                    </a:lnTo>
                    <a:lnTo>
                      <a:pt x="467" y="394"/>
                    </a:lnTo>
                    <a:lnTo>
                      <a:pt x="467" y="396"/>
                    </a:lnTo>
                    <a:lnTo>
                      <a:pt x="467" y="397"/>
                    </a:lnTo>
                    <a:lnTo>
                      <a:pt x="467" y="399"/>
                    </a:lnTo>
                    <a:lnTo>
                      <a:pt x="467" y="401"/>
                    </a:lnTo>
                    <a:lnTo>
                      <a:pt x="467" y="402"/>
                    </a:lnTo>
                    <a:lnTo>
                      <a:pt x="467" y="404"/>
                    </a:lnTo>
                    <a:lnTo>
                      <a:pt x="467" y="405"/>
                    </a:lnTo>
                    <a:lnTo>
                      <a:pt x="466" y="405"/>
                    </a:lnTo>
                    <a:lnTo>
                      <a:pt x="466" y="407"/>
                    </a:lnTo>
                    <a:lnTo>
                      <a:pt x="466" y="409"/>
                    </a:lnTo>
                    <a:lnTo>
                      <a:pt x="464" y="409"/>
                    </a:lnTo>
                    <a:lnTo>
                      <a:pt x="464" y="410"/>
                    </a:lnTo>
                    <a:lnTo>
                      <a:pt x="462" y="410"/>
                    </a:lnTo>
                    <a:lnTo>
                      <a:pt x="462" y="412"/>
                    </a:lnTo>
                    <a:lnTo>
                      <a:pt x="462" y="413"/>
                    </a:lnTo>
                    <a:lnTo>
                      <a:pt x="462" y="415"/>
                    </a:lnTo>
                    <a:lnTo>
                      <a:pt x="462" y="416"/>
                    </a:lnTo>
                    <a:lnTo>
                      <a:pt x="462" y="418"/>
                    </a:lnTo>
                    <a:lnTo>
                      <a:pt x="462" y="420"/>
                    </a:lnTo>
                    <a:lnTo>
                      <a:pt x="462" y="421"/>
                    </a:lnTo>
                    <a:lnTo>
                      <a:pt x="461" y="421"/>
                    </a:lnTo>
                    <a:lnTo>
                      <a:pt x="461" y="423"/>
                    </a:lnTo>
                    <a:lnTo>
                      <a:pt x="462" y="423"/>
                    </a:lnTo>
                    <a:lnTo>
                      <a:pt x="462" y="424"/>
                    </a:lnTo>
                    <a:lnTo>
                      <a:pt x="464" y="424"/>
                    </a:lnTo>
                    <a:lnTo>
                      <a:pt x="464" y="426"/>
                    </a:lnTo>
                    <a:lnTo>
                      <a:pt x="466" y="426"/>
                    </a:lnTo>
                    <a:lnTo>
                      <a:pt x="466" y="428"/>
                    </a:lnTo>
                    <a:lnTo>
                      <a:pt x="467" y="428"/>
                    </a:lnTo>
                    <a:lnTo>
                      <a:pt x="467" y="429"/>
                    </a:lnTo>
                    <a:lnTo>
                      <a:pt x="467" y="431"/>
                    </a:lnTo>
                    <a:lnTo>
                      <a:pt x="469" y="431"/>
                    </a:lnTo>
                    <a:lnTo>
                      <a:pt x="469" y="432"/>
                    </a:lnTo>
                    <a:lnTo>
                      <a:pt x="469" y="434"/>
                    </a:lnTo>
                    <a:lnTo>
                      <a:pt x="470" y="434"/>
                    </a:lnTo>
                    <a:lnTo>
                      <a:pt x="470" y="436"/>
                    </a:lnTo>
                    <a:lnTo>
                      <a:pt x="474" y="436"/>
                    </a:lnTo>
                    <a:lnTo>
                      <a:pt x="475" y="436"/>
                    </a:lnTo>
                    <a:lnTo>
                      <a:pt x="477" y="436"/>
                    </a:lnTo>
                    <a:lnTo>
                      <a:pt x="478" y="440"/>
                    </a:lnTo>
                    <a:lnTo>
                      <a:pt x="480" y="450"/>
                    </a:lnTo>
                    <a:lnTo>
                      <a:pt x="480" y="451"/>
                    </a:lnTo>
                    <a:lnTo>
                      <a:pt x="480" y="453"/>
                    </a:lnTo>
                    <a:lnTo>
                      <a:pt x="481" y="453"/>
                    </a:lnTo>
                    <a:lnTo>
                      <a:pt x="481" y="455"/>
                    </a:lnTo>
                    <a:lnTo>
                      <a:pt x="481" y="456"/>
                    </a:lnTo>
                    <a:lnTo>
                      <a:pt x="481" y="458"/>
                    </a:lnTo>
                    <a:lnTo>
                      <a:pt x="481" y="459"/>
                    </a:lnTo>
                    <a:lnTo>
                      <a:pt x="483" y="459"/>
                    </a:lnTo>
                    <a:lnTo>
                      <a:pt x="481" y="459"/>
                    </a:lnTo>
                    <a:lnTo>
                      <a:pt x="481" y="461"/>
                    </a:lnTo>
                    <a:lnTo>
                      <a:pt x="480" y="462"/>
                    </a:lnTo>
                    <a:lnTo>
                      <a:pt x="478" y="462"/>
                    </a:lnTo>
                    <a:lnTo>
                      <a:pt x="478" y="464"/>
                    </a:lnTo>
                    <a:lnTo>
                      <a:pt x="480" y="466"/>
                    </a:lnTo>
                    <a:lnTo>
                      <a:pt x="481" y="466"/>
                    </a:lnTo>
                    <a:lnTo>
                      <a:pt x="483" y="464"/>
                    </a:lnTo>
                    <a:lnTo>
                      <a:pt x="485" y="464"/>
                    </a:lnTo>
                    <a:lnTo>
                      <a:pt x="486" y="464"/>
                    </a:lnTo>
                    <a:lnTo>
                      <a:pt x="486" y="462"/>
                    </a:lnTo>
                    <a:lnTo>
                      <a:pt x="488" y="462"/>
                    </a:lnTo>
                    <a:lnTo>
                      <a:pt x="488" y="464"/>
                    </a:lnTo>
                    <a:lnTo>
                      <a:pt x="489" y="464"/>
                    </a:lnTo>
                    <a:lnTo>
                      <a:pt x="489" y="466"/>
                    </a:lnTo>
                    <a:lnTo>
                      <a:pt x="489" y="467"/>
                    </a:lnTo>
                    <a:lnTo>
                      <a:pt x="489" y="469"/>
                    </a:lnTo>
                    <a:lnTo>
                      <a:pt x="488" y="469"/>
                    </a:lnTo>
                    <a:lnTo>
                      <a:pt x="488" y="470"/>
                    </a:lnTo>
                    <a:lnTo>
                      <a:pt x="488" y="472"/>
                    </a:lnTo>
                    <a:lnTo>
                      <a:pt x="486" y="472"/>
                    </a:lnTo>
                    <a:lnTo>
                      <a:pt x="486" y="474"/>
                    </a:lnTo>
                    <a:lnTo>
                      <a:pt x="485" y="475"/>
                    </a:lnTo>
                    <a:lnTo>
                      <a:pt x="485" y="477"/>
                    </a:lnTo>
                    <a:lnTo>
                      <a:pt x="483" y="477"/>
                    </a:lnTo>
                    <a:lnTo>
                      <a:pt x="483" y="478"/>
                    </a:lnTo>
                    <a:lnTo>
                      <a:pt x="481" y="478"/>
                    </a:lnTo>
                    <a:lnTo>
                      <a:pt x="481" y="480"/>
                    </a:lnTo>
                    <a:lnTo>
                      <a:pt x="483" y="480"/>
                    </a:lnTo>
                    <a:lnTo>
                      <a:pt x="483" y="481"/>
                    </a:lnTo>
                    <a:lnTo>
                      <a:pt x="483" y="483"/>
                    </a:lnTo>
                    <a:lnTo>
                      <a:pt x="481" y="485"/>
                    </a:lnTo>
                    <a:lnTo>
                      <a:pt x="478" y="486"/>
                    </a:lnTo>
                    <a:lnTo>
                      <a:pt x="477" y="485"/>
                    </a:lnTo>
                    <a:lnTo>
                      <a:pt x="475" y="485"/>
                    </a:lnTo>
                    <a:lnTo>
                      <a:pt x="475" y="486"/>
                    </a:lnTo>
                    <a:lnTo>
                      <a:pt x="477" y="486"/>
                    </a:lnTo>
                    <a:lnTo>
                      <a:pt x="477" y="488"/>
                    </a:lnTo>
                    <a:lnTo>
                      <a:pt x="475" y="489"/>
                    </a:lnTo>
                    <a:lnTo>
                      <a:pt x="475" y="491"/>
                    </a:lnTo>
                    <a:lnTo>
                      <a:pt x="475" y="493"/>
                    </a:lnTo>
                    <a:lnTo>
                      <a:pt x="475" y="494"/>
                    </a:lnTo>
                    <a:lnTo>
                      <a:pt x="475" y="496"/>
                    </a:lnTo>
                    <a:lnTo>
                      <a:pt x="477" y="496"/>
                    </a:lnTo>
                    <a:lnTo>
                      <a:pt x="477" y="497"/>
                    </a:lnTo>
                    <a:lnTo>
                      <a:pt x="477" y="499"/>
                    </a:lnTo>
                    <a:lnTo>
                      <a:pt x="478" y="499"/>
                    </a:lnTo>
                    <a:lnTo>
                      <a:pt x="478" y="500"/>
                    </a:lnTo>
                    <a:lnTo>
                      <a:pt x="480" y="500"/>
                    </a:lnTo>
                    <a:lnTo>
                      <a:pt x="480" y="502"/>
                    </a:lnTo>
                    <a:lnTo>
                      <a:pt x="478" y="502"/>
                    </a:lnTo>
                    <a:lnTo>
                      <a:pt x="480" y="502"/>
                    </a:lnTo>
                    <a:lnTo>
                      <a:pt x="478" y="504"/>
                    </a:lnTo>
                    <a:lnTo>
                      <a:pt x="478" y="505"/>
                    </a:lnTo>
                    <a:lnTo>
                      <a:pt x="477" y="507"/>
                    </a:lnTo>
                    <a:lnTo>
                      <a:pt x="477" y="508"/>
                    </a:lnTo>
                    <a:lnTo>
                      <a:pt x="477" y="510"/>
                    </a:lnTo>
                    <a:lnTo>
                      <a:pt x="475" y="510"/>
                    </a:lnTo>
                    <a:lnTo>
                      <a:pt x="474" y="510"/>
                    </a:lnTo>
                    <a:lnTo>
                      <a:pt x="474" y="512"/>
                    </a:lnTo>
                    <a:lnTo>
                      <a:pt x="474" y="513"/>
                    </a:lnTo>
                    <a:lnTo>
                      <a:pt x="474" y="515"/>
                    </a:lnTo>
                    <a:lnTo>
                      <a:pt x="474" y="516"/>
                    </a:lnTo>
                    <a:lnTo>
                      <a:pt x="475" y="516"/>
                    </a:lnTo>
                    <a:lnTo>
                      <a:pt x="475" y="518"/>
                    </a:lnTo>
                    <a:lnTo>
                      <a:pt x="477" y="518"/>
                    </a:lnTo>
                    <a:lnTo>
                      <a:pt x="478" y="518"/>
                    </a:lnTo>
                    <a:lnTo>
                      <a:pt x="480" y="518"/>
                    </a:lnTo>
                    <a:lnTo>
                      <a:pt x="480" y="519"/>
                    </a:lnTo>
                    <a:lnTo>
                      <a:pt x="480" y="521"/>
                    </a:lnTo>
                    <a:lnTo>
                      <a:pt x="480" y="523"/>
                    </a:lnTo>
                    <a:lnTo>
                      <a:pt x="478" y="523"/>
                    </a:lnTo>
                    <a:lnTo>
                      <a:pt x="477" y="524"/>
                    </a:lnTo>
                    <a:lnTo>
                      <a:pt x="477" y="526"/>
                    </a:lnTo>
                    <a:lnTo>
                      <a:pt x="475" y="526"/>
                    </a:lnTo>
                    <a:lnTo>
                      <a:pt x="474" y="526"/>
                    </a:lnTo>
                    <a:lnTo>
                      <a:pt x="474" y="527"/>
                    </a:lnTo>
                    <a:lnTo>
                      <a:pt x="483" y="538"/>
                    </a:lnTo>
                    <a:lnTo>
                      <a:pt x="497" y="538"/>
                    </a:lnTo>
                    <a:lnTo>
                      <a:pt x="504" y="545"/>
                    </a:lnTo>
                    <a:lnTo>
                      <a:pt x="512" y="558"/>
                    </a:lnTo>
                    <a:lnTo>
                      <a:pt x="512" y="569"/>
                    </a:lnTo>
                    <a:lnTo>
                      <a:pt x="512" y="575"/>
                    </a:lnTo>
                    <a:lnTo>
                      <a:pt x="508" y="584"/>
                    </a:lnTo>
                    <a:lnTo>
                      <a:pt x="504" y="600"/>
                    </a:lnTo>
                    <a:lnTo>
                      <a:pt x="489" y="613"/>
                    </a:lnTo>
                    <a:lnTo>
                      <a:pt x="485" y="627"/>
                    </a:lnTo>
                    <a:lnTo>
                      <a:pt x="483" y="641"/>
                    </a:lnTo>
                    <a:lnTo>
                      <a:pt x="481" y="654"/>
                    </a:lnTo>
                    <a:lnTo>
                      <a:pt x="488" y="657"/>
                    </a:lnTo>
                    <a:lnTo>
                      <a:pt x="488" y="662"/>
                    </a:lnTo>
                    <a:lnTo>
                      <a:pt x="488" y="680"/>
                    </a:lnTo>
                    <a:lnTo>
                      <a:pt x="486" y="687"/>
                    </a:lnTo>
                    <a:lnTo>
                      <a:pt x="480" y="692"/>
                    </a:lnTo>
                    <a:lnTo>
                      <a:pt x="478" y="694"/>
                    </a:lnTo>
                    <a:lnTo>
                      <a:pt x="477" y="694"/>
                    </a:lnTo>
                    <a:lnTo>
                      <a:pt x="474" y="694"/>
                    </a:lnTo>
                    <a:lnTo>
                      <a:pt x="472" y="694"/>
                    </a:lnTo>
                    <a:lnTo>
                      <a:pt x="470" y="694"/>
                    </a:lnTo>
                    <a:lnTo>
                      <a:pt x="469" y="695"/>
                    </a:lnTo>
                    <a:lnTo>
                      <a:pt x="467" y="695"/>
                    </a:lnTo>
                    <a:lnTo>
                      <a:pt x="466" y="697"/>
                    </a:lnTo>
                    <a:lnTo>
                      <a:pt x="464" y="697"/>
                    </a:lnTo>
                    <a:lnTo>
                      <a:pt x="462" y="697"/>
                    </a:lnTo>
                    <a:lnTo>
                      <a:pt x="461" y="697"/>
                    </a:lnTo>
                    <a:lnTo>
                      <a:pt x="459" y="697"/>
                    </a:lnTo>
                    <a:lnTo>
                      <a:pt x="458" y="699"/>
                    </a:lnTo>
                    <a:lnTo>
                      <a:pt x="456" y="699"/>
                    </a:lnTo>
                    <a:lnTo>
                      <a:pt x="455" y="697"/>
                    </a:lnTo>
                    <a:lnTo>
                      <a:pt x="451" y="697"/>
                    </a:lnTo>
                    <a:lnTo>
                      <a:pt x="450" y="697"/>
                    </a:lnTo>
                    <a:lnTo>
                      <a:pt x="448" y="697"/>
                    </a:lnTo>
                    <a:lnTo>
                      <a:pt x="447" y="699"/>
                    </a:lnTo>
                    <a:lnTo>
                      <a:pt x="445" y="699"/>
                    </a:lnTo>
                    <a:lnTo>
                      <a:pt x="443" y="699"/>
                    </a:lnTo>
                    <a:lnTo>
                      <a:pt x="442" y="699"/>
                    </a:lnTo>
                    <a:lnTo>
                      <a:pt x="440" y="699"/>
                    </a:lnTo>
                    <a:lnTo>
                      <a:pt x="439" y="699"/>
                    </a:lnTo>
                    <a:lnTo>
                      <a:pt x="437" y="699"/>
                    </a:lnTo>
                    <a:lnTo>
                      <a:pt x="436" y="699"/>
                    </a:lnTo>
                    <a:lnTo>
                      <a:pt x="434" y="699"/>
                    </a:lnTo>
                    <a:lnTo>
                      <a:pt x="434" y="700"/>
                    </a:lnTo>
                    <a:lnTo>
                      <a:pt x="434" y="702"/>
                    </a:lnTo>
                    <a:lnTo>
                      <a:pt x="434" y="703"/>
                    </a:lnTo>
                    <a:lnTo>
                      <a:pt x="432" y="703"/>
                    </a:lnTo>
                    <a:lnTo>
                      <a:pt x="432" y="705"/>
                    </a:lnTo>
                    <a:lnTo>
                      <a:pt x="431" y="706"/>
                    </a:lnTo>
                    <a:lnTo>
                      <a:pt x="429" y="706"/>
                    </a:lnTo>
                    <a:lnTo>
                      <a:pt x="428" y="706"/>
                    </a:lnTo>
                    <a:lnTo>
                      <a:pt x="426" y="706"/>
                    </a:lnTo>
                    <a:lnTo>
                      <a:pt x="426" y="708"/>
                    </a:lnTo>
                    <a:lnTo>
                      <a:pt x="424" y="708"/>
                    </a:lnTo>
                    <a:lnTo>
                      <a:pt x="424" y="710"/>
                    </a:lnTo>
                    <a:lnTo>
                      <a:pt x="423" y="710"/>
                    </a:lnTo>
                    <a:lnTo>
                      <a:pt x="421" y="711"/>
                    </a:lnTo>
                    <a:lnTo>
                      <a:pt x="420" y="711"/>
                    </a:lnTo>
                    <a:lnTo>
                      <a:pt x="418" y="711"/>
                    </a:lnTo>
                    <a:lnTo>
                      <a:pt x="417" y="711"/>
                    </a:lnTo>
                    <a:lnTo>
                      <a:pt x="415" y="711"/>
                    </a:lnTo>
                    <a:lnTo>
                      <a:pt x="413" y="713"/>
                    </a:lnTo>
                    <a:lnTo>
                      <a:pt x="412" y="713"/>
                    </a:lnTo>
                    <a:lnTo>
                      <a:pt x="410" y="713"/>
                    </a:lnTo>
                    <a:lnTo>
                      <a:pt x="409" y="713"/>
                    </a:lnTo>
                    <a:lnTo>
                      <a:pt x="410" y="713"/>
                    </a:lnTo>
                    <a:lnTo>
                      <a:pt x="410" y="711"/>
                    </a:lnTo>
                    <a:lnTo>
                      <a:pt x="410" y="710"/>
                    </a:lnTo>
                    <a:lnTo>
                      <a:pt x="412" y="710"/>
                    </a:lnTo>
                    <a:lnTo>
                      <a:pt x="412" y="708"/>
                    </a:lnTo>
                    <a:lnTo>
                      <a:pt x="412" y="706"/>
                    </a:lnTo>
                    <a:lnTo>
                      <a:pt x="412" y="705"/>
                    </a:lnTo>
                    <a:lnTo>
                      <a:pt x="412" y="703"/>
                    </a:lnTo>
                    <a:lnTo>
                      <a:pt x="412" y="702"/>
                    </a:lnTo>
                    <a:lnTo>
                      <a:pt x="410" y="700"/>
                    </a:lnTo>
                    <a:lnTo>
                      <a:pt x="410" y="699"/>
                    </a:lnTo>
                    <a:lnTo>
                      <a:pt x="409" y="697"/>
                    </a:lnTo>
                    <a:lnTo>
                      <a:pt x="409" y="695"/>
                    </a:lnTo>
                    <a:lnTo>
                      <a:pt x="409" y="694"/>
                    </a:lnTo>
                    <a:lnTo>
                      <a:pt x="409" y="692"/>
                    </a:lnTo>
                    <a:lnTo>
                      <a:pt x="407" y="691"/>
                    </a:lnTo>
                    <a:lnTo>
                      <a:pt x="405" y="691"/>
                    </a:lnTo>
                    <a:lnTo>
                      <a:pt x="404" y="691"/>
                    </a:lnTo>
                    <a:lnTo>
                      <a:pt x="402" y="691"/>
                    </a:lnTo>
                    <a:lnTo>
                      <a:pt x="401" y="691"/>
                    </a:lnTo>
                    <a:lnTo>
                      <a:pt x="399" y="691"/>
                    </a:lnTo>
                    <a:lnTo>
                      <a:pt x="398" y="691"/>
                    </a:lnTo>
                    <a:lnTo>
                      <a:pt x="396" y="691"/>
                    </a:lnTo>
                    <a:lnTo>
                      <a:pt x="394" y="691"/>
                    </a:lnTo>
                    <a:lnTo>
                      <a:pt x="393" y="692"/>
                    </a:lnTo>
                    <a:lnTo>
                      <a:pt x="391" y="692"/>
                    </a:lnTo>
                    <a:lnTo>
                      <a:pt x="390" y="692"/>
                    </a:lnTo>
                    <a:lnTo>
                      <a:pt x="388" y="691"/>
                    </a:lnTo>
                    <a:lnTo>
                      <a:pt x="386" y="691"/>
                    </a:lnTo>
                    <a:lnTo>
                      <a:pt x="385" y="691"/>
                    </a:lnTo>
                    <a:lnTo>
                      <a:pt x="383" y="691"/>
                    </a:lnTo>
                    <a:lnTo>
                      <a:pt x="383" y="689"/>
                    </a:lnTo>
                    <a:lnTo>
                      <a:pt x="382" y="689"/>
                    </a:lnTo>
                    <a:lnTo>
                      <a:pt x="380" y="689"/>
                    </a:lnTo>
                    <a:lnTo>
                      <a:pt x="379" y="689"/>
                    </a:lnTo>
                    <a:lnTo>
                      <a:pt x="377" y="689"/>
                    </a:lnTo>
                    <a:lnTo>
                      <a:pt x="375" y="689"/>
                    </a:lnTo>
                    <a:lnTo>
                      <a:pt x="374" y="689"/>
                    </a:lnTo>
                    <a:lnTo>
                      <a:pt x="372" y="689"/>
                    </a:lnTo>
                    <a:lnTo>
                      <a:pt x="372" y="691"/>
                    </a:lnTo>
                    <a:lnTo>
                      <a:pt x="371" y="691"/>
                    </a:lnTo>
                    <a:lnTo>
                      <a:pt x="371" y="692"/>
                    </a:lnTo>
                    <a:lnTo>
                      <a:pt x="369" y="692"/>
                    </a:lnTo>
                    <a:lnTo>
                      <a:pt x="367" y="692"/>
                    </a:lnTo>
                    <a:lnTo>
                      <a:pt x="367" y="691"/>
                    </a:lnTo>
                    <a:lnTo>
                      <a:pt x="366" y="692"/>
                    </a:lnTo>
                    <a:lnTo>
                      <a:pt x="364" y="692"/>
                    </a:lnTo>
                    <a:lnTo>
                      <a:pt x="363" y="692"/>
                    </a:lnTo>
                    <a:lnTo>
                      <a:pt x="363" y="694"/>
                    </a:lnTo>
                    <a:lnTo>
                      <a:pt x="361" y="694"/>
                    </a:lnTo>
                    <a:lnTo>
                      <a:pt x="360" y="694"/>
                    </a:lnTo>
                    <a:lnTo>
                      <a:pt x="360" y="695"/>
                    </a:lnTo>
                    <a:lnTo>
                      <a:pt x="361" y="695"/>
                    </a:lnTo>
                    <a:lnTo>
                      <a:pt x="361" y="697"/>
                    </a:lnTo>
                    <a:lnTo>
                      <a:pt x="361" y="699"/>
                    </a:lnTo>
                    <a:lnTo>
                      <a:pt x="360" y="699"/>
                    </a:lnTo>
                    <a:lnTo>
                      <a:pt x="360" y="700"/>
                    </a:lnTo>
                    <a:lnTo>
                      <a:pt x="358" y="700"/>
                    </a:lnTo>
                    <a:lnTo>
                      <a:pt x="356" y="700"/>
                    </a:lnTo>
                    <a:lnTo>
                      <a:pt x="355" y="700"/>
                    </a:lnTo>
                    <a:lnTo>
                      <a:pt x="355" y="702"/>
                    </a:lnTo>
                    <a:lnTo>
                      <a:pt x="353" y="700"/>
                    </a:lnTo>
                    <a:lnTo>
                      <a:pt x="353" y="699"/>
                    </a:lnTo>
                    <a:lnTo>
                      <a:pt x="352" y="699"/>
                    </a:lnTo>
                    <a:lnTo>
                      <a:pt x="350" y="699"/>
                    </a:lnTo>
                    <a:lnTo>
                      <a:pt x="350" y="700"/>
                    </a:lnTo>
                    <a:lnTo>
                      <a:pt x="350" y="699"/>
                    </a:lnTo>
                    <a:lnTo>
                      <a:pt x="348" y="699"/>
                    </a:lnTo>
                    <a:lnTo>
                      <a:pt x="347" y="699"/>
                    </a:lnTo>
                    <a:lnTo>
                      <a:pt x="345" y="699"/>
                    </a:lnTo>
                    <a:lnTo>
                      <a:pt x="344" y="700"/>
                    </a:lnTo>
                    <a:lnTo>
                      <a:pt x="342" y="700"/>
                    </a:lnTo>
                    <a:lnTo>
                      <a:pt x="341" y="700"/>
                    </a:lnTo>
                    <a:lnTo>
                      <a:pt x="339" y="700"/>
                    </a:lnTo>
                    <a:lnTo>
                      <a:pt x="337" y="700"/>
                    </a:lnTo>
                    <a:lnTo>
                      <a:pt x="336" y="700"/>
                    </a:lnTo>
                    <a:lnTo>
                      <a:pt x="336" y="699"/>
                    </a:lnTo>
                    <a:lnTo>
                      <a:pt x="334" y="699"/>
                    </a:lnTo>
                    <a:lnTo>
                      <a:pt x="334" y="697"/>
                    </a:lnTo>
                    <a:lnTo>
                      <a:pt x="333" y="695"/>
                    </a:lnTo>
                    <a:lnTo>
                      <a:pt x="333" y="694"/>
                    </a:lnTo>
                    <a:lnTo>
                      <a:pt x="331" y="694"/>
                    </a:lnTo>
                    <a:lnTo>
                      <a:pt x="331" y="692"/>
                    </a:lnTo>
                    <a:lnTo>
                      <a:pt x="329" y="691"/>
                    </a:lnTo>
                    <a:lnTo>
                      <a:pt x="329" y="689"/>
                    </a:lnTo>
                    <a:lnTo>
                      <a:pt x="328" y="689"/>
                    </a:lnTo>
                    <a:lnTo>
                      <a:pt x="328" y="687"/>
                    </a:lnTo>
                    <a:lnTo>
                      <a:pt x="326" y="687"/>
                    </a:lnTo>
                    <a:lnTo>
                      <a:pt x="326" y="686"/>
                    </a:lnTo>
                    <a:lnTo>
                      <a:pt x="325" y="686"/>
                    </a:lnTo>
                    <a:lnTo>
                      <a:pt x="325" y="684"/>
                    </a:lnTo>
                    <a:lnTo>
                      <a:pt x="325" y="683"/>
                    </a:lnTo>
                    <a:lnTo>
                      <a:pt x="325" y="681"/>
                    </a:lnTo>
                    <a:lnTo>
                      <a:pt x="325" y="680"/>
                    </a:lnTo>
                    <a:lnTo>
                      <a:pt x="323" y="678"/>
                    </a:lnTo>
                    <a:lnTo>
                      <a:pt x="323" y="676"/>
                    </a:lnTo>
                    <a:lnTo>
                      <a:pt x="323" y="675"/>
                    </a:lnTo>
                    <a:lnTo>
                      <a:pt x="323" y="673"/>
                    </a:lnTo>
                    <a:lnTo>
                      <a:pt x="323" y="672"/>
                    </a:lnTo>
                    <a:lnTo>
                      <a:pt x="323" y="670"/>
                    </a:lnTo>
                    <a:lnTo>
                      <a:pt x="323" y="667"/>
                    </a:lnTo>
                    <a:lnTo>
                      <a:pt x="323" y="665"/>
                    </a:lnTo>
                    <a:lnTo>
                      <a:pt x="323" y="664"/>
                    </a:lnTo>
                    <a:lnTo>
                      <a:pt x="323" y="662"/>
                    </a:lnTo>
                    <a:lnTo>
                      <a:pt x="323" y="661"/>
                    </a:lnTo>
                    <a:lnTo>
                      <a:pt x="323" y="659"/>
                    </a:lnTo>
                    <a:lnTo>
                      <a:pt x="322" y="659"/>
                    </a:lnTo>
                    <a:lnTo>
                      <a:pt x="322" y="657"/>
                    </a:lnTo>
                    <a:lnTo>
                      <a:pt x="322" y="656"/>
                    </a:lnTo>
                    <a:lnTo>
                      <a:pt x="322" y="654"/>
                    </a:lnTo>
                    <a:lnTo>
                      <a:pt x="322" y="653"/>
                    </a:lnTo>
                    <a:lnTo>
                      <a:pt x="322" y="651"/>
                    </a:lnTo>
                    <a:lnTo>
                      <a:pt x="322" y="649"/>
                    </a:lnTo>
                    <a:lnTo>
                      <a:pt x="322" y="648"/>
                    </a:lnTo>
                    <a:lnTo>
                      <a:pt x="322" y="646"/>
                    </a:lnTo>
                    <a:lnTo>
                      <a:pt x="320" y="646"/>
                    </a:lnTo>
                    <a:lnTo>
                      <a:pt x="320" y="645"/>
                    </a:lnTo>
                    <a:lnTo>
                      <a:pt x="320" y="643"/>
                    </a:lnTo>
                    <a:lnTo>
                      <a:pt x="320" y="641"/>
                    </a:lnTo>
                    <a:lnTo>
                      <a:pt x="320" y="640"/>
                    </a:lnTo>
                    <a:lnTo>
                      <a:pt x="318" y="640"/>
                    </a:lnTo>
                    <a:lnTo>
                      <a:pt x="318" y="638"/>
                    </a:lnTo>
                    <a:lnTo>
                      <a:pt x="318" y="637"/>
                    </a:lnTo>
                    <a:lnTo>
                      <a:pt x="317" y="637"/>
                    </a:lnTo>
                    <a:lnTo>
                      <a:pt x="318" y="635"/>
                    </a:lnTo>
                    <a:lnTo>
                      <a:pt x="318" y="634"/>
                    </a:lnTo>
                    <a:lnTo>
                      <a:pt x="317" y="634"/>
                    </a:lnTo>
                    <a:lnTo>
                      <a:pt x="317" y="632"/>
                    </a:lnTo>
                    <a:lnTo>
                      <a:pt x="317" y="630"/>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71" name="Freeform 69"/>
              <p:cNvSpPr>
                <a:spLocks/>
              </p:cNvSpPr>
              <p:nvPr/>
            </p:nvSpPr>
            <p:spPr bwMode="auto">
              <a:xfrm>
                <a:off x="2653" y="1014"/>
                <a:ext cx="632" cy="321"/>
              </a:xfrm>
              <a:custGeom>
                <a:avLst/>
                <a:gdLst>
                  <a:gd name="T0" fmla="*/ 594 w 632"/>
                  <a:gd name="T1" fmla="*/ 302 h 321"/>
                  <a:gd name="T2" fmla="*/ 594 w 632"/>
                  <a:gd name="T3" fmla="*/ 287 h 321"/>
                  <a:gd name="T4" fmla="*/ 613 w 632"/>
                  <a:gd name="T5" fmla="*/ 280 h 321"/>
                  <a:gd name="T6" fmla="*/ 618 w 632"/>
                  <a:gd name="T7" fmla="*/ 268 h 321"/>
                  <a:gd name="T8" fmla="*/ 622 w 632"/>
                  <a:gd name="T9" fmla="*/ 256 h 321"/>
                  <a:gd name="T10" fmla="*/ 626 w 632"/>
                  <a:gd name="T11" fmla="*/ 244 h 321"/>
                  <a:gd name="T12" fmla="*/ 632 w 632"/>
                  <a:gd name="T13" fmla="*/ 228 h 321"/>
                  <a:gd name="T14" fmla="*/ 616 w 632"/>
                  <a:gd name="T15" fmla="*/ 214 h 321"/>
                  <a:gd name="T16" fmla="*/ 605 w 632"/>
                  <a:gd name="T17" fmla="*/ 204 h 321"/>
                  <a:gd name="T18" fmla="*/ 607 w 632"/>
                  <a:gd name="T19" fmla="*/ 182 h 321"/>
                  <a:gd name="T20" fmla="*/ 587 w 632"/>
                  <a:gd name="T21" fmla="*/ 180 h 321"/>
                  <a:gd name="T22" fmla="*/ 572 w 632"/>
                  <a:gd name="T23" fmla="*/ 191 h 321"/>
                  <a:gd name="T24" fmla="*/ 556 w 632"/>
                  <a:gd name="T25" fmla="*/ 187 h 321"/>
                  <a:gd name="T26" fmla="*/ 540 w 632"/>
                  <a:gd name="T27" fmla="*/ 177 h 321"/>
                  <a:gd name="T28" fmla="*/ 540 w 632"/>
                  <a:gd name="T29" fmla="*/ 153 h 321"/>
                  <a:gd name="T30" fmla="*/ 549 w 632"/>
                  <a:gd name="T31" fmla="*/ 136 h 321"/>
                  <a:gd name="T32" fmla="*/ 537 w 632"/>
                  <a:gd name="T33" fmla="*/ 127 h 321"/>
                  <a:gd name="T34" fmla="*/ 526 w 632"/>
                  <a:gd name="T35" fmla="*/ 117 h 321"/>
                  <a:gd name="T36" fmla="*/ 507 w 632"/>
                  <a:gd name="T37" fmla="*/ 115 h 321"/>
                  <a:gd name="T38" fmla="*/ 485 w 632"/>
                  <a:gd name="T39" fmla="*/ 117 h 321"/>
                  <a:gd name="T40" fmla="*/ 461 w 632"/>
                  <a:gd name="T41" fmla="*/ 109 h 321"/>
                  <a:gd name="T42" fmla="*/ 461 w 632"/>
                  <a:gd name="T43" fmla="*/ 95 h 321"/>
                  <a:gd name="T44" fmla="*/ 459 w 632"/>
                  <a:gd name="T45" fmla="*/ 74 h 321"/>
                  <a:gd name="T46" fmla="*/ 451 w 632"/>
                  <a:gd name="T47" fmla="*/ 57 h 321"/>
                  <a:gd name="T48" fmla="*/ 440 w 632"/>
                  <a:gd name="T49" fmla="*/ 38 h 321"/>
                  <a:gd name="T50" fmla="*/ 420 w 632"/>
                  <a:gd name="T51" fmla="*/ 35 h 321"/>
                  <a:gd name="T52" fmla="*/ 401 w 632"/>
                  <a:gd name="T53" fmla="*/ 46 h 321"/>
                  <a:gd name="T54" fmla="*/ 380 w 632"/>
                  <a:gd name="T55" fmla="*/ 50 h 321"/>
                  <a:gd name="T56" fmla="*/ 391 w 632"/>
                  <a:gd name="T57" fmla="*/ 36 h 321"/>
                  <a:gd name="T58" fmla="*/ 405 w 632"/>
                  <a:gd name="T59" fmla="*/ 25 h 321"/>
                  <a:gd name="T60" fmla="*/ 385 w 632"/>
                  <a:gd name="T61" fmla="*/ 24 h 321"/>
                  <a:gd name="T62" fmla="*/ 377 w 632"/>
                  <a:gd name="T63" fmla="*/ 16 h 321"/>
                  <a:gd name="T64" fmla="*/ 366 w 632"/>
                  <a:gd name="T65" fmla="*/ 28 h 321"/>
                  <a:gd name="T66" fmla="*/ 356 w 632"/>
                  <a:gd name="T67" fmla="*/ 30 h 321"/>
                  <a:gd name="T68" fmla="*/ 345 w 632"/>
                  <a:gd name="T69" fmla="*/ 28 h 321"/>
                  <a:gd name="T70" fmla="*/ 344 w 632"/>
                  <a:gd name="T71" fmla="*/ 36 h 321"/>
                  <a:gd name="T72" fmla="*/ 332 w 632"/>
                  <a:gd name="T73" fmla="*/ 39 h 321"/>
                  <a:gd name="T74" fmla="*/ 323 w 632"/>
                  <a:gd name="T75" fmla="*/ 44 h 321"/>
                  <a:gd name="T76" fmla="*/ 310 w 632"/>
                  <a:gd name="T77" fmla="*/ 43 h 321"/>
                  <a:gd name="T78" fmla="*/ 290 w 632"/>
                  <a:gd name="T79" fmla="*/ 47 h 321"/>
                  <a:gd name="T80" fmla="*/ 274 w 632"/>
                  <a:gd name="T81" fmla="*/ 44 h 321"/>
                  <a:gd name="T82" fmla="*/ 260 w 632"/>
                  <a:gd name="T83" fmla="*/ 46 h 321"/>
                  <a:gd name="T84" fmla="*/ 245 w 632"/>
                  <a:gd name="T85" fmla="*/ 41 h 321"/>
                  <a:gd name="T86" fmla="*/ 233 w 632"/>
                  <a:gd name="T87" fmla="*/ 36 h 321"/>
                  <a:gd name="T88" fmla="*/ 210 w 632"/>
                  <a:gd name="T89" fmla="*/ 30 h 321"/>
                  <a:gd name="T90" fmla="*/ 191 w 632"/>
                  <a:gd name="T91" fmla="*/ 11 h 321"/>
                  <a:gd name="T92" fmla="*/ 177 w 632"/>
                  <a:gd name="T93" fmla="*/ 6 h 321"/>
                  <a:gd name="T94" fmla="*/ 171 w 632"/>
                  <a:gd name="T95" fmla="*/ 19 h 321"/>
                  <a:gd name="T96" fmla="*/ 161 w 632"/>
                  <a:gd name="T97" fmla="*/ 35 h 321"/>
                  <a:gd name="T98" fmla="*/ 155 w 632"/>
                  <a:gd name="T99" fmla="*/ 50 h 321"/>
                  <a:gd name="T100" fmla="*/ 142 w 632"/>
                  <a:gd name="T101" fmla="*/ 63 h 321"/>
                  <a:gd name="T102" fmla="*/ 123 w 632"/>
                  <a:gd name="T103" fmla="*/ 69 h 321"/>
                  <a:gd name="T104" fmla="*/ 104 w 632"/>
                  <a:gd name="T105" fmla="*/ 79 h 321"/>
                  <a:gd name="T106" fmla="*/ 85 w 632"/>
                  <a:gd name="T107" fmla="*/ 82 h 321"/>
                  <a:gd name="T108" fmla="*/ 70 w 632"/>
                  <a:gd name="T109" fmla="*/ 82 h 321"/>
                  <a:gd name="T110" fmla="*/ 49 w 632"/>
                  <a:gd name="T111" fmla="*/ 79 h 321"/>
                  <a:gd name="T112" fmla="*/ 39 w 632"/>
                  <a:gd name="T113" fmla="*/ 77 h 321"/>
                  <a:gd name="T114" fmla="*/ 38 w 632"/>
                  <a:gd name="T115" fmla="*/ 74 h 321"/>
                  <a:gd name="T116" fmla="*/ 24 w 632"/>
                  <a:gd name="T117" fmla="*/ 65 h 321"/>
                  <a:gd name="T118" fmla="*/ 8 w 632"/>
                  <a:gd name="T119" fmla="*/ 58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2" h="321">
                    <a:moveTo>
                      <a:pt x="602" y="321"/>
                    </a:moveTo>
                    <a:lnTo>
                      <a:pt x="602" y="320"/>
                    </a:lnTo>
                    <a:lnTo>
                      <a:pt x="600" y="320"/>
                    </a:lnTo>
                    <a:lnTo>
                      <a:pt x="600" y="318"/>
                    </a:lnTo>
                    <a:lnTo>
                      <a:pt x="599" y="318"/>
                    </a:lnTo>
                    <a:lnTo>
                      <a:pt x="599" y="317"/>
                    </a:lnTo>
                    <a:lnTo>
                      <a:pt x="599" y="315"/>
                    </a:lnTo>
                    <a:lnTo>
                      <a:pt x="599" y="313"/>
                    </a:lnTo>
                    <a:lnTo>
                      <a:pt x="599" y="312"/>
                    </a:lnTo>
                    <a:lnTo>
                      <a:pt x="597" y="312"/>
                    </a:lnTo>
                    <a:lnTo>
                      <a:pt x="597" y="310"/>
                    </a:lnTo>
                    <a:lnTo>
                      <a:pt x="597" y="309"/>
                    </a:lnTo>
                    <a:lnTo>
                      <a:pt x="597" y="307"/>
                    </a:lnTo>
                    <a:lnTo>
                      <a:pt x="595" y="307"/>
                    </a:lnTo>
                    <a:lnTo>
                      <a:pt x="595" y="306"/>
                    </a:lnTo>
                    <a:lnTo>
                      <a:pt x="594" y="304"/>
                    </a:lnTo>
                    <a:lnTo>
                      <a:pt x="594" y="302"/>
                    </a:lnTo>
                    <a:lnTo>
                      <a:pt x="592" y="302"/>
                    </a:lnTo>
                    <a:lnTo>
                      <a:pt x="592" y="301"/>
                    </a:lnTo>
                    <a:lnTo>
                      <a:pt x="591" y="299"/>
                    </a:lnTo>
                    <a:lnTo>
                      <a:pt x="591" y="298"/>
                    </a:lnTo>
                    <a:lnTo>
                      <a:pt x="591" y="296"/>
                    </a:lnTo>
                    <a:lnTo>
                      <a:pt x="592" y="296"/>
                    </a:lnTo>
                    <a:lnTo>
                      <a:pt x="592" y="294"/>
                    </a:lnTo>
                    <a:lnTo>
                      <a:pt x="591" y="294"/>
                    </a:lnTo>
                    <a:lnTo>
                      <a:pt x="591" y="293"/>
                    </a:lnTo>
                    <a:lnTo>
                      <a:pt x="589" y="293"/>
                    </a:lnTo>
                    <a:lnTo>
                      <a:pt x="589" y="291"/>
                    </a:lnTo>
                    <a:lnTo>
                      <a:pt x="589" y="290"/>
                    </a:lnTo>
                    <a:lnTo>
                      <a:pt x="589" y="288"/>
                    </a:lnTo>
                    <a:lnTo>
                      <a:pt x="591" y="288"/>
                    </a:lnTo>
                    <a:lnTo>
                      <a:pt x="591" y="287"/>
                    </a:lnTo>
                    <a:lnTo>
                      <a:pt x="592" y="287"/>
                    </a:lnTo>
                    <a:lnTo>
                      <a:pt x="594" y="287"/>
                    </a:lnTo>
                    <a:lnTo>
                      <a:pt x="595" y="287"/>
                    </a:lnTo>
                    <a:lnTo>
                      <a:pt x="595" y="285"/>
                    </a:lnTo>
                    <a:lnTo>
                      <a:pt x="597" y="285"/>
                    </a:lnTo>
                    <a:lnTo>
                      <a:pt x="599" y="285"/>
                    </a:lnTo>
                    <a:lnTo>
                      <a:pt x="600" y="285"/>
                    </a:lnTo>
                    <a:lnTo>
                      <a:pt x="602" y="285"/>
                    </a:lnTo>
                    <a:lnTo>
                      <a:pt x="602" y="283"/>
                    </a:lnTo>
                    <a:lnTo>
                      <a:pt x="603" y="283"/>
                    </a:lnTo>
                    <a:lnTo>
                      <a:pt x="605" y="283"/>
                    </a:lnTo>
                    <a:lnTo>
                      <a:pt x="607" y="283"/>
                    </a:lnTo>
                    <a:lnTo>
                      <a:pt x="607" y="285"/>
                    </a:lnTo>
                    <a:lnTo>
                      <a:pt x="608" y="285"/>
                    </a:lnTo>
                    <a:lnTo>
                      <a:pt x="608" y="283"/>
                    </a:lnTo>
                    <a:lnTo>
                      <a:pt x="610" y="283"/>
                    </a:lnTo>
                    <a:lnTo>
                      <a:pt x="611" y="282"/>
                    </a:lnTo>
                    <a:lnTo>
                      <a:pt x="613" y="282"/>
                    </a:lnTo>
                    <a:lnTo>
                      <a:pt x="613" y="280"/>
                    </a:lnTo>
                    <a:lnTo>
                      <a:pt x="614" y="280"/>
                    </a:lnTo>
                    <a:lnTo>
                      <a:pt x="616" y="280"/>
                    </a:lnTo>
                    <a:lnTo>
                      <a:pt x="618" y="280"/>
                    </a:lnTo>
                    <a:lnTo>
                      <a:pt x="618" y="279"/>
                    </a:lnTo>
                    <a:lnTo>
                      <a:pt x="619" y="279"/>
                    </a:lnTo>
                    <a:lnTo>
                      <a:pt x="619" y="277"/>
                    </a:lnTo>
                    <a:lnTo>
                      <a:pt x="621" y="277"/>
                    </a:lnTo>
                    <a:lnTo>
                      <a:pt x="621" y="275"/>
                    </a:lnTo>
                    <a:lnTo>
                      <a:pt x="622" y="275"/>
                    </a:lnTo>
                    <a:lnTo>
                      <a:pt x="624" y="274"/>
                    </a:lnTo>
                    <a:lnTo>
                      <a:pt x="622" y="274"/>
                    </a:lnTo>
                    <a:lnTo>
                      <a:pt x="622" y="272"/>
                    </a:lnTo>
                    <a:lnTo>
                      <a:pt x="621" y="272"/>
                    </a:lnTo>
                    <a:lnTo>
                      <a:pt x="621" y="271"/>
                    </a:lnTo>
                    <a:lnTo>
                      <a:pt x="619" y="271"/>
                    </a:lnTo>
                    <a:lnTo>
                      <a:pt x="618" y="269"/>
                    </a:lnTo>
                    <a:lnTo>
                      <a:pt x="618" y="268"/>
                    </a:lnTo>
                    <a:lnTo>
                      <a:pt x="616" y="268"/>
                    </a:lnTo>
                    <a:lnTo>
                      <a:pt x="616" y="266"/>
                    </a:lnTo>
                    <a:lnTo>
                      <a:pt x="618" y="264"/>
                    </a:lnTo>
                    <a:lnTo>
                      <a:pt x="619" y="264"/>
                    </a:lnTo>
                    <a:lnTo>
                      <a:pt x="621" y="264"/>
                    </a:lnTo>
                    <a:lnTo>
                      <a:pt x="621" y="266"/>
                    </a:lnTo>
                    <a:lnTo>
                      <a:pt x="622" y="266"/>
                    </a:lnTo>
                    <a:lnTo>
                      <a:pt x="624" y="266"/>
                    </a:lnTo>
                    <a:lnTo>
                      <a:pt x="624" y="264"/>
                    </a:lnTo>
                    <a:lnTo>
                      <a:pt x="624" y="263"/>
                    </a:lnTo>
                    <a:lnTo>
                      <a:pt x="624" y="261"/>
                    </a:lnTo>
                    <a:lnTo>
                      <a:pt x="626" y="261"/>
                    </a:lnTo>
                    <a:lnTo>
                      <a:pt x="626" y="260"/>
                    </a:lnTo>
                    <a:lnTo>
                      <a:pt x="626" y="258"/>
                    </a:lnTo>
                    <a:lnTo>
                      <a:pt x="624" y="258"/>
                    </a:lnTo>
                    <a:lnTo>
                      <a:pt x="624" y="256"/>
                    </a:lnTo>
                    <a:lnTo>
                      <a:pt x="622" y="256"/>
                    </a:lnTo>
                    <a:lnTo>
                      <a:pt x="621" y="256"/>
                    </a:lnTo>
                    <a:lnTo>
                      <a:pt x="621" y="255"/>
                    </a:lnTo>
                    <a:lnTo>
                      <a:pt x="619" y="255"/>
                    </a:lnTo>
                    <a:lnTo>
                      <a:pt x="618" y="255"/>
                    </a:lnTo>
                    <a:lnTo>
                      <a:pt x="616" y="255"/>
                    </a:lnTo>
                    <a:lnTo>
                      <a:pt x="616" y="253"/>
                    </a:lnTo>
                    <a:lnTo>
                      <a:pt x="616" y="252"/>
                    </a:lnTo>
                    <a:lnTo>
                      <a:pt x="618" y="252"/>
                    </a:lnTo>
                    <a:lnTo>
                      <a:pt x="618" y="250"/>
                    </a:lnTo>
                    <a:lnTo>
                      <a:pt x="618" y="249"/>
                    </a:lnTo>
                    <a:lnTo>
                      <a:pt x="619" y="249"/>
                    </a:lnTo>
                    <a:lnTo>
                      <a:pt x="619" y="247"/>
                    </a:lnTo>
                    <a:lnTo>
                      <a:pt x="621" y="247"/>
                    </a:lnTo>
                    <a:lnTo>
                      <a:pt x="622" y="245"/>
                    </a:lnTo>
                    <a:lnTo>
                      <a:pt x="624" y="245"/>
                    </a:lnTo>
                    <a:lnTo>
                      <a:pt x="626" y="245"/>
                    </a:lnTo>
                    <a:lnTo>
                      <a:pt x="626" y="244"/>
                    </a:lnTo>
                    <a:lnTo>
                      <a:pt x="627" y="244"/>
                    </a:lnTo>
                    <a:lnTo>
                      <a:pt x="627" y="242"/>
                    </a:lnTo>
                    <a:lnTo>
                      <a:pt x="627" y="241"/>
                    </a:lnTo>
                    <a:lnTo>
                      <a:pt x="626" y="241"/>
                    </a:lnTo>
                    <a:lnTo>
                      <a:pt x="624" y="239"/>
                    </a:lnTo>
                    <a:lnTo>
                      <a:pt x="621" y="237"/>
                    </a:lnTo>
                    <a:lnTo>
                      <a:pt x="619" y="237"/>
                    </a:lnTo>
                    <a:lnTo>
                      <a:pt x="619" y="236"/>
                    </a:lnTo>
                    <a:lnTo>
                      <a:pt x="621" y="234"/>
                    </a:lnTo>
                    <a:lnTo>
                      <a:pt x="622" y="233"/>
                    </a:lnTo>
                    <a:lnTo>
                      <a:pt x="624" y="233"/>
                    </a:lnTo>
                    <a:lnTo>
                      <a:pt x="626" y="231"/>
                    </a:lnTo>
                    <a:lnTo>
                      <a:pt x="627" y="231"/>
                    </a:lnTo>
                    <a:lnTo>
                      <a:pt x="629" y="229"/>
                    </a:lnTo>
                    <a:lnTo>
                      <a:pt x="629" y="228"/>
                    </a:lnTo>
                    <a:lnTo>
                      <a:pt x="630" y="228"/>
                    </a:lnTo>
                    <a:lnTo>
                      <a:pt x="632" y="228"/>
                    </a:lnTo>
                    <a:lnTo>
                      <a:pt x="632" y="226"/>
                    </a:lnTo>
                    <a:lnTo>
                      <a:pt x="630" y="226"/>
                    </a:lnTo>
                    <a:lnTo>
                      <a:pt x="629" y="226"/>
                    </a:lnTo>
                    <a:lnTo>
                      <a:pt x="629" y="225"/>
                    </a:lnTo>
                    <a:lnTo>
                      <a:pt x="627" y="223"/>
                    </a:lnTo>
                    <a:lnTo>
                      <a:pt x="624" y="223"/>
                    </a:lnTo>
                    <a:lnTo>
                      <a:pt x="622" y="223"/>
                    </a:lnTo>
                    <a:lnTo>
                      <a:pt x="622" y="225"/>
                    </a:lnTo>
                    <a:lnTo>
                      <a:pt x="621" y="225"/>
                    </a:lnTo>
                    <a:lnTo>
                      <a:pt x="619" y="223"/>
                    </a:lnTo>
                    <a:lnTo>
                      <a:pt x="618" y="222"/>
                    </a:lnTo>
                    <a:lnTo>
                      <a:pt x="618" y="220"/>
                    </a:lnTo>
                    <a:lnTo>
                      <a:pt x="618" y="218"/>
                    </a:lnTo>
                    <a:lnTo>
                      <a:pt x="616" y="218"/>
                    </a:lnTo>
                    <a:lnTo>
                      <a:pt x="616" y="217"/>
                    </a:lnTo>
                    <a:lnTo>
                      <a:pt x="616" y="215"/>
                    </a:lnTo>
                    <a:lnTo>
                      <a:pt x="616" y="214"/>
                    </a:lnTo>
                    <a:lnTo>
                      <a:pt x="614" y="214"/>
                    </a:lnTo>
                    <a:lnTo>
                      <a:pt x="613" y="214"/>
                    </a:lnTo>
                    <a:lnTo>
                      <a:pt x="613" y="212"/>
                    </a:lnTo>
                    <a:lnTo>
                      <a:pt x="614" y="212"/>
                    </a:lnTo>
                    <a:lnTo>
                      <a:pt x="614" y="210"/>
                    </a:lnTo>
                    <a:lnTo>
                      <a:pt x="614" y="209"/>
                    </a:lnTo>
                    <a:lnTo>
                      <a:pt x="614" y="207"/>
                    </a:lnTo>
                    <a:lnTo>
                      <a:pt x="613" y="207"/>
                    </a:lnTo>
                    <a:lnTo>
                      <a:pt x="613" y="206"/>
                    </a:lnTo>
                    <a:lnTo>
                      <a:pt x="611" y="206"/>
                    </a:lnTo>
                    <a:lnTo>
                      <a:pt x="611" y="204"/>
                    </a:lnTo>
                    <a:lnTo>
                      <a:pt x="610" y="204"/>
                    </a:lnTo>
                    <a:lnTo>
                      <a:pt x="608" y="204"/>
                    </a:lnTo>
                    <a:lnTo>
                      <a:pt x="607" y="204"/>
                    </a:lnTo>
                    <a:lnTo>
                      <a:pt x="607" y="206"/>
                    </a:lnTo>
                    <a:lnTo>
                      <a:pt x="605" y="206"/>
                    </a:lnTo>
                    <a:lnTo>
                      <a:pt x="605" y="204"/>
                    </a:lnTo>
                    <a:lnTo>
                      <a:pt x="607" y="204"/>
                    </a:lnTo>
                    <a:lnTo>
                      <a:pt x="607" y="203"/>
                    </a:lnTo>
                    <a:lnTo>
                      <a:pt x="607" y="201"/>
                    </a:lnTo>
                    <a:lnTo>
                      <a:pt x="607" y="199"/>
                    </a:lnTo>
                    <a:lnTo>
                      <a:pt x="607" y="198"/>
                    </a:lnTo>
                    <a:lnTo>
                      <a:pt x="607" y="196"/>
                    </a:lnTo>
                    <a:lnTo>
                      <a:pt x="607" y="195"/>
                    </a:lnTo>
                    <a:lnTo>
                      <a:pt x="607" y="193"/>
                    </a:lnTo>
                    <a:lnTo>
                      <a:pt x="607" y="191"/>
                    </a:lnTo>
                    <a:lnTo>
                      <a:pt x="605" y="191"/>
                    </a:lnTo>
                    <a:lnTo>
                      <a:pt x="605" y="190"/>
                    </a:lnTo>
                    <a:lnTo>
                      <a:pt x="605" y="188"/>
                    </a:lnTo>
                    <a:lnTo>
                      <a:pt x="607" y="188"/>
                    </a:lnTo>
                    <a:lnTo>
                      <a:pt x="607" y="187"/>
                    </a:lnTo>
                    <a:lnTo>
                      <a:pt x="607" y="185"/>
                    </a:lnTo>
                    <a:lnTo>
                      <a:pt x="607" y="184"/>
                    </a:lnTo>
                    <a:lnTo>
                      <a:pt x="607" y="182"/>
                    </a:lnTo>
                    <a:lnTo>
                      <a:pt x="605" y="182"/>
                    </a:lnTo>
                    <a:lnTo>
                      <a:pt x="603" y="182"/>
                    </a:lnTo>
                    <a:lnTo>
                      <a:pt x="603" y="180"/>
                    </a:lnTo>
                    <a:lnTo>
                      <a:pt x="602" y="180"/>
                    </a:lnTo>
                    <a:lnTo>
                      <a:pt x="602" y="179"/>
                    </a:lnTo>
                    <a:lnTo>
                      <a:pt x="600" y="179"/>
                    </a:lnTo>
                    <a:lnTo>
                      <a:pt x="599" y="179"/>
                    </a:lnTo>
                    <a:lnTo>
                      <a:pt x="599" y="180"/>
                    </a:lnTo>
                    <a:lnTo>
                      <a:pt x="597" y="180"/>
                    </a:lnTo>
                    <a:lnTo>
                      <a:pt x="595" y="180"/>
                    </a:lnTo>
                    <a:lnTo>
                      <a:pt x="594" y="180"/>
                    </a:lnTo>
                    <a:lnTo>
                      <a:pt x="594" y="179"/>
                    </a:lnTo>
                    <a:lnTo>
                      <a:pt x="592" y="179"/>
                    </a:lnTo>
                    <a:lnTo>
                      <a:pt x="591" y="179"/>
                    </a:lnTo>
                    <a:lnTo>
                      <a:pt x="589" y="179"/>
                    </a:lnTo>
                    <a:lnTo>
                      <a:pt x="589" y="180"/>
                    </a:lnTo>
                    <a:lnTo>
                      <a:pt x="587" y="180"/>
                    </a:lnTo>
                    <a:lnTo>
                      <a:pt x="587" y="182"/>
                    </a:lnTo>
                    <a:lnTo>
                      <a:pt x="586" y="182"/>
                    </a:lnTo>
                    <a:lnTo>
                      <a:pt x="584" y="182"/>
                    </a:lnTo>
                    <a:lnTo>
                      <a:pt x="583" y="182"/>
                    </a:lnTo>
                    <a:lnTo>
                      <a:pt x="581" y="182"/>
                    </a:lnTo>
                    <a:lnTo>
                      <a:pt x="580" y="182"/>
                    </a:lnTo>
                    <a:lnTo>
                      <a:pt x="580" y="184"/>
                    </a:lnTo>
                    <a:lnTo>
                      <a:pt x="580" y="185"/>
                    </a:lnTo>
                    <a:lnTo>
                      <a:pt x="578" y="185"/>
                    </a:lnTo>
                    <a:lnTo>
                      <a:pt x="576" y="185"/>
                    </a:lnTo>
                    <a:lnTo>
                      <a:pt x="575" y="185"/>
                    </a:lnTo>
                    <a:lnTo>
                      <a:pt x="575" y="187"/>
                    </a:lnTo>
                    <a:lnTo>
                      <a:pt x="573" y="187"/>
                    </a:lnTo>
                    <a:lnTo>
                      <a:pt x="573" y="188"/>
                    </a:lnTo>
                    <a:lnTo>
                      <a:pt x="573" y="190"/>
                    </a:lnTo>
                    <a:lnTo>
                      <a:pt x="572" y="190"/>
                    </a:lnTo>
                    <a:lnTo>
                      <a:pt x="572" y="191"/>
                    </a:lnTo>
                    <a:lnTo>
                      <a:pt x="570" y="191"/>
                    </a:lnTo>
                    <a:lnTo>
                      <a:pt x="570" y="193"/>
                    </a:lnTo>
                    <a:lnTo>
                      <a:pt x="568" y="193"/>
                    </a:lnTo>
                    <a:lnTo>
                      <a:pt x="567" y="193"/>
                    </a:lnTo>
                    <a:lnTo>
                      <a:pt x="565" y="193"/>
                    </a:lnTo>
                    <a:lnTo>
                      <a:pt x="564" y="193"/>
                    </a:lnTo>
                    <a:lnTo>
                      <a:pt x="564" y="195"/>
                    </a:lnTo>
                    <a:lnTo>
                      <a:pt x="562" y="195"/>
                    </a:lnTo>
                    <a:lnTo>
                      <a:pt x="562" y="193"/>
                    </a:lnTo>
                    <a:lnTo>
                      <a:pt x="561" y="193"/>
                    </a:lnTo>
                    <a:lnTo>
                      <a:pt x="561" y="191"/>
                    </a:lnTo>
                    <a:lnTo>
                      <a:pt x="559" y="191"/>
                    </a:lnTo>
                    <a:lnTo>
                      <a:pt x="559" y="190"/>
                    </a:lnTo>
                    <a:lnTo>
                      <a:pt x="559" y="188"/>
                    </a:lnTo>
                    <a:lnTo>
                      <a:pt x="557" y="188"/>
                    </a:lnTo>
                    <a:lnTo>
                      <a:pt x="557" y="187"/>
                    </a:lnTo>
                    <a:lnTo>
                      <a:pt x="556" y="187"/>
                    </a:lnTo>
                    <a:lnTo>
                      <a:pt x="554" y="187"/>
                    </a:lnTo>
                    <a:lnTo>
                      <a:pt x="554" y="185"/>
                    </a:lnTo>
                    <a:lnTo>
                      <a:pt x="553" y="185"/>
                    </a:lnTo>
                    <a:lnTo>
                      <a:pt x="551" y="185"/>
                    </a:lnTo>
                    <a:lnTo>
                      <a:pt x="549" y="184"/>
                    </a:lnTo>
                    <a:lnTo>
                      <a:pt x="548" y="184"/>
                    </a:lnTo>
                    <a:lnTo>
                      <a:pt x="548" y="182"/>
                    </a:lnTo>
                    <a:lnTo>
                      <a:pt x="546" y="182"/>
                    </a:lnTo>
                    <a:lnTo>
                      <a:pt x="546" y="184"/>
                    </a:lnTo>
                    <a:lnTo>
                      <a:pt x="545" y="184"/>
                    </a:lnTo>
                    <a:lnTo>
                      <a:pt x="543" y="184"/>
                    </a:lnTo>
                    <a:lnTo>
                      <a:pt x="543" y="182"/>
                    </a:lnTo>
                    <a:lnTo>
                      <a:pt x="542" y="182"/>
                    </a:lnTo>
                    <a:lnTo>
                      <a:pt x="540" y="180"/>
                    </a:lnTo>
                    <a:lnTo>
                      <a:pt x="538" y="179"/>
                    </a:lnTo>
                    <a:lnTo>
                      <a:pt x="540" y="179"/>
                    </a:lnTo>
                    <a:lnTo>
                      <a:pt x="540" y="177"/>
                    </a:lnTo>
                    <a:lnTo>
                      <a:pt x="540" y="176"/>
                    </a:lnTo>
                    <a:lnTo>
                      <a:pt x="540" y="174"/>
                    </a:lnTo>
                    <a:lnTo>
                      <a:pt x="538" y="172"/>
                    </a:lnTo>
                    <a:lnTo>
                      <a:pt x="538" y="171"/>
                    </a:lnTo>
                    <a:lnTo>
                      <a:pt x="538" y="169"/>
                    </a:lnTo>
                    <a:lnTo>
                      <a:pt x="538" y="168"/>
                    </a:lnTo>
                    <a:lnTo>
                      <a:pt x="538" y="166"/>
                    </a:lnTo>
                    <a:lnTo>
                      <a:pt x="538" y="165"/>
                    </a:lnTo>
                    <a:lnTo>
                      <a:pt x="537" y="163"/>
                    </a:lnTo>
                    <a:lnTo>
                      <a:pt x="538" y="163"/>
                    </a:lnTo>
                    <a:lnTo>
                      <a:pt x="538" y="161"/>
                    </a:lnTo>
                    <a:lnTo>
                      <a:pt x="538" y="160"/>
                    </a:lnTo>
                    <a:lnTo>
                      <a:pt x="538" y="158"/>
                    </a:lnTo>
                    <a:lnTo>
                      <a:pt x="538" y="157"/>
                    </a:lnTo>
                    <a:lnTo>
                      <a:pt x="538" y="155"/>
                    </a:lnTo>
                    <a:lnTo>
                      <a:pt x="538" y="153"/>
                    </a:lnTo>
                    <a:lnTo>
                      <a:pt x="540" y="153"/>
                    </a:lnTo>
                    <a:lnTo>
                      <a:pt x="540" y="152"/>
                    </a:lnTo>
                    <a:lnTo>
                      <a:pt x="542" y="152"/>
                    </a:lnTo>
                    <a:lnTo>
                      <a:pt x="542" y="150"/>
                    </a:lnTo>
                    <a:lnTo>
                      <a:pt x="543" y="150"/>
                    </a:lnTo>
                    <a:lnTo>
                      <a:pt x="543" y="149"/>
                    </a:lnTo>
                    <a:lnTo>
                      <a:pt x="545" y="149"/>
                    </a:lnTo>
                    <a:lnTo>
                      <a:pt x="546" y="149"/>
                    </a:lnTo>
                    <a:lnTo>
                      <a:pt x="546" y="147"/>
                    </a:lnTo>
                    <a:lnTo>
                      <a:pt x="548" y="147"/>
                    </a:lnTo>
                    <a:lnTo>
                      <a:pt x="548" y="146"/>
                    </a:lnTo>
                    <a:lnTo>
                      <a:pt x="549" y="146"/>
                    </a:lnTo>
                    <a:lnTo>
                      <a:pt x="549" y="144"/>
                    </a:lnTo>
                    <a:lnTo>
                      <a:pt x="549" y="142"/>
                    </a:lnTo>
                    <a:lnTo>
                      <a:pt x="549" y="141"/>
                    </a:lnTo>
                    <a:lnTo>
                      <a:pt x="549" y="139"/>
                    </a:lnTo>
                    <a:lnTo>
                      <a:pt x="549" y="138"/>
                    </a:lnTo>
                    <a:lnTo>
                      <a:pt x="549" y="136"/>
                    </a:lnTo>
                    <a:lnTo>
                      <a:pt x="549" y="134"/>
                    </a:lnTo>
                    <a:lnTo>
                      <a:pt x="551" y="134"/>
                    </a:lnTo>
                    <a:lnTo>
                      <a:pt x="551" y="133"/>
                    </a:lnTo>
                    <a:lnTo>
                      <a:pt x="549" y="133"/>
                    </a:lnTo>
                    <a:lnTo>
                      <a:pt x="548" y="133"/>
                    </a:lnTo>
                    <a:lnTo>
                      <a:pt x="546" y="133"/>
                    </a:lnTo>
                    <a:lnTo>
                      <a:pt x="545" y="134"/>
                    </a:lnTo>
                    <a:lnTo>
                      <a:pt x="543" y="134"/>
                    </a:lnTo>
                    <a:lnTo>
                      <a:pt x="543" y="133"/>
                    </a:lnTo>
                    <a:lnTo>
                      <a:pt x="542" y="133"/>
                    </a:lnTo>
                    <a:lnTo>
                      <a:pt x="542" y="131"/>
                    </a:lnTo>
                    <a:lnTo>
                      <a:pt x="542" y="130"/>
                    </a:lnTo>
                    <a:lnTo>
                      <a:pt x="540" y="130"/>
                    </a:lnTo>
                    <a:lnTo>
                      <a:pt x="540" y="128"/>
                    </a:lnTo>
                    <a:lnTo>
                      <a:pt x="540" y="127"/>
                    </a:lnTo>
                    <a:lnTo>
                      <a:pt x="538" y="127"/>
                    </a:lnTo>
                    <a:lnTo>
                      <a:pt x="537" y="127"/>
                    </a:lnTo>
                    <a:lnTo>
                      <a:pt x="535" y="127"/>
                    </a:lnTo>
                    <a:lnTo>
                      <a:pt x="534" y="127"/>
                    </a:lnTo>
                    <a:lnTo>
                      <a:pt x="532" y="127"/>
                    </a:lnTo>
                    <a:lnTo>
                      <a:pt x="530" y="127"/>
                    </a:lnTo>
                    <a:lnTo>
                      <a:pt x="529" y="127"/>
                    </a:lnTo>
                    <a:lnTo>
                      <a:pt x="527" y="127"/>
                    </a:lnTo>
                    <a:lnTo>
                      <a:pt x="526" y="127"/>
                    </a:lnTo>
                    <a:lnTo>
                      <a:pt x="526" y="125"/>
                    </a:lnTo>
                    <a:lnTo>
                      <a:pt x="524" y="125"/>
                    </a:lnTo>
                    <a:lnTo>
                      <a:pt x="524" y="123"/>
                    </a:lnTo>
                    <a:lnTo>
                      <a:pt x="526" y="123"/>
                    </a:lnTo>
                    <a:lnTo>
                      <a:pt x="526" y="122"/>
                    </a:lnTo>
                    <a:lnTo>
                      <a:pt x="524" y="122"/>
                    </a:lnTo>
                    <a:lnTo>
                      <a:pt x="524" y="120"/>
                    </a:lnTo>
                    <a:lnTo>
                      <a:pt x="524" y="119"/>
                    </a:lnTo>
                    <a:lnTo>
                      <a:pt x="526" y="119"/>
                    </a:lnTo>
                    <a:lnTo>
                      <a:pt x="526" y="117"/>
                    </a:lnTo>
                    <a:lnTo>
                      <a:pt x="524" y="115"/>
                    </a:lnTo>
                    <a:lnTo>
                      <a:pt x="524" y="114"/>
                    </a:lnTo>
                    <a:lnTo>
                      <a:pt x="524" y="112"/>
                    </a:lnTo>
                    <a:lnTo>
                      <a:pt x="523" y="111"/>
                    </a:lnTo>
                    <a:lnTo>
                      <a:pt x="523" y="109"/>
                    </a:lnTo>
                    <a:lnTo>
                      <a:pt x="521" y="109"/>
                    </a:lnTo>
                    <a:lnTo>
                      <a:pt x="519" y="111"/>
                    </a:lnTo>
                    <a:lnTo>
                      <a:pt x="518" y="111"/>
                    </a:lnTo>
                    <a:lnTo>
                      <a:pt x="518" y="112"/>
                    </a:lnTo>
                    <a:lnTo>
                      <a:pt x="516" y="112"/>
                    </a:lnTo>
                    <a:lnTo>
                      <a:pt x="515" y="114"/>
                    </a:lnTo>
                    <a:lnTo>
                      <a:pt x="513" y="114"/>
                    </a:lnTo>
                    <a:lnTo>
                      <a:pt x="511" y="114"/>
                    </a:lnTo>
                    <a:lnTo>
                      <a:pt x="510" y="114"/>
                    </a:lnTo>
                    <a:lnTo>
                      <a:pt x="508" y="114"/>
                    </a:lnTo>
                    <a:lnTo>
                      <a:pt x="507" y="114"/>
                    </a:lnTo>
                    <a:lnTo>
                      <a:pt x="507" y="115"/>
                    </a:lnTo>
                    <a:lnTo>
                      <a:pt x="507" y="117"/>
                    </a:lnTo>
                    <a:lnTo>
                      <a:pt x="505" y="117"/>
                    </a:lnTo>
                    <a:lnTo>
                      <a:pt x="504" y="117"/>
                    </a:lnTo>
                    <a:lnTo>
                      <a:pt x="502" y="117"/>
                    </a:lnTo>
                    <a:lnTo>
                      <a:pt x="500" y="117"/>
                    </a:lnTo>
                    <a:lnTo>
                      <a:pt x="499" y="117"/>
                    </a:lnTo>
                    <a:lnTo>
                      <a:pt x="497" y="117"/>
                    </a:lnTo>
                    <a:lnTo>
                      <a:pt x="496" y="117"/>
                    </a:lnTo>
                    <a:lnTo>
                      <a:pt x="494" y="119"/>
                    </a:lnTo>
                    <a:lnTo>
                      <a:pt x="491" y="119"/>
                    </a:lnTo>
                    <a:lnTo>
                      <a:pt x="491" y="120"/>
                    </a:lnTo>
                    <a:lnTo>
                      <a:pt x="489" y="119"/>
                    </a:lnTo>
                    <a:lnTo>
                      <a:pt x="488" y="117"/>
                    </a:lnTo>
                    <a:lnTo>
                      <a:pt x="486" y="117"/>
                    </a:lnTo>
                    <a:lnTo>
                      <a:pt x="486" y="119"/>
                    </a:lnTo>
                    <a:lnTo>
                      <a:pt x="485" y="119"/>
                    </a:lnTo>
                    <a:lnTo>
                      <a:pt x="485" y="117"/>
                    </a:lnTo>
                    <a:lnTo>
                      <a:pt x="483" y="117"/>
                    </a:lnTo>
                    <a:lnTo>
                      <a:pt x="481" y="115"/>
                    </a:lnTo>
                    <a:lnTo>
                      <a:pt x="480" y="114"/>
                    </a:lnTo>
                    <a:lnTo>
                      <a:pt x="478" y="114"/>
                    </a:lnTo>
                    <a:lnTo>
                      <a:pt x="477" y="114"/>
                    </a:lnTo>
                    <a:lnTo>
                      <a:pt x="475" y="114"/>
                    </a:lnTo>
                    <a:lnTo>
                      <a:pt x="473" y="114"/>
                    </a:lnTo>
                    <a:lnTo>
                      <a:pt x="472" y="114"/>
                    </a:lnTo>
                    <a:lnTo>
                      <a:pt x="472" y="112"/>
                    </a:lnTo>
                    <a:lnTo>
                      <a:pt x="470" y="112"/>
                    </a:lnTo>
                    <a:lnTo>
                      <a:pt x="469" y="112"/>
                    </a:lnTo>
                    <a:lnTo>
                      <a:pt x="467" y="112"/>
                    </a:lnTo>
                    <a:lnTo>
                      <a:pt x="467" y="111"/>
                    </a:lnTo>
                    <a:lnTo>
                      <a:pt x="466" y="111"/>
                    </a:lnTo>
                    <a:lnTo>
                      <a:pt x="464" y="111"/>
                    </a:lnTo>
                    <a:lnTo>
                      <a:pt x="462" y="109"/>
                    </a:lnTo>
                    <a:lnTo>
                      <a:pt x="461" y="109"/>
                    </a:lnTo>
                    <a:lnTo>
                      <a:pt x="461" y="111"/>
                    </a:lnTo>
                    <a:lnTo>
                      <a:pt x="459" y="111"/>
                    </a:lnTo>
                    <a:lnTo>
                      <a:pt x="459" y="109"/>
                    </a:lnTo>
                    <a:lnTo>
                      <a:pt x="459" y="107"/>
                    </a:lnTo>
                    <a:lnTo>
                      <a:pt x="459" y="106"/>
                    </a:lnTo>
                    <a:lnTo>
                      <a:pt x="459" y="104"/>
                    </a:lnTo>
                    <a:lnTo>
                      <a:pt x="461" y="103"/>
                    </a:lnTo>
                    <a:lnTo>
                      <a:pt x="462" y="101"/>
                    </a:lnTo>
                    <a:lnTo>
                      <a:pt x="462" y="100"/>
                    </a:lnTo>
                    <a:lnTo>
                      <a:pt x="461" y="100"/>
                    </a:lnTo>
                    <a:lnTo>
                      <a:pt x="459" y="98"/>
                    </a:lnTo>
                    <a:lnTo>
                      <a:pt x="461" y="98"/>
                    </a:lnTo>
                    <a:lnTo>
                      <a:pt x="461" y="96"/>
                    </a:lnTo>
                    <a:lnTo>
                      <a:pt x="461" y="98"/>
                    </a:lnTo>
                    <a:lnTo>
                      <a:pt x="462" y="96"/>
                    </a:lnTo>
                    <a:lnTo>
                      <a:pt x="462" y="95"/>
                    </a:lnTo>
                    <a:lnTo>
                      <a:pt x="461" y="95"/>
                    </a:lnTo>
                    <a:lnTo>
                      <a:pt x="461" y="93"/>
                    </a:lnTo>
                    <a:lnTo>
                      <a:pt x="461" y="92"/>
                    </a:lnTo>
                    <a:lnTo>
                      <a:pt x="461" y="90"/>
                    </a:lnTo>
                    <a:lnTo>
                      <a:pt x="462" y="88"/>
                    </a:lnTo>
                    <a:lnTo>
                      <a:pt x="462" y="87"/>
                    </a:lnTo>
                    <a:lnTo>
                      <a:pt x="461" y="85"/>
                    </a:lnTo>
                    <a:lnTo>
                      <a:pt x="459" y="84"/>
                    </a:lnTo>
                    <a:lnTo>
                      <a:pt x="461" y="84"/>
                    </a:lnTo>
                    <a:lnTo>
                      <a:pt x="461" y="82"/>
                    </a:lnTo>
                    <a:lnTo>
                      <a:pt x="459" y="82"/>
                    </a:lnTo>
                    <a:lnTo>
                      <a:pt x="459" y="81"/>
                    </a:lnTo>
                    <a:lnTo>
                      <a:pt x="459" y="79"/>
                    </a:lnTo>
                    <a:lnTo>
                      <a:pt x="461" y="79"/>
                    </a:lnTo>
                    <a:lnTo>
                      <a:pt x="461" y="77"/>
                    </a:lnTo>
                    <a:lnTo>
                      <a:pt x="461" y="76"/>
                    </a:lnTo>
                    <a:lnTo>
                      <a:pt x="461" y="74"/>
                    </a:lnTo>
                    <a:lnTo>
                      <a:pt x="459" y="74"/>
                    </a:lnTo>
                    <a:lnTo>
                      <a:pt x="459" y="73"/>
                    </a:lnTo>
                    <a:lnTo>
                      <a:pt x="459" y="71"/>
                    </a:lnTo>
                    <a:lnTo>
                      <a:pt x="461" y="71"/>
                    </a:lnTo>
                    <a:lnTo>
                      <a:pt x="461" y="69"/>
                    </a:lnTo>
                    <a:lnTo>
                      <a:pt x="459" y="69"/>
                    </a:lnTo>
                    <a:lnTo>
                      <a:pt x="458" y="69"/>
                    </a:lnTo>
                    <a:lnTo>
                      <a:pt x="458" y="68"/>
                    </a:lnTo>
                    <a:lnTo>
                      <a:pt x="456" y="68"/>
                    </a:lnTo>
                    <a:lnTo>
                      <a:pt x="456" y="66"/>
                    </a:lnTo>
                    <a:lnTo>
                      <a:pt x="456" y="65"/>
                    </a:lnTo>
                    <a:lnTo>
                      <a:pt x="456" y="63"/>
                    </a:lnTo>
                    <a:lnTo>
                      <a:pt x="454" y="63"/>
                    </a:lnTo>
                    <a:lnTo>
                      <a:pt x="454" y="62"/>
                    </a:lnTo>
                    <a:lnTo>
                      <a:pt x="453" y="62"/>
                    </a:lnTo>
                    <a:lnTo>
                      <a:pt x="453" y="60"/>
                    </a:lnTo>
                    <a:lnTo>
                      <a:pt x="453" y="58"/>
                    </a:lnTo>
                    <a:lnTo>
                      <a:pt x="451" y="57"/>
                    </a:lnTo>
                    <a:lnTo>
                      <a:pt x="451" y="55"/>
                    </a:lnTo>
                    <a:lnTo>
                      <a:pt x="450" y="54"/>
                    </a:lnTo>
                    <a:lnTo>
                      <a:pt x="450" y="52"/>
                    </a:lnTo>
                    <a:lnTo>
                      <a:pt x="448" y="52"/>
                    </a:lnTo>
                    <a:lnTo>
                      <a:pt x="448" y="50"/>
                    </a:lnTo>
                    <a:lnTo>
                      <a:pt x="448" y="49"/>
                    </a:lnTo>
                    <a:lnTo>
                      <a:pt x="447" y="49"/>
                    </a:lnTo>
                    <a:lnTo>
                      <a:pt x="447" y="47"/>
                    </a:lnTo>
                    <a:lnTo>
                      <a:pt x="445" y="46"/>
                    </a:lnTo>
                    <a:lnTo>
                      <a:pt x="443" y="46"/>
                    </a:lnTo>
                    <a:lnTo>
                      <a:pt x="443" y="44"/>
                    </a:lnTo>
                    <a:lnTo>
                      <a:pt x="443" y="43"/>
                    </a:lnTo>
                    <a:lnTo>
                      <a:pt x="445" y="36"/>
                    </a:lnTo>
                    <a:lnTo>
                      <a:pt x="443" y="36"/>
                    </a:lnTo>
                    <a:lnTo>
                      <a:pt x="442" y="36"/>
                    </a:lnTo>
                    <a:lnTo>
                      <a:pt x="440" y="36"/>
                    </a:lnTo>
                    <a:lnTo>
                      <a:pt x="440" y="38"/>
                    </a:lnTo>
                    <a:lnTo>
                      <a:pt x="439" y="38"/>
                    </a:lnTo>
                    <a:lnTo>
                      <a:pt x="439" y="39"/>
                    </a:lnTo>
                    <a:lnTo>
                      <a:pt x="437" y="39"/>
                    </a:lnTo>
                    <a:lnTo>
                      <a:pt x="435" y="41"/>
                    </a:lnTo>
                    <a:lnTo>
                      <a:pt x="434" y="43"/>
                    </a:lnTo>
                    <a:lnTo>
                      <a:pt x="432" y="43"/>
                    </a:lnTo>
                    <a:lnTo>
                      <a:pt x="431" y="43"/>
                    </a:lnTo>
                    <a:lnTo>
                      <a:pt x="428" y="43"/>
                    </a:lnTo>
                    <a:lnTo>
                      <a:pt x="426" y="43"/>
                    </a:lnTo>
                    <a:lnTo>
                      <a:pt x="424" y="43"/>
                    </a:lnTo>
                    <a:lnTo>
                      <a:pt x="424" y="41"/>
                    </a:lnTo>
                    <a:lnTo>
                      <a:pt x="423" y="41"/>
                    </a:lnTo>
                    <a:lnTo>
                      <a:pt x="421" y="39"/>
                    </a:lnTo>
                    <a:lnTo>
                      <a:pt x="421" y="38"/>
                    </a:lnTo>
                    <a:lnTo>
                      <a:pt x="420" y="38"/>
                    </a:lnTo>
                    <a:lnTo>
                      <a:pt x="420" y="36"/>
                    </a:lnTo>
                    <a:lnTo>
                      <a:pt x="420" y="35"/>
                    </a:lnTo>
                    <a:lnTo>
                      <a:pt x="418" y="35"/>
                    </a:lnTo>
                    <a:lnTo>
                      <a:pt x="416" y="35"/>
                    </a:lnTo>
                    <a:lnTo>
                      <a:pt x="416" y="36"/>
                    </a:lnTo>
                    <a:lnTo>
                      <a:pt x="416" y="38"/>
                    </a:lnTo>
                    <a:lnTo>
                      <a:pt x="415" y="39"/>
                    </a:lnTo>
                    <a:lnTo>
                      <a:pt x="413" y="41"/>
                    </a:lnTo>
                    <a:lnTo>
                      <a:pt x="413" y="43"/>
                    </a:lnTo>
                    <a:lnTo>
                      <a:pt x="412" y="43"/>
                    </a:lnTo>
                    <a:lnTo>
                      <a:pt x="412" y="44"/>
                    </a:lnTo>
                    <a:lnTo>
                      <a:pt x="410" y="44"/>
                    </a:lnTo>
                    <a:lnTo>
                      <a:pt x="410" y="46"/>
                    </a:lnTo>
                    <a:lnTo>
                      <a:pt x="408" y="46"/>
                    </a:lnTo>
                    <a:lnTo>
                      <a:pt x="407" y="46"/>
                    </a:lnTo>
                    <a:lnTo>
                      <a:pt x="405" y="46"/>
                    </a:lnTo>
                    <a:lnTo>
                      <a:pt x="404" y="46"/>
                    </a:lnTo>
                    <a:lnTo>
                      <a:pt x="402" y="46"/>
                    </a:lnTo>
                    <a:lnTo>
                      <a:pt x="401" y="46"/>
                    </a:lnTo>
                    <a:lnTo>
                      <a:pt x="399" y="46"/>
                    </a:lnTo>
                    <a:lnTo>
                      <a:pt x="399" y="47"/>
                    </a:lnTo>
                    <a:lnTo>
                      <a:pt x="397" y="47"/>
                    </a:lnTo>
                    <a:lnTo>
                      <a:pt x="396" y="47"/>
                    </a:lnTo>
                    <a:lnTo>
                      <a:pt x="394" y="49"/>
                    </a:lnTo>
                    <a:lnTo>
                      <a:pt x="393" y="49"/>
                    </a:lnTo>
                    <a:lnTo>
                      <a:pt x="391" y="49"/>
                    </a:lnTo>
                    <a:lnTo>
                      <a:pt x="389" y="49"/>
                    </a:lnTo>
                    <a:lnTo>
                      <a:pt x="388" y="49"/>
                    </a:lnTo>
                    <a:lnTo>
                      <a:pt x="386" y="49"/>
                    </a:lnTo>
                    <a:lnTo>
                      <a:pt x="385" y="49"/>
                    </a:lnTo>
                    <a:lnTo>
                      <a:pt x="385" y="50"/>
                    </a:lnTo>
                    <a:lnTo>
                      <a:pt x="383" y="50"/>
                    </a:lnTo>
                    <a:lnTo>
                      <a:pt x="383" y="52"/>
                    </a:lnTo>
                    <a:lnTo>
                      <a:pt x="382" y="52"/>
                    </a:lnTo>
                    <a:lnTo>
                      <a:pt x="380" y="52"/>
                    </a:lnTo>
                    <a:lnTo>
                      <a:pt x="380" y="50"/>
                    </a:lnTo>
                    <a:lnTo>
                      <a:pt x="382" y="50"/>
                    </a:lnTo>
                    <a:lnTo>
                      <a:pt x="382" y="49"/>
                    </a:lnTo>
                    <a:lnTo>
                      <a:pt x="383" y="49"/>
                    </a:lnTo>
                    <a:lnTo>
                      <a:pt x="383" y="47"/>
                    </a:lnTo>
                    <a:lnTo>
                      <a:pt x="382" y="47"/>
                    </a:lnTo>
                    <a:lnTo>
                      <a:pt x="382" y="46"/>
                    </a:lnTo>
                    <a:lnTo>
                      <a:pt x="382" y="44"/>
                    </a:lnTo>
                    <a:lnTo>
                      <a:pt x="383" y="44"/>
                    </a:lnTo>
                    <a:lnTo>
                      <a:pt x="385" y="44"/>
                    </a:lnTo>
                    <a:lnTo>
                      <a:pt x="386" y="44"/>
                    </a:lnTo>
                    <a:lnTo>
                      <a:pt x="388" y="43"/>
                    </a:lnTo>
                    <a:lnTo>
                      <a:pt x="389" y="43"/>
                    </a:lnTo>
                    <a:lnTo>
                      <a:pt x="389" y="41"/>
                    </a:lnTo>
                    <a:lnTo>
                      <a:pt x="389" y="39"/>
                    </a:lnTo>
                    <a:lnTo>
                      <a:pt x="391" y="39"/>
                    </a:lnTo>
                    <a:lnTo>
                      <a:pt x="391" y="38"/>
                    </a:lnTo>
                    <a:lnTo>
                      <a:pt x="391" y="36"/>
                    </a:lnTo>
                    <a:lnTo>
                      <a:pt x="393" y="36"/>
                    </a:lnTo>
                    <a:lnTo>
                      <a:pt x="394" y="36"/>
                    </a:lnTo>
                    <a:lnTo>
                      <a:pt x="396" y="36"/>
                    </a:lnTo>
                    <a:lnTo>
                      <a:pt x="397" y="36"/>
                    </a:lnTo>
                    <a:lnTo>
                      <a:pt x="397" y="35"/>
                    </a:lnTo>
                    <a:lnTo>
                      <a:pt x="399" y="35"/>
                    </a:lnTo>
                    <a:lnTo>
                      <a:pt x="401" y="35"/>
                    </a:lnTo>
                    <a:lnTo>
                      <a:pt x="402" y="35"/>
                    </a:lnTo>
                    <a:lnTo>
                      <a:pt x="404" y="35"/>
                    </a:lnTo>
                    <a:lnTo>
                      <a:pt x="404" y="33"/>
                    </a:lnTo>
                    <a:lnTo>
                      <a:pt x="405" y="31"/>
                    </a:lnTo>
                    <a:lnTo>
                      <a:pt x="405" y="30"/>
                    </a:lnTo>
                    <a:lnTo>
                      <a:pt x="407" y="30"/>
                    </a:lnTo>
                    <a:lnTo>
                      <a:pt x="407" y="28"/>
                    </a:lnTo>
                    <a:lnTo>
                      <a:pt x="407" y="27"/>
                    </a:lnTo>
                    <a:lnTo>
                      <a:pt x="407" y="25"/>
                    </a:lnTo>
                    <a:lnTo>
                      <a:pt x="405" y="25"/>
                    </a:lnTo>
                    <a:lnTo>
                      <a:pt x="404" y="25"/>
                    </a:lnTo>
                    <a:lnTo>
                      <a:pt x="402" y="25"/>
                    </a:lnTo>
                    <a:lnTo>
                      <a:pt x="401" y="25"/>
                    </a:lnTo>
                    <a:lnTo>
                      <a:pt x="399" y="24"/>
                    </a:lnTo>
                    <a:lnTo>
                      <a:pt x="397" y="24"/>
                    </a:lnTo>
                    <a:lnTo>
                      <a:pt x="396" y="24"/>
                    </a:lnTo>
                    <a:lnTo>
                      <a:pt x="394" y="24"/>
                    </a:lnTo>
                    <a:lnTo>
                      <a:pt x="393" y="24"/>
                    </a:lnTo>
                    <a:lnTo>
                      <a:pt x="391" y="24"/>
                    </a:lnTo>
                    <a:lnTo>
                      <a:pt x="391" y="22"/>
                    </a:lnTo>
                    <a:lnTo>
                      <a:pt x="389" y="22"/>
                    </a:lnTo>
                    <a:lnTo>
                      <a:pt x="389" y="24"/>
                    </a:lnTo>
                    <a:lnTo>
                      <a:pt x="388" y="24"/>
                    </a:lnTo>
                    <a:lnTo>
                      <a:pt x="388" y="25"/>
                    </a:lnTo>
                    <a:lnTo>
                      <a:pt x="386" y="25"/>
                    </a:lnTo>
                    <a:lnTo>
                      <a:pt x="385" y="25"/>
                    </a:lnTo>
                    <a:lnTo>
                      <a:pt x="385" y="24"/>
                    </a:lnTo>
                    <a:lnTo>
                      <a:pt x="385" y="22"/>
                    </a:lnTo>
                    <a:lnTo>
                      <a:pt x="383" y="22"/>
                    </a:lnTo>
                    <a:lnTo>
                      <a:pt x="383" y="20"/>
                    </a:lnTo>
                    <a:lnTo>
                      <a:pt x="382" y="20"/>
                    </a:lnTo>
                    <a:lnTo>
                      <a:pt x="380" y="20"/>
                    </a:lnTo>
                    <a:lnTo>
                      <a:pt x="380" y="22"/>
                    </a:lnTo>
                    <a:lnTo>
                      <a:pt x="380" y="24"/>
                    </a:lnTo>
                    <a:lnTo>
                      <a:pt x="378" y="24"/>
                    </a:lnTo>
                    <a:lnTo>
                      <a:pt x="377" y="24"/>
                    </a:lnTo>
                    <a:lnTo>
                      <a:pt x="377" y="22"/>
                    </a:lnTo>
                    <a:lnTo>
                      <a:pt x="375" y="24"/>
                    </a:lnTo>
                    <a:lnTo>
                      <a:pt x="375" y="22"/>
                    </a:lnTo>
                    <a:lnTo>
                      <a:pt x="375" y="20"/>
                    </a:lnTo>
                    <a:lnTo>
                      <a:pt x="375" y="19"/>
                    </a:lnTo>
                    <a:lnTo>
                      <a:pt x="377" y="19"/>
                    </a:lnTo>
                    <a:lnTo>
                      <a:pt x="377" y="17"/>
                    </a:lnTo>
                    <a:lnTo>
                      <a:pt x="377" y="16"/>
                    </a:lnTo>
                    <a:lnTo>
                      <a:pt x="378" y="16"/>
                    </a:lnTo>
                    <a:lnTo>
                      <a:pt x="377" y="14"/>
                    </a:lnTo>
                    <a:lnTo>
                      <a:pt x="375" y="14"/>
                    </a:lnTo>
                    <a:lnTo>
                      <a:pt x="375" y="16"/>
                    </a:lnTo>
                    <a:lnTo>
                      <a:pt x="374" y="16"/>
                    </a:lnTo>
                    <a:lnTo>
                      <a:pt x="372" y="17"/>
                    </a:lnTo>
                    <a:lnTo>
                      <a:pt x="370" y="17"/>
                    </a:lnTo>
                    <a:lnTo>
                      <a:pt x="370" y="19"/>
                    </a:lnTo>
                    <a:lnTo>
                      <a:pt x="370" y="20"/>
                    </a:lnTo>
                    <a:lnTo>
                      <a:pt x="372" y="20"/>
                    </a:lnTo>
                    <a:lnTo>
                      <a:pt x="370" y="22"/>
                    </a:lnTo>
                    <a:lnTo>
                      <a:pt x="369" y="22"/>
                    </a:lnTo>
                    <a:lnTo>
                      <a:pt x="369" y="24"/>
                    </a:lnTo>
                    <a:lnTo>
                      <a:pt x="367" y="24"/>
                    </a:lnTo>
                    <a:lnTo>
                      <a:pt x="367" y="25"/>
                    </a:lnTo>
                    <a:lnTo>
                      <a:pt x="366" y="27"/>
                    </a:lnTo>
                    <a:lnTo>
                      <a:pt x="366" y="28"/>
                    </a:lnTo>
                    <a:lnTo>
                      <a:pt x="364" y="28"/>
                    </a:lnTo>
                    <a:lnTo>
                      <a:pt x="364" y="30"/>
                    </a:lnTo>
                    <a:lnTo>
                      <a:pt x="363" y="30"/>
                    </a:lnTo>
                    <a:lnTo>
                      <a:pt x="363" y="28"/>
                    </a:lnTo>
                    <a:lnTo>
                      <a:pt x="363" y="27"/>
                    </a:lnTo>
                    <a:lnTo>
                      <a:pt x="361" y="27"/>
                    </a:lnTo>
                    <a:lnTo>
                      <a:pt x="359" y="27"/>
                    </a:lnTo>
                    <a:lnTo>
                      <a:pt x="359" y="25"/>
                    </a:lnTo>
                    <a:lnTo>
                      <a:pt x="361" y="25"/>
                    </a:lnTo>
                    <a:lnTo>
                      <a:pt x="361" y="24"/>
                    </a:lnTo>
                    <a:lnTo>
                      <a:pt x="359" y="24"/>
                    </a:lnTo>
                    <a:lnTo>
                      <a:pt x="359" y="25"/>
                    </a:lnTo>
                    <a:lnTo>
                      <a:pt x="358" y="25"/>
                    </a:lnTo>
                    <a:lnTo>
                      <a:pt x="358" y="27"/>
                    </a:lnTo>
                    <a:lnTo>
                      <a:pt x="356" y="27"/>
                    </a:lnTo>
                    <a:lnTo>
                      <a:pt x="356" y="28"/>
                    </a:lnTo>
                    <a:lnTo>
                      <a:pt x="356" y="30"/>
                    </a:lnTo>
                    <a:lnTo>
                      <a:pt x="355" y="30"/>
                    </a:lnTo>
                    <a:lnTo>
                      <a:pt x="355" y="31"/>
                    </a:lnTo>
                    <a:lnTo>
                      <a:pt x="353" y="31"/>
                    </a:lnTo>
                    <a:lnTo>
                      <a:pt x="353" y="30"/>
                    </a:lnTo>
                    <a:lnTo>
                      <a:pt x="353" y="28"/>
                    </a:lnTo>
                    <a:lnTo>
                      <a:pt x="355" y="27"/>
                    </a:lnTo>
                    <a:lnTo>
                      <a:pt x="355" y="25"/>
                    </a:lnTo>
                    <a:lnTo>
                      <a:pt x="353" y="25"/>
                    </a:lnTo>
                    <a:lnTo>
                      <a:pt x="351" y="25"/>
                    </a:lnTo>
                    <a:lnTo>
                      <a:pt x="350" y="25"/>
                    </a:lnTo>
                    <a:lnTo>
                      <a:pt x="350" y="27"/>
                    </a:lnTo>
                    <a:lnTo>
                      <a:pt x="348" y="27"/>
                    </a:lnTo>
                    <a:lnTo>
                      <a:pt x="348" y="28"/>
                    </a:lnTo>
                    <a:lnTo>
                      <a:pt x="348" y="30"/>
                    </a:lnTo>
                    <a:lnTo>
                      <a:pt x="347" y="30"/>
                    </a:lnTo>
                    <a:lnTo>
                      <a:pt x="345" y="30"/>
                    </a:lnTo>
                    <a:lnTo>
                      <a:pt x="345" y="28"/>
                    </a:lnTo>
                    <a:lnTo>
                      <a:pt x="344" y="27"/>
                    </a:lnTo>
                    <a:lnTo>
                      <a:pt x="342" y="27"/>
                    </a:lnTo>
                    <a:lnTo>
                      <a:pt x="342" y="25"/>
                    </a:lnTo>
                    <a:lnTo>
                      <a:pt x="340" y="25"/>
                    </a:lnTo>
                    <a:lnTo>
                      <a:pt x="340" y="27"/>
                    </a:lnTo>
                    <a:lnTo>
                      <a:pt x="340" y="28"/>
                    </a:lnTo>
                    <a:lnTo>
                      <a:pt x="342" y="28"/>
                    </a:lnTo>
                    <a:lnTo>
                      <a:pt x="342" y="30"/>
                    </a:lnTo>
                    <a:lnTo>
                      <a:pt x="340" y="30"/>
                    </a:lnTo>
                    <a:lnTo>
                      <a:pt x="340" y="31"/>
                    </a:lnTo>
                    <a:lnTo>
                      <a:pt x="340" y="33"/>
                    </a:lnTo>
                    <a:lnTo>
                      <a:pt x="339" y="33"/>
                    </a:lnTo>
                    <a:lnTo>
                      <a:pt x="339" y="35"/>
                    </a:lnTo>
                    <a:lnTo>
                      <a:pt x="340" y="35"/>
                    </a:lnTo>
                    <a:lnTo>
                      <a:pt x="342" y="35"/>
                    </a:lnTo>
                    <a:lnTo>
                      <a:pt x="342" y="36"/>
                    </a:lnTo>
                    <a:lnTo>
                      <a:pt x="344" y="36"/>
                    </a:lnTo>
                    <a:lnTo>
                      <a:pt x="344" y="35"/>
                    </a:lnTo>
                    <a:lnTo>
                      <a:pt x="344" y="36"/>
                    </a:lnTo>
                    <a:lnTo>
                      <a:pt x="342" y="36"/>
                    </a:lnTo>
                    <a:lnTo>
                      <a:pt x="340" y="36"/>
                    </a:lnTo>
                    <a:lnTo>
                      <a:pt x="340" y="38"/>
                    </a:lnTo>
                    <a:lnTo>
                      <a:pt x="340" y="39"/>
                    </a:lnTo>
                    <a:lnTo>
                      <a:pt x="342" y="39"/>
                    </a:lnTo>
                    <a:lnTo>
                      <a:pt x="340" y="39"/>
                    </a:lnTo>
                    <a:lnTo>
                      <a:pt x="339" y="39"/>
                    </a:lnTo>
                    <a:lnTo>
                      <a:pt x="339" y="41"/>
                    </a:lnTo>
                    <a:lnTo>
                      <a:pt x="337" y="41"/>
                    </a:lnTo>
                    <a:lnTo>
                      <a:pt x="337" y="39"/>
                    </a:lnTo>
                    <a:lnTo>
                      <a:pt x="337" y="38"/>
                    </a:lnTo>
                    <a:lnTo>
                      <a:pt x="336" y="38"/>
                    </a:lnTo>
                    <a:lnTo>
                      <a:pt x="334" y="38"/>
                    </a:lnTo>
                    <a:lnTo>
                      <a:pt x="332" y="38"/>
                    </a:lnTo>
                    <a:lnTo>
                      <a:pt x="332" y="39"/>
                    </a:lnTo>
                    <a:lnTo>
                      <a:pt x="334" y="39"/>
                    </a:lnTo>
                    <a:lnTo>
                      <a:pt x="334" y="41"/>
                    </a:lnTo>
                    <a:lnTo>
                      <a:pt x="336" y="41"/>
                    </a:lnTo>
                    <a:lnTo>
                      <a:pt x="334" y="43"/>
                    </a:lnTo>
                    <a:lnTo>
                      <a:pt x="332" y="43"/>
                    </a:lnTo>
                    <a:lnTo>
                      <a:pt x="331" y="43"/>
                    </a:lnTo>
                    <a:lnTo>
                      <a:pt x="331" y="44"/>
                    </a:lnTo>
                    <a:lnTo>
                      <a:pt x="331" y="46"/>
                    </a:lnTo>
                    <a:lnTo>
                      <a:pt x="329" y="46"/>
                    </a:lnTo>
                    <a:lnTo>
                      <a:pt x="328" y="46"/>
                    </a:lnTo>
                    <a:lnTo>
                      <a:pt x="328" y="44"/>
                    </a:lnTo>
                    <a:lnTo>
                      <a:pt x="326" y="46"/>
                    </a:lnTo>
                    <a:lnTo>
                      <a:pt x="326" y="47"/>
                    </a:lnTo>
                    <a:lnTo>
                      <a:pt x="325" y="47"/>
                    </a:lnTo>
                    <a:lnTo>
                      <a:pt x="325" y="46"/>
                    </a:lnTo>
                    <a:lnTo>
                      <a:pt x="325" y="44"/>
                    </a:lnTo>
                    <a:lnTo>
                      <a:pt x="323" y="44"/>
                    </a:lnTo>
                    <a:lnTo>
                      <a:pt x="321" y="44"/>
                    </a:lnTo>
                    <a:lnTo>
                      <a:pt x="320" y="44"/>
                    </a:lnTo>
                    <a:lnTo>
                      <a:pt x="320" y="43"/>
                    </a:lnTo>
                    <a:lnTo>
                      <a:pt x="320" y="41"/>
                    </a:lnTo>
                    <a:lnTo>
                      <a:pt x="318" y="41"/>
                    </a:lnTo>
                    <a:lnTo>
                      <a:pt x="318" y="39"/>
                    </a:lnTo>
                    <a:lnTo>
                      <a:pt x="320" y="39"/>
                    </a:lnTo>
                    <a:lnTo>
                      <a:pt x="318" y="39"/>
                    </a:lnTo>
                    <a:lnTo>
                      <a:pt x="317" y="39"/>
                    </a:lnTo>
                    <a:lnTo>
                      <a:pt x="317" y="41"/>
                    </a:lnTo>
                    <a:lnTo>
                      <a:pt x="317" y="43"/>
                    </a:lnTo>
                    <a:lnTo>
                      <a:pt x="317" y="44"/>
                    </a:lnTo>
                    <a:lnTo>
                      <a:pt x="315" y="44"/>
                    </a:lnTo>
                    <a:lnTo>
                      <a:pt x="315" y="43"/>
                    </a:lnTo>
                    <a:lnTo>
                      <a:pt x="313" y="43"/>
                    </a:lnTo>
                    <a:lnTo>
                      <a:pt x="312" y="43"/>
                    </a:lnTo>
                    <a:lnTo>
                      <a:pt x="310" y="43"/>
                    </a:lnTo>
                    <a:lnTo>
                      <a:pt x="309" y="43"/>
                    </a:lnTo>
                    <a:lnTo>
                      <a:pt x="309" y="44"/>
                    </a:lnTo>
                    <a:lnTo>
                      <a:pt x="307" y="44"/>
                    </a:lnTo>
                    <a:lnTo>
                      <a:pt x="304" y="46"/>
                    </a:lnTo>
                    <a:lnTo>
                      <a:pt x="301" y="46"/>
                    </a:lnTo>
                    <a:lnTo>
                      <a:pt x="301" y="44"/>
                    </a:lnTo>
                    <a:lnTo>
                      <a:pt x="299" y="44"/>
                    </a:lnTo>
                    <a:lnTo>
                      <a:pt x="299" y="43"/>
                    </a:lnTo>
                    <a:lnTo>
                      <a:pt x="298" y="43"/>
                    </a:lnTo>
                    <a:lnTo>
                      <a:pt x="296" y="43"/>
                    </a:lnTo>
                    <a:lnTo>
                      <a:pt x="294" y="43"/>
                    </a:lnTo>
                    <a:lnTo>
                      <a:pt x="294" y="44"/>
                    </a:lnTo>
                    <a:lnTo>
                      <a:pt x="293" y="44"/>
                    </a:lnTo>
                    <a:lnTo>
                      <a:pt x="293" y="46"/>
                    </a:lnTo>
                    <a:lnTo>
                      <a:pt x="291" y="46"/>
                    </a:lnTo>
                    <a:lnTo>
                      <a:pt x="291" y="47"/>
                    </a:lnTo>
                    <a:lnTo>
                      <a:pt x="290" y="47"/>
                    </a:lnTo>
                    <a:lnTo>
                      <a:pt x="288" y="49"/>
                    </a:lnTo>
                    <a:lnTo>
                      <a:pt x="287" y="47"/>
                    </a:lnTo>
                    <a:lnTo>
                      <a:pt x="285" y="47"/>
                    </a:lnTo>
                    <a:lnTo>
                      <a:pt x="285" y="46"/>
                    </a:lnTo>
                    <a:lnTo>
                      <a:pt x="283" y="44"/>
                    </a:lnTo>
                    <a:lnTo>
                      <a:pt x="283" y="43"/>
                    </a:lnTo>
                    <a:lnTo>
                      <a:pt x="282" y="41"/>
                    </a:lnTo>
                    <a:lnTo>
                      <a:pt x="282" y="39"/>
                    </a:lnTo>
                    <a:lnTo>
                      <a:pt x="282" y="38"/>
                    </a:lnTo>
                    <a:lnTo>
                      <a:pt x="280" y="38"/>
                    </a:lnTo>
                    <a:lnTo>
                      <a:pt x="280" y="39"/>
                    </a:lnTo>
                    <a:lnTo>
                      <a:pt x="280" y="41"/>
                    </a:lnTo>
                    <a:lnTo>
                      <a:pt x="280" y="43"/>
                    </a:lnTo>
                    <a:lnTo>
                      <a:pt x="279" y="43"/>
                    </a:lnTo>
                    <a:lnTo>
                      <a:pt x="277" y="43"/>
                    </a:lnTo>
                    <a:lnTo>
                      <a:pt x="275" y="43"/>
                    </a:lnTo>
                    <a:lnTo>
                      <a:pt x="274" y="44"/>
                    </a:lnTo>
                    <a:lnTo>
                      <a:pt x="272" y="44"/>
                    </a:lnTo>
                    <a:lnTo>
                      <a:pt x="271" y="44"/>
                    </a:lnTo>
                    <a:lnTo>
                      <a:pt x="269" y="46"/>
                    </a:lnTo>
                    <a:lnTo>
                      <a:pt x="268" y="46"/>
                    </a:lnTo>
                    <a:lnTo>
                      <a:pt x="268" y="47"/>
                    </a:lnTo>
                    <a:lnTo>
                      <a:pt x="266" y="47"/>
                    </a:lnTo>
                    <a:lnTo>
                      <a:pt x="266" y="49"/>
                    </a:lnTo>
                    <a:lnTo>
                      <a:pt x="264" y="49"/>
                    </a:lnTo>
                    <a:lnTo>
                      <a:pt x="264" y="50"/>
                    </a:lnTo>
                    <a:lnTo>
                      <a:pt x="263" y="50"/>
                    </a:lnTo>
                    <a:lnTo>
                      <a:pt x="263" y="49"/>
                    </a:lnTo>
                    <a:lnTo>
                      <a:pt x="263" y="50"/>
                    </a:lnTo>
                    <a:lnTo>
                      <a:pt x="261" y="50"/>
                    </a:lnTo>
                    <a:lnTo>
                      <a:pt x="261" y="49"/>
                    </a:lnTo>
                    <a:lnTo>
                      <a:pt x="260" y="49"/>
                    </a:lnTo>
                    <a:lnTo>
                      <a:pt x="260" y="47"/>
                    </a:lnTo>
                    <a:lnTo>
                      <a:pt x="260" y="46"/>
                    </a:lnTo>
                    <a:lnTo>
                      <a:pt x="258" y="46"/>
                    </a:lnTo>
                    <a:lnTo>
                      <a:pt x="256" y="46"/>
                    </a:lnTo>
                    <a:lnTo>
                      <a:pt x="256" y="44"/>
                    </a:lnTo>
                    <a:lnTo>
                      <a:pt x="256" y="46"/>
                    </a:lnTo>
                    <a:lnTo>
                      <a:pt x="255" y="46"/>
                    </a:lnTo>
                    <a:lnTo>
                      <a:pt x="253" y="46"/>
                    </a:lnTo>
                    <a:lnTo>
                      <a:pt x="253" y="44"/>
                    </a:lnTo>
                    <a:lnTo>
                      <a:pt x="253" y="46"/>
                    </a:lnTo>
                    <a:lnTo>
                      <a:pt x="252" y="46"/>
                    </a:lnTo>
                    <a:lnTo>
                      <a:pt x="250" y="44"/>
                    </a:lnTo>
                    <a:lnTo>
                      <a:pt x="250" y="43"/>
                    </a:lnTo>
                    <a:lnTo>
                      <a:pt x="250" y="41"/>
                    </a:lnTo>
                    <a:lnTo>
                      <a:pt x="249" y="41"/>
                    </a:lnTo>
                    <a:lnTo>
                      <a:pt x="249" y="39"/>
                    </a:lnTo>
                    <a:lnTo>
                      <a:pt x="247" y="39"/>
                    </a:lnTo>
                    <a:lnTo>
                      <a:pt x="245" y="39"/>
                    </a:lnTo>
                    <a:lnTo>
                      <a:pt x="245" y="41"/>
                    </a:lnTo>
                    <a:lnTo>
                      <a:pt x="244" y="41"/>
                    </a:lnTo>
                    <a:lnTo>
                      <a:pt x="242" y="41"/>
                    </a:lnTo>
                    <a:lnTo>
                      <a:pt x="241" y="41"/>
                    </a:lnTo>
                    <a:lnTo>
                      <a:pt x="239" y="41"/>
                    </a:lnTo>
                    <a:lnTo>
                      <a:pt x="237" y="41"/>
                    </a:lnTo>
                    <a:lnTo>
                      <a:pt x="237" y="43"/>
                    </a:lnTo>
                    <a:lnTo>
                      <a:pt x="236" y="43"/>
                    </a:lnTo>
                    <a:lnTo>
                      <a:pt x="234" y="43"/>
                    </a:lnTo>
                    <a:lnTo>
                      <a:pt x="234" y="44"/>
                    </a:lnTo>
                    <a:lnTo>
                      <a:pt x="233" y="44"/>
                    </a:lnTo>
                    <a:lnTo>
                      <a:pt x="233" y="43"/>
                    </a:lnTo>
                    <a:lnTo>
                      <a:pt x="233" y="41"/>
                    </a:lnTo>
                    <a:lnTo>
                      <a:pt x="231" y="41"/>
                    </a:lnTo>
                    <a:lnTo>
                      <a:pt x="231" y="39"/>
                    </a:lnTo>
                    <a:lnTo>
                      <a:pt x="231" y="38"/>
                    </a:lnTo>
                    <a:lnTo>
                      <a:pt x="233" y="38"/>
                    </a:lnTo>
                    <a:lnTo>
                      <a:pt x="233" y="36"/>
                    </a:lnTo>
                    <a:lnTo>
                      <a:pt x="231" y="36"/>
                    </a:lnTo>
                    <a:lnTo>
                      <a:pt x="231" y="35"/>
                    </a:lnTo>
                    <a:lnTo>
                      <a:pt x="230" y="33"/>
                    </a:lnTo>
                    <a:lnTo>
                      <a:pt x="228" y="33"/>
                    </a:lnTo>
                    <a:lnTo>
                      <a:pt x="226" y="33"/>
                    </a:lnTo>
                    <a:lnTo>
                      <a:pt x="225" y="33"/>
                    </a:lnTo>
                    <a:lnTo>
                      <a:pt x="223" y="33"/>
                    </a:lnTo>
                    <a:lnTo>
                      <a:pt x="222" y="33"/>
                    </a:lnTo>
                    <a:lnTo>
                      <a:pt x="220" y="33"/>
                    </a:lnTo>
                    <a:lnTo>
                      <a:pt x="218" y="31"/>
                    </a:lnTo>
                    <a:lnTo>
                      <a:pt x="217" y="31"/>
                    </a:lnTo>
                    <a:lnTo>
                      <a:pt x="215" y="31"/>
                    </a:lnTo>
                    <a:lnTo>
                      <a:pt x="214" y="31"/>
                    </a:lnTo>
                    <a:lnTo>
                      <a:pt x="214" y="33"/>
                    </a:lnTo>
                    <a:lnTo>
                      <a:pt x="212" y="33"/>
                    </a:lnTo>
                    <a:lnTo>
                      <a:pt x="210" y="31"/>
                    </a:lnTo>
                    <a:lnTo>
                      <a:pt x="210" y="30"/>
                    </a:lnTo>
                    <a:lnTo>
                      <a:pt x="209" y="30"/>
                    </a:lnTo>
                    <a:lnTo>
                      <a:pt x="207" y="28"/>
                    </a:lnTo>
                    <a:lnTo>
                      <a:pt x="207" y="27"/>
                    </a:lnTo>
                    <a:lnTo>
                      <a:pt x="206" y="25"/>
                    </a:lnTo>
                    <a:lnTo>
                      <a:pt x="204" y="24"/>
                    </a:lnTo>
                    <a:lnTo>
                      <a:pt x="203" y="22"/>
                    </a:lnTo>
                    <a:lnTo>
                      <a:pt x="201" y="20"/>
                    </a:lnTo>
                    <a:lnTo>
                      <a:pt x="199" y="19"/>
                    </a:lnTo>
                    <a:lnTo>
                      <a:pt x="198" y="19"/>
                    </a:lnTo>
                    <a:lnTo>
                      <a:pt x="198" y="17"/>
                    </a:lnTo>
                    <a:lnTo>
                      <a:pt x="196" y="17"/>
                    </a:lnTo>
                    <a:lnTo>
                      <a:pt x="196" y="16"/>
                    </a:lnTo>
                    <a:lnTo>
                      <a:pt x="195" y="16"/>
                    </a:lnTo>
                    <a:lnTo>
                      <a:pt x="193" y="14"/>
                    </a:lnTo>
                    <a:lnTo>
                      <a:pt x="191" y="14"/>
                    </a:lnTo>
                    <a:lnTo>
                      <a:pt x="191" y="12"/>
                    </a:lnTo>
                    <a:lnTo>
                      <a:pt x="191" y="11"/>
                    </a:lnTo>
                    <a:lnTo>
                      <a:pt x="190" y="11"/>
                    </a:lnTo>
                    <a:lnTo>
                      <a:pt x="190" y="9"/>
                    </a:lnTo>
                    <a:lnTo>
                      <a:pt x="190" y="8"/>
                    </a:lnTo>
                    <a:lnTo>
                      <a:pt x="188" y="6"/>
                    </a:lnTo>
                    <a:lnTo>
                      <a:pt x="188" y="4"/>
                    </a:lnTo>
                    <a:lnTo>
                      <a:pt x="187" y="3"/>
                    </a:lnTo>
                    <a:lnTo>
                      <a:pt x="187" y="1"/>
                    </a:lnTo>
                    <a:lnTo>
                      <a:pt x="185" y="1"/>
                    </a:lnTo>
                    <a:lnTo>
                      <a:pt x="185" y="0"/>
                    </a:lnTo>
                    <a:lnTo>
                      <a:pt x="184" y="0"/>
                    </a:lnTo>
                    <a:lnTo>
                      <a:pt x="182" y="0"/>
                    </a:lnTo>
                    <a:lnTo>
                      <a:pt x="180" y="0"/>
                    </a:lnTo>
                    <a:lnTo>
                      <a:pt x="180" y="1"/>
                    </a:lnTo>
                    <a:lnTo>
                      <a:pt x="180" y="3"/>
                    </a:lnTo>
                    <a:lnTo>
                      <a:pt x="179" y="3"/>
                    </a:lnTo>
                    <a:lnTo>
                      <a:pt x="177" y="4"/>
                    </a:lnTo>
                    <a:lnTo>
                      <a:pt x="177" y="6"/>
                    </a:lnTo>
                    <a:lnTo>
                      <a:pt x="177" y="8"/>
                    </a:lnTo>
                    <a:lnTo>
                      <a:pt x="176" y="9"/>
                    </a:lnTo>
                    <a:lnTo>
                      <a:pt x="177" y="9"/>
                    </a:lnTo>
                    <a:lnTo>
                      <a:pt x="177" y="11"/>
                    </a:lnTo>
                    <a:lnTo>
                      <a:pt x="176" y="11"/>
                    </a:lnTo>
                    <a:lnTo>
                      <a:pt x="174" y="11"/>
                    </a:lnTo>
                    <a:lnTo>
                      <a:pt x="174" y="12"/>
                    </a:lnTo>
                    <a:lnTo>
                      <a:pt x="176" y="12"/>
                    </a:lnTo>
                    <a:lnTo>
                      <a:pt x="176" y="14"/>
                    </a:lnTo>
                    <a:lnTo>
                      <a:pt x="176" y="12"/>
                    </a:lnTo>
                    <a:lnTo>
                      <a:pt x="174" y="12"/>
                    </a:lnTo>
                    <a:lnTo>
                      <a:pt x="172" y="12"/>
                    </a:lnTo>
                    <a:lnTo>
                      <a:pt x="172" y="14"/>
                    </a:lnTo>
                    <a:lnTo>
                      <a:pt x="172" y="16"/>
                    </a:lnTo>
                    <a:lnTo>
                      <a:pt x="172" y="17"/>
                    </a:lnTo>
                    <a:lnTo>
                      <a:pt x="172" y="19"/>
                    </a:lnTo>
                    <a:lnTo>
                      <a:pt x="171" y="19"/>
                    </a:lnTo>
                    <a:lnTo>
                      <a:pt x="171" y="17"/>
                    </a:lnTo>
                    <a:lnTo>
                      <a:pt x="169" y="17"/>
                    </a:lnTo>
                    <a:lnTo>
                      <a:pt x="169" y="19"/>
                    </a:lnTo>
                    <a:lnTo>
                      <a:pt x="168" y="20"/>
                    </a:lnTo>
                    <a:lnTo>
                      <a:pt x="166" y="20"/>
                    </a:lnTo>
                    <a:lnTo>
                      <a:pt x="166" y="22"/>
                    </a:lnTo>
                    <a:lnTo>
                      <a:pt x="166" y="24"/>
                    </a:lnTo>
                    <a:lnTo>
                      <a:pt x="166" y="25"/>
                    </a:lnTo>
                    <a:lnTo>
                      <a:pt x="165" y="25"/>
                    </a:lnTo>
                    <a:lnTo>
                      <a:pt x="165" y="27"/>
                    </a:lnTo>
                    <a:lnTo>
                      <a:pt x="163" y="27"/>
                    </a:lnTo>
                    <a:lnTo>
                      <a:pt x="163" y="28"/>
                    </a:lnTo>
                    <a:lnTo>
                      <a:pt x="163" y="30"/>
                    </a:lnTo>
                    <a:lnTo>
                      <a:pt x="161" y="30"/>
                    </a:lnTo>
                    <a:lnTo>
                      <a:pt x="161" y="31"/>
                    </a:lnTo>
                    <a:lnTo>
                      <a:pt x="161" y="33"/>
                    </a:lnTo>
                    <a:lnTo>
                      <a:pt x="161" y="35"/>
                    </a:lnTo>
                    <a:lnTo>
                      <a:pt x="160" y="36"/>
                    </a:lnTo>
                    <a:lnTo>
                      <a:pt x="160" y="38"/>
                    </a:lnTo>
                    <a:lnTo>
                      <a:pt x="158" y="38"/>
                    </a:lnTo>
                    <a:lnTo>
                      <a:pt x="158" y="39"/>
                    </a:lnTo>
                    <a:lnTo>
                      <a:pt x="160" y="39"/>
                    </a:lnTo>
                    <a:lnTo>
                      <a:pt x="158" y="39"/>
                    </a:lnTo>
                    <a:lnTo>
                      <a:pt x="158" y="41"/>
                    </a:lnTo>
                    <a:lnTo>
                      <a:pt x="158" y="43"/>
                    </a:lnTo>
                    <a:lnTo>
                      <a:pt x="157" y="43"/>
                    </a:lnTo>
                    <a:lnTo>
                      <a:pt x="157" y="44"/>
                    </a:lnTo>
                    <a:lnTo>
                      <a:pt x="155" y="44"/>
                    </a:lnTo>
                    <a:lnTo>
                      <a:pt x="155" y="46"/>
                    </a:lnTo>
                    <a:lnTo>
                      <a:pt x="157" y="46"/>
                    </a:lnTo>
                    <a:lnTo>
                      <a:pt x="157" y="47"/>
                    </a:lnTo>
                    <a:lnTo>
                      <a:pt x="157" y="49"/>
                    </a:lnTo>
                    <a:lnTo>
                      <a:pt x="155" y="49"/>
                    </a:lnTo>
                    <a:lnTo>
                      <a:pt x="155" y="50"/>
                    </a:lnTo>
                    <a:lnTo>
                      <a:pt x="153" y="50"/>
                    </a:lnTo>
                    <a:lnTo>
                      <a:pt x="153" y="52"/>
                    </a:lnTo>
                    <a:lnTo>
                      <a:pt x="152" y="52"/>
                    </a:lnTo>
                    <a:lnTo>
                      <a:pt x="152" y="54"/>
                    </a:lnTo>
                    <a:lnTo>
                      <a:pt x="152" y="55"/>
                    </a:lnTo>
                    <a:lnTo>
                      <a:pt x="150" y="55"/>
                    </a:lnTo>
                    <a:lnTo>
                      <a:pt x="149" y="55"/>
                    </a:lnTo>
                    <a:lnTo>
                      <a:pt x="147" y="57"/>
                    </a:lnTo>
                    <a:lnTo>
                      <a:pt x="146" y="57"/>
                    </a:lnTo>
                    <a:lnTo>
                      <a:pt x="146" y="58"/>
                    </a:lnTo>
                    <a:lnTo>
                      <a:pt x="146" y="60"/>
                    </a:lnTo>
                    <a:lnTo>
                      <a:pt x="144" y="60"/>
                    </a:lnTo>
                    <a:lnTo>
                      <a:pt x="144" y="62"/>
                    </a:lnTo>
                    <a:lnTo>
                      <a:pt x="144" y="63"/>
                    </a:lnTo>
                    <a:lnTo>
                      <a:pt x="142" y="63"/>
                    </a:lnTo>
                    <a:lnTo>
                      <a:pt x="141" y="63"/>
                    </a:lnTo>
                    <a:lnTo>
                      <a:pt x="142" y="63"/>
                    </a:lnTo>
                    <a:lnTo>
                      <a:pt x="142" y="65"/>
                    </a:lnTo>
                    <a:lnTo>
                      <a:pt x="141" y="65"/>
                    </a:lnTo>
                    <a:lnTo>
                      <a:pt x="139" y="66"/>
                    </a:lnTo>
                    <a:lnTo>
                      <a:pt x="138" y="66"/>
                    </a:lnTo>
                    <a:lnTo>
                      <a:pt x="138" y="68"/>
                    </a:lnTo>
                    <a:lnTo>
                      <a:pt x="136" y="66"/>
                    </a:lnTo>
                    <a:lnTo>
                      <a:pt x="134" y="66"/>
                    </a:lnTo>
                    <a:lnTo>
                      <a:pt x="133" y="65"/>
                    </a:lnTo>
                    <a:lnTo>
                      <a:pt x="133" y="66"/>
                    </a:lnTo>
                    <a:lnTo>
                      <a:pt x="131" y="66"/>
                    </a:lnTo>
                    <a:lnTo>
                      <a:pt x="130" y="66"/>
                    </a:lnTo>
                    <a:lnTo>
                      <a:pt x="130" y="68"/>
                    </a:lnTo>
                    <a:lnTo>
                      <a:pt x="128" y="68"/>
                    </a:lnTo>
                    <a:lnTo>
                      <a:pt x="128" y="69"/>
                    </a:lnTo>
                    <a:lnTo>
                      <a:pt x="127" y="69"/>
                    </a:lnTo>
                    <a:lnTo>
                      <a:pt x="125" y="69"/>
                    </a:lnTo>
                    <a:lnTo>
                      <a:pt x="123" y="69"/>
                    </a:lnTo>
                    <a:lnTo>
                      <a:pt x="123" y="71"/>
                    </a:lnTo>
                    <a:lnTo>
                      <a:pt x="122" y="71"/>
                    </a:lnTo>
                    <a:lnTo>
                      <a:pt x="122" y="73"/>
                    </a:lnTo>
                    <a:lnTo>
                      <a:pt x="120" y="73"/>
                    </a:lnTo>
                    <a:lnTo>
                      <a:pt x="119" y="73"/>
                    </a:lnTo>
                    <a:lnTo>
                      <a:pt x="117" y="73"/>
                    </a:lnTo>
                    <a:lnTo>
                      <a:pt x="115" y="73"/>
                    </a:lnTo>
                    <a:lnTo>
                      <a:pt x="114" y="73"/>
                    </a:lnTo>
                    <a:lnTo>
                      <a:pt x="114" y="74"/>
                    </a:lnTo>
                    <a:lnTo>
                      <a:pt x="112" y="74"/>
                    </a:lnTo>
                    <a:lnTo>
                      <a:pt x="111" y="74"/>
                    </a:lnTo>
                    <a:lnTo>
                      <a:pt x="111" y="76"/>
                    </a:lnTo>
                    <a:lnTo>
                      <a:pt x="109" y="76"/>
                    </a:lnTo>
                    <a:lnTo>
                      <a:pt x="108" y="77"/>
                    </a:lnTo>
                    <a:lnTo>
                      <a:pt x="108" y="79"/>
                    </a:lnTo>
                    <a:lnTo>
                      <a:pt x="106" y="79"/>
                    </a:lnTo>
                    <a:lnTo>
                      <a:pt x="104" y="79"/>
                    </a:lnTo>
                    <a:lnTo>
                      <a:pt x="103" y="79"/>
                    </a:lnTo>
                    <a:lnTo>
                      <a:pt x="101" y="79"/>
                    </a:lnTo>
                    <a:lnTo>
                      <a:pt x="100" y="79"/>
                    </a:lnTo>
                    <a:lnTo>
                      <a:pt x="100" y="77"/>
                    </a:lnTo>
                    <a:lnTo>
                      <a:pt x="98" y="79"/>
                    </a:lnTo>
                    <a:lnTo>
                      <a:pt x="98" y="81"/>
                    </a:lnTo>
                    <a:lnTo>
                      <a:pt x="96" y="81"/>
                    </a:lnTo>
                    <a:lnTo>
                      <a:pt x="95" y="81"/>
                    </a:lnTo>
                    <a:lnTo>
                      <a:pt x="95" y="79"/>
                    </a:lnTo>
                    <a:lnTo>
                      <a:pt x="93" y="79"/>
                    </a:lnTo>
                    <a:lnTo>
                      <a:pt x="92" y="79"/>
                    </a:lnTo>
                    <a:lnTo>
                      <a:pt x="90" y="79"/>
                    </a:lnTo>
                    <a:lnTo>
                      <a:pt x="90" y="81"/>
                    </a:lnTo>
                    <a:lnTo>
                      <a:pt x="89" y="81"/>
                    </a:lnTo>
                    <a:lnTo>
                      <a:pt x="89" y="82"/>
                    </a:lnTo>
                    <a:lnTo>
                      <a:pt x="87" y="82"/>
                    </a:lnTo>
                    <a:lnTo>
                      <a:pt x="85" y="82"/>
                    </a:lnTo>
                    <a:lnTo>
                      <a:pt x="84" y="82"/>
                    </a:lnTo>
                    <a:lnTo>
                      <a:pt x="82" y="82"/>
                    </a:lnTo>
                    <a:lnTo>
                      <a:pt x="81" y="81"/>
                    </a:lnTo>
                    <a:lnTo>
                      <a:pt x="79" y="81"/>
                    </a:lnTo>
                    <a:lnTo>
                      <a:pt x="77" y="81"/>
                    </a:lnTo>
                    <a:lnTo>
                      <a:pt x="77" y="79"/>
                    </a:lnTo>
                    <a:lnTo>
                      <a:pt x="77" y="77"/>
                    </a:lnTo>
                    <a:lnTo>
                      <a:pt x="76" y="77"/>
                    </a:lnTo>
                    <a:lnTo>
                      <a:pt x="76" y="76"/>
                    </a:lnTo>
                    <a:lnTo>
                      <a:pt x="74" y="76"/>
                    </a:lnTo>
                    <a:lnTo>
                      <a:pt x="74" y="77"/>
                    </a:lnTo>
                    <a:lnTo>
                      <a:pt x="73" y="77"/>
                    </a:lnTo>
                    <a:lnTo>
                      <a:pt x="73" y="79"/>
                    </a:lnTo>
                    <a:lnTo>
                      <a:pt x="73" y="81"/>
                    </a:lnTo>
                    <a:lnTo>
                      <a:pt x="71" y="81"/>
                    </a:lnTo>
                    <a:lnTo>
                      <a:pt x="70" y="81"/>
                    </a:lnTo>
                    <a:lnTo>
                      <a:pt x="70" y="82"/>
                    </a:lnTo>
                    <a:lnTo>
                      <a:pt x="68" y="82"/>
                    </a:lnTo>
                    <a:lnTo>
                      <a:pt x="66" y="82"/>
                    </a:lnTo>
                    <a:lnTo>
                      <a:pt x="65" y="82"/>
                    </a:lnTo>
                    <a:lnTo>
                      <a:pt x="63" y="82"/>
                    </a:lnTo>
                    <a:lnTo>
                      <a:pt x="62" y="82"/>
                    </a:lnTo>
                    <a:lnTo>
                      <a:pt x="60" y="82"/>
                    </a:lnTo>
                    <a:lnTo>
                      <a:pt x="58" y="82"/>
                    </a:lnTo>
                    <a:lnTo>
                      <a:pt x="57" y="82"/>
                    </a:lnTo>
                    <a:lnTo>
                      <a:pt x="57" y="81"/>
                    </a:lnTo>
                    <a:lnTo>
                      <a:pt x="55" y="81"/>
                    </a:lnTo>
                    <a:lnTo>
                      <a:pt x="55" y="79"/>
                    </a:lnTo>
                    <a:lnTo>
                      <a:pt x="55" y="77"/>
                    </a:lnTo>
                    <a:lnTo>
                      <a:pt x="54" y="77"/>
                    </a:lnTo>
                    <a:lnTo>
                      <a:pt x="52" y="77"/>
                    </a:lnTo>
                    <a:lnTo>
                      <a:pt x="51" y="77"/>
                    </a:lnTo>
                    <a:lnTo>
                      <a:pt x="49" y="77"/>
                    </a:lnTo>
                    <a:lnTo>
                      <a:pt x="49" y="79"/>
                    </a:lnTo>
                    <a:lnTo>
                      <a:pt x="49" y="81"/>
                    </a:lnTo>
                    <a:lnTo>
                      <a:pt x="47" y="81"/>
                    </a:lnTo>
                    <a:lnTo>
                      <a:pt x="49" y="81"/>
                    </a:lnTo>
                    <a:lnTo>
                      <a:pt x="49" y="79"/>
                    </a:lnTo>
                    <a:lnTo>
                      <a:pt x="47" y="79"/>
                    </a:lnTo>
                    <a:lnTo>
                      <a:pt x="47" y="77"/>
                    </a:lnTo>
                    <a:lnTo>
                      <a:pt x="47" y="76"/>
                    </a:lnTo>
                    <a:lnTo>
                      <a:pt x="46" y="76"/>
                    </a:lnTo>
                    <a:lnTo>
                      <a:pt x="46" y="74"/>
                    </a:lnTo>
                    <a:lnTo>
                      <a:pt x="44" y="74"/>
                    </a:lnTo>
                    <a:lnTo>
                      <a:pt x="44" y="76"/>
                    </a:lnTo>
                    <a:lnTo>
                      <a:pt x="43" y="76"/>
                    </a:lnTo>
                    <a:lnTo>
                      <a:pt x="43" y="77"/>
                    </a:lnTo>
                    <a:lnTo>
                      <a:pt x="41" y="77"/>
                    </a:lnTo>
                    <a:lnTo>
                      <a:pt x="41" y="79"/>
                    </a:lnTo>
                    <a:lnTo>
                      <a:pt x="41" y="77"/>
                    </a:lnTo>
                    <a:lnTo>
                      <a:pt x="39" y="77"/>
                    </a:lnTo>
                    <a:lnTo>
                      <a:pt x="39" y="79"/>
                    </a:lnTo>
                    <a:lnTo>
                      <a:pt x="39" y="81"/>
                    </a:lnTo>
                    <a:lnTo>
                      <a:pt x="39" y="82"/>
                    </a:lnTo>
                    <a:lnTo>
                      <a:pt x="41" y="84"/>
                    </a:lnTo>
                    <a:lnTo>
                      <a:pt x="41" y="85"/>
                    </a:lnTo>
                    <a:lnTo>
                      <a:pt x="39" y="85"/>
                    </a:lnTo>
                    <a:lnTo>
                      <a:pt x="38" y="85"/>
                    </a:lnTo>
                    <a:lnTo>
                      <a:pt x="38" y="84"/>
                    </a:lnTo>
                    <a:lnTo>
                      <a:pt x="38" y="82"/>
                    </a:lnTo>
                    <a:lnTo>
                      <a:pt x="36" y="81"/>
                    </a:lnTo>
                    <a:lnTo>
                      <a:pt x="36" y="79"/>
                    </a:lnTo>
                    <a:lnTo>
                      <a:pt x="35" y="79"/>
                    </a:lnTo>
                    <a:lnTo>
                      <a:pt x="35" y="77"/>
                    </a:lnTo>
                    <a:lnTo>
                      <a:pt x="36" y="77"/>
                    </a:lnTo>
                    <a:lnTo>
                      <a:pt x="38" y="77"/>
                    </a:lnTo>
                    <a:lnTo>
                      <a:pt x="38" y="76"/>
                    </a:lnTo>
                    <a:lnTo>
                      <a:pt x="38" y="74"/>
                    </a:lnTo>
                    <a:lnTo>
                      <a:pt x="38" y="73"/>
                    </a:lnTo>
                    <a:lnTo>
                      <a:pt x="38" y="74"/>
                    </a:lnTo>
                    <a:lnTo>
                      <a:pt x="36" y="74"/>
                    </a:lnTo>
                    <a:lnTo>
                      <a:pt x="35" y="74"/>
                    </a:lnTo>
                    <a:lnTo>
                      <a:pt x="35" y="73"/>
                    </a:lnTo>
                    <a:lnTo>
                      <a:pt x="33" y="73"/>
                    </a:lnTo>
                    <a:lnTo>
                      <a:pt x="33" y="71"/>
                    </a:lnTo>
                    <a:lnTo>
                      <a:pt x="31" y="71"/>
                    </a:lnTo>
                    <a:lnTo>
                      <a:pt x="31" y="69"/>
                    </a:lnTo>
                    <a:lnTo>
                      <a:pt x="30" y="69"/>
                    </a:lnTo>
                    <a:lnTo>
                      <a:pt x="28" y="69"/>
                    </a:lnTo>
                    <a:lnTo>
                      <a:pt x="28" y="68"/>
                    </a:lnTo>
                    <a:lnTo>
                      <a:pt x="28" y="66"/>
                    </a:lnTo>
                    <a:lnTo>
                      <a:pt x="27" y="66"/>
                    </a:lnTo>
                    <a:lnTo>
                      <a:pt x="27" y="65"/>
                    </a:lnTo>
                    <a:lnTo>
                      <a:pt x="25" y="65"/>
                    </a:lnTo>
                    <a:lnTo>
                      <a:pt x="24" y="65"/>
                    </a:lnTo>
                    <a:lnTo>
                      <a:pt x="24" y="63"/>
                    </a:lnTo>
                    <a:lnTo>
                      <a:pt x="22" y="63"/>
                    </a:lnTo>
                    <a:lnTo>
                      <a:pt x="20" y="63"/>
                    </a:lnTo>
                    <a:lnTo>
                      <a:pt x="20" y="62"/>
                    </a:lnTo>
                    <a:lnTo>
                      <a:pt x="19" y="62"/>
                    </a:lnTo>
                    <a:lnTo>
                      <a:pt x="17" y="60"/>
                    </a:lnTo>
                    <a:lnTo>
                      <a:pt x="17" y="62"/>
                    </a:lnTo>
                    <a:lnTo>
                      <a:pt x="16" y="62"/>
                    </a:lnTo>
                    <a:lnTo>
                      <a:pt x="16" y="60"/>
                    </a:lnTo>
                    <a:lnTo>
                      <a:pt x="16" y="62"/>
                    </a:lnTo>
                    <a:lnTo>
                      <a:pt x="14" y="62"/>
                    </a:lnTo>
                    <a:lnTo>
                      <a:pt x="14" y="60"/>
                    </a:lnTo>
                    <a:lnTo>
                      <a:pt x="12" y="60"/>
                    </a:lnTo>
                    <a:lnTo>
                      <a:pt x="11" y="60"/>
                    </a:lnTo>
                    <a:lnTo>
                      <a:pt x="9" y="60"/>
                    </a:lnTo>
                    <a:lnTo>
                      <a:pt x="9" y="58"/>
                    </a:lnTo>
                    <a:lnTo>
                      <a:pt x="8" y="58"/>
                    </a:lnTo>
                    <a:lnTo>
                      <a:pt x="6" y="58"/>
                    </a:lnTo>
                    <a:lnTo>
                      <a:pt x="5" y="58"/>
                    </a:lnTo>
                    <a:lnTo>
                      <a:pt x="3" y="60"/>
                    </a:lnTo>
                    <a:lnTo>
                      <a:pt x="0" y="58"/>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72" name="Freeform 70"/>
              <p:cNvSpPr>
                <a:spLocks/>
              </p:cNvSpPr>
              <p:nvPr/>
            </p:nvSpPr>
            <p:spPr bwMode="auto">
              <a:xfrm>
                <a:off x="2447" y="646"/>
                <a:ext cx="491" cy="449"/>
              </a:xfrm>
              <a:custGeom>
                <a:avLst/>
                <a:gdLst>
                  <a:gd name="T0" fmla="*/ 196 w 491"/>
                  <a:gd name="T1" fmla="*/ 431 h 449"/>
                  <a:gd name="T2" fmla="*/ 188 w 491"/>
                  <a:gd name="T3" fmla="*/ 437 h 449"/>
                  <a:gd name="T4" fmla="*/ 179 w 491"/>
                  <a:gd name="T5" fmla="*/ 442 h 449"/>
                  <a:gd name="T6" fmla="*/ 173 w 491"/>
                  <a:gd name="T7" fmla="*/ 445 h 449"/>
                  <a:gd name="T8" fmla="*/ 165 w 491"/>
                  <a:gd name="T9" fmla="*/ 447 h 449"/>
                  <a:gd name="T10" fmla="*/ 155 w 491"/>
                  <a:gd name="T11" fmla="*/ 447 h 449"/>
                  <a:gd name="T12" fmla="*/ 147 w 491"/>
                  <a:gd name="T13" fmla="*/ 445 h 449"/>
                  <a:gd name="T14" fmla="*/ 139 w 491"/>
                  <a:gd name="T15" fmla="*/ 442 h 449"/>
                  <a:gd name="T16" fmla="*/ 133 w 491"/>
                  <a:gd name="T17" fmla="*/ 439 h 449"/>
                  <a:gd name="T18" fmla="*/ 127 w 491"/>
                  <a:gd name="T19" fmla="*/ 436 h 449"/>
                  <a:gd name="T20" fmla="*/ 120 w 491"/>
                  <a:gd name="T21" fmla="*/ 430 h 449"/>
                  <a:gd name="T22" fmla="*/ 112 w 491"/>
                  <a:gd name="T23" fmla="*/ 425 h 449"/>
                  <a:gd name="T24" fmla="*/ 104 w 491"/>
                  <a:gd name="T25" fmla="*/ 420 h 449"/>
                  <a:gd name="T26" fmla="*/ 98 w 491"/>
                  <a:gd name="T27" fmla="*/ 412 h 449"/>
                  <a:gd name="T28" fmla="*/ 89 w 491"/>
                  <a:gd name="T29" fmla="*/ 407 h 449"/>
                  <a:gd name="T30" fmla="*/ 85 w 491"/>
                  <a:gd name="T31" fmla="*/ 396 h 449"/>
                  <a:gd name="T32" fmla="*/ 79 w 491"/>
                  <a:gd name="T33" fmla="*/ 393 h 449"/>
                  <a:gd name="T34" fmla="*/ 70 w 491"/>
                  <a:gd name="T35" fmla="*/ 390 h 449"/>
                  <a:gd name="T36" fmla="*/ 60 w 491"/>
                  <a:gd name="T37" fmla="*/ 387 h 449"/>
                  <a:gd name="T38" fmla="*/ 47 w 491"/>
                  <a:gd name="T39" fmla="*/ 385 h 449"/>
                  <a:gd name="T40" fmla="*/ 36 w 491"/>
                  <a:gd name="T41" fmla="*/ 382 h 449"/>
                  <a:gd name="T42" fmla="*/ 27 w 491"/>
                  <a:gd name="T43" fmla="*/ 379 h 449"/>
                  <a:gd name="T44" fmla="*/ 22 w 491"/>
                  <a:gd name="T45" fmla="*/ 377 h 449"/>
                  <a:gd name="T46" fmla="*/ 17 w 491"/>
                  <a:gd name="T47" fmla="*/ 365 h 449"/>
                  <a:gd name="T48" fmla="*/ 11 w 491"/>
                  <a:gd name="T49" fmla="*/ 355 h 449"/>
                  <a:gd name="T50" fmla="*/ 6 w 491"/>
                  <a:gd name="T51" fmla="*/ 344 h 449"/>
                  <a:gd name="T52" fmla="*/ 3 w 491"/>
                  <a:gd name="T53" fmla="*/ 336 h 449"/>
                  <a:gd name="T54" fmla="*/ 9 w 491"/>
                  <a:gd name="T55" fmla="*/ 319 h 449"/>
                  <a:gd name="T56" fmla="*/ 9 w 491"/>
                  <a:gd name="T57" fmla="*/ 298 h 449"/>
                  <a:gd name="T58" fmla="*/ 6 w 491"/>
                  <a:gd name="T59" fmla="*/ 262 h 449"/>
                  <a:gd name="T60" fmla="*/ 27 w 491"/>
                  <a:gd name="T61" fmla="*/ 201 h 449"/>
                  <a:gd name="T62" fmla="*/ 33 w 491"/>
                  <a:gd name="T63" fmla="*/ 181 h 449"/>
                  <a:gd name="T64" fmla="*/ 49 w 491"/>
                  <a:gd name="T65" fmla="*/ 174 h 449"/>
                  <a:gd name="T66" fmla="*/ 66 w 491"/>
                  <a:gd name="T67" fmla="*/ 171 h 449"/>
                  <a:gd name="T68" fmla="*/ 92 w 491"/>
                  <a:gd name="T69" fmla="*/ 168 h 449"/>
                  <a:gd name="T70" fmla="*/ 117 w 491"/>
                  <a:gd name="T71" fmla="*/ 168 h 449"/>
                  <a:gd name="T72" fmla="*/ 147 w 491"/>
                  <a:gd name="T73" fmla="*/ 176 h 449"/>
                  <a:gd name="T74" fmla="*/ 174 w 491"/>
                  <a:gd name="T75" fmla="*/ 186 h 449"/>
                  <a:gd name="T76" fmla="*/ 192 w 491"/>
                  <a:gd name="T77" fmla="*/ 178 h 449"/>
                  <a:gd name="T78" fmla="*/ 193 w 491"/>
                  <a:gd name="T79" fmla="*/ 152 h 449"/>
                  <a:gd name="T80" fmla="*/ 203 w 491"/>
                  <a:gd name="T81" fmla="*/ 135 h 449"/>
                  <a:gd name="T82" fmla="*/ 218 w 491"/>
                  <a:gd name="T83" fmla="*/ 130 h 449"/>
                  <a:gd name="T84" fmla="*/ 250 w 491"/>
                  <a:gd name="T85" fmla="*/ 133 h 449"/>
                  <a:gd name="T86" fmla="*/ 263 w 491"/>
                  <a:gd name="T87" fmla="*/ 143 h 449"/>
                  <a:gd name="T88" fmla="*/ 274 w 491"/>
                  <a:gd name="T89" fmla="*/ 157 h 449"/>
                  <a:gd name="T90" fmla="*/ 276 w 491"/>
                  <a:gd name="T91" fmla="*/ 176 h 449"/>
                  <a:gd name="T92" fmla="*/ 298 w 491"/>
                  <a:gd name="T93" fmla="*/ 193 h 449"/>
                  <a:gd name="T94" fmla="*/ 309 w 491"/>
                  <a:gd name="T95" fmla="*/ 206 h 449"/>
                  <a:gd name="T96" fmla="*/ 333 w 491"/>
                  <a:gd name="T97" fmla="*/ 167 h 449"/>
                  <a:gd name="T98" fmla="*/ 359 w 491"/>
                  <a:gd name="T99" fmla="*/ 111 h 449"/>
                  <a:gd name="T100" fmla="*/ 375 w 491"/>
                  <a:gd name="T101" fmla="*/ 86 h 449"/>
                  <a:gd name="T102" fmla="*/ 383 w 491"/>
                  <a:gd name="T103" fmla="*/ 75 h 449"/>
                  <a:gd name="T104" fmla="*/ 399 w 491"/>
                  <a:gd name="T105" fmla="*/ 46 h 449"/>
                  <a:gd name="T106" fmla="*/ 418 w 491"/>
                  <a:gd name="T107" fmla="*/ 14 h 449"/>
                  <a:gd name="T108" fmla="*/ 436 w 491"/>
                  <a:gd name="T109" fmla="*/ 10 h 449"/>
                  <a:gd name="T110" fmla="*/ 448 w 491"/>
                  <a:gd name="T111" fmla="*/ 27 h 449"/>
                  <a:gd name="T112" fmla="*/ 456 w 491"/>
                  <a:gd name="T113" fmla="*/ 43 h 449"/>
                  <a:gd name="T114" fmla="*/ 478 w 491"/>
                  <a:gd name="T115" fmla="*/ 54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1" h="449">
                    <a:moveTo>
                      <a:pt x="206" y="426"/>
                    </a:moveTo>
                    <a:lnTo>
                      <a:pt x="204" y="426"/>
                    </a:lnTo>
                    <a:lnTo>
                      <a:pt x="201" y="426"/>
                    </a:lnTo>
                    <a:lnTo>
                      <a:pt x="199" y="426"/>
                    </a:lnTo>
                    <a:lnTo>
                      <a:pt x="198" y="426"/>
                    </a:lnTo>
                    <a:lnTo>
                      <a:pt x="198" y="428"/>
                    </a:lnTo>
                    <a:lnTo>
                      <a:pt x="198" y="430"/>
                    </a:lnTo>
                    <a:lnTo>
                      <a:pt x="196" y="431"/>
                    </a:lnTo>
                    <a:lnTo>
                      <a:pt x="196" y="433"/>
                    </a:lnTo>
                    <a:lnTo>
                      <a:pt x="195" y="434"/>
                    </a:lnTo>
                    <a:lnTo>
                      <a:pt x="193" y="434"/>
                    </a:lnTo>
                    <a:lnTo>
                      <a:pt x="192" y="434"/>
                    </a:lnTo>
                    <a:lnTo>
                      <a:pt x="192" y="436"/>
                    </a:lnTo>
                    <a:lnTo>
                      <a:pt x="192" y="437"/>
                    </a:lnTo>
                    <a:lnTo>
                      <a:pt x="190" y="437"/>
                    </a:lnTo>
                    <a:lnTo>
                      <a:pt x="188" y="437"/>
                    </a:lnTo>
                    <a:lnTo>
                      <a:pt x="187" y="437"/>
                    </a:lnTo>
                    <a:lnTo>
                      <a:pt x="185" y="439"/>
                    </a:lnTo>
                    <a:lnTo>
                      <a:pt x="184" y="439"/>
                    </a:lnTo>
                    <a:lnTo>
                      <a:pt x="182" y="439"/>
                    </a:lnTo>
                    <a:lnTo>
                      <a:pt x="182" y="441"/>
                    </a:lnTo>
                    <a:lnTo>
                      <a:pt x="180" y="441"/>
                    </a:lnTo>
                    <a:lnTo>
                      <a:pt x="180" y="442"/>
                    </a:lnTo>
                    <a:lnTo>
                      <a:pt x="179" y="442"/>
                    </a:lnTo>
                    <a:lnTo>
                      <a:pt x="179" y="444"/>
                    </a:lnTo>
                    <a:lnTo>
                      <a:pt x="179" y="442"/>
                    </a:lnTo>
                    <a:lnTo>
                      <a:pt x="177" y="442"/>
                    </a:lnTo>
                    <a:lnTo>
                      <a:pt x="176" y="442"/>
                    </a:lnTo>
                    <a:lnTo>
                      <a:pt x="174" y="442"/>
                    </a:lnTo>
                    <a:lnTo>
                      <a:pt x="174" y="444"/>
                    </a:lnTo>
                    <a:lnTo>
                      <a:pt x="173" y="444"/>
                    </a:lnTo>
                    <a:lnTo>
                      <a:pt x="173" y="445"/>
                    </a:lnTo>
                    <a:lnTo>
                      <a:pt x="171" y="445"/>
                    </a:lnTo>
                    <a:lnTo>
                      <a:pt x="171" y="444"/>
                    </a:lnTo>
                    <a:lnTo>
                      <a:pt x="169" y="444"/>
                    </a:lnTo>
                    <a:lnTo>
                      <a:pt x="168" y="444"/>
                    </a:lnTo>
                    <a:lnTo>
                      <a:pt x="168" y="445"/>
                    </a:lnTo>
                    <a:lnTo>
                      <a:pt x="168" y="447"/>
                    </a:lnTo>
                    <a:lnTo>
                      <a:pt x="166" y="447"/>
                    </a:lnTo>
                    <a:lnTo>
                      <a:pt x="165" y="447"/>
                    </a:lnTo>
                    <a:lnTo>
                      <a:pt x="163" y="447"/>
                    </a:lnTo>
                    <a:lnTo>
                      <a:pt x="163" y="449"/>
                    </a:lnTo>
                    <a:lnTo>
                      <a:pt x="161" y="449"/>
                    </a:lnTo>
                    <a:lnTo>
                      <a:pt x="160" y="449"/>
                    </a:lnTo>
                    <a:lnTo>
                      <a:pt x="158" y="449"/>
                    </a:lnTo>
                    <a:lnTo>
                      <a:pt x="157" y="449"/>
                    </a:lnTo>
                    <a:lnTo>
                      <a:pt x="155" y="449"/>
                    </a:lnTo>
                    <a:lnTo>
                      <a:pt x="155" y="447"/>
                    </a:lnTo>
                    <a:lnTo>
                      <a:pt x="154" y="447"/>
                    </a:lnTo>
                    <a:lnTo>
                      <a:pt x="152" y="447"/>
                    </a:lnTo>
                    <a:lnTo>
                      <a:pt x="150" y="445"/>
                    </a:lnTo>
                    <a:lnTo>
                      <a:pt x="149" y="445"/>
                    </a:lnTo>
                    <a:lnTo>
                      <a:pt x="149" y="447"/>
                    </a:lnTo>
                    <a:lnTo>
                      <a:pt x="147" y="447"/>
                    </a:lnTo>
                    <a:lnTo>
                      <a:pt x="146" y="447"/>
                    </a:lnTo>
                    <a:lnTo>
                      <a:pt x="147" y="445"/>
                    </a:lnTo>
                    <a:lnTo>
                      <a:pt x="146" y="445"/>
                    </a:lnTo>
                    <a:lnTo>
                      <a:pt x="144" y="445"/>
                    </a:lnTo>
                    <a:lnTo>
                      <a:pt x="144" y="444"/>
                    </a:lnTo>
                    <a:lnTo>
                      <a:pt x="142" y="442"/>
                    </a:lnTo>
                    <a:lnTo>
                      <a:pt x="141" y="442"/>
                    </a:lnTo>
                    <a:lnTo>
                      <a:pt x="141" y="444"/>
                    </a:lnTo>
                    <a:lnTo>
                      <a:pt x="139" y="444"/>
                    </a:lnTo>
                    <a:lnTo>
                      <a:pt x="139" y="442"/>
                    </a:lnTo>
                    <a:lnTo>
                      <a:pt x="138" y="444"/>
                    </a:lnTo>
                    <a:lnTo>
                      <a:pt x="136" y="444"/>
                    </a:lnTo>
                    <a:lnTo>
                      <a:pt x="136" y="442"/>
                    </a:lnTo>
                    <a:lnTo>
                      <a:pt x="136" y="441"/>
                    </a:lnTo>
                    <a:lnTo>
                      <a:pt x="135" y="441"/>
                    </a:lnTo>
                    <a:lnTo>
                      <a:pt x="135" y="442"/>
                    </a:lnTo>
                    <a:lnTo>
                      <a:pt x="133" y="441"/>
                    </a:lnTo>
                    <a:lnTo>
                      <a:pt x="133" y="439"/>
                    </a:lnTo>
                    <a:lnTo>
                      <a:pt x="133" y="437"/>
                    </a:lnTo>
                    <a:lnTo>
                      <a:pt x="131" y="437"/>
                    </a:lnTo>
                    <a:lnTo>
                      <a:pt x="131" y="436"/>
                    </a:lnTo>
                    <a:lnTo>
                      <a:pt x="130" y="436"/>
                    </a:lnTo>
                    <a:lnTo>
                      <a:pt x="130" y="434"/>
                    </a:lnTo>
                    <a:lnTo>
                      <a:pt x="128" y="434"/>
                    </a:lnTo>
                    <a:lnTo>
                      <a:pt x="127" y="434"/>
                    </a:lnTo>
                    <a:lnTo>
                      <a:pt x="127" y="436"/>
                    </a:lnTo>
                    <a:lnTo>
                      <a:pt x="127" y="434"/>
                    </a:lnTo>
                    <a:lnTo>
                      <a:pt x="125" y="434"/>
                    </a:lnTo>
                    <a:lnTo>
                      <a:pt x="125" y="433"/>
                    </a:lnTo>
                    <a:lnTo>
                      <a:pt x="123" y="433"/>
                    </a:lnTo>
                    <a:lnTo>
                      <a:pt x="123" y="431"/>
                    </a:lnTo>
                    <a:lnTo>
                      <a:pt x="122" y="431"/>
                    </a:lnTo>
                    <a:lnTo>
                      <a:pt x="122" y="430"/>
                    </a:lnTo>
                    <a:lnTo>
                      <a:pt x="120" y="430"/>
                    </a:lnTo>
                    <a:lnTo>
                      <a:pt x="119" y="430"/>
                    </a:lnTo>
                    <a:lnTo>
                      <a:pt x="119" y="428"/>
                    </a:lnTo>
                    <a:lnTo>
                      <a:pt x="117" y="428"/>
                    </a:lnTo>
                    <a:lnTo>
                      <a:pt x="117" y="426"/>
                    </a:lnTo>
                    <a:lnTo>
                      <a:pt x="116" y="426"/>
                    </a:lnTo>
                    <a:lnTo>
                      <a:pt x="116" y="425"/>
                    </a:lnTo>
                    <a:lnTo>
                      <a:pt x="114" y="425"/>
                    </a:lnTo>
                    <a:lnTo>
                      <a:pt x="112" y="425"/>
                    </a:lnTo>
                    <a:lnTo>
                      <a:pt x="112" y="423"/>
                    </a:lnTo>
                    <a:lnTo>
                      <a:pt x="111" y="423"/>
                    </a:lnTo>
                    <a:lnTo>
                      <a:pt x="109" y="423"/>
                    </a:lnTo>
                    <a:lnTo>
                      <a:pt x="109" y="422"/>
                    </a:lnTo>
                    <a:lnTo>
                      <a:pt x="108" y="422"/>
                    </a:lnTo>
                    <a:lnTo>
                      <a:pt x="106" y="422"/>
                    </a:lnTo>
                    <a:lnTo>
                      <a:pt x="106" y="420"/>
                    </a:lnTo>
                    <a:lnTo>
                      <a:pt x="104" y="420"/>
                    </a:lnTo>
                    <a:lnTo>
                      <a:pt x="103" y="420"/>
                    </a:lnTo>
                    <a:lnTo>
                      <a:pt x="103" y="418"/>
                    </a:lnTo>
                    <a:lnTo>
                      <a:pt x="101" y="417"/>
                    </a:lnTo>
                    <a:lnTo>
                      <a:pt x="100" y="417"/>
                    </a:lnTo>
                    <a:lnTo>
                      <a:pt x="100" y="415"/>
                    </a:lnTo>
                    <a:lnTo>
                      <a:pt x="100" y="414"/>
                    </a:lnTo>
                    <a:lnTo>
                      <a:pt x="98" y="414"/>
                    </a:lnTo>
                    <a:lnTo>
                      <a:pt x="98" y="412"/>
                    </a:lnTo>
                    <a:lnTo>
                      <a:pt x="97" y="412"/>
                    </a:lnTo>
                    <a:lnTo>
                      <a:pt x="97" y="411"/>
                    </a:lnTo>
                    <a:lnTo>
                      <a:pt x="95" y="411"/>
                    </a:lnTo>
                    <a:lnTo>
                      <a:pt x="95" y="409"/>
                    </a:lnTo>
                    <a:lnTo>
                      <a:pt x="93" y="409"/>
                    </a:lnTo>
                    <a:lnTo>
                      <a:pt x="92" y="409"/>
                    </a:lnTo>
                    <a:lnTo>
                      <a:pt x="90" y="407"/>
                    </a:lnTo>
                    <a:lnTo>
                      <a:pt x="89" y="407"/>
                    </a:lnTo>
                    <a:lnTo>
                      <a:pt x="89" y="406"/>
                    </a:lnTo>
                    <a:lnTo>
                      <a:pt x="89" y="404"/>
                    </a:lnTo>
                    <a:lnTo>
                      <a:pt x="87" y="403"/>
                    </a:lnTo>
                    <a:lnTo>
                      <a:pt x="87" y="401"/>
                    </a:lnTo>
                    <a:lnTo>
                      <a:pt x="87" y="399"/>
                    </a:lnTo>
                    <a:lnTo>
                      <a:pt x="85" y="399"/>
                    </a:lnTo>
                    <a:lnTo>
                      <a:pt x="85" y="398"/>
                    </a:lnTo>
                    <a:lnTo>
                      <a:pt x="85" y="396"/>
                    </a:lnTo>
                    <a:lnTo>
                      <a:pt x="84" y="396"/>
                    </a:lnTo>
                    <a:lnTo>
                      <a:pt x="84" y="395"/>
                    </a:lnTo>
                    <a:lnTo>
                      <a:pt x="82" y="395"/>
                    </a:lnTo>
                    <a:lnTo>
                      <a:pt x="82" y="393"/>
                    </a:lnTo>
                    <a:lnTo>
                      <a:pt x="81" y="393"/>
                    </a:lnTo>
                    <a:lnTo>
                      <a:pt x="81" y="392"/>
                    </a:lnTo>
                    <a:lnTo>
                      <a:pt x="79" y="392"/>
                    </a:lnTo>
                    <a:lnTo>
                      <a:pt x="79" y="393"/>
                    </a:lnTo>
                    <a:lnTo>
                      <a:pt x="78" y="393"/>
                    </a:lnTo>
                    <a:lnTo>
                      <a:pt x="76" y="393"/>
                    </a:lnTo>
                    <a:lnTo>
                      <a:pt x="76" y="392"/>
                    </a:lnTo>
                    <a:lnTo>
                      <a:pt x="74" y="392"/>
                    </a:lnTo>
                    <a:lnTo>
                      <a:pt x="73" y="392"/>
                    </a:lnTo>
                    <a:lnTo>
                      <a:pt x="73" y="390"/>
                    </a:lnTo>
                    <a:lnTo>
                      <a:pt x="71" y="390"/>
                    </a:lnTo>
                    <a:lnTo>
                      <a:pt x="70" y="390"/>
                    </a:lnTo>
                    <a:lnTo>
                      <a:pt x="70" y="388"/>
                    </a:lnTo>
                    <a:lnTo>
                      <a:pt x="68" y="388"/>
                    </a:lnTo>
                    <a:lnTo>
                      <a:pt x="68" y="387"/>
                    </a:lnTo>
                    <a:lnTo>
                      <a:pt x="66" y="387"/>
                    </a:lnTo>
                    <a:lnTo>
                      <a:pt x="65" y="387"/>
                    </a:lnTo>
                    <a:lnTo>
                      <a:pt x="63" y="387"/>
                    </a:lnTo>
                    <a:lnTo>
                      <a:pt x="62" y="387"/>
                    </a:lnTo>
                    <a:lnTo>
                      <a:pt x="60" y="387"/>
                    </a:lnTo>
                    <a:lnTo>
                      <a:pt x="59" y="387"/>
                    </a:lnTo>
                    <a:lnTo>
                      <a:pt x="57" y="387"/>
                    </a:lnTo>
                    <a:lnTo>
                      <a:pt x="55" y="387"/>
                    </a:lnTo>
                    <a:lnTo>
                      <a:pt x="54" y="385"/>
                    </a:lnTo>
                    <a:lnTo>
                      <a:pt x="52" y="385"/>
                    </a:lnTo>
                    <a:lnTo>
                      <a:pt x="51" y="385"/>
                    </a:lnTo>
                    <a:lnTo>
                      <a:pt x="49" y="385"/>
                    </a:lnTo>
                    <a:lnTo>
                      <a:pt x="47" y="385"/>
                    </a:lnTo>
                    <a:lnTo>
                      <a:pt x="46" y="384"/>
                    </a:lnTo>
                    <a:lnTo>
                      <a:pt x="44" y="384"/>
                    </a:lnTo>
                    <a:lnTo>
                      <a:pt x="43" y="384"/>
                    </a:lnTo>
                    <a:lnTo>
                      <a:pt x="41" y="384"/>
                    </a:lnTo>
                    <a:lnTo>
                      <a:pt x="39" y="384"/>
                    </a:lnTo>
                    <a:lnTo>
                      <a:pt x="38" y="384"/>
                    </a:lnTo>
                    <a:lnTo>
                      <a:pt x="36" y="384"/>
                    </a:lnTo>
                    <a:lnTo>
                      <a:pt x="36" y="382"/>
                    </a:lnTo>
                    <a:lnTo>
                      <a:pt x="35" y="382"/>
                    </a:lnTo>
                    <a:lnTo>
                      <a:pt x="33" y="382"/>
                    </a:lnTo>
                    <a:lnTo>
                      <a:pt x="33" y="380"/>
                    </a:lnTo>
                    <a:lnTo>
                      <a:pt x="32" y="380"/>
                    </a:lnTo>
                    <a:lnTo>
                      <a:pt x="30" y="380"/>
                    </a:lnTo>
                    <a:lnTo>
                      <a:pt x="30" y="379"/>
                    </a:lnTo>
                    <a:lnTo>
                      <a:pt x="28" y="379"/>
                    </a:lnTo>
                    <a:lnTo>
                      <a:pt x="27" y="379"/>
                    </a:lnTo>
                    <a:lnTo>
                      <a:pt x="27" y="377"/>
                    </a:lnTo>
                    <a:lnTo>
                      <a:pt x="27" y="379"/>
                    </a:lnTo>
                    <a:lnTo>
                      <a:pt x="25" y="379"/>
                    </a:lnTo>
                    <a:lnTo>
                      <a:pt x="25" y="380"/>
                    </a:lnTo>
                    <a:lnTo>
                      <a:pt x="25" y="379"/>
                    </a:lnTo>
                    <a:lnTo>
                      <a:pt x="24" y="379"/>
                    </a:lnTo>
                    <a:lnTo>
                      <a:pt x="24" y="377"/>
                    </a:lnTo>
                    <a:lnTo>
                      <a:pt x="22" y="377"/>
                    </a:lnTo>
                    <a:lnTo>
                      <a:pt x="20" y="376"/>
                    </a:lnTo>
                    <a:lnTo>
                      <a:pt x="20" y="374"/>
                    </a:lnTo>
                    <a:lnTo>
                      <a:pt x="19" y="372"/>
                    </a:lnTo>
                    <a:lnTo>
                      <a:pt x="19" y="371"/>
                    </a:lnTo>
                    <a:lnTo>
                      <a:pt x="17" y="369"/>
                    </a:lnTo>
                    <a:lnTo>
                      <a:pt x="17" y="368"/>
                    </a:lnTo>
                    <a:lnTo>
                      <a:pt x="17" y="366"/>
                    </a:lnTo>
                    <a:lnTo>
                      <a:pt x="17" y="365"/>
                    </a:lnTo>
                    <a:lnTo>
                      <a:pt x="16" y="363"/>
                    </a:lnTo>
                    <a:lnTo>
                      <a:pt x="16" y="361"/>
                    </a:lnTo>
                    <a:lnTo>
                      <a:pt x="16" y="360"/>
                    </a:lnTo>
                    <a:lnTo>
                      <a:pt x="14" y="360"/>
                    </a:lnTo>
                    <a:lnTo>
                      <a:pt x="13" y="360"/>
                    </a:lnTo>
                    <a:lnTo>
                      <a:pt x="13" y="358"/>
                    </a:lnTo>
                    <a:lnTo>
                      <a:pt x="11" y="357"/>
                    </a:lnTo>
                    <a:lnTo>
                      <a:pt x="11" y="355"/>
                    </a:lnTo>
                    <a:lnTo>
                      <a:pt x="9" y="355"/>
                    </a:lnTo>
                    <a:lnTo>
                      <a:pt x="9" y="353"/>
                    </a:lnTo>
                    <a:lnTo>
                      <a:pt x="8" y="352"/>
                    </a:lnTo>
                    <a:lnTo>
                      <a:pt x="8" y="350"/>
                    </a:lnTo>
                    <a:lnTo>
                      <a:pt x="8" y="349"/>
                    </a:lnTo>
                    <a:lnTo>
                      <a:pt x="8" y="347"/>
                    </a:lnTo>
                    <a:lnTo>
                      <a:pt x="6" y="346"/>
                    </a:lnTo>
                    <a:lnTo>
                      <a:pt x="6" y="344"/>
                    </a:lnTo>
                    <a:lnTo>
                      <a:pt x="8" y="344"/>
                    </a:lnTo>
                    <a:lnTo>
                      <a:pt x="8" y="342"/>
                    </a:lnTo>
                    <a:lnTo>
                      <a:pt x="8" y="341"/>
                    </a:lnTo>
                    <a:lnTo>
                      <a:pt x="8" y="339"/>
                    </a:lnTo>
                    <a:lnTo>
                      <a:pt x="6" y="339"/>
                    </a:lnTo>
                    <a:lnTo>
                      <a:pt x="5" y="339"/>
                    </a:lnTo>
                    <a:lnTo>
                      <a:pt x="5" y="338"/>
                    </a:lnTo>
                    <a:lnTo>
                      <a:pt x="3" y="336"/>
                    </a:lnTo>
                    <a:lnTo>
                      <a:pt x="1" y="334"/>
                    </a:lnTo>
                    <a:lnTo>
                      <a:pt x="0" y="333"/>
                    </a:lnTo>
                    <a:lnTo>
                      <a:pt x="0" y="331"/>
                    </a:lnTo>
                    <a:lnTo>
                      <a:pt x="5" y="325"/>
                    </a:lnTo>
                    <a:lnTo>
                      <a:pt x="5" y="323"/>
                    </a:lnTo>
                    <a:lnTo>
                      <a:pt x="6" y="322"/>
                    </a:lnTo>
                    <a:lnTo>
                      <a:pt x="8" y="320"/>
                    </a:lnTo>
                    <a:lnTo>
                      <a:pt x="9" y="319"/>
                    </a:lnTo>
                    <a:lnTo>
                      <a:pt x="11" y="315"/>
                    </a:lnTo>
                    <a:lnTo>
                      <a:pt x="14" y="312"/>
                    </a:lnTo>
                    <a:lnTo>
                      <a:pt x="14" y="311"/>
                    </a:lnTo>
                    <a:lnTo>
                      <a:pt x="13" y="308"/>
                    </a:lnTo>
                    <a:lnTo>
                      <a:pt x="13" y="304"/>
                    </a:lnTo>
                    <a:lnTo>
                      <a:pt x="11" y="304"/>
                    </a:lnTo>
                    <a:lnTo>
                      <a:pt x="11" y="303"/>
                    </a:lnTo>
                    <a:lnTo>
                      <a:pt x="9" y="298"/>
                    </a:lnTo>
                    <a:lnTo>
                      <a:pt x="6" y="289"/>
                    </a:lnTo>
                    <a:lnTo>
                      <a:pt x="1" y="281"/>
                    </a:lnTo>
                    <a:lnTo>
                      <a:pt x="1" y="279"/>
                    </a:lnTo>
                    <a:lnTo>
                      <a:pt x="0" y="270"/>
                    </a:lnTo>
                    <a:lnTo>
                      <a:pt x="0" y="268"/>
                    </a:lnTo>
                    <a:lnTo>
                      <a:pt x="3" y="263"/>
                    </a:lnTo>
                    <a:lnTo>
                      <a:pt x="5" y="263"/>
                    </a:lnTo>
                    <a:lnTo>
                      <a:pt x="6" y="262"/>
                    </a:lnTo>
                    <a:lnTo>
                      <a:pt x="6" y="260"/>
                    </a:lnTo>
                    <a:lnTo>
                      <a:pt x="14" y="244"/>
                    </a:lnTo>
                    <a:lnTo>
                      <a:pt x="14" y="239"/>
                    </a:lnTo>
                    <a:lnTo>
                      <a:pt x="16" y="236"/>
                    </a:lnTo>
                    <a:lnTo>
                      <a:pt x="16" y="233"/>
                    </a:lnTo>
                    <a:lnTo>
                      <a:pt x="17" y="231"/>
                    </a:lnTo>
                    <a:lnTo>
                      <a:pt x="24" y="212"/>
                    </a:lnTo>
                    <a:lnTo>
                      <a:pt x="27" y="201"/>
                    </a:lnTo>
                    <a:lnTo>
                      <a:pt x="28" y="198"/>
                    </a:lnTo>
                    <a:lnTo>
                      <a:pt x="30" y="192"/>
                    </a:lnTo>
                    <a:lnTo>
                      <a:pt x="32" y="189"/>
                    </a:lnTo>
                    <a:lnTo>
                      <a:pt x="32" y="187"/>
                    </a:lnTo>
                    <a:lnTo>
                      <a:pt x="30" y="186"/>
                    </a:lnTo>
                    <a:lnTo>
                      <a:pt x="32" y="186"/>
                    </a:lnTo>
                    <a:lnTo>
                      <a:pt x="32" y="184"/>
                    </a:lnTo>
                    <a:lnTo>
                      <a:pt x="33" y="181"/>
                    </a:lnTo>
                    <a:lnTo>
                      <a:pt x="33" y="179"/>
                    </a:lnTo>
                    <a:lnTo>
                      <a:pt x="33" y="178"/>
                    </a:lnTo>
                    <a:lnTo>
                      <a:pt x="35" y="178"/>
                    </a:lnTo>
                    <a:lnTo>
                      <a:pt x="36" y="178"/>
                    </a:lnTo>
                    <a:lnTo>
                      <a:pt x="43" y="176"/>
                    </a:lnTo>
                    <a:lnTo>
                      <a:pt x="46" y="176"/>
                    </a:lnTo>
                    <a:lnTo>
                      <a:pt x="47" y="176"/>
                    </a:lnTo>
                    <a:lnTo>
                      <a:pt x="49" y="174"/>
                    </a:lnTo>
                    <a:lnTo>
                      <a:pt x="51" y="173"/>
                    </a:lnTo>
                    <a:lnTo>
                      <a:pt x="52" y="173"/>
                    </a:lnTo>
                    <a:lnTo>
                      <a:pt x="54" y="171"/>
                    </a:lnTo>
                    <a:lnTo>
                      <a:pt x="55" y="171"/>
                    </a:lnTo>
                    <a:lnTo>
                      <a:pt x="57" y="171"/>
                    </a:lnTo>
                    <a:lnTo>
                      <a:pt x="59" y="171"/>
                    </a:lnTo>
                    <a:lnTo>
                      <a:pt x="63" y="171"/>
                    </a:lnTo>
                    <a:lnTo>
                      <a:pt x="66" y="171"/>
                    </a:lnTo>
                    <a:lnTo>
                      <a:pt x="70" y="173"/>
                    </a:lnTo>
                    <a:lnTo>
                      <a:pt x="71" y="173"/>
                    </a:lnTo>
                    <a:lnTo>
                      <a:pt x="74" y="171"/>
                    </a:lnTo>
                    <a:lnTo>
                      <a:pt x="78" y="170"/>
                    </a:lnTo>
                    <a:lnTo>
                      <a:pt x="79" y="168"/>
                    </a:lnTo>
                    <a:lnTo>
                      <a:pt x="82" y="167"/>
                    </a:lnTo>
                    <a:lnTo>
                      <a:pt x="85" y="168"/>
                    </a:lnTo>
                    <a:lnTo>
                      <a:pt x="92" y="168"/>
                    </a:lnTo>
                    <a:lnTo>
                      <a:pt x="98" y="167"/>
                    </a:lnTo>
                    <a:lnTo>
                      <a:pt x="104" y="168"/>
                    </a:lnTo>
                    <a:lnTo>
                      <a:pt x="106" y="168"/>
                    </a:lnTo>
                    <a:lnTo>
                      <a:pt x="106" y="167"/>
                    </a:lnTo>
                    <a:lnTo>
                      <a:pt x="109" y="167"/>
                    </a:lnTo>
                    <a:lnTo>
                      <a:pt x="111" y="168"/>
                    </a:lnTo>
                    <a:lnTo>
                      <a:pt x="112" y="168"/>
                    </a:lnTo>
                    <a:lnTo>
                      <a:pt x="117" y="168"/>
                    </a:lnTo>
                    <a:lnTo>
                      <a:pt x="122" y="167"/>
                    </a:lnTo>
                    <a:lnTo>
                      <a:pt x="125" y="167"/>
                    </a:lnTo>
                    <a:lnTo>
                      <a:pt x="128" y="168"/>
                    </a:lnTo>
                    <a:lnTo>
                      <a:pt x="133" y="170"/>
                    </a:lnTo>
                    <a:lnTo>
                      <a:pt x="136" y="170"/>
                    </a:lnTo>
                    <a:lnTo>
                      <a:pt x="142" y="173"/>
                    </a:lnTo>
                    <a:lnTo>
                      <a:pt x="144" y="174"/>
                    </a:lnTo>
                    <a:lnTo>
                      <a:pt x="147" y="176"/>
                    </a:lnTo>
                    <a:lnTo>
                      <a:pt x="150" y="178"/>
                    </a:lnTo>
                    <a:lnTo>
                      <a:pt x="154" y="179"/>
                    </a:lnTo>
                    <a:lnTo>
                      <a:pt x="157" y="181"/>
                    </a:lnTo>
                    <a:lnTo>
                      <a:pt x="160" y="184"/>
                    </a:lnTo>
                    <a:lnTo>
                      <a:pt x="163" y="186"/>
                    </a:lnTo>
                    <a:lnTo>
                      <a:pt x="166" y="187"/>
                    </a:lnTo>
                    <a:lnTo>
                      <a:pt x="169" y="187"/>
                    </a:lnTo>
                    <a:lnTo>
                      <a:pt x="174" y="186"/>
                    </a:lnTo>
                    <a:lnTo>
                      <a:pt x="176" y="186"/>
                    </a:lnTo>
                    <a:lnTo>
                      <a:pt x="179" y="184"/>
                    </a:lnTo>
                    <a:lnTo>
                      <a:pt x="180" y="182"/>
                    </a:lnTo>
                    <a:lnTo>
                      <a:pt x="184" y="181"/>
                    </a:lnTo>
                    <a:lnTo>
                      <a:pt x="185" y="181"/>
                    </a:lnTo>
                    <a:lnTo>
                      <a:pt x="188" y="181"/>
                    </a:lnTo>
                    <a:lnTo>
                      <a:pt x="190" y="181"/>
                    </a:lnTo>
                    <a:lnTo>
                      <a:pt x="192" y="178"/>
                    </a:lnTo>
                    <a:lnTo>
                      <a:pt x="192" y="174"/>
                    </a:lnTo>
                    <a:lnTo>
                      <a:pt x="192" y="170"/>
                    </a:lnTo>
                    <a:lnTo>
                      <a:pt x="192" y="165"/>
                    </a:lnTo>
                    <a:lnTo>
                      <a:pt x="192" y="159"/>
                    </a:lnTo>
                    <a:lnTo>
                      <a:pt x="192" y="157"/>
                    </a:lnTo>
                    <a:lnTo>
                      <a:pt x="193" y="155"/>
                    </a:lnTo>
                    <a:lnTo>
                      <a:pt x="193" y="154"/>
                    </a:lnTo>
                    <a:lnTo>
                      <a:pt x="193" y="152"/>
                    </a:lnTo>
                    <a:lnTo>
                      <a:pt x="196" y="149"/>
                    </a:lnTo>
                    <a:lnTo>
                      <a:pt x="199" y="144"/>
                    </a:lnTo>
                    <a:lnTo>
                      <a:pt x="201" y="143"/>
                    </a:lnTo>
                    <a:lnTo>
                      <a:pt x="203" y="143"/>
                    </a:lnTo>
                    <a:lnTo>
                      <a:pt x="206" y="140"/>
                    </a:lnTo>
                    <a:lnTo>
                      <a:pt x="204" y="138"/>
                    </a:lnTo>
                    <a:lnTo>
                      <a:pt x="204" y="136"/>
                    </a:lnTo>
                    <a:lnTo>
                      <a:pt x="203" y="135"/>
                    </a:lnTo>
                    <a:lnTo>
                      <a:pt x="204" y="135"/>
                    </a:lnTo>
                    <a:lnTo>
                      <a:pt x="206" y="135"/>
                    </a:lnTo>
                    <a:lnTo>
                      <a:pt x="209" y="135"/>
                    </a:lnTo>
                    <a:lnTo>
                      <a:pt x="212" y="135"/>
                    </a:lnTo>
                    <a:lnTo>
                      <a:pt x="214" y="133"/>
                    </a:lnTo>
                    <a:lnTo>
                      <a:pt x="215" y="132"/>
                    </a:lnTo>
                    <a:lnTo>
                      <a:pt x="217" y="130"/>
                    </a:lnTo>
                    <a:lnTo>
                      <a:pt x="218" y="130"/>
                    </a:lnTo>
                    <a:lnTo>
                      <a:pt x="223" y="130"/>
                    </a:lnTo>
                    <a:lnTo>
                      <a:pt x="226" y="132"/>
                    </a:lnTo>
                    <a:lnTo>
                      <a:pt x="230" y="132"/>
                    </a:lnTo>
                    <a:lnTo>
                      <a:pt x="233" y="133"/>
                    </a:lnTo>
                    <a:lnTo>
                      <a:pt x="239" y="133"/>
                    </a:lnTo>
                    <a:lnTo>
                      <a:pt x="242" y="132"/>
                    </a:lnTo>
                    <a:lnTo>
                      <a:pt x="247" y="132"/>
                    </a:lnTo>
                    <a:lnTo>
                      <a:pt x="250" y="133"/>
                    </a:lnTo>
                    <a:lnTo>
                      <a:pt x="250" y="135"/>
                    </a:lnTo>
                    <a:lnTo>
                      <a:pt x="252" y="135"/>
                    </a:lnTo>
                    <a:lnTo>
                      <a:pt x="255" y="138"/>
                    </a:lnTo>
                    <a:lnTo>
                      <a:pt x="257" y="138"/>
                    </a:lnTo>
                    <a:lnTo>
                      <a:pt x="258" y="140"/>
                    </a:lnTo>
                    <a:lnTo>
                      <a:pt x="261" y="141"/>
                    </a:lnTo>
                    <a:lnTo>
                      <a:pt x="263" y="141"/>
                    </a:lnTo>
                    <a:lnTo>
                      <a:pt x="263" y="143"/>
                    </a:lnTo>
                    <a:lnTo>
                      <a:pt x="264" y="144"/>
                    </a:lnTo>
                    <a:lnTo>
                      <a:pt x="266" y="148"/>
                    </a:lnTo>
                    <a:lnTo>
                      <a:pt x="266" y="151"/>
                    </a:lnTo>
                    <a:lnTo>
                      <a:pt x="268" y="152"/>
                    </a:lnTo>
                    <a:lnTo>
                      <a:pt x="269" y="154"/>
                    </a:lnTo>
                    <a:lnTo>
                      <a:pt x="272" y="155"/>
                    </a:lnTo>
                    <a:lnTo>
                      <a:pt x="272" y="157"/>
                    </a:lnTo>
                    <a:lnTo>
                      <a:pt x="274" y="157"/>
                    </a:lnTo>
                    <a:lnTo>
                      <a:pt x="274" y="160"/>
                    </a:lnTo>
                    <a:lnTo>
                      <a:pt x="276" y="163"/>
                    </a:lnTo>
                    <a:lnTo>
                      <a:pt x="276" y="165"/>
                    </a:lnTo>
                    <a:lnTo>
                      <a:pt x="277" y="165"/>
                    </a:lnTo>
                    <a:lnTo>
                      <a:pt x="277" y="167"/>
                    </a:lnTo>
                    <a:lnTo>
                      <a:pt x="279" y="168"/>
                    </a:lnTo>
                    <a:lnTo>
                      <a:pt x="277" y="171"/>
                    </a:lnTo>
                    <a:lnTo>
                      <a:pt x="276" y="176"/>
                    </a:lnTo>
                    <a:lnTo>
                      <a:pt x="280" y="179"/>
                    </a:lnTo>
                    <a:lnTo>
                      <a:pt x="282" y="181"/>
                    </a:lnTo>
                    <a:lnTo>
                      <a:pt x="285" y="181"/>
                    </a:lnTo>
                    <a:lnTo>
                      <a:pt x="290" y="182"/>
                    </a:lnTo>
                    <a:lnTo>
                      <a:pt x="296" y="187"/>
                    </a:lnTo>
                    <a:lnTo>
                      <a:pt x="298" y="187"/>
                    </a:lnTo>
                    <a:lnTo>
                      <a:pt x="298" y="189"/>
                    </a:lnTo>
                    <a:lnTo>
                      <a:pt x="298" y="193"/>
                    </a:lnTo>
                    <a:lnTo>
                      <a:pt x="298" y="197"/>
                    </a:lnTo>
                    <a:lnTo>
                      <a:pt x="298" y="200"/>
                    </a:lnTo>
                    <a:lnTo>
                      <a:pt x="298" y="201"/>
                    </a:lnTo>
                    <a:lnTo>
                      <a:pt x="301" y="206"/>
                    </a:lnTo>
                    <a:lnTo>
                      <a:pt x="304" y="208"/>
                    </a:lnTo>
                    <a:lnTo>
                      <a:pt x="306" y="208"/>
                    </a:lnTo>
                    <a:lnTo>
                      <a:pt x="307" y="208"/>
                    </a:lnTo>
                    <a:lnTo>
                      <a:pt x="309" y="206"/>
                    </a:lnTo>
                    <a:lnTo>
                      <a:pt x="309" y="205"/>
                    </a:lnTo>
                    <a:lnTo>
                      <a:pt x="310" y="203"/>
                    </a:lnTo>
                    <a:lnTo>
                      <a:pt x="312" y="200"/>
                    </a:lnTo>
                    <a:lnTo>
                      <a:pt x="315" y="193"/>
                    </a:lnTo>
                    <a:lnTo>
                      <a:pt x="318" y="189"/>
                    </a:lnTo>
                    <a:lnTo>
                      <a:pt x="323" y="182"/>
                    </a:lnTo>
                    <a:lnTo>
                      <a:pt x="328" y="176"/>
                    </a:lnTo>
                    <a:lnTo>
                      <a:pt x="333" y="167"/>
                    </a:lnTo>
                    <a:lnTo>
                      <a:pt x="339" y="154"/>
                    </a:lnTo>
                    <a:lnTo>
                      <a:pt x="344" y="146"/>
                    </a:lnTo>
                    <a:lnTo>
                      <a:pt x="344" y="143"/>
                    </a:lnTo>
                    <a:lnTo>
                      <a:pt x="352" y="124"/>
                    </a:lnTo>
                    <a:lnTo>
                      <a:pt x="355" y="119"/>
                    </a:lnTo>
                    <a:lnTo>
                      <a:pt x="356" y="116"/>
                    </a:lnTo>
                    <a:lnTo>
                      <a:pt x="358" y="114"/>
                    </a:lnTo>
                    <a:lnTo>
                      <a:pt x="359" y="111"/>
                    </a:lnTo>
                    <a:lnTo>
                      <a:pt x="361" y="106"/>
                    </a:lnTo>
                    <a:lnTo>
                      <a:pt x="364" y="102"/>
                    </a:lnTo>
                    <a:lnTo>
                      <a:pt x="366" y="98"/>
                    </a:lnTo>
                    <a:lnTo>
                      <a:pt x="369" y="94"/>
                    </a:lnTo>
                    <a:lnTo>
                      <a:pt x="369" y="90"/>
                    </a:lnTo>
                    <a:lnTo>
                      <a:pt x="371" y="87"/>
                    </a:lnTo>
                    <a:lnTo>
                      <a:pt x="374" y="86"/>
                    </a:lnTo>
                    <a:lnTo>
                      <a:pt x="375" y="86"/>
                    </a:lnTo>
                    <a:lnTo>
                      <a:pt x="375" y="84"/>
                    </a:lnTo>
                    <a:lnTo>
                      <a:pt x="375" y="83"/>
                    </a:lnTo>
                    <a:lnTo>
                      <a:pt x="377" y="79"/>
                    </a:lnTo>
                    <a:lnTo>
                      <a:pt x="377" y="78"/>
                    </a:lnTo>
                    <a:lnTo>
                      <a:pt x="378" y="76"/>
                    </a:lnTo>
                    <a:lnTo>
                      <a:pt x="380" y="75"/>
                    </a:lnTo>
                    <a:lnTo>
                      <a:pt x="382" y="75"/>
                    </a:lnTo>
                    <a:lnTo>
                      <a:pt x="383" y="75"/>
                    </a:lnTo>
                    <a:lnTo>
                      <a:pt x="383" y="73"/>
                    </a:lnTo>
                    <a:lnTo>
                      <a:pt x="385" y="71"/>
                    </a:lnTo>
                    <a:lnTo>
                      <a:pt x="386" y="68"/>
                    </a:lnTo>
                    <a:lnTo>
                      <a:pt x="390" y="62"/>
                    </a:lnTo>
                    <a:lnTo>
                      <a:pt x="393" y="59"/>
                    </a:lnTo>
                    <a:lnTo>
                      <a:pt x="396" y="54"/>
                    </a:lnTo>
                    <a:lnTo>
                      <a:pt x="397" y="49"/>
                    </a:lnTo>
                    <a:lnTo>
                      <a:pt x="399" y="46"/>
                    </a:lnTo>
                    <a:lnTo>
                      <a:pt x="401" y="43"/>
                    </a:lnTo>
                    <a:lnTo>
                      <a:pt x="402" y="40"/>
                    </a:lnTo>
                    <a:lnTo>
                      <a:pt x="405" y="37"/>
                    </a:lnTo>
                    <a:lnTo>
                      <a:pt x="409" y="32"/>
                    </a:lnTo>
                    <a:lnTo>
                      <a:pt x="412" y="27"/>
                    </a:lnTo>
                    <a:lnTo>
                      <a:pt x="413" y="24"/>
                    </a:lnTo>
                    <a:lnTo>
                      <a:pt x="416" y="19"/>
                    </a:lnTo>
                    <a:lnTo>
                      <a:pt x="418" y="14"/>
                    </a:lnTo>
                    <a:lnTo>
                      <a:pt x="421" y="11"/>
                    </a:lnTo>
                    <a:lnTo>
                      <a:pt x="423" y="8"/>
                    </a:lnTo>
                    <a:lnTo>
                      <a:pt x="424" y="5"/>
                    </a:lnTo>
                    <a:lnTo>
                      <a:pt x="428" y="0"/>
                    </a:lnTo>
                    <a:lnTo>
                      <a:pt x="432" y="3"/>
                    </a:lnTo>
                    <a:lnTo>
                      <a:pt x="432" y="5"/>
                    </a:lnTo>
                    <a:lnTo>
                      <a:pt x="434" y="8"/>
                    </a:lnTo>
                    <a:lnTo>
                      <a:pt x="436" y="10"/>
                    </a:lnTo>
                    <a:lnTo>
                      <a:pt x="437" y="13"/>
                    </a:lnTo>
                    <a:lnTo>
                      <a:pt x="439" y="16"/>
                    </a:lnTo>
                    <a:lnTo>
                      <a:pt x="440" y="18"/>
                    </a:lnTo>
                    <a:lnTo>
                      <a:pt x="442" y="19"/>
                    </a:lnTo>
                    <a:lnTo>
                      <a:pt x="443" y="21"/>
                    </a:lnTo>
                    <a:lnTo>
                      <a:pt x="445" y="22"/>
                    </a:lnTo>
                    <a:lnTo>
                      <a:pt x="447" y="25"/>
                    </a:lnTo>
                    <a:lnTo>
                      <a:pt x="448" y="27"/>
                    </a:lnTo>
                    <a:lnTo>
                      <a:pt x="450" y="29"/>
                    </a:lnTo>
                    <a:lnTo>
                      <a:pt x="451" y="32"/>
                    </a:lnTo>
                    <a:lnTo>
                      <a:pt x="453" y="35"/>
                    </a:lnTo>
                    <a:lnTo>
                      <a:pt x="455" y="37"/>
                    </a:lnTo>
                    <a:lnTo>
                      <a:pt x="455" y="38"/>
                    </a:lnTo>
                    <a:lnTo>
                      <a:pt x="456" y="40"/>
                    </a:lnTo>
                    <a:lnTo>
                      <a:pt x="456" y="41"/>
                    </a:lnTo>
                    <a:lnTo>
                      <a:pt x="456" y="43"/>
                    </a:lnTo>
                    <a:lnTo>
                      <a:pt x="456" y="45"/>
                    </a:lnTo>
                    <a:lnTo>
                      <a:pt x="458" y="46"/>
                    </a:lnTo>
                    <a:lnTo>
                      <a:pt x="461" y="49"/>
                    </a:lnTo>
                    <a:lnTo>
                      <a:pt x="464" y="51"/>
                    </a:lnTo>
                    <a:lnTo>
                      <a:pt x="467" y="51"/>
                    </a:lnTo>
                    <a:lnTo>
                      <a:pt x="470" y="51"/>
                    </a:lnTo>
                    <a:lnTo>
                      <a:pt x="474" y="52"/>
                    </a:lnTo>
                    <a:lnTo>
                      <a:pt x="478" y="54"/>
                    </a:lnTo>
                    <a:lnTo>
                      <a:pt x="483" y="56"/>
                    </a:lnTo>
                    <a:lnTo>
                      <a:pt x="488" y="59"/>
                    </a:lnTo>
                    <a:lnTo>
                      <a:pt x="489" y="60"/>
                    </a:lnTo>
                    <a:lnTo>
                      <a:pt x="491" y="62"/>
                    </a:lnTo>
                    <a:lnTo>
                      <a:pt x="491" y="64"/>
                    </a:lnTo>
                  </a:path>
                </a:pathLst>
              </a:custGeom>
              <a:noFill/>
              <a:ln w="4763">
                <a:solidFill>
                  <a:srgbClr val="6E6E6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73" name="Freeform 71"/>
              <p:cNvSpPr>
                <a:spLocks/>
              </p:cNvSpPr>
              <p:nvPr/>
            </p:nvSpPr>
            <p:spPr bwMode="auto">
              <a:xfrm>
                <a:off x="1701" y="2801"/>
                <a:ext cx="3396" cy="1225"/>
              </a:xfrm>
              <a:custGeom>
                <a:avLst/>
                <a:gdLst>
                  <a:gd name="T0" fmla="*/ 2849 w 3396"/>
                  <a:gd name="T1" fmla="*/ 773 h 1225"/>
                  <a:gd name="T2" fmla="*/ 2690 w 3396"/>
                  <a:gd name="T3" fmla="*/ 845 h 1225"/>
                  <a:gd name="T4" fmla="*/ 2651 w 3396"/>
                  <a:gd name="T5" fmla="*/ 903 h 1225"/>
                  <a:gd name="T6" fmla="*/ 2577 w 3396"/>
                  <a:gd name="T7" fmla="*/ 949 h 1225"/>
                  <a:gd name="T8" fmla="*/ 2504 w 3396"/>
                  <a:gd name="T9" fmla="*/ 968 h 1225"/>
                  <a:gd name="T10" fmla="*/ 2377 w 3396"/>
                  <a:gd name="T11" fmla="*/ 986 h 1225"/>
                  <a:gd name="T12" fmla="*/ 2335 w 3396"/>
                  <a:gd name="T13" fmla="*/ 1035 h 1225"/>
                  <a:gd name="T14" fmla="*/ 2295 w 3396"/>
                  <a:gd name="T15" fmla="*/ 1038 h 1225"/>
                  <a:gd name="T16" fmla="*/ 2254 w 3396"/>
                  <a:gd name="T17" fmla="*/ 1036 h 1225"/>
                  <a:gd name="T18" fmla="*/ 2219 w 3396"/>
                  <a:gd name="T19" fmla="*/ 1046 h 1225"/>
                  <a:gd name="T20" fmla="*/ 2175 w 3396"/>
                  <a:gd name="T21" fmla="*/ 1044 h 1225"/>
                  <a:gd name="T22" fmla="*/ 2124 w 3396"/>
                  <a:gd name="T23" fmla="*/ 1049 h 1225"/>
                  <a:gd name="T24" fmla="*/ 2100 w 3396"/>
                  <a:gd name="T25" fmla="*/ 1025 h 1225"/>
                  <a:gd name="T26" fmla="*/ 2062 w 3396"/>
                  <a:gd name="T27" fmla="*/ 989 h 1225"/>
                  <a:gd name="T28" fmla="*/ 2031 w 3396"/>
                  <a:gd name="T29" fmla="*/ 960 h 1225"/>
                  <a:gd name="T30" fmla="*/ 1856 w 3396"/>
                  <a:gd name="T31" fmla="*/ 1014 h 1225"/>
                  <a:gd name="T32" fmla="*/ 1655 w 3396"/>
                  <a:gd name="T33" fmla="*/ 1193 h 1225"/>
                  <a:gd name="T34" fmla="*/ 1620 w 3396"/>
                  <a:gd name="T35" fmla="*/ 1207 h 1225"/>
                  <a:gd name="T36" fmla="*/ 1547 w 3396"/>
                  <a:gd name="T37" fmla="*/ 1177 h 1225"/>
                  <a:gd name="T38" fmla="*/ 1492 w 3396"/>
                  <a:gd name="T39" fmla="*/ 1165 h 1225"/>
                  <a:gd name="T40" fmla="*/ 1435 w 3396"/>
                  <a:gd name="T41" fmla="*/ 1160 h 1225"/>
                  <a:gd name="T42" fmla="*/ 1386 w 3396"/>
                  <a:gd name="T43" fmla="*/ 1142 h 1225"/>
                  <a:gd name="T44" fmla="*/ 1335 w 3396"/>
                  <a:gd name="T45" fmla="*/ 1141 h 1225"/>
                  <a:gd name="T46" fmla="*/ 1275 w 3396"/>
                  <a:gd name="T47" fmla="*/ 1139 h 1225"/>
                  <a:gd name="T48" fmla="*/ 1232 w 3396"/>
                  <a:gd name="T49" fmla="*/ 1138 h 1225"/>
                  <a:gd name="T50" fmla="*/ 1145 w 3396"/>
                  <a:gd name="T51" fmla="*/ 1074 h 1225"/>
                  <a:gd name="T52" fmla="*/ 1039 w 3396"/>
                  <a:gd name="T53" fmla="*/ 1001 h 1225"/>
                  <a:gd name="T54" fmla="*/ 934 w 3396"/>
                  <a:gd name="T55" fmla="*/ 930 h 1225"/>
                  <a:gd name="T56" fmla="*/ 900 w 3396"/>
                  <a:gd name="T57" fmla="*/ 911 h 1225"/>
                  <a:gd name="T58" fmla="*/ 805 w 3396"/>
                  <a:gd name="T59" fmla="*/ 897 h 1225"/>
                  <a:gd name="T60" fmla="*/ 614 w 3396"/>
                  <a:gd name="T61" fmla="*/ 872 h 1225"/>
                  <a:gd name="T62" fmla="*/ 561 w 3396"/>
                  <a:gd name="T63" fmla="*/ 767 h 1225"/>
                  <a:gd name="T64" fmla="*/ 568 w 3396"/>
                  <a:gd name="T65" fmla="*/ 696 h 1225"/>
                  <a:gd name="T66" fmla="*/ 570 w 3396"/>
                  <a:gd name="T67" fmla="*/ 653 h 1225"/>
                  <a:gd name="T68" fmla="*/ 546 w 3396"/>
                  <a:gd name="T69" fmla="*/ 632 h 1225"/>
                  <a:gd name="T70" fmla="*/ 529 w 3396"/>
                  <a:gd name="T71" fmla="*/ 621 h 1225"/>
                  <a:gd name="T72" fmla="*/ 497 w 3396"/>
                  <a:gd name="T73" fmla="*/ 620 h 1225"/>
                  <a:gd name="T74" fmla="*/ 475 w 3396"/>
                  <a:gd name="T75" fmla="*/ 613 h 1225"/>
                  <a:gd name="T76" fmla="*/ 429 w 3396"/>
                  <a:gd name="T77" fmla="*/ 632 h 1225"/>
                  <a:gd name="T78" fmla="*/ 415 w 3396"/>
                  <a:gd name="T79" fmla="*/ 602 h 1225"/>
                  <a:gd name="T80" fmla="*/ 393 w 3396"/>
                  <a:gd name="T81" fmla="*/ 575 h 1225"/>
                  <a:gd name="T82" fmla="*/ 334 w 3396"/>
                  <a:gd name="T83" fmla="*/ 491 h 1225"/>
                  <a:gd name="T84" fmla="*/ 321 w 3396"/>
                  <a:gd name="T85" fmla="*/ 433 h 1225"/>
                  <a:gd name="T86" fmla="*/ 313 w 3396"/>
                  <a:gd name="T87" fmla="*/ 395 h 1225"/>
                  <a:gd name="T88" fmla="*/ 309 w 3396"/>
                  <a:gd name="T89" fmla="*/ 361 h 1225"/>
                  <a:gd name="T90" fmla="*/ 320 w 3396"/>
                  <a:gd name="T91" fmla="*/ 331 h 1225"/>
                  <a:gd name="T92" fmla="*/ 323 w 3396"/>
                  <a:gd name="T93" fmla="*/ 304 h 1225"/>
                  <a:gd name="T94" fmla="*/ 299 w 3396"/>
                  <a:gd name="T95" fmla="*/ 282 h 1225"/>
                  <a:gd name="T96" fmla="*/ 272 w 3396"/>
                  <a:gd name="T97" fmla="*/ 268 h 1225"/>
                  <a:gd name="T98" fmla="*/ 239 w 3396"/>
                  <a:gd name="T99" fmla="*/ 252 h 1225"/>
                  <a:gd name="T100" fmla="*/ 210 w 3396"/>
                  <a:gd name="T101" fmla="*/ 233 h 1225"/>
                  <a:gd name="T102" fmla="*/ 185 w 3396"/>
                  <a:gd name="T103" fmla="*/ 217 h 1225"/>
                  <a:gd name="T104" fmla="*/ 182 w 3396"/>
                  <a:gd name="T105" fmla="*/ 193 h 1225"/>
                  <a:gd name="T106" fmla="*/ 155 w 3396"/>
                  <a:gd name="T107" fmla="*/ 170 h 1225"/>
                  <a:gd name="T108" fmla="*/ 109 w 3396"/>
                  <a:gd name="T109" fmla="*/ 151 h 1225"/>
                  <a:gd name="T110" fmla="*/ 87 w 3396"/>
                  <a:gd name="T111" fmla="*/ 135 h 1225"/>
                  <a:gd name="T112" fmla="*/ 71 w 3396"/>
                  <a:gd name="T113" fmla="*/ 108 h 1225"/>
                  <a:gd name="T114" fmla="*/ 38 w 3396"/>
                  <a:gd name="T115" fmla="*/ 81 h 1225"/>
                  <a:gd name="T116" fmla="*/ 38 w 3396"/>
                  <a:gd name="T117" fmla="*/ 43 h 1225"/>
                  <a:gd name="T118" fmla="*/ 6 w 3396"/>
                  <a:gd name="T119" fmla="*/ 2 h 1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396" h="1225">
                    <a:moveTo>
                      <a:pt x="3396" y="594"/>
                    </a:moveTo>
                    <a:lnTo>
                      <a:pt x="3265" y="729"/>
                    </a:lnTo>
                    <a:lnTo>
                      <a:pt x="3263" y="730"/>
                    </a:lnTo>
                    <a:lnTo>
                      <a:pt x="3258" y="735"/>
                    </a:lnTo>
                    <a:lnTo>
                      <a:pt x="3245" y="750"/>
                    </a:lnTo>
                    <a:lnTo>
                      <a:pt x="3241" y="753"/>
                    </a:lnTo>
                    <a:lnTo>
                      <a:pt x="3241" y="754"/>
                    </a:lnTo>
                    <a:lnTo>
                      <a:pt x="3239" y="756"/>
                    </a:lnTo>
                    <a:lnTo>
                      <a:pt x="3234" y="759"/>
                    </a:lnTo>
                    <a:lnTo>
                      <a:pt x="3223" y="759"/>
                    </a:lnTo>
                    <a:lnTo>
                      <a:pt x="3120" y="754"/>
                    </a:lnTo>
                    <a:lnTo>
                      <a:pt x="3019" y="750"/>
                    </a:lnTo>
                    <a:lnTo>
                      <a:pt x="2957" y="746"/>
                    </a:lnTo>
                    <a:lnTo>
                      <a:pt x="2952" y="746"/>
                    </a:lnTo>
                    <a:lnTo>
                      <a:pt x="2951" y="746"/>
                    </a:lnTo>
                    <a:lnTo>
                      <a:pt x="2894" y="761"/>
                    </a:lnTo>
                    <a:lnTo>
                      <a:pt x="2849" y="773"/>
                    </a:lnTo>
                    <a:lnTo>
                      <a:pt x="2815" y="784"/>
                    </a:lnTo>
                    <a:lnTo>
                      <a:pt x="2794" y="791"/>
                    </a:lnTo>
                    <a:lnTo>
                      <a:pt x="2791" y="792"/>
                    </a:lnTo>
                    <a:lnTo>
                      <a:pt x="2788" y="794"/>
                    </a:lnTo>
                    <a:lnTo>
                      <a:pt x="2783" y="795"/>
                    </a:lnTo>
                    <a:lnTo>
                      <a:pt x="2781" y="795"/>
                    </a:lnTo>
                    <a:lnTo>
                      <a:pt x="2780" y="797"/>
                    </a:lnTo>
                    <a:lnTo>
                      <a:pt x="2756" y="808"/>
                    </a:lnTo>
                    <a:lnTo>
                      <a:pt x="2751" y="810"/>
                    </a:lnTo>
                    <a:lnTo>
                      <a:pt x="2751" y="811"/>
                    </a:lnTo>
                    <a:lnTo>
                      <a:pt x="2739" y="818"/>
                    </a:lnTo>
                    <a:lnTo>
                      <a:pt x="2726" y="824"/>
                    </a:lnTo>
                    <a:lnTo>
                      <a:pt x="2710" y="832"/>
                    </a:lnTo>
                    <a:lnTo>
                      <a:pt x="2705" y="833"/>
                    </a:lnTo>
                    <a:lnTo>
                      <a:pt x="2704" y="837"/>
                    </a:lnTo>
                    <a:lnTo>
                      <a:pt x="2693" y="843"/>
                    </a:lnTo>
                    <a:lnTo>
                      <a:pt x="2690" y="845"/>
                    </a:lnTo>
                    <a:lnTo>
                      <a:pt x="2680" y="851"/>
                    </a:lnTo>
                    <a:lnTo>
                      <a:pt x="2669" y="860"/>
                    </a:lnTo>
                    <a:lnTo>
                      <a:pt x="2667" y="862"/>
                    </a:lnTo>
                    <a:lnTo>
                      <a:pt x="2667" y="864"/>
                    </a:lnTo>
                    <a:lnTo>
                      <a:pt x="2666" y="867"/>
                    </a:lnTo>
                    <a:lnTo>
                      <a:pt x="2664" y="868"/>
                    </a:lnTo>
                    <a:lnTo>
                      <a:pt x="2664" y="870"/>
                    </a:lnTo>
                    <a:lnTo>
                      <a:pt x="2663" y="872"/>
                    </a:lnTo>
                    <a:lnTo>
                      <a:pt x="2663" y="873"/>
                    </a:lnTo>
                    <a:lnTo>
                      <a:pt x="2663" y="875"/>
                    </a:lnTo>
                    <a:lnTo>
                      <a:pt x="2661" y="886"/>
                    </a:lnTo>
                    <a:lnTo>
                      <a:pt x="2659" y="889"/>
                    </a:lnTo>
                    <a:lnTo>
                      <a:pt x="2659" y="891"/>
                    </a:lnTo>
                    <a:lnTo>
                      <a:pt x="2658" y="892"/>
                    </a:lnTo>
                    <a:lnTo>
                      <a:pt x="2656" y="895"/>
                    </a:lnTo>
                    <a:lnTo>
                      <a:pt x="2653" y="898"/>
                    </a:lnTo>
                    <a:lnTo>
                      <a:pt x="2651" y="903"/>
                    </a:lnTo>
                    <a:lnTo>
                      <a:pt x="2648" y="910"/>
                    </a:lnTo>
                    <a:lnTo>
                      <a:pt x="2642" y="916"/>
                    </a:lnTo>
                    <a:lnTo>
                      <a:pt x="2639" y="921"/>
                    </a:lnTo>
                    <a:lnTo>
                      <a:pt x="2636" y="925"/>
                    </a:lnTo>
                    <a:lnTo>
                      <a:pt x="2626" y="933"/>
                    </a:lnTo>
                    <a:lnTo>
                      <a:pt x="2623" y="938"/>
                    </a:lnTo>
                    <a:lnTo>
                      <a:pt x="2621" y="938"/>
                    </a:lnTo>
                    <a:lnTo>
                      <a:pt x="2617" y="943"/>
                    </a:lnTo>
                    <a:lnTo>
                      <a:pt x="2612" y="944"/>
                    </a:lnTo>
                    <a:lnTo>
                      <a:pt x="2609" y="948"/>
                    </a:lnTo>
                    <a:lnTo>
                      <a:pt x="2606" y="949"/>
                    </a:lnTo>
                    <a:lnTo>
                      <a:pt x="2604" y="949"/>
                    </a:lnTo>
                    <a:lnTo>
                      <a:pt x="2590" y="949"/>
                    </a:lnTo>
                    <a:lnTo>
                      <a:pt x="2588" y="949"/>
                    </a:lnTo>
                    <a:lnTo>
                      <a:pt x="2583" y="949"/>
                    </a:lnTo>
                    <a:lnTo>
                      <a:pt x="2580" y="949"/>
                    </a:lnTo>
                    <a:lnTo>
                      <a:pt x="2577" y="949"/>
                    </a:lnTo>
                    <a:lnTo>
                      <a:pt x="2575" y="951"/>
                    </a:lnTo>
                    <a:lnTo>
                      <a:pt x="2572" y="951"/>
                    </a:lnTo>
                    <a:lnTo>
                      <a:pt x="2569" y="951"/>
                    </a:lnTo>
                    <a:lnTo>
                      <a:pt x="2568" y="951"/>
                    </a:lnTo>
                    <a:lnTo>
                      <a:pt x="2564" y="952"/>
                    </a:lnTo>
                    <a:lnTo>
                      <a:pt x="2561" y="954"/>
                    </a:lnTo>
                    <a:lnTo>
                      <a:pt x="2552" y="959"/>
                    </a:lnTo>
                    <a:lnTo>
                      <a:pt x="2539" y="962"/>
                    </a:lnTo>
                    <a:lnTo>
                      <a:pt x="2536" y="963"/>
                    </a:lnTo>
                    <a:lnTo>
                      <a:pt x="2533" y="965"/>
                    </a:lnTo>
                    <a:lnTo>
                      <a:pt x="2530" y="965"/>
                    </a:lnTo>
                    <a:lnTo>
                      <a:pt x="2526" y="967"/>
                    </a:lnTo>
                    <a:lnTo>
                      <a:pt x="2523" y="967"/>
                    </a:lnTo>
                    <a:lnTo>
                      <a:pt x="2518" y="968"/>
                    </a:lnTo>
                    <a:lnTo>
                      <a:pt x="2511" y="968"/>
                    </a:lnTo>
                    <a:lnTo>
                      <a:pt x="2507" y="968"/>
                    </a:lnTo>
                    <a:lnTo>
                      <a:pt x="2504" y="968"/>
                    </a:lnTo>
                    <a:lnTo>
                      <a:pt x="2495" y="968"/>
                    </a:lnTo>
                    <a:lnTo>
                      <a:pt x="2487" y="970"/>
                    </a:lnTo>
                    <a:lnTo>
                      <a:pt x="2482" y="970"/>
                    </a:lnTo>
                    <a:lnTo>
                      <a:pt x="2472" y="971"/>
                    </a:lnTo>
                    <a:lnTo>
                      <a:pt x="2457" y="973"/>
                    </a:lnTo>
                    <a:lnTo>
                      <a:pt x="2452" y="973"/>
                    </a:lnTo>
                    <a:lnTo>
                      <a:pt x="2439" y="973"/>
                    </a:lnTo>
                    <a:lnTo>
                      <a:pt x="2422" y="974"/>
                    </a:lnTo>
                    <a:lnTo>
                      <a:pt x="2406" y="974"/>
                    </a:lnTo>
                    <a:lnTo>
                      <a:pt x="2393" y="974"/>
                    </a:lnTo>
                    <a:lnTo>
                      <a:pt x="2390" y="974"/>
                    </a:lnTo>
                    <a:lnTo>
                      <a:pt x="2389" y="976"/>
                    </a:lnTo>
                    <a:lnTo>
                      <a:pt x="2385" y="978"/>
                    </a:lnTo>
                    <a:lnTo>
                      <a:pt x="2384" y="979"/>
                    </a:lnTo>
                    <a:lnTo>
                      <a:pt x="2382" y="979"/>
                    </a:lnTo>
                    <a:lnTo>
                      <a:pt x="2379" y="982"/>
                    </a:lnTo>
                    <a:lnTo>
                      <a:pt x="2377" y="986"/>
                    </a:lnTo>
                    <a:lnTo>
                      <a:pt x="2376" y="989"/>
                    </a:lnTo>
                    <a:lnTo>
                      <a:pt x="2368" y="997"/>
                    </a:lnTo>
                    <a:lnTo>
                      <a:pt x="2365" y="1000"/>
                    </a:lnTo>
                    <a:lnTo>
                      <a:pt x="2358" y="998"/>
                    </a:lnTo>
                    <a:lnTo>
                      <a:pt x="2357" y="1003"/>
                    </a:lnTo>
                    <a:lnTo>
                      <a:pt x="2355" y="1003"/>
                    </a:lnTo>
                    <a:lnTo>
                      <a:pt x="2349" y="1011"/>
                    </a:lnTo>
                    <a:lnTo>
                      <a:pt x="2349" y="1014"/>
                    </a:lnTo>
                    <a:lnTo>
                      <a:pt x="2351" y="1019"/>
                    </a:lnTo>
                    <a:lnTo>
                      <a:pt x="2349" y="1019"/>
                    </a:lnTo>
                    <a:lnTo>
                      <a:pt x="2349" y="1022"/>
                    </a:lnTo>
                    <a:lnTo>
                      <a:pt x="2344" y="1025"/>
                    </a:lnTo>
                    <a:lnTo>
                      <a:pt x="2343" y="1027"/>
                    </a:lnTo>
                    <a:lnTo>
                      <a:pt x="2343" y="1028"/>
                    </a:lnTo>
                    <a:lnTo>
                      <a:pt x="2339" y="1030"/>
                    </a:lnTo>
                    <a:lnTo>
                      <a:pt x="2338" y="1033"/>
                    </a:lnTo>
                    <a:lnTo>
                      <a:pt x="2335" y="1035"/>
                    </a:lnTo>
                    <a:lnTo>
                      <a:pt x="2332" y="1039"/>
                    </a:lnTo>
                    <a:lnTo>
                      <a:pt x="2330" y="1039"/>
                    </a:lnTo>
                    <a:lnTo>
                      <a:pt x="2327" y="1039"/>
                    </a:lnTo>
                    <a:lnTo>
                      <a:pt x="2325" y="1041"/>
                    </a:lnTo>
                    <a:lnTo>
                      <a:pt x="2320" y="1044"/>
                    </a:lnTo>
                    <a:lnTo>
                      <a:pt x="2319" y="1044"/>
                    </a:lnTo>
                    <a:lnTo>
                      <a:pt x="2316" y="1047"/>
                    </a:lnTo>
                    <a:lnTo>
                      <a:pt x="2314" y="1047"/>
                    </a:lnTo>
                    <a:lnTo>
                      <a:pt x="2309" y="1047"/>
                    </a:lnTo>
                    <a:lnTo>
                      <a:pt x="2306" y="1046"/>
                    </a:lnTo>
                    <a:lnTo>
                      <a:pt x="2305" y="1046"/>
                    </a:lnTo>
                    <a:lnTo>
                      <a:pt x="2301" y="1044"/>
                    </a:lnTo>
                    <a:lnTo>
                      <a:pt x="2300" y="1041"/>
                    </a:lnTo>
                    <a:lnTo>
                      <a:pt x="2300" y="1039"/>
                    </a:lnTo>
                    <a:lnTo>
                      <a:pt x="2298" y="1038"/>
                    </a:lnTo>
                    <a:lnTo>
                      <a:pt x="2297" y="1038"/>
                    </a:lnTo>
                    <a:lnTo>
                      <a:pt x="2295" y="1038"/>
                    </a:lnTo>
                    <a:lnTo>
                      <a:pt x="2292" y="1039"/>
                    </a:lnTo>
                    <a:lnTo>
                      <a:pt x="2290" y="1039"/>
                    </a:lnTo>
                    <a:lnTo>
                      <a:pt x="2289" y="1039"/>
                    </a:lnTo>
                    <a:lnTo>
                      <a:pt x="2287" y="1039"/>
                    </a:lnTo>
                    <a:lnTo>
                      <a:pt x="2286" y="1038"/>
                    </a:lnTo>
                    <a:lnTo>
                      <a:pt x="2284" y="1036"/>
                    </a:lnTo>
                    <a:lnTo>
                      <a:pt x="2278" y="1035"/>
                    </a:lnTo>
                    <a:lnTo>
                      <a:pt x="2274" y="1036"/>
                    </a:lnTo>
                    <a:lnTo>
                      <a:pt x="2271" y="1038"/>
                    </a:lnTo>
                    <a:lnTo>
                      <a:pt x="2270" y="1038"/>
                    </a:lnTo>
                    <a:lnTo>
                      <a:pt x="2268" y="1039"/>
                    </a:lnTo>
                    <a:lnTo>
                      <a:pt x="2267" y="1041"/>
                    </a:lnTo>
                    <a:lnTo>
                      <a:pt x="2265" y="1043"/>
                    </a:lnTo>
                    <a:lnTo>
                      <a:pt x="2260" y="1041"/>
                    </a:lnTo>
                    <a:lnTo>
                      <a:pt x="2257" y="1041"/>
                    </a:lnTo>
                    <a:lnTo>
                      <a:pt x="2255" y="1038"/>
                    </a:lnTo>
                    <a:lnTo>
                      <a:pt x="2254" y="1036"/>
                    </a:lnTo>
                    <a:lnTo>
                      <a:pt x="2252" y="1036"/>
                    </a:lnTo>
                    <a:lnTo>
                      <a:pt x="2251" y="1036"/>
                    </a:lnTo>
                    <a:lnTo>
                      <a:pt x="2251" y="1038"/>
                    </a:lnTo>
                    <a:lnTo>
                      <a:pt x="2248" y="1039"/>
                    </a:lnTo>
                    <a:lnTo>
                      <a:pt x="2243" y="1039"/>
                    </a:lnTo>
                    <a:lnTo>
                      <a:pt x="2241" y="1039"/>
                    </a:lnTo>
                    <a:lnTo>
                      <a:pt x="2238" y="1039"/>
                    </a:lnTo>
                    <a:lnTo>
                      <a:pt x="2236" y="1041"/>
                    </a:lnTo>
                    <a:lnTo>
                      <a:pt x="2235" y="1041"/>
                    </a:lnTo>
                    <a:lnTo>
                      <a:pt x="2232" y="1038"/>
                    </a:lnTo>
                    <a:lnTo>
                      <a:pt x="2230" y="1036"/>
                    </a:lnTo>
                    <a:lnTo>
                      <a:pt x="2227" y="1038"/>
                    </a:lnTo>
                    <a:lnTo>
                      <a:pt x="2225" y="1038"/>
                    </a:lnTo>
                    <a:lnTo>
                      <a:pt x="2224" y="1039"/>
                    </a:lnTo>
                    <a:lnTo>
                      <a:pt x="2222" y="1041"/>
                    </a:lnTo>
                    <a:lnTo>
                      <a:pt x="2221" y="1043"/>
                    </a:lnTo>
                    <a:lnTo>
                      <a:pt x="2219" y="1046"/>
                    </a:lnTo>
                    <a:lnTo>
                      <a:pt x="2217" y="1044"/>
                    </a:lnTo>
                    <a:lnTo>
                      <a:pt x="2214" y="1043"/>
                    </a:lnTo>
                    <a:lnTo>
                      <a:pt x="2213" y="1043"/>
                    </a:lnTo>
                    <a:lnTo>
                      <a:pt x="2210" y="1044"/>
                    </a:lnTo>
                    <a:lnTo>
                      <a:pt x="2208" y="1044"/>
                    </a:lnTo>
                    <a:lnTo>
                      <a:pt x="2203" y="1044"/>
                    </a:lnTo>
                    <a:lnTo>
                      <a:pt x="2200" y="1044"/>
                    </a:lnTo>
                    <a:lnTo>
                      <a:pt x="2197" y="1046"/>
                    </a:lnTo>
                    <a:lnTo>
                      <a:pt x="2195" y="1046"/>
                    </a:lnTo>
                    <a:lnTo>
                      <a:pt x="2192" y="1047"/>
                    </a:lnTo>
                    <a:lnTo>
                      <a:pt x="2189" y="1046"/>
                    </a:lnTo>
                    <a:lnTo>
                      <a:pt x="2186" y="1043"/>
                    </a:lnTo>
                    <a:lnTo>
                      <a:pt x="2184" y="1043"/>
                    </a:lnTo>
                    <a:lnTo>
                      <a:pt x="2181" y="1044"/>
                    </a:lnTo>
                    <a:lnTo>
                      <a:pt x="2179" y="1046"/>
                    </a:lnTo>
                    <a:lnTo>
                      <a:pt x="2176" y="1044"/>
                    </a:lnTo>
                    <a:lnTo>
                      <a:pt x="2175" y="1044"/>
                    </a:lnTo>
                    <a:lnTo>
                      <a:pt x="2173" y="1044"/>
                    </a:lnTo>
                    <a:lnTo>
                      <a:pt x="2172" y="1046"/>
                    </a:lnTo>
                    <a:lnTo>
                      <a:pt x="2168" y="1049"/>
                    </a:lnTo>
                    <a:lnTo>
                      <a:pt x="2165" y="1049"/>
                    </a:lnTo>
                    <a:lnTo>
                      <a:pt x="2162" y="1047"/>
                    </a:lnTo>
                    <a:lnTo>
                      <a:pt x="2157" y="1046"/>
                    </a:lnTo>
                    <a:lnTo>
                      <a:pt x="2154" y="1046"/>
                    </a:lnTo>
                    <a:lnTo>
                      <a:pt x="2151" y="1046"/>
                    </a:lnTo>
                    <a:lnTo>
                      <a:pt x="2148" y="1044"/>
                    </a:lnTo>
                    <a:lnTo>
                      <a:pt x="2146" y="1044"/>
                    </a:lnTo>
                    <a:lnTo>
                      <a:pt x="2143" y="1044"/>
                    </a:lnTo>
                    <a:lnTo>
                      <a:pt x="2138" y="1044"/>
                    </a:lnTo>
                    <a:lnTo>
                      <a:pt x="2134" y="1046"/>
                    </a:lnTo>
                    <a:lnTo>
                      <a:pt x="2130" y="1049"/>
                    </a:lnTo>
                    <a:lnTo>
                      <a:pt x="2129" y="1049"/>
                    </a:lnTo>
                    <a:lnTo>
                      <a:pt x="2127" y="1051"/>
                    </a:lnTo>
                    <a:lnTo>
                      <a:pt x="2124" y="1049"/>
                    </a:lnTo>
                    <a:lnTo>
                      <a:pt x="2121" y="1046"/>
                    </a:lnTo>
                    <a:lnTo>
                      <a:pt x="2119" y="1046"/>
                    </a:lnTo>
                    <a:lnTo>
                      <a:pt x="2118" y="1046"/>
                    </a:lnTo>
                    <a:lnTo>
                      <a:pt x="2116" y="1044"/>
                    </a:lnTo>
                    <a:lnTo>
                      <a:pt x="2113" y="1043"/>
                    </a:lnTo>
                    <a:lnTo>
                      <a:pt x="2111" y="1041"/>
                    </a:lnTo>
                    <a:lnTo>
                      <a:pt x="2110" y="1039"/>
                    </a:lnTo>
                    <a:lnTo>
                      <a:pt x="2108" y="1038"/>
                    </a:lnTo>
                    <a:lnTo>
                      <a:pt x="2108" y="1036"/>
                    </a:lnTo>
                    <a:lnTo>
                      <a:pt x="2107" y="1036"/>
                    </a:lnTo>
                    <a:lnTo>
                      <a:pt x="2103" y="1035"/>
                    </a:lnTo>
                    <a:lnTo>
                      <a:pt x="2102" y="1035"/>
                    </a:lnTo>
                    <a:lnTo>
                      <a:pt x="2102" y="1033"/>
                    </a:lnTo>
                    <a:lnTo>
                      <a:pt x="2102" y="1032"/>
                    </a:lnTo>
                    <a:lnTo>
                      <a:pt x="2103" y="1030"/>
                    </a:lnTo>
                    <a:lnTo>
                      <a:pt x="2102" y="1028"/>
                    </a:lnTo>
                    <a:lnTo>
                      <a:pt x="2100" y="1025"/>
                    </a:lnTo>
                    <a:lnTo>
                      <a:pt x="2100" y="1024"/>
                    </a:lnTo>
                    <a:lnTo>
                      <a:pt x="2094" y="1020"/>
                    </a:lnTo>
                    <a:lnTo>
                      <a:pt x="2092" y="1016"/>
                    </a:lnTo>
                    <a:lnTo>
                      <a:pt x="2091" y="1014"/>
                    </a:lnTo>
                    <a:lnTo>
                      <a:pt x="2089" y="1013"/>
                    </a:lnTo>
                    <a:lnTo>
                      <a:pt x="2086" y="1009"/>
                    </a:lnTo>
                    <a:lnTo>
                      <a:pt x="2084" y="1008"/>
                    </a:lnTo>
                    <a:lnTo>
                      <a:pt x="2083" y="1006"/>
                    </a:lnTo>
                    <a:lnTo>
                      <a:pt x="2081" y="1006"/>
                    </a:lnTo>
                    <a:lnTo>
                      <a:pt x="2080" y="1005"/>
                    </a:lnTo>
                    <a:lnTo>
                      <a:pt x="2076" y="1001"/>
                    </a:lnTo>
                    <a:lnTo>
                      <a:pt x="2073" y="997"/>
                    </a:lnTo>
                    <a:lnTo>
                      <a:pt x="2072" y="995"/>
                    </a:lnTo>
                    <a:lnTo>
                      <a:pt x="2067" y="995"/>
                    </a:lnTo>
                    <a:lnTo>
                      <a:pt x="2067" y="994"/>
                    </a:lnTo>
                    <a:lnTo>
                      <a:pt x="2065" y="990"/>
                    </a:lnTo>
                    <a:lnTo>
                      <a:pt x="2062" y="989"/>
                    </a:lnTo>
                    <a:lnTo>
                      <a:pt x="2057" y="986"/>
                    </a:lnTo>
                    <a:lnTo>
                      <a:pt x="2053" y="984"/>
                    </a:lnTo>
                    <a:lnTo>
                      <a:pt x="2048" y="982"/>
                    </a:lnTo>
                    <a:lnTo>
                      <a:pt x="2046" y="982"/>
                    </a:lnTo>
                    <a:lnTo>
                      <a:pt x="2045" y="982"/>
                    </a:lnTo>
                    <a:lnTo>
                      <a:pt x="2045" y="979"/>
                    </a:lnTo>
                    <a:lnTo>
                      <a:pt x="2045" y="978"/>
                    </a:lnTo>
                    <a:lnTo>
                      <a:pt x="2043" y="978"/>
                    </a:lnTo>
                    <a:lnTo>
                      <a:pt x="2042" y="974"/>
                    </a:lnTo>
                    <a:lnTo>
                      <a:pt x="2042" y="973"/>
                    </a:lnTo>
                    <a:lnTo>
                      <a:pt x="2040" y="971"/>
                    </a:lnTo>
                    <a:lnTo>
                      <a:pt x="2040" y="970"/>
                    </a:lnTo>
                    <a:lnTo>
                      <a:pt x="2038" y="968"/>
                    </a:lnTo>
                    <a:lnTo>
                      <a:pt x="2038" y="967"/>
                    </a:lnTo>
                    <a:lnTo>
                      <a:pt x="2038" y="965"/>
                    </a:lnTo>
                    <a:lnTo>
                      <a:pt x="2035" y="962"/>
                    </a:lnTo>
                    <a:lnTo>
                      <a:pt x="2031" y="960"/>
                    </a:lnTo>
                    <a:lnTo>
                      <a:pt x="2027" y="955"/>
                    </a:lnTo>
                    <a:lnTo>
                      <a:pt x="2024" y="954"/>
                    </a:lnTo>
                    <a:lnTo>
                      <a:pt x="2018" y="952"/>
                    </a:lnTo>
                    <a:lnTo>
                      <a:pt x="2016" y="951"/>
                    </a:lnTo>
                    <a:lnTo>
                      <a:pt x="2010" y="948"/>
                    </a:lnTo>
                    <a:lnTo>
                      <a:pt x="2008" y="946"/>
                    </a:lnTo>
                    <a:lnTo>
                      <a:pt x="2008" y="944"/>
                    </a:lnTo>
                    <a:lnTo>
                      <a:pt x="2007" y="944"/>
                    </a:lnTo>
                    <a:lnTo>
                      <a:pt x="1999" y="951"/>
                    </a:lnTo>
                    <a:lnTo>
                      <a:pt x="1993" y="954"/>
                    </a:lnTo>
                    <a:lnTo>
                      <a:pt x="1989" y="954"/>
                    </a:lnTo>
                    <a:lnTo>
                      <a:pt x="1989" y="955"/>
                    </a:lnTo>
                    <a:lnTo>
                      <a:pt x="1989" y="959"/>
                    </a:lnTo>
                    <a:lnTo>
                      <a:pt x="1985" y="960"/>
                    </a:lnTo>
                    <a:lnTo>
                      <a:pt x="1909" y="992"/>
                    </a:lnTo>
                    <a:lnTo>
                      <a:pt x="1864" y="1009"/>
                    </a:lnTo>
                    <a:lnTo>
                      <a:pt x="1856" y="1014"/>
                    </a:lnTo>
                    <a:lnTo>
                      <a:pt x="1839" y="1020"/>
                    </a:lnTo>
                    <a:lnTo>
                      <a:pt x="1834" y="1022"/>
                    </a:lnTo>
                    <a:lnTo>
                      <a:pt x="1787" y="1047"/>
                    </a:lnTo>
                    <a:lnTo>
                      <a:pt x="1747" y="1068"/>
                    </a:lnTo>
                    <a:lnTo>
                      <a:pt x="1723" y="1122"/>
                    </a:lnTo>
                    <a:lnTo>
                      <a:pt x="1709" y="1135"/>
                    </a:lnTo>
                    <a:lnTo>
                      <a:pt x="1706" y="1138"/>
                    </a:lnTo>
                    <a:lnTo>
                      <a:pt x="1701" y="1142"/>
                    </a:lnTo>
                    <a:lnTo>
                      <a:pt x="1698" y="1146"/>
                    </a:lnTo>
                    <a:lnTo>
                      <a:pt x="1696" y="1147"/>
                    </a:lnTo>
                    <a:lnTo>
                      <a:pt x="1692" y="1154"/>
                    </a:lnTo>
                    <a:lnTo>
                      <a:pt x="1687" y="1160"/>
                    </a:lnTo>
                    <a:lnTo>
                      <a:pt x="1679" y="1168"/>
                    </a:lnTo>
                    <a:lnTo>
                      <a:pt x="1669" y="1179"/>
                    </a:lnTo>
                    <a:lnTo>
                      <a:pt x="1657" y="1190"/>
                    </a:lnTo>
                    <a:lnTo>
                      <a:pt x="1655" y="1192"/>
                    </a:lnTo>
                    <a:lnTo>
                      <a:pt x="1655" y="1193"/>
                    </a:lnTo>
                    <a:lnTo>
                      <a:pt x="1654" y="1198"/>
                    </a:lnTo>
                    <a:lnTo>
                      <a:pt x="1652" y="1198"/>
                    </a:lnTo>
                    <a:lnTo>
                      <a:pt x="1649" y="1201"/>
                    </a:lnTo>
                    <a:lnTo>
                      <a:pt x="1646" y="1201"/>
                    </a:lnTo>
                    <a:lnTo>
                      <a:pt x="1644" y="1206"/>
                    </a:lnTo>
                    <a:lnTo>
                      <a:pt x="1642" y="1212"/>
                    </a:lnTo>
                    <a:lnTo>
                      <a:pt x="1639" y="1220"/>
                    </a:lnTo>
                    <a:lnTo>
                      <a:pt x="1638" y="1225"/>
                    </a:lnTo>
                    <a:lnTo>
                      <a:pt x="1633" y="1225"/>
                    </a:lnTo>
                    <a:lnTo>
                      <a:pt x="1630" y="1225"/>
                    </a:lnTo>
                    <a:lnTo>
                      <a:pt x="1627" y="1223"/>
                    </a:lnTo>
                    <a:lnTo>
                      <a:pt x="1627" y="1220"/>
                    </a:lnTo>
                    <a:lnTo>
                      <a:pt x="1625" y="1219"/>
                    </a:lnTo>
                    <a:lnTo>
                      <a:pt x="1623" y="1217"/>
                    </a:lnTo>
                    <a:lnTo>
                      <a:pt x="1623" y="1212"/>
                    </a:lnTo>
                    <a:lnTo>
                      <a:pt x="1622" y="1206"/>
                    </a:lnTo>
                    <a:lnTo>
                      <a:pt x="1620" y="1207"/>
                    </a:lnTo>
                    <a:lnTo>
                      <a:pt x="1617" y="1207"/>
                    </a:lnTo>
                    <a:lnTo>
                      <a:pt x="1616" y="1207"/>
                    </a:lnTo>
                    <a:lnTo>
                      <a:pt x="1612" y="1209"/>
                    </a:lnTo>
                    <a:lnTo>
                      <a:pt x="1611" y="1209"/>
                    </a:lnTo>
                    <a:lnTo>
                      <a:pt x="1606" y="1207"/>
                    </a:lnTo>
                    <a:lnTo>
                      <a:pt x="1603" y="1207"/>
                    </a:lnTo>
                    <a:lnTo>
                      <a:pt x="1598" y="1206"/>
                    </a:lnTo>
                    <a:lnTo>
                      <a:pt x="1593" y="1206"/>
                    </a:lnTo>
                    <a:lnTo>
                      <a:pt x="1589" y="1206"/>
                    </a:lnTo>
                    <a:lnTo>
                      <a:pt x="1587" y="1206"/>
                    </a:lnTo>
                    <a:lnTo>
                      <a:pt x="1587" y="1190"/>
                    </a:lnTo>
                    <a:lnTo>
                      <a:pt x="1581" y="1182"/>
                    </a:lnTo>
                    <a:lnTo>
                      <a:pt x="1559" y="1179"/>
                    </a:lnTo>
                    <a:lnTo>
                      <a:pt x="1557" y="1179"/>
                    </a:lnTo>
                    <a:lnTo>
                      <a:pt x="1555" y="1177"/>
                    </a:lnTo>
                    <a:lnTo>
                      <a:pt x="1549" y="1177"/>
                    </a:lnTo>
                    <a:lnTo>
                      <a:pt x="1547" y="1177"/>
                    </a:lnTo>
                    <a:lnTo>
                      <a:pt x="1546" y="1177"/>
                    </a:lnTo>
                    <a:lnTo>
                      <a:pt x="1544" y="1176"/>
                    </a:lnTo>
                    <a:lnTo>
                      <a:pt x="1543" y="1176"/>
                    </a:lnTo>
                    <a:lnTo>
                      <a:pt x="1541" y="1174"/>
                    </a:lnTo>
                    <a:lnTo>
                      <a:pt x="1532" y="1169"/>
                    </a:lnTo>
                    <a:lnTo>
                      <a:pt x="1530" y="1168"/>
                    </a:lnTo>
                    <a:lnTo>
                      <a:pt x="1525" y="1168"/>
                    </a:lnTo>
                    <a:lnTo>
                      <a:pt x="1522" y="1165"/>
                    </a:lnTo>
                    <a:lnTo>
                      <a:pt x="1520" y="1165"/>
                    </a:lnTo>
                    <a:lnTo>
                      <a:pt x="1519" y="1165"/>
                    </a:lnTo>
                    <a:lnTo>
                      <a:pt x="1503" y="1166"/>
                    </a:lnTo>
                    <a:lnTo>
                      <a:pt x="1497" y="1166"/>
                    </a:lnTo>
                    <a:lnTo>
                      <a:pt x="1495" y="1166"/>
                    </a:lnTo>
                    <a:lnTo>
                      <a:pt x="1495" y="1168"/>
                    </a:lnTo>
                    <a:lnTo>
                      <a:pt x="1494" y="1168"/>
                    </a:lnTo>
                    <a:lnTo>
                      <a:pt x="1494" y="1166"/>
                    </a:lnTo>
                    <a:lnTo>
                      <a:pt x="1492" y="1165"/>
                    </a:lnTo>
                    <a:lnTo>
                      <a:pt x="1489" y="1165"/>
                    </a:lnTo>
                    <a:lnTo>
                      <a:pt x="1487" y="1165"/>
                    </a:lnTo>
                    <a:lnTo>
                      <a:pt x="1486" y="1165"/>
                    </a:lnTo>
                    <a:lnTo>
                      <a:pt x="1482" y="1163"/>
                    </a:lnTo>
                    <a:lnTo>
                      <a:pt x="1481" y="1163"/>
                    </a:lnTo>
                    <a:lnTo>
                      <a:pt x="1479" y="1163"/>
                    </a:lnTo>
                    <a:lnTo>
                      <a:pt x="1478" y="1168"/>
                    </a:lnTo>
                    <a:lnTo>
                      <a:pt x="1476" y="1168"/>
                    </a:lnTo>
                    <a:lnTo>
                      <a:pt x="1471" y="1169"/>
                    </a:lnTo>
                    <a:lnTo>
                      <a:pt x="1470" y="1169"/>
                    </a:lnTo>
                    <a:lnTo>
                      <a:pt x="1465" y="1169"/>
                    </a:lnTo>
                    <a:lnTo>
                      <a:pt x="1457" y="1166"/>
                    </a:lnTo>
                    <a:lnTo>
                      <a:pt x="1446" y="1161"/>
                    </a:lnTo>
                    <a:lnTo>
                      <a:pt x="1443" y="1161"/>
                    </a:lnTo>
                    <a:lnTo>
                      <a:pt x="1440" y="1161"/>
                    </a:lnTo>
                    <a:lnTo>
                      <a:pt x="1437" y="1160"/>
                    </a:lnTo>
                    <a:lnTo>
                      <a:pt x="1435" y="1160"/>
                    </a:lnTo>
                    <a:lnTo>
                      <a:pt x="1427" y="1157"/>
                    </a:lnTo>
                    <a:lnTo>
                      <a:pt x="1424" y="1155"/>
                    </a:lnTo>
                    <a:lnTo>
                      <a:pt x="1418" y="1152"/>
                    </a:lnTo>
                    <a:lnTo>
                      <a:pt x="1416" y="1152"/>
                    </a:lnTo>
                    <a:lnTo>
                      <a:pt x="1411" y="1150"/>
                    </a:lnTo>
                    <a:lnTo>
                      <a:pt x="1408" y="1150"/>
                    </a:lnTo>
                    <a:lnTo>
                      <a:pt x="1406" y="1149"/>
                    </a:lnTo>
                    <a:lnTo>
                      <a:pt x="1403" y="1144"/>
                    </a:lnTo>
                    <a:lnTo>
                      <a:pt x="1400" y="1139"/>
                    </a:lnTo>
                    <a:lnTo>
                      <a:pt x="1399" y="1136"/>
                    </a:lnTo>
                    <a:lnTo>
                      <a:pt x="1397" y="1136"/>
                    </a:lnTo>
                    <a:lnTo>
                      <a:pt x="1397" y="1138"/>
                    </a:lnTo>
                    <a:lnTo>
                      <a:pt x="1394" y="1139"/>
                    </a:lnTo>
                    <a:lnTo>
                      <a:pt x="1392" y="1142"/>
                    </a:lnTo>
                    <a:lnTo>
                      <a:pt x="1392" y="1144"/>
                    </a:lnTo>
                    <a:lnTo>
                      <a:pt x="1389" y="1142"/>
                    </a:lnTo>
                    <a:lnTo>
                      <a:pt x="1386" y="1142"/>
                    </a:lnTo>
                    <a:lnTo>
                      <a:pt x="1383" y="1142"/>
                    </a:lnTo>
                    <a:lnTo>
                      <a:pt x="1380" y="1141"/>
                    </a:lnTo>
                    <a:lnTo>
                      <a:pt x="1378" y="1141"/>
                    </a:lnTo>
                    <a:lnTo>
                      <a:pt x="1378" y="1139"/>
                    </a:lnTo>
                    <a:lnTo>
                      <a:pt x="1376" y="1139"/>
                    </a:lnTo>
                    <a:lnTo>
                      <a:pt x="1375" y="1139"/>
                    </a:lnTo>
                    <a:lnTo>
                      <a:pt x="1375" y="1141"/>
                    </a:lnTo>
                    <a:lnTo>
                      <a:pt x="1372" y="1141"/>
                    </a:lnTo>
                    <a:lnTo>
                      <a:pt x="1370" y="1141"/>
                    </a:lnTo>
                    <a:lnTo>
                      <a:pt x="1367" y="1141"/>
                    </a:lnTo>
                    <a:lnTo>
                      <a:pt x="1362" y="1136"/>
                    </a:lnTo>
                    <a:lnTo>
                      <a:pt x="1362" y="1135"/>
                    </a:lnTo>
                    <a:lnTo>
                      <a:pt x="1357" y="1135"/>
                    </a:lnTo>
                    <a:lnTo>
                      <a:pt x="1354" y="1135"/>
                    </a:lnTo>
                    <a:lnTo>
                      <a:pt x="1345" y="1138"/>
                    </a:lnTo>
                    <a:lnTo>
                      <a:pt x="1338" y="1141"/>
                    </a:lnTo>
                    <a:lnTo>
                      <a:pt x="1335" y="1141"/>
                    </a:lnTo>
                    <a:lnTo>
                      <a:pt x="1334" y="1141"/>
                    </a:lnTo>
                    <a:lnTo>
                      <a:pt x="1330" y="1142"/>
                    </a:lnTo>
                    <a:lnTo>
                      <a:pt x="1329" y="1142"/>
                    </a:lnTo>
                    <a:lnTo>
                      <a:pt x="1327" y="1142"/>
                    </a:lnTo>
                    <a:lnTo>
                      <a:pt x="1326" y="1142"/>
                    </a:lnTo>
                    <a:lnTo>
                      <a:pt x="1321" y="1142"/>
                    </a:lnTo>
                    <a:lnTo>
                      <a:pt x="1318" y="1142"/>
                    </a:lnTo>
                    <a:lnTo>
                      <a:pt x="1311" y="1142"/>
                    </a:lnTo>
                    <a:lnTo>
                      <a:pt x="1303" y="1141"/>
                    </a:lnTo>
                    <a:lnTo>
                      <a:pt x="1296" y="1141"/>
                    </a:lnTo>
                    <a:lnTo>
                      <a:pt x="1294" y="1141"/>
                    </a:lnTo>
                    <a:lnTo>
                      <a:pt x="1284" y="1139"/>
                    </a:lnTo>
                    <a:lnTo>
                      <a:pt x="1283" y="1139"/>
                    </a:lnTo>
                    <a:lnTo>
                      <a:pt x="1281" y="1139"/>
                    </a:lnTo>
                    <a:lnTo>
                      <a:pt x="1278" y="1139"/>
                    </a:lnTo>
                    <a:lnTo>
                      <a:pt x="1277" y="1139"/>
                    </a:lnTo>
                    <a:lnTo>
                      <a:pt x="1275" y="1139"/>
                    </a:lnTo>
                    <a:lnTo>
                      <a:pt x="1272" y="1139"/>
                    </a:lnTo>
                    <a:lnTo>
                      <a:pt x="1270" y="1139"/>
                    </a:lnTo>
                    <a:lnTo>
                      <a:pt x="1269" y="1139"/>
                    </a:lnTo>
                    <a:lnTo>
                      <a:pt x="1267" y="1139"/>
                    </a:lnTo>
                    <a:lnTo>
                      <a:pt x="1265" y="1139"/>
                    </a:lnTo>
                    <a:lnTo>
                      <a:pt x="1262" y="1139"/>
                    </a:lnTo>
                    <a:lnTo>
                      <a:pt x="1253" y="1138"/>
                    </a:lnTo>
                    <a:lnTo>
                      <a:pt x="1251" y="1138"/>
                    </a:lnTo>
                    <a:lnTo>
                      <a:pt x="1250" y="1136"/>
                    </a:lnTo>
                    <a:lnTo>
                      <a:pt x="1248" y="1136"/>
                    </a:lnTo>
                    <a:lnTo>
                      <a:pt x="1245" y="1136"/>
                    </a:lnTo>
                    <a:lnTo>
                      <a:pt x="1243" y="1138"/>
                    </a:lnTo>
                    <a:lnTo>
                      <a:pt x="1242" y="1138"/>
                    </a:lnTo>
                    <a:lnTo>
                      <a:pt x="1240" y="1138"/>
                    </a:lnTo>
                    <a:lnTo>
                      <a:pt x="1239" y="1138"/>
                    </a:lnTo>
                    <a:lnTo>
                      <a:pt x="1235" y="1139"/>
                    </a:lnTo>
                    <a:lnTo>
                      <a:pt x="1232" y="1138"/>
                    </a:lnTo>
                    <a:lnTo>
                      <a:pt x="1227" y="1133"/>
                    </a:lnTo>
                    <a:lnTo>
                      <a:pt x="1224" y="1131"/>
                    </a:lnTo>
                    <a:lnTo>
                      <a:pt x="1216" y="1125"/>
                    </a:lnTo>
                    <a:lnTo>
                      <a:pt x="1210" y="1119"/>
                    </a:lnTo>
                    <a:lnTo>
                      <a:pt x="1207" y="1116"/>
                    </a:lnTo>
                    <a:lnTo>
                      <a:pt x="1205" y="1112"/>
                    </a:lnTo>
                    <a:lnTo>
                      <a:pt x="1202" y="1109"/>
                    </a:lnTo>
                    <a:lnTo>
                      <a:pt x="1199" y="1106"/>
                    </a:lnTo>
                    <a:lnTo>
                      <a:pt x="1197" y="1104"/>
                    </a:lnTo>
                    <a:lnTo>
                      <a:pt x="1194" y="1104"/>
                    </a:lnTo>
                    <a:lnTo>
                      <a:pt x="1191" y="1103"/>
                    </a:lnTo>
                    <a:lnTo>
                      <a:pt x="1189" y="1103"/>
                    </a:lnTo>
                    <a:lnTo>
                      <a:pt x="1188" y="1103"/>
                    </a:lnTo>
                    <a:lnTo>
                      <a:pt x="1186" y="1103"/>
                    </a:lnTo>
                    <a:lnTo>
                      <a:pt x="1180" y="1097"/>
                    </a:lnTo>
                    <a:lnTo>
                      <a:pt x="1158" y="1084"/>
                    </a:lnTo>
                    <a:lnTo>
                      <a:pt x="1145" y="1074"/>
                    </a:lnTo>
                    <a:lnTo>
                      <a:pt x="1128" y="1063"/>
                    </a:lnTo>
                    <a:lnTo>
                      <a:pt x="1098" y="1043"/>
                    </a:lnTo>
                    <a:lnTo>
                      <a:pt x="1096" y="1041"/>
                    </a:lnTo>
                    <a:lnTo>
                      <a:pt x="1094" y="1041"/>
                    </a:lnTo>
                    <a:lnTo>
                      <a:pt x="1094" y="1036"/>
                    </a:lnTo>
                    <a:lnTo>
                      <a:pt x="1093" y="1036"/>
                    </a:lnTo>
                    <a:lnTo>
                      <a:pt x="1091" y="1035"/>
                    </a:lnTo>
                    <a:lnTo>
                      <a:pt x="1086" y="1032"/>
                    </a:lnTo>
                    <a:lnTo>
                      <a:pt x="1071" y="1022"/>
                    </a:lnTo>
                    <a:lnTo>
                      <a:pt x="1069" y="1020"/>
                    </a:lnTo>
                    <a:lnTo>
                      <a:pt x="1066" y="1019"/>
                    </a:lnTo>
                    <a:lnTo>
                      <a:pt x="1061" y="1016"/>
                    </a:lnTo>
                    <a:lnTo>
                      <a:pt x="1058" y="1014"/>
                    </a:lnTo>
                    <a:lnTo>
                      <a:pt x="1056" y="1013"/>
                    </a:lnTo>
                    <a:lnTo>
                      <a:pt x="1055" y="1011"/>
                    </a:lnTo>
                    <a:lnTo>
                      <a:pt x="1050" y="1008"/>
                    </a:lnTo>
                    <a:lnTo>
                      <a:pt x="1039" y="1001"/>
                    </a:lnTo>
                    <a:lnTo>
                      <a:pt x="1037" y="1000"/>
                    </a:lnTo>
                    <a:lnTo>
                      <a:pt x="1025" y="992"/>
                    </a:lnTo>
                    <a:lnTo>
                      <a:pt x="1007" y="981"/>
                    </a:lnTo>
                    <a:lnTo>
                      <a:pt x="1004" y="979"/>
                    </a:lnTo>
                    <a:lnTo>
                      <a:pt x="990" y="970"/>
                    </a:lnTo>
                    <a:lnTo>
                      <a:pt x="988" y="968"/>
                    </a:lnTo>
                    <a:lnTo>
                      <a:pt x="976" y="960"/>
                    </a:lnTo>
                    <a:lnTo>
                      <a:pt x="964" y="952"/>
                    </a:lnTo>
                    <a:lnTo>
                      <a:pt x="963" y="951"/>
                    </a:lnTo>
                    <a:lnTo>
                      <a:pt x="955" y="948"/>
                    </a:lnTo>
                    <a:lnTo>
                      <a:pt x="947" y="941"/>
                    </a:lnTo>
                    <a:lnTo>
                      <a:pt x="945" y="941"/>
                    </a:lnTo>
                    <a:lnTo>
                      <a:pt x="944" y="940"/>
                    </a:lnTo>
                    <a:lnTo>
                      <a:pt x="941" y="940"/>
                    </a:lnTo>
                    <a:lnTo>
                      <a:pt x="938" y="936"/>
                    </a:lnTo>
                    <a:lnTo>
                      <a:pt x="934" y="932"/>
                    </a:lnTo>
                    <a:lnTo>
                      <a:pt x="934" y="930"/>
                    </a:lnTo>
                    <a:lnTo>
                      <a:pt x="933" y="929"/>
                    </a:lnTo>
                    <a:lnTo>
                      <a:pt x="933" y="927"/>
                    </a:lnTo>
                    <a:lnTo>
                      <a:pt x="931" y="927"/>
                    </a:lnTo>
                    <a:lnTo>
                      <a:pt x="930" y="927"/>
                    </a:lnTo>
                    <a:lnTo>
                      <a:pt x="925" y="925"/>
                    </a:lnTo>
                    <a:lnTo>
                      <a:pt x="922" y="922"/>
                    </a:lnTo>
                    <a:lnTo>
                      <a:pt x="920" y="919"/>
                    </a:lnTo>
                    <a:lnTo>
                      <a:pt x="919" y="919"/>
                    </a:lnTo>
                    <a:lnTo>
                      <a:pt x="919" y="917"/>
                    </a:lnTo>
                    <a:lnTo>
                      <a:pt x="917" y="917"/>
                    </a:lnTo>
                    <a:lnTo>
                      <a:pt x="914" y="916"/>
                    </a:lnTo>
                    <a:lnTo>
                      <a:pt x="912" y="916"/>
                    </a:lnTo>
                    <a:lnTo>
                      <a:pt x="907" y="916"/>
                    </a:lnTo>
                    <a:lnTo>
                      <a:pt x="906" y="916"/>
                    </a:lnTo>
                    <a:lnTo>
                      <a:pt x="904" y="914"/>
                    </a:lnTo>
                    <a:lnTo>
                      <a:pt x="903" y="914"/>
                    </a:lnTo>
                    <a:lnTo>
                      <a:pt x="900" y="911"/>
                    </a:lnTo>
                    <a:lnTo>
                      <a:pt x="898" y="911"/>
                    </a:lnTo>
                    <a:lnTo>
                      <a:pt x="895" y="911"/>
                    </a:lnTo>
                    <a:lnTo>
                      <a:pt x="893" y="908"/>
                    </a:lnTo>
                    <a:lnTo>
                      <a:pt x="885" y="905"/>
                    </a:lnTo>
                    <a:lnTo>
                      <a:pt x="884" y="905"/>
                    </a:lnTo>
                    <a:lnTo>
                      <a:pt x="876" y="902"/>
                    </a:lnTo>
                    <a:lnTo>
                      <a:pt x="866" y="898"/>
                    </a:lnTo>
                    <a:lnTo>
                      <a:pt x="862" y="897"/>
                    </a:lnTo>
                    <a:lnTo>
                      <a:pt x="860" y="897"/>
                    </a:lnTo>
                    <a:lnTo>
                      <a:pt x="850" y="897"/>
                    </a:lnTo>
                    <a:lnTo>
                      <a:pt x="825" y="898"/>
                    </a:lnTo>
                    <a:lnTo>
                      <a:pt x="824" y="898"/>
                    </a:lnTo>
                    <a:lnTo>
                      <a:pt x="820" y="898"/>
                    </a:lnTo>
                    <a:lnTo>
                      <a:pt x="814" y="898"/>
                    </a:lnTo>
                    <a:lnTo>
                      <a:pt x="808" y="898"/>
                    </a:lnTo>
                    <a:lnTo>
                      <a:pt x="806" y="898"/>
                    </a:lnTo>
                    <a:lnTo>
                      <a:pt x="805" y="897"/>
                    </a:lnTo>
                    <a:lnTo>
                      <a:pt x="805" y="895"/>
                    </a:lnTo>
                    <a:lnTo>
                      <a:pt x="803" y="894"/>
                    </a:lnTo>
                    <a:lnTo>
                      <a:pt x="798" y="894"/>
                    </a:lnTo>
                    <a:lnTo>
                      <a:pt x="793" y="895"/>
                    </a:lnTo>
                    <a:lnTo>
                      <a:pt x="768" y="895"/>
                    </a:lnTo>
                    <a:lnTo>
                      <a:pt x="755" y="892"/>
                    </a:lnTo>
                    <a:lnTo>
                      <a:pt x="743" y="891"/>
                    </a:lnTo>
                    <a:lnTo>
                      <a:pt x="714" y="891"/>
                    </a:lnTo>
                    <a:lnTo>
                      <a:pt x="690" y="891"/>
                    </a:lnTo>
                    <a:lnTo>
                      <a:pt x="671" y="892"/>
                    </a:lnTo>
                    <a:lnTo>
                      <a:pt x="662" y="892"/>
                    </a:lnTo>
                    <a:lnTo>
                      <a:pt x="646" y="894"/>
                    </a:lnTo>
                    <a:lnTo>
                      <a:pt x="648" y="892"/>
                    </a:lnTo>
                    <a:lnTo>
                      <a:pt x="630" y="889"/>
                    </a:lnTo>
                    <a:lnTo>
                      <a:pt x="630" y="884"/>
                    </a:lnTo>
                    <a:lnTo>
                      <a:pt x="622" y="878"/>
                    </a:lnTo>
                    <a:lnTo>
                      <a:pt x="614" y="872"/>
                    </a:lnTo>
                    <a:lnTo>
                      <a:pt x="613" y="870"/>
                    </a:lnTo>
                    <a:lnTo>
                      <a:pt x="610" y="868"/>
                    </a:lnTo>
                    <a:lnTo>
                      <a:pt x="602" y="862"/>
                    </a:lnTo>
                    <a:lnTo>
                      <a:pt x="606" y="859"/>
                    </a:lnTo>
                    <a:lnTo>
                      <a:pt x="608" y="856"/>
                    </a:lnTo>
                    <a:lnTo>
                      <a:pt x="606" y="854"/>
                    </a:lnTo>
                    <a:lnTo>
                      <a:pt x="603" y="852"/>
                    </a:lnTo>
                    <a:lnTo>
                      <a:pt x="600" y="851"/>
                    </a:lnTo>
                    <a:lnTo>
                      <a:pt x="603" y="845"/>
                    </a:lnTo>
                    <a:lnTo>
                      <a:pt x="603" y="843"/>
                    </a:lnTo>
                    <a:lnTo>
                      <a:pt x="597" y="841"/>
                    </a:lnTo>
                    <a:lnTo>
                      <a:pt x="575" y="816"/>
                    </a:lnTo>
                    <a:lnTo>
                      <a:pt x="561" y="800"/>
                    </a:lnTo>
                    <a:lnTo>
                      <a:pt x="561" y="786"/>
                    </a:lnTo>
                    <a:lnTo>
                      <a:pt x="561" y="784"/>
                    </a:lnTo>
                    <a:lnTo>
                      <a:pt x="561" y="775"/>
                    </a:lnTo>
                    <a:lnTo>
                      <a:pt x="561" y="767"/>
                    </a:lnTo>
                    <a:lnTo>
                      <a:pt x="561" y="762"/>
                    </a:lnTo>
                    <a:lnTo>
                      <a:pt x="559" y="761"/>
                    </a:lnTo>
                    <a:lnTo>
                      <a:pt x="561" y="754"/>
                    </a:lnTo>
                    <a:lnTo>
                      <a:pt x="561" y="746"/>
                    </a:lnTo>
                    <a:lnTo>
                      <a:pt x="561" y="742"/>
                    </a:lnTo>
                    <a:lnTo>
                      <a:pt x="561" y="735"/>
                    </a:lnTo>
                    <a:lnTo>
                      <a:pt x="561" y="730"/>
                    </a:lnTo>
                    <a:lnTo>
                      <a:pt x="561" y="727"/>
                    </a:lnTo>
                    <a:lnTo>
                      <a:pt x="559" y="710"/>
                    </a:lnTo>
                    <a:lnTo>
                      <a:pt x="561" y="710"/>
                    </a:lnTo>
                    <a:lnTo>
                      <a:pt x="561" y="705"/>
                    </a:lnTo>
                    <a:lnTo>
                      <a:pt x="562" y="702"/>
                    </a:lnTo>
                    <a:lnTo>
                      <a:pt x="564" y="702"/>
                    </a:lnTo>
                    <a:lnTo>
                      <a:pt x="564" y="700"/>
                    </a:lnTo>
                    <a:lnTo>
                      <a:pt x="565" y="699"/>
                    </a:lnTo>
                    <a:lnTo>
                      <a:pt x="567" y="699"/>
                    </a:lnTo>
                    <a:lnTo>
                      <a:pt x="568" y="696"/>
                    </a:lnTo>
                    <a:lnTo>
                      <a:pt x="572" y="692"/>
                    </a:lnTo>
                    <a:lnTo>
                      <a:pt x="572" y="691"/>
                    </a:lnTo>
                    <a:lnTo>
                      <a:pt x="573" y="689"/>
                    </a:lnTo>
                    <a:lnTo>
                      <a:pt x="573" y="686"/>
                    </a:lnTo>
                    <a:lnTo>
                      <a:pt x="575" y="685"/>
                    </a:lnTo>
                    <a:lnTo>
                      <a:pt x="575" y="683"/>
                    </a:lnTo>
                    <a:lnTo>
                      <a:pt x="573" y="680"/>
                    </a:lnTo>
                    <a:lnTo>
                      <a:pt x="572" y="678"/>
                    </a:lnTo>
                    <a:lnTo>
                      <a:pt x="570" y="677"/>
                    </a:lnTo>
                    <a:lnTo>
                      <a:pt x="568" y="675"/>
                    </a:lnTo>
                    <a:lnTo>
                      <a:pt x="567" y="672"/>
                    </a:lnTo>
                    <a:lnTo>
                      <a:pt x="564" y="667"/>
                    </a:lnTo>
                    <a:lnTo>
                      <a:pt x="564" y="664"/>
                    </a:lnTo>
                    <a:lnTo>
                      <a:pt x="564" y="661"/>
                    </a:lnTo>
                    <a:lnTo>
                      <a:pt x="565" y="659"/>
                    </a:lnTo>
                    <a:lnTo>
                      <a:pt x="568" y="654"/>
                    </a:lnTo>
                    <a:lnTo>
                      <a:pt x="570" y="653"/>
                    </a:lnTo>
                    <a:lnTo>
                      <a:pt x="573" y="651"/>
                    </a:lnTo>
                    <a:lnTo>
                      <a:pt x="575" y="647"/>
                    </a:lnTo>
                    <a:lnTo>
                      <a:pt x="573" y="643"/>
                    </a:lnTo>
                    <a:lnTo>
                      <a:pt x="572" y="642"/>
                    </a:lnTo>
                    <a:lnTo>
                      <a:pt x="568" y="640"/>
                    </a:lnTo>
                    <a:lnTo>
                      <a:pt x="567" y="639"/>
                    </a:lnTo>
                    <a:lnTo>
                      <a:pt x="565" y="639"/>
                    </a:lnTo>
                    <a:lnTo>
                      <a:pt x="564" y="639"/>
                    </a:lnTo>
                    <a:lnTo>
                      <a:pt x="562" y="637"/>
                    </a:lnTo>
                    <a:lnTo>
                      <a:pt x="561" y="637"/>
                    </a:lnTo>
                    <a:lnTo>
                      <a:pt x="559" y="635"/>
                    </a:lnTo>
                    <a:lnTo>
                      <a:pt x="553" y="634"/>
                    </a:lnTo>
                    <a:lnTo>
                      <a:pt x="551" y="632"/>
                    </a:lnTo>
                    <a:lnTo>
                      <a:pt x="549" y="632"/>
                    </a:lnTo>
                    <a:lnTo>
                      <a:pt x="548" y="632"/>
                    </a:lnTo>
                    <a:lnTo>
                      <a:pt x="548" y="634"/>
                    </a:lnTo>
                    <a:lnTo>
                      <a:pt x="546" y="632"/>
                    </a:lnTo>
                    <a:lnTo>
                      <a:pt x="545" y="632"/>
                    </a:lnTo>
                    <a:lnTo>
                      <a:pt x="543" y="631"/>
                    </a:lnTo>
                    <a:lnTo>
                      <a:pt x="543" y="627"/>
                    </a:lnTo>
                    <a:lnTo>
                      <a:pt x="542" y="627"/>
                    </a:lnTo>
                    <a:lnTo>
                      <a:pt x="542" y="626"/>
                    </a:lnTo>
                    <a:lnTo>
                      <a:pt x="542" y="627"/>
                    </a:lnTo>
                    <a:lnTo>
                      <a:pt x="540" y="627"/>
                    </a:lnTo>
                    <a:lnTo>
                      <a:pt x="540" y="626"/>
                    </a:lnTo>
                    <a:lnTo>
                      <a:pt x="538" y="626"/>
                    </a:lnTo>
                    <a:lnTo>
                      <a:pt x="537" y="626"/>
                    </a:lnTo>
                    <a:lnTo>
                      <a:pt x="535" y="626"/>
                    </a:lnTo>
                    <a:lnTo>
                      <a:pt x="534" y="626"/>
                    </a:lnTo>
                    <a:lnTo>
                      <a:pt x="534" y="624"/>
                    </a:lnTo>
                    <a:lnTo>
                      <a:pt x="532" y="623"/>
                    </a:lnTo>
                    <a:lnTo>
                      <a:pt x="532" y="621"/>
                    </a:lnTo>
                    <a:lnTo>
                      <a:pt x="530" y="621"/>
                    </a:lnTo>
                    <a:lnTo>
                      <a:pt x="529" y="621"/>
                    </a:lnTo>
                    <a:lnTo>
                      <a:pt x="527" y="621"/>
                    </a:lnTo>
                    <a:lnTo>
                      <a:pt x="524" y="623"/>
                    </a:lnTo>
                    <a:lnTo>
                      <a:pt x="523" y="623"/>
                    </a:lnTo>
                    <a:lnTo>
                      <a:pt x="521" y="621"/>
                    </a:lnTo>
                    <a:lnTo>
                      <a:pt x="519" y="623"/>
                    </a:lnTo>
                    <a:lnTo>
                      <a:pt x="515" y="623"/>
                    </a:lnTo>
                    <a:lnTo>
                      <a:pt x="515" y="621"/>
                    </a:lnTo>
                    <a:lnTo>
                      <a:pt x="513" y="621"/>
                    </a:lnTo>
                    <a:lnTo>
                      <a:pt x="508" y="624"/>
                    </a:lnTo>
                    <a:lnTo>
                      <a:pt x="505" y="624"/>
                    </a:lnTo>
                    <a:lnTo>
                      <a:pt x="504" y="624"/>
                    </a:lnTo>
                    <a:lnTo>
                      <a:pt x="504" y="623"/>
                    </a:lnTo>
                    <a:lnTo>
                      <a:pt x="504" y="618"/>
                    </a:lnTo>
                    <a:lnTo>
                      <a:pt x="502" y="618"/>
                    </a:lnTo>
                    <a:lnTo>
                      <a:pt x="500" y="618"/>
                    </a:lnTo>
                    <a:lnTo>
                      <a:pt x="499" y="618"/>
                    </a:lnTo>
                    <a:lnTo>
                      <a:pt x="497" y="620"/>
                    </a:lnTo>
                    <a:lnTo>
                      <a:pt x="497" y="618"/>
                    </a:lnTo>
                    <a:lnTo>
                      <a:pt x="496" y="616"/>
                    </a:lnTo>
                    <a:lnTo>
                      <a:pt x="494" y="615"/>
                    </a:lnTo>
                    <a:lnTo>
                      <a:pt x="492" y="613"/>
                    </a:lnTo>
                    <a:lnTo>
                      <a:pt x="491" y="613"/>
                    </a:lnTo>
                    <a:lnTo>
                      <a:pt x="489" y="615"/>
                    </a:lnTo>
                    <a:lnTo>
                      <a:pt x="488" y="615"/>
                    </a:lnTo>
                    <a:lnTo>
                      <a:pt x="488" y="616"/>
                    </a:lnTo>
                    <a:lnTo>
                      <a:pt x="486" y="616"/>
                    </a:lnTo>
                    <a:lnTo>
                      <a:pt x="483" y="615"/>
                    </a:lnTo>
                    <a:lnTo>
                      <a:pt x="483" y="613"/>
                    </a:lnTo>
                    <a:lnTo>
                      <a:pt x="481" y="613"/>
                    </a:lnTo>
                    <a:lnTo>
                      <a:pt x="480" y="613"/>
                    </a:lnTo>
                    <a:lnTo>
                      <a:pt x="478" y="613"/>
                    </a:lnTo>
                    <a:lnTo>
                      <a:pt x="477" y="613"/>
                    </a:lnTo>
                    <a:lnTo>
                      <a:pt x="477" y="615"/>
                    </a:lnTo>
                    <a:lnTo>
                      <a:pt x="475" y="613"/>
                    </a:lnTo>
                    <a:lnTo>
                      <a:pt x="473" y="613"/>
                    </a:lnTo>
                    <a:lnTo>
                      <a:pt x="469" y="613"/>
                    </a:lnTo>
                    <a:lnTo>
                      <a:pt x="466" y="615"/>
                    </a:lnTo>
                    <a:lnTo>
                      <a:pt x="459" y="616"/>
                    </a:lnTo>
                    <a:lnTo>
                      <a:pt x="458" y="618"/>
                    </a:lnTo>
                    <a:lnTo>
                      <a:pt x="454" y="621"/>
                    </a:lnTo>
                    <a:lnTo>
                      <a:pt x="453" y="623"/>
                    </a:lnTo>
                    <a:lnTo>
                      <a:pt x="447" y="626"/>
                    </a:lnTo>
                    <a:lnTo>
                      <a:pt x="445" y="627"/>
                    </a:lnTo>
                    <a:lnTo>
                      <a:pt x="443" y="629"/>
                    </a:lnTo>
                    <a:lnTo>
                      <a:pt x="442" y="629"/>
                    </a:lnTo>
                    <a:lnTo>
                      <a:pt x="440" y="631"/>
                    </a:lnTo>
                    <a:lnTo>
                      <a:pt x="439" y="631"/>
                    </a:lnTo>
                    <a:lnTo>
                      <a:pt x="434" y="631"/>
                    </a:lnTo>
                    <a:lnTo>
                      <a:pt x="431" y="631"/>
                    </a:lnTo>
                    <a:lnTo>
                      <a:pt x="431" y="632"/>
                    </a:lnTo>
                    <a:lnTo>
                      <a:pt x="429" y="632"/>
                    </a:lnTo>
                    <a:lnTo>
                      <a:pt x="424" y="637"/>
                    </a:lnTo>
                    <a:lnTo>
                      <a:pt x="423" y="637"/>
                    </a:lnTo>
                    <a:lnTo>
                      <a:pt x="421" y="639"/>
                    </a:lnTo>
                    <a:lnTo>
                      <a:pt x="420" y="639"/>
                    </a:lnTo>
                    <a:lnTo>
                      <a:pt x="416" y="637"/>
                    </a:lnTo>
                    <a:lnTo>
                      <a:pt x="415" y="637"/>
                    </a:lnTo>
                    <a:lnTo>
                      <a:pt x="413" y="637"/>
                    </a:lnTo>
                    <a:lnTo>
                      <a:pt x="412" y="635"/>
                    </a:lnTo>
                    <a:lnTo>
                      <a:pt x="410" y="634"/>
                    </a:lnTo>
                    <a:lnTo>
                      <a:pt x="410" y="632"/>
                    </a:lnTo>
                    <a:lnTo>
                      <a:pt x="408" y="627"/>
                    </a:lnTo>
                    <a:lnTo>
                      <a:pt x="408" y="626"/>
                    </a:lnTo>
                    <a:lnTo>
                      <a:pt x="408" y="613"/>
                    </a:lnTo>
                    <a:lnTo>
                      <a:pt x="408" y="612"/>
                    </a:lnTo>
                    <a:lnTo>
                      <a:pt x="415" y="605"/>
                    </a:lnTo>
                    <a:lnTo>
                      <a:pt x="415" y="604"/>
                    </a:lnTo>
                    <a:lnTo>
                      <a:pt x="415" y="602"/>
                    </a:lnTo>
                    <a:lnTo>
                      <a:pt x="415" y="601"/>
                    </a:lnTo>
                    <a:lnTo>
                      <a:pt x="415" y="599"/>
                    </a:lnTo>
                    <a:lnTo>
                      <a:pt x="415" y="597"/>
                    </a:lnTo>
                    <a:lnTo>
                      <a:pt x="413" y="596"/>
                    </a:lnTo>
                    <a:lnTo>
                      <a:pt x="412" y="594"/>
                    </a:lnTo>
                    <a:lnTo>
                      <a:pt x="412" y="593"/>
                    </a:lnTo>
                    <a:lnTo>
                      <a:pt x="413" y="591"/>
                    </a:lnTo>
                    <a:lnTo>
                      <a:pt x="412" y="589"/>
                    </a:lnTo>
                    <a:lnTo>
                      <a:pt x="412" y="588"/>
                    </a:lnTo>
                    <a:lnTo>
                      <a:pt x="407" y="586"/>
                    </a:lnTo>
                    <a:lnTo>
                      <a:pt x="404" y="585"/>
                    </a:lnTo>
                    <a:lnTo>
                      <a:pt x="404" y="583"/>
                    </a:lnTo>
                    <a:lnTo>
                      <a:pt x="399" y="580"/>
                    </a:lnTo>
                    <a:lnTo>
                      <a:pt x="397" y="580"/>
                    </a:lnTo>
                    <a:lnTo>
                      <a:pt x="394" y="577"/>
                    </a:lnTo>
                    <a:lnTo>
                      <a:pt x="393" y="577"/>
                    </a:lnTo>
                    <a:lnTo>
                      <a:pt x="393" y="575"/>
                    </a:lnTo>
                    <a:lnTo>
                      <a:pt x="389" y="574"/>
                    </a:lnTo>
                    <a:lnTo>
                      <a:pt x="386" y="572"/>
                    </a:lnTo>
                    <a:lnTo>
                      <a:pt x="382" y="569"/>
                    </a:lnTo>
                    <a:lnTo>
                      <a:pt x="380" y="567"/>
                    </a:lnTo>
                    <a:lnTo>
                      <a:pt x="377" y="566"/>
                    </a:lnTo>
                    <a:lnTo>
                      <a:pt x="375" y="564"/>
                    </a:lnTo>
                    <a:lnTo>
                      <a:pt x="369" y="561"/>
                    </a:lnTo>
                    <a:lnTo>
                      <a:pt x="363" y="556"/>
                    </a:lnTo>
                    <a:lnTo>
                      <a:pt x="359" y="553"/>
                    </a:lnTo>
                    <a:lnTo>
                      <a:pt x="359" y="551"/>
                    </a:lnTo>
                    <a:lnTo>
                      <a:pt x="359" y="547"/>
                    </a:lnTo>
                    <a:lnTo>
                      <a:pt x="359" y="532"/>
                    </a:lnTo>
                    <a:lnTo>
                      <a:pt x="353" y="523"/>
                    </a:lnTo>
                    <a:lnTo>
                      <a:pt x="339" y="499"/>
                    </a:lnTo>
                    <a:lnTo>
                      <a:pt x="337" y="498"/>
                    </a:lnTo>
                    <a:lnTo>
                      <a:pt x="336" y="494"/>
                    </a:lnTo>
                    <a:lnTo>
                      <a:pt x="334" y="491"/>
                    </a:lnTo>
                    <a:lnTo>
                      <a:pt x="325" y="477"/>
                    </a:lnTo>
                    <a:lnTo>
                      <a:pt x="323" y="474"/>
                    </a:lnTo>
                    <a:lnTo>
                      <a:pt x="323" y="472"/>
                    </a:lnTo>
                    <a:lnTo>
                      <a:pt x="325" y="467"/>
                    </a:lnTo>
                    <a:lnTo>
                      <a:pt x="323" y="466"/>
                    </a:lnTo>
                    <a:lnTo>
                      <a:pt x="321" y="463"/>
                    </a:lnTo>
                    <a:lnTo>
                      <a:pt x="320" y="460"/>
                    </a:lnTo>
                    <a:lnTo>
                      <a:pt x="320" y="458"/>
                    </a:lnTo>
                    <a:lnTo>
                      <a:pt x="320" y="456"/>
                    </a:lnTo>
                    <a:lnTo>
                      <a:pt x="321" y="453"/>
                    </a:lnTo>
                    <a:lnTo>
                      <a:pt x="321" y="450"/>
                    </a:lnTo>
                    <a:lnTo>
                      <a:pt x="325" y="447"/>
                    </a:lnTo>
                    <a:lnTo>
                      <a:pt x="325" y="445"/>
                    </a:lnTo>
                    <a:lnTo>
                      <a:pt x="325" y="444"/>
                    </a:lnTo>
                    <a:lnTo>
                      <a:pt x="323" y="437"/>
                    </a:lnTo>
                    <a:lnTo>
                      <a:pt x="321" y="436"/>
                    </a:lnTo>
                    <a:lnTo>
                      <a:pt x="321" y="433"/>
                    </a:lnTo>
                    <a:lnTo>
                      <a:pt x="320" y="429"/>
                    </a:lnTo>
                    <a:lnTo>
                      <a:pt x="321" y="429"/>
                    </a:lnTo>
                    <a:lnTo>
                      <a:pt x="321" y="426"/>
                    </a:lnTo>
                    <a:lnTo>
                      <a:pt x="321" y="425"/>
                    </a:lnTo>
                    <a:lnTo>
                      <a:pt x="321" y="423"/>
                    </a:lnTo>
                    <a:lnTo>
                      <a:pt x="321" y="422"/>
                    </a:lnTo>
                    <a:lnTo>
                      <a:pt x="321" y="420"/>
                    </a:lnTo>
                    <a:lnTo>
                      <a:pt x="320" y="420"/>
                    </a:lnTo>
                    <a:lnTo>
                      <a:pt x="318" y="418"/>
                    </a:lnTo>
                    <a:lnTo>
                      <a:pt x="317" y="417"/>
                    </a:lnTo>
                    <a:lnTo>
                      <a:pt x="315" y="417"/>
                    </a:lnTo>
                    <a:lnTo>
                      <a:pt x="313" y="417"/>
                    </a:lnTo>
                    <a:lnTo>
                      <a:pt x="313" y="415"/>
                    </a:lnTo>
                    <a:lnTo>
                      <a:pt x="312" y="412"/>
                    </a:lnTo>
                    <a:lnTo>
                      <a:pt x="312" y="409"/>
                    </a:lnTo>
                    <a:lnTo>
                      <a:pt x="312" y="403"/>
                    </a:lnTo>
                    <a:lnTo>
                      <a:pt x="313" y="395"/>
                    </a:lnTo>
                    <a:lnTo>
                      <a:pt x="313" y="393"/>
                    </a:lnTo>
                    <a:lnTo>
                      <a:pt x="313" y="391"/>
                    </a:lnTo>
                    <a:lnTo>
                      <a:pt x="315" y="390"/>
                    </a:lnTo>
                    <a:lnTo>
                      <a:pt x="315" y="388"/>
                    </a:lnTo>
                    <a:lnTo>
                      <a:pt x="313" y="383"/>
                    </a:lnTo>
                    <a:lnTo>
                      <a:pt x="313" y="382"/>
                    </a:lnTo>
                    <a:lnTo>
                      <a:pt x="312" y="380"/>
                    </a:lnTo>
                    <a:lnTo>
                      <a:pt x="310" y="377"/>
                    </a:lnTo>
                    <a:lnTo>
                      <a:pt x="310" y="376"/>
                    </a:lnTo>
                    <a:lnTo>
                      <a:pt x="310" y="374"/>
                    </a:lnTo>
                    <a:lnTo>
                      <a:pt x="309" y="372"/>
                    </a:lnTo>
                    <a:lnTo>
                      <a:pt x="309" y="371"/>
                    </a:lnTo>
                    <a:lnTo>
                      <a:pt x="309" y="369"/>
                    </a:lnTo>
                    <a:lnTo>
                      <a:pt x="309" y="368"/>
                    </a:lnTo>
                    <a:lnTo>
                      <a:pt x="309" y="364"/>
                    </a:lnTo>
                    <a:lnTo>
                      <a:pt x="309" y="363"/>
                    </a:lnTo>
                    <a:lnTo>
                      <a:pt x="309" y="361"/>
                    </a:lnTo>
                    <a:lnTo>
                      <a:pt x="310" y="360"/>
                    </a:lnTo>
                    <a:lnTo>
                      <a:pt x="312" y="360"/>
                    </a:lnTo>
                    <a:lnTo>
                      <a:pt x="315" y="360"/>
                    </a:lnTo>
                    <a:lnTo>
                      <a:pt x="317" y="358"/>
                    </a:lnTo>
                    <a:lnTo>
                      <a:pt x="318" y="357"/>
                    </a:lnTo>
                    <a:lnTo>
                      <a:pt x="318" y="355"/>
                    </a:lnTo>
                    <a:lnTo>
                      <a:pt x="318" y="352"/>
                    </a:lnTo>
                    <a:lnTo>
                      <a:pt x="318" y="350"/>
                    </a:lnTo>
                    <a:lnTo>
                      <a:pt x="318" y="349"/>
                    </a:lnTo>
                    <a:lnTo>
                      <a:pt x="320" y="345"/>
                    </a:lnTo>
                    <a:lnTo>
                      <a:pt x="321" y="342"/>
                    </a:lnTo>
                    <a:lnTo>
                      <a:pt x="321" y="341"/>
                    </a:lnTo>
                    <a:lnTo>
                      <a:pt x="321" y="339"/>
                    </a:lnTo>
                    <a:lnTo>
                      <a:pt x="320" y="339"/>
                    </a:lnTo>
                    <a:lnTo>
                      <a:pt x="320" y="338"/>
                    </a:lnTo>
                    <a:lnTo>
                      <a:pt x="320" y="334"/>
                    </a:lnTo>
                    <a:lnTo>
                      <a:pt x="320" y="331"/>
                    </a:lnTo>
                    <a:lnTo>
                      <a:pt x="318" y="331"/>
                    </a:lnTo>
                    <a:lnTo>
                      <a:pt x="320" y="330"/>
                    </a:lnTo>
                    <a:lnTo>
                      <a:pt x="320" y="328"/>
                    </a:lnTo>
                    <a:lnTo>
                      <a:pt x="321" y="328"/>
                    </a:lnTo>
                    <a:lnTo>
                      <a:pt x="323" y="326"/>
                    </a:lnTo>
                    <a:lnTo>
                      <a:pt x="325" y="326"/>
                    </a:lnTo>
                    <a:lnTo>
                      <a:pt x="325" y="325"/>
                    </a:lnTo>
                    <a:lnTo>
                      <a:pt x="325" y="323"/>
                    </a:lnTo>
                    <a:lnTo>
                      <a:pt x="326" y="319"/>
                    </a:lnTo>
                    <a:lnTo>
                      <a:pt x="326" y="317"/>
                    </a:lnTo>
                    <a:lnTo>
                      <a:pt x="328" y="317"/>
                    </a:lnTo>
                    <a:lnTo>
                      <a:pt x="328" y="315"/>
                    </a:lnTo>
                    <a:lnTo>
                      <a:pt x="328" y="312"/>
                    </a:lnTo>
                    <a:lnTo>
                      <a:pt x="326" y="311"/>
                    </a:lnTo>
                    <a:lnTo>
                      <a:pt x="326" y="307"/>
                    </a:lnTo>
                    <a:lnTo>
                      <a:pt x="325" y="307"/>
                    </a:lnTo>
                    <a:lnTo>
                      <a:pt x="323" y="304"/>
                    </a:lnTo>
                    <a:lnTo>
                      <a:pt x="321" y="304"/>
                    </a:lnTo>
                    <a:lnTo>
                      <a:pt x="318" y="303"/>
                    </a:lnTo>
                    <a:lnTo>
                      <a:pt x="317" y="301"/>
                    </a:lnTo>
                    <a:lnTo>
                      <a:pt x="317" y="300"/>
                    </a:lnTo>
                    <a:lnTo>
                      <a:pt x="315" y="298"/>
                    </a:lnTo>
                    <a:lnTo>
                      <a:pt x="313" y="296"/>
                    </a:lnTo>
                    <a:lnTo>
                      <a:pt x="312" y="296"/>
                    </a:lnTo>
                    <a:lnTo>
                      <a:pt x="310" y="296"/>
                    </a:lnTo>
                    <a:lnTo>
                      <a:pt x="309" y="295"/>
                    </a:lnTo>
                    <a:lnTo>
                      <a:pt x="309" y="293"/>
                    </a:lnTo>
                    <a:lnTo>
                      <a:pt x="309" y="292"/>
                    </a:lnTo>
                    <a:lnTo>
                      <a:pt x="307" y="288"/>
                    </a:lnTo>
                    <a:lnTo>
                      <a:pt x="306" y="287"/>
                    </a:lnTo>
                    <a:lnTo>
                      <a:pt x="306" y="285"/>
                    </a:lnTo>
                    <a:lnTo>
                      <a:pt x="304" y="284"/>
                    </a:lnTo>
                    <a:lnTo>
                      <a:pt x="304" y="282"/>
                    </a:lnTo>
                    <a:lnTo>
                      <a:pt x="299" y="282"/>
                    </a:lnTo>
                    <a:lnTo>
                      <a:pt x="299" y="280"/>
                    </a:lnTo>
                    <a:lnTo>
                      <a:pt x="296" y="277"/>
                    </a:lnTo>
                    <a:lnTo>
                      <a:pt x="296" y="276"/>
                    </a:lnTo>
                    <a:lnTo>
                      <a:pt x="294" y="276"/>
                    </a:lnTo>
                    <a:lnTo>
                      <a:pt x="291" y="276"/>
                    </a:lnTo>
                    <a:lnTo>
                      <a:pt x="290" y="274"/>
                    </a:lnTo>
                    <a:lnTo>
                      <a:pt x="288" y="273"/>
                    </a:lnTo>
                    <a:lnTo>
                      <a:pt x="290" y="271"/>
                    </a:lnTo>
                    <a:lnTo>
                      <a:pt x="290" y="269"/>
                    </a:lnTo>
                    <a:lnTo>
                      <a:pt x="288" y="269"/>
                    </a:lnTo>
                    <a:lnTo>
                      <a:pt x="288" y="268"/>
                    </a:lnTo>
                    <a:lnTo>
                      <a:pt x="287" y="268"/>
                    </a:lnTo>
                    <a:lnTo>
                      <a:pt x="280" y="266"/>
                    </a:lnTo>
                    <a:lnTo>
                      <a:pt x="279" y="266"/>
                    </a:lnTo>
                    <a:lnTo>
                      <a:pt x="277" y="266"/>
                    </a:lnTo>
                    <a:lnTo>
                      <a:pt x="275" y="268"/>
                    </a:lnTo>
                    <a:lnTo>
                      <a:pt x="272" y="268"/>
                    </a:lnTo>
                    <a:lnTo>
                      <a:pt x="271" y="268"/>
                    </a:lnTo>
                    <a:lnTo>
                      <a:pt x="268" y="268"/>
                    </a:lnTo>
                    <a:lnTo>
                      <a:pt x="266" y="268"/>
                    </a:lnTo>
                    <a:lnTo>
                      <a:pt x="264" y="268"/>
                    </a:lnTo>
                    <a:lnTo>
                      <a:pt x="261" y="271"/>
                    </a:lnTo>
                    <a:lnTo>
                      <a:pt x="260" y="271"/>
                    </a:lnTo>
                    <a:lnTo>
                      <a:pt x="258" y="271"/>
                    </a:lnTo>
                    <a:lnTo>
                      <a:pt x="258" y="269"/>
                    </a:lnTo>
                    <a:lnTo>
                      <a:pt x="256" y="268"/>
                    </a:lnTo>
                    <a:lnTo>
                      <a:pt x="255" y="269"/>
                    </a:lnTo>
                    <a:lnTo>
                      <a:pt x="253" y="268"/>
                    </a:lnTo>
                    <a:lnTo>
                      <a:pt x="252" y="266"/>
                    </a:lnTo>
                    <a:lnTo>
                      <a:pt x="247" y="260"/>
                    </a:lnTo>
                    <a:lnTo>
                      <a:pt x="245" y="257"/>
                    </a:lnTo>
                    <a:lnTo>
                      <a:pt x="242" y="257"/>
                    </a:lnTo>
                    <a:lnTo>
                      <a:pt x="239" y="254"/>
                    </a:lnTo>
                    <a:lnTo>
                      <a:pt x="239" y="252"/>
                    </a:lnTo>
                    <a:lnTo>
                      <a:pt x="237" y="247"/>
                    </a:lnTo>
                    <a:lnTo>
                      <a:pt x="236" y="247"/>
                    </a:lnTo>
                    <a:lnTo>
                      <a:pt x="236" y="246"/>
                    </a:lnTo>
                    <a:lnTo>
                      <a:pt x="237" y="244"/>
                    </a:lnTo>
                    <a:lnTo>
                      <a:pt x="236" y="242"/>
                    </a:lnTo>
                    <a:lnTo>
                      <a:pt x="231" y="241"/>
                    </a:lnTo>
                    <a:lnTo>
                      <a:pt x="226" y="238"/>
                    </a:lnTo>
                    <a:lnTo>
                      <a:pt x="220" y="231"/>
                    </a:lnTo>
                    <a:lnTo>
                      <a:pt x="218" y="230"/>
                    </a:lnTo>
                    <a:lnTo>
                      <a:pt x="217" y="228"/>
                    </a:lnTo>
                    <a:lnTo>
                      <a:pt x="215" y="228"/>
                    </a:lnTo>
                    <a:lnTo>
                      <a:pt x="214" y="228"/>
                    </a:lnTo>
                    <a:lnTo>
                      <a:pt x="212" y="228"/>
                    </a:lnTo>
                    <a:lnTo>
                      <a:pt x="212" y="230"/>
                    </a:lnTo>
                    <a:lnTo>
                      <a:pt x="212" y="231"/>
                    </a:lnTo>
                    <a:lnTo>
                      <a:pt x="210" y="231"/>
                    </a:lnTo>
                    <a:lnTo>
                      <a:pt x="210" y="233"/>
                    </a:lnTo>
                    <a:lnTo>
                      <a:pt x="209" y="233"/>
                    </a:lnTo>
                    <a:lnTo>
                      <a:pt x="209" y="231"/>
                    </a:lnTo>
                    <a:lnTo>
                      <a:pt x="207" y="231"/>
                    </a:lnTo>
                    <a:lnTo>
                      <a:pt x="206" y="231"/>
                    </a:lnTo>
                    <a:lnTo>
                      <a:pt x="204" y="231"/>
                    </a:lnTo>
                    <a:lnTo>
                      <a:pt x="201" y="231"/>
                    </a:lnTo>
                    <a:lnTo>
                      <a:pt x="199" y="231"/>
                    </a:lnTo>
                    <a:lnTo>
                      <a:pt x="196" y="230"/>
                    </a:lnTo>
                    <a:lnTo>
                      <a:pt x="191" y="230"/>
                    </a:lnTo>
                    <a:lnTo>
                      <a:pt x="191" y="228"/>
                    </a:lnTo>
                    <a:lnTo>
                      <a:pt x="190" y="228"/>
                    </a:lnTo>
                    <a:lnTo>
                      <a:pt x="188" y="225"/>
                    </a:lnTo>
                    <a:lnTo>
                      <a:pt x="187" y="227"/>
                    </a:lnTo>
                    <a:lnTo>
                      <a:pt x="185" y="225"/>
                    </a:lnTo>
                    <a:lnTo>
                      <a:pt x="185" y="223"/>
                    </a:lnTo>
                    <a:lnTo>
                      <a:pt x="187" y="217"/>
                    </a:lnTo>
                    <a:lnTo>
                      <a:pt x="185" y="217"/>
                    </a:lnTo>
                    <a:lnTo>
                      <a:pt x="185" y="216"/>
                    </a:lnTo>
                    <a:lnTo>
                      <a:pt x="185" y="214"/>
                    </a:lnTo>
                    <a:lnTo>
                      <a:pt x="185" y="212"/>
                    </a:lnTo>
                    <a:lnTo>
                      <a:pt x="187" y="211"/>
                    </a:lnTo>
                    <a:lnTo>
                      <a:pt x="188" y="211"/>
                    </a:lnTo>
                    <a:lnTo>
                      <a:pt x="187" y="209"/>
                    </a:lnTo>
                    <a:lnTo>
                      <a:pt x="185" y="209"/>
                    </a:lnTo>
                    <a:lnTo>
                      <a:pt x="187" y="208"/>
                    </a:lnTo>
                    <a:lnTo>
                      <a:pt x="187" y="206"/>
                    </a:lnTo>
                    <a:lnTo>
                      <a:pt x="188" y="204"/>
                    </a:lnTo>
                    <a:lnTo>
                      <a:pt x="187" y="204"/>
                    </a:lnTo>
                    <a:lnTo>
                      <a:pt x="187" y="203"/>
                    </a:lnTo>
                    <a:lnTo>
                      <a:pt x="185" y="201"/>
                    </a:lnTo>
                    <a:lnTo>
                      <a:pt x="184" y="198"/>
                    </a:lnTo>
                    <a:lnTo>
                      <a:pt x="184" y="193"/>
                    </a:lnTo>
                    <a:lnTo>
                      <a:pt x="182" y="192"/>
                    </a:lnTo>
                    <a:lnTo>
                      <a:pt x="182" y="193"/>
                    </a:lnTo>
                    <a:lnTo>
                      <a:pt x="179" y="193"/>
                    </a:lnTo>
                    <a:lnTo>
                      <a:pt x="179" y="192"/>
                    </a:lnTo>
                    <a:lnTo>
                      <a:pt x="179" y="190"/>
                    </a:lnTo>
                    <a:lnTo>
                      <a:pt x="179" y="187"/>
                    </a:lnTo>
                    <a:lnTo>
                      <a:pt x="177" y="185"/>
                    </a:lnTo>
                    <a:lnTo>
                      <a:pt x="177" y="187"/>
                    </a:lnTo>
                    <a:lnTo>
                      <a:pt x="176" y="187"/>
                    </a:lnTo>
                    <a:lnTo>
                      <a:pt x="174" y="187"/>
                    </a:lnTo>
                    <a:lnTo>
                      <a:pt x="172" y="185"/>
                    </a:lnTo>
                    <a:lnTo>
                      <a:pt x="171" y="182"/>
                    </a:lnTo>
                    <a:lnTo>
                      <a:pt x="171" y="179"/>
                    </a:lnTo>
                    <a:lnTo>
                      <a:pt x="169" y="178"/>
                    </a:lnTo>
                    <a:lnTo>
                      <a:pt x="165" y="173"/>
                    </a:lnTo>
                    <a:lnTo>
                      <a:pt x="163" y="173"/>
                    </a:lnTo>
                    <a:lnTo>
                      <a:pt x="161" y="173"/>
                    </a:lnTo>
                    <a:lnTo>
                      <a:pt x="160" y="173"/>
                    </a:lnTo>
                    <a:lnTo>
                      <a:pt x="155" y="170"/>
                    </a:lnTo>
                    <a:lnTo>
                      <a:pt x="153" y="170"/>
                    </a:lnTo>
                    <a:lnTo>
                      <a:pt x="149" y="168"/>
                    </a:lnTo>
                    <a:lnTo>
                      <a:pt x="144" y="166"/>
                    </a:lnTo>
                    <a:lnTo>
                      <a:pt x="133" y="163"/>
                    </a:lnTo>
                    <a:lnTo>
                      <a:pt x="130" y="163"/>
                    </a:lnTo>
                    <a:lnTo>
                      <a:pt x="123" y="163"/>
                    </a:lnTo>
                    <a:lnTo>
                      <a:pt x="122" y="163"/>
                    </a:lnTo>
                    <a:lnTo>
                      <a:pt x="120" y="163"/>
                    </a:lnTo>
                    <a:lnTo>
                      <a:pt x="119" y="163"/>
                    </a:lnTo>
                    <a:lnTo>
                      <a:pt x="114" y="160"/>
                    </a:lnTo>
                    <a:lnTo>
                      <a:pt x="112" y="157"/>
                    </a:lnTo>
                    <a:lnTo>
                      <a:pt x="111" y="157"/>
                    </a:lnTo>
                    <a:lnTo>
                      <a:pt x="109" y="155"/>
                    </a:lnTo>
                    <a:lnTo>
                      <a:pt x="108" y="154"/>
                    </a:lnTo>
                    <a:lnTo>
                      <a:pt x="108" y="152"/>
                    </a:lnTo>
                    <a:lnTo>
                      <a:pt x="109" y="152"/>
                    </a:lnTo>
                    <a:lnTo>
                      <a:pt x="109" y="151"/>
                    </a:lnTo>
                    <a:lnTo>
                      <a:pt x="108" y="149"/>
                    </a:lnTo>
                    <a:lnTo>
                      <a:pt x="104" y="149"/>
                    </a:lnTo>
                    <a:lnTo>
                      <a:pt x="103" y="149"/>
                    </a:lnTo>
                    <a:lnTo>
                      <a:pt x="101" y="151"/>
                    </a:lnTo>
                    <a:lnTo>
                      <a:pt x="100" y="151"/>
                    </a:lnTo>
                    <a:lnTo>
                      <a:pt x="98" y="149"/>
                    </a:lnTo>
                    <a:lnTo>
                      <a:pt x="98" y="147"/>
                    </a:lnTo>
                    <a:lnTo>
                      <a:pt x="95" y="146"/>
                    </a:lnTo>
                    <a:lnTo>
                      <a:pt x="95" y="144"/>
                    </a:lnTo>
                    <a:lnTo>
                      <a:pt x="95" y="143"/>
                    </a:lnTo>
                    <a:lnTo>
                      <a:pt x="93" y="141"/>
                    </a:lnTo>
                    <a:lnTo>
                      <a:pt x="92" y="141"/>
                    </a:lnTo>
                    <a:lnTo>
                      <a:pt x="92" y="139"/>
                    </a:lnTo>
                    <a:lnTo>
                      <a:pt x="87" y="139"/>
                    </a:lnTo>
                    <a:lnTo>
                      <a:pt x="87" y="138"/>
                    </a:lnTo>
                    <a:lnTo>
                      <a:pt x="87" y="136"/>
                    </a:lnTo>
                    <a:lnTo>
                      <a:pt x="87" y="135"/>
                    </a:lnTo>
                    <a:lnTo>
                      <a:pt x="87" y="133"/>
                    </a:lnTo>
                    <a:lnTo>
                      <a:pt x="85" y="132"/>
                    </a:lnTo>
                    <a:lnTo>
                      <a:pt x="85" y="130"/>
                    </a:lnTo>
                    <a:lnTo>
                      <a:pt x="85" y="128"/>
                    </a:lnTo>
                    <a:lnTo>
                      <a:pt x="85" y="127"/>
                    </a:lnTo>
                    <a:lnTo>
                      <a:pt x="85" y="125"/>
                    </a:lnTo>
                    <a:lnTo>
                      <a:pt x="87" y="124"/>
                    </a:lnTo>
                    <a:lnTo>
                      <a:pt x="87" y="122"/>
                    </a:lnTo>
                    <a:lnTo>
                      <a:pt x="85" y="120"/>
                    </a:lnTo>
                    <a:lnTo>
                      <a:pt x="85" y="117"/>
                    </a:lnTo>
                    <a:lnTo>
                      <a:pt x="87" y="116"/>
                    </a:lnTo>
                    <a:lnTo>
                      <a:pt x="84" y="113"/>
                    </a:lnTo>
                    <a:lnTo>
                      <a:pt x="81" y="111"/>
                    </a:lnTo>
                    <a:lnTo>
                      <a:pt x="79" y="109"/>
                    </a:lnTo>
                    <a:lnTo>
                      <a:pt x="77" y="109"/>
                    </a:lnTo>
                    <a:lnTo>
                      <a:pt x="74" y="108"/>
                    </a:lnTo>
                    <a:lnTo>
                      <a:pt x="71" y="108"/>
                    </a:lnTo>
                    <a:lnTo>
                      <a:pt x="70" y="106"/>
                    </a:lnTo>
                    <a:lnTo>
                      <a:pt x="68" y="103"/>
                    </a:lnTo>
                    <a:lnTo>
                      <a:pt x="65" y="103"/>
                    </a:lnTo>
                    <a:lnTo>
                      <a:pt x="63" y="103"/>
                    </a:lnTo>
                    <a:lnTo>
                      <a:pt x="60" y="101"/>
                    </a:lnTo>
                    <a:lnTo>
                      <a:pt x="60" y="100"/>
                    </a:lnTo>
                    <a:lnTo>
                      <a:pt x="58" y="97"/>
                    </a:lnTo>
                    <a:lnTo>
                      <a:pt x="57" y="94"/>
                    </a:lnTo>
                    <a:lnTo>
                      <a:pt x="51" y="90"/>
                    </a:lnTo>
                    <a:lnTo>
                      <a:pt x="49" y="89"/>
                    </a:lnTo>
                    <a:lnTo>
                      <a:pt x="47" y="87"/>
                    </a:lnTo>
                    <a:lnTo>
                      <a:pt x="44" y="87"/>
                    </a:lnTo>
                    <a:lnTo>
                      <a:pt x="43" y="87"/>
                    </a:lnTo>
                    <a:lnTo>
                      <a:pt x="41" y="86"/>
                    </a:lnTo>
                    <a:lnTo>
                      <a:pt x="41" y="84"/>
                    </a:lnTo>
                    <a:lnTo>
                      <a:pt x="39" y="82"/>
                    </a:lnTo>
                    <a:lnTo>
                      <a:pt x="38" y="81"/>
                    </a:lnTo>
                    <a:lnTo>
                      <a:pt x="35" y="78"/>
                    </a:lnTo>
                    <a:lnTo>
                      <a:pt x="35" y="76"/>
                    </a:lnTo>
                    <a:lnTo>
                      <a:pt x="33" y="76"/>
                    </a:lnTo>
                    <a:lnTo>
                      <a:pt x="33" y="75"/>
                    </a:lnTo>
                    <a:lnTo>
                      <a:pt x="33" y="73"/>
                    </a:lnTo>
                    <a:lnTo>
                      <a:pt x="35" y="73"/>
                    </a:lnTo>
                    <a:lnTo>
                      <a:pt x="38" y="75"/>
                    </a:lnTo>
                    <a:lnTo>
                      <a:pt x="38" y="73"/>
                    </a:lnTo>
                    <a:lnTo>
                      <a:pt x="39" y="73"/>
                    </a:lnTo>
                    <a:lnTo>
                      <a:pt x="39" y="71"/>
                    </a:lnTo>
                    <a:lnTo>
                      <a:pt x="39" y="70"/>
                    </a:lnTo>
                    <a:lnTo>
                      <a:pt x="39" y="67"/>
                    </a:lnTo>
                    <a:lnTo>
                      <a:pt x="39" y="59"/>
                    </a:lnTo>
                    <a:lnTo>
                      <a:pt x="39" y="57"/>
                    </a:lnTo>
                    <a:lnTo>
                      <a:pt x="39" y="48"/>
                    </a:lnTo>
                    <a:lnTo>
                      <a:pt x="39" y="46"/>
                    </a:lnTo>
                    <a:lnTo>
                      <a:pt x="38" y="43"/>
                    </a:lnTo>
                    <a:lnTo>
                      <a:pt x="36" y="41"/>
                    </a:lnTo>
                    <a:lnTo>
                      <a:pt x="35" y="38"/>
                    </a:lnTo>
                    <a:lnTo>
                      <a:pt x="30" y="30"/>
                    </a:lnTo>
                    <a:lnTo>
                      <a:pt x="28" y="29"/>
                    </a:lnTo>
                    <a:lnTo>
                      <a:pt x="25" y="24"/>
                    </a:lnTo>
                    <a:lnTo>
                      <a:pt x="17" y="21"/>
                    </a:lnTo>
                    <a:lnTo>
                      <a:pt x="17" y="17"/>
                    </a:lnTo>
                    <a:lnTo>
                      <a:pt x="17" y="16"/>
                    </a:lnTo>
                    <a:lnTo>
                      <a:pt x="14" y="14"/>
                    </a:lnTo>
                    <a:lnTo>
                      <a:pt x="12" y="13"/>
                    </a:lnTo>
                    <a:lnTo>
                      <a:pt x="14" y="8"/>
                    </a:lnTo>
                    <a:lnTo>
                      <a:pt x="14" y="6"/>
                    </a:lnTo>
                    <a:lnTo>
                      <a:pt x="14" y="5"/>
                    </a:lnTo>
                    <a:lnTo>
                      <a:pt x="12" y="3"/>
                    </a:lnTo>
                    <a:lnTo>
                      <a:pt x="11" y="2"/>
                    </a:lnTo>
                    <a:lnTo>
                      <a:pt x="9" y="2"/>
                    </a:lnTo>
                    <a:lnTo>
                      <a:pt x="6" y="2"/>
                    </a:lnTo>
                    <a:lnTo>
                      <a:pt x="5" y="2"/>
                    </a:lnTo>
                    <a:lnTo>
                      <a:pt x="3" y="2"/>
                    </a:lnTo>
                    <a:lnTo>
                      <a:pt x="1" y="0"/>
                    </a:lnTo>
                    <a:lnTo>
                      <a:pt x="0" y="0"/>
                    </a:lnTo>
                  </a:path>
                </a:pathLst>
              </a:custGeom>
              <a:noFill/>
              <a:ln w="4763">
                <a:solidFill>
                  <a:srgbClr val="68686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74" name="Freeform 72"/>
              <p:cNvSpPr>
                <a:spLocks/>
              </p:cNvSpPr>
              <p:nvPr/>
            </p:nvSpPr>
            <p:spPr bwMode="auto">
              <a:xfrm>
                <a:off x="1439" y="776"/>
                <a:ext cx="1225" cy="2027"/>
              </a:xfrm>
              <a:custGeom>
                <a:avLst/>
                <a:gdLst>
                  <a:gd name="T0" fmla="*/ 233 w 1225"/>
                  <a:gd name="T1" fmla="*/ 2000 h 2027"/>
                  <a:gd name="T2" fmla="*/ 203 w 1225"/>
                  <a:gd name="T3" fmla="*/ 1984 h 2027"/>
                  <a:gd name="T4" fmla="*/ 183 w 1225"/>
                  <a:gd name="T5" fmla="*/ 1971 h 2027"/>
                  <a:gd name="T6" fmla="*/ 153 w 1225"/>
                  <a:gd name="T7" fmla="*/ 1965 h 2027"/>
                  <a:gd name="T8" fmla="*/ 127 w 1225"/>
                  <a:gd name="T9" fmla="*/ 1957 h 2027"/>
                  <a:gd name="T10" fmla="*/ 105 w 1225"/>
                  <a:gd name="T11" fmla="*/ 1966 h 2027"/>
                  <a:gd name="T12" fmla="*/ 86 w 1225"/>
                  <a:gd name="T13" fmla="*/ 1960 h 2027"/>
                  <a:gd name="T14" fmla="*/ 48 w 1225"/>
                  <a:gd name="T15" fmla="*/ 1944 h 2027"/>
                  <a:gd name="T16" fmla="*/ 26 w 1225"/>
                  <a:gd name="T17" fmla="*/ 1944 h 2027"/>
                  <a:gd name="T18" fmla="*/ 0 w 1225"/>
                  <a:gd name="T19" fmla="*/ 1919 h 2027"/>
                  <a:gd name="T20" fmla="*/ 10 w 1225"/>
                  <a:gd name="T21" fmla="*/ 1886 h 2027"/>
                  <a:gd name="T22" fmla="*/ 32 w 1225"/>
                  <a:gd name="T23" fmla="*/ 1863 h 2027"/>
                  <a:gd name="T24" fmla="*/ 50 w 1225"/>
                  <a:gd name="T25" fmla="*/ 1848 h 2027"/>
                  <a:gd name="T26" fmla="*/ 57 w 1225"/>
                  <a:gd name="T27" fmla="*/ 1819 h 2027"/>
                  <a:gd name="T28" fmla="*/ 59 w 1225"/>
                  <a:gd name="T29" fmla="*/ 1792 h 2027"/>
                  <a:gd name="T30" fmla="*/ 56 w 1225"/>
                  <a:gd name="T31" fmla="*/ 1765 h 2027"/>
                  <a:gd name="T32" fmla="*/ 80 w 1225"/>
                  <a:gd name="T33" fmla="*/ 1753 h 2027"/>
                  <a:gd name="T34" fmla="*/ 111 w 1225"/>
                  <a:gd name="T35" fmla="*/ 1759 h 2027"/>
                  <a:gd name="T36" fmla="*/ 145 w 1225"/>
                  <a:gd name="T37" fmla="*/ 1748 h 2027"/>
                  <a:gd name="T38" fmla="*/ 181 w 1225"/>
                  <a:gd name="T39" fmla="*/ 1748 h 2027"/>
                  <a:gd name="T40" fmla="*/ 202 w 1225"/>
                  <a:gd name="T41" fmla="*/ 1770 h 2027"/>
                  <a:gd name="T42" fmla="*/ 227 w 1225"/>
                  <a:gd name="T43" fmla="*/ 1775 h 2027"/>
                  <a:gd name="T44" fmla="*/ 255 w 1225"/>
                  <a:gd name="T45" fmla="*/ 1756 h 2027"/>
                  <a:gd name="T46" fmla="*/ 281 w 1225"/>
                  <a:gd name="T47" fmla="*/ 1740 h 2027"/>
                  <a:gd name="T48" fmla="*/ 313 w 1225"/>
                  <a:gd name="T49" fmla="*/ 1727 h 2027"/>
                  <a:gd name="T50" fmla="*/ 335 w 1225"/>
                  <a:gd name="T51" fmla="*/ 1680 h 2027"/>
                  <a:gd name="T52" fmla="*/ 333 w 1225"/>
                  <a:gd name="T53" fmla="*/ 1580 h 2027"/>
                  <a:gd name="T54" fmla="*/ 325 w 1225"/>
                  <a:gd name="T55" fmla="*/ 1451 h 2027"/>
                  <a:gd name="T56" fmla="*/ 341 w 1225"/>
                  <a:gd name="T57" fmla="*/ 1374 h 2027"/>
                  <a:gd name="T58" fmla="*/ 360 w 1225"/>
                  <a:gd name="T59" fmla="*/ 1290 h 2027"/>
                  <a:gd name="T60" fmla="*/ 392 w 1225"/>
                  <a:gd name="T61" fmla="*/ 1230 h 2027"/>
                  <a:gd name="T62" fmla="*/ 382 w 1225"/>
                  <a:gd name="T63" fmla="*/ 1152 h 2027"/>
                  <a:gd name="T64" fmla="*/ 389 w 1225"/>
                  <a:gd name="T65" fmla="*/ 1119 h 2027"/>
                  <a:gd name="T66" fmla="*/ 436 w 1225"/>
                  <a:gd name="T67" fmla="*/ 1059 h 2027"/>
                  <a:gd name="T68" fmla="*/ 496 w 1225"/>
                  <a:gd name="T69" fmla="*/ 1059 h 2027"/>
                  <a:gd name="T70" fmla="*/ 536 w 1225"/>
                  <a:gd name="T71" fmla="*/ 1084 h 2027"/>
                  <a:gd name="T72" fmla="*/ 569 w 1225"/>
                  <a:gd name="T73" fmla="*/ 1044 h 2027"/>
                  <a:gd name="T74" fmla="*/ 575 w 1225"/>
                  <a:gd name="T75" fmla="*/ 1003 h 2027"/>
                  <a:gd name="T76" fmla="*/ 571 w 1225"/>
                  <a:gd name="T77" fmla="*/ 937 h 2027"/>
                  <a:gd name="T78" fmla="*/ 610 w 1225"/>
                  <a:gd name="T79" fmla="*/ 835 h 2027"/>
                  <a:gd name="T80" fmla="*/ 607 w 1225"/>
                  <a:gd name="T81" fmla="*/ 780 h 2027"/>
                  <a:gd name="T82" fmla="*/ 659 w 1225"/>
                  <a:gd name="T83" fmla="*/ 740 h 2027"/>
                  <a:gd name="T84" fmla="*/ 685 w 1225"/>
                  <a:gd name="T85" fmla="*/ 702 h 2027"/>
                  <a:gd name="T86" fmla="*/ 712 w 1225"/>
                  <a:gd name="T87" fmla="*/ 650 h 2027"/>
                  <a:gd name="T88" fmla="*/ 753 w 1225"/>
                  <a:gd name="T89" fmla="*/ 570 h 2027"/>
                  <a:gd name="T90" fmla="*/ 785 w 1225"/>
                  <a:gd name="T91" fmla="*/ 525 h 2027"/>
                  <a:gd name="T92" fmla="*/ 818 w 1225"/>
                  <a:gd name="T93" fmla="*/ 521 h 2027"/>
                  <a:gd name="T94" fmla="*/ 870 w 1225"/>
                  <a:gd name="T95" fmla="*/ 507 h 2027"/>
                  <a:gd name="T96" fmla="*/ 908 w 1225"/>
                  <a:gd name="T97" fmla="*/ 517 h 2027"/>
                  <a:gd name="T98" fmla="*/ 927 w 1225"/>
                  <a:gd name="T99" fmla="*/ 479 h 2027"/>
                  <a:gd name="T100" fmla="*/ 926 w 1225"/>
                  <a:gd name="T101" fmla="*/ 428 h 2027"/>
                  <a:gd name="T102" fmla="*/ 952 w 1225"/>
                  <a:gd name="T103" fmla="*/ 339 h 2027"/>
                  <a:gd name="T104" fmla="*/ 990 w 1225"/>
                  <a:gd name="T105" fmla="*/ 239 h 2027"/>
                  <a:gd name="T106" fmla="*/ 1021 w 1225"/>
                  <a:gd name="T107" fmla="*/ 174 h 2027"/>
                  <a:gd name="T108" fmla="*/ 1025 w 1225"/>
                  <a:gd name="T109" fmla="*/ 101 h 2027"/>
                  <a:gd name="T110" fmla="*/ 1055 w 1225"/>
                  <a:gd name="T111" fmla="*/ 46 h 2027"/>
                  <a:gd name="T112" fmla="*/ 1100 w 1225"/>
                  <a:gd name="T113" fmla="*/ 38 h 2027"/>
                  <a:gd name="T114" fmla="*/ 1158 w 1225"/>
                  <a:gd name="T115" fmla="*/ 48 h 2027"/>
                  <a:gd name="T116" fmla="*/ 1200 w 1225"/>
                  <a:gd name="T117" fmla="*/ 40 h 2027"/>
                  <a:gd name="T118" fmla="*/ 1217 w 1225"/>
                  <a:gd name="T119" fmla="*/ 5 h 20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25" h="2027">
                    <a:moveTo>
                      <a:pt x="262" y="2025"/>
                    </a:moveTo>
                    <a:lnTo>
                      <a:pt x="260" y="2027"/>
                    </a:lnTo>
                    <a:lnTo>
                      <a:pt x="259" y="2027"/>
                    </a:lnTo>
                    <a:lnTo>
                      <a:pt x="257" y="2027"/>
                    </a:lnTo>
                    <a:lnTo>
                      <a:pt x="255" y="2025"/>
                    </a:lnTo>
                    <a:lnTo>
                      <a:pt x="252" y="2023"/>
                    </a:lnTo>
                    <a:lnTo>
                      <a:pt x="251" y="2022"/>
                    </a:lnTo>
                    <a:lnTo>
                      <a:pt x="248" y="2016"/>
                    </a:lnTo>
                    <a:lnTo>
                      <a:pt x="246" y="2014"/>
                    </a:lnTo>
                    <a:lnTo>
                      <a:pt x="246" y="2012"/>
                    </a:lnTo>
                    <a:lnTo>
                      <a:pt x="244" y="2012"/>
                    </a:lnTo>
                    <a:lnTo>
                      <a:pt x="243" y="2011"/>
                    </a:lnTo>
                    <a:lnTo>
                      <a:pt x="241" y="2009"/>
                    </a:lnTo>
                    <a:lnTo>
                      <a:pt x="241" y="2008"/>
                    </a:lnTo>
                    <a:lnTo>
                      <a:pt x="240" y="2006"/>
                    </a:lnTo>
                    <a:lnTo>
                      <a:pt x="235" y="2003"/>
                    </a:lnTo>
                    <a:lnTo>
                      <a:pt x="233" y="2000"/>
                    </a:lnTo>
                    <a:lnTo>
                      <a:pt x="230" y="2000"/>
                    </a:lnTo>
                    <a:lnTo>
                      <a:pt x="229" y="2000"/>
                    </a:lnTo>
                    <a:lnTo>
                      <a:pt x="227" y="2000"/>
                    </a:lnTo>
                    <a:lnTo>
                      <a:pt x="225" y="1998"/>
                    </a:lnTo>
                    <a:lnTo>
                      <a:pt x="224" y="1998"/>
                    </a:lnTo>
                    <a:lnTo>
                      <a:pt x="222" y="1997"/>
                    </a:lnTo>
                    <a:lnTo>
                      <a:pt x="221" y="1995"/>
                    </a:lnTo>
                    <a:lnTo>
                      <a:pt x="217" y="1995"/>
                    </a:lnTo>
                    <a:lnTo>
                      <a:pt x="214" y="1992"/>
                    </a:lnTo>
                    <a:lnTo>
                      <a:pt x="214" y="1990"/>
                    </a:lnTo>
                    <a:lnTo>
                      <a:pt x="213" y="1989"/>
                    </a:lnTo>
                    <a:lnTo>
                      <a:pt x="211" y="1989"/>
                    </a:lnTo>
                    <a:lnTo>
                      <a:pt x="211" y="1985"/>
                    </a:lnTo>
                    <a:lnTo>
                      <a:pt x="210" y="1985"/>
                    </a:lnTo>
                    <a:lnTo>
                      <a:pt x="206" y="1984"/>
                    </a:lnTo>
                    <a:lnTo>
                      <a:pt x="205" y="1984"/>
                    </a:lnTo>
                    <a:lnTo>
                      <a:pt x="203" y="1984"/>
                    </a:lnTo>
                    <a:lnTo>
                      <a:pt x="202" y="1982"/>
                    </a:lnTo>
                    <a:lnTo>
                      <a:pt x="202" y="1981"/>
                    </a:lnTo>
                    <a:lnTo>
                      <a:pt x="200" y="1981"/>
                    </a:lnTo>
                    <a:lnTo>
                      <a:pt x="198" y="1979"/>
                    </a:lnTo>
                    <a:lnTo>
                      <a:pt x="200" y="1979"/>
                    </a:lnTo>
                    <a:lnTo>
                      <a:pt x="202" y="1979"/>
                    </a:lnTo>
                    <a:lnTo>
                      <a:pt x="202" y="1978"/>
                    </a:lnTo>
                    <a:lnTo>
                      <a:pt x="198" y="1978"/>
                    </a:lnTo>
                    <a:lnTo>
                      <a:pt x="197" y="1974"/>
                    </a:lnTo>
                    <a:lnTo>
                      <a:pt x="195" y="1974"/>
                    </a:lnTo>
                    <a:lnTo>
                      <a:pt x="194" y="1974"/>
                    </a:lnTo>
                    <a:lnTo>
                      <a:pt x="192" y="1974"/>
                    </a:lnTo>
                    <a:lnTo>
                      <a:pt x="189" y="1974"/>
                    </a:lnTo>
                    <a:lnTo>
                      <a:pt x="187" y="1974"/>
                    </a:lnTo>
                    <a:lnTo>
                      <a:pt x="186" y="1973"/>
                    </a:lnTo>
                    <a:lnTo>
                      <a:pt x="184" y="1971"/>
                    </a:lnTo>
                    <a:lnTo>
                      <a:pt x="183" y="1971"/>
                    </a:lnTo>
                    <a:lnTo>
                      <a:pt x="181" y="1971"/>
                    </a:lnTo>
                    <a:lnTo>
                      <a:pt x="178" y="1973"/>
                    </a:lnTo>
                    <a:lnTo>
                      <a:pt x="176" y="1971"/>
                    </a:lnTo>
                    <a:lnTo>
                      <a:pt x="176" y="1970"/>
                    </a:lnTo>
                    <a:lnTo>
                      <a:pt x="175" y="1970"/>
                    </a:lnTo>
                    <a:lnTo>
                      <a:pt x="172" y="1973"/>
                    </a:lnTo>
                    <a:lnTo>
                      <a:pt x="170" y="1973"/>
                    </a:lnTo>
                    <a:lnTo>
                      <a:pt x="170" y="1976"/>
                    </a:lnTo>
                    <a:lnTo>
                      <a:pt x="167" y="1976"/>
                    </a:lnTo>
                    <a:lnTo>
                      <a:pt x="165" y="1974"/>
                    </a:lnTo>
                    <a:lnTo>
                      <a:pt x="164" y="1974"/>
                    </a:lnTo>
                    <a:lnTo>
                      <a:pt x="162" y="1973"/>
                    </a:lnTo>
                    <a:lnTo>
                      <a:pt x="160" y="1971"/>
                    </a:lnTo>
                    <a:lnTo>
                      <a:pt x="157" y="1971"/>
                    </a:lnTo>
                    <a:lnTo>
                      <a:pt x="154" y="1966"/>
                    </a:lnTo>
                    <a:lnTo>
                      <a:pt x="153" y="1966"/>
                    </a:lnTo>
                    <a:lnTo>
                      <a:pt x="153" y="1965"/>
                    </a:lnTo>
                    <a:lnTo>
                      <a:pt x="151" y="1965"/>
                    </a:lnTo>
                    <a:lnTo>
                      <a:pt x="151" y="1963"/>
                    </a:lnTo>
                    <a:lnTo>
                      <a:pt x="149" y="1963"/>
                    </a:lnTo>
                    <a:lnTo>
                      <a:pt x="148" y="1963"/>
                    </a:lnTo>
                    <a:lnTo>
                      <a:pt x="146" y="1963"/>
                    </a:lnTo>
                    <a:lnTo>
                      <a:pt x="146" y="1962"/>
                    </a:lnTo>
                    <a:lnTo>
                      <a:pt x="145" y="1963"/>
                    </a:lnTo>
                    <a:lnTo>
                      <a:pt x="143" y="1963"/>
                    </a:lnTo>
                    <a:lnTo>
                      <a:pt x="140" y="1960"/>
                    </a:lnTo>
                    <a:lnTo>
                      <a:pt x="138" y="1958"/>
                    </a:lnTo>
                    <a:lnTo>
                      <a:pt x="135" y="1958"/>
                    </a:lnTo>
                    <a:lnTo>
                      <a:pt x="135" y="1960"/>
                    </a:lnTo>
                    <a:lnTo>
                      <a:pt x="134" y="1960"/>
                    </a:lnTo>
                    <a:lnTo>
                      <a:pt x="134" y="1962"/>
                    </a:lnTo>
                    <a:lnTo>
                      <a:pt x="132" y="1962"/>
                    </a:lnTo>
                    <a:lnTo>
                      <a:pt x="129" y="1958"/>
                    </a:lnTo>
                    <a:lnTo>
                      <a:pt x="127" y="1957"/>
                    </a:lnTo>
                    <a:lnTo>
                      <a:pt x="126" y="1957"/>
                    </a:lnTo>
                    <a:lnTo>
                      <a:pt x="124" y="1957"/>
                    </a:lnTo>
                    <a:lnTo>
                      <a:pt x="124" y="1958"/>
                    </a:lnTo>
                    <a:lnTo>
                      <a:pt x="124" y="1960"/>
                    </a:lnTo>
                    <a:lnTo>
                      <a:pt x="122" y="1960"/>
                    </a:lnTo>
                    <a:lnTo>
                      <a:pt x="121" y="1962"/>
                    </a:lnTo>
                    <a:lnTo>
                      <a:pt x="119" y="1962"/>
                    </a:lnTo>
                    <a:lnTo>
                      <a:pt x="118" y="1962"/>
                    </a:lnTo>
                    <a:lnTo>
                      <a:pt x="118" y="1963"/>
                    </a:lnTo>
                    <a:lnTo>
                      <a:pt x="114" y="1965"/>
                    </a:lnTo>
                    <a:lnTo>
                      <a:pt x="113" y="1963"/>
                    </a:lnTo>
                    <a:lnTo>
                      <a:pt x="111" y="1963"/>
                    </a:lnTo>
                    <a:lnTo>
                      <a:pt x="110" y="1963"/>
                    </a:lnTo>
                    <a:lnTo>
                      <a:pt x="108" y="1965"/>
                    </a:lnTo>
                    <a:lnTo>
                      <a:pt x="107" y="1965"/>
                    </a:lnTo>
                    <a:lnTo>
                      <a:pt x="107" y="1966"/>
                    </a:lnTo>
                    <a:lnTo>
                      <a:pt x="105" y="1966"/>
                    </a:lnTo>
                    <a:lnTo>
                      <a:pt x="103" y="1966"/>
                    </a:lnTo>
                    <a:lnTo>
                      <a:pt x="103" y="1965"/>
                    </a:lnTo>
                    <a:lnTo>
                      <a:pt x="102" y="1966"/>
                    </a:lnTo>
                    <a:lnTo>
                      <a:pt x="102" y="1968"/>
                    </a:lnTo>
                    <a:lnTo>
                      <a:pt x="100" y="1968"/>
                    </a:lnTo>
                    <a:lnTo>
                      <a:pt x="100" y="1970"/>
                    </a:lnTo>
                    <a:lnTo>
                      <a:pt x="99" y="1970"/>
                    </a:lnTo>
                    <a:lnTo>
                      <a:pt x="95" y="1970"/>
                    </a:lnTo>
                    <a:lnTo>
                      <a:pt x="94" y="1971"/>
                    </a:lnTo>
                    <a:lnTo>
                      <a:pt x="94" y="1970"/>
                    </a:lnTo>
                    <a:lnTo>
                      <a:pt x="92" y="1966"/>
                    </a:lnTo>
                    <a:lnTo>
                      <a:pt x="91" y="1965"/>
                    </a:lnTo>
                    <a:lnTo>
                      <a:pt x="89" y="1965"/>
                    </a:lnTo>
                    <a:lnTo>
                      <a:pt x="88" y="1963"/>
                    </a:lnTo>
                    <a:lnTo>
                      <a:pt x="88" y="1962"/>
                    </a:lnTo>
                    <a:lnTo>
                      <a:pt x="86" y="1962"/>
                    </a:lnTo>
                    <a:lnTo>
                      <a:pt x="86" y="1960"/>
                    </a:lnTo>
                    <a:lnTo>
                      <a:pt x="84" y="1958"/>
                    </a:lnTo>
                    <a:lnTo>
                      <a:pt x="83" y="1960"/>
                    </a:lnTo>
                    <a:lnTo>
                      <a:pt x="81" y="1958"/>
                    </a:lnTo>
                    <a:lnTo>
                      <a:pt x="80" y="1957"/>
                    </a:lnTo>
                    <a:lnTo>
                      <a:pt x="75" y="1955"/>
                    </a:lnTo>
                    <a:lnTo>
                      <a:pt x="72" y="1951"/>
                    </a:lnTo>
                    <a:lnTo>
                      <a:pt x="70" y="1951"/>
                    </a:lnTo>
                    <a:lnTo>
                      <a:pt x="69" y="1951"/>
                    </a:lnTo>
                    <a:lnTo>
                      <a:pt x="67" y="1951"/>
                    </a:lnTo>
                    <a:lnTo>
                      <a:pt x="65" y="1952"/>
                    </a:lnTo>
                    <a:lnTo>
                      <a:pt x="64" y="1952"/>
                    </a:lnTo>
                    <a:lnTo>
                      <a:pt x="57" y="1949"/>
                    </a:lnTo>
                    <a:lnTo>
                      <a:pt x="54" y="1949"/>
                    </a:lnTo>
                    <a:lnTo>
                      <a:pt x="51" y="1946"/>
                    </a:lnTo>
                    <a:lnTo>
                      <a:pt x="50" y="1946"/>
                    </a:lnTo>
                    <a:lnTo>
                      <a:pt x="50" y="1944"/>
                    </a:lnTo>
                    <a:lnTo>
                      <a:pt x="48" y="1944"/>
                    </a:lnTo>
                    <a:lnTo>
                      <a:pt x="46" y="1944"/>
                    </a:lnTo>
                    <a:lnTo>
                      <a:pt x="46" y="1946"/>
                    </a:lnTo>
                    <a:lnTo>
                      <a:pt x="45" y="1946"/>
                    </a:lnTo>
                    <a:lnTo>
                      <a:pt x="42" y="1947"/>
                    </a:lnTo>
                    <a:lnTo>
                      <a:pt x="40" y="1947"/>
                    </a:lnTo>
                    <a:lnTo>
                      <a:pt x="38" y="1947"/>
                    </a:lnTo>
                    <a:lnTo>
                      <a:pt x="37" y="1947"/>
                    </a:lnTo>
                    <a:lnTo>
                      <a:pt x="35" y="1947"/>
                    </a:lnTo>
                    <a:lnTo>
                      <a:pt x="34" y="1947"/>
                    </a:lnTo>
                    <a:lnTo>
                      <a:pt x="34" y="1949"/>
                    </a:lnTo>
                    <a:lnTo>
                      <a:pt x="32" y="1949"/>
                    </a:lnTo>
                    <a:lnTo>
                      <a:pt x="29" y="1949"/>
                    </a:lnTo>
                    <a:lnTo>
                      <a:pt x="31" y="1947"/>
                    </a:lnTo>
                    <a:lnTo>
                      <a:pt x="31" y="1946"/>
                    </a:lnTo>
                    <a:lnTo>
                      <a:pt x="29" y="1946"/>
                    </a:lnTo>
                    <a:lnTo>
                      <a:pt x="27" y="1944"/>
                    </a:lnTo>
                    <a:lnTo>
                      <a:pt x="26" y="1944"/>
                    </a:lnTo>
                    <a:lnTo>
                      <a:pt x="24" y="1944"/>
                    </a:lnTo>
                    <a:lnTo>
                      <a:pt x="23" y="1944"/>
                    </a:lnTo>
                    <a:lnTo>
                      <a:pt x="21" y="1946"/>
                    </a:lnTo>
                    <a:lnTo>
                      <a:pt x="19" y="1947"/>
                    </a:lnTo>
                    <a:lnTo>
                      <a:pt x="19" y="1946"/>
                    </a:lnTo>
                    <a:lnTo>
                      <a:pt x="18" y="1946"/>
                    </a:lnTo>
                    <a:lnTo>
                      <a:pt x="15" y="1946"/>
                    </a:lnTo>
                    <a:lnTo>
                      <a:pt x="13" y="1946"/>
                    </a:lnTo>
                    <a:lnTo>
                      <a:pt x="15" y="1943"/>
                    </a:lnTo>
                    <a:lnTo>
                      <a:pt x="15" y="1941"/>
                    </a:lnTo>
                    <a:lnTo>
                      <a:pt x="13" y="1941"/>
                    </a:lnTo>
                    <a:lnTo>
                      <a:pt x="8" y="1933"/>
                    </a:lnTo>
                    <a:lnTo>
                      <a:pt x="5" y="1930"/>
                    </a:lnTo>
                    <a:lnTo>
                      <a:pt x="2" y="1925"/>
                    </a:lnTo>
                    <a:lnTo>
                      <a:pt x="2" y="1924"/>
                    </a:lnTo>
                    <a:lnTo>
                      <a:pt x="0" y="1920"/>
                    </a:lnTo>
                    <a:lnTo>
                      <a:pt x="0" y="1919"/>
                    </a:lnTo>
                    <a:lnTo>
                      <a:pt x="2" y="1917"/>
                    </a:lnTo>
                    <a:lnTo>
                      <a:pt x="4" y="1917"/>
                    </a:lnTo>
                    <a:lnTo>
                      <a:pt x="4" y="1914"/>
                    </a:lnTo>
                    <a:lnTo>
                      <a:pt x="2" y="1911"/>
                    </a:lnTo>
                    <a:lnTo>
                      <a:pt x="2" y="1905"/>
                    </a:lnTo>
                    <a:lnTo>
                      <a:pt x="0" y="1903"/>
                    </a:lnTo>
                    <a:lnTo>
                      <a:pt x="0" y="1901"/>
                    </a:lnTo>
                    <a:lnTo>
                      <a:pt x="2" y="1898"/>
                    </a:lnTo>
                    <a:lnTo>
                      <a:pt x="5" y="1898"/>
                    </a:lnTo>
                    <a:lnTo>
                      <a:pt x="7" y="1897"/>
                    </a:lnTo>
                    <a:lnTo>
                      <a:pt x="8" y="1895"/>
                    </a:lnTo>
                    <a:lnTo>
                      <a:pt x="10" y="1894"/>
                    </a:lnTo>
                    <a:lnTo>
                      <a:pt x="12" y="1892"/>
                    </a:lnTo>
                    <a:lnTo>
                      <a:pt x="10" y="1890"/>
                    </a:lnTo>
                    <a:lnTo>
                      <a:pt x="10" y="1889"/>
                    </a:lnTo>
                    <a:lnTo>
                      <a:pt x="10" y="1887"/>
                    </a:lnTo>
                    <a:lnTo>
                      <a:pt x="10" y="1886"/>
                    </a:lnTo>
                    <a:lnTo>
                      <a:pt x="12" y="1884"/>
                    </a:lnTo>
                    <a:lnTo>
                      <a:pt x="12" y="1882"/>
                    </a:lnTo>
                    <a:lnTo>
                      <a:pt x="15" y="1881"/>
                    </a:lnTo>
                    <a:lnTo>
                      <a:pt x="16" y="1881"/>
                    </a:lnTo>
                    <a:lnTo>
                      <a:pt x="19" y="1879"/>
                    </a:lnTo>
                    <a:lnTo>
                      <a:pt x="23" y="1879"/>
                    </a:lnTo>
                    <a:lnTo>
                      <a:pt x="23" y="1878"/>
                    </a:lnTo>
                    <a:lnTo>
                      <a:pt x="24" y="1873"/>
                    </a:lnTo>
                    <a:lnTo>
                      <a:pt x="24" y="1871"/>
                    </a:lnTo>
                    <a:lnTo>
                      <a:pt x="23" y="1868"/>
                    </a:lnTo>
                    <a:lnTo>
                      <a:pt x="26" y="1867"/>
                    </a:lnTo>
                    <a:lnTo>
                      <a:pt x="24" y="1863"/>
                    </a:lnTo>
                    <a:lnTo>
                      <a:pt x="26" y="1863"/>
                    </a:lnTo>
                    <a:lnTo>
                      <a:pt x="26" y="1862"/>
                    </a:lnTo>
                    <a:lnTo>
                      <a:pt x="31" y="1862"/>
                    </a:lnTo>
                    <a:lnTo>
                      <a:pt x="31" y="1863"/>
                    </a:lnTo>
                    <a:lnTo>
                      <a:pt x="32" y="1863"/>
                    </a:lnTo>
                    <a:lnTo>
                      <a:pt x="34" y="1867"/>
                    </a:lnTo>
                    <a:lnTo>
                      <a:pt x="35" y="1867"/>
                    </a:lnTo>
                    <a:lnTo>
                      <a:pt x="35" y="1865"/>
                    </a:lnTo>
                    <a:lnTo>
                      <a:pt x="34" y="1863"/>
                    </a:lnTo>
                    <a:lnTo>
                      <a:pt x="34" y="1859"/>
                    </a:lnTo>
                    <a:lnTo>
                      <a:pt x="34" y="1856"/>
                    </a:lnTo>
                    <a:lnTo>
                      <a:pt x="35" y="1854"/>
                    </a:lnTo>
                    <a:lnTo>
                      <a:pt x="35" y="1852"/>
                    </a:lnTo>
                    <a:lnTo>
                      <a:pt x="40" y="1852"/>
                    </a:lnTo>
                    <a:lnTo>
                      <a:pt x="42" y="1852"/>
                    </a:lnTo>
                    <a:lnTo>
                      <a:pt x="43" y="1852"/>
                    </a:lnTo>
                    <a:lnTo>
                      <a:pt x="45" y="1852"/>
                    </a:lnTo>
                    <a:lnTo>
                      <a:pt x="46" y="1852"/>
                    </a:lnTo>
                    <a:lnTo>
                      <a:pt x="48" y="1852"/>
                    </a:lnTo>
                    <a:lnTo>
                      <a:pt x="48" y="1851"/>
                    </a:lnTo>
                    <a:lnTo>
                      <a:pt x="48" y="1849"/>
                    </a:lnTo>
                    <a:lnTo>
                      <a:pt x="50" y="1848"/>
                    </a:lnTo>
                    <a:lnTo>
                      <a:pt x="51" y="1848"/>
                    </a:lnTo>
                    <a:lnTo>
                      <a:pt x="54" y="1849"/>
                    </a:lnTo>
                    <a:lnTo>
                      <a:pt x="54" y="1848"/>
                    </a:lnTo>
                    <a:lnTo>
                      <a:pt x="56" y="1846"/>
                    </a:lnTo>
                    <a:lnTo>
                      <a:pt x="54" y="1841"/>
                    </a:lnTo>
                    <a:lnTo>
                      <a:pt x="54" y="1840"/>
                    </a:lnTo>
                    <a:lnTo>
                      <a:pt x="54" y="1836"/>
                    </a:lnTo>
                    <a:lnTo>
                      <a:pt x="51" y="1836"/>
                    </a:lnTo>
                    <a:lnTo>
                      <a:pt x="51" y="1830"/>
                    </a:lnTo>
                    <a:lnTo>
                      <a:pt x="50" y="1830"/>
                    </a:lnTo>
                    <a:lnTo>
                      <a:pt x="48" y="1830"/>
                    </a:lnTo>
                    <a:lnTo>
                      <a:pt x="48" y="1829"/>
                    </a:lnTo>
                    <a:lnTo>
                      <a:pt x="48" y="1827"/>
                    </a:lnTo>
                    <a:lnTo>
                      <a:pt x="50" y="1825"/>
                    </a:lnTo>
                    <a:lnTo>
                      <a:pt x="54" y="1824"/>
                    </a:lnTo>
                    <a:lnTo>
                      <a:pt x="57" y="1821"/>
                    </a:lnTo>
                    <a:lnTo>
                      <a:pt x="57" y="1819"/>
                    </a:lnTo>
                    <a:lnTo>
                      <a:pt x="59" y="1816"/>
                    </a:lnTo>
                    <a:lnTo>
                      <a:pt x="57" y="1813"/>
                    </a:lnTo>
                    <a:lnTo>
                      <a:pt x="53" y="1813"/>
                    </a:lnTo>
                    <a:lnTo>
                      <a:pt x="51" y="1808"/>
                    </a:lnTo>
                    <a:lnTo>
                      <a:pt x="51" y="1806"/>
                    </a:lnTo>
                    <a:lnTo>
                      <a:pt x="51" y="1802"/>
                    </a:lnTo>
                    <a:lnTo>
                      <a:pt x="51" y="1800"/>
                    </a:lnTo>
                    <a:lnTo>
                      <a:pt x="50" y="1798"/>
                    </a:lnTo>
                    <a:lnTo>
                      <a:pt x="50" y="1797"/>
                    </a:lnTo>
                    <a:lnTo>
                      <a:pt x="51" y="1798"/>
                    </a:lnTo>
                    <a:lnTo>
                      <a:pt x="53" y="1798"/>
                    </a:lnTo>
                    <a:lnTo>
                      <a:pt x="56" y="1798"/>
                    </a:lnTo>
                    <a:lnTo>
                      <a:pt x="57" y="1797"/>
                    </a:lnTo>
                    <a:lnTo>
                      <a:pt x="59" y="1797"/>
                    </a:lnTo>
                    <a:lnTo>
                      <a:pt x="59" y="1795"/>
                    </a:lnTo>
                    <a:lnTo>
                      <a:pt x="59" y="1794"/>
                    </a:lnTo>
                    <a:lnTo>
                      <a:pt x="59" y="1792"/>
                    </a:lnTo>
                    <a:lnTo>
                      <a:pt x="56" y="1789"/>
                    </a:lnTo>
                    <a:lnTo>
                      <a:pt x="56" y="1787"/>
                    </a:lnTo>
                    <a:lnTo>
                      <a:pt x="57" y="1787"/>
                    </a:lnTo>
                    <a:lnTo>
                      <a:pt x="59" y="1787"/>
                    </a:lnTo>
                    <a:lnTo>
                      <a:pt x="61" y="1787"/>
                    </a:lnTo>
                    <a:lnTo>
                      <a:pt x="62" y="1787"/>
                    </a:lnTo>
                    <a:lnTo>
                      <a:pt x="64" y="1784"/>
                    </a:lnTo>
                    <a:lnTo>
                      <a:pt x="64" y="1781"/>
                    </a:lnTo>
                    <a:lnTo>
                      <a:pt x="61" y="1781"/>
                    </a:lnTo>
                    <a:lnTo>
                      <a:pt x="59" y="1783"/>
                    </a:lnTo>
                    <a:lnTo>
                      <a:pt x="57" y="1783"/>
                    </a:lnTo>
                    <a:lnTo>
                      <a:pt x="56" y="1778"/>
                    </a:lnTo>
                    <a:lnTo>
                      <a:pt x="54" y="1773"/>
                    </a:lnTo>
                    <a:lnTo>
                      <a:pt x="56" y="1772"/>
                    </a:lnTo>
                    <a:lnTo>
                      <a:pt x="57" y="1770"/>
                    </a:lnTo>
                    <a:lnTo>
                      <a:pt x="56" y="1767"/>
                    </a:lnTo>
                    <a:lnTo>
                      <a:pt x="56" y="1765"/>
                    </a:lnTo>
                    <a:lnTo>
                      <a:pt x="57" y="1765"/>
                    </a:lnTo>
                    <a:lnTo>
                      <a:pt x="62" y="1767"/>
                    </a:lnTo>
                    <a:lnTo>
                      <a:pt x="64" y="1765"/>
                    </a:lnTo>
                    <a:lnTo>
                      <a:pt x="64" y="1764"/>
                    </a:lnTo>
                    <a:lnTo>
                      <a:pt x="62" y="1760"/>
                    </a:lnTo>
                    <a:lnTo>
                      <a:pt x="64" y="1759"/>
                    </a:lnTo>
                    <a:lnTo>
                      <a:pt x="65" y="1759"/>
                    </a:lnTo>
                    <a:lnTo>
                      <a:pt x="67" y="1760"/>
                    </a:lnTo>
                    <a:lnTo>
                      <a:pt x="69" y="1760"/>
                    </a:lnTo>
                    <a:lnTo>
                      <a:pt x="70" y="1760"/>
                    </a:lnTo>
                    <a:lnTo>
                      <a:pt x="72" y="1757"/>
                    </a:lnTo>
                    <a:lnTo>
                      <a:pt x="73" y="1756"/>
                    </a:lnTo>
                    <a:lnTo>
                      <a:pt x="73" y="1754"/>
                    </a:lnTo>
                    <a:lnTo>
                      <a:pt x="75" y="1754"/>
                    </a:lnTo>
                    <a:lnTo>
                      <a:pt x="76" y="1754"/>
                    </a:lnTo>
                    <a:lnTo>
                      <a:pt x="78" y="1753"/>
                    </a:lnTo>
                    <a:lnTo>
                      <a:pt x="80" y="1753"/>
                    </a:lnTo>
                    <a:lnTo>
                      <a:pt x="81" y="1753"/>
                    </a:lnTo>
                    <a:lnTo>
                      <a:pt x="84" y="1757"/>
                    </a:lnTo>
                    <a:lnTo>
                      <a:pt x="86" y="1757"/>
                    </a:lnTo>
                    <a:lnTo>
                      <a:pt x="88" y="1756"/>
                    </a:lnTo>
                    <a:lnTo>
                      <a:pt x="89" y="1753"/>
                    </a:lnTo>
                    <a:lnTo>
                      <a:pt x="91" y="1751"/>
                    </a:lnTo>
                    <a:lnTo>
                      <a:pt x="92" y="1751"/>
                    </a:lnTo>
                    <a:lnTo>
                      <a:pt x="92" y="1753"/>
                    </a:lnTo>
                    <a:lnTo>
                      <a:pt x="94" y="1754"/>
                    </a:lnTo>
                    <a:lnTo>
                      <a:pt x="95" y="1754"/>
                    </a:lnTo>
                    <a:lnTo>
                      <a:pt x="99" y="1756"/>
                    </a:lnTo>
                    <a:lnTo>
                      <a:pt x="103" y="1754"/>
                    </a:lnTo>
                    <a:lnTo>
                      <a:pt x="105" y="1756"/>
                    </a:lnTo>
                    <a:lnTo>
                      <a:pt x="107" y="1756"/>
                    </a:lnTo>
                    <a:lnTo>
                      <a:pt x="108" y="1757"/>
                    </a:lnTo>
                    <a:lnTo>
                      <a:pt x="110" y="1759"/>
                    </a:lnTo>
                    <a:lnTo>
                      <a:pt x="111" y="1759"/>
                    </a:lnTo>
                    <a:lnTo>
                      <a:pt x="113" y="1760"/>
                    </a:lnTo>
                    <a:lnTo>
                      <a:pt x="116" y="1760"/>
                    </a:lnTo>
                    <a:lnTo>
                      <a:pt x="119" y="1757"/>
                    </a:lnTo>
                    <a:lnTo>
                      <a:pt x="122" y="1754"/>
                    </a:lnTo>
                    <a:lnTo>
                      <a:pt x="124" y="1754"/>
                    </a:lnTo>
                    <a:lnTo>
                      <a:pt x="127" y="1756"/>
                    </a:lnTo>
                    <a:lnTo>
                      <a:pt x="129" y="1756"/>
                    </a:lnTo>
                    <a:lnTo>
                      <a:pt x="130" y="1757"/>
                    </a:lnTo>
                    <a:lnTo>
                      <a:pt x="132" y="1756"/>
                    </a:lnTo>
                    <a:lnTo>
                      <a:pt x="134" y="1754"/>
                    </a:lnTo>
                    <a:lnTo>
                      <a:pt x="137" y="1753"/>
                    </a:lnTo>
                    <a:lnTo>
                      <a:pt x="138" y="1753"/>
                    </a:lnTo>
                    <a:lnTo>
                      <a:pt x="140" y="1753"/>
                    </a:lnTo>
                    <a:lnTo>
                      <a:pt x="141" y="1751"/>
                    </a:lnTo>
                    <a:lnTo>
                      <a:pt x="141" y="1749"/>
                    </a:lnTo>
                    <a:lnTo>
                      <a:pt x="143" y="1748"/>
                    </a:lnTo>
                    <a:lnTo>
                      <a:pt x="145" y="1748"/>
                    </a:lnTo>
                    <a:lnTo>
                      <a:pt x="148" y="1746"/>
                    </a:lnTo>
                    <a:lnTo>
                      <a:pt x="149" y="1746"/>
                    </a:lnTo>
                    <a:lnTo>
                      <a:pt x="151" y="1748"/>
                    </a:lnTo>
                    <a:lnTo>
                      <a:pt x="153" y="1748"/>
                    </a:lnTo>
                    <a:lnTo>
                      <a:pt x="154" y="1748"/>
                    </a:lnTo>
                    <a:lnTo>
                      <a:pt x="156" y="1748"/>
                    </a:lnTo>
                    <a:lnTo>
                      <a:pt x="157" y="1748"/>
                    </a:lnTo>
                    <a:lnTo>
                      <a:pt x="157" y="1749"/>
                    </a:lnTo>
                    <a:lnTo>
                      <a:pt x="160" y="1749"/>
                    </a:lnTo>
                    <a:lnTo>
                      <a:pt x="162" y="1748"/>
                    </a:lnTo>
                    <a:lnTo>
                      <a:pt x="165" y="1748"/>
                    </a:lnTo>
                    <a:lnTo>
                      <a:pt x="167" y="1753"/>
                    </a:lnTo>
                    <a:lnTo>
                      <a:pt x="168" y="1754"/>
                    </a:lnTo>
                    <a:lnTo>
                      <a:pt x="175" y="1754"/>
                    </a:lnTo>
                    <a:lnTo>
                      <a:pt x="178" y="1751"/>
                    </a:lnTo>
                    <a:lnTo>
                      <a:pt x="179" y="1749"/>
                    </a:lnTo>
                    <a:lnTo>
                      <a:pt x="181" y="1748"/>
                    </a:lnTo>
                    <a:lnTo>
                      <a:pt x="184" y="1748"/>
                    </a:lnTo>
                    <a:lnTo>
                      <a:pt x="184" y="1749"/>
                    </a:lnTo>
                    <a:lnTo>
                      <a:pt x="187" y="1749"/>
                    </a:lnTo>
                    <a:lnTo>
                      <a:pt x="189" y="1751"/>
                    </a:lnTo>
                    <a:lnTo>
                      <a:pt x="191" y="1751"/>
                    </a:lnTo>
                    <a:lnTo>
                      <a:pt x="192" y="1753"/>
                    </a:lnTo>
                    <a:lnTo>
                      <a:pt x="194" y="1754"/>
                    </a:lnTo>
                    <a:lnTo>
                      <a:pt x="195" y="1754"/>
                    </a:lnTo>
                    <a:lnTo>
                      <a:pt x="198" y="1756"/>
                    </a:lnTo>
                    <a:lnTo>
                      <a:pt x="198" y="1757"/>
                    </a:lnTo>
                    <a:lnTo>
                      <a:pt x="198" y="1759"/>
                    </a:lnTo>
                    <a:lnTo>
                      <a:pt x="197" y="1760"/>
                    </a:lnTo>
                    <a:lnTo>
                      <a:pt x="198" y="1762"/>
                    </a:lnTo>
                    <a:lnTo>
                      <a:pt x="198" y="1764"/>
                    </a:lnTo>
                    <a:lnTo>
                      <a:pt x="200" y="1767"/>
                    </a:lnTo>
                    <a:lnTo>
                      <a:pt x="202" y="1768"/>
                    </a:lnTo>
                    <a:lnTo>
                      <a:pt x="202" y="1770"/>
                    </a:lnTo>
                    <a:lnTo>
                      <a:pt x="202" y="1772"/>
                    </a:lnTo>
                    <a:lnTo>
                      <a:pt x="203" y="1775"/>
                    </a:lnTo>
                    <a:lnTo>
                      <a:pt x="205" y="1775"/>
                    </a:lnTo>
                    <a:lnTo>
                      <a:pt x="206" y="1776"/>
                    </a:lnTo>
                    <a:lnTo>
                      <a:pt x="208" y="1776"/>
                    </a:lnTo>
                    <a:lnTo>
                      <a:pt x="210" y="1778"/>
                    </a:lnTo>
                    <a:lnTo>
                      <a:pt x="211" y="1778"/>
                    </a:lnTo>
                    <a:lnTo>
                      <a:pt x="213" y="1778"/>
                    </a:lnTo>
                    <a:lnTo>
                      <a:pt x="214" y="1778"/>
                    </a:lnTo>
                    <a:lnTo>
                      <a:pt x="216" y="1778"/>
                    </a:lnTo>
                    <a:lnTo>
                      <a:pt x="216" y="1776"/>
                    </a:lnTo>
                    <a:lnTo>
                      <a:pt x="217" y="1776"/>
                    </a:lnTo>
                    <a:lnTo>
                      <a:pt x="219" y="1775"/>
                    </a:lnTo>
                    <a:lnTo>
                      <a:pt x="221" y="1776"/>
                    </a:lnTo>
                    <a:lnTo>
                      <a:pt x="224" y="1778"/>
                    </a:lnTo>
                    <a:lnTo>
                      <a:pt x="225" y="1778"/>
                    </a:lnTo>
                    <a:lnTo>
                      <a:pt x="227" y="1775"/>
                    </a:lnTo>
                    <a:lnTo>
                      <a:pt x="229" y="1775"/>
                    </a:lnTo>
                    <a:lnTo>
                      <a:pt x="230" y="1773"/>
                    </a:lnTo>
                    <a:lnTo>
                      <a:pt x="232" y="1772"/>
                    </a:lnTo>
                    <a:lnTo>
                      <a:pt x="233" y="1770"/>
                    </a:lnTo>
                    <a:lnTo>
                      <a:pt x="235" y="1770"/>
                    </a:lnTo>
                    <a:lnTo>
                      <a:pt x="236" y="1768"/>
                    </a:lnTo>
                    <a:lnTo>
                      <a:pt x="238" y="1768"/>
                    </a:lnTo>
                    <a:lnTo>
                      <a:pt x="240" y="1767"/>
                    </a:lnTo>
                    <a:lnTo>
                      <a:pt x="241" y="1762"/>
                    </a:lnTo>
                    <a:lnTo>
                      <a:pt x="244" y="1760"/>
                    </a:lnTo>
                    <a:lnTo>
                      <a:pt x="246" y="1759"/>
                    </a:lnTo>
                    <a:lnTo>
                      <a:pt x="248" y="1759"/>
                    </a:lnTo>
                    <a:lnTo>
                      <a:pt x="249" y="1759"/>
                    </a:lnTo>
                    <a:lnTo>
                      <a:pt x="252" y="1757"/>
                    </a:lnTo>
                    <a:lnTo>
                      <a:pt x="255" y="1757"/>
                    </a:lnTo>
                    <a:lnTo>
                      <a:pt x="257" y="1757"/>
                    </a:lnTo>
                    <a:lnTo>
                      <a:pt x="255" y="1756"/>
                    </a:lnTo>
                    <a:lnTo>
                      <a:pt x="255" y="1754"/>
                    </a:lnTo>
                    <a:lnTo>
                      <a:pt x="257" y="1753"/>
                    </a:lnTo>
                    <a:lnTo>
                      <a:pt x="257" y="1751"/>
                    </a:lnTo>
                    <a:lnTo>
                      <a:pt x="259" y="1749"/>
                    </a:lnTo>
                    <a:lnTo>
                      <a:pt x="260" y="1749"/>
                    </a:lnTo>
                    <a:lnTo>
                      <a:pt x="260" y="1746"/>
                    </a:lnTo>
                    <a:lnTo>
                      <a:pt x="262" y="1745"/>
                    </a:lnTo>
                    <a:lnTo>
                      <a:pt x="263" y="1745"/>
                    </a:lnTo>
                    <a:lnTo>
                      <a:pt x="263" y="1743"/>
                    </a:lnTo>
                    <a:lnTo>
                      <a:pt x="270" y="1743"/>
                    </a:lnTo>
                    <a:lnTo>
                      <a:pt x="273" y="1741"/>
                    </a:lnTo>
                    <a:lnTo>
                      <a:pt x="273" y="1740"/>
                    </a:lnTo>
                    <a:lnTo>
                      <a:pt x="274" y="1740"/>
                    </a:lnTo>
                    <a:lnTo>
                      <a:pt x="276" y="1740"/>
                    </a:lnTo>
                    <a:lnTo>
                      <a:pt x="278" y="1740"/>
                    </a:lnTo>
                    <a:lnTo>
                      <a:pt x="279" y="1741"/>
                    </a:lnTo>
                    <a:lnTo>
                      <a:pt x="281" y="1740"/>
                    </a:lnTo>
                    <a:lnTo>
                      <a:pt x="284" y="1738"/>
                    </a:lnTo>
                    <a:lnTo>
                      <a:pt x="284" y="1740"/>
                    </a:lnTo>
                    <a:lnTo>
                      <a:pt x="286" y="1741"/>
                    </a:lnTo>
                    <a:lnTo>
                      <a:pt x="289" y="1741"/>
                    </a:lnTo>
                    <a:lnTo>
                      <a:pt x="290" y="1741"/>
                    </a:lnTo>
                    <a:lnTo>
                      <a:pt x="292" y="1740"/>
                    </a:lnTo>
                    <a:lnTo>
                      <a:pt x="293" y="1741"/>
                    </a:lnTo>
                    <a:lnTo>
                      <a:pt x="297" y="1743"/>
                    </a:lnTo>
                    <a:lnTo>
                      <a:pt x="298" y="1741"/>
                    </a:lnTo>
                    <a:lnTo>
                      <a:pt x="300" y="1741"/>
                    </a:lnTo>
                    <a:lnTo>
                      <a:pt x="300" y="1740"/>
                    </a:lnTo>
                    <a:lnTo>
                      <a:pt x="300" y="1738"/>
                    </a:lnTo>
                    <a:lnTo>
                      <a:pt x="301" y="1737"/>
                    </a:lnTo>
                    <a:lnTo>
                      <a:pt x="301" y="1735"/>
                    </a:lnTo>
                    <a:lnTo>
                      <a:pt x="308" y="1730"/>
                    </a:lnTo>
                    <a:lnTo>
                      <a:pt x="309" y="1730"/>
                    </a:lnTo>
                    <a:lnTo>
                      <a:pt x="313" y="1727"/>
                    </a:lnTo>
                    <a:lnTo>
                      <a:pt x="314" y="1726"/>
                    </a:lnTo>
                    <a:lnTo>
                      <a:pt x="316" y="1724"/>
                    </a:lnTo>
                    <a:lnTo>
                      <a:pt x="320" y="1724"/>
                    </a:lnTo>
                    <a:lnTo>
                      <a:pt x="322" y="1724"/>
                    </a:lnTo>
                    <a:lnTo>
                      <a:pt x="322" y="1722"/>
                    </a:lnTo>
                    <a:lnTo>
                      <a:pt x="327" y="1718"/>
                    </a:lnTo>
                    <a:lnTo>
                      <a:pt x="330" y="1714"/>
                    </a:lnTo>
                    <a:lnTo>
                      <a:pt x="330" y="1713"/>
                    </a:lnTo>
                    <a:lnTo>
                      <a:pt x="330" y="1711"/>
                    </a:lnTo>
                    <a:lnTo>
                      <a:pt x="333" y="1711"/>
                    </a:lnTo>
                    <a:lnTo>
                      <a:pt x="333" y="1710"/>
                    </a:lnTo>
                    <a:lnTo>
                      <a:pt x="333" y="1708"/>
                    </a:lnTo>
                    <a:lnTo>
                      <a:pt x="333" y="1705"/>
                    </a:lnTo>
                    <a:lnTo>
                      <a:pt x="335" y="1702"/>
                    </a:lnTo>
                    <a:lnTo>
                      <a:pt x="335" y="1689"/>
                    </a:lnTo>
                    <a:lnTo>
                      <a:pt x="335" y="1683"/>
                    </a:lnTo>
                    <a:lnTo>
                      <a:pt x="335" y="1680"/>
                    </a:lnTo>
                    <a:lnTo>
                      <a:pt x="335" y="1676"/>
                    </a:lnTo>
                    <a:lnTo>
                      <a:pt x="335" y="1670"/>
                    </a:lnTo>
                    <a:lnTo>
                      <a:pt x="335" y="1665"/>
                    </a:lnTo>
                    <a:lnTo>
                      <a:pt x="335" y="1664"/>
                    </a:lnTo>
                    <a:lnTo>
                      <a:pt x="335" y="1657"/>
                    </a:lnTo>
                    <a:lnTo>
                      <a:pt x="333" y="1650"/>
                    </a:lnTo>
                    <a:lnTo>
                      <a:pt x="333" y="1646"/>
                    </a:lnTo>
                    <a:lnTo>
                      <a:pt x="333" y="1643"/>
                    </a:lnTo>
                    <a:lnTo>
                      <a:pt x="335" y="1619"/>
                    </a:lnTo>
                    <a:lnTo>
                      <a:pt x="335" y="1616"/>
                    </a:lnTo>
                    <a:lnTo>
                      <a:pt x="335" y="1608"/>
                    </a:lnTo>
                    <a:lnTo>
                      <a:pt x="335" y="1604"/>
                    </a:lnTo>
                    <a:lnTo>
                      <a:pt x="335" y="1600"/>
                    </a:lnTo>
                    <a:lnTo>
                      <a:pt x="335" y="1599"/>
                    </a:lnTo>
                    <a:lnTo>
                      <a:pt x="333" y="1586"/>
                    </a:lnTo>
                    <a:lnTo>
                      <a:pt x="333" y="1581"/>
                    </a:lnTo>
                    <a:lnTo>
                      <a:pt x="333" y="1580"/>
                    </a:lnTo>
                    <a:lnTo>
                      <a:pt x="333" y="1577"/>
                    </a:lnTo>
                    <a:lnTo>
                      <a:pt x="333" y="1575"/>
                    </a:lnTo>
                    <a:lnTo>
                      <a:pt x="333" y="1573"/>
                    </a:lnTo>
                    <a:lnTo>
                      <a:pt x="333" y="1572"/>
                    </a:lnTo>
                    <a:lnTo>
                      <a:pt x="333" y="1559"/>
                    </a:lnTo>
                    <a:lnTo>
                      <a:pt x="333" y="1558"/>
                    </a:lnTo>
                    <a:lnTo>
                      <a:pt x="332" y="1556"/>
                    </a:lnTo>
                    <a:lnTo>
                      <a:pt x="332" y="1545"/>
                    </a:lnTo>
                    <a:lnTo>
                      <a:pt x="330" y="1542"/>
                    </a:lnTo>
                    <a:lnTo>
                      <a:pt x="330" y="1535"/>
                    </a:lnTo>
                    <a:lnTo>
                      <a:pt x="330" y="1532"/>
                    </a:lnTo>
                    <a:lnTo>
                      <a:pt x="330" y="1523"/>
                    </a:lnTo>
                    <a:lnTo>
                      <a:pt x="330" y="1521"/>
                    </a:lnTo>
                    <a:lnTo>
                      <a:pt x="330" y="1518"/>
                    </a:lnTo>
                    <a:lnTo>
                      <a:pt x="328" y="1499"/>
                    </a:lnTo>
                    <a:lnTo>
                      <a:pt x="327" y="1463"/>
                    </a:lnTo>
                    <a:lnTo>
                      <a:pt x="325" y="1451"/>
                    </a:lnTo>
                    <a:lnTo>
                      <a:pt x="325" y="1450"/>
                    </a:lnTo>
                    <a:lnTo>
                      <a:pt x="325" y="1447"/>
                    </a:lnTo>
                    <a:lnTo>
                      <a:pt x="325" y="1445"/>
                    </a:lnTo>
                    <a:lnTo>
                      <a:pt x="324" y="1429"/>
                    </a:lnTo>
                    <a:lnTo>
                      <a:pt x="324" y="1428"/>
                    </a:lnTo>
                    <a:lnTo>
                      <a:pt x="324" y="1425"/>
                    </a:lnTo>
                    <a:lnTo>
                      <a:pt x="325" y="1420"/>
                    </a:lnTo>
                    <a:lnTo>
                      <a:pt x="325" y="1418"/>
                    </a:lnTo>
                    <a:lnTo>
                      <a:pt x="328" y="1410"/>
                    </a:lnTo>
                    <a:lnTo>
                      <a:pt x="332" y="1404"/>
                    </a:lnTo>
                    <a:lnTo>
                      <a:pt x="333" y="1399"/>
                    </a:lnTo>
                    <a:lnTo>
                      <a:pt x="335" y="1393"/>
                    </a:lnTo>
                    <a:lnTo>
                      <a:pt x="335" y="1390"/>
                    </a:lnTo>
                    <a:lnTo>
                      <a:pt x="336" y="1385"/>
                    </a:lnTo>
                    <a:lnTo>
                      <a:pt x="338" y="1385"/>
                    </a:lnTo>
                    <a:lnTo>
                      <a:pt x="339" y="1382"/>
                    </a:lnTo>
                    <a:lnTo>
                      <a:pt x="341" y="1374"/>
                    </a:lnTo>
                    <a:lnTo>
                      <a:pt x="343" y="1371"/>
                    </a:lnTo>
                    <a:lnTo>
                      <a:pt x="343" y="1369"/>
                    </a:lnTo>
                    <a:lnTo>
                      <a:pt x="347" y="1355"/>
                    </a:lnTo>
                    <a:lnTo>
                      <a:pt x="349" y="1352"/>
                    </a:lnTo>
                    <a:lnTo>
                      <a:pt x="351" y="1347"/>
                    </a:lnTo>
                    <a:lnTo>
                      <a:pt x="352" y="1342"/>
                    </a:lnTo>
                    <a:lnTo>
                      <a:pt x="354" y="1339"/>
                    </a:lnTo>
                    <a:lnTo>
                      <a:pt x="357" y="1331"/>
                    </a:lnTo>
                    <a:lnTo>
                      <a:pt x="357" y="1328"/>
                    </a:lnTo>
                    <a:lnTo>
                      <a:pt x="358" y="1326"/>
                    </a:lnTo>
                    <a:lnTo>
                      <a:pt x="357" y="1322"/>
                    </a:lnTo>
                    <a:lnTo>
                      <a:pt x="357" y="1320"/>
                    </a:lnTo>
                    <a:lnTo>
                      <a:pt x="358" y="1310"/>
                    </a:lnTo>
                    <a:lnTo>
                      <a:pt x="357" y="1306"/>
                    </a:lnTo>
                    <a:lnTo>
                      <a:pt x="357" y="1301"/>
                    </a:lnTo>
                    <a:lnTo>
                      <a:pt x="358" y="1301"/>
                    </a:lnTo>
                    <a:lnTo>
                      <a:pt x="360" y="1290"/>
                    </a:lnTo>
                    <a:lnTo>
                      <a:pt x="362" y="1287"/>
                    </a:lnTo>
                    <a:lnTo>
                      <a:pt x="362" y="1285"/>
                    </a:lnTo>
                    <a:lnTo>
                      <a:pt x="363" y="1285"/>
                    </a:lnTo>
                    <a:lnTo>
                      <a:pt x="363" y="1284"/>
                    </a:lnTo>
                    <a:lnTo>
                      <a:pt x="365" y="1282"/>
                    </a:lnTo>
                    <a:lnTo>
                      <a:pt x="382" y="1271"/>
                    </a:lnTo>
                    <a:lnTo>
                      <a:pt x="387" y="1266"/>
                    </a:lnTo>
                    <a:lnTo>
                      <a:pt x="389" y="1264"/>
                    </a:lnTo>
                    <a:lnTo>
                      <a:pt x="389" y="1261"/>
                    </a:lnTo>
                    <a:lnTo>
                      <a:pt x="390" y="1260"/>
                    </a:lnTo>
                    <a:lnTo>
                      <a:pt x="390" y="1258"/>
                    </a:lnTo>
                    <a:lnTo>
                      <a:pt x="393" y="1253"/>
                    </a:lnTo>
                    <a:lnTo>
                      <a:pt x="393" y="1250"/>
                    </a:lnTo>
                    <a:lnTo>
                      <a:pt x="393" y="1247"/>
                    </a:lnTo>
                    <a:lnTo>
                      <a:pt x="395" y="1239"/>
                    </a:lnTo>
                    <a:lnTo>
                      <a:pt x="393" y="1238"/>
                    </a:lnTo>
                    <a:lnTo>
                      <a:pt x="392" y="1230"/>
                    </a:lnTo>
                    <a:lnTo>
                      <a:pt x="392" y="1228"/>
                    </a:lnTo>
                    <a:lnTo>
                      <a:pt x="390" y="1225"/>
                    </a:lnTo>
                    <a:lnTo>
                      <a:pt x="385" y="1206"/>
                    </a:lnTo>
                    <a:lnTo>
                      <a:pt x="384" y="1201"/>
                    </a:lnTo>
                    <a:lnTo>
                      <a:pt x="381" y="1193"/>
                    </a:lnTo>
                    <a:lnTo>
                      <a:pt x="381" y="1190"/>
                    </a:lnTo>
                    <a:lnTo>
                      <a:pt x="379" y="1185"/>
                    </a:lnTo>
                    <a:lnTo>
                      <a:pt x="379" y="1184"/>
                    </a:lnTo>
                    <a:lnTo>
                      <a:pt x="379" y="1181"/>
                    </a:lnTo>
                    <a:lnTo>
                      <a:pt x="381" y="1176"/>
                    </a:lnTo>
                    <a:lnTo>
                      <a:pt x="384" y="1168"/>
                    </a:lnTo>
                    <a:lnTo>
                      <a:pt x="387" y="1165"/>
                    </a:lnTo>
                    <a:lnTo>
                      <a:pt x="387" y="1161"/>
                    </a:lnTo>
                    <a:lnTo>
                      <a:pt x="385" y="1158"/>
                    </a:lnTo>
                    <a:lnTo>
                      <a:pt x="384" y="1157"/>
                    </a:lnTo>
                    <a:lnTo>
                      <a:pt x="384" y="1155"/>
                    </a:lnTo>
                    <a:lnTo>
                      <a:pt x="382" y="1152"/>
                    </a:lnTo>
                    <a:lnTo>
                      <a:pt x="381" y="1152"/>
                    </a:lnTo>
                    <a:lnTo>
                      <a:pt x="377" y="1152"/>
                    </a:lnTo>
                    <a:lnTo>
                      <a:pt x="376" y="1152"/>
                    </a:lnTo>
                    <a:lnTo>
                      <a:pt x="376" y="1150"/>
                    </a:lnTo>
                    <a:lnTo>
                      <a:pt x="374" y="1149"/>
                    </a:lnTo>
                    <a:lnTo>
                      <a:pt x="374" y="1147"/>
                    </a:lnTo>
                    <a:lnTo>
                      <a:pt x="374" y="1146"/>
                    </a:lnTo>
                    <a:lnTo>
                      <a:pt x="376" y="1146"/>
                    </a:lnTo>
                    <a:lnTo>
                      <a:pt x="377" y="1141"/>
                    </a:lnTo>
                    <a:lnTo>
                      <a:pt x="379" y="1136"/>
                    </a:lnTo>
                    <a:lnTo>
                      <a:pt x="379" y="1133"/>
                    </a:lnTo>
                    <a:lnTo>
                      <a:pt x="379" y="1128"/>
                    </a:lnTo>
                    <a:lnTo>
                      <a:pt x="381" y="1128"/>
                    </a:lnTo>
                    <a:lnTo>
                      <a:pt x="381" y="1127"/>
                    </a:lnTo>
                    <a:lnTo>
                      <a:pt x="382" y="1125"/>
                    </a:lnTo>
                    <a:lnTo>
                      <a:pt x="385" y="1122"/>
                    </a:lnTo>
                    <a:lnTo>
                      <a:pt x="389" y="1119"/>
                    </a:lnTo>
                    <a:lnTo>
                      <a:pt x="400" y="1109"/>
                    </a:lnTo>
                    <a:lnTo>
                      <a:pt x="400" y="1108"/>
                    </a:lnTo>
                    <a:lnTo>
                      <a:pt x="401" y="1108"/>
                    </a:lnTo>
                    <a:lnTo>
                      <a:pt x="401" y="1106"/>
                    </a:lnTo>
                    <a:lnTo>
                      <a:pt x="404" y="1104"/>
                    </a:lnTo>
                    <a:lnTo>
                      <a:pt x="404" y="1103"/>
                    </a:lnTo>
                    <a:lnTo>
                      <a:pt x="406" y="1103"/>
                    </a:lnTo>
                    <a:lnTo>
                      <a:pt x="406" y="1101"/>
                    </a:lnTo>
                    <a:lnTo>
                      <a:pt x="406" y="1100"/>
                    </a:lnTo>
                    <a:lnTo>
                      <a:pt x="412" y="1089"/>
                    </a:lnTo>
                    <a:lnTo>
                      <a:pt x="414" y="1087"/>
                    </a:lnTo>
                    <a:lnTo>
                      <a:pt x="420" y="1078"/>
                    </a:lnTo>
                    <a:lnTo>
                      <a:pt x="423" y="1071"/>
                    </a:lnTo>
                    <a:lnTo>
                      <a:pt x="425" y="1068"/>
                    </a:lnTo>
                    <a:lnTo>
                      <a:pt x="430" y="1062"/>
                    </a:lnTo>
                    <a:lnTo>
                      <a:pt x="433" y="1060"/>
                    </a:lnTo>
                    <a:lnTo>
                      <a:pt x="436" y="1059"/>
                    </a:lnTo>
                    <a:lnTo>
                      <a:pt x="441" y="1055"/>
                    </a:lnTo>
                    <a:lnTo>
                      <a:pt x="444" y="1054"/>
                    </a:lnTo>
                    <a:lnTo>
                      <a:pt x="450" y="1051"/>
                    </a:lnTo>
                    <a:lnTo>
                      <a:pt x="452" y="1047"/>
                    </a:lnTo>
                    <a:lnTo>
                      <a:pt x="455" y="1046"/>
                    </a:lnTo>
                    <a:lnTo>
                      <a:pt x="460" y="1043"/>
                    </a:lnTo>
                    <a:lnTo>
                      <a:pt x="468" y="1036"/>
                    </a:lnTo>
                    <a:lnTo>
                      <a:pt x="469" y="1038"/>
                    </a:lnTo>
                    <a:lnTo>
                      <a:pt x="477" y="1044"/>
                    </a:lnTo>
                    <a:lnTo>
                      <a:pt x="479" y="1046"/>
                    </a:lnTo>
                    <a:lnTo>
                      <a:pt x="484" y="1049"/>
                    </a:lnTo>
                    <a:lnTo>
                      <a:pt x="485" y="1051"/>
                    </a:lnTo>
                    <a:lnTo>
                      <a:pt x="487" y="1052"/>
                    </a:lnTo>
                    <a:lnTo>
                      <a:pt x="488" y="1054"/>
                    </a:lnTo>
                    <a:lnTo>
                      <a:pt x="490" y="1054"/>
                    </a:lnTo>
                    <a:lnTo>
                      <a:pt x="491" y="1055"/>
                    </a:lnTo>
                    <a:lnTo>
                      <a:pt x="496" y="1059"/>
                    </a:lnTo>
                    <a:lnTo>
                      <a:pt x="504" y="1066"/>
                    </a:lnTo>
                    <a:lnTo>
                      <a:pt x="511" y="1074"/>
                    </a:lnTo>
                    <a:lnTo>
                      <a:pt x="514" y="1078"/>
                    </a:lnTo>
                    <a:lnTo>
                      <a:pt x="515" y="1079"/>
                    </a:lnTo>
                    <a:lnTo>
                      <a:pt x="518" y="1079"/>
                    </a:lnTo>
                    <a:lnTo>
                      <a:pt x="518" y="1081"/>
                    </a:lnTo>
                    <a:lnTo>
                      <a:pt x="520" y="1081"/>
                    </a:lnTo>
                    <a:lnTo>
                      <a:pt x="520" y="1084"/>
                    </a:lnTo>
                    <a:lnTo>
                      <a:pt x="518" y="1089"/>
                    </a:lnTo>
                    <a:lnTo>
                      <a:pt x="518" y="1090"/>
                    </a:lnTo>
                    <a:lnTo>
                      <a:pt x="518" y="1092"/>
                    </a:lnTo>
                    <a:lnTo>
                      <a:pt x="520" y="1093"/>
                    </a:lnTo>
                    <a:lnTo>
                      <a:pt x="522" y="1093"/>
                    </a:lnTo>
                    <a:lnTo>
                      <a:pt x="528" y="1087"/>
                    </a:lnTo>
                    <a:lnTo>
                      <a:pt x="531" y="1084"/>
                    </a:lnTo>
                    <a:lnTo>
                      <a:pt x="533" y="1084"/>
                    </a:lnTo>
                    <a:lnTo>
                      <a:pt x="536" y="1084"/>
                    </a:lnTo>
                    <a:lnTo>
                      <a:pt x="537" y="1084"/>
                    </a:lnTo>
                    <a:lnTo>
                      <a:pt x="539" y="1084"/>
                    </a:lnTo>
                    <a:lnTo>
                      <a:pt x="541" y="1084"/>
                    </a:lnTo>
                    <a:lnTo>
                      <a:pt x="542" y="1082"/>
                    </a:lnTo>
                    <a:lnTo>
                      <a:pt x="542" y="1081"/>
                    </a:lnTo>
                    <a:lnTo>
                      <a:pt x="544" y="1078"/>
                    </a:lnTo>
                    <a:lnTo>
                      <a:pt x="544" y="1076"/>
                    </a:lnTo>
                    <a:lnTo>
                      <a:pt x="547" y="1074"/>
                    </a:lnTo>
                    <a:lnTo>
                      <a:pt x="549" y="1073"/>
                    </a:lnTo>
                    <a:lnTo>
                      <a:pt x="552" y="1070"/>
                    </a:lnTo>
                    <a:lnTo>
                      <a:pt x="555" y="1066"/>
                    </a:lnTo>
                    <a:lnTo>
                      <a:pt x="555" y="1065"/>
                    </a:lnTo>
                    <a:lnTo>
                      <a:pt x="556" y="1065"/>
                    </a:lnTo>
                    <a:lnTo>
                      <a:pt x="558" y="1059"/>
                    </a:lnTo>
                    <a:lnTo>
                      <a:pt x="564" y="1051"/>
                    </a:lnTo>
                    <a:lnTo>
                      <a:pt x="568" y="1046"/>
                    </a:lnTo>
                    <a:lnTo>
                      <a:pt x="569" y="1044"/>
                    </a:lnTo>
                    <a:lnTo>
                      <a:pt x="571" y="1044"/>
                    </a:lnTo>
                    <a:lnTo>
                      <a:pt x="575" y="1038"/>
                    </a:lnTo>
                    <a:lnTo>
                      <a:pt x="577" y="1036"/>
                    </a:lnTo>
                    <a:lnTo>
                      <a:pt x="577" y="1035"/>
                    </a:lnTo>
                    <a:lnTo>
                      <a:pt x="577" y="1033"/>
                    </a:lnTo>
                    <a:lnTo>
                      <a:pt x="575" y="1033"/>
                    </a:lnTo>
                    <a:lnTo>
                      <a:pt x="575" y="1032"/>
                    </a:lnTo>
                    <a:lnTo>
                      <a:pt x="572" y="1028"/>
                    </a:lnTo>
                    <a:lnTo>
                      <a:pt x="572" y="1027"/>
                    </a:lnTo>
                    <a:lnTo>
                      <a:pt x="572" y="1024"/>
                    </a:lnTo>
                    <a:lnTo>
                      <a:pt x="571" y="1022"/>
                    </a:lnTo>
                    <a:lnTo>
                      <a:pt x="569" y="1022"/>
                    </a:lnTo>
                    <a:lnTo>
                      <a:pt x="569" y="1020"/>
                    </a:lnTo>
                    <a:lnTo>
                      <a:pt x="571" y="1017"/>
                    </a:lnTo>
                    <a:lnTo>
                      <a:pt x="571" y="1016"/>
                    </a:lnTo>
                    <a:lnTo>
                      <a:pt x="572" y="1014"/>
                    </a:lnTo>
                    <a:lnTo>
                      <a:pt x="575" y="1003"/>
                    </a:lnTo>
                    <a:lnTo>
                      <a:pt x="575" y="1000"/>
                    </a:lnTo>
                    <a:lnTo>
                      <a:pt x="577" y="995"/>
                    </a:lnTo>
                    <a:lnTo>
                      <a:pt x="579" y="992"/>
                    </a:lnTo>
                    <a:lnTo>
                      <a:pt x="583" y="971"/>
                    </a:lnTo>
                    <a:lnTo>
                      <a:pt x="583" y="970"/>
                    </a:lnTo>
                    <a:lnTo>
                      <a:pt x="585" y="968"/>
                    </a:lnTo>
                    <a:lnTo>
                      <a:pt x="585" y="967"/>
                    </a:lnTo>
                    <a:lnTo>
                      <a:pt x="585" y="965"/>
                    </a:lnTo>
                    <a:lnTo>
                      <a:pt x="585" y="963"/>
                    </a:lnTo>
                    <a:lnTo>
                      <a:pt x="587" y="962"/>
                    </a:lnTo>
                    <a:lnTo>
                      <a:pt x="583" y="956"/>
                    </a:lnTo>
                    <a:lnTo>
                      <a:pt x="582" y="951"/>
                    </a:lnTo>
                    <a:lnTo>
                      <a:pt x="580" y="949"/>
                    </a:lnTo>
                    <a:lnTo>
                      <a:pt x="579" y="948"/>
                    </a:lnTo>
                    <a:lnTo>
                      <a:pt x="572" y="941"/>
                    </a:lnTo>
                    <a:lnTo>
                      <a:pt x="572" y="940"/>
                    </a:lnTo>
                    <a:lnTo>
                      <a:pt x="571" y="937"/>
                    </a:lnTo>
                    <a:lnTo>
                      <a:pt x="571" y="935"/>
                    </a:lnTo>
                    <a:lnTo>
                      <a:pt x="577" y="922"/>
                    </a:lnTo>
                    <a:lnTo>
                      <a:pt x="582" y="914"/>
                    </a:lnTo>
                    <a:lnTo>
                      <a:pt x="583" y="910"/>
                    </a:lnTo>
                    <a:lnTo>
                      <a:pt x="583" y="908"/>
                    </a:lnTo>
                    <a:lnTo>
                      <a:pt x="583" y="906"/>
                    </a:lnTo>
                    <a:lnTo>
                      <a:pt x="594" y="894"/>
                    </a:lnTo>
                    <a:lnTo>
                      <a:pt x="601" y="881"/>
                    </a:lnTo>
                    <a:lnTo>
                      <a:pt x="601" y="878"/>
                    </a:lnTo>
                    <a:lnTo>
                      <a:pt x="601" y="875"/>
                    </a:lnTo>
                    <a:lnTo>
                      <a:pt x="602" y="870"/>
                    </a:lnTo>
                    <a:lnTo>
                      <a:pt x="609" y="857"/>
                    </a:lnTo>
                    <a:lnTo>
                      <a:pt x="610" y="849"/>
                    </a:lnTo>
                    <a:lnTo>
                      <a:pt x="610" y="845"/>
                    </a:lnTo>
                    <a:lnTo>
                      <a:pt x="610" y="840"/>
                    </a:lnTo>
                    <a:lnTo>
                      <a:pt x="610" y="838"/>
                    </a:lnTo>
                    <a:lnTo>
                      <a:pt x="610" y="835"/>
                    </a:lnTo>
                    <a:lnTo>
                      <a:pt x="610" y="832"/>
                    </a:lnTo>
                    <a:lnTo>
                      <a:pt x="610" y="827"/>
                    </a:lnTo>
                    <a:lnTo>
                      <a:pt x="610" y="824"/>
                    </a:lnTo>
                    <a:lnTo>
                      <a:pt x="610" y="822"/>
                    </a:lnTo>
                    <a:lnTo>
                      <a:pt x="609" y="819"/>
                    </a:lnTo>
                    <a:lnTo>
                      <a:pt x="607" y="816"/>
                    </a:lnTo>
                    <a:lnTo>
                      <a:pt x="606" y="816"/>
                    </a:lnTo>
                    <a:lnTo>
                      <a:pt x="604" y="813"/>
                    </a:lnTo>
                    <a:lnTo>
                      <a:pt x="604" y="811"/>
                    </a:lnTo>
                    <a:lnTo>
                      <a:pt x="602" y="805"/>
                    </a:lnTo>
                    <a:lnTo>
                      <a:pt x="601" y="803"/>
                    </a:lnTo>
                    <a:lnTo>
                      <a:pt x="601" y="800"/>
                    </a:lnTo>
                    <a:lnTo>
                      <a:pt x="601" y="799"/>
                    </a:lnTo>
                    <a:lnTo>
                      <a:pt x="599" y="794"/>
                    </a:lnTo>
                    <a:lnTo>
                      <a:pt x="602" y="789"/>
                    </a:lnTo>
                    <a:lnTo>
                      <a:pt x="606" y="784"/>
                    </a:lnTo>
                    <a:lnTo>
                      <a:pt x="607" y="780"/>
                    </a:lnTo>
                    <a:lnTo>
                      <a:pt x="613" y="773"/>
                    </a:lnTo>
                    <a:lnTo>
                      <a:pt x="617" y="770"/>
                    </a:lnTo>
                    <a:lnTo>
                      <a:pt x="621" y="767"/>
                    </a:lnTo>
                    <a:lnTo>
                      <a:pt x="623" y="764"/>
                    </a:lnTo>
                    <a:lnTo>
                      <a:pt x="629" y="761"/>
                    </a:lnTo>
                    <a:lnTo>
                      <a:pt x="632" y="759"/>
                    </a:lnTo>
                    <a:lnTo>
                      <a:pt x="634" y="759"/>
                    </a:lnTo>
                    <a:lnTo>
                      <a:pt x="637" y="756"/>
                    </a:lnTo>
                    <a:lnTo>
                      <a:pt x="640" y="754"/>
                    </a:lnTo>
                    <a:lnTo>
                      <a:pt x="642" y="753"/>
                    </a:lnTo>
                    <a:lnTo>
                      <a:pt x="644" y="751"/>
                    </a:lnTo>
                    <a:lnTo>
                      <a:pt x="647" y="750"/>
                    </a:lnTo>
                    <a:lnTo>
                      <a:pt x="648" y="748"/>
                    </a:lnTo>
                    <a:lnTo>
                      <a:pt x="650" y="746"/>
                    </a:lnTo>
                    <a:lnTo>
                      <a:pt x="656" y="742"/>
                    </a:lnTo>
                    <a:lnTo>
                      <a:pt x="658" y="742"/>
                    </a:lnTo>
                    <a:lnTo>
                      <a:pt x="659" y="740"/>
                    </a:lnTo>
                    <a:lnTo>
                      <a:pt x="663" y="737"/>
                    </a:lnTo>
                    <a:lnTo>
                      <a:pt x="664" y="735"/>
                    </a:lnTo>
                    <a:lnTo>
                      <a:pt x="667" y="731"/>
                    </a:lnTo>
                    <a:lnTo>
                      <a:pt x="669" y="727"/>
                    </a:lnTo>
                    <a:lnTo>
                      <a:pt x="670" y="726"/>
                    </a:lnTo>
                    <a:lnTo>
                      <a:pt x="670" y="724"/>
                    </a:lnTo>
                    <a:lnTo>
                      <a:pt x="672" y="721"/>
                    </a:lnTo>
                    <a:lnTo>
                      <a:pt x="672" y="719"/>
                    </a:lnTo>
                    <a:lnTo>
                      <a:pt x="672" y="713"/>
                    </a:lnTo>
                    <a:lnTo>
                      <a:pt x="674" y="712"/>
                    </a:lnTo>
                    <a:lnTo>
                      <a:pt x="675" y="712"/>
                    </a:lnTo>
                    <a:lnTo>
                      <a:pt x="678" y="712"/>
                    </a:lnTo>
                    <a:lnTo>
                      <a:pt x="682" y="710"/>
                    </a:lnTo>
                    <a:lnTo>
                      <a:pt x="683" y="708"/>
                    </a:lnTo>
                    <a:lnTo>
                      <a:pt x="683" y="707"/>
                    </a:lnTo>
                    <a:lnTo>
                      <a:pt x="685" y="704"/>
                    </a:lnTo>
                    <a:lnTo>
                      <a:pt x="685" y="702"/>
                    </a:lnTo>
                    <a:lnTo>
                      <a:pt x="685" y="699"/>
                    </a:lnTo>
                    <a:lnTo>
                      <a:pt x="683" y="699"/>
                    </a:lnTo>
                    <a:lnTo>
                      <a:pt x="682" y="696"/>
                    </a:lnTo>
                    <a:lnTo>
                      <a:pt x="683" y="691"/>
                    </a:lnTo>
                    <a:lnTo>
                      <a:pt x="688" y="683"/>
                    </a:lnTo>
                    <a:lnTo>
                      <a:pt x="693" y="675"/>
                    </a:lnTo>
                    <a:lnTo>
                      <a:pt x="697" y="666"/>
                    </a:lnTo>
                    <a:lnTo>
                      <a:pt x="699" y="664"/>
                    </a:lnTo>
                    <a:lnTo>
                      <a:pt x="699" y="662"/>
                    </a:lnTo>
                    <a:lnTo>
                      <a:pt x="701" y="662"/>
                    </a:lnTo>
                    <a:lnTo>
                      <a:pt x="702" y="662"/>
                    </a:lnTo>
                    <a:lnTo>
                      <a:pt x="705" y="662"/>
                    </a:lnTo>
                    <a:lnTo>
                      <a:pt x="707" y="662"/>
                    </a:lnTo>
                    <a:lnTo>
                      <a:pt x="710" y="661"/>
                    </a:lnTo>
                    <a:lnTo>
                      <a:pt x="712" y="658"/>
                    </a:lnTo>
                    <a:lnTo>
                      <a:pt x="712" y="656"/>
                    </a:lnTo>
                    <a:lnTo>
                      <a:pt x="712" y="650"/>
                    </a:lnTo>
                    <a:lnTo>
                      <a:pt x="710" y="648"/>
                    </a:lnTo>
                    <a:lnTo>
                      <a:pt x="710" y="647"/>
                    </a:lnTo>
                    <a:lnTo>
                      <a:pt x="709" y="643"/>
                    </a:lnTo>
                    <a:lnTo>
                      <a:pt x="710" y="643"/>
                    </a:lnTo>
                    <a:lnTo>
                      <a:pt x="710" y="642"/>
                    </a:lnTo>
                    <a:lnTo>
                      <a:pt x="712" y="640"/>
                    </a:lnTo>
                    <a:lnTo>
                      <a:pt x="715" y="635"/>
                    </a:lnTo>
                    <a:lnTo>
                      <a:pt x="720" y="626"/>
                    </a:lnTo>
                    <a:lnTo>
                      <a:pt x="723" y="621"/>
                    </a:lnTo>
                    <a:lnTo>
                      <a:pt x="724" y="620"/>
                    </a:lnTo>
                    <a:lnTo>
                      <a:pt x="731" y="609"/>
                    </a:lnTo>
                    <a:lnTo>
                      <a:pt x="732" y="607"/>
                    </a:lnTo>
                    <a:lnTo>
                      <a:pt x="742" y="591"/>
                    </a:lnTo>
                    <a:lnTo>
                      <a:pt x="743" y="590"/>
                    </a:lnTo>
                    <a:lnTo>
                      <a:pt x="748" y="578"/>
                    </a:lnTo>
                    <a:lnTo>
                      <a:pt x="750" y="577"/>
                    </a:lnTo>
                    <a:lnTo>
                      <a:pt x="753" y="570"/>
                    </a:lnTo>
                    <a:lnTo>
                      <a:pt x="756" y="566"/>
                    </a:lnTo>
                    <a:lnTo>
                      <a:pt x="759" y="561"/>
                    </a:lnTo>
                    <a:lnTo>
                      <a:pt x="762" y="556"/>
                    </a:lnTo>
                    <a:lnTo>
                      <a:pt x="764" y="553"/>
                    </a:lnTo>
                    <a:lnTo>
                      <a:pt x="769" y="545"/>
                    </a:lnTo>
                    <a:lnTo>
                      <a:pt x="770" y="542"/>
                    </a:lnTo>
                    <a:lnTo>
                      <a:pt x="772" y="540"/>
                    </a:lnTo>
                    <a:lnTo>
                      <a:pt x="775" y="540"/>
                    </a:lnTo>
                    <a:lnTo>
                      <a:pt x="780" y="540"/>
                    </a:lnTo>
                    <a:lnTo>
                      <a:pt x="781" y="540"/>
                    </a:lnTo>
                    <a:lnTo>
                      <a:pt x="783" y="539"/>
                    </a:lnTo>
                    <a:lnTo>
                      <a:pt x="785" y="537"/>
                    </a:lnTo>
                    <a:lnTo>
                      <a:pt x="785" y="536"/>
                    </a:lnTo>
                    <a:lnTo>
                      <a:pt x="786" y="532"/>
                    </a:lnTo>
                    <a:lnTo>
                      <a:pt x="785" y="529"/>
                    </a:lnTo>
                    <a:lnTo>
                      <a:pt x="785" y="528"/>
                    </a:lnTo>
                    <a:lnTo>
                      <a:pt x="785" y="525"/>
                    </a:lnTo>
                    <a:lnTo>
                      <a:pt x="786" y="523"/>
                    </a:lnTo>
                    <a:lnTo>
                      <a:pt x="788" y="523"/>
                    </a:lnTo>
                    <a:lnTo>
                      <a:pt x="789" y="523"/>
                    </a:lnTo>
                    <a:lnTo>
                      <a:pt x="791" y="521"/>
                    </a:lnTo>
                    <a:lnTo>
                      <a:pt x="792" y="521"/>
                    </a:lnTo>
                    <a:lnTo>
                      <a:pt x="792" y="520"/>
                    </a:lnTo>
                    <a:lnTo>
                      <a:pt x="794" y="520"/>
                    </a:lnTo>
                    <a:lnTo>
                      <a:pt x="796" y="520"/>
                    </a:lnTo>
                    <a:lnTo>
                      <a:pt x="796" y="521"/>
                    </a:lnTo>
                    <a:lnTo>
                      <a:pt x="797" y="521"/>
                    </a:lnTo>
                    <a:lnTo>
                      <a:pt x="799" y="521"/>
                    </a:lnTo>
                    <a:lnTo>
                      <a:pt x="802" y="521"/>
                    </a:lnTo>
                    <a:lnTo>
                      <a:pt x="805" y="520"/>
                    </a:lnTo>
                    <a:lnTo>
                      <a:pt x="807" y="520"/>
                    </a:lnTo>
                    <a:lnTo>
                      <a:pt x="813" y="523"/>
                    </a:lnTo>
                    <a:lnTo>
                      <a:pt x="816" y="521"/>
                    </a:lnTo>
                    <a:lnTo>
                      <a:pt x="818" y="521"/>
                    </a:lnTo>
                    <a:lnTo>
                      <a:pt x="819" y="521"/>
                    </a:lnTo>
                    <a:lnTo>
                      <a:pt x="821" y="521"/>
                    </a:lnTo>
                    <a:lnTo>
                      <a:pt x="821" y="520"/>
                    </a:lnTo>
                    <a:lnTo>
                      <a:pt x="824" y="520"/>
                    </a:lnTo>
                    <a:lnTo>
                      <a:pt x="829" y="520"/>
                    </a:lnTo>
                    <a:lnTo>
                      <a:pt x="838" y="515"/>
                    </a:lnTo>
                    <a:lnTo>
                      <a:pt x="842" y="515"/>
                    </a:lnTo>
                    <a:lnTo>
                      <a:pt x="845" y="513"/>
                    </a:lnTo>
                    <a:lnTo>
                      <a:pt x="849" y="513"/>
                    </a:lnTo>
                    <a:lnTo>
                      <a:pt x="854" y="512"/>
                    </a:lnTo>
                    <a:lnTo>
                      <a:pt x="857" y="512"/>
                    </a:lnTo>
                    <a:lnTo>
                      <a:pt x="859" y="512"/>
                    </a:lnTo>
                    <a:lnTo>
                      <a:pt x="859" y="510"/>
                    </a:lnTo>
                    <a:lnTo>
                      <a:pt x="861" y="510"/>
                    </a:lnTo>
                    <a:lnTo>
                      <a:pt x="862" y="510"/>
                    </a:lnTo>
                    <a:lnTo>
                      <a:pt x="865" y="509"/>
                    </a:lnTo>
                    <a:lnTo>
                      <a:pt x="870" y="507"/>
                    </a:lnTo>
                    <a:lnTo>
                      <a:pt x="872" y="507"/>
                    </a:lnTo>
                    <a:lnTo>
                      <a:pt x="878" y="506"/>
                    </a:lnTo>
                    <a:lnTo>
                      <a:pt x="883" y="506"/>
                    </a:lnTo>
                    <a:lnTo>
                      <a:pt x="888" y="507"/>
                    </a:lnTo>
                    <a:lnTo>
                      <a:pt x="889" y="507"/>
                    </a:lnTo>
                    <a:lnTo>
                      <a:pt x="891" y="507"/>
                    </a:lnTo>
                    <a:lnTo>
                      <a:pt x="892" y="506"/>
                    </a:lnTo>
                    <a:lnTo>
                      <a:pt x="895" y="506"/>
                    </a:lnTo>
                    <a:lnTo>
                      <a:pt x="897" y="506"/>
                    </a:lnTo>
                    <a:lnTo>
                      <a:pt x="899" y="506"/>
                    </a:lnTo>
                    <a:lnTo>
                      <a:pt x="900" y="506"/>
                    </a:lnTo>
                    <a:lnTo>
                      <a:pt x="902" y="507"/>
                    </a:lnTo>
                    <a:lnTo>
                      <a:pt x="905" y="509"/>
                    </a:lnTo>
                    <a:lnTo>
                      <a:pt x="907" y="510"/>
                    </a:lnTo>
                    <a:lnTo>
                      <a:pt x="908" y="512"/>
                    </a:lnTo>
                    <a:lnTo>
                      <a:pt x="908" y="515"/>
                    </a:lnTo>
                    <a:lnTo>
                      <a:pt x="908" y="517"/>
                    </a:lnTo>
                    <a:lnTo>
                      <a:pt x="910" y="517"/>
                    </a:lnTo>
                    <a:lnTo>
                      <a:pt x="911" y="518"/>
                    </a:lnTo>
                    <a:lnTo>
                      <a:pt x="914" y="517"/>
                    </a:lnTo>
                    <a:lnTo>
                      <a:pt x="916" y="517"/>
                    </a:lnTo>
                    <a:lnTo>
                      <a:pt x="921" y="518"/>
                    </a:lnTo>
                    <a:lnTo>
                      <a:pt x="921" y="517"/>
                    </a:lnTo>
                    <a:lnTo>
                      <a:pt x="922" y="515"/>
                    </a:lnTo>
                    <a:lnTo>
                      <a:pt x="921" y="513"/>
                    </a:lnTo>
                    <a:lnTo>
                      <a:pt x="921" y="512"/>
                    </a:lnTo>
                    <a:lnTo>
                      <a:pt x="922" y="509"/>
                    </a:lnTo>
                    <a:lnTo>
                      <a:pt x="922" y="507"/>
                    </a:lnTo>
                    <a:lnTo>
                      <a:pt x="927" y="499"/>
                    </a:lnTo>
                    <a:lnTo>
                      <a:pt x="927" y="496"/>
                    </a:lnTo>
                    <a:lnTo>
                      <a:pt x="927" y="490"/>
                    </a:lnTo>
                    <a:lnTo>
                      <a:pt x="927" y="488"/>
                    </a:lnTo>
                    <a:lnTo>
                      <a:pt x="927" y="485"/>
                    </a:lnTo>
                    <a:lnTo>
                      <a:pt x="927" y="479"/>
                    </a:lnTo>
                    <a:lnTo>
                      <a:pt x="927" y="477"/>
                    </a:lnTo>
                    <a:lnTo>
                      <a:pt x="927" y="466"/>
                    </a:lnTo>
                    <a:lnTo>
                      <a:pt x="929" y="463"/>
                    </a:lnTo>
                    <a:lnTo>
                      <a:pt x="929" y="461"/>
                    </a:lnTo>
                    <a:lnTo>
                      <a:pt x="929" y="458"/>
                    </a:lnTo>
                    <a:lnTo>
                      <a:pt x="929" y="456"/>
                    </a:lnTo>
                    <a:lnTo>
                      <a:pt x="927" y="453"/>
                    </a:lnTo>
                    <a:lnTo>
                      <a:pt x="924" y="450"/>
                    </a:lnTo>
                    <a:lnTo>
                      <a:pt x="921" y="447"/>
                    </a:lnTo>
                    <a:lnTo>
                      <a:pt x="919" y="444"/>
                    </a:lnTo>
                    <a:lnTo>
                      <a:pt x="919" y="442"/>
                    </a:lnTo>
                    <a:lnTo>
                      <a:pt x="921" y="441"/>
                    </a:lnTo>
                    <a:lnTo>
                      <a:pt x="921" y="437"/>
                    </a:lnTo>
                    <a:lnTo>
                      <a:pt x="922" y="436"/>
                    </a:lnTo>
                    <a:lnTo>
                      <a:pt x="924" y="433"/>
                    </a:lnTo>
                    <a:lnTo>
                      <a:pt x="926" y="429"/>
                    </a:lnTo>
                    <a:lnTo>
                      <a:pt x="926" y="428"/>
                    </a:lnTo>
                    <a:lnTo>
                      <a:pt x="927" y="425"/>
                    </a:lnTo>
                    <a:lnTo>
                      <a:pt x="927" y="423"/>
                    </a:lnTo>
                    <a:lnTo>
                      <a:pt x="929" y="422"/>
                    </a:lnTo>
                    <a:lnTo>
                      <a:pt x="929" y="420"/>
                    </a:lnTo>
                    <a:lnTo>
                      <a:pt x="929" y="414"/>
                    </a:lnTo>
                    <a:lnTo>
                      <a:pt x="930" y="409"/>
                    </a:lnTo>
                    <a:lnTo>
                      <a:pt x="932" y="407"/>
                    </a:lnTo>
                    <a:lnTo>
                      <a:pt x="933" y="398"/>
                    </a:lnTo>
                    <a:lnTo>
                      <a:pt x="938" y="384"/>
                    </a:lnTo>
                    <a:lnTo>
                      <a:pt x="940" y="376"/>
                    </a:lnTo>
                    <a:lnTo>
                      <a:pt x="940" y="374"/>
                    </a:lnTo>
                    <a:lnTo>
                      <a:pt x="943" y="365"/>
                    </a:lnTo>
                    <a:lnTo>
                      <a:pt x="946" y="355"/>
                    </a:lnTo>
                    <a:lnTo>
                      <a:pt x="948" y="345"/>
                    </a:lnTo>
                    <a:lnTo>
                      <a:pt x="949" y="342"/>
                    </a:lnTo>
                    <a:lnTo>
                      <a:pt x="952" y="341"/>
                    </a:lnTo>
                    <a:lnTo>
                      <a:pt x="952" y="339"/>
                    </a:lnTo>
                    <a:lnTo>
                      <a:pt x="956" y="338"/>
                    </a:lnTo>
                    <a:lnTo>
                      <a:pt x="957" y="336"/>
                    </a:lnTo>
                    <a:lnTo>
                      <a:pt x="960" y="330"/>
                    </a:lnTo>
                    <a:lnTo>
                      <a:pt x="970" y="307"/>
                    </a:lnTo>
                    <a:lnTo>
                      <a:pt x="970" y="306"/>
                    </a:lnTo>
                    <a:lnTo>
                      <a:pt x="971" y="303"/>
                    </a:lnTo>
                    <a:lnTo>
                      <a:pt x="971" y="301"/>
                    </a:lnTo>
                    <a:lnTo>
                      <a:pt x="973" y="296"/>
                    </a:lnTo>
                    <a:lnTo>
                      <a:pt x="984" y="273"/>
                    </a:lnTo>
                    <a:lnTo>
                      <a:pt x="984" y="271"/>
                    </a:lnTo>
                    <a:lnTo>
                      <a:pt x="986" y="269"/>
                    </a:lnTo>
                    <a:lnTo>
                      <a:pt x="986" y="268"/>
                    </a:lnTo>
                    <a:lnTo>
                      <a:pt x="986" y="265"/>
                    </a:lnTo>
                    <a:lnTo>
                      <a:pt x="986" y="262"/>
                    </a:lnTo>
                    <a:lnTo>
                      <a:pt x="986" y="257"/>
                    </a:lnTo>
                    <a:lnTo>
                      <a:pt x="986" y="255"/>
                    </a:lnTo>
                    <a:lnTo>
                      <a:pt x="990" y="239"/>
                    </a:lnTo>
                    <a:lnTo>
                      <a:pt x="992" y="238"/>
                    </a:lnTo>
                    <a:lnTo>
                      <a:pt x="998" y="212"/>
                    </a:lnTo>
                    <a:lnTo>
                      <a:pt x="1000" y="211"/>
                    </a:lnTo>
                    <a:lnTo>
                      <a:pt x="1000" y="209"/>
                    </a:lnTo>
                    <a:lnTo>
                      <a:pt x="1005" y="204"/>
                    </a:lnTo>
                    <a:lnTo>
                      <a:pt x="1006" y="204"/>
                    </a:lnTo>
                    <a:lnTo>
                      <a:pt x="1008" y="201"/>
                    </a:lnTo>
                    <a:lnTo>
                      <a:pt x="1013" y="195"/>
                    </a:lnTo>
                    <a:lnTo>
                      <a:pt x="1013" y="193"/>
                    </a:lnTo>
                    <a:lnTo>
                      <a:pt x="1014" y="192"/>
                    </a:lnTo>
                    <a:lnTo>
                      <a:pt x="1016" y="190"/>
                    </a:lnTo>
                    <a:lnTo>
                      <a:pt x="1017" y="189"/>
                    </a:lnTo>
                    <a:lnTo>
                      <a:pt x="1019" y="185"/>
                    </a:lnTo>
                    <a:lnTo>
                      <a:pt x="1022" y="182"/>
                    </a:lnTo>
                    <a:lnTo>
                      <a:pt x="1022" y="181"/>
                    </a:lnTo>
                    <a:lnTo>
                      <a:pt x="1021" y="178"/>
                    </a:lnTo>
                    <a:lnTo>
                      <a:pt x="1021" y="174"/>
                    </a:lnTo>
                    <a:lnTo>
                      <a:pt x="1019" y="174"/>
                    </a:lnTo>
                    <a:lnTo>
                      <a:pt x="1019" y="173"/>
                    </a:lnTo>
                    <a:lnTo>
                      <a:pt x="1017" y="168"/>
                    </a:lnTo>
                    <a:lnTo>
                      <a:pt x="1014" y="159"/>
                    </a:lnTo>
                    <a:lnTo>
                      <a:pt x="1009" y="151"/>
                    </a:lnTo>
                    <a:lnTo>
                      <a:pt x="1009" y="149"/>
                    </a:lnTo>
                    <a:lnTo>
                      <a:pt x="1008" y="140"/>
                    </a:lnTo>
                    <a:lnTo>
                      <a:pt x="1008" y="138"/>
                    </a:lnTo>
                    <a:lnTo>
                      <a:pt x="1011" y="133"/>
                    </a:lnTo>
                    <a:lnTo>
                      <a:pt x="1013" y="133"/>
                    </a:lnTo>
                    <a:lnTo>
                      <a:pt x="1014" y="132"/>
                    </a:lnTo>
                    <a:lnTo>
                      <a:pt x="1014" y="130"/>
                    </a:lnTo>
                    <a:lnTo>
                      <a:pt x="1022" y="114"/>
                    </a:lnTo>
                    <a:lnTo>
                      <a:pt x="1022" y="109"/>
                    </a:lnTo>
                    <a:lnTo>
                      <a:pt x="1024" y="106"/>
                    </a:lnTo>
                    <a:lnTo>
                      <a:pt x="1024" y="103"/>
                    </a:lnTo>
                    <a:lnTo>
                      <a:pt x="1025" y="101"/>
                    </a:lnTo>
                    <a:lnTo>
                      <a:pt x="1032" y="82"/>
                    </a:lnTo>
                    <a:lnTo>
                      <a:pt x="1035" y="71"/>
                    </a:lnTo>
                    <a:lnTo>
                      <a:pt x="1036" y="68"/>
                    </a:lnTo>
                    <a:lnTo>
                      <a:pt x="1038" y="62"/>
                    </a:lnTo>
                    <a:lnTo>
                      <a:pt x="1040" y="59"/>
                    </a:lnTo>
                    <a:lnTo>
                      <a:pt x="1040" y="57"/>
                    </a:lnTo>
                    <a:lnTo>
                      <a:pt x="1038" y="56"/>
                    </a:lnTo>
                    <a:lnTo>
                      <a:pt x="1040" y="56"/>
                    </a:lnTo>
                    <a:lnTo>
                      <a:pt x="1040" y="54"/>
                    </a:lnTo>
                    <a:lnTo>
                      <a:pt x="1041" y="51"/>
                    </a:lnTo>
                    <a:lnTo>
                      <a:pt x="1041" y="49"/>
                    </a:lnTo>
                    <a:lnTo>
                      <a:pt x="1041" y="48"/>
                    </a:lnTo>
                    <a:lnTo>
                      <a:pt x="1043" y="48"/>
                    </a:lnTo>
                    <a:lnTo>
                      <a:pt x="1044" y="48"/>
                    </a:lnTo>
                    <a:lnTo>
                      <a:pt x="1051" y="46"/>
                    </a:lnTo>
                    <a:lnTo>
                      <a:pt x="1054" y="46"/>
                    </a:lnTo>
                    <a:lnTo>
                      <a:pt x="1055" y="46"/>
                    </a:lnTo>
                    <a:lnTo>
                      <a:pt x="1057" y="44"/>
                    </a:lnTo>
                    <a:lnTo>
                      <a:pt x="1059" y="43"/>
                    </a:lnTo>
                    <a:lnTo>
                      <a:pt x="1060" y="43"/>
                    </a:lnTo>
                    <a:lnTo>
                      <a:pt x="1062" y="41"/>
                    </a:lnTo>
                    <a:lnTo>
                      <a:pt x="1063" y="41"/>
                    </a:lnTo>
                    <a:lnTo>
                      <a:pt x="1065" y="41"/>
                    </a:lnTo>
                    <a:lnTo>
                      <a:pt x="1067" y="41"/>
                    </a:lnTo>
                    <a:lnTo>
                      <a:pt x="1071" y="41"/>
                    </a:lnTo>
                    <a:lnTo>
                      <a:pt x="1074" y="41"/>
                    </a:lnTo>
                    <a:lnTo>
                      <a:pt x="1078" y="43"/>
                    </a:lnTo>
                    <a:lnTo>
                      <a:pt x="1079" y="43"/>
                    </a:lnTo>
                    <a:lnTo>
                      <a:pt x="1082" y="41"/>
                    </a:lnTo>
                    <a:lnTo>
                      <a:pt x="1086" y="40"/>
                    </a:lnTo>
                    <a:lnTo>
                      <a:pt x="1087" y="38"/>
                    </a:lnTo>
                    <a:lnTo>
                      <a:pt x="1090" y="37"/>
                    </a:lnTo>
                    <a:lnTo>
                      <a:pt x="1093" y="38"/>
                    </a:lnTo>
                    <a:lnTo>
                      <a:pt x="1100" y="38"/>
                    </a:lnTo>
                    <a:lnTo>
                      <a:pt x="1106" y="37"/>
                    </a:lnTo>
                    <a:lnTo>
                      <a:pt x="1112" y="38"/>
                    </a:lnTo>
                    <a:lnTo>
                      <a:pt x="1114" y="38"/>
                    </a:lnTo>
                    <a:lnTo>
                      <a:pt x="1114" y="37"/>
                    </a:lnTo>
                    <a:lnTo>
                      <a:pt x="1117" y="37"/>
                    </a:lnTo>
                    <a:lnTo>
                      <a:pt x="1119" y="38"/>
                    </a:lnTo>
                    <a:lnTo>
                      <a:pt x="1120" y="38"/>
                    </a:lnTo>
                    <a:lnTo>
                      <a:pt x="1125" y="38"/>
                    </a:lnTo>
                    <a:lnTo>
                      <a:pt x="1130" y="37"/>
                    </a:lnTo>
                    <a:lnTo>
                      <a:pt x="1133" y="37"/>
                    </a:lnTo>
                    <a:lnTo>
                      <a:pt x="1136" y="38"/>
                    </a:lnTo>
                    <a:lnTo>
                      <a:pt x="1141" y="40"/>
                    </a:lnTo>
                    <a:lnTo>
                      <a:pt x="1144" y="40"/>
                    </a:lnTo>
                    <a:lnTo>
                      <a:pt x="1150" y="43"/>
                    </a:lnTo>
                    <a:lnTo>
                      <a:pt x="1152" y="44"/>
                    </a:lnTo>
                    <a:lnTo>
                      <a:pt x="1155" y="46"/>
                    </a:lnTo>
                    <a:lnTo>
                      <a:pt x="1158" y="48"/>
                    </a:lnTo>
                    <a:lnTo>
                      <a:pt x="1162" y="49"/>
                    </a:lnTo>
                    <a:lnTo>
                      <a:pt x="1165" y="51"/>
                    </a:lnTo>
                    <a:lnTo>
                      <a:pt x="1168" y="54"/>
                    </a:lnTo>
                    <a:lnTo>
                      <a:pt x="1171" y="56"/>
                    </a:lnTo>
                    <a:lnTo>
                      <a:pt x="1174" y="57"/>
                    </a:lnTo>
                    <a:lnTo>
                      <a:pt x="1177" y="57"/>
                    </a:lnTo>
                    <a:lnTo>
                      <a:pt x="1182" y="56"/>
                    </a:lnTo>
                    <a:lnTo>
                      <a:pt x="1184" y="56"/>
                    </a:lnTo>
                    <a:lnTo>
                      <a:pt x="1187" y="54"/>
                    </a:lnTo>
                    <a:lnTo>
                      <a:pt x="1188" y="52"/>
                    </a:lnTo>
                    <a:lnTo>
                      <a:pt x="1192" y="51"/>
                    </a:lnTo>
                    <a:lnTo>
                      <a:pt x="1193" y="51"/>
                    </a:lnTo>
                    <a:lnTo>
                      <a:pt x="1196" y="51"/>
                    </a:lnTo>
                    <a:lnTo>
                      <a:pt x="1198" y="51"/>
                    </a:lnTo>
                    <a:lnTo>
                      <a:pt x="1200" y="48"/>
                    </a:lnTo>
                    <a:lnTo>
                      <a:pt x="1200" y="44"/>
                    </a:lnTo>
                    <a:lnTo>
                      <a:pt x="1200" y="40"/>
                    </a:lnTo>
                    <a:lnTo>
                      <a:pt x="1200" y="35"/>
                    </a:lnTo>
                    <a:lnTo>
                      <a:pt x="1200" y="29"/>
                    </a:lnTo>
                    <a:lnTo>
                      <a:pt x="1200" y="27"/>
                    </a:lnTo>
                    <a:lnTo>
                      <a:pt x="1201" y="25"/>
                    </a:lnTo>
                    <a:lnTo>
                      <a:pt x="1201" y="24"/>
                    </a:lnTo>
                    <a:lnTo>
                      <a:pt x="1201" y="22"/>
                    </a:lnTo>
                    <a:lnTo>
                      <a:pt x="1204" y="19"/>
                    </a:lnTo>
                    <a:lnTo>
                      <a:pt x="1207" y="14"/>
                    </a:lnTo>
                    <a:lnTo>
                      <a:pt x="1209" y="13"/>
                    </a:lnTo>
                    <a:lnTo>
                      <a:pt x="1211" y="13"/>
                    </a:lnTo>
                    <a:lnTo>
                      <a:pt x="1214" y="10"/>
                    </a:lnTo>
                    <a:lnTo>
                      <a:pt x="1212" y="8"/>
                    </a:lnTo>
                    <a:lnTo>
                      <a:pt x="1212" y="6"/>
                    </a:lnTo>
                    <a:lnTo>
                      <a:pt x="1211" y="5"/>
                    </a:lnTo>
                    <a:lnTo>
                      <a:pt x="1212" y="5"/>
                    </a:lnTo>
                    <a:lnTo>
                      <a:pt x="1214" y="5"/>
                    </a:lnTo>
                    <a:lnTo>
                      <a:pt x="1217" y="5"/>
                    </a:lnTo>
                    <a:lnTo>
                      <a:pt x="1220" y="5"/>
                    </a:lnTo>
                    <a:lnTo>
                      <a:pt x="1222" y="3"/>
                    </a:lnTo>
                    <a:lnTo>
                      <a:pt x="1223" y="2"/>
                    </a:lnTo>
                    <a:lnTo>
                      <a:pt x="1225" y="0"/>
                    </a:lnTo>
                  </a:path>
                </a:pathLst>
              </a:custGeom>
              <a:noFill/>
              <a:ln w="4763">
                <a:solidFill>
                  <a:srgbClr val="68686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75" name="Freeform 73"/>
              <p:cNvSpPr>
                <a:spLocks/>
              </p:cNvSpPr>
              <p:nvPr/>
            </p:nvSpPr>
            <p:spPr bwMode="auto">
              <a:xfrm>
                <a:off x="2664" y="646"/>
                <a:ext cx="1631" cy="1163"/>
              </a:xfrm>
              <a:custGeom>
                <a:avLst/>
                <a:gdLst>
                  <a:gd name="T0" fmla="*/ 46 w 1631"/>
                  <a:gd name="T1" fmla="*/ 141 h 1163"/>
                  <a:gd name="T2" fmla="*/ 59 w 1631"/>
                  <a:gd name="T3" fmla="*/ 176 h 1163"/>
                  <a:gd name="T4" fmla="*/ 92 w 1631"/>
                  <a:gd name="T5" fmla="*/ 205 h 1163"/>
                  <a:gd name="T6" fmla="*/ 147 w 1631"/>
                  <a:gd name="T7" fmla="*/ 102 h 1163"/>
                  <a:gd name="T8" fmla="*/ 169 w 1631"/>
                  <a:gd name="T9" fmla="*/ 68 h 1163"/>
                  <a:gd name="T10" fmla="*/ 211 w 1631"/>
                  <a:gd name="T11" fmla="*/ 0 h 1163"/>
                  <a:gd name="T12" fmla="*/ 238 w 1631"/>
                  <a:gd name="T13" fmla="*/ 38 h 1163"/>
                  <a:gd name="T14" fmla="*/ 279 w 1631"/>
                  <a:gd name="T15" fmla="*/ 64 h 1163"/>
                  <a:gd name="T16" fmla="*/ 312 w 1631"/>
                  <a:gd name="T17" fmla="*/ 70 h 1163"/>
                  <a:gd name="T18" fmla="*/ 333 w 1631"/>
                  <a:gd name="T19" fmla="*/ 105 h 1163"/>
                  <a:gd name="T20" fmla="*/ 356 w 1631"/>
                  <a:gd name="T21" fmla="*/ 127 h 1163"/>
                  <a:gd name="T22" fmla="*/ 383 w 1631"/>
                  <a:gd name="T23" fmla="*/ 141 h 1163"/>
                  <a:gd name="T24" fmla="*/ 426 w 1631"/>
                  <a:gd name="T25" fmla="*/ 132 h 1163"/>
                  <a:gd name="T26" fmla="*/ 475 w 1631"/>
                  <a:gd name="T27" fmla="*/ 122 h 1163"/>
                  <a:gd name="T28" fmla="*/ 513 w 1631"/>
                  <a:gd name="T29" fmla="*/ 105 h 1163"/>
                  <a:gd name="T30" fmla="*/ 534 w 1631"/>
                  <a:gd name="T31" fmla="*/ 78 h 1163"/>
                  <a:gd name="T32" fmla="*/ 570 w 1631"/>
                  <a:gd name="T33" fmla="*/ 86 h 1163"/>
                  <a:gd name="T34" fmla="*/ 597 w 1631"/>
                  <a:gd name="T35" fmla="*/ 127 h 1163"/>
                  <a:gd name="T36" fmla="*/ 637 w 1631"/>
                  <a:gd name="T37" fmla="*/ 109 h 1163"/>
                  <a:gd name="T38" fmla="*/ 679 w 1631"/>
                  <a:gd name="T39" fmla="*/ 103 h 1163"/>
                  <a:gd name="T40" fmla="*/ 694 w 1631"/>
                  <a:gd name="T41" fmla="*/ 109 h 1163"/>
                  <a:gd name="T42" fmla="*/ 721 w 1631"/>
                  <a:gd name="T43" fmla="*/ 117 h 1163"/>
                  <a:gd name="T44" fmla="*/ 771 w 1631"/>
                  <a:gd name="T45" fmla="*/ 122 h 1163"/>
                  <a:gd name="T46" fmla="*/ 811 w 1631"/>
                  <a:gd name="T47" fmla="*/ 133 h 1163"/>
                  <a:gd name="T48" fmla="*/ 839 w 1631"/>
                  <a:gd name="T49" fmla="*/ 105 h 1163"/>
                  <a:gd name="T50" fmla="*/ 920 w 1631"/>
                  <a:gd name="T51" fmla="*/ 130 h 1163"/>
                  <a:gd name="T52" fmla="*/ 996 w 1631"/>
                  <a:gd name="T53" fmla="*/ 182 h 1163"/>
                  <a:gd name="T54" fmla="*/ 1091 w 1631"/>
                  <a:gd name="T55" fmla="*/ 252 h 1163"/>
                  <a:gd name="T56" fmla="*/ 1220 w 1631"/>
                  <a:gd name="T57" fmla="*/ 377 h 1163"/>
                  <a:gd name="T58" fmla="*/ 1327 w 1631"/>
                  <a:gd name="T59" fmla="*/ 474 h 1163"/>
                  <a:gd name="T60" fmla="*/ 1402 w 1631"/>
                  <a:gd name="T61" fmla="*/ 542 h 1163"/>
                  <a:gd name="T62" fmla="*/ 1460 w 1631"/>
                  <a:gd name="T63" fmla="*/ 631 h 1163"/>
                  <a:gd name="T64" fmla="*/ 1524 w 1631"/>
                  <a:gd name="T65" fmla="*/ 707 h 1163"/>
                  <a:gd name="T66" fmla="*/ 1503 w 1631"/>
                  <a:gd name="T67" fmla="*/ 732 h 1163"/>
                  <a:gd name="T68" fmla="*/ 1494 w 1631"/>
                  <a:gd name="T69" fmla="*/ 756 h 1163"/>
                  <a:gd name="T70" fmla="*/ 1475 w 1631"/>
                  <a:gd name="T71" fmla="*/ 777 h 1163"/>
                  <a:gd name="T72" fmla="*/ 1459 w 1631"/>
                  <a:gd name="T73" fmla="*/ 797 h 1163"/>
                  <a:gd name="T74" fmla="*/ 1446 w 1631"/>
                  <a:gd name="T75" fmla="*/ 821 h 1163"/>
                  <a:gd name="T76" fmla="*/ 1421 w 1631"/>
                  <a:gd name="T77" fmla="*/ 853 h 1163"/>
                  <a:gd name="T78" fmla="*/ 1403 w 1631"/>
                  <a:gd name="T79" fmla="*/ 880 h 1163"/>
                  <a:gd name="T80" fmla="*/ 1389 w 1631"/>
                  <a:gd name="T81" fmla="*/ 900 h 1163"/>
                  <a:gd name="T82" fmla="*/ 1372 w 1631"/>
                  <a:gd name="T83" fmla="*/ 916 h 1163"/>
                  <a:gd name="T84" fmla="*/ 1348 w 1631"/>
                  <a:gd name="T85" fmla="*/ 941 h 1163"/>
                  <a:gd name="T86" fmla="*/ 1343 w 1631"/>
                  <a:gd name="T87" fmla="*/ 973 h 1163"/>
                  <a:gd name="T88" fmla="*/ 1335 w 1631"/>
                  <a:gd name="T89" fmla="*/ 997 h 1163"/>
                  <a:gd name="T90" fmla="*/ 1342 w 1631"/>
                  <a:gd name="T91" fmla="*/ 1024 h 1163"/>
                  <a:gd name="T92" fmla="*/ 1345 w 1631"/>
                  <a:gd name="T93" fmla="*/ 1079 h 1163"/>
                  <a:gd name="T94" fmla="*/ 1343 w 1631"/>
                  <a:gd name="T95" fmla="*/ 1139 h 1163"/>
                  <a:gd name="T96" fmla="*/ 1367 w 1631"/>
                  <a:gd name="T97" fmla="*/ 1154 h 1163"/>
                  <a:gd name="T98" fmla="*/ 1394 w 1631"/>
                  <a:gd name="T99" fmla="*/ 1160 h 1163"/>
                  <a:gd name="T100" fmla="*/ 1422 w 1631"/>
                  <a:gd name="T101" fmla="*/ 1157 h 1163"/>
                  <a:gd name="T102" fmla="*/ 1443 w 1631"/>
                  <a:gd name="T103" fmla="*/ 1144 h 1163"/>
                  <a:gd name="T104" fmla="*/ 1468 w 1631"/>
                  <a:gd name="T105" fmla="*/ 1147 h 1163"/>
                  <a:gd name="T106" fmla="*/ 1495 w 1631"/>
                  <a:gd name="T107" fmla="*/ 1141 h 1163"/>
                  <a:gd name="T108" fmla="*/ 1519 w 1631"/>
                  <a:gd name="T109" fmla="*/ 1143 h 1163"/>
                  <a:gd name="T110" fmla="*/ 1546 w 1631"/>
                  <a:gd name="T111" fmla="*/ 1130 h 1163"/>
                  <a:gd name="T112" fmla="*/ 1574 w 1631"/>
                  <a:gd name="T113" fmla="*/ 1119 h 1163"/>
                  <a:gd name="T114" fmla="*/ 1595 w 1631"/>
                  <a:gd name="T115" fmla="*/ 1116 h 1163"/>
                  <a:gd name="T116" fmla="*/ 1619 w 1631"/>
                  <a:gd name="T117" fmla="*/ 1119 h 1163"/>
                  <a:gd name="T118" fmla="*/ 1631 w 1631"/>
                  <a:gd name="T119" fmla="*/ 1131 h 1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31" h="1163">
                    <a:moveTo>
                      <a:pt x="0" y="130"/>
                    </a:moveTo>
                    <a:lnTo>
                      <a:pt x="1" y="130"/>
                    </a:lnTo>
                    <a:lnTo>
                      <a:pt x="6" y="130"/>
                    </a:lnTo>
                    <a:lnTo>
                      <a:pt x="9" y="132"/>
                    </a:lnTo>
                    <a:lnTo>
                      <a:pt x="13" y="132"/>
                    </a:lnTo>
                    <a:lnTo>
                      <a:pt x="16" y="133"/>
                    </a:lnTo>
                    <a:lnTo>
                      <a:pt x="22" y="133"/>
                    </a:lnTo>
                    <a:lnTo>
                      <a:pt x="25" y="132"/>
                    </a:lnTo>
                    <a:lnTo>
                      <a:pt x="30" y="132"/>
                    </a:lnTo>
                    <a:lnTo>
                      <a:pt x="33" y="133"/>
                    </a:lnTo>
                    <a:lnTo>
                      <a:pt x="33" y="135"/>
                    </a:lnTo>
                    <a:lnTo>
                      <a:pt x="35" y="135"/>
                    </a:lnTo>
                    <a:lnTo>
                      <a:pt x="38" y="138"/>
                    </a:lnTo>
                    <a:lnTo>
                      <a:pt x="40" y="138"/>
                    </a:lnTo>
                    <a:lnTo>
                      <a:pt x="41" y="140"/>
                    </a:lnTo>
                    <a:lnTo>
                      <a:pt x="44" y="141"/>
                    </a:lnTo>
                    <a:lnTo>
                      <a:pt x="46" y="141"/>
                    </a:lnTo>
                    <a:lnTo>
                      <a:pt x="46" y="143"/>
                    </a:lnTo>
                    <a:lnTo>
                      <a:pt x="47" y="144"/>
                    </a:lnTo>
                    <a:lnTo>
                      <a:pt x="49" y="148"/>
                    </a:lnTo>
                    <a:lnTo>
                      <a:pt x="49" y="151"/>
                    </a:lnTo>
                    <a:lnTo>
                      <a:pt x="51" y="152"/>
                    </a:lnTo>
                    <a:lnTo>
                      <a:pt x="52" y="154"/>
                    </a:lnTo>
                    <a:lnTo>
                      <a:pt x="55" y="155"/>
                    </a:lnTo>
                    <a:lnTo>
                      <a:pt x="55" y="157"/>
                    </a:lnTo>
                    <a:lnTo>
                      <a:pt x="57" y="157"/>
                    </a:lnTo>
                    <a:lnTo>
                      <a:pt x="57" y="160"/>
                    </a:lnTo>
                    <a:lnTo>
                      <a:pt x="59" y="163"/>
                    </a:lnTo>
                    <a:lnTo>
                      <a:pt x="59" y="165"/>
                    </a:lnTo>
                    <a:lnTo>
                      <a:pt x="60" y="165"/>
                    </a:lnTo>
                    <a:lnTo>
                      <a:pt x="60" y="167"/>
                    </a:lnTo>
                    <a:lnTo>
                      <a:pt x="62" y="168"/>
                    </a:lnTo>
                    <a:lnTo>
                      <a:pt x="60" y="171"/>
                    </a:lnTo>
                    <a:lnTo>
                      <a:pt x="59" y="176"/>
                    </a:lnTo>
                    <a:lnTo>
                      <a:pt x="63" y="179"/>
                    </a:lnTo>
                    <a:lnTo>
                      <a:pt x="65" y="181"/>
                    </a:lnTo>
                    <a:lnTo>
                      <a:pt x="68" y="181"/>
                    </a:lnTo>
                    <a:lnTo>
                      <a:pt x="73" y="182"/>
                    </a:lnTo>
                    <a:lnTo>
                      <a:pt x="79" y="187"/>
                    </a:lnTo>
                    <a:lnTo>
                      <a:pt x="81" y="187"/>
                    </a:lnTo>
                    <a:lnTo>
                      <a:pt x="81" y="189"/>
                    </a:lnTo>
                    <a:lnTo>
                      <a:pt x="81" y="193"/>
                    </a:lnTo>
                    <a:lnTo>
                      <a:pt x="81" y="197"/>
                    </a:lnTo>
                    <a:lnTo>
                      <a:pt x="81" y="200"/>
                    </a:lnTo>
                    <a:lnTo>
                      <a:pt x="81" y="201"/>
                    </a:lnTo>
                    <a:lnTo>
                      <a:pt x="84" y="206"/>
                    </a:lnTo>
                    <a:lnTo>
                      <a:pt x="87" y="208"/>
                    </a:lnTo>
                    <a:lnTo>
                      <a:pt x="89" y="208"/>
                    </a:lnTo>
                    <a:lnTo>
                      <a:pt x="90" y="208"/>
                    </a:lnTo>
                    <a:lnTo>
                      <a:pt x="92" y="206"/>
                    </a:lnTo>
                    <a:lnTo>
                      <a:pt x="92" y="205"/>
                    </a:lnTo>
                    <a:lnTo>
                      <a:pt x="93" y="203"/>
                    </a:lnTo>
                    <a:lnTo>
                      <a:pt x="95" y="200"/>
                    </a:lnTo>
                    <a:lnTo>
                      <a:pt x="98" y="193"/>
                    </a:lnTo>
                    <a:lnTo>
                      <a:pt x="101" y="189"/>
                    </a:lnTo>
                    <a:lnTo>
                      <a:pt x="106" y="182"/>
                    </a:lnTo>
                    <a:lnTo>
                      <a:pt x="111" y="176"/>
                    </a:lnTo>
                    <a:lnTo>
                      <a:pt x="116" y="167"/>
                    </a:lnTo>
                    <a:lnTo>
                      <a:pt x="122" y="154"/>
                    </a:lnTo>
                    <a:lnTo>
                      <a:pt x="127" y="146"/>
                    </a:lnTo>
                    <a:lnTo>
                      <a:pt x="127" y="143"/>
                    </a:lnTo>
                    <a:lnTo>
                      <a:pt x="135" y="124"/>
                    </a:lnTo>
                    <a:lnTo>
                      <a:pt x="138" y="119"/>
                    </a:lnTo>
                    <a:lnTo>
                      <a:pt x="139" y="116"/>
                    </a:lnTo>
                    <a:lnTo>
                      <a:pt x="141" y="114"/>
                    </a:lnTo>
                    <a:lnTo>
                      <a:pt x="142" y="111"/>
                    </a:lnTo>
                    <a:lnTo>
                      <a:pt x="144" y="106"/>
                    </a:lnTo>
                    <a:lnTo>
                      <a:pt x="147" y="102"/>
                    </a:lnTo>
                    <a:lnTo>
                      <a:pt x="149" y="98"/>
                    </a:lnTo>
                    <a:lnTo>
                      <a:pt x="152" y="94"/>
                    </a:lnTo>
                    <a:lnTo>
                      <a:pt x="152" y="90"/>
                    </a:lnTo>
                    <a:lnTo>
                      <a:pt x="154" y="87"/>
                    </a:lnTo>
                    <a:lnTo>
                      <a:pt x="157" y="86"/>
                    </a:lnTo>
                    <a:lnTo>
                      <a:pt x="158" y="86"/>
                    </a:lnTo>
                    <a:lnTo>
                      <a:pt x="158" y="84"/>
                    </a:lnTo>
                    <a:lnTo>
                      <a:pt x="158" y="83"/>
                    </a:lnTo>
                    <a:lnTo>
                      <a:pt x="160" y="79"/>
                    </a:lnTo>
                    <a:lnTo>
                      <a:pt x="160" y="78"/>
                    </a:lnTo>
                    <a:lnTo>
                      <a:pt x="161" y="76"/>
                    </a:lnTo>
                    <a:lnTo>
                      <a:pt x="163" y="75"/>
                    </a:lnTo>
                    <a:lnTo>
                      <a:pt x="165" y="75"/>
                    </a:lnTo>
                    <a:lnTo>
                      <a:pt x="166" y="75"/>
                    </a:lnTo>
                    <a:lnTo>
                      <a:pt x="166" y="73"/>
                    </a:lnTo>
                    <a:lnTo>
                      <a:pt x="168" y="71"/>
                    </a:lnTo>
                    <a:lnTo>
                      <a:pt x="169" y="68"/>
                    </a:lnTo>
                    <a:lnTo>
                      <a:pt x="173" y="62"/>
                    </a:lnTo>
                    <a:lnTo>
                      <a:pt x="176" y="59"/>
                    </a:lnTo>
                    <a:lnTo>
                      <a:pt x="179" y="54"/>
                    </a:lnTo>
                    <a:lnTo>
                      <a:pt x="180" y="49"/>
                    </a:lnTo>
                    <a:lnTo>
                      <a:pt x="182" y="46"/>
                    </a:lnTo>
                    <a:lnTo>
                      <a:pt x="184" y="43"/>
                    </a:lnTo>
                    <a:lnTo>
                      <a:pt x="185" y="40"/>
                    </a:lnTo>
                    <a:lnTo>
                      <a:pt x="188" y="37"/>
                    </a:lnTo>
                    <a:lnTo>
                      <a:pt x="192" y="32"/>
                    </a:lnTo>
                    <a:lnTo>
                      <a:pt x="195" y="27"/>
                    </a:lnTo>
                    <a:lnTo>
                      <a:pt x="196" y="24"/>
                    </a:lnTo>
                    <a:lnTo>
                      <a:pt x="199" y="19"/>
                    </a:lnTo>
                    <a:lnTo>
                      <a:pt x="201" y="14"/>
                    </a:lnTo>
                    <a:lnTo>
                      <a:pt x="204" y="11"/>
                    </a:lnTo>
                    <a:lnTo>
                      <a:pt x="206" y="8"/>
                    </a:lnTo>
                    <a:lnTo>
                      <a:pt x="207" y="5"/>
                    </a:lnTo>
                    <a:lnTo>
                      <a:pt x="211" y="0"/>
                    </a:lnTo>
                    <a:lnTo>
                      <a:pt x="215" y="3"/>
                    </a:lnTo>
                    <a:lnTo>
                      <a:pt x="215" y="5"/>
                    </a:lnTo>
                    <a:lnTo>
                      <a:pt x="217" y="8"/>
                    </a:lnTo>
                    <a:lnTo>
                      <a:pt x="219" y="10"/>
                    </a:lnTo>
                    <a:lnTo>
                      <a:pt x="220" y="13"/>
                    </a:lnTo>
                    <a:lnTo>
                      <a:pt x="222" y="16"/>
                    </a:lnTo>
                    <a:lnTo>
                      <a:pt x="223" y="18"/>
                    </a:lnTo>
                    <a:lnTo>
                      <a:pt x="225" y="19"/>
                    </a:lnTo>
                    <a:lnTo>
                      <a:pt x="226" y="21"/>
                    </a:lnTo>
                    <a:lnTo>
                      <a:pt x="228" y="22"/>
                    </a:lnTo>
                    <a:lnTo>
                      <a:pt x="230" y="25"/>
                    </a:lnTo>
                    <a:lnTo>
                      <a:pt x="231" y="27"/>
                    </a:lnTo>
                    <a:lnTo>
                      <a:pt x="233" y="29"/>
                    </a:lnTo>
                    <a:lnTo>
                      <a:pt x="234" y="32"/>
                    </a:lnTo>
                    <a:lnTo>
                      <a:pt x="236" y="35"/>
                    </a:lnTo>
                    <a:lnTo>
                      <a:pt x="238" y="37"/>
                    </a:lnTo>
                    <a:lnTo>
                      <a:pt x="238" y="38"/>
                    </a:lnTo>
                    <a:lnTo>
                      <a:pt x="239" y="40"/>
                    </a:lnTo>
                    <a:lnTo>
                      <a:pt x="239" y="41"/>
                    </a:lnTo>
                    <a:lnTo>
                      <a:pt x="239" y="43"/>
                    </a:lnTo>
                    <a:lnTo>
                      <a:pt x="239" y="45"/>
                    </a:lnTo>
                    <a:lnTo>
                      <a:pt x="241" y="46"/>
                    </a:lnTo>
                    <a:lnTo>
                      <a:pt x="244" y="49"/>
                    </a:lnTo>
                    <a:lnTo>
                      <a:pt x="247" y="51"/>
                    </a:lnTo>
                    <a:lnTo>
                      <a:pt x="250" y="51"/>
                    </a:lnTo>
                    <a:lnTo>
                      <a:pt x="253" y="51"/>
                    </a:lnTo>
                    <a:lnTo>
                      <a:pt x="257" y="52"/>
                    </a:lnTo>
                    <a:lnTo>
                      <a:pt x="261" y="54"/>
                    </a:lnTo>
                    <a:lnTo>
                      <a:pt x="266" y="56"/>
                    </a:lnTo>
                    <a:lnTo>
                      <a:pt x="271" y="59"/>
                    </a:lnTo>
                    <a:lnTo>
                      <a:pt x="272" y="60"/>
                    </a:lnTo>
                    <a:lnTo>
                      <a:pt x="274" y="62"/>
                    </a:lnTo>
                    <a:lnTo>
                      <a:pt x="274" y="64"/>
                    </a:lnTo>
                    <a:lnTo>
                      <a:pt x="279" y="64"/>
                    </a:lnTo>
                    <a:lnTo>
                      <a:pt x="280" y="64"/>
                    </a:lnTo>
                    <a:lnTo>
                      <a:pt x="285" y="62"/>
                    </a:lnTo>
                    <a:lnTo>
                      <a:pt x="287" y="62"/>
                    </a:lnTo>
                    <a:lnTo>
                      <a:pt x="288" y="62"/>
                    </a:lnTo>
                    <a:lnTo>
                      <a:pt x="290" y="60"/>
                    </a:lnTo>
                    <a:lnTo>
                      <a:pt x="291" y="60"/>
                    </a:lnTo>
                    <a:lnTo>
                      <a:pt x="293" y="59"/>
                    </a:lnTo>
                    <a:lnTo>
                      <a:pt x="295" y="59"/>
                    </a:lnTo>
                    <a:lnTo>
                      <a:pt x="296" y="60"/>
                    </a:lnTo>
                    <a:lnTo>
                      <a:pt x="301" y="60"/>
                    </a:lnTo>
                    <a:lnTo>
                      <a:pt x="304" y="60"/>
                    </a:lnTo>
                    <a:lnTo>
                      <a:pt x="307" y="62"/>
                    </a:lnTo>
                    <a:lnTo>
                      <a:pt x="309" y="64"/>
                    </a:lnTo>
                    <a:lnTo>
                      <a:pt x="310" y="65"/>
                    </a:lnTo>
                    <a:lnTo>
                      <a:pt x="312" y="65"/>
                    </a:lnTo>
                    <a:lnTo>
                      <a:pt x="312" y="68"/>
                    </a:lnTo>
                    <a:lnTo>
                      <a:pt x="312" y="70"/>
                    </a:lnTo>
                    <a:lnTo>
                      <a:pt x="314" y="71"/>
                    </a:lnTo>
                    <a:lnTo>
                      <a:pt x="314" y="73"/>
                    </a:lnTo>
                    <a:lnTo>
                      <a:pt x="314" y="76"/>
                    </a:lnTo>
                    <a:lnTo>
                      <a:pt x="314" y="78"/>
                    </a:lnTo>
                    <a:lnTo>
                      <a:pt x="314" y="79"/>
                    </a:lnTo>
                    <a:lnTo>
                      <a:pt x="314" y="81"/>
                    </a:lnTo>
                    <a:lnTo>
                      <a:pt x="317" y="83"/>
                    </a:lnTo>
                    <a:lnTo>
                      <a:pt x="317" y="84"/>
                    </a:lnTo>
                    <a:lnTo>
                      <a:pt x="318" y="84"/>
                    </a:lnTo>
                    <a:lnTo>
                      <a:pt x="320" y="86"/>
                    </a:lnTo>
                    <a:lnTo>
                      <a:pt x="321" y="86"/>
                    </a:lnTo>
                    <a:lnTo>
                      <a:pt x="323" y="87"/>
                    </a:lnTo>
                    <a:lnTo>
                      <a:pt x="325" y="89"/>
                    </a:lnTo>
                    <a:lnTo>
                      <a:pt x="326" y="92"/>
                    </a:lnTo>
                    <a:lnTo>
                      <a:pt x="329" y="97"/>
                    </a:lnTo>
                    <a:lnTo>
                      <a:pt x="331" y="98"/>
                    </a:lnTo>
                    <a:lnTo>
                      <a:pt x="333" y="105"/>
                    </a:lnTo>
                    <a:lnTo>
                      <a:pt x="336" y="108"/>
                    </a:lnTo>
                    <a:lnTo>
                      <a:pt x="337" y="109"/>
                    </a:lnTo>
                    <a:lnTo>
                      <a:pt x="337" y="111"/>
                    </a:lnTo>
                    <a:lnTo>
                      <a:pt x="339" y="111"/>
                    </a:lnTo>
                    <a:lnTo>
                      <a:pt x="339" y="113"/>
                    </a:lnTo>
                    <a:lnTo>
                      <a:pt x="339" y="114"/>
                    </a:lnTo>
                    <a:lnTo>
                      <a:pt x="339" y="116"/>
                    </a:lnTo>
                    <a:lnTo>
                      <a:pt x="340" y="117"/>
                    </a:lnTo>
                    <a:lnTo>
                      <a:pt x="344" y="119"/>
                    </a:lnTo>
                    <a:lnTo>
                      <a:pt x="345" y="119"/>
                    </a:lnTo>
                    <a:lnTo>
                      <a:pt x="347" y="119"/>
                    </a:lnTo>
                    <a:lnTo>
                      <a:pt x="350" y="121"/>
                    </a:lnTo>
                    <a:lnTo>
                      <a:pt x="352" y="122"/>
                    </a:lnTo>
                    <a:lnTo>
                      <a:pt x="353" y="124"/>
                    </a:lnTo>
                    <a:lnTo>
                      <a:pt x="355" y="125"/>
                    </a:lnTo>
                    <a:lnTo>
                      <a:pt x="356" y="125"/>
                    </a:lnTo>
                    <a:lnTo>
                      <a:pt x="356" y="127"/>
                    </a:lnTo>
                    <a:lnTo>
                      <a:pt x="358" y="128"/>
                    </a:lnTo>
                    <a:lnTo>
                      <a:pt x="359" y="132"/>
                    </a:lnTo>
                    <a:lnTo>
                      <a:pt x="361" y="135"/>
                    </a:lnTo>
                    <a:lnTo>
                      <a:pt x="363" y="136"/>
                    </a:lnTo>
                    <a:lnTo>
                      <a:pt x="363" y="138"/>
                    </a:lnTo>
                    <a:lnTo>
                      <a:pt x="364" y="140"/>
                    </a:lnTo>
                    <a:lnTo>
                      <a:pt x="366" y="140"/>
                    </a:lnTo>
                    <a:lnTo>
                      <a:pt x="366" y="141"/>
                    </a:lnTo>
                    <a:lnTo>
                      <a:pt x="369" y="140"/>
                    </a:lnTo>
                    <a:lnTo>
                      <a:pt x="371" y="140"/>
                    </a:lnTo>
                    <a:lnTo>
                      <a:pt x="372" y="140"/>
                    </a:lnTo>
                    <a:lnTo>
                      <a:pt x="374" y="140"/>
                    </a:lnTo>
                    <a:lnTo>
                      <a:pt x="375" y="138"/>
                    </a:lnTo>
                    <a:lnTo>
                      <a:pt x="377" y="140"/>
                    </a:lnTo>
                    <a:lnTo>
                      <a:pt x="378" y="140"/>
                    </a:lnTo>
                    <a:lnTo>
                      <a:pt x="380" y="140"/>
                    </a:lnTo>
                    <a:lnTo>
                      <a:pt x="383" y="141"/>
                    </a:lnTo>
                    <a:lnTo>
                      <a:pt x="385" y="141"/>
                    </a:lnTo>
                    <a:lnTo>
                      <a:pt x="386" y="140"/>
                    </a:lnTo>
                    <a:lnTo>
                      <a:pt x="390" y="140"/>
                    </a:lnTo>
                    <a:lnTo>
                      <a:pt x="391" y="140"/>
                    </a:lnTo>
                    <a:lnTo>
                      <a:pt x="394" y="138"/>
                    </a:lnTo>
                    <a:lnTo>
                      <a:pt x="397" y="136"/>
                    </a:lnTo>
                    <a:lnTo>
                      <a:pt x="399" y="136"/>
                    </a:lnTo>
                    <a:lnTo>
                      <a:pt x="402" y="133"/>
                    </a:lnTo>
                    <a:lnTo>
                      <a:pt x="407" y="132"/>
                    </a:lnTo>
                    <a:lnTo>
                      <a:pt x="412" y="133"/>
                    </a:lnTo>
                    <a:lnTo>
                      <a:pt x="415" y="133"/>
                    </a:lnTo>
                    <a:lnTo>
                      <a:pt x="417" y="135"/>
                    </a:lnTo>
                    <a:lnTo>
                      <a:pt x="418" y="133"/>
                    </a:lnTo>
                    <a:lnTo>
                      <a:pt x="420" y="133"/>
                    </a:lnTo>
                    <a:lnTo>
                      <a:pt x="421" y="133"/>
                    </a:lnTo>
                    <a:lnTo>
                      <a:pt x="424" y="133"/>
                    </a:lnTo>
                    <a:lnTo>
                      <a:pt x="426" y="132"/>
                    </a:lnTo>
                    <a:lnTo>
                      <a:pt x="429" y="130"/>
                    </a:lnTo>
                    <a:lnTo>
                      <a:pt x="434" y="127"/>
                    </a:lnTo>
                    <a:lnTo>
                      <a:pt x="439" y="125"/>
                    </a:lnTo>
                    <a:lnTo>
                      <a:pt x="442" y="125"/>
                    </a:lnTo>
                    <a:lnTo>
                      <a:pt x="448" y="128"/>
                    </a:lnTo>
                    <a:lnTo>
                      <a:pt x="450" y="128"/>
                    </a:lnTo>
                    <a:lnTo>
                      <a:pt x="451" y="128"/>
                    </a:lnTo>
                    <a:lnTo>
                      <a:pt x="453" y="127"/>
                    </a:lnTo>
                    <a:lnTo>
                      <a:pt x="455" y="127"/>
                    </a:lnTo>
                    <a:lnTo>
                      <a:pt x="456" y="127"/>
                    </a:lnTo>
                    <a:lnTo>
                      <a:pt x="459" y="125"/>
                    </a:lnTo>
                    <a:lnTo>
                      <a:pt x="461" y="125"/>
                    </a:lnTo>
                    <a:lnTo>
                      <a:pt x="462" y="125"/>
                    </a:lnTo>
                    <a:lnTo>
                      <a:pt x="467" y="125"/>
                    </a:lnTo>
                    <a:lnTo>
                      <a:pt x="469" y="124"/>
                    </a:lnTo>
                    <a:lnTo>
                      <a:pt x="472" y="122"/>
                    </a:lnTo>
                    <a:lnTo>
                      <a:pt x="475" y="122"/>
                    </a:lnTo>
                    <a:lnTo>
                      <a:pt x="477" y="121"/>
                    </a:lnTo>
                    <a:lnTo>
                      <a:pt x="477" y="119"/>
                    </a:lnTo>
                    <a:lnTo>
                      <a:pt x="478" y="119"/>
                    </a:lnTo>
                    <a:lnTo>
                      <a:pt x="480" y="119"/>
                    </a:lnTo>
                    <a:lnTo>
                      <a:pt x="481" y="117"/>
                    </a:lnTo>
                    <a:lnTo>
                      <a:pt x="488" y="119"/>
                    </a:lnTo>
                    <a:lnTo>
                      <a:pt x="489" y="119"/>
                    </a:lnTo>
                    <a:lnTo>
                      <a:pt x="489" y="117"/>
                    </a:lnTo>
                    <a:lnTo>
                      <a:pt x="493" y="117"/>
                    </a:lnTo>
                    <a:lnTo>
                      <a:pt x="496" y="116"/>
                    </a:lnTo>
                    <a:lnTo>
                      <a:pt x="499" y="114"/>
                    </a:lnTo>
                    <a:lnTo>
                      <a:pt x="502" y="111"/>
                    </a:lnTo>
                    <a:lnTo>
                      <a:pt x="504" y="109"/>
                    </a:lnTo>
                    <a:lnTo>
                      <a:pt x="504" y="108"/>
                    </a:lnTo>
                    <a:lnTo>
                      <a:pt x="505" y="106"/>
                    </a:lnTo>
                    <a:lnTo>
                      <a:pt x="510" y="105"/>
                    </a:lnTo>
                    <a:lnTo>
                      <a:pt x="513" y="105"/>
                    </a:lnTo>
                    <a:lnTo>
                      <a:pt x="515" y="105"/>
                    </a:lnTo>
                    <a:lnTo>
                      <a:pt x="515" y="103"/>
                    </a:lnTo>
                    <a:lnTo>
                      <a:pt x="516" y="103"/>
                    </a:lnTo>
                    <a:lnTo>
                      <a:pt x="518" y="102"/>
                    </a:lnTo>
                    <a:lnTo>
                      <a:pt x="521" y="100"/>
                    </a:lnTo>
                    <a:lnTo>
                      <a:pt x="524" y="98"/>
                    </a:lnTo>
                    <a:lnTo>
                      <a:pt x="526" y="97"/>
                    </a:lnTo>
                    <a:lnTo>
                      <a:pt x="527" y="94"/>
                    </a:lnTo>
                    <a:lnTo>
                      <a:pt x="529" y="92"/>
                    </a:lnTo>
                    <a:lnTo>
                      <a:pt x="529" y="90"/>
                    </a:lnTo>
                    <a:lnTo>
                      <a:pt x="531" y="87"/>
                    </a:lnTo>
                    <a:lnTo>
                      <a:pt x="531" y="86"/>
                    </a:lnTo>
                    <a:lnTo>
                      <a:pt x="532" y="84"/>
                    </a:lnTo>
                    <a:lnTo>
                      <a:pt x="532" y="83"/>
                    </a:lnTo>
                    <a:lnTo>
                      <a:pt x="534" y="81"/>
                    </a:lnTo>
                    <a:lnTo>
                      <a:pt x="534" y="79"/>
                    </a:lnTo>
                    <a:lnTo>
                      <a:pt x="534" y="78"/>
                    </a:lnTo>
                    <a:lnTo>
                      <a:pt x="535" y="78"/>
                    </a:lnTo>
                    <a:lnTo>
                      <a:pt x="537" y="78"/>
                    </a:lnTo>
                    <a:lnTo>
                      <a:pt x="538" y="78"/>
                    </a:lnTo>
                    <a:lnTo>
                      <a:pt x="540" y="76"/>
                    </a:lnTo>
                    <a:lnTo>
                      <a:pt x="540" y="75"/>
                    </a:lnTo>
                    <a:lnTo>
                      <a:pt x="543" y="75"/>
                    </a:lnTo>
                    <a:lnTo>
                      <a:pt x="545" y="75"/>
                    </a:lnTo>
                    <a:lnTo>
                      <a:pt x="546" y="73"/>
                    </a:lnTo>
                    <a:lnTo>
                      <a:pt x="551" y="75"/>
                    </a:lnTo>
                    <a:lnTo>
                      <a:pt x="556" y="76"/>
                    </a:lnTo>
                    <a:lnTo>
                      <a:pt x="557" y="76"/>
                    </a:lnTo>
                    <a:lnTo>
                      <a:pt x="559" y="78"/>
                    </a:lnTo>
                    <a:lnTo>
                      <a:pt x="561" y="78"/>
                    </a:lnTo>
                    <a:lnTo>
                      <a:pt x="561" y="79"/>
                    </a:lnTo>
                    <a:lnTo>
                      <a:pt x="565" y="83"/>
                    </a:lnTo>
                    <a:lnTo>
                      <a:pt x="567" y="84"/>
                    </a:lnTo>
                    <a:lnTo>
                      <a:pt x="570" y="86"/>
                    </a:lnTo>
                    <a:lnTo>
                      <a:pt x="572" y="86"/>
                    </a:lnTo>
                    <a:lnTo>
                      <a:pt x="576" y="89"/>
                    </a:lnTo>
                    <a:lnTo>
                      <a:pt x="578" y="92"/>
                    </a:lnTo>
                    <a:lnTo>
                      <a:pt x="580" y="94"/>
                    </a:lnTo>
                    <a:lnTo>
                      <a:pt x="580" y="95"/>
                    </a:lnTo>
                    <a:lnTo>
                      <a:pt x="581" y="97"/>
                    </a:lnTo>
                    <a:lnTo>
                      <a:pt x="583" y="100"/>
                    </a:lnTo>
                    <a:lnTo>
                      <a:pt x="584" y="103"/>
                    </a:lnTo>
                    <a:lnTo>
                      <a:pt x="586" y="108"/>
                    </a:lnTo>
                    <a:lnTo>
                      <a:pt x="588" y="111"/>
                    </a:lnTo>
                    <a:lnTo>
                      <a:pt x="589" y="116"/>
                    </a:lnTo>
                    <a:lnTo>
                      <a:pt x="591" y="121"/>
                    </a:lnTo>
                    <a:lnTo>
                      <a:pt x="592" y="122"/>
                    </a:lnTo>
                    <a:lnTo>
                      <a:pt x="592" y="125"/>
                    </a:lnTo>
                    <a:lnTo>
                      <a:pt x="594" y="127"/>
                    </a:lnTo>
                    <a:lnTo>
                      <a:pt x="596" y="127"/>
                    </a:lnTo>
                    <a:lnTo>
                      <a:pt x="597" y="127"/>
                    </a:lnTo>
                    <a:lnTo>
                      <a:pt x="599" y="127"/>
                    </a:lnTo>
                    <a:lnTo>
                      <a:pt x="600" y="127"/>
                    </a:lnTo>
                    <a:lnTo>
                      <a:pt x="602" y="127"/>
                    </a:lnTo>
                    <a:lnTo>
                      <a:pt x="603" y="127"/>
                    </a:lnTo>
                    <a:lnTo>
                      <a:pt x="608" y="125"/>
                    </a:lnTo>
                    <a:lnTo>
                      <a:pt x="611" y="124"/>
                    </a:lnTo>
                    <a:lnTo>
                      <a:pt x="613" y="122"/>
                    </a:lnTo>
                    <a:lnTo>
                      <a:pt x="616" y="121"/>
                    </a:lnTo>
                    <a:lnTo>
                      <a:pt x="619" y="119"/>
                    </a:lnTo>
                    <a:lnTo>
                      <a:pt x="619" y="117"/>
                    </a:lnTo>
                    <a:lnTo>
                      <a:pt x="622" y="117"/>
                    </a:lnTo>
                    <a:lnTo>
                      <a:pt x="624" y="116"/>
                    </a:lnTo>
                    <a:lnTo>
                      <a:pt x="629" y="113"/>
                    </a:lnTo>
                    <a:lnTo>
                      <a:pt x="630" y="113"/>
                    </a:lnTo>
                    <a:lnTo>
                      <a:pt x="632" y="111"/>
                    </a:lnTo>
                    <a:lnTo>
                      <a:pt x="635" y="111"/>
                    </a:lnTo>
                    <a:lnTo>
                      <a:pt x="637" y="109"/>
                    </a:lnTo>
                    <a:lnTo>
                      <a:pt x="640" y="109"/>
                    </a:lnTo>
                    <a:lnTo>
                      <a:pt x="646" y="109"/>
                    </a:lnTo>
                    <a:lnTo>
                      <a:pt x="649" y="109"/>
                    </a:lnTo>
                    <a:lnTo>
                      <a:pt x="653" y="109"/>
                    </a:lnTo>
                    <a:lnTo>
                      <a:pt x="654" y="109"/>
                    </a:lnTo>
                    <a:lnTo>
                      <a:pt x="657" y="109"/>
                    </a:lnTo>
                    <a:lnTo>
                      <a:pt x="659" y="109"/>
                    </a:lnTo>
                    <a:lnTo>
                      <a:pt x="662" y="109"/>
                    </a:lnTo>
                    <a:lnTo>
                      <a:pt x="664" y="111"/>
                    </a:lnTo>
                    <a:lnTo>
                      <a:pt x="668" y="111"/>
                    </a:lnTo>
                    <a:lnTo>
                      <a:pt x="670" y="111"/>
                    </a:lnTo>
                    <a:lnTo>
                      <a:pt x="673" y="106"/>
                    </a:lnTo>
                    <a:lnTo>
                      <a:pt x="675" y="106"/>
                    </a:lnTo>
                    <a:lnTo>
                      <a:pt x="678" y="106"/>
                    </a:lnTo>
                    <a:lnTo>
                      <a:pt x="678" y="105"/>
                    </a:lnTo>
                    <a:lnTo>
                      <a:pt x="679" y="105"/>
                    </a:lnTo>
                    <a:lnTo>
                      <a:pt x="679" y="103"/>
                    </a:lnTo>
                    <a:lnTo>
                      <a:pt x="679" y="100"/>
                    </a:lnTo>
                    <a:lnTo>
                      <a:pt x="681" y="98"/>
                    </a:lnTo>
                    <a:lnTo>
                      <a:pt x="683" y="97"/>
                    </a:lnTo>
                    <a:lnTo>
                      <a:pt x="684" y="95"/>
                    </a:lnTo>
                    <a:lnTo>
                      <a:pt x="687" y="95"/>
                    </a:lnTo>
                    <a:lnTo>
                      <a:pt x="689" y="95"/>
                    </a:lnTo>
                    <a:lnTo>
                      <a:pt x="695" y="100"/>
                    </a:lnTo>
                    <a:lnTo>
                      <a:pt x="698" y="103"/>
                    </a:lnTo>
                    <a:lnTo>
                      <a:pt x="702" y="105"/>
                    </a:lnTo>
                    <a:lnTo>
                      <a:pt x="702" y="106"/>
                    </a:lnTo>
                    <a:lnTo>
                      <a:pt x="700" y="106"/>
                    </a:lnTo>
                    <a:lnTo>
                      <a:pt x="698" y="106"/>
                    </a:lnTo>
                    <a:lnTo>
                      <a:pt x="698" y="108"/>
                    </a:lnTo>
                    <a:lnTo>
                      <a:pt x="697" y="108"/>
                    </a:lnTo>
                    <a:lnTo>
                      <a:pt x="695" y="108"/>
                    </a:lnTo>
                    <a:lnTo>
                      <a:pt x="695" y="109"/>
                    </a:lnTo>
                    <a:lnTo>
                      <a:pt x="694" y="109"/>
                    </a:lnTo>
                    <a:lnTo>
                      <a:pt x="692" y="109"/>
                    </a:lnTo>
                    <a:lnTo>
                      <a:pt x="691" y="111"/>
                    </a:lnTo>
                    <a:lnTo>
                      <a:pt x="689" y="113"/>
                    </a:lnTo>
                    <a:lnTo>
                      <a:pt x="687" y="113"/>
                    </a:lnTo>
                    <a:lnTo>
                      <a:pt x="686" y="114"/>
                    </a:lnTo>
                    <a:lnTo>
                      <a:pt x="684" y="114"/>
                    </a:lnTo>
                    <a:lnTo>
                      <a:pt x="683" y="114"/>
                    </a:lnTo>
                    <a:lnTo>
                      <a:pt x="684" y="114"/>
                    </a:lnTo>
                    <a:lnTo>
                      <a:pt x="686" y="116"/>
                    </a:lnTo>
                    <a:lnTo>
                      <a:pt x="687" y="117"/>
                    </a:lnTo>
                    <a:lnTo>
                      <a:pt x="692" y="114"/>
                    </a:lnTo>
                    <a:lnTo>
                      <a:pt x="694" y="114"/>
                    </a:lnTo>
                    <a:lnTo>
                      <a:pt x="698" y="113"/>
                    </a:lnTo>
                    <a:lnTo>
                      <a:pt x="705" y="113"/>
                    </a:lnTo>
                    <a:lnTo>
                      <a:pt x="711" y="114"/>
                    </a:lnTo>
                    <a:lnTo>
                      <a:pt x="717" y="116"/>
                    </a:lnTo>
                    <a:lnTo>
                      <a:pt x="721" y="117"/>
                    </a:lnTo>
                    <a:lnTo>
                      <a:pt x="725" y="119"/>
                    </a:lnTo>
                    <a:lnTo>
                      <a:pt x="729" y="121"/>
                    </a:lnTo>
                    <a:lnTo>
                      <a:pt x="735" y="121"/>
                    </a:lnTo>
                    <a:lnTo>
                      <a:pt x="738" y="121"/>
                    </a:lnTo>
                    <a:lnTo>
                      <a:pt x="741" y="121"/>
                    </a:lnTo>
                    <a:lnTo>
                      <a:pt x="744" y="119"/>
                    </a:lnTo>
                    <a:lnTo>
                      <a:pt x="749" y="117"/>
                    </a:lnTo>
                    <a:lnTo>
                      <a:pt x="752" y="116"/>
                    </a:lnTo>
                    <a:lnTo>
                      <a:pt x="755" y="114"/>
                    </a:lnTo>
                    <a:lnTo>
                      <a:pt x="757" y="114"/>
                    </a:lnTo>
                    <a:lnTo>
                      <a:pt x="759" y="116"/>
                    </a:lnTo>
                    <a:lnTo>
                      <a:pt x="760" y="116"/>
                    </a:lnTo>
                    <a:lnTo>
                      <a:pt x="763" y="119"/>
                    </a:lnTo>
                    <a:lnTo>
                      <a:pt x="765" y="119"/>
                    </a:lnTo>
                    <a:lnTo>
                      <a:pt x="767" y="121"/>
                    </a:lnTo>
                    <a:lnTo>
                      <a:pt x="768" y="121"/>
                    </a:lnTo>
                    <a:lnTo>
                      <a:pt x="771" y="122"/>
                    </a:lnTo>
                    <a:lnTo>
                      <a:pt x="773" y="122"/>
                    </a:lnTo>
                    <a:lnTo>
                      <a:pt x="774" y="122"/>
                    </a:lnTo>
                    <a:lnTo>
                      <a:pt x="776" y="122"/>
                    </a:lnTo>
                    <a:lnTo>
                      <a:pt x="781" y="125"/>
                    </a:lnTo>
                    <a:lnTo>
                      <a:pt x="786" y="128"/>
                    </a:lnTo>
                    <a:lnTo>
                      <a:pt x="789" y="133"/>
                    </a:lnTo>
                    <a:lnTo>
                      <a:pt x="792" y="138"/>
                    </a:lnTo>
                    <a:lnTo>
                      <a:pt x="795" y="140"/>
                    </a:lnTo>
                    <a:lnTo>
                      <a:pt x="800" y="141"/>
                    </a:lnTo>
                    <a:lnTo>
                      <a:pt x="801" y="141"/>
                    </a:lnTo>
                    <a:lnTo>
                      <a:pt x="803" y="143"/>
                    </a:lnTo>
                    <a:lnTo>
                      <a:pt x="806" y="141"/>
                    </a:lnTo>
                    <a:lnTo>
                      <a:pt x="808" y="141"/>
                    </a:lnTo>
                    <a:lnTo>
                      <a:pt x="809" y="138"/>
                    </a:lnTo>
                    <a:lnTo>
                      <a:pt x="811" y="136"/>
                    </a:lnTo>
                    <a:lnTo>
                      <a:pt x="811" y="135"/>
                    </a:lnTo>
                    <a:lnTo>
                      <a:pt x="811" y="133"/>
                    </a:lnTo>
                    <a:lnTo>
                      <a:pt x="813" y="132"/>
                    </a:lnTo>
                    <a:lnTo>
                      <a:pt x="814" y="132"/>
                    </a:lnTo>
                    <a:lnTo>
                      <a:pt x="816" y="132"/>
                    </a:lnTo>
                    <a:lnTo>
                      <a:pt x="819" y="132"/>
                    </a:lnTo>
                    <a:lnTo>
                      <a:pt x="822" y="130"/>
                    </a:lnTo>
                    <a:lnTo>
                      <a:pt x="822" y="128"/>
                    </a:lnTo>
                    <a:lnTo>
                      <a:pt x="824" y="125"/>
                    </a:lnTo>
                    <a:lnTo>
                      <a:pt x="825" y="124"/>
                    </a:lnTo>
                    <a:lnTo>
                      <a:pt x="828" y="124"/>
                    </a:lnTo>
                    <a:lnTo>
                      <a:pt x="830" y="121"/>
                    </a:lnTo>
                    <a:lnTo>
                      <a:pt x="832" y="119"/>
                    </a:lnTo>
                    <a:lnTo>
                      <a:pt x="832" y="117"/>
                    </a:lnTo>
                    <a:lnTo>
                      <a:pt x="832" y="113"/>
                    </a:lnTo>
                    <a:lnTo>
                      <a:pt x="833" y="111"/>
                    </a:lnTo>
                    <a:lnTo>
                      <a:pt x="835" y="109"/>
                    </a:lnTo>
                    <a:lnTo>
                      <a:pt x="838" y="106"/>
                    </a:lnTo>
                    <a:lnTo>
                      <a:pt x="839" y="105"/>
                    </a:lnTo>
                    <a:lnTo>
                      <a:pt x="843" y="103"/>
                    </a:lnTo>
                    <a:lnTo>
                      <a:pt x="846" y="105"/>
                    </a:lnTo>
                    <a:lnTo>
                      <a:pt x="849" y="105"/>
                    </a:lnTo>
                    <a:lnTo>
                      <a:pt x="849" y="103"/>
                    </a:lnTo>
                    <a:lnTo>
                      <a:pt x="851" y="103"/>
                    </a:lnTo>
                    <a:lnTo>
                      <a:pt x="852" y="102"/>
                    </a:lnTo>
                    <a:lnTo>
                      <a:pt x="854" y="102"/>
                    </a:lnTo>
                    <a:lnTo>
                      <a:pt x="860" y="103"/>
                    </a:lnTo>
                    <a:lnTo>
                      <a:pt x="865" y="105"/>
                    </a:lnTo>
                    <a:lnTo>
                      <a:pt x="873" y="106"/>
                    </a:lnTo>
                    <a:lnTo>
                      <a:pt x="876" y="111"/>
                    </a:lnTo>
                    <a:lnTo>
                      <a:pt x="881" y="114"/>
                    </a:lnTo>
                    <a:lnTo>
                      <a:pt x="884" y="116"/>
                    </a:lnTo>
                    <a:lnTo>
                      <a:pt x="890" y="119"/>
                    </a:lnTo>
                    <a:lnTo>
                      <a:pt x="900" y="122"/>
                    </a:lnTo>
                    <a:lnTo>
                      <a:pt x="911" y="127"/>
                    </a:lnTo>
                    <a:lnTo>
                      <a:pt x="920" y="130"/>
                    </a:lnTo>
                    <a:lnTo>
                      <a:pt x="933" y="136"/>
                    </a:lnTo>
                    <a:lnTo>
                      <a:pt x="938" y="140"/>
                    </a:lnTo>
                    <a:lnTo>
                      <a:pt x="939" y="141"/>
                    </a:lnTo>
                    <a:lnTo>
                      <a:pt x="941" y="141"/>
                    </a:lnTo>
                    <a:lnTo>
                      <a:pt x="944" y="146"/>
                    </a:lnTo>
                    <a:lnTo>
                      <a:pt x="946" y="148"/>
                    </a:lnTo>
                    <a:lnTo>
                      <a:pt x="947" y="149"/>
                    </a:lnTo>
                    <a:lnTo>
                      <a:pt x="950" y="151"/>
                    </a:lnTo>
                    <a:lnTo>
                      <a:pt x="952" y="152"/>
                    </a:lnTo>
                    <a:lnTo>
                      <a:pt x="953" y="152"/>
                    </a:lnTo>
                    <a:lnTo>
                      <a:pt x="958" y="157"/>
                    </a:lnTo>
                    <a:lnTo>
                      <a:pt x="960" y="157"/>
                    </a:lnTo>
                    <a:lnTo>
                      <a:pt x="966" y="162"/>
                    </a:lnTo>
                    <a:lnTo>
                      <a:pt x="973" y="167"/>
                    </a:lnTo>
                    <a:lnTo>
                      <a:pt x="980" y="171"/>
                    </a:lnTo>
                    <a:lnTo>
                      <a:pt x="988" y="176"/>
                    </a:lnTo>
                    <a:lnTo>
                      <a:pt x="996" y="182"/>
                    </a:lnTo>
                    <a:lnTo>
                      <a:pt x="1003" y="186"/>
                    </a:lnTo>
                    <a:lnTo>
                      <a:pt x="1007" y="190"/>
                    </a:lnTo>
                    <a:lnTo>
                      <a:pt x="1014" y="195"/>
                    </a:lnTo>
                    <a:lnTo>
                      <a:pt x="1017" y="197"/>
                    </a:lnTo>
                    <a:lnTo>
                      <a:pt x="1023" y="201"/>
                    </a:lnTo>
                    <a:lnTo>
                      <a:pt x="1028" y="206"/>
                    </a:lnTo>
                    <a:lnTo>
                      <a:pt x="1034" y="211"/>
                    </a:lnTo>
                    <a:lnTo>
                      <a:pt x="1034" y="212"/>
                    </a:lnTo>
                    <a:lnTo>
                      <a:pt x="1047" y="219"/>
                    </a:lnTo>
                    <a:lnTo>
                      <a:pt x="1055" y="225"/>
                    </a:lnTo>
                    <a:lnTo>
                      <a:pt x="1063" y="231"/>
                    </a:lnTo>
                    <a:lnTo>
                      <a:pt x="1068" y="235"/>
                    </a:lnTo>
                    <a:lnTo>
                      <a:pt x="1072" y="236"/>
                    </a:lnTo>
                    <a:lnTo>
                      <a:pt x="1075" y="241"/>
                    </a:lnTo>
                    <a:lnTo>
                      <a:pt x="1080" y="244"/>
                    </a:lnTo>
                    <a:lnTo>
                      <a:pt x="1085" y="247"/>
                    </a:lnTo>
                    <a:lnTo>
                      <a:pt x="1091" y="252"/>
                    </a:lnTo>
                    <a:lnTo>
                      <a:pt x="1099" y="260"/>
                    </a:lnTo>
                    <a:lnTo>
                      <a:pt x="1106" y="266"/>
                    </a:lnTo>
                    <a:lnTo>
                      <a:pt x="1113" y="276"/>
                    </a:lnTo>
                    <a:lnTo>
                      <a:pt x="1120" y="282"/>
                    </a:lnTo>
                    <a:lnTo>
                      <a:pt x="1128" y="290"/>
                    </a:lnTo>
                    <a:lnTo>
                      <a:pt x="1140" y="300"/>
                    </a:lnTo>
                    <a:lnTo>
                      <a:pt x="1150" y="309"/>
                    </a:lnTo>
                    <a:lnTo>
                      <a:pt x="1156" y="317"/>
                    </a:lnTo>
                    <a:lnTo>
                      <a:pt x="1161" y="323"/>
                    </a:lnTo>
                    <a:lnTo>
                      <a:pt x="1163" y="325"/>
                    </a:lnTo>
                    <a:lnTo>
                      <a:pt x="1174" y="334"/>
                    </a:lnTo>
                    <a:lnTo>
                      <a:pt x="1177" y="339"/>
                    </a:lnTo>
                    <a:lnTo>
                      <a:pt x="1182" y="344"/>
                    </a:lnTo>
                    <a:lnTo>
                      <a:pt x="1190" y="352"/>
                    </a:lnTo>
                    <a:lnTo>
                      <a:pt x="1201" y="360"/>
                    </a:lnTo>
                    <a:lnTo>
                      <a:pt x="1209" y="368"/>
                    </a:lnTo>
                    <a:lnTo>
                      <a:pt x="1220" y="377"/>
                    </a:lnTo>
                    <a:lnTo>
                      <a:pt x="1226" y="382"/>
                    </a:lnTo>
                    <a:lnTo>
                      <a:pt x="1226" y="384"/>
                    </a:lnTo>
                    <a:lnTo>
                      <a:pt x="1228" y="384"/>
                    </a:lnTo>
                    <a:lnTo>
                      <a:pt x="1228" y="385"/>
                    </a:lnTo>
                    <a:lnTo>
                      <a:pt x="1231" y="387"/>
                    </a:lnTo>
                    <a:lnTo>
                      <a:pt x="1234" y="390"/>
                    </a:lnTo>
                    <a:lnTo>
                      <a:pt x="1237" y="393"/>
                    </a:lnTo>
                    <a:lnTo>
                      <a:pt x="1245" y="399"/>
                    </a:lnTo>
                    <a:lnTo>
                      <a:pt x="1256" y="409"/>
                    </a:lnTo>
                    <a:lnTo>
                      <a:pt x="1264" y="417"/>
                    </a:lnTo>
                    <a:lnTo>
                      <a:pt x="1278" y="426"/>
                    </a:lnTo>
                    <a:lnTo>
                      <a:pt x="1286" y="436"/>
                    </a:lnTo>
                    <a:lnTo>
                      <a:pt x="1296" y="445"/>
                    </a:lnTo>
                    <a:lnTo>
                      <a:pt x="1305" y="453"/>
                    </a:lnTo>
                    <a:lnTo>
                      <a:pt x="1313" y="458"/>
                    </a:lnTo>
                    <a:lnTo>
                      <a:pt x="1323" y="468"/>
                    </a:lnTo>
                    <a:lnTo>
                      <a:pt x="1327" y="474"/>
                    </a:lnTo>
                    <a:lnTo>
                      <a:pt x="1338" y="482"/>
                    </a:lnTo>
                    <a:lnTo>
                      <a:pt x="1346" y="490"/>
                    </a:lnTo>
                    <a:lnTo>
                      <a:pt x="1351" y="493"/>
                    </a:lnTo>
                    <a:lnTo>
                      <a:pt x="1359" y="499"/>
                    </a:lnTo>
                    <a:lnTo>
                      <a:pt x="1367" y="509"/>
                    </a:lnTo>
                    <a:lnTo>
                      <a:pt x="1373" y="514"/>
                    </a:lnTo>
                    <a:lnTo>
                      <a:pt x="1378" y="518"/>
                    </a:lnTo>
                    <a:lnTo>
                      <a:pt x="1380" y="521"/>
                    </a:lnTo>
                    <a:lnTo>
                      <a:pt x="1381" y="523"/>
                    </a:lnTo>
                    <a:lnTo>
                      <a:pt x="1383" y="525"/>
                    </a:lnTo>
                    <a:lnTo>
                      <a:pt x="1386" y="526"/>
                    </a:lnTo>
                    <a:lnTo>
                      <a:pt x="1386" y="528"/>
                    </a:lnTo>
                    <a:lnTo>
                      <a:pt x="1389" y="531"/>
                    </a:lnTo>
                    <a:lnTo>
                      <a:pt x="1395" y="536"/>
                    </a:lnTo>
                    <a:lnTo>
                      <a:pt x="1399" y="539"/>
                    </a:lnTo>
                    <a:lnTo>
                      <a:pt x="1400" y="540"/>
                    </a:lnTo>
                    <a:lnTo>
                      <a:pt x="1402" y="542"/>
                    </a:lnTo>
                    <a:lnTo>
                      <a:pt x="1402" y="544"/>
                    </a:lnTo>
                    <a:lnTo>
                      <a:pt x="1403" y="547"/>
                    </a:lnTo>
                    <a:lnTo>
                      <a:pt x="1405" y="548"/>
                    </a:lnTo>
                    <a:lnTo>
                      <a:pt x="1407" y="552"/>
                    </a:lnTo>
                    <a:lnTo>
                      <a:pt x="1411" y="556"/>
                    </a:lnTo>
                    <a:lnTo>
                      <a:pt x="1414" y="561"/>
                    </a:lnTo>
                    <a:lnTo>
                      <a:pt x="1418" y="566"/>
                    </a:lnTo>
                    <a:lnTo>
                      <a:pt x="1422" y="572"/>
                    </a:lnTo>
                    <a:lnTo>
                      <a:pt x="1426" y="578"/>
                    </a:lnTo>
                    <a:lnTo>
                      <a:pt x="1427" y="582"/>
                    </a:lnTo>
                    <a:lnTo>
                      <a:pt x="1432" y="588"/>
                    </a:lnTo>
                    <a:lnTo>
                      <a:pt x="1435" y="594"/>
                    </a:lnTo>
                    <a:lnTo>
                      <a:pt x="1440" y="601"/>
                    </a:lnTo>
                    <a:lnTo>
                      <a:pt x="1445" y="609"/>
                    </a:lnTo>
                    <a:lnTo>
                      <a:pt x="1451" y="617"/>
                    </a:lnTo>
                    <a:lnTo>
                      <a:pt x="1457" y="626"/>
                    </a:lnTo>
                    <a:lnTo>
                      <a:pt x="1460" y="631"/>
                    </a:lnTo>
                    <a:lnTo>
                      <a:pt x="1462" y="634"/>
                    </a:lnTo>
                    <a:lnTo>
                      <a:pt x="1467" y="639"/>
                    </a:lnTo>
                    <a:lnTo>
                      <a:pt x="1468" y="640"/>
                    </a:lnTo>
                    <a:lnTo>
                      <a:pt x="1473" y="647"/>
                    </a:lnTo>
                    <a:lnTo>
                      <a:pt x="1478" y="651"/>
                    </a:lnTo>
                    <a:lnTo>
                      <a:pt x="1483" y="659"/>
                    </a:lnTo>
                    <a:lnTo>
                      <a:pt x="1487" y="666"/>
                    </a:lnTo>
                    <a:lnTo>
                      <a:pt x="1494" y="672"/>
                    </a:lnTo>
                    <a:lnTo>
                      <a:pt x="1498" y="678"/>
                    </a:lnTo>
                    <a:lnTo>
                      <a:pt x="1500" y="680"/>
                    </a:lnTo>
                    <a:lnTo>
                      <a:pt x="1502" y="681"/>
                    </a:lnTo>
                    <a:lnTo>
                      <a:pt x="1505" y="686"/>
                    </a:lnTo>
                    <a:lnTo>
                      <a:pt x="1509" y="691"/>
                    </a:lnTo>
                    <a:lnTo>
                      <a:pt x="1513" y="694"/>
                    </a:lnTo>
                    <a:lnTo>
                      <a:pt x="1514" y="696"/>
                    </a:lnTo>
                    <a:lnTo>
                      <a:pt x="1517" y="700"/>
                    </a:lnTo>
                    <a:lnTo>
                      <a:pt x="1524" y="707"/>
                    </a:lnTo>
                    <a:lnTo>
                      <a:pt x="1517" y="713"/>
                    </a:lnTo>
                    <a:lnTo>
                      <a:pt x="1517" y="715"/>
                    </a:lnTo>
                    <a:lnTo>
                      <a:pt x="1516" y="715"/>
                    </a:lnTo>
                    <a:lnTo>
                      <a:pt x="1516" y="716"/>
                    </a:lnTo>
                    <a:lnTo>
                      <a:pt x="1514" y="716"/>
                    </a:lnTo>
                    <a:lnTo>
                      <a:pt x="1514" y="718"/>
                    </a:lnTo>
                    <a:lnTo>
                      <a:pt x="1513" y="720"/>
                    </a:lnTo>
                    <a:lnTo>
                      <a:pt x="1511" y="721"/>
                    </a:lnTo>
                    <a:lnTo>
                      <a:pt x="1511" y="723"/>
                    </a:lnTo>
                    <a:lnTo>
                      <a:pt x="1509" y="723"/>
                    </a:lnTo>
                    <a:lnTo>
                      <a:pt x="1509" y="724"/>
                    </a:lnTo>
                    <a:lnTo>
                      <a:pt x="1508" y="726"/>
                    </a:lnTo>
                    <a:lnTo>
                      <a:pt x="1508" y="727"/>
                    </a:lnTo>
                    <a:lnTo>
                      <a:pt x="1506" y="727"/>
                    </a:lnTo>
                    <a:lnTo>
                      <a:pt x="1506" y="729"/>
                    </a:lnTo>
                    <a:lnTo>
                      <a:pt x="1505" y="731"/>
                    </a:lnTo>
                    <a:lnTo>
                      <a:pt x="1503" y="732"/>
                    </a:lnTo>
                    <a:lnTo>
                      <a:pt x="1503" y="734"/>
                    </a:lnTo>
                    <a:lnTo>
                      <a:pt x="1502" y="734"/>
                    </a:lnTo>
                    <a:lnTo>
                      <a:pt x="1502" y="735"/>
                    </a:lnTo>
                    <a:lnTo>
                      <a:pt x="1500" y="737"/>
                    </a:lnTo>
                    <a:lnTo>
                      <a:pt x="1500" y="739"/>
                    </a:lnTo>
                    <a:lnTo>
                      <a:pt x="1500" y="740"/>
                    </a:lnTo>
                    <a:lnTo>
                      <a:pt x="1498" y="742"/>
                    </a:lnTo>
                    <a:lnTo>
                      <a:pt x="1498" y="743"/>
                    </a:lnTo>
                    <a:lnTo>
                      <a:pt x="1498" y="745"/>
                    </a:lnTo>
                    <a:lnTo>
                      <a:pt x="1497" y="746"/>
                    </a:lnTo>
                    <a:lnTo>
                      <a:pt x="1497" y="748"/>
                    </a:lnTo>
                    <a:lnTo>
                      <a:pt x="1497" y="750"/>
                    </a:lnTo>
                    <a:lnTo>
                      <a:pt x="1495" y="751"/>
                    </a:lnTo>
                    <a:lnTo>
                      <a:pt x="1495" y="753"/>
                    </a:lnTo>
                    <a:lnTo>
                      <a:pt x="1495" y="754"/>
                    </a:lnTo>
                    <a:lnTo>
                      <a:pt x="1495" y="756"/>
                    </a:lnTo>
                    <a:lnTo>
                      <a:pt x="1494" y="756"/>
                    </a:lnTo>
                    <a:lnTo>
                      <a:pt x="1494" y="758"/>
                    </a:lnTo>
                    <a:lnTo>
                      <a:pt x="1492" y="758"/>
                    </a:lnTo>
                    <a:lnTo>
                      <a:pt x="1492" y="759"/>
                    </a:lnTo>
                    <a:lnTo>
                      <a:pt x="1490" y="761"/>
                    </a:lnTo>
                    <a:lnTo>
                      <a:pt x="1489" y="761"/>
                    </a:lnTo>
                    <a:lnTo>
                      <a:pt x="1489" y="762"/>
                    </a:lnTo>
                    <a:lnTo>
                      <a:pt x="1487" y="762"/>
                    </a:lnTo>
                    <a:lnTo>
                      <a:pt x="1487" y="764"/>
                    </a:lnTo>
                    <a:lnTo>
                      <a:pt x="1484" y="767"/>
                    </a:lnTo>
                    <a:lnTo>
                      <a:pt x="1483" y="767"/>
                    </a:lnTo>
                    <a:lnTo>
                      <a:pt x="1481" y="769"/>
                    </a:lnTo>
                    <a:lnTo>
                      <a:pt x="1481" y="770"/>
                    </a:lnTo>
                    <a:lnTo>
                      <a:pt x="1479" y="772"/>
                    </a:lnTo>
                    <a:lnTo>
                      <a:pt x="1478" y="772"/>
                    </a:lnTo>
                    <a:lnTo>
                      <a:pt x="1476" y="775"/>
                    </a:lnTo>
                    <a:lnTo>
                      <a:pt x="1475" y="775"/>
                    </a:lnTo>
                    <a:lnTo>
                      <a:pt x="1475" y="777"/>
                    </a:lnTo>
                    <a:lnTo>
                      <a:pt x="1473" y="777"/>
                    </a:lnTo>
                    <a:lnTo>
                      <a:pt x="1471" y="778"/>
                    </a:lnTo>
                    <a:lnTo>
                      <a:pt x="1471" y="780"/>
                    </a:lnTo>
                    <a:lnTo>
                      <a:pt x="1470" y="780"/>
                    </a:lnTo>
                    <a:lnTo>
                      <a:pt x="1470" y="781"/>
                    </a:lnTo>
                    <a:lnTo>
                      <a:pt x="1468" y="783"/>
                    </a:lnTo>
                    <a:lnTo>
                      <a:pt x="1467" y="784"/>
                    </a:lnTo>
                    <a:lnTo>
                      <a:pt x="1467" y="786"/>
                    </a:lnTo>
                    <a:lnTo>
                      <a:pt x="1465" y="786"/>
                    </a:lnTo>
                    <a:lnTo>
                      <a:pt x="1465" y="788"/>
                    </a:lnTo>
                    <a:lnTo>
                      <a:pt x="1464" y="789"/>
                    </a:lnTo>
                    <a:lnTo>
                      <a:pt x="1464" y="791"/>
                    </a:lnTo>
                    <a:lnTo>
                      <a:pt x="1462" y="792"/>
                    </a:lnTo>
                    <a:lnTo>
                      <a:pt x="1462" y="794"/>
                    </a:lnTo>
                    <a:lnTo>
                      <a:pt x="1460" y="794"/>
                    </a:lnTo>
                    <a:lnTo>
                      <a:pt x="1460" y="796"/>
                    </a:lnTo>
                    <a:lnTo>
                      <a:pt x="1459" y="797"/>
                    </a:lnTo>
                    <a:lnTo>
                      <a:pt x="1459" y="799"/>
                    </a:lnTo>
                    <a:lnTo>
                      <a:pt x="1457" y="799"/>
                    </a:lnTo>
                    <a:lnTo>
                      <a:pt x="1457" y="800"/>
                    </a:lnTo>
                    <a:lnTo>
                      <a:pt x="1457" y="802"/>
                    </a:lnTo>
                    <a:lnTo>
                      <a:pt x="1456" y="803"/>
                    </a:lnTo>
                    <a:lnTo>
                      <a:pt x="1454" y="805"/>
                    </a:lnTo>
                    <a:lnTo>
                      <a:pt x="1454" y="807"/>
                    </a:lnTo>
                    <a:lnTo>
                      <a:pt x="1452" y="807"/>
                    </a:lnTo>
                    <a:lnTo>
                      <a:pt x="1452" y="808"/>
                    </a:lnTo>
                    <a:lnTo>
                      <a:pt x="1451" y="810"/>
                    </a:lnTo>
                    <a:lnTo>
                      <a:pt x="1449" y="811"/>
                    </a:lnTo>
                    <a:lnTo>
                      <a:pt x="1448" y="813"/>
                    </a:lnTo>
                    <a:lnTo>
                      <a:pt x="1448" y="815"/>
                    </a:lnTo>
                    <a:lnTo>
                      <a:pt x="1448" y="816"/>
                    </a:lnTo>
                    <a:lnTo>
                      <a:pt x="1446" y="818"/>
                    </a:lnTo>
                    <a:lnTo>
                      <a:pt x="1446" y="819"/>
                    </a:lnTo>
                    <a:lnTo>
                      <a:pt x="1446" y="821"/>
                    </a:lnTo>
                    <a:lnTo>
                      <a:pt x="1446" y="822"/>
                    </a:lnTo>
                    <a:lnTo>
                      <a:pt x="1445" y="822"/>
                    </a:lnTo>
                    <a:lnTo>
                      <a:pt x="1445" y="824"/>
                    </a:lnTo>
                    <a:lnTo>
                      <a:pt x="1443" y="824"/>
                    </a:lnTo>
                    <a:lnTo>
                      <a:pt x="1443" y="822"/>
                    </a:lnTo>
                    <a:lnTo>
                      <a:pt x="1443" y="824"/>
                    </a:lnTo>
                    <a:lnTo>
                      <a:pt x="1441" y="826"/>
                    </a:lnTo>
                    <a:lnTo>
                      <a:pt x="1440" y="827"/>
                    </a:lnTo>
                    <a:lnTo>
                      <a:pt x="1438" y="829"/>
                    </a:lnTo>
                    <a:lnTo>
                      <a:pt x="1437" y="834"/>
                    </a:lnTo>
                    <a:lnTo>
                      <a:pt x="1435" y="835"/>
                    </a:lnTo>
                    <a:lnTo>
                      <a:pt x="1435" y="837"/>
                    </a:lnTo>
                    <a:lnTo>
                      <a:pt x="1433" y="838"/>
                    </a:lnTo>
                    <a:lnTo>
                      <a:pt x="1432" y="840"/>
                    </a:lnTo>
                    <a:lnTo>
                      <a:pt x="1429" y="843"/>
                    </a:lnTo>
                    <a:lnTo>
                      <a:pt x="1424" y="849"/>
                    </a:lnTo>
                    <a:lnTo>
                      <a:pt x="1421" y="853"/>
                    </a:lnTo>
                    <a:lnTo>
                      <a:pt x="1421" y="854"/>
                    </a:lnTo>
                    <a:lnTo>
                      <a:pt x="1419" y="856"/>
                    </a:lnTo>
                    <a:lnTo>
                      <a:pt x="1416" y="862"/>
                    </a:lnTo>
                    <a:lnTo>
                      <a:pt x="1414" y="865"/>
                    </a:lnTo>
                    <a:lnTo>
                      <a:pt x="1413" y="867"/>
                    </a:lnTo>
                    <a:lnTo>
                      <a:pt x="1413" y="868"/>
                    </a:lnTo>
                    <a:lnTo>
                      <a:pt x="1411" y="868"/>
                    </a:lnTo>
                    <a:lnTo>
                      <a:pt x="1411" y="870"/>
                    </a:lnTo>
                    <a:lnTo>
                      <a:pt x="1410" y="872"/>
                    </a:lnTo>
                    <a:lnTo>
                      <a:pt x="1410" y="873"/>
                    </a:lnTo>
                    <a:lnTo>
                      <a:pt x="1408" y="873"/>
                    </a:lnTo>
                    <a:lnTo>
                      <a:pt x="1408" y="875"/>
                    </a:lnTo>
                    <a:lnTo>
                      <a:pt x="1407" y="876"/>
                    </a:lnTo>
                    <a:lnTo>
                      <a:pt x="1407" y="878"/>
                    </a:lnTo>
                    <a:lnTo>
                      <a:pt x="1405" y="878"/>
                    </a:lnTo>
                    <a:lnTo>
                      <a:pt x="1405" y="880"/>
                    </a:lnTo>
                    <a:lnTo>
                      <a:pt x="1403" y="880"/>
                    </a:lnTo>
                    <a:lnTo>
                      <a:pt x="1403" y="881"/>
                    </a:lnTo>
                    <a:lnTo>
                      <a:pt x="1402" y="881"/>
                    </a:lnTo>
                    <a:lnTo>
                      <a:pt x="1402" y="883"/>
                    </a:lnTo>
                    <a:lnTo>
                      <a:pt x="1400" y="884"/>
                    </a:lnTo>
                    <a:lnTo>
                      <a:pt x="1400" y="886"/>
                    </a:lnTo>
                    <a:lnTo>
                      <a:pt x="1399" y="886"/>
                    </a:lnTo>
                    <a:lnTo>
                      <a:pt x="1399" y="887"/>
                    </a:lnTo>
                    <a:lnTo>
                      <a:pt x="1397" y="889"/>
                    </a:lnTo>
                    <a:lnTo>
                      <a:pt x="1397" y="891"/>
                    </a:lnTo>
                    <a:lnTo>
                      <a:pt x="1395" y="892"/>
                    </a:lnTo>
                    <a:lnTo>
                      <a:pt x="1395" y="894"/>
                    </a:lnTo>
                    <a:lnTo>
                      <a:pt x="1394" y="894"/>
                    </a:lnTo>
                    <a:lnTo>
                      <a:pt x="1394" y="895"/>
                    </a:lnTo>
                    <a:lnTo>
                      <a:pt x="1392" y="895"/>
                    </a:lnTo>
                    <a:lnTo>
                      <a:pt x="1392" y="897"/>
                    </a:lnTo>
                    <a:lnTo>
                      <a:pt x="1391" y="899"/>
                    </a:lnTo>
                    <a:lnTo>
                      <a:pt x="1389" y="900"/>
                    </a:lnTo>
                    <a:lnTo>
                      <a:pt x="1388" y="902"/>
                    </a:lnTo>
                    <a:lnTo>
                      <a:pt x="1386" y="902"/>
                    </a:lnTo>
                    <a:lnTo>
                      <a:pt x="1386" y="903"/>
                    </a:lnTo>
                    <a:lnTo>
                      <a:pt x="1384" y="903"/>
                    </a:lnTo>
                    <a:lnTo>
                      <a:pt x="1383" y="903"/>
                    </a:lnTo>
                    <a:lnTo>
                      <a:pt x="1381" y="903"/>
                    </a:lnTo>
                    <a:lnTo>
                      <a:pt x="1380" y="905"/>
                    </a:lnTo>
                    <a:lnTo>
                      <a:pt x="1376" y="905"/>
                    </a:lnTo>
                    <a:lnTo>
                      <a:pt x="1375" y="906"/>
                    </a:lnTo>
                    <a:lnTo>
                      <a:pt x="1373" y="906"/>
                    </a:lnTo>
                    <a:lnTo>
                      <a:pt x="1372" y="906"/>
                    </a:lnTo>
                    <a:lnTo>
                      <a:pt x="1372" y="908"/>
                    </a:lnTo>
                    <a:lnTo>
                      <a:pt x="1372" y="910"/>
                    </a:lnTo>
                    <a:lnTo>
                      <a:pt x="1372" y="911"/>
                    </a:lnTo>
                    <a:lnTo>
                      <a:pt x="1372" y="913"/>
                    </a:lnTo>
                    <a:lnTo>
                      <a:pt x="1372" y="914"/>
                    </a:lnTo>
                    <a:lnTo>
                      <a:pt x="1372" y="916"/>
                    </a:lnTo>
                    <a:lnTo>
                      <a:pt x="1372" y="918"/>
                    </a:lnTo>
                    <a:lnTo>
                      <a:pt x="1370" y="919"/>
                    </a:lnTo>
                    <a:lnTo>
                      <a:pt x="1369" y="919"/>
                    </a:lnTo>
                    <a:lnTo>
                      <a:pt x="1367" y="919"/>
                    </a:lnTo>
                    <a:lnTo>
                      <a:pt x="1365" y="921"/>
                    </a:lnTo>
                    <a:lnTo>
                      <a:pt x="1357" y="924"/>
                    </a:lnTo>
                    <a:lnTo>
                      <a:pt x="1356" y="924"/>
                    </a:lnTo>
                    <a:lnTo>
                      <a:pt x="1354" y="924"/>
                    </a:lnTo>
                    <a:lnTo>
                      <a:pt x="1353" y="925"/>
                    </a:lnTo>
                    <a:lnTo>
                      <a:pt x="1353" y="927"/>
                    </a:lnTo>
                    <a:lnTo>
                      <a:pt x="1353" y="929"/>
                    </a:lnTo>
                    <a:lnTo>
                      <a:pt x="1351" y="930"/>
                    </a:lnTo>
                    <a:lnTo>
                      <a:pt x="1351" y="933"/>
                    </a:lnTo>
                    <a:lnTo>
                      <a:pt x="1350" y="933"/>
                    </a:lnTo>
                    <a:lnTo>
                      <a:pt x="1350" y="935"/>
                    </a:lnTo>
                    <a:lnTo>
                      <a:pt x="1350" y="937"/>
                    </a:lnTo>
                    <a:lnTo>
                      <a:pt x="1348" y="941"/>
                    </a:lnTo>
                    <a:lnTo>
                      <a:pt x="1348" y="943"/>
                    </a:lnTo>
                    <a:lnTo>
                      <a:pt x="1346" y="943"/>
                    </a:lnTo>
                    <a:lnTo>
                      <a:pt x="1346" y="944"/>
                    </a:lnTo>
                    <a:lnTo>
                      <a:pt x="1346" y="946"/>
                    </a:lnTo>
                    <a:lnTo>
                      <a:pt x="1346" y="948"/>
                    </a:lnTo>
                    <a:lnTo>
                      <a:pt x="1346" y="949"/>
                    </a:lnTo>
                    <a:lnTo>
                      <a:pt x="1346" y="951"/>
                    </a:lnTo>
                    <a:lnTo>
                      <a:pt x="1346" y="952"/>
                    </a:lnTo>
                    <a:lnTo>
                      <a:pt x="1345" y="954"/>
                    </a:lnTo>
                    <a:lnTo>
                      <a:pt x="1345" y="956"/>
                    </a:lnTo>
                    <a:lnTo>
                      <a:pt x="1345" y="959"/>
                    </a:lnTo>
                    <a:lnTo>
                      <a:pt x="1345" y="962"/>
                    </a:lnTo>
                    <a:lnTo>
                      <a:pt x="1345" y="965"/>
                    </a:lnTo>
                    <a:lnTo>
                      <a:pt x="1345" y="968"/>
                    </a:lnTo>
                    <a:lnTo>
                      <a:pt x="1345" y="970"/>
                    </a:lnTo>
                    <a:lnTo>
                      <a:pt x="1345" y="971"/>
                    </a:lnTo>
                    <a:lnTo>
                      <a:pt x="1343" y="973"/>
                    </a:lnTo>
                    <a:lnTo>
                      <a:pt x="1343" y="975"/>
                    </a:lnTo>
                    <a:lnTo>
                      <a:pt x="1342" y="975"/>
                    </a:lnTo>
                    <a:lnTo>
                      <a:pt x="1342" y="976"/>
                    </a:lnTo>
                    <a:lnTo>
                      <a:pt x="1342" y="978"/>
                    </a:lnTo>
                    <a:lnTo>
                      <a:pt x="1340" y="978"/>
                    </a:lnTo>
                    <a:lnTo>
                      <a:pt x="1340" y="979"/>
                    </a:lnTo>
                    <a:lnTo>
                      <a:pt x="1338" y="981"/>
                    </a:lnTo>
                    <a:lnTo>
                      <a:pt x="1338" y="983"/>
                    </a:lnTo>
                    <a:lnTo>
                      <a:pt x="1338" y="984"/>
                    </a:lnTo>
                    <a:lnTo>
                      <a:pt x="1338" y="986"/>
                    </a:lnTo>
                    <a:lnTo>
                      <a:pt x="1337" y="989"/>
                    </a:lnTo>
                    <a:lnTo>
                      <a:pt x="1337" y="990"/>
                    </a:lnTo>
                    <a:lnTo>
                      <a:pt x="1337" y="992"/>
                    </a:lnTo>
                    <a:lnTo>
                      <a:pt x="1335" y="992"/>
                    </a:lnTo>
                    <a:lnTo>
                      <a:pt x="1335" y="994"/>
                    </a:lnTo>
                    <a:lnTo>
                      <a:pt x="1335" y="995"/>
                    </a:lnTo>
                    <a:lnTo>
                      <a:pt x="1335" y="997"/>
                    </a:lnTo>
                    <a:lnTo>
                      <a:pt x="1335" y="998"/>
                    </a:lnTo>
                    <a:lnTo>
                      <a:pt x="1337" y="998"/>
                    </a:lnTo>
                    <a:lnTo>
                      <a:pt x="1337" y="1002"/>
                    </a:lnTo>
                    <a:lnTo>
                      <a:pt x="1337" y="1003"/>
                    </a:lnTo>
                    <a:lnTo>
                      <a:pt x="1337" y="1005"/>
                    </a:lnTo>
                    <a:lnTo>
                      <a:pt x="1338" y="1005"/>
                    </a:lnTo>
                    <a:lnTo>
                      <a:pt x="1338" y="1008"/>
                    </a:lnTo>
                    <a:lnTo>
                      <a:pt x="1338" y="1009"/>
                    </a:lnTo>
                    <a:lnTo>
                      <a:pt x="1338" y="1011"/>
                    </a:lnTo>
                    <a:lnTo>
                      <a:pt x="1338" y="1013"/>
                    </a:lnTo>
                    <a:lnTo>
                      <a:pt x="1340" y="1013"/>
                    </a:lnTo>
                    <a:lnTo>
                      <a:pt x="1340" y="1014"/>
                    </a:lnTo>
                    <a:lnTo>
                      <a:pt x="1340" y="1016"/>
                    </a:lnTo>
                    <a:lnTo>
                      <a:pt x="1340" y="1017"/>
                    </a:lnTo>
                    <a:lnTo>
                      <a:pt x="1342" y="1021"/>
                    </a:lnTo>
                    <a:lnTo>
                      <a:pt x="1342" y="1022"/>
                    </a:lnTo>
                    <a:lnTo>
                      <a:pt x="1342" y="1024"/>
                    </a:lnTo>
                    <a:lnTo>
                      <a:pt x="1343" y="1025"/>
                    </a:lnTo>
                    <a:lnTo>
                      <a:pt x="1343" y="1027"/>
                    </a:lnTo>
                    <a:lnTo>
                      <a:pt x="1343" y="1028"/>
                    </a:lnTo>
                    <a:lnTo>
                      <a:pt x="1343" y="1030"/>
                    </a:lnTo>
                    <a:lnTo>
                      <a:pt x="1345" y="1032"/>
                    </a:lnTo>
                    <a:lnTo>
                      <a:pt x="1345" y="1035"/>
                    </a:lnTo>
                    <a:lnTo>
                      <a:pt x="1345" y="1036"/>
                    </a:lnTo>
                    <a:lnTo>
                      <a:pt x="1345" y="1038"/>
                    </a:lnTo>
                    <a:lnTo>
                      <a:pt x="1345" y="1041"/>
                    </a:lnTo>
                    <a:lnTo>
                      <a:pt x="1345" y="1046"/>
                    </a:lnTo>
                    <a:lnTo>
                      <a:pt x="1345" y="1049"/>
                    </a:lnTo>
                    <a:lnTo>
                      <a:pt x="1345" y="1054"/>
                    </a:lnTo>
                    <a:lnTo>
                      <a:pt x="1345" y="1065"/>
                    </a:lnTo>
                    <a:lnTo>
                      <a:pt x="1345" y="1067"/>
                    </a:lnTo>
                    <a:lnTo>
                      <a:pt x="1345" y="1068"/>
                    </a:lnTo>
                    <a:lnTo>
                      <a:pt x="1345" y="1070"/>
                    </a:lnTo>
                    <a:lnTo>
                      <a:pt x="1345" y="1079"/>
                    </a:lnTo>
                    <a:lnTo>
                      <a:pt x="1345" y="1082"/>
                    </a:lnTo>
                    <a:lnTo>
                      <a:pt x="1345" y="1084"/>
                    </a:lnTo>
                    <a:lnTo>
                      <a:pt x="1345" y="1092"/>
                    </a:lnTo>
                    <a:lnTo>
                      <a:pt x="1345" y="1093"/>
                    </a:lnTo>
                    <a:lnTo>
                      <a:pt x="1345" y="1097"/>
                    </a:lnTo>
                    <a:lnTo>
                      <a:pt x="1345" y="1098"/>
                    </a:lnTo>
                    <a:lnTo>
                      <a:pt x="1345" y="1100"/>
                    </a:lnTo>
                    <a:lnTo>
                      <a:pt x="1345" y="1101"/>
                    </a:lnTo>
                    <a:lnTo>
                      <a:pt x="1345" y="1103"/>
                    </a:lnTo>
                    <a:lnTo>
                      <a:pt x="1345" y="1105"/>
                    </a:lnTo>
                    <a:lnTo>
                      <a:pt x="1345" y="1120"/>
                    </a:lnTo>
                    <a:lnTo>
                      <a:pt x="1345" y="1122"/>
                    </a:lnTo>
                    <a:lnTo>
                      <a:pt x="1345" y="1124"/>
                    </a:lnTo>
                    <a:lnTo>
                      <a:pt x="1345" y="1128"/>
                    </a:lnTo>
                    <a:lnTo>
                      <a:pt x="1345" y="1136"/>
                    </a:lnTo>
                    <a:lnTo>
                      <a:pt x="1343" y="1138"/>
                    </a:lnTo>
                    <a:lnTo>
                      <a:pt x="1343" y="1139"/>
                    </a:lnTo>
                    <a:lnTo>
                      <a:pt x="1342" y="1141"/>
                    </a:lnTo>
                    <a:lnTo>
                      <a:pt x="1342" y="1144"/>
                    </a:lnTo>
                    <a:lnTo>
                      <a:pt x="1343" y="1146"/>
                    </a:lnTo>
                    <a:lnTo>
                      <a:pt x="1345" y="1147"/>
                    </a:lnTo>
                    <a:lnTo>
                      <a:pt x="1346" y="1147"/>
                    </a:lnTo>
                    <a:lnTo>
                      <a:pt x="1348" y="1147"/>
                    </a:lnTo>
                    <a:lnTo>
                      <a:pt x="1348" y="1149"/>
                    </a:lnTo>
                    <a:lnTo>
                      <a:pt x="1350" y="1149"/>
                    </a:lnTo>
                    <a:lnTo>
                      <a:pt x="1353" y="1149"/>
                    </a:lnTo>
                    <a:lnTo>
                      <a:pt x="1354" y="1149"/>
                    </a:lnTo>
                    <a:lnTo>
                      <a:pt x="1357" y="1150"/>
                    </a:lnTo>
                    <a:lnTo>
                      <a:pt x="1361" y="1152"/>
                    </a:lnTo>
                    <a:lnTo>
                      <a:pt x="1362" y="1152"/>
                    </a:lnTo>
                    <a:lnTo>
                      <a:pt x="1364" y="1152"/>
                    </a:lnTo>
                    <a:lnTo>
                      <a:pt x="1365" y="1152"/>
                    </a:lnTo>
                    <a:lnTo>
                      <a:pt x="1365" y="1154"/>
                    </a:lnTo>
                    <a:lnTo>
                      <a:pt x="1367" y="1154"/>
                    </a:lnTo>
                    <a:lnTo>
                      <a:pt x="1370" y="1154"/>
                    </a:lnTo>
                    <a:lnTo>
                      <a:pt x="1372" y="1155"/>
                    </a:lnTo>
                    <a:lnTo>
                      <a:pt x="1375" y="1155"/>
                    </a:lnTo>
                    <a:lnTo>
                      <a:pt x="1378" y="1157"/>
                    </a:lnTo>
                    <a:lnTo>
                      <a:pt x="1383" y="1155"/>
                    </a:lnTo>
                    <a:lnTo>
                      <a:pt x="1384" y="1157"/>
                    </a:lnTo>
                    <a:lnTo>
                      <a:pt x="1384" y="1158"/>
                    </a:lnTo>
                    <a:lnTo>
                      <a:pt x="1384" y="1160"/>
                    </a:lnTo>
                    <a:lnTo>
                      <a:pt x="1384" y="1162"/>
                    </a:lnTo>
                    <a:lnTo>
                      <a:pt x="1386" y="1163"/>
                    </a:lnTo>
                    <a:lnTo>
                      <a:pt x="1388" y="1163"/>
                    </a:lnTo>
                    <a:lnTo>
                      <a:pt x="1389" y="1163"/>
                    </a:lnTo>
                    <a:lnTo>
                      <a:pt x="1391" y="1163"/>
                    </a:lnTo>
                    <a:lnTo>
                      <a:pt x="1392" y="1163"/>
                    </a:lnTo>
                    <a:lnTo>
                      <a:pt x="1392" y="1162"/>
                    </a:lnTo>
                    <a:lnTo>
                      <a:pt x="1392" y="1160"/>
                    </a:lnTo>
                    <a:lnTo>
                      <a:pt x="1394" y="1160"/>
                    </a:lnTo>
                    <a:lnTo>
                      <a:pt x="1395" y="1160"/>
                    </a:lnTo>
                    <a:lnTo>
                      <a:pt x="1397" y="1160"/>
                    </a:lnTo>
                    <a:lnTo>
                      <a:pt x="1399" y="1160"/>
                    </a:lnTo>
                    <a:lnTo>
                      <a:pt x="1400" y="1160"/>
                    </a:lnTo>
                    <a:lnTo>
                      <a:pt x="1403" y="1160"/>
                    </a:lnTo>
                    <a:lnTo>
                      <a:pt x="1407" y="1160"/>
                    </a:lnTo>
                    <a:lnTo>
                      <a:pt x="1408" y="1160"/>
                    </a:lnTo>
                    <a:lnTo>
                      <a:pt x="1411" y="1160"/>
                    </a:lnTo>
                    <a:lnTo>
                      <a:pt x="1413" y="1160"/>
                    </a:lnTo>
                    <a:lnTo>
                      <a:pt x="1414" y="1160"/>
                    </a:lnTo>
                    <a:lnTo>
                      <a:pt x="1416" y="1160"/>
                    </a:lnTo>
                    <a:lnTo>
                      <a:pt x="1418" y="1160"/>
                    </a:lnTo>
                    <a:lnTo>
                      <a:pt x="1419" y="1160"/>
                    </a:lnTo>
                    <a:lnTo>
                      <a:pt x="1422" y="1160"/>
                    </a:lnTo>
                    <a:lnTo>
                      <a:pt x="1422" y="1158"/>
                    </a:lnTo>
                    <a:lnTo>
                      <a:pt x="1424" y="1157"/>
                    </a:lnTo>
                    <a:lnTo>
                      <a:pt x="1422" y="1157"/>
                    </a:lnTo>
                    <a:lnTo>
                      <a:pt x="1422" y="1155"/>
                    </a:lnTo>
                    <a:lnTo>
                      <a:pt x="1424" y="1154"/>
                    </a:lnTo>
                    <a:lnTo>
                      <a:pt x="1424" y="1152"/>
                    </a:lnTo>
                    <a:lnTo>
                      <a:pt x="1426" y="1152"/>
                    </a:lnTo>
                    <a:lnTo>
                      <a:pt x="1426" y="1150"/>
                    </a:lnTo>
                    <a:lnTo>
                      <a:pt x="1427" y="1150"/>
                    </a:lnTo>
                    <a:lnTo>
                      <a:pt x="1429" y="1150"/>
                    </a:lnTo>
                    <a:lnTo>
                      <a:pt x="1430" y="1150"/>
                    </a:lnTo>
                    <a:lnTo>
                      <a:pt x="1432" y="1150"/>
                    </a:lnTo>
                    <a:lnTo>
                      <a:pt x="1433" y="1149"/>
                    </a:lnTo>
                    <a:lnTo>
                      <a:pt x="1433" y="1147"/>
                    </a:lnTo>
                    <a:lnTo>
                      <a:pt x="1438" y="1147"/>
                    </a:lnTo>
                    <a:lnTo>
                      <a:pt x="1438" y="1146"/>
                    </a:lnTo>
                    <a:lnTo>
                      <a:pt x="1440" y="1146"/>
                    </a:lnTo>
                    <a:lnTo>
                      <a:pt x="1441" y="1146"/>
                    </a:lnTo>
                    <a:lnTo>
                      <a:pt x="1441" y="1144"/>
                    </a:lnTo>
                    <a:lnTo>
                      <a:pt x="1443" y="1144"/>
                    </a:lnTo>
                    <a:lnTo>
                      <a:pt x="1445" y="1144"/>
                    </a:lnTo>
                    <a:lnTo>
                      <a:pt x="1445" y="1146"/>
                    </a:lnTo>
                    <a:lnTo>
                      <a:pt x="1445" y="1147"/>
                    </a:lnTo>
                    <a:lnTo>
                      <a:pt x="1446" y="1146"/>
                    </a:lnTo>
                    <a:lnTo>
                      <a:pt x="1449" y="1146"/>
                    </a:lnTo>
                    <a:lnTo>
                      <a:pt x="1451" y="1146"/>
                    </a:lnTo>
                    <a:lnTo>
                      <a:pt x="1452" y="1146"/>
                    </a:lnTo>
                    <a:lnTo>
                      <a:pt x="1454" y="1146"/>
                    </a:lnTo>
                    <a:lnTo>
                      <a:pt x="1456" y="1146"/>
                    </a:lnTo>
                    <a:lnTo>
                      <a:pt x="1457" y="1146"/>
                    </a:lnTo>
                    <a:lnTo>
                      <a:pt x="1459" y="1146"/>
                    </a:lnTo>
                    <a:lnTo>
                      <a:pt x="1459" y="1147"/>
                    </a:lnTo>
                    <a:lnTo>
                      <a:pt x="1459" y="1149"/>
                    </a:lnTo>
                    <a:lnTo>
                      <a:pt x="1460" y="1149"/>
                    </a:lnTo>
                    <a:lnTo>
                      <a:pt x="1462" y="1149"/>
                    </a:lnTo>
                    <a:lnTo>
                      <a:pt x="1467" y="1149"/>
                    </a:lnTo>
                    <a:lnTo>
                      <a:pt x="1468" y="1147"/>
                    </a:lnTo>
                    <a:lnTo>
                      <a:pt x="1470" y="1147"/>
                    </a:lnTo>
                    <a:lnTo>
                      <a:pt x="1471" y="1147"/>
                    </a:lnTo>
                    <a:lnTo>
                      <a:pt x="1473" y="1147"/>
                    </a:lnTo>
                    <a:lnTo>
                      <a:pt x="1475" y="1147"/>
                    </a:lnTo>
                    <a:lnTo>
                      <a:pt x="1476" y="1147"/>
                    </a:lnTo>
                    <a:lnTo>
                      <a:pt x="1479" y="1147"/>
                    </a:lnTo>
                    <a:lnTo>
                      <a:pt x="1481" y="1147"/>
                    </a:lnTo>
                    <a:lnTo>
                      <a:pt x="1483" y="1146"/>
                    </a:lnTo>
                    <a:lnTo>
                      <a:pt x="1484" y="1144"/>
                    </a:lnTo>
                    <a:lnTo>
                      <a:pt x="1484" y="1143"/>
                    </a:lnTo>
                    <a:lnTo>
                      <a:pt x="1486" y="1143"/>
                    </a:lnTo>
                    <a:lnTo>
                      <a:pt x="1487" y="1143"/>
                    </a:lnTo>
                    <a:lnTo>
                      <a:pt x="1489" y="1143"/>
                    </a:lnTo>
                    <a:lnTo>
                      <a:pt x="1489" y="1141"/>
                    </a:lnTo>
                    <a:lnTo>
                      <a:pt x="1490" y="1141"/>
                    </a:lnTo>
                    <a:lnTo>
                      <a:pt x="1494" y="1141"/>
                    </a:lnTo>
                    <a:lnTo>
                      <a:pt x="1495" y="1141"/>
                    </a:lnTo>
                    <a:lnTo>
                      <a:pt x="1497" y="1141"/>
                    </a:lnTo>
                    <a:lnTo>
                      <a:pt x="1498" y="1141"/>
                    </a:lnTo>
                    <a:lnTo>
                      <a:pt x="1500" y="1139"/>
                    </a:lnTo>
                    <a:lnTo>
                      <a:pt x="1502" y="1139"/>
                    </a:lnTo>
                    <a:lnTo>
                      <a:pt x="1503" y="1138"/>
                    </a:lnTo>
                    <a:lnTo>
                      <a:pt x="1505" y="1138"/>
                    </a:lnTo>
                    <a:lnTo>
                      <a:pt x="1505" y="1139"/>
                    </a:lnTo>
                    <a:lnTo>
                      <a:pt x="1506" y="1139"/>
                    </a:lnTo>
                    <a:lnTo>
                      <a:pt x="1508" y="1139"/>
                    </a:lnTo>
                    <a:lnTo>
                      <a:pt x="1509" y="1139"/>
                    </a:lnTo>
                    <a:lnTo>
                      <a:pt x="1511" y="1139"/>
                    </a:lnTo>
                    <a:lnTo>
                      <a:pt x="1513" y="1139"/>
                    </a:lnTo>
                    <a:lnTo>
                      <a:pt x="1513" y="1141"/>
                    </a:lnTo>
                    <a:lnTo>
                      <a:pt x="1514" y="1141"/>
                    </a:lnTo>
                    <a:lnTo>
                      <a:pt x="1517" y="1141"/>
                    </a:lnTo>
                    <a:lnTo>
                      <a:pt x="1517" y="1143"/>
                    </a:lnTo>
                    <a:lnTo>
                      <a:pt x="1519" y="1143"/>
                    </a:lnTo>
                    <a:lnTo>
                      <a:pt x="1522" y="1143"/>
                    </a:lnTo>
                    <a:lnTo>
                      <a:pt x="1525" y="1144"/>
                    </a:lnTo>
                    <a:lnTo>
                      <a:pt x="1527" y="1143"/>
                    </a:lnTo>
                    <a:lnTo>
                      <a:pt x="1528" y="1141"/>
                    </a:lnTo>
                    <a:lnTo>
                      <a:pt x="1530" y="1141"/>
                    </a:lnTo>
                    <a:lnTo>
                      <a:pt x="1532" y="1139"/>
                    </a:lnTo>
                    <a:lnTo>
                      <a:pt x="1535" y="1138"/>
                    </a:lnTo>
                    <a:lnTo>
                      <a:pt x="1535" y="1136"/>
                    </a:lnTo>
                    <a:lnTo>
                      <a:pt x="1536" y="1136"/>
                    </a:lnTo>
                    <a:lnTo>
                      <a:pt x="1538" y="1135"/>
                    </a:lnTo>
                    <a:lnTo>
                      <a:pt x="1540" y="1133"/>
                    </a:lnTo>
                    <a:lnTo>
                      <a:pt x="1541" y="1133"/>
                    </a:lnTo>
                    <a:lnTo>
                      <a:pt x="1541" y="1131"/>
                    </a:lnTo>
                    <a:lnTo>
                      <a:pt x="1543" y="1131"/>
                    </a:lnTo>
                    <a:lnTo>
                      <a:pt x="1544" y="1131"/>
                    </a:lnTo>
                    <a:lnTo>
                      <a:pt x="1544" y="1130"/>
                    </a:lnTo>
                    <a:lnTo>
                      <a:pt x="1546" y="1130"/>
                    </a:lnTo>
                    <a:lnTo>
                      <a:pt x="1548" y="1128"/>
                    </a:lnTo>
                    <a:lnTo>
                      <a:pt x="1549" y="1127"/>
                    </a:lnTo>
                    <a:lnTo>
                      <a:pt x="1551" y="1127"/>
                    </a:lnTo>
                    <a:lnTo>
                      <a:pt x="1552" y="1127"/>
                    </a:lnTo>
                    <a:lnTo>
                      <a:pt x="1554" y="1125"/>
                    </a:lnTo>
                    <a:lnTo>
                      <a:pt x="1555" y="1125"/>
                    </a:lnTo>
                    <a:lnTo>
                      <a:pt x="1557" y="1125"/>
                    </a:lnTo>
                    <a:lnTo>
                      <a:pt x="1557" y="1124"/>
                    </a:lnTo>
                    <a:lnTo>
                      <a:pt x="1559" y="1124"/>
                    </a:lnTo>
                    <a:lnTo>
                      <a:pt x="1562" y="1122"/>
                    </a:lnTo>
                    <a:lnTo>
                      <a:pt x="1563" y="1122"/>
                    </a:lnTo>
                    <a:lnTo>
                      <a:pt x="1567" y="1122"/>
                    </a:lnTo>
                    <a:lnTo>
                      <a:pt x="1568" y="1120"/>
                    </a:lnTo>
                    <a:lnTo>
                      <a:pt x="1570" y="1120"/>
                    </a:lnTo>
                    <a:lnTo>
                      <a:pt x="1571" y="1119"/>
                    </a:lnTo>
                    <a:lnTo>
                      <a:pt x="1573" y="1119"/>
                    </a:lnTo>
                    <a:lnTo>
                      <a:pt x="1574" y="1119"/>
                    </a:lnTo>
                    <a:lnTo>
                      <a:pt x="1576" y="1119"/>
                    </a:lnTo>
                    <a:lnTo>
                      <a:pt x="1578" y="1119"/>
                    </a:lnTo>
                    <a:lnTo>
                      <a:pt x="1579" y="1117"/>
                    </a:lnTo>
                    <a:lnTo>
                      <a:pt x="1579" y="1116"/>
                    </a:lnTo>
                    <a:lnTo>
                      <a:pt x="1579" y="1114"/>
                    </a:lnTo>
                    <a:lnTo>
                      <a:pt x="1581" y="1114"/>
                    </a:lnTo>
                    <a:lnTo>
                      <a:pt x="1582" y="1112"/>
                    </a:lnTo>
                    <a:lnTo>
                      <a:pt x="1584" y="1111"/>
                    </a:lnTo>
                    <a:lnTo>
                      <a:pt x="1586" y="1111"/>
                    </a:lnTo>
                    <a:lnTo>
                      <a:pt x="1587" y="1111"/>
                    </a:lnTo>
                    <a:lnTo>
                      <a:pt x="1589" y="1111"/>
                    </a:lnTo>
                    <a:lnTo>
                      <a:pt x="1589" y="1112"/>
                    </a:lnTo>
                    <a:lnTo>
                      <a:pt x="1590" y="1112"/>
                    </a:lnTo>
                    <a:lnTo>
                      <a:pt x="1592" y="1112"/>
                    </a:lnTo>
                    <a:lnTo>
                      <a:pt x="1592" y="1114"/>
                    </a:lnTo>
                    <a:lnTo>
                      <a:pt x="1593" y="1116"/>
                    </a:lnTo>
                    <a:lnTo>
                      <a:pt x="1595" y="1116"/>
                    </a:lnTo>
                    <a:lnTo>
                      <a:pt x="1597" y="1117"/>
                    </a:lnTo>
                    <a:lnTo>
                      <a:pt x="1598" y="1117"/>
                    </a:lnTo>
                    <a:lnTo>
                      <a:pt x="1600" y="1119"/>
                    </a:lnTo>
                    <a:lnTo>
                      <a:pt x="1601" y="1119"/>
                    </a:lnTo>
                    <a:lnTo>
                      <a:pt x="1601" y="1120"/>
                    </a:lnTo>
                    <a:lnTo>
                      <a:pt x="1603" y="1122"/>
                    </a:lnTo>
                    <a:lnTo>
                      <a:pt x="1605" y="1122"/>
                    </a:lnTo>
                    <a:lnTo>
                      <a:pt x="1606" y="1122"/>
                    </a:lnTo>
                    <a:lnTo>
                      <a:pt x="1606" y="1120"/>
                    </a:lnTo>
                    <a:lnTo>
                      <a:pt x="1608" y="1120"/>
                    </a:lnTo>
                    <a:lnTo>
                      <a:pt x="1609" y="1120"/>
                    </a:lnTo>
                    <a:lnTo>
                      <a:pt x="1611" y="1120"/>
                    </a:lnTo>
                    <a:lnTo>
                      <a:pt x="1612" y="1119"/>
                    </a:lnTo>
                    <a:lnTo>
                      <a:pt x="1614" y="1119"/>
                    </a:lnTo>
                    <a:lnTo>
                      <a:pt x="1616" y="1119"/>
                    </a:lnTo>
                    <a:lnTo>
                      <a:pt x="1617" y="1119"/>
                    </a:lnTo>
                    <a:lnTo>
                      <a:pt x="1619" y="1119"/>
                    </a:lnTo>
                    <a:lnTo>
                      <a:pt x="1619" y="1117"/>
                    </a:lnTo>
                    <a:lnTo>
                      <a:pt x="1619" y="1116"/>
                    </a:lnTo>
                    <a:lnTo>
                      <a:pt x="1620" y="1116"/>
                    </a:lnTo>
                    <a:lnTo>
                      <a:pt x="1622" y="1116"/>
                    </a:lnTo>
                    <a:lnTo>
                      <a:pt x="1624" y="1116"/>
                    </a:lnTo>
                    <a:lnTo>
                      <a:pt x="1624" y="1117"/>
                    </a:lnTo>
                    <a:lnTo>
                      <a:pt x="1624" y="1119"/>
                    </a:lnTo>
                    <a:lnTo>
                      <a:pt x="1624" y="1120"/>
                    </a:lnTo>
                    <a:lnTo>
                      <a:pt x="1625" y="1120"/>
                    </a:lnTo>
                    <a:lnTo>
                      <a:pt x="1625" y="1122"/>
                    </a:lnTo>
                    <a:lnTo>
                      <a:pt x="1627" y="1122"/>
                    </a:lnTo>
                    <a:lnTo>
                      <a:pt x="1627" y="1124"/>
                    </a:lnTo>
                    <a:lnTo>
                      <a:pt x="1628" y="1125"/>
                    </a:lnTo>
                    <a:lnTo>
                      <a:pt x="1630" y="1128"/>
                    </a:lnTo>
                    <a:lnTo>
                      <a:pt x="1630" y="1130"/>
                    </a:lnTo>
                    <a:lnTo>
                      <a:pt x="1630" y="1131"/>
                    </a:lnTo>
                    <a:lnTo>
                      <a:pt x="1631" y="1131"/>
                    </a:lnTo>
                    <a:lnTo>
                      <a:pt x="1631" y="1133"/>
                    </a:lnTo>
                    <a:lnTo>
                      <a:pt x="1631" y="1135"/>
                    </a:lnTo>
                    <a:lnTo>
                      <a:pt x="1630" y="1135"/>
                    </a:lnTo>
                    <a:lnTo>
                      <a:pt x="1630" y="1136"/>
                    </a:lnTo>
                  </a:path>
                </a:pathLst>
              </a:custGeom>
              <a:noFill/>
              <a:ln w="4763">
                <a:solidFill>
                  <a:srgbClr val="68686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76" name="Freeform 74"/>
              <p:cNvSpPr>
                <a:spLocks/>
              </p:cNvSpPr>
              <p:nvPr/>
            </p:nvSpPr>
            <p:spPr bwMode="auto">
              <a:xfrm>
                <a:off x="4265" y="1782"/>
                <a:ext cx="1548" cy="1613"/>
              </a:xfrm>
              <a:custGeom>
                <a:avLst/>
                <a:gdLst>
                  <a:gd name="T0" fmla="*/ 34 w 1548"/>
                  <a:gd name="T1" fmla="*/ 7 h 1613"/>
                  <a:gd name="T2" fmla="*/ 45 w 1548"/>
                  <a:gd name="T3" fmla="*/ 8 h 1613"/>
                  <a:gd name="T4" fmla="*/ 53 w 1548"/>
                  <a:gd name="T5" fmla="*/ 11 h 1613"/>
                  <a:gd name="T6" fmla="*/ 61 w 1548"/>
                  <a:gd name="T7" fmla="*/ 11 h 1613"/>
                  <a:gd name="T8" fmla="*/ 67 w 1548"/>
                  <a:gd name="T9" fmla="*/ 10 h 1613"/>
                  <a:gd name="T10" fmla="*/ 81 w 1548"/>
                  <a:gd name="T11" fmla="*/ 7 h 1613"/>
                  <a:gd name="T12" fmla="*/ 56 w 1548"/>
                  <a:gd name="T13" fmla="*/ 40 h 1613"/>
                  <a:gd name="T14" fmla="*/ 37 w 1548"/>
                  <a:gd name="T15" fmla="*/ 67 h 1613"/>
                  <a:gd name="T16" fmla="*/ 11 w 1548"/>
                  <a:gd name="T17" fmla="*/ 105 h 1613"/>
                  <a:gd name="T18" fmla="*/ 0 w 1548"/>
                  <a:gd name="T19" fmla="*/ 117 h 1613"/>
                  <a:gd name="T20" fmla="*/ 7 w 1548"/>
                  <a:gd name="T21" fmla="*/ 136 h 1613"/>
                  <a:gd name="T22" fmla="*/ 19 w 1548"/>
                  <a:gd name="T23" fmla="*/ 144 h 1613"/>
                  <a:gd name="T24" fmla="*/ 35 w 1548"/>
                  <a:gd name="T25" fmla="*/ 190 h 1613"/>
                  <a:gd name="T26" fmla="*/ 46 w 1548"/>
                  <a:gd name="T27" fmla="*/ 217 h 1613"/>
                  <a:gd name="T28" fmla="*/ 57 w 1548"/>
                  <a:gd name="T29" fmla="*/ 233 h 1613"/>
                  <a:gd name="T30" fmla="*/ 92 w 1548"/>
                  <a:gd name="T31" fmla="*/ 265 h 1613"/>
                  <a:gd name="T32" fmla="*/ 106 w 1548"/>
                  <a:gd name="T33" fmla="*/ 295 h 1613"/>
                  <a:gd name="T34" fmla="*/ 118 w 1548"/>
                  <a:gd name="T35" fmla="*/ 320 h 1613"/>
                  <a:gd name="T36" fmla="*/ 133 w 1548"/>
                  <a:gd name="T37" fmla="*/ 328 h 1613"/>
                  <a:gd name="T38" fmla="*/ 141 w 1548"/>
                  <a:gd name="T39" fmla="*/ 327 h 1613"/>
                  <a:gd name="T40" fmla="*/ 171 w 1548"/>
                  <a:gd name="T41" fmla="*/ 357 h 1613"/>
                  <a:gd name="T42" fmla="*/ 176 w 1548"/>
                  <a:gd name="T43" fmla="*/ 385 h 1613"/>
                  <a:gd name="T44" fmla="*/ 187 w 1548"/>
                  <a:gd name="T45" fmla="*/ 409 h 1613"/>
                  <a:gd name="T46" fmla="*/ 202 w 1548"/>
                  <a:gd name="T47" fmla="*/ 419 h 1613"/>
                  <a:gd name="T48" fmla="*/ 213 w 1548"/>
                  <a:gd name="T49" fmla="*/ 436 h 1613"/>
                  <a:gd name="T50" fmla="*/ 230 w 1548"/>
                  <a:gd name="T51" fmla="*/ 464 h 1613"/>
                  <a:gd name="T52" fmla="*/ 249 w 1548"/>
                  <a:gd name="T53" fmla="*/ 476 h 1613"/>
                  <a:gd name="T54" fmla="*/ 270 w 1548"/>
                  <a:gd name="T55" fmla="*/ 482 h 1613"/>
                  <a:gd name="T56" fmla="*/ 287 w 1548"/>
                  <a:gd name="T57" fmla="*/ 488 h 1613"/>
                  <a:gd name="T58" fmla="*/ 325 w 1548"/>
                  <a:gd name="T59" fmla="*/ 526 h 1613"/>
                  <a:gd name="T60" fmla="*/ 355 w 1548"/>
                  <a:gd name="T61" fmla="*/ 556 h 1613"/>
                  <a:gd name="T62" fmla="*/ 381 w 1548"/>
                  <a:gd name="T63" fmla="*/ 583 h 1613"/>
                  <a:gd name="T64" fmla="*/ 426 w 1548"/>
                  <a:gd name="T65" fmla="*/ 601 h 1613"/>
                  <a:gd name="T66" fmla="*/ 463 w 1548"/>
                  <a:gd name="T67" fmla="*/ 612 h 1613"/>
                  <a:gd name="T68" fmla="*/ 520 w 1548"/>
                  <a:gd name="T69" fmla="*/ 631 h 1613"/>
                  <a:gd name="T70" fmla="*/ 556 w 1548"/>
                  <a:gd name="T71" fmla="*/ 644 h 1613"/>
                  <a:gd name="T72" fmla="*/ 620 w 1548"/>
                  <a:gd name="T73" fmla="*/ 664 h 1613"/>
                  <a:gd name="T74" fmla="*/ 677 w 1548"/>
                  <a:gd name="T75" fmla="*/ 683 h 1613"/>
                  <a:gd name="T76" fmla="*/ 731 w 1548"/>
                  <a:gd name="T77" fmla="*/ 702 h 1613"/>
                  <a:gd name="T78" fmla="*/ 802 w 1548"/>
                  <a:gd name="T79" fmla="*/ 724 h 1613"/>
                  <a:gd name="T80" fmla="*/ 837 w 1548"/>
                  <a:gd name="T81" fmla="*/ 735 h 1613"/>
                  <a:gd name="T82" fmla="*/ 872 w 1548"/>
                  <a:gd name="T83" fmla="*/ 748 h 1613"/>
                  <a:gd name="T84" fmla="*/ 941 w 1548"/>
                  <a:gd name="T85" fmla="*/ 770 h 1613"/>
                  <a:gd name="T86" fmla="*/ 986 w 1548"/>
                  <a:gd name="T87" fmla="*/ 785 h 1613"/>
                  <a:gd name="T88" fmla="*/ 1013 w 1548"/>
                  <a:gd name="T89" fmla="*/ 794 h 1613"/>
                  <a:gd name="T90" fmla="*/ 1038 w 1548"/>
                  <a:gd name="T91" fmla="*/ 802 h 1613"/>
                  <a:gd name="T92" fmla="*/ 1082 w 1548"/>
                  <a:gd name="T93" fmla="*/ 818 h 1613"/>
                  <a:gd name="T94" fmla="*/ 1117 w 1548"/>
                  <a:gd name="T95" fmla="*/ 829 h 1613"/>
                  <a:gd name="T96" fmla="*/ 1152 w 1548"/>
                  <a:gd name="T97" fmla="*/ 842 h 1613"/>
                  <a:gd name="T98" fmla="*/ 1222 w 1548"/>
                  <a:gd name="T99" fmla="*/ 865 h 1613"/>
                  <a:gd name="T100" fmla="*/ 1260 w 1548"/>
                  <a:gd name="T101" fmla="*/ 878 h 1613"/>
                  <a:gd name="T102" fmla="*/ 1377 w 1548"/>
                  <a:gd name="T103" fmla="*/ 878 h 1613"/>
                  <a:gd name="T104" fmla="*/ 1494 w 1548"/>
                  <a:gd name="T105" fmla="*/ 878 h 1613"/>
                  <a:gd name="T106" fmla="*/ 1423 w 1548"/>
                  <a:gd name="T107" fmla="*/ 1006 h 1613"/>
                  <a:gd name="T108" fmla="*/ 1125 w 1548"/>
                  <a:gd name="T109" fmla="*/ 1311 h 1613"/>
                  <a:gd name="T110" fmla="*/ 941 w 1548"/>
                  <a:gd name="T111" fmla="*/ 1499 h 1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48" h="1613">
                    <a:moveTo>
                      <a:pt x="29" y="0"/>
                    </a:moveTo>
                    <a:lnTo>
                      <a:pt x="30" y="2"/>
                    </a:lnTo>
                    <a:lnTo>
                      <a:pt x="30" y="3"/>
                    </a:lnTo>
                    <a:lnTo>
                      <a:pt x="32" y="7"/>
                    </a:lnTo>
                    <a:lnTo>
                      <a:pt x="34" y="7"/>
                    </a:lnTo>
                    <a:lnTo>
                      <a:pt x="35" y="7"/>
                    </a:lnTo>
                    <a:lnTo>
                      <a:pt x="42" y="7"/>
                    </a:lnTo>
                    <a:lnTo>
                      <a:pt x="43" y="7"/>
                    </a:lnTo>
                    <a:lnTo>
                      <a:pt x="45" y="7"/>
                    </a:lnTo>
                    <a:lnTo>
                      <a:pt x="45" y="8"/>
                    </a:lnTo>
                    <a:lnTo>
                      <a:pt x="48" y="8"/>
                    </a:lnTo>
                    <a:lnTo>
                      <a:pt x="49" y="8"/>
                    </a:lnTo>
                    <a:lnTo>
                      <a:pt x="51" y="8"/>
                    </a:lnTo>
                    <a:lnTo>
                      <a:pt x="53" y="10"/>
                    </a:lnTo>
                    <a:lnTo>
                      <a:pt x="53" y="11"/>
                    </a:lnTo>
                    <a:lnTo>
                      <a:pt x="54" y="11"/>
                    </a:lnTo>
                    <a:lnTo>
                      <a:pt x="56" y="11"/>
                    </a:lnTo>
                    <a:lnTo>
                      <a:pt x="57" y="10"/>
                    </a:lnTo>
                    <a:lnTo>
                      <a:pt x="59" y="11"/>
                    </a:lnTo>
                    <a:lnTo>
                      <a:pt x="61" y="11"/>
                    </a:lnTo>
                    <a:lnTo>
                      <a:pt x="62" y="11"/>
                    </a:lnTo>
                    <a:lnTo>
                      <a:pt x="64" y="11"/>
                    </a:lnTo>
                    <a:lnTo>
                      <a:pt x="64" y="10"/>
                    </a:lnTo>
                    <a:lnTo>
                      <a:pt x="65" y="10"/>
                    </a:lnTo>
                    <a:lnTo>
                      <a:pt x="67" y="10"/>
                    </a:lnTo>
                    <a:lnTo>
                      <a:pt x="68" y="10"/>
                    </a:lnTo>
                    <a:lnTo>
                      <a:pt x="68" y="8"/>
                    </a:lnTo>
                    <a:lnTo>
                      <a:pt x="76" y="7"/>
                    </a:lnTo>
                    <a:lnTo>
                      <a:pt x="78" y="7"/>
                    </a:lnTo>
                    <a:lnTo>
                      <a:pt x="81" y="7"/>
                    </a:lnTo>
                    <a:lnTo>
                      <a:pt x="73" y="18"/>
                    </a:lnTo>
                    <a:lnTo>
                      <a:pt x="70" y="22"/>
                    </a:lnTo>
                    <a:lnTo>
                      <a:pt x="67" y="27"/>
                    </a:lnTo>
                    <a:lnTo>
                      <a:pt x="59" y="37"/>
                    </a:lnTo>
                    <a:lnTo>
                      <a:pt x="56" y="40"/>
                    </a:lnTo>
                    <a:lnTo>
                      <a:pt x="54" y="43"/>
                    </a:lnTo>
                    <a:lnTo>
                      <a:pt x="53" y="45"/>
                    </a:lnTo>
                    <a:lnTo>
                      <a:pt x="51" y="49"/>
                    </a:lnTo>
                    <a:lnTo>
                      <a:pt x="46" y="54"/>
                    </a:lnTo>
                    <a:lnTo>
                      <a:pt x="37" y="67"/>
                    </a:lnTo>
                    <a:lnTo>
                      <a:pt x="34" y="72"/>
                    </a:lnTo>
                    <a:lnTo>
                      <a:pt x="30" y="75"/>
                    </a:lnTo>
                    <a:lnTo>
                      <a:pt x="24" y="84"/>
                    </a:lnTo>
                    <a:lnTo>
                      <a:pt x="16" y="97"/>
                    </a:lnTo>
                    <a:lnTo>
                      <a:pt x="11" y="105"/>
                    </a:lnTo>
                    <a:lnTo>
                      <a:pt x="10" y="105"/>
                    </a:lnTo>
                    <a:lnTo>
                      <a:pt x="7" y="108"/>
                    </a:lnTo>
                    <a:lnTo>
                      <a:pt x="4" y="111"/>
                    </a:lnTo>
                    <a:lnTo>
                      <a:pt x="0" y="116"/>
                    </a:lnTo>
                    <a:lnTo>
                      <a:pt x="0" y="117"/>
                    </a:lnTo>
                    <a:lnTo>
                      <a:pt x="0" y="121"/>
                    </a:lnTo>
                    <a:lnTo>
                      <a:pt x="2" y="127"/>
                    </a:lnTo>
                    <a:lnTo>
                      <a:pt x="4" y="132"/>
                    </a:lnTo>
                    <a:lnTo>
                      <a:pt x="5" y="135"/>
                    </a:lnTo>
                    <a:lnTo>
                      <a:pt x="7" y="136"/>
                    </a:lnTo>
                    <a:lnTo>
                      <a:pt x="10" y="140"/>
                    </a:lnTo>
                    <a:lnTo>
                      <a:pt x="11" y="140"/>
                    </a:lnTo>
                    <a:lnTo>
                      <a:pt x="15" y="141"/>
                    </a:lnTo>
                    <a:lnTo>
                      <a:pt x="16" y="143"/>
                    </a:lnTo>
                    <a:lnTo>
                      <a:pt x="19" y="144"/>
                    </a:lnTo>
                    <a:lnTo>
                      <a:pt x="21" y="155"/>
                    </a:lnTo>
                    <a:lnTo>
                      <a:pt x="21" y="157"/>
                    </a:lnTo>
                    <a:lnTo>
                      <a:pt x="24" y="160"/>
                    </a:lnTo>
                    <a:lnTo>
                      <a:pt x="32" y="176"/>
                    </a:lnTo>
                    <a:lnTo>
                      <a:pt x="35" y="190"/>
                    </a:lnTo>
                    <a:lnTo>
                      <a:pt x="35" y="192"/>
                    </a:lnTo>
                    <a:lnTo>
                      <a:pt x="37" y="195"/>
                    </a:lnTo>
                    <a:lnTo>
                      <a:pt x="38" y="200"/>
                    </a:lnTo>
                    <a:lnTo>
                      <a:pt x="43" y="213"/>
                    </a:lnTo>
                    <a:lnTo>
                      <a:pt x="46" y="217"/>
                    </a:lnTo>
                    <a:lnTo>
                      <a:pt x="49" y="222"/>
                    </a:lnTo>
                    <a:lnTo>
                      <a:pt x="49" y="224"/>
                    </a:lnTo>
                    <a:lnTo>
                      <a:pt x="51" y="225"/>
                    </a:lnTo>
                    <a:lnTo>
                      <a:pt x="53" y="228"/>
                    </a:lnTo>
                    <a:lnTo>
                      <a:pt x="57" y="233"/>
                    </a:lnTo>
                    <a:lnTo>
                      <a:pt x="62" y="238"/>
                    </a:lnTo>
                    <a:lnTo>
                      <a:pt x="76" y="251"/>
                    </a:lnTo>
                    <a:lnTo>
                      <a:pt x="86" y="260"/>
                    </a:lnTo>
                    <a:lnTo>
                      <a:pt x="91" y="263"/>
                    </a:lnTo>
                    <a:lnTo>
                      <a:pt x="92" y="265"/>
                    </a:lnTo>
                    <a:lnTo>
                      <a:pt x="95" y="268"/>
                    </a:lnTo>
                    <a:lnTo>
                      <a:pt x="97" y="271"/>
                    </a:lnTo>
                    <a:lnTo>
                      <a:pt x="102" y="279"/>
                    </a:lnTo>
                    <a:lnTo>
                      <a:pt x="103" y="285"/>
                    </a:lnTo>
                    <a:lnTo>
                      <a:pt x="106" y="295"/>
                    </a:lnTo>
                    <a:lnTo>
                      <a:pt x="111" y="304"/>
                    </a:lnTo>
                    <a:lnTo>
                      <a:pt x="111" y="306"/>
                    </a:lnTo>
                    <a:lnTo>
                      <a:pt x="114" y="314"/>
                    </a:lnTo>
                    <a:lnTo>
                      <a:pt x="118" y="319"/>
                    </a:lnTo>
                    <a:lnTo>
                      <a:pt x="118" y="320"/>
                    </a:lnTo>
                    <a:lnTo>
                      <a:pt x="119" y="322"/>
                    </a:lnTo>
                    <a:lnTo>
                      <a:pt x="122" y="325"/>
                    </a:lnTo>
                    <a:lnTo>
                      <a:pt x="126" y="327"/>
                    </a:lnTo>
                    <a:lnTo>
                      <a:pt x="130" y="328"/>
                    </a:lnTo>
                    <a:lnTo>
                      <a:pt x="133" y="328"/>
                    </a:lnTo>
                    <a:lnTo>
                      <a:pt x="135" y="325"/>
                    </a:lnTo>
                    <a:lnTo>
                      <a:pt x="135" y="323"/>
                    </a:lnTo>
                    <a:lnTo>
                      <a:pt x="137" y="323"/>
                    </a:lnTo>
                    <a:lnTo>
                      <a:pt x="140" y="327"/>
                    </a:lnTo>
                    <a:lnTo>
                      <a:pt x="141" y="327"/>
                    </a:lnTo>
                    <a:lnTo>
                      <a:pt x="146" y="328"/>
                    </a:lnTo>
                    <a:lnTo>
                      <a:pt x="159" y="336"/>
                    </a:lnTo>
                    <a:lnTo>
                      <a:pt x="168" y="341"/>
                    </a:lnTo>
                    <a:lnTo>
                      <a:pt x="170" y="349"/>
                    </a:lnTo>
                    <a:lnTo>
                      <a:pt x="171" y="357"/>
                    </a:lnTo>
                    <a:lnTo>
                      <a:pt x="171" y="361"/>
                    </a:lnTo>
                    <a:lnTo>
                      <a:pt x="173" y="368"/>
                    </a:lnTo>
                    <a:lnTo>
                      <a:pt x="173" y="373"/>
                    </a:lnTo>
                    <a:lnTo>
                      <a:pt x="175" y="382"/>
                    </a:lnTo>
                    <a:lnTo>
                      <a:pt x="176" y="385"/>
                    </a:lnTo>
                    <a:lnTo>
                      <a:pt x="178" y="395"/>
                    </a:lnTo>
                    <a:lnTo>
                      <a:pt x="178" y="398"/>
                    </a:lnTo>
                    <a:lnTo>
                      <a:pt x="179" y="407"/>
                    </a:lnTo>
                    <a:lnTo>
                      <a:pt x="183" y="409"/>
                    </a:lnTo>
                    <a:lnTo>
                      <a:pt x="187" y="409"/>
                    </a:lnTo>
                    <a:lnTo>
                      <a:pt x="192" y="411"/>
                    </a:lnTo>
                    <a:lnTo>
                      <a:pt x="192" y="412"/>
                    </a:lnTo>
                    <a:lnTo>
                      <a:pt x="195" y="414"/>
                    </a:lnTo>
                    <a:lnTo>
                      <a:pt x="198" y="415"/>
                    </a:lnTo>
                    <a:lnTo>
                      <a:pt x="202" y="419"/>
                    </a:lnTo>
                    <a:lnTo>
                      <a:pt x="202" y="420"/>
                    </a:lnTo>
                    <a:lnTo>
                      <a:pt x="209" y="425"/>
                    </a:lnTo>
                    <a:lnTo>
                      <a:pt x="211" y="426"/>
                    </a:lnTo>
                    <a:lnTo>
                      <a:pt x="213" y="431"/>
                    </a:lnTo>
                    <a:lnTo>
                      <a:pt x="213" y="436"/>
                    </a:lnTo>
                    <a:lnTo>
                      <a:pt x="214" y="439"/>
                    </a:lnTo>
                    <a:lnTo>
                      <a:pt x="219" y="449"/>
                    </a:lnTo>
                    <a:lnTo>
                      <a:pt x="222" y="457"/>
                    </a:lnTo>
                    <a:lnTo>
                      <a:pt x="224" y="457"/>
                    </a:lnTo>
                    <a:lnTo>
                      <a:pt x="230" y="464"/>
                    </a:lnTo>
                    <a:lnTo>
                      <a:pt x="235" y="469"/>
                    </a:lnTo>
                    <a:lnTo>
                      <a:pt x="236" y="469"/>
                    </a:lnTo>
                    <a:lnTo>
                      <a:pt x="238" y="469"/>
                    </a:lnTo>
                    <a:lnTo>
                      <a:pt x="244" y="474"/>
                    </a:lnTo>
                    <a:lnTo>
                      <a:pt x="249" y="476"/>
                    </a:lnTo>
                    <a:lnTo>
                      <a:pt x="257" y="477"/>
                    </a:lnTo>
                    <a:lnTo>
                      <a:pt x="260" y="479"/>
                    </a:lnTo>
                    <a:lnTo>
                      <a:pt x="266" y="480"/>
                    </a:lnTo>
                    <a:lnTo>
                      <a:pt x="268" y="482"/>
                    </a:lnTo>
                    <a:lnTo>
                      <a:pt x="270" y="482"/>
                    </a:lnTo>
                    <a:lnTo>
                      <a:pt x="281" y="482"/>
                    </a:lnTo>
                    <a:lnTo>
                      <a:pt x="284" y="483"/>
                    </a:lnTo>
                    <a:lnTo>
                      <a:pt x="285" y="487"/>
                    </a:lnTo>
                    <a:lnTo>
                      <a:pt x="287" y="487"/>
                    </a:lnTo>
                    <a:lnTo>
                      <a:pt x="287" y="488"/>
                    </a:lnTo>
                    <a:lnTo>
                      <a:pt x="295" y="495"/>
                    </a:lnTo>
                    <a:lnTo>
                      <a:pt x="300" y="499"/>
                    </a:lnTo>
                    <a:lnTo>
                      <a:pt x="316" y="517"/>
                    </a:lnTo>
                    <a:lnTo>
                      <a:pt x="317" y="518"/>
                    </a:lnTo>
                    <a:lnTo>
                      <a:pt x="325" y="526"/>
                    </a:lnTo>
                    <a:lnTo>
                      <a:pt x="327" y="526"/>
                    </a:lnTo>
                    <a:lnTo>
                      <a:pt x="328" y="529"/>
                    </a:lnTo>
                    <a:lnTo>
                      <a:pt x="347" y="548"/>
                    </a:lnTo>
                    <a:lnTo>
                      <a:pt x="350" y="553"/>
                    </a:lnTo>
                    <a:lnTo>
                      <a:pt x="355" y="556"/>
                    </a:lnTo>
                    <a:lnTo>
                      <a:pt x="376" y="579"/>
                    </a:lnTo>
                    <a:lnTo>
                      <a:pt x="377" y="580"/>
                    </a:lnTo>
                    <a:lnTo>
                      <a:pt x="379" y="582"/>
                    </a:lnTo>
                    <a:lnTo>
                      <a:pt x="381" y="582"/>
                    </a:lnTo>
                    <a:lnTo>
                      <a:pt x="381" y="583"/>
                    </a:lnTo>
                    <a:lnTo>
                      <a:pt x="387" y="586"/>
                    </a:lnTo>
                    <a:lnTo>
                      <a:pt x="395" y="590"/>
                    </a:lnTo>
                    <a:lnTo>
                      <a:pt x="396" y="590"/>
                    </a:lnTo>
                    <a:lnTo>
                      <a:pt x="415" y="598"/>
                    </a:lnTo>
                    <a:lnTo>
                      <a:pt x="426" y="601"/>
                    </a:lnTo>
                    <a:lnTo>
                      <a:pt x="438" y="604"/>
                    </a:lnTo>
                    <a:lnTo>
                      <a:pt x="450" y="609"/>
                    </a:lnTo>
                    <a:lnTo>
                      <a:pt x="453" y="609"/>
                    </a:lnTo>
                    <a:lnTo>
                      <a:pt x="458" y="610"/>
                    </a:lnTo>
                    <a:lnTo>
                      <a:pt x="463" y="612"/>
                    </a:lnTo>
                    <a:lnTo>
                      <a:pt x="479" y="617"/>
                    </a:lnTo>
                    <a:lnTo>
                      <a:pt x="485" y="620"/>
                    </a:lnTo>
                    <a:lnTo>
                      <a:pt x="495" y="623"/>
                    </a:lnTo>
                    <a:lnTo>
                      <a:pt x="514" y="629"/>
                    </a:lnTo>
                    <a:lnTo>
                      <a:pt x="520" y="631"/>
                    </a:lnTo>
                    <a:lnTo>
                      <a:pt x="531" y="634"/>
                    </a:lnTo>
                    <a:lnTo>
                      <a:pt x="536" y="636"/>
                    </a:lnTo>
                    <a:lnTo>
                      <a:pt x="537" y="637"/>
                    </a:lnTo>
                    <a:lnTo>
                      <a:pt x="547" y="640"/>
                    </a:lnTo>
                    <a:lnTo>
                      <a:pt x="556" y="644"/>
                    </a:lnTo>
                    <a:lnTo>
                      <a:pt x="586" y="653"/>
                    </a:lnTo>
                    <a:lnTo>
                      <a:pt x="591" y="655"/>
                    </a:lnTo>
                    <a:lnTo>
                      <a:pt x="612" y="663"/>
                    </a:lnTo>
                    <a:lnTo>
                      <a:pt x="617" y="664"/>
                    </a:lnTo>
                    <a:lnTo>
                      <a:pt x="620" y="664"/>
                    </a:lnTo>
                    <a:lnTo>
                      <a:pt x="628" y="667"/>
                    </a:lnTo>
                    <a:lnTo>
                      <a:pt x="637" y="670"/>
                    </a:lnTo>
                    <a:lnTo>
                      <a:pt x="661" y="678"/>
                    </a:lnTo>
                    <a:lnTo>
                      <a:pt x="674" y="683"/>
                    </a:lnTo>
                    <a:lnTo>
                      <a:pt x="677" y="683"/>
                    </a:lnTo>
                    <a:lnTo>
                      <a:pt x="677" y="685"/>
                    </a:lnTo>
                    <a:lnTo>
                      <a:pt x="696" y="689"/>
                    </a:lnTo>
                    <a:lnTo>
                      <a:pt x="705" y="693"/>
                    </a:lnTo>
                    <a:lnTo>
                      <a:pt x="712" y="696"/>
                    </a:lnTo>
                    <a:lnTo>
                      <a:pt x="731" y="702"/>
                    </a:lnTo>
                    <a:lnTo>
                      <a:pt x="746" y="707"/>
                    </a:lnTo>
                    <a:lnTo>
                      <a:pt x="751" y="708"/>
                    </a:lnTo>
                    <a:lnTo>
                      <a:pt x="754" y="710"/>
                    </a:lnTo>
                    <a:lnTo>
                      <a:pt x="767" y="713"/>
                    </a:lnTo>
                    <a:lnTo>
                      <a:pt x="802" y="724"/>
                    </a:lnTo>
                    <a:lnTo>
                      <a:pt x="816" y="729"/>
                    </a:lnTo>
                    <a:lnTo>
                      <a:pt x="821" y="731"/>
                    </a:lnTo>
                    <a:lnTo>
                      <a:pt x="826" y="732"/>
                    </a:lnTo>
                    <a:lnTo>
                      <a:pt x="830" y="734"/>
                    </a:lnTo>
                    <a:lnTo>
                      <a:pt x="837" y="735"/>
                    </a:lnTo>
                    <a:lnTo>
                      <a:pt x="854" y="742"/>
                    </a:lnTo>
                    <a:lnTo>
                      <a:pt x="859" y="743"/>
                    </a:lnTo>
                    <a:lnTo>
                      <a:pt x="868" y="747"/>
                    </a:lnTo>
                    <a:lnTo>
                      <a:pt x="870" y="747"/>
                    </a:lnTo>
                    <a:lnTo>
                      <a:pt x="872" y="748"/>
                    </a:lnTo>
                    <a:lnTo>
                      <a:pt x="900" y="758"/>
                    </a:lnTo>
                    <a:lnTo>
                      <a:pt x="906" y="759"/>
                    </a:lnTo>
                    <a:lnTo>
                      <a:pt x="918" y="762"/>
                    </a:lnTo>
                    <a:lnTo>
                      <a:pt x="938" y="770"/>
                    </a:lnTo>
                    <a:lnTo>
                      <a:pt x="941" y="770"/>
                    </a:lnTo>
                    <a:lnTo>
                      <a:pt x="943" y="772"/>
                    </a:lnTo>
                    <a:lnTo>
                      <a:pt x="946" y="773"/>
                    </a:lnTo>
                    <a:lnTo>
                      <a:pt x="978" y="783"/>
                    </a:lnTo>
                    <a:lnTo>
                      <a:pt x="982" y="785"/>
                    </a:lnTo>
                    <a:lnTo>
                      <a:pt x="986" y="785"/>
                    </a:lnTo>
                    <a:lnTo>
                      <a:pt x="989" y="786"/>
                    </a:lnTo>
                    <a:lnTo>
                      <a:pt x="994" y="788"/>
                    </a:lnTo>
                    <a:lnTo>
                      <a:pt x="997" y="788"/>
                    </a:lnTo>
                    <a:lnTo>
                      <a:pt x="1001" y="791"/>
                    </a:lnTo>
                    <a:lnTo>
                      <a:pt x="1013" y="794"/>
                    </a:lnTo>
                    <a:lnTo>
                      <a:pt x="1024" y="797"/>
                    </a:lnTo>
                    <a:lnTo>
                      <a:pt x="1025" y="799"/>
                    </a:lnTo>
                    <a:lnTo>
                      <a:pt x="1030" y="800"/>
                    </a:lnTo>
                    <a:lnTo>
                      <a:pt x="1035" y="802"/>
                    </a:lnTo>
                    <a:lnTo>
                      <a:pt x="1038" y="802"/>
                    </a:lnTo>
                    <a:lnTo>
                      <a:pt x="1047" y="805"/>
                    </a:lnTo>
                    <a:lnTo>
                      <a:pt x="1054" y="808"/>
                    </a:lnTo>
                    <a:lnTo>
                      <a:pt x="1065" y="811"/>
                    </a:lnTo>
                    <a:lnTo>
                      <a:pt x="1070" y="813"/>
                    </a:lnTo>
                    <a:lnTo>
                      <a:pt x="1082" y="818"/>
                    </a:lnTo>
                    <a:lnTo>
                      <a:pt x="1100" y="823"/>
                    </a:lnTo>
                    <a:lnTo>
                      <a:pt x="1101" y="824"/>
                    </a:lnTo>
                    <a:lnTo>
                      <a:pt x="1108" y="826"/>
                    </a:lnTo>
                    <a:lnTo>
                      <a:pt x="1109" y="827"/>
                    </a:lnTo>
                    <a:lnTo>
                      <a:pt x="1117" y="829"/>
                    </a:lnTo>
                    <a:lnTo>
                      <a:pt x="1120" y="830"/>
                    </a:lnTo>
                    <a:lnTo>
                      <a:pt x="1138" y="835"/>
                    </a:lnTo>
                    <a:lnTo>
                      <a:pt x="1139" y="837"/>
                    </a:lnTo>
                    <a:lnTo>
                      <a:pt x="1147" y="840"/>
                    </a:lnTo>
                    <a:lnTo>
                      <a:pt x="1152" y="842"/>
                    </a:lnTo>
                    <a:lnTo>
                      <a:pt x="1165" y="845"/>
                    </a:lnTo>
                    <a:lnTo>
                      <a:pt x="1185" y="853"/>
                    </a:lnTo>
                    <a:lnTo>
                      <a:pt x="1187" y="853"/>
                    </a:lnTo>
                    <a:lnTo>
                      <a:pt x="1192" y="854"/>
                    </a:lnTo>
                    <a:lnTo>
                      <a:pt x="1222" y="865"/>
                    </a:lnTo>
                    <a:lnTo>
                      <a:pt x="1228" y="867"/>
                    </a:lnTo>
                    <a:lnTo>
                      <a:pt x="1236" y="870"/>
                    </a:lnTo>
                    <a:lnTo>
                      <a:pt x="1257" y="876"/>
                    </a:lnTo>
                    <a:lnTo>
                      <a:pt x="1257" y="878"/>
                    </a:lnTo>
                    <a:lnTo>
                      <a:pt x="1260" y="878"/>
                    </a:lnTo>
                    <a:lnTo>
                      <a:pt x="1263" y="878"/>
                    </a:lnTo>
                    <a:lnTo>
                      <a:pt x="1290" y="878"/>
                    </a:lnTo>
                    <a:lnTo>
                      <a:pt x="1318" y="878"/>
                    </a:lnTo>
                    <a:lnTo>
                      <a:pt x="1347" y="878"/>
                    </a:lnTo>
                    <a:lnTo>
                      <a:pt x="1377" y="878"/>
                    </a:lnTo>
                    <a:lnTo>
                      <a:pt x="1388" y="878"/>
                    </a:lnTo>
                    <a:lnTo>
                      <a:pt x="1405" y="878"/>
                    </a:lnTo>
                    <a:lnTo>
                      <a:pt x="1435" y="878"/>
                    </a:lnTo>
                    <a:lnTo>
                      <a:pt x="1464" y="878"/>
                    </a:lnTo>
                    <a:lnTo>
                      <a:pt x="1494" y="878"/>
                    </a:lnTo>
                    <a:lnTo>
                      <a:pt x="1523" y="878"/>
                    </a:lnTo>
                    <a:lnTo>
                      <a:pt x="1529" y="878"/>
                    </a:lnTo>
                    <a:lnTo>
                      <a:pt x="1535" y="878"/>
                    </a:lnTo>
                    <a:lnTo>
                      <a:pt x="1548" y="878"/>
                    </a:lnTo>
                    <a:lnTo>
                      <a:pt x="1423" y="1006"/>
                    </a:lnTo>
                    <a:lnTo>
                      <a:pt x="1359" y="1073"/>
                    </a:lnTo>
                    <a:lnTo>
                      <a:pt x="1225" y="1211"/>
                    </a:lnTo>
                    <a:lnTo>
                      <a:pt x="1206" y="1230"/>
                    </a:lnTo>
                    <a:lnTo>
                      <a:pt x="1201" y="1235"/>
                    </a:lnTo>
                    <a:lnTo>
                      <a:pt x="1125" y="1311"/>
                    </a:lnTo>
                    <a:lnTo>
                      <a:pt x="1111" y="1326"/>
                    </a:lnTo>
                    <a:lnTo>
                      <a:pt x="1104" y="1333"/>
                    </a:lnTo>
                    <a:lnTo>
                      <a:pt x="1022" y="1418"/>
                    </a:lnTo>
                    <a:lnTo>
                      <a:pt x="954" y="1488"/>
                    </a:lnTo>
                    <a:lnTo>
                      <a:pt x="941" y="1499"/>
                    </a:lnTo>
                    <a:lnTo>
                      <a:pt x="899" y="1545"/>
                    </a:lnTo>
                    <a:lnTo>
                      <a:pt x="857" y="1586"/>
                    </a:lnTo>
                    <a:lnTo>
                      <a:pt x="832" y="1613"/>
                    </a:lnTo>
                  </a:path>
                </a:pathLst>
              </a:custGeom>
              <a:noFill/>
              <a:ln w="4763">
                <a:solidFill>
                  <a:srgbClr val="68686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77" name="Freeform 75"/>
              <p:cNvSpPr>
                <a:spLocks/>
              </p:cNvSpPr>
              <p:nvPr/>
            </p:nvSpPr>
            <p:spPr bwMode="auto">
              <a:xfrm>
                <a:off x="2453" y="3041"/>
                <a:ext cx="330" cy="285"/>
              </a:xfrm>
              <a:custGeom>
                <a:avLst/>
                <a:gdLst>
                  <a:gd name="T0" fmla="*/ 208 w 208"/>
                  <a:gd name="T1" fmla="*/ 99 h 180"/>
                  <a:gd name="T2" fmla="*/ 207 w 208"/>
                  <a:gd name="T3" fmla="*/ 93 h 180"/>
                  <a:gd name="T4" fmla="*/ 207 w 208"/>
                  <a:gd name="T5" fmla="*/ 87 h 180"/>
                  <a:gd name="T6" fmla="*/ 205 w 208"/>
                  <a:gd name="T7" fmla="*/ 81 h 180"/>
                  <a:gd name="T8" fmla="*/ 204 w 208"/>
                  <a:gd name="T9" fmla="*/ 75 h 180"/>
                  <a:gd name="T10" fmla="*/ 202 w 208"/>
                  <a:gd name="T11" fmla="*/ 69 h 180"/>
                  <a:gd name="T12" fmla="*/ 199 w 208"/>
                  <a:gd name="T13" fmla="*/ 63 h 180"/>
                  <a:gd name="T14" fmla="*/ 197 w 208"/>
                  <a:gd name="T15" fmla="*/ 57 h 180"/>
                  <a:gd name="T16" fmla="*/ 193 w 208"/>
                  <a:gd name="T17" fmla="*/ 51 h 180"/>
                  <a:gd name="T18" fmla="*/ 189 w 208"/>
                  <a:gd name="T19" fmla="*/ 45 h 180"/>
                  <a:gd name="T20" fmla="*/ 185 w 208"/>
                  <a:gd name="T21" fmla="*/ 39 h 180"/>
                  <a:gd name="T22" fmla="*/ 180 w 208"/>
                  <a:gd name="T23" fmla="*/ 33 h 180"/>
                  <a:gd name="T24" fmla="*/ 174 w 208"/>
                  <a:gd name="T25" fmla="*/ 27 h 180"/>
                  <a:gd name="T26" fmla="*/ 168 w 208"/>
                  <a:gd name="T27" fmla="*/ 22 h 180"/>
                  <a:gd name="T28" fmla="*/ 162 w 208"/>
                  <a:gd name="T29" fmla="*/ 18 h 180"/>
                  <a:gd name="T30" fmla="*/ 156 w 208"/>
                  <a:gd name="T31" fmla="*/ 14 h 180"/>
                  <a:gd name="T32" fmla="*/ 150 w 208"/>
                  <a:gd name="T33" fmla="*/ 11 h 180"/>
                  <a:gd name="T34" fmla="*/ 144 w 208"/>
                  <a:gd name="T35" fmla="*/ 8 h 180"/>
                  <a:gd name="T36" fmla="*/ 138 w 208"/>
                  <a:gd name="T37" fmla="*/ 6 h 180"/>
                  <a:gd name="T38" fmla="*/ 132 w 208"/>
                  <a:gd name="T39" fmla="*/ 4 h 180"/>
                  <a:gd name="T40" fmla="*/ 126 w 208"/>
                  <a:gd name="T41" fmla="*/ 2 h 180"/>
                  <a:gd name="T42" fmla="*/ 120 w 208"/>
                  <a:gd name="T43" fmla="*/ 1 h 180"/>
                  <a:gd name="T44" fmla="*/ 114 w 208"/>
                  <a:gd name="T45" fmla="*/ 0 h 180"/>
                  <a:gd name="T46" fmla="*/ 108 w 208"/>
                  <a:gd name="T47" fmla="*/ 0 h 180"/>
                  <a:gd name="T48" fmla="*/ 102 w 208"/>
                  <a:gd name="T49" fmla="*/ 0 h 180"/>
                  <a:gd name="T50" fmla="*/ 96 w 208"/>
                  <a:gd name="T51" fmla="*/ 0 h 180"/>
                  <a:gd name="T52" fmla="*/ 90 w 208"/>
                  <a:gd name="T53" fmla="*/ 1 h 180"/>
                  <a:gd name="T54" fmla="*/ 84 w 208"/>
                  <a:gd name="T55" fmla="*/ 2 h 180"/>
                  <a:gd name="T56" fmla="*/ 78 w 208"/>
                  <a:gd name="T57" fmla="*/ 3 h 180"/>
                  <a:gd name="T58" fmla="*/ 72 w 208"/>
                  <a:gd name="T59" fmla="*/ 5 h 180"/>
                  <a:gd name="T60" fmla="*/ 66 w 208"/>
                  <a:gd name="T61" fmla="*/ 7 h 180"/>
                  <a:gd name="T62" fmla="*/ 60 w 208"/>
                  <a:gd name="T63" fmla="*/ 10 h 180"/>
                  <a:gd name="T64" fmla="*/ 54 w 208"/>
                  <a:gd name="T65" fmla="*/ 13 h 180"/>
                  <a:gd name="T66" fmla="*/ 48 w 208"/>
                  <a:gd name="T67" fmla="*/ 16 h 180"/>
                  <a:gd name="T68" fmla="*/ 42 w 208"/>
                  <a:gd name="T69" fmla="*/ 21 h 180"/>
                  <a:gd name="T70" fmla="*/ 36 w 208"/>
                  <a:gd name="T71" fmla="*/ 25 h 180"/>
                  <a:gd name="T72" fmla="*/ 30 w 208"/>
                  <a:gd name="T73" fmla="*/ 31 h 180"/>
                  <a:gd name="T74" fmla="*/ 25 w 208"/>
                  <a:gd name="T75" fmla="*/ 37 h 180"/>
                  <a:gd name="T76" fmla="*/ 20 w 208"/>
                  <a:gd name="T77" fmla="*/ 43 h 180"/>
                  <a:gd name="T78" fmla="*/ 16 w 208"/>
                  <a:gd name="T79" fmla="*/ 49 h 180"/>
                  <a:gd name="T80" fmla="*/ 12 w 208"/>
                  <a:gd name="T81" fmla="*/ 55 h 180"/>
                  <a:gd name="T82" fmla="*/ 9 w 208"/>
                  <a:gd name="T83" fmla="*/ 61 h 180"/>
                  <a:gd name="T84" fmla="*/ 7 w 208"/>
                  <a:gd name="T85" fmla="*/ 67 h 180"/>
                  <a:gd name="T86" fmla="*/ 5 w 208"/>
                  <a:gd name="T87" fmla="*/ 73 h 180"/>
                  <a:gd name="T88" fmla="*/ 3 w 208"/>
                  <a:gd name="T89" fmla="*/ 79 h 180"/>
                  <a:gd name="T90" fmla="*/ 2 w 208"/>
                  <a:gd name="T91" fmla="*/ 85 h 180"/>
                  <a:gd name="T92" fmla="*/ 1 w 208"/>
                  <a:gd name="T93" fmla="*/ 91 h 180"/>
                  <a:gd name="T94" fmla="*/ 0 w 208"/>
                  <a:gd name="T95" fmla="*/ 97 h 180"/>
                  <a:gd name="T96" fmla="*/ 0 w 208"/>
                  <a:gd name="T97" fmla="*/ 103 h 180"/>
                  <a:gd name="T98" fmla="*/ 0 w 208"/>
                  <a:gd name="T99" fmla="*/ 109 h 180"/>
                  <a:gd name="T100" fmla="*/ 1 w 208"/>
                  <a:gd name="T101" fmla="*/ 115 h 180"/>
                  <a:gd name="T102" fmla="*/ 1 w 208"/>
                  <a:gd name="T103" fmla="*/ 121 h 180"/>
                  <a:gd name="T104" fmla="*/ 2 w 208"/>
                  <a:gd name="T105" fmla="*/ 127 h 180"/>
                  <a:gd name="T106" fmla="*/ 4 w 208"/>
                  <a:gd name="T107" fmla="*/ 133 h 180"/>
                  <a:gd name="T108" fmla="*/ 6 w 208"/>
                  <a:gd name="T109" fmla="*/ 139 h 180"/>
                  <a:gd name="T110" fmla="*/ 8 w 208"/>
                  <a:gd name="T111" fmla="*/ 145 h 180"/>
                  <a:gd name="T112" fmla="*/ 11 w 208"/>
                  <a:gd name="T113" fmla="*/ 151 h 180"/>
                  <a:gd name="T114" fmla="*/ 14 w 208"/>
                  <a:gd name="T115" fmla="*/ 157 h 180"/>
                  <a:gd name="T116" fmla="*/ 18 w 208"/>
                  <a:gd name="T117" fmla="*/ 163 h 180"/>
                  <a:gd name="T118" fmla="*/ 22 w 208"/>
                  <a:gd name="T119" fmla="*/ 169 h 180"/>
                  <a:gd name="T120" fmla="*/ 27 w 208"/>
                  <a:gd name="T121" fmla="*/ 175 h 180"/>
                  <a:gd name="T122" fmla="*/ 33 w 208"/>
                  <a:gd name="T123"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8" h="180">
                    <a:moveTo>
                      <a:pt x="208" y="104"/>
                    </a:moveTo>
                    <a:lnTo>
                      <a:pt x="208" y="103"/>
                    </a:lnTo>
                    <a:lnTo>
                      <a:pt x="208" y="102"/>
                    </a:lnTo>
                    <a:lnTo>
                      <a:pt x="208" y="101"/>
                    </a:lnTo>
                    <a:lnTo>
                      <a:pt x="208" y="100"/>
                    </a:lnTo>
                    <a:lnTo>
                      <a:pt x="208" y="99"/>
                    </a:lnTo>
                    <a:lnTo>
                      <a:pt x="208" y="98"/>
                    </a:lnTo>
                    <a:lnTo>
                      <a:pt x="208" y="97"/>
                    </a:lnTo>
                    <a:lnTo>
                      <a:pt x="208" y="96"/>
                    </a:lnTo>
                    <a:lnTo>
                      <a:pt x="208" y="95"/>
                    </a:lnTo>
                    <a:lnTo>
                      <a:pt x="207" y="94"/>
                    </a:lnTo>
                    <a:lnTo>
                      <a:pt x="207" y="93"/>
                    </a:lnTo>
                    <a:lnTo>
                      <a:pt x="207" y="92"/>
                    </a:lnTo>
                    <a:lnTo>
                      <a:pt x="207" y="91"/>
                    </a:lnTo>
                    <a:lnTo>
                      <a:pt x="207" y="90"/>
                    </a:lnTo>
                    <a:lnTo>
                      <a:pt x="207" y="89"/>
                    </a:lnTo>
                    <a:lnTo>
                      <a:pt x="207" y="88"/>
                    </a:lnTo>
                    <a:lnTo>
                      <a:pt x="207" y="87"/>
                    </a:lnTo>
                    <a:lnTo>
                      <a:pt x="206" y="86"/>
                    </a:lnTo>
                    <a:lnTo>
                      <a:pt x="206" y="85"/>
                    </a:lnTo>
                    <a:lnTo>
                      <a:pt x="206" y="84"/>
                    </a:lnTo>
                    <a:lnTo>
                      <a:pt x="206" y="83"/>
                    </a:lnTo>
                    <a:lnTo>
                      <a:pt x="206" y="82"/>
                    </a:lnTo>
                    <a:lnTo>
                      <a:pt x="205" y="81"/>
                    </a:lnTo>
                    <a:lnTo>
                      <a:pt x="205" y="80"/>
                    </a:lnTo>
                    <a:lnTo>
                      <a:pt x="205" y="79"/>
                    </a:lnTo>
                    <a:lnTo>
                      <a:pt x="205" y="78"/>
                    </a:lnTo>
                    <a:lnTo>
                      <a:pt x="204" y="77"/>
                    </a:lnTo>
                    <a:lnTo>
                      <a:pt x="204" y="76"/>
                    </a:lnTo>
                    <a:lnTo>
                      <a:pt x="204" y="75"/>
                    </a:lnTo>
                    <a:lnTo>
                      <a:pt x="203" y="74"/>
                    </a:lnTo>
                    <a:lnTo>
                      <a:pt x="203" y="73"/>
                    </a:lnTo>
                    <a:lnTo>
                      <a:pt x="203" y="72"/>
                    </a:lnTo>
                    <a:lnTo>
                      <a:pt x="203" y="71"/>
                    </a:lnTo>
                    <a:lnTo>
                      <a:pt x="202" y="70"/>
                    </a:lnTo>
                    <a:lnTo>
                      <a:pt x="202" y="69"/>
                    </a:lnTo>
                    <a:lnTo>
                      <a:pt x="201" y="68"/>
                    </a:lnTo>
                    <a:lnTo>
                      <a:pt x="201" y="67"/>
                    </a:lnTo>
                    <a:lnTo>
                      <a:pt x="201" y="66"/>
                    </a:lnTo>
                    <a:lnTo>
                      <a:pt x="200" y="65"/>
                    </a:lnTo>
                    <a:lnTo>
                      <a:pt x="200" y="64"/>
                    </a:lnTo>
                    <a:lnTo>
                      <a:pt x="199" y="63"/>
                    </a:lnTo>
                    <a:lnTo>
                      <a:pt x="199" y="62"/>
                    </a:lnTo>
                    <a:lnTo>
                      <a:pt x="199" y="61"/>
                    </a:lnTo>
                    <a:lnTo>
                      <a:pt x="198" y="60"/>
                    </a:lnTo>
                    <a:lnTo>
                      <a:pt x="198" y="59"/>
                    </a:lnTo>
                    <a:lnTo>
                      <a:pt x="197" y="58"/>
                    </a:lnTo>
                    <a:lnTo>
                      <a:pt x="197" y="57"/>
                    </a:lnTo>
                    <a:lnTo>
                      <a:pt x="196" y="56"/>
                    </a:lnTo>
                    <a:lnTo>
                      <a:pt x="196" y="55"/>
                    </a:lnTo>
                    <a:lnTo>
                      <a:pt x="195" y="54"/>
                    </a:lnTo>
                    <a:lnTo>
                      <a:pt x="194" y="53"/>
                    </a:lnTo>
                    <a:lnTo>
                      <a:pt x="194" y="52"/>
                    </a:lnTo>
                    <a:lnTo>
                      <a:pt x="193" y="51"/>
                    </a:lnTo>
                    <a:lnTo>
                      <a:pt x="193" y="50"/>
                    </a:lnTo>
                    <a:lnTo>
                      <a:pt x="192" y="49"/>
                    </a:lnTo>
                    <a:lnTo>
                      <a:pt x="191" y="48"/>
                    </a:lnTo>
                    <a:lnTo>
                      <a:pt x="191" y="47"/>
                    </a:lnTo>
                    <a:lnTo>
                      <a:pt x="190" y="46"/>
                    </a:lnTo>
                    <a:lnTo>
                      <a:pt x="189" y="45"/>
                    </a:lnTo>
                    <a:lnTo>
                      <a:pt x="189" y="44"/>
                    </a:lnTo>
                    <a:lnTo>
                      <a:pt x="188" y="43"/>
                    </a:lnTo>
                    <a:lnTo>
                      <a:pt x="187" y="42"/>
                    </a:lnTo>
                    <a:lnTo>
                      <a:pt x="187" y="41"/>
                    </a:lnTo>
                    <a:lnTo>
                      <a:pt x="186" y="40"/>
                    </a:lnTo>
                    <a:lnTo>
                      <a:pt x="185" y="39"/>
                    </a:lnTo>
                    <a:lnTo>
                      <a:pt x="184" y="38"/>
                    </a:lnTo>
                    <a:lnTo>
                      <a:pt x="183" y="37"/>
                    </a:lnTo>
                    <a:lnTo>
                      <a:pt x="183" y="36"/>
                    </a:lnTo>
                    <a:lnTo>
                      <a:pt x="182" y="35"/>
                    </a:lnTo>
                    <a:lnTo>
                      <a:pt x="181" y="34"/>
                    </a:lnTo>
                    <a:lnTo>
                      <a:pt x="180" y="33"/>
                    </a:lnTo>
                    <a:lnTo>
                      <a:pt x="179" y="32"/>
                    </a:lnTo>
                    <a:lnTo>
                      <a:pt x="178" y="31"/>
                    </a:lnTo>
                    <a:lnTo>
                      <a:pt x="177" y="30"/>
                    </a:lnTo>
                    <a:lnTo>
                      <a:pt x="176" y="29"/>
                    </a:lnTo>
                    <a:lnTo>
                      <a:pt x="175" y="28"/>
                    </a:lnTo>
                    <a:lnTo>
                      <a:pt x="174" y="27"/>
                    </a:lnTo>
                    <a:lnTo>
                      <a:pt x="173" y="26"/>
                    </a:lnTo>
                    <a:lnTo>
                      <a:pt x="172" y="25"/>
                    </a:lnTo>
                    <a:lnTo>
                      <a:pt x="171" y="25"/>
                    </a:lnTo>
                    <a:lnTo>
                      <a:pt x="170" y="24"/>
                    </a:lnTo>
                    <a:lnTo>
                      <a:pt x="169" y="23"/>
                    </a:lnTo>
                    <a:lnTo>
                      <a:pt x="168" y="22"/>
                    </a:lnTo>
                    <a:lnTo>
                      <a:pt x="167" y="21"/>
                    </a:lnTo>
                    <a:lnTo>
                      <a:pt x="166" y="21"/>
                    </a:lnTo>
                    <a:lnTo>
                      <a:pt x="165" y="20"/>
                    </a:lnTo>
                    <a:lnTo>
                      <a:pt x="164" y="19"/>
                    </a:lnTo>
                    <a:lnTo>
                      <a:pt x="163" y="18"/>
                    </a:lnTo>
                    <a:lnTo>
                      <a:pt x="162" y="18"/>
                    </a:lnTo>
                    <a:lnTo>
                      <a:pt x="161" y="17"/>
                    </a:lnTo>
                    <a:lnTo>
                      <a:pt x="160" y="16"/>
                    </a:lnTo>
                    <a:lnTo>
                      <a:pt x="159" y="16"/>
                    </a:lnTo>
                    <a:lnTo>
                      <a:pt x="158" y="15"/>
                    </a:lnTo>
                    <a:lnTo>
                      <a:pt x="157" y="15"/>
                    </a:lnTo>
                    <a:lnTo>
                      <a:pt x="156" y="14"/>
                    </a:lnTo>
                    <a:lnTo>
                      <a:pt x="155" y="13"/>
                    </a:lnTo>
                    <a:lnTo>
                      <a:pt x="154" y="13"/>
                    </a:lnTo>
                    <a:lnTo>
                      <a:pt x="153" y="12"/>
                    </a:lnTo>
                    <a:lnTo>
                      <a:pt x="152" y="12"/>
                    </a:lnTo>
                    <a:lnTo>
                      <a:pt x="151" y="11"/>
                    </a:lnTo>
                    <a:lnTo>
                      <a:pt x="150" y="11"/>
                    </a:lnTo>
                    <a:lnTo>
                      <a:pt x="149" y="10"/>
                    </a:lnTo>
                    <a:lnTo>
                      <a:pt x="148" y="10"/>
                    </a:lnTo>
                    <a:lnTo>
                      <a:pt x="147" y="9"/>
                    </a:lnTo>
                    <a:lnTo>
                      <a:pt x="146" y="9"/>
                    </a:lnTo>
                    <a:lnTo>
                      <a:pt x="145" y="8"/>
                    </a:lnTo>
                    <a:lnTo>
                      <a:pt x="144" y="8"/>
                    </a:lnTo>
                    <a:lnTo>
                      <a:pt x="143" y="8"/>
                    </a:lnTo>
                    <a:lnTo>
                      <a:pt x="142" y="7"/>
                    </a:lnTo>
                    <a:lnTo>
                      <a:pt x="141" y="7"/>
                    </a:lnTo>
                    <a:lnTo>
                      <a:pt x="140" y="6"/>
                    </a:lnTo>
                    <a:lnTo>
                      <a:pt x="139" y="6"/>
                    </a:lnTo>
                    <a:lnTo>
                      <a:pt x="138" y="6"/>
                    </a:lnTo>
                    <a:lnTo>
                      <a:pt x="137" y="5"/>
                    </a:lnTo>
                    <a:lnTo>
                      <a:pt x="136" y="5"/>
                    </a:lnTo>
                    <a:lnTo>
                      <a:pt x="135" y="5"/>
                    </a:lnTo>
                    <a:lnTo>
                      <a:pt x="134" y="4"/>
                    </a:lnTo>
                    <a:lnTo>
                      <a:pt x="133" y="4"/>
                    </a:lnTo>
                    <a:lnTo>
                      <a:pt x="132" y="4"/>
                    </a:lnTo>
                    <a:lnTo>
                      <a:pt x="131" y="4"/>
                    </a:lnTo>
                    <a:lnTo>
                      <a:pt x="130" y="3"/>
                    </a:lnTo>
                    <a:lnTo>
                      <a:pt x="129" y="3"/>
                    </a:lnTo>
                    <a:lnTo>
                      <a:pt x="128" y="3"/>
                    </a:lnTo>
                    <a:lnTo>
                      <a:pt x="127" y="3"/>
                    </a:lnTo>
                    <a:lnTo>
                      <a:pt x="126" y="2"/>
                    </a:lnTo>
                    <a:lnTo>
                      <a:pt x="125" y="2"/>
                    </a:lnTo>
                    <a:lnTo>
                      <a:pt x="124" y="2"/>
                    </a:lnTo>
                    <a:lnTo>
                      <a:pt x="123" y="2"/>
                    </a:lnTo>
                    <a:lnTo>
                      <a:pt x="122" y="2"/>
                    </a:lnTo>
                    <a:lnTo>
                      <a:pt x="121" y="1"/>
                    </a:lnTo>
                    <a:lnTo>
                      <a:pt x="120" y="1"/>
                    </a:lnTo>
                    <a:lnTo>
                      <a:pt x="119" y="1"/>
                    </a:lnTo>
                    <a:lnTo>
                      <a:pt x="118" y="1"/>
                    </a:lnTo>
                    <a:lnTo>
                      <a:pt x="117" y="1"/>
                    </a:lnTo>
                    <a:lnTo>
                      <a:pt x="116" y="1"/>
                    </a:lnTo>
                    <a:lnTo>
                      <a:pt x="115" y="1"/>
                    </a:lnTo>
                    <a:lnTo>
                      <a:pt x="114" y="0"/>
                    </a:lnTo>
                    <a:lnTo>
                      <a:pt x="113" y="0"/>
                    </a:lnTo>
                    <a:lnTo>
                      <a:pt x="112" y="0"/>
                    </a:lnTo>
                    <a:lnTo>
                      <a:pt x="111" y="0"/>
                    </a:lnTo>
                    <a:lnTo>
                      <a:pt x="110" y="0"/>
                    </a:lnTo>
                    <a:lnTo>
                      <a:pt x="109" y="0"/>
                    </a:lnTo>
                    <a:lnTo>
                      <a:pt x="108" y="0"/>
                    </a:lnTo>
                    <a:lnTo>
                      <a:pt x="107" y="0"/>
                    </a:lnTo>
                    <a:lnTo>
                      <a:pt x="106" y="0"/>
                    </a:lnTo>
                    <a:lnTo>
                      <a:pt x="105" y="0"/>
                    </a:lnTo>
                    <a:lnTo>
                      <a:pt x="104" y="0"/>
                    </a:lnTo>
                    <a:lnTo>
                      <a:pt x="103" y="0"/>
                    </a:lnTo>
                    <a:lnTo>
                      <a:pt x="102" y="0"/>
                    </a:lnTo>
                    <a:lnTo>
                      <a:pt x="101" y="0"/>
                    </a:lnTo>
                    <a:lnTo>
                      <a:pt x="100" y="0"/>
                    </a:lnTo>
                    <a:lnTo>
                      <a:pt x="99" y="0"/>
                    </a:lnTo>
                    <a:lnTo>
                      <a:pt x="98" y="0"/>
                    </a:lnTo>
                    <a:lnTo>
                      <a:pt x="97" y="0"/>
                    </a:lnTo>
                    <a:lnTo>
                      <a:pt x="96" y="0"/>
                    </a:lnTo>
                    <a:lnTo>
                      <a:pt x="95" y="0"/>
                    </a:lnTo>
                    <a:lnTo>
                      <a:pt x="94" y="0"/>
                    </a:lnTo>
                    <a:lnTo>
                      <a:pt x="93" y="1"/>
                    </a:lnTo>
                    <a:lnTo>
                      <a:pt x="92" y="1"/>
                    </a:lnTo>
                    <a:lnTo>
                      <a:pt x="91" y="1"/>
                    </a:lnTo>
                    <a:lnTo>
                      <a:pt x="90" y="1"/>
                    </a:lnTo>
                    <a:lnTo>
                      <a:pt x="89" y="1"/>
                    </a:lnTo>
                    <a:lnTo>
                      <a:pt x="88" y="1"/>
                    </a:lnTo>
                    <a:lnTo>
                      <a:pt x="87" y="1"/>
                    </a:lnTo>
                    <a:lnTo>
                      <a:pt x="86" y="2"/>
                    </a:lnTo>
                    <a:lnTo>
                      <a:pt x="85" y="2"/>
                    </a:lnTo>
                    <a:lnTo>
                      <a:pt x="84" y="2"/>
                    </a:lnTo>
                    <a:lnTo>
                      <a:pt x="83" y="2"/>
                    </a:lnTo>
                    <a:lnTo>
                      <a:pt x="82" y="2"/>
                    </a:lnTo>
                    <a:lnTo>
                      <a:pt x="81" y="3"/>
                    </a:lnTo>
                    <a:lnTo>
                      <a:pt x="80" y="3"/>
                    </a:lnTo>
                    <a:lnTo>
                      <a:pt x="79" y="3"/>
                    </a:lnTo>
                    <a:lnTo>
                      <a:pt x="78" y="3"/>
                    </a:lnTo>
                    <a:lnTo>
                      <a:pt x="77" y="4"/>
                    </a:lnTo>
                    <a:lnTo>
                      <a:pt x="76" y="4"/>
                    </a:lnTo>
                    <a:lnTo>
                      <a:pt x="75" y="4"/>
                    </a:lnTo>
                    <a:lnTo>
                      <a:pt x="74" y="4"/>
                    </a:lnTo>
                    <a:lnTo>
                      <a:pt x="73" y="5"/>
                    </a:lnTo>
                    <a:lnTo>
                      <a:pt x="72" y="5"/>
                    </a:lnTo>
                    <a:lnTo>
                      <a:pt x="71" y="5"/>
                    </a:lnTo>
                    <a:lnTo>
                      <a:pt x="70" y="6"/>
                    </a:lnTo>
                    <a:lnTo>
                      <a:pt x="69" y="6"/>
                    </a:lnTo>
                    <a:lnTo>
                      <a:pt x="68" y="6"/>
                    </a:lnTo>
                    <a:lnTo>
                      <a:pt x="67" y="7"/>
                    </a:lnTo>
                    <a:lnTo>
                      <a:pt x="66" y="7"/>
                    </a:lnTo>
                    <a:lnTo>
                      <a:pt x="65" y="8"/>
                    </a:lnTo>
                    <a:lnTo>
                      <a:pt x="64" y="8"/>
                    </a:lnTo>
                    <a:lnTo>
                      <a:pt x="63" y="8"/>
                    </a:lnTo>
                    <a:lnTo>
                      <a:pt x="62" y="9"/>
                    </a:lnTo>
                    <a:lnTo>
                      <a:pt x="61" y="9"/>
                    </a:lnTo>
                    <a:lnTo>
                      <a:pt x="60" y="10"/>
                    </a:lnTo>
                    <a:lnTo>
                      <a:pt x="59" y="10"/>
                    </a:lnTo>
                    <a:lnTo>
                      <a:pt x="58" y="11"/>
                    </a:lnTo>
                    <a:lnTo>
                      <a:pt x="57" y="11"/>
                    </a:lnTo>
                    <a:lnTo>
                      <a:pt x="56" y="12"/>
                    </a:lnTo>
                    <a:lnTo>
                      <a:pt x="55" y="12"/>
                    </a:lnTo>
                    <a:lnTo>
                      <a:pt x="54" y="13"/>
                    </a:lnTo>
                    <a:lnTo>
                      <a:pt x="53" y="13"/>
                    </a:lnTo>
                    <a:lnTo>
                      <a:pt x="52" y="14"/>
                    </a:lnTo>
                    <a:lnTo>
                      <a:pt x="51" y="15"/>
                    </a:lnTo>
                    <a:lnTo>
                      <a:pt x="50" y="15"/>
                    </a:lnTo>
                    <a:lnTo>
                      <a:pt x="49" y="16"/>
                    </a:lnTo>
                    <a:lnTo>
                      <a:pt x="48" y="16"/>
                    </a:lnTo>
                    <a:lnTo>
                      <a:pt x="47" y="17"/>
                    </a:lnTo>
                    <a:lnTo>
                      <a:pt x="46" y="18"/>
                    </a:lnTo>
                    <a:lnTo>
                      <a:pt x="45" y="18"/>
                    </a:lnTo>
                    <a:lnTo>
                      <a:pt x="44" y="19"/>
                    </a:lnTo>
                    <a:lnTo>
                      <a:pt x="43" y="20"/>
                    </a:lnTo>
                    <a:lnTo>
                      <a:pt x="42" y="21"/>
                    </a:lnTo>
                    <a:lnTo>
                      <a:pt x="41" y="21"/>
                    </a:lnTo>
                    <a:lnTo>
                      <a:pt x="40" y="22"/>
                    </a:lnTo>
                    <a:lnTo>
                      <a:pt x="39" y="23"/>
                    </a:lnTo>
                    <a:lnTo>
                      <a:pt x="38" y="24"/>
                    </a:lnTo>
                    <a:lnTo>
                      <a:pt x="37" y="25"/>
                    </a:lnTo>
                    <a:lnTo>
                      <a:pt x="36" y="25"/>
                    </a:lnTo>
                    <a:lnTo>
                      <a:pt x="35" y="26"/>
                    </a:lnTo>
                    <a:lnTo>
                      <a:pt x="34" y="27"/>
                    </a:lnTo>
                    <a:lnTo>
                      <a:pt x="33" y="28"/>
                    </a:lnTo>
                    <a:lnTo>
                      <a:pt x="32" y="29"/>
                    </a:lnTo>
                    <a:lnTo>
                      <a:pt x="31" y="30"/>
                    </a:lnTo>
                    <a:lnTo>
                      <a:pt x="30" y="31"/>
                    </a:lnTo>
                    <a:lnTo>
                      <a:pt x="29" y="32"/>
                    </a:lnTo>
                    <a:lnTo>
                      <a:pt x="28" y="33"/>
                    </a:lnTo>
                    <a:lnTo>
                      <a:pt x="27" y="34"/>
                    </a:lnTo>
                    <a:lnTo>
                      <a:pt x="26" y="35"/>
                    </a:lnTo>
                    <a:lnTo>
                      <a:pt x="25" y="36"/>
                    </a:lnTo>
                    <a:lnTo>
                      <a:pt x="25" y="37"/>
                    </a:lnTo>
                    <a:lnTo>
                      <a:pt x="24" y="38"/>
                    </a:lnTo>
                    <a:lnTo>
                      <a:pt x="23" y="39"/>
                    </a:lnTo>
                    <a:lnTo>
                      <a:pt x="22" y="40"/>
                    </a:lnTo>
                    <a:lnTo>
                      <a:pt x="21" y="41"/>
                    </a:lnTo>
                    <a:lnTo>
                      <a:pt x="21" y="42"/>
                    </a:lnTo>
                    <a:lnTo>
                      <a:pt x="20" y="43"/>
                    </a:lnTo>
                    <a:lnTo>
                      <a:pt x="19" y="44"/>
                    </a:lnTo>
                    <a:lnTo>
                      <a:pt x="19" y="45"/>
                    </a:lnTo>
                    <a:lnTo>
                      <a:pt x="18" y="46"/>
                    </a:lnTo>
                    <a:lnTo>
                      <a:pt x="17" y="47"/>
                    </a:lnTo>
                    <a:lnTo>
                      <a:pt x="17" y="48"/>
                    </a:lnTo>
                    <a:lnTo>
                      <a:pt x="16" y="49"/>
                    </a:lnTo>
                    <a:lnTo>
                      <a:pt x="15" y="50"/>
                    </a:lnTo>
                    <a:lnTo>
                      <a:pt x="15" y="51"/>
                    </a:lnTo>
                    <a:lnTo>
                      <a:pt x="14" y="52"/>
                    </a:lnTo>
                    <a:lnTo>
                      <a:pt x="14" y="53"/>
                    </a:lnTo>
                    <a:lnTo>
                      <a:pt x="13" y="54"/>
                    </a:lnTo>
                    <a:lnTo>
                      <a:pt x="12" y="55"/>
                    </a:lnTo>
                    <a:lnTo>
                      <a:pt x="12" y="56"/>
                    </a:lnTo>
                    <a:lnTo>
                      <a:pt x="11" y="57"/>
                    </a:lnTo>
                    <a:lnTo>
                      <a:pt x="11" y="58"/>
                    </a:lnTo>
                    <a:lnTo>
                      <a:pt x="10" y="59"/>
                    </a:lnTo>
                    <a:lnTo>
                      <a:pt x="10" y="60"/>
                    </a:lnTo>
                    <a:lnTo>
                      <a:pt x="9" y="61"/>
                    </a:lnTo>
                    <a:lnTo>
                      <a:pt x="9" y="62"/>
                    </a:lnTo>
                    <a:lnTo>
                      <a:pt x="9" y="63"/>
                    </a:lnTo>
                    <a:lnTo>
                      <a:pt x="8" y="64"/>
                    </a:lnTo>
                    <a:lnTo>
                      <a:pt x="8" y="65"/>
                    </a:lnTo>
                    <a:lnTo>
                      <a:pt x="7" y="66"/>
                    </a:lnTo>
                    <a:lnTo>
                      <a:pt x="7" y="67"/>
                    </a:lnTo>
                    <a:lnTo>
                      <a:pt x="7" y="68"/>
                    </a:lnTo>
                    <a:lnTo>
                      <a:pt x="6" y="69"/>
                    </a:lnTo>
                    <a:lnTo>
                      <a:pt x="6" y="70"/>
                    </a:lnTo>
                    <a:lnTo>
                      <a:pt x="5" y="71"/>
                    </a:lnTo>
                    <a:lnTo>
                      <a:pt x="5" y="72"/>
                    </a:lnTo>
                    <a:lnTo>
                      <a:pt x="5" y="73"/>
                    </a:lnTo>
                    <a:lnTo>
                      <a:pt x="5" y="74"/>
                    </a:lnTo>
                    <a:lnTo>
                      <a:pt x="4" y="75"/>
                    </a:lnTo>
                    <a:lnTo>
                      <a:pt x="4" y="76"/>
                    </a:lnTo>
                    <a:lnTo>
                      <a:pt x="4" y="77"/>
                    </a:lnTo>
                    <a:lnTo>
                      <a:pt x="3" y="78"/>
                    </a:lnTo>
                    <a:lnTo>
                      <a:pt x="3" y="79"/>
                    </a:lnTo>
                    <a:lnTo>
                      <a:pt x="3" y="80"/>
                    </a:lnTo>
                    <a:lnTo>
                      <a:pt x="3" y="81"/>
                    </a:lnTo>
                    <a:lnTo>
                      <a:pt x="2" y="82"/>
                    </a:lnTo>
                    <a:lnTo>
                      <a:pt x="2" y="83"/>
                    </a:lnTo>
                    <a:lnTo>
                      <a:pt x="2" y="84"/>
                    </a:lnTo>
                    <a:lnTo>
                      <a:pt x="2" y="85"/>
                    </a:lnTo>
                    <a:lnTo>
                      <a:pt x="2" y="86"/>
                    </a:lnTo>
                    <a:lnTo>
                      <a:pt x="1" y="87"/>
                    </a:lnTo>
                    <a:lnTo>
                      <a:pt x="1" y="88"/>
                    </a:lnTo>
                    <a:lnTo>
                      <a:pt x="1" y="89"/>
                    </a:lnTo>
                    <a:lnTo>
                      <a:pt x="1" y="90"/>
                    </a:lnTo>
                    <a:lnTo>
                      <a:pt x="1" y="91"/>
                    </a:lnTo>
                    <a:lnTo>
                      <a:pt x="1" y="92"/>
                    </a:lnTo>
                    <a:lnTo>
                      <a:pt x="1" y="93"/>
                    </a:lnTo>
                    <a:lnTo>
                      <a:pt x="1" y="94"/>
                    </a:lnTo>
                    <a:lnTo>
                      <a:pt x="0" y="95"/>
                    </a:lnTo>
                    <a:lnTo>
                      <a:pt x="0" y="96"/>
                    </a:lnTo>
                    <a:lnTo>
                      <a:pt x="0" y="97"/>
                    </a:lnTo>
                    <a:lnTo>
                      <a:pt x="0" y="98"/>
                    </a:lnTo>
                    <a:lnTo>
                      <a:pt x="0" y="99"/>
                    </a:lnTo>
                    <a:lnTo>
                      <a:pt x="0" y="100"/>
                    </a:lnTo>
                    <a:lnTo>
                      <a:pt x="0" y="101"/>
                    </a:lnTo>
                    <a:lnTo>
                      <a:pt x="0" y="102"/>
                    </a:lnTo>
                    <a:lnTo>
                      <a:pt x="0" y="103"/>
                    </a:lnTo>
                    <a:lnTo>
                      <a:pt x="0" y="104"/>
                    </a:lnTo>
                    <a:lnTo>
                      <a:pt x="0" y="105"/>
                    </a:lnTo>
                    <a:lnTo>
                      <a:pt x="0" y="106"/>
                    </a:lnTo>
                    <a:lnTo>
                      <a:pt x="0" y="107"/>
                    </a:lnTo>
                    <a:lnTo>
                      <a:pt x="0" y="108"/>
                    </a:lnTo>
                    <a:lnTo>
                      <a:pt x="0" y="109"/>
                    </a:lnTo>
                    <a:lnTo>
                      <a:pt x="0" y="110"/>
                    </a:lnTo>
                    <a:lnTo>
                      <a:pt x="0" y="111"/>
                    </a:lnTo>
                    <a:lnTo>
                      <a:pt x="0" y="112"/>
                    </a:lnTo>
                    <a:lnTo>
                      <a:pt x="0" y="113"/>
                    </a:lnTo>
                    <a:lnTo>
                      <a:pt x="0" y="114"/>
                    </a:lnTo>
                    <a:lnTo>
                      <a:pt x="1" y="115"/>
                    </a:lnTo>
                    <a:lnTo>
                      <a:pt x="1" y="116"/>
                    </a:lnTo>
                    <a:lnTo>
                      <a:pt x="1" y="117"/>
                    </a:lnTo>
                    <a:lnTo>
                      <a:pt x="1" y="118"/>
                    </a:lnTo>
                    <a:lnTo>
                      <a:pt x="1" y="119"/>
                    </a:lnTo>
                    <a:lnTo>
                      <a:pt x="1" y="120"/>
                    </a:lnTo>
                    <a:lnTo>
                      <a:pt x="1" y="121"/>
                    </a:lnTo>
                    <a:lnTo>
                      <a:pt x="1" y="122"/>
                    </a:lnTo>
                    <a:lnTo>
                      <a:pt x="2" y="123"/>
                    </a:lnTo>
                    <a:lnTo>
                      <a:pt x="2" y="124"/>
                    </a:lnTo>
                    <a:lnTo>
                      <a:pt x="2" y="125"/>
                    </a:lnTo>
                    <a:lnTo>
                      <a:pt x="2" y="126"/>
                    </a:lnTo>
                    <a:lnTo>
                      <a:pt x="2" y="127"/>
                    </a:lnTo>
                    <a:lnTo>
                      <a:pt x="3" y="128"/>
                    </a:lnTo>
                    <a:lnTo>
                      <a:pt x="3" y="129"/>
                    </a:lnTo>
                    <a:lnTo>
                      <a:pt x="3" y="130"/>
                    </a:lnTo>
                    <a:lnTo>
                      <a:pt x="3" y="131"/>
                    </a:lnTo>
                    <a:lnTo>
                      <a:pt x="4" y="132"/>
                    </a:lnTo>
                    <a:lnTo>
                      <a:pt x="4" y="133"/>
                    </a:lnTo>
                    <a:lnTo>
                      <a:pt x="4" y="134"/>
                    </a:lnTo>
                    <a:lnTo>
                      <a:pt x="5" y="135"/>
                    </a:lnTo>
                    <a:lnTo>
                      <a:pt x="5" y="136"/>
                    </a:lnTo>
                    <a:lnTo>
                      <a:pt x="5" y="137"/>
                    </a:lnTo>
                    <a:lnTo>
                      <a:pt x="5" y="138"/>
                    </a:lnTo>
                    <a:lnTo>
                      <a:pt x="6" y="139"/>
                    </a:lnTo>
                    <a:lnTo>
                      <a:pt x="6" y="140"/>
                    </a:lnTo>
                    <a:lnTo>
                      <a:pt x="7" y="141"/>
                    </a:lnTo>
                    <a:lnTo>
                      <a:pt x="7" y="142"/>
                    </a:lnTo>
                    <a:lnTo>
                      <a:pt x="7" y="143"/>
                    </a:lnTo>
                    <a:lnTo>
                      <a:pt x="8" y="144"/>
                    </a:lnTo>
                    <a:lnTo>
                      <a:pt x="8" y="145"/>
                    </a:lnTo>
                    <a:lnTo>
                      <a:pt x="9" y="146"/>
                    </a:lnTo>
                    <a:lnTo>
                      <a:pt x="9" y="147"/>
                    </a:lnTo>
                    <a:lnTo>
                      <a:pt x="9" y="148"/>
                    </a:lnTo>
                    <a:lnTo>
                      <a:pt x="10" y="149"/>
                    </a:lnTo>
                    <a:lnTo>
                      <a:pt x="10" y="150"/>
                    </a:lnTo>
                    <a:lnTo>
                      <a:pt x="11" y="151"/>
                    </a:lnTo>
                    <a:lnTo>
                      <a:pt x="11" y="152"/>
                    </a:lnTo>
                    <a:lnTo>
                      <a:pt x="12" y="153"/>
                    </a:lnTo>
                    <a:lnTo>
                      <a:pt x="12" y="154"/>
                    </a:lnTo>
                    <a:lnTo>
                      <a:pt x="13" y="155"/>
                    </a:lnTo>
                    <a:lnTo>
                      <a:pt x="14" y="156"/>
                    </a:lnTo>
                    <a:lnTo>
                      <a:pt x="14" y="157"/>
                    </a:lnTo>
                    <a:lnTo>
                      <a:pt x="15" y="158"/>
                    </a:lnTo>
                    <a:lnTo>
                      <a:pt x="15" y="159"/>
                    </a:lnTo>
                    <a:lnTo>
                      <a:pt x="16" y="160"/>
                    </a:lnTo>
                    <a:lnTo>
                      <a:pt x="17" y="161"/>
                    </a:lnTo>
                    <a:lnTo>
                      <a:pt x="17" y="162"/>
                    </a:lnTo>
                    <a:lnTo>
                      <a:pt x="18" y="163"/>
                    </a:lnTo>
                    <a:lnTo>
                      <a:pt x="19" y="164"/>
                    </a:lnTo>
                    <a:lnTo>
                      <a:pt x="19" y="165"/>
                    </a:lnTo>
                    <a:lnTo>
                      <a:pt x="20" y="166"/>
                    </a:lnTo>
                    <a:lnTo>
                      <a:pt x="21" y="167"/>
                    </a:lnTo>
                    <a:lnTo>
                      <a:pt x="21" y="168"/>
                    </a:lnTo>
                    <a:lnTo>
                      <a:pt x="22" y="169"/>
                    </a:lnTo>
                    <a:lnTo>
                      <a:pt x="23" y="170"/>
                    </a:lnTo>
                    <a:lnTo>
                      <a:pt x="24" y="171"/>
                    </a:lnTo>
                    <a:lnTo>
                      <a:pt x="25" y="172"/>
                    </a:lnTo>
                    <a:lnTo>
                      <a:pt x="25" y="173"/>
                    </a:lnTo>
                    <a:lnTo>
                      <a:pt x="26" y="174"/>
                    </a:lnTo>
                    <a:lnTo>
                      <a:pt x="27" y="175"/>
                    </a:lnTo>
                    <a:lnTo>
                      <a:pt x="28" y="176"/>
                    </a:lnTo>
                    <a:lnTo>
                      <a:pt x="29" y="177"/>
                    </a:lnTo>
                    <a:lnTo>
                      <a:pt x="30" y="178"/>
                    </a:lnTo>
                    <a:lnTo>
                      <a:pt x="31" y="179"/>
                    </a:lnTo>
                    <a:lnTo>
                      <a:pt x="32" y="180"/>
                    </a:lnTo>
                    <a:lnTo>
                      <a:pt x="33" y="180"/>
                    </a:lnTo>
                    <a:lnTo>
                      <a:pt x="33" y="180"/>
                    </a:lnTo>
                    <a:lnTo>
                      <a:pt x="104" y="104"/>
                    </a:lnTo>
                    <a:lnTo>
                      <a:pt x="208" y="104"/>
                    </a:lnTo>
                    <a:close/>
                  </a:path>
                </a:pathLst>
              </a:custGeom>
              <a:solidFill>
                <a:srgbClr val="004C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138"/>
              </a:p>
            </p:txBody>
          </p:sp>
          <p:sp>
            <p:nvSpPr>
              <p:cNvPr id="78" name="Freeform 76"/>
              <p:cNvSpPr>
                <a:spLocks/>
              </p:cNvSpPr>
              <p:nvPr/>
            </p:nvSpPr>
            <p:spPr bwMode="auto">
              <a:xfrm>
                <a:off x="2505" y="3206"/>
                <a:ext cx="278" cy="166"/>
              </a:xfrm>
              <a:custGeom>
                <a:avLst/>
                <a:gdLst>
                  <a:gd name="T0" fmla="*/ 3 w 175"/>
                  <a:gd name="T1" fmla="*/ 79 h 105"/>
                  <a:gd name="T2" fmla="*/ 7 w 175"/>
                  <a:gd name="T3" fmla="*/ 83 h 105"/>
                  <a:gd name="T4" fmla="*/ 11 w 175"/>
                  <a:gd name="T5" fmla="*/ 86 h 105"/>
                  <a:gd name="T6" fmla="*/ 15 w 175"/>
                  <a:gd name="T7" fmla="*/ 89 h 105"/>
                  <a:gd name="T8" fmla="*/ 19 w 175"/>
                  <a:gd name="T9" fmla="*/ 91 h 105"/>
                  <a:gd name="T10" fmla="*/ 23 w 175"/>
                  <a:gd name="T11" fmla="*/ 93 h 105"/>
                  <a:gd name="T12" fmla="*/ 27 w 175"/>
                  <a:gd name="T13" fmla="*/ 95 h 105"/>
                  <a:gd name="T14" fmla="*/ 31 w 175"/>
                  <a:gd name="T15" fmla="*/ 97 h 105"/>
                  <a:gd name="T16" fmla="*/ 35 w 175"/>
                  <a:gd name="T17" fmla="*/ 99 h 105"/>
                  <a:gd name="T18" fmla="*/ 39 w 175"/>
                  <a:gd name="T19" fmla="*/ 100 h 105"/>
                  <a:gd name="T20" fmla="*/ 43 w 175"/>
                  <a:gd name="T21" fmla="*/ 101 h 105"/>
                  <a:gd name="T22" fmla="*/ 47 w 175"/>
                  <a:gd name="T23" fmla="*/ 102 h 105"/>
                  <a:gd name="T24" fmla="*/ 51 w 175"/>
                  <a:gd name="T25" fmla="*/ 103 h 105"/>
                  <a:gd name="T26" fmla="*/ 55 w 175"/>
                  <a:gd name="T27" fmla="*/ 104 h 105"/>
                  <a:gd name="T28" fmla="*/ 59 w 175"/>
                  <a:gd name="T29" fmla="*/ 104 h 105"/>
                  <a:gd name="T30" fmla="*/ 63 w 175"/>
                  <a:gd name="T31" fmla="*/ 105 h 105"/>
                  <a:gd name="T32" fmla="*/ 67 w 175"/>
                  <a:gd name="T33" fmla="*/ 105 h 105"/>
                  <a:gd name="T34" fmla="*/ 71 w 175"/>
                  <a:gd name="T35" fmla="*/ 105 h 105"/>
                  <a:gd name="T36" fmla="*/ 75 w 175"/>
                  <a:gd name="T37" fmla="*/ 105 h 105"/>
                  <a:gd name="T38" fmla="*/ 79 w 175"/>
                  <a:gd name="T39" fmla="*/ 105 h 105"/>
                  <a:gd name="T40" fmla="*/ 83 w 175"/>
                  <a:gd name="T41" fmla="*/ 104 h 105"/>
                  <a:gd name="T42" fmla="*/ 87 w 175"/>
                  <a:gd name="T43" fmla="*/ 104 h 105"/>
                  <a:gd name="T44" fmla="*/ 91 w 175"/>
                  <a:gd name="T45" fmla="*/ 103 h 105"/>
                  <a:gd name="T46" fmla="*/ 95 w 175"/>
                  <a:gd name="T47" fmla="*/ 102 h 105"/>
                  <a:gd name="T48" fmla="*/ 99 w 175"/>
                  <a:gd name="T49" fmla="*/ 101 h 105"/>
                  <a:gd name="T50" fmla="*/ 103 w 175"/>
                  <a:gd name="T51" fmla="*/ 100 h 105"/>
                  <a:gd name="T52" fmla="*/ 107 w 175"/>
                  <a:gd name="T53" fmla="*/ 99 h 105"/>
                  <a:gd name="T54" fmla="*/ 111 w 175"/>
                  <a:gd name="T55" fmla="*/ 97 h 105"/>
                  <a:gd name="T56" fmla="*/ 115 w 175"/>
                  <a:gd name="T57" fmla="*/ 95 h 105"/>
                  <a:gd name="T58" fmla="*/ 119 w 175"/>
                  <a:gd name="T59" fmla="*/ 93 h 105"/>
                  <a:gd name="T60" fmla="*/ 123 w 175"/>
                  <a:gd name="T61" fmla="*/ 91 h 105"/>
                  <a:gd name="T62" fmla="*/ 127 w 175"/>
                  <a:gd name="T63" fmla="*/ 89 h 105"/>
                  <a:gd name="T64" fmla="*/ 131 w 175"/>
                  <a:gd name="T65" fmla="*/ 86 h 105"/>
                  <a:gd name="T66" fmla="*/ 135 w 175"/>
                  <a:gd name="T67" fmla="*/ 83 h 105"/>
                  <a:gd name="T68" fmla="*/ 139 w 175"/>
                  <a:gd name="T69" fmla="*/ 80 h 105"/>
                  <a:gd name="T70" fmla="*/ 143 w 175"/>
                  <a:gd name="T71" fmla="*/ 76 h 105"/>
                  <a:gd name="T72" fmla="*/ 147 w 175"/>
                  <a:gd name="T73" fmla="*/ 72 h 105"/>
                  <a:gd name="T74" fmla="*/ 150 w 175"/>
                  <a:gd name="T75" fmla="*/ 68 h 105"/>
                  <a:gd name="T76" fmla="*/ 154 w 175"/>
                  <a:gd name="T77" fmla="*/ 64 h 105"/>
                  <a:gd name="T78" fmla="*/ 156 w 175"/>
                  <a:gd name="T79" fmla="*/ 60 h 105"/>
                  <a:gd name="T80" fmla="*/ 159 w 175"/>
                  <a:gd name="T81" fmla="*/ 56 h 105"/>
                  <a:gd name="T82" fmla="*/ 161 w 175"/>
                  <a:gd name="T83" fmla="*/ 52 h 105"/>
                  <a:gd name="T84" fmla="*/ 164 w 175"/>
                  <a:gd name="T85" fmla="*/ 48 h 105"/>
                  <a:gd name="T86" fmla="*/ 166 w 175"/>
                  <a:gd name="T87" fmla="*/ 44 h 105"/>
                  <a:gd name="T88" fmla="*/ 167 w 175"/>
                  <a:gd name="T89" fmla="*/ 40 h 105"/>
                  <a:gd name="T90" fmla="*/ 169 w 175"/>
                  <a:gd name="T91" fmla="*/ 36 h 105"/>
                  <a:gd name="T92" fmla="*/ 170 w 175"/>
                  <a:gd name="T93" fmla="*/ 32 h 105"/>
                  <a:gd name="T94" fmla="*/ 171 w 175"/>
                  <a:gd name="T95" fmla="*/ 28 h 105"/>
                  <a:gd name="T96" fmla="*/ 172 w 175"/>
                  <a:gd name="T97" fmla="*/ 24 h 105"/>
                  <a:gd name="T98" fmla="*/ 173 w 175"/>
                  <a:gd name="T99" fmla="*/ 20 h 105"/>
                  <a:gd name="T100" fmla="*/ 174 w 175"/>
                  <a:gd name="T101" fmla="*/ 16 h 105"/>
                  <a:gd name="T102" fmla="*/ 174 w 175"/>
                  <a:gd name="T103" fmla="*/ 12 h 105"/>
                  <a:gd name="T104" fmla="*/ 175 w 175"/>
                  <a:gd name="T105" fmla="*/ 8 h 105"/>
                  <a:gd name="T106" fmla="*/ 175 w 175"/>
                  <a:gd name="T107" fmla="*/ 4 h 105"/>
                  <a:gd name="T108" fmla="*/ 175 w 175"/>
                  <a:gd name="T109"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5" h="105">
                    <a:moveTo>
                      <a:pt x="0" y="76"/>
                    </a:moveTo>
                    <a:lnTo>
                      <a:pt x="1" y="77"/>
                    </a:lnTo>
                    <a:lnTo>
                      <a:pt x="2" y="78"/>
                    </a:lnTo>
                    <a:lnTo>
                      <a:pt x="3" y="79"/>
                    </a:lnTo>
                    <a:lnTo>
                      <a:pt x="4" y="80"/>
                    </a:lnTo>
                    <a:lnTo>
                      <a:pt x="5" y="81"/>
                    </a:lnTo>
                    <a:lnTo>
                      <a:pt x="6" y="82"/>
                    </a:lnTo>
                    <a:lnTo>
                      <a:pt x="7" y="83"/>
                    </a:lnTo>
                    <a:lnTo>
                      <a:pt x="8" y="84"/>
                    </a:lnTo>
                    <a:lnTo>
                      <a:pt x="9" y="84"/>
                    </a:lnTo>
                    <a:lnTo>
                      <a:pt x="10" y="85"/>
                    </a:lnTo>
                    <a:lnTo>
                      <a:pt x="11" y="86"/>
                    </a:lnTo>
                    <a:lnTo>
                      <a:pt x="12" y="87"/>
                    </a:lnTo>
                    <a:lnTo>
                      <a:pt x="13" y="87"/>
                    </a:lnTo>
                    <a:lnTo>
                      <a:pt x="14" y="88"/>
                    </a:lnTo>
                    <a:lnTo>
                      <a:pt x="15" y="89"/>
                    </a:lnTo>
                    <a:lnTo>
                      <a:pt x="16" y="89"/>
                    </a:lnTo>
                    <a:lnTo>
                      <a:pt x="17" y="90"/>
                    </a:lnTo>
                    <a:lnTo>
                      <a:pt x="18" y="90"/>
                    </a:lnTo>
                    <a:lnTo>
                      <a:pt x="19" y="91"/>
                    </a:lnTo>
                    <a:lnTo>
                      <a:pt x="20" y="92"/>
                    </a:lnTo>
                    <a:lnTo>
                      <a:pt x="21" y="92"/>
                    </a:lnTo>
                    <a:lnTo>
                      <a:pt x="22" y="93"/>
                    </a:lnTo>
                    <a:lnTo>
                      <a:pt x="23" y="93"/>
                    </a:lnTo>
                    <a:lnTo>
                      <a:pt x="24" y="94"/>
                    </a:lnTo>
                    <a:lnTo>
                      <a:pt x="25" y="94"/>
                    </a:lnTo>
                    <a:lnTo>
                      <a:pt x="26" y="95"/>
                    </a:lnTo>
                    <a:lnTo>
                      <a:pt x="27" y="95"/>
                    </a:lnTo>
                    <a:lnTo>
                      <a:pt x="28" y="96"/>
                    </a:lnTo>
                    <a:lnTo>
                      <a:pt x="29" y="96"/>
                    </a:lnTo>
                    <a:lnTo>
                      <a:pt x="30" y="97"/>
                    </a:lnTo>
                    <a:lnTo>
                      <a:pt x="31" y="97"/>
                    </a:lnTo>
                    <a:lnTo>
                      <a:pt x="32" y="97"/>
                    </a:lnTo>
                    <a:lnTo>
                      <a:pt x="33" y="98"/>
                    </a:lnTo>
                    <a:lnTo>
                      <a:pt x="34" y="98"/>
                    </a:lnTo>
                    <a:lnTo>
                      <a:pt x="35" y="99"/>
                    </a:lnTo>
                    <a:lnTo>
                      <a:pt x="36" y="99"/>
                    </a:lnTo>
                    <a:lnTo>
                      <a:pt x="37" y="99"/>
                    </a:lnTo>
                    <a:lnTo>
                      <a:pt x="38" y="100"/>
                    </a:lnTo>
                    <a:lnTo>
                      <a:pt x="39" y="100"/>
                    </a:lnTo>
                    <a:lnTo>
                      <a:pt x="40" y="100"/>
                    </a:lnTo>
                    <a:lnTo>
                      <a:pt x="41" y="101"/>
                    </a:lnTo>
                    <a:lnTo>
                      <a:pt x="42" y="101"/>
                    </a:lnTo>
                    <a:lnTo>
                      <a:pt x="43" y="101"/>
                    </a:lnTo>
                    <a:lnTo>
                      <a:pt x="44" y="101"/>
                    </a:lnTo>
                    <a:lnTo>
                      <a:pt x="45" y="102"/>
                    </a:lnTo>
                    <a:lnTo>
                      <a:pt x="46" y="102"/>
                    </a:lnTo>
                    <a:lnTo>
                      <a:pt x="47" y="102"/>
                    </a:lnTo>
                    <a:lnTo>
                      <a:pt x="48" y="102"/>
                    </a:lnTo>
                    <a:lnTo>
                      <a:pt x="49" y="103"/>
                    </a:lnTo>
                    <a:lnTo>
                      <a:pt x="50" y="103"/>
                    </a:lnTo>
                    <a:lnTo>
                      <a:pt x="51" y="103"/>
                    </a:lnTo>
                    <a:lnTo>
                      <a:pt x="52" y="103"/>
                    </a:lnTo>
                    <a:lnTo>
                      <a:pt x="53" y="103"/>
                    </a:lnTo>
                    <a:lnTo>
                      <a:pt x="54" y="104"/>
                    </a:lnTo>
                    <a:lnTo>
                      <a:pt x="55" y="104"/>
                    </a:lnTo>
                    <a:lnTo>
                      <a:pt x="56" y="104"/>
                    </a:lnTo>
                    <a:lnTo>
                      <a:pt x="57" y="104"/>
                    </a:lnTo>
                    <a:lnTo>
                      <a:pt x="58" y="104"/>
                    </a:lnTo>
                    <a:lnTo>
                      <a:pt x="59" y="104"/>
                    </a:lnTo>
                    <a:lnTo>
                      <a:pt x="60" y="104"/>
                    </a:lnTo>
                    <a:lnTo>
                      <a:pt x="61" y="105"/>
                    </a:lnTo>
                    <a:lnTo>
                      <a:pt x="62" y="105"/>
                    </a:lnTo>
                    <a:lnTo>
                      <a:pt x="63" y="105"/>
                    </a:lnTo>
                    <a:lnTo>
                      <a:pt x="64" y="105"/>
                    </a:lnTo>
                    <a:lnTo>
                      <a:pt x="65" y="105"/>
                    </a:lnTo>
                    <a:lnTo>
                      <a:pt x="66" y="105"/>
                    </a:lnTo>
                    <a:lnTo>
                      <a:pt x="67" y="105"/>
                    </a:lnTo>
                    <a:lnTo>
                      <a:pt x="68" y="105"/>
                    </a:lnTo>
                    <a:lnTo>
                      <a:pt x="69" y="105"/>
                    </a:lnTo>
                    <a:lnTo>
                      <a:pt x="70" y="105"/>
                    </a:lnTo>
                    <a:lnTo>
                      <a:pt x="71" y="105"/>
                    </a:lnTo>
                    <a:lnTo>
                      <a:pt x="72" y="105"/>
                    </a:lnTo>
                    <a:lnTo>
                      <a:pt x="73" y="105"/>
                    </a:lnTo>
                    <a:lnTo>
                      <a:pt x="74" y="105"/>
                    </a:lnTo>
                    <a:lnTo>
                      <a:pt x="75" y="105"/>
                    </a:lnTo>
                    <a:lnTo>
                      <a:pt x="76" y="105"/>
                    </a:lnTo>
                    <a:lnTo>
                      <a:pt x="77" y="105"/>
                    </a:lnTo>
                    <a:lnTo>
                      <a:pt x="78" y="105"/>
                    </a:lnTo>
                    <a:lnTo>
                      <a:pt x="79" y="105"/>
                    </a:lnTo>
                    <a:lnTo>
                      <a:pt x="80" y="105"/>
                    </a:lnTo>
                    <a:lnTo>
                      <a:pt x="81" y="105"/>
                    </a:lnTo>
                    <a:lnTo>
                      <a:pt x="82" y="104"/>
                    </a:lnTo>
                    <a:lnTo>
                      <a:pt x="83" y="104"/>
                    </a:lnTo>
                    <a:lnTo>
                      <a:pt x="84" y="104"/>
                    </a:lnTo>
                    <a:lnTo>
                      <a:pt x="85" y="104"/>
                    </a:lnTo>
                    <a:lnTo>
                      <a:pt x="86" y="104"/>
                    </a:lnTo>
                    <a:lnTo>
                      <a:pt x="87" y="104"/>
                    </a:lnTo>
                    <a:lnTo>
                      <a:pt x="88" y="104"/>
                    </a:lnTo>
                    <a:lnTo>
                      <a:pt x="89" y="103"/>
                    </a:lnTo>
                    <a:lnTo>
                      <a:pt x="90" y="103"/>
                    </a:lnTo>
                    <a:lnTo>
                      <a:pt x="91" y="103"/>
                    </a:lnTo>
                    <a:lnTo>
                      <a:pt x="92" y="103"/>
                    </a:lnTo>
                    <a:lnTo>
                      <a:pt x="93" y="103"/>
                    </a:lnTo>
                    <a:lnTo>
                      <a:pt x="94" y="102"/>
                    </a:lnTo>
                    <a:lnTo>
                      <a:pt x="95" y="102"/>
                    </a:lnTo>
                    <a:lnTo>
                      <a:pt x="96" y="102"/>
                    </a:lnTo>
                    <a:lnTo>
                      <a:pt x="97" y="102"/>
                    </a:lnTo>
                    <a:lnTo>
                      <a:pt x="98" y="101"/>
                    </a:lnTo>
                    <a:lnTo>
                      <a:pt x="99" y="101"/>
                    </a:lnTo>
                    <a:lnTo>
                      <a:pt x="100" y="101"/>
                    </a:lnTo>
                    <a:lnTo>
                      <a:pt x="101" y="101"/>
                    </a:lnTo>
                    <a:lnTo>
                      <a:pt x="102" y="100"/>
                    </a:lnTo>
                    <a:lnTo>
                      <a:pt x="103" y="100"/>
                    </a:lnTo>
                    <a:lnTo>
                      <a:pt x="104" y="100"/>
                    </a:lnTo>
                    <a:lnTo>
                      <a:pt x="105" y="99"/>
                    </a:lnTo>
                    <a:lnTo>
                      <a:pt x="106" y="99"/>
                    </a:lnTo>
                    <a:lnTo>
                      <a:pt x="107" y="99"/>
                    </a:lnTo>
                    <a:lnTo>
                      <a:pt x="108" y="98"/>
                    </a:lnTo>
                    <a:lnTo>
                      <a:pt x="109" y="98"/>
                    </a:lnTo>
                    <a:lnTo>
                      <a:pt x="110" y="97"/>
                    </a:lnTo>
                    <a:lnTo>
                      <a:pt x="111" y="97"/>
                    </a:lnTo>
                    <a:lnTo>
                      <a:pt x="112" y="97"/>
                    </a:lnTo>
                    <a:lnTo>
                      <a:pt x="113" y="96"/>
                    </a:lnTo>
                    <a:lnTo>
                      <a:pt x="114" y="96"/>
                    </a:lnTo>
                    <a:lnTo>
                      <a:pt x="115" y="95"/>
                    </a:lnTo>
                    <a:lnTo>
                      <a:pt x="116" y="95"/>
                    </a:lnTo>
                    <a:lnTo>
                      <a:pt x="117" y="94"/>
                    </a:lnTo>
                    <a:lnTo>
                      <a:pt x="118" y="94"/>
                    </a:lnTo>
                    <a:lnTo>
                      <a:pt x="119" y="93"/>
                    </a:lnTo>
                    <a:lnTo>
                      <a:pt x="120" y="93"/>
                    </a:lnTo>
                    <a:lnTo>
                      <a:pt x="121" y="92"/>
                    </a:lnTo>
                    <a:lnTo>
                      <a:pt x="122" y="92"/>
                    </a:lnTo>
                    <a:lnTo>
                      <a:pt x="123" y="91"/>
                    </a:lnTo>
                    <a:lnTo>
                      <a:pt x="124" y="90"/>
                    </a:lnTo>
                    <a:lnTo>
                      <a:pt x="125" y="90"/>
                    </a:lnTo>
                    <a:lnTo>
                      <a:pt x="126" y="89"/>
                    </a:lnTo>
                    <a:lnTo>
                      <a:pt x="127" y="89"/>
                    </a:lnTo>
                    <a:lnTo>
                      <a:pt x="128" y="88"/>
                    </a:lnTo>
                    <a:lnTo>
                      <a:pt x="129" y="87"/>
                    </a:lnTo>
                    <a:lnTo>
                      <a:pt x="130" y="87"/>
                    </a:lnTo>
                    <a:lnTo>
                      <a:pt x="131" y="86"/>
                    </a:lnTo>
                    <a:lnTo>
                      <a:pt x="132" y="85"/>
                    </a:lnTo>
                    <a:lnTo>
                      <a:pt x="133" y="84"/>
                    </a:lnTo>
                    <a:lnTo>
                      <a:pt x="134" y="84"/>
                    </a:lnTo>
                    <a:lnTo>
                      <a:pt x="135" y="83"/>
                    </a:lnTo>
                    <a:lnTo>
                      <a:pt x="136" y="82"/>
                    </a:lnTo>
                    <a:lnTo>
                      <a:pt x="137" y="81"/>
                    </a:lnTo>
                    <a:lnTo>
                      <a:pt x="138" y="80"/>
                    </a:lnTo>
                    <a:lnTo>
                      <a:pt x="139" y="80"/>
                    </a:lnTo>
                    <a:lnTo>
                      <a:pt x="140" y="79"/>
                    </a:lnTo>
                    <a:lnTo>
                      <a:pt x="141" y="78"/>
                    </a:lnTo>
                    <a:lnTo>
                      <a:pt x="142" y="77"/>
                    </a:lnTo>
                    <a:lnTo>
                      <a:pt x="143" y="76"/>
                    </a:lnTo>
                    <a:lnTo>
                      <a:pt x="144" y="75"/>
                    </a:lnTo>
                    <a:lnTo>
                      <a:pt x="145" y="74"/>
                    </a:lnTo>
                    <a:lnTo>
                      <a:pt x="146" y="73"/>
                    </a:lnTo>
                    <a:lnTo>
                      <a:pt x="147" y="72"/>
                    </a:lnTo>
                    <a:lnTo>
                      <a:pt x="148" y="71"/>
                    </a:lnTo>
                    <a:lnTo>
                      <a:pt x="149" y="70"/>
                    </a:lnTo>
                    <a:lnTo>
                      <a:pt x="150" y="69"/>
                    </a:lnTo>
                    <a:lnTo>
                      <a:pt x="150" y="68"/>
                    </a:lnTo>
                    <a:lnTo>
                      <a:pt x="151" y="67"/>
                    </a:lnTo>
                    <a:lnTo>
                      <a:pt x="152" y="66"/>
                    </a:lnTo>
                    <a:lnTo>
                      <a:pt x="153" y="65"/>
                    </a:lnTo>
                    <a:lnTo>
                      <a:pt x="154" y="64"/>
                    </a:lnTo>
                    <a:lnTo>
                      <a:pt x="154" y="63"/>
                    </a:lnTo>
                    <a:lnTo>
                      <a:pt x="155" y="62"/>
                    </a:lnTo>
                    <a:lnTo>
                      <a:pt x="156" y="61"/>
                    </a:lnTo>
                    <a:lnTo>
                      <a:pt x="156" y="60"/>
                    </a:lnTo>
                    <a:lnTo>
                      <a:pt x="157" y="59"/>
                    </a:lnTo>
                    <a:lnTo>
                      <a:pt x="158" y="58"/>
                    </a:lnTo>
                    <a:lnTo>
                      <a:pt x="158" y="57"/>
                    </a:lnTo>
                    <a:lnTo>
                      <a:pt x="159" y="56"/>
                    </a:lnTo>
                    <a:lnTo>
                      <a:pt x="160" y="55"/>
                    </a:lnTo>
                    <a:lnTo>
                      <a:pt x="160" y="54"/>
                    </a:lnTo>
                    <a:lnTo>
                      <a:pt x="161" y="53"/>
                    </a:lnTo>
                    <a:lnTo>
                      <a:pt x="161" y="52"/>
                    </a:lnTo>
                    <a:lnTo>
                      <a:pt x="162" y="51"/>
                    </a:lnTo>
                    <a:lnTo>
                      <a:pt x="163" y="50"/>
                    </a:lnTo>
                    <a:lnTo>
                      <a:pt x="163" y="49"/>
                    </a:lnTo>
                    <a:lnTo>
                      <a:pt x="164" y="48"/>
                    </a:lnTo>
                    <a:lnTo>
                      <a:pt x="164" y="47"/>
                    </a:lnTo>
                    <a:lnTo>
                      <a:pt x="165" y="46"/>
                    </a:lnTo>
                    <a:lnTo>
                      <a:pt x="165" y="45"/>
                    </a:lnTo>
                    <a:lnTo>
                      <a:pt x="166" y="44"/>
                    </a:lnTo>
                    <a:lnTo>
                      <a:pt x="166" y="43"/>
                    </a:lnTo>
                    <a:lnTo>
                      <a:pt x="166" y="42"/>
                    </a:lnTo>
                    <a:lnTo>
                      <a:pt x="167" y="41"/>
                    </a:lnTo>
                    <a:lnTo>
                      <a:pt x="167" y="40"/>
                    </a:lnTo>
                    <a:lnTo>
                      <a:pt x="168" y="39"/>
                    </a:lnTo>
                    <a:lnTo>
                      <a:pt x="168" y="38"/>
                    </a:lnTo>
                    <a:lnTo>
                      <a:pt x="168" y="37"/>
                    </a:lnTo>
                    <a:lnTo>
                      <a:pt x="169" y="36"/>
                    </a:lnTo>
                    <a:lnTo>
                      <a:pt x="169" y="35"/>
                    </a:lnTo>
                    <a:lnTo>
                      <a:pt x="170" y="34"/>
                    </a:lnTo>
                    <a:lnTo>
                      <a:pt x="170" y="33"/>
                    </a:lnTo>
                    <a:lnTo>
                      <a:pt x="170" y="32"/>
                    </a:lnTo>
                    <a:lnTo>
                      <a:pt x="170" y="31"/>
                    </a:lnTo>
                    <a:lnTo>
                      <a:pt x="171" y="30"/>
                    </a:lnTo>
                    <a:lnTo>
                      <a:pt x="171" y="29"/>
                    </a:lnTo>
                    <a:lnTo>
                      <a:pt x="171" y="28"/>
                    </a:lnTo>
                    <a:lnTo>
                      <a:pt x="172" y="27"/>
                    </a:lnTo>
                    <a:lnTo>
                      <a:pt x="172" y="26"/>
                    </a:lnTo>
                    <a:lnTo>
                      <a:pt x="172" y="25"/>
                    </a:lnTo>
                    <a:lnTo>
                      <a:pt x="172" y="24"/>
                    </a:lnTo>
                    <a:lnTo>
                      <a:pt x="173" y="23"/>
                    </a:lnTo>
                    <a:lnTo>
                      <a:pt x="173" y="22"/>
                    </a:lnTo>
                    <a:lnTo>
                      <a:pt x="173" y="21"/>
                    </a:lnTo>
                    <a:lnTo>
                      <a:pt x="173" y="20"/>
                    </a:lnTo>
                    <a:lnTo>
                      <a:pt x="173" y="19"/>
                    </a:lnTo>
                    <a:lnTo>
                      <a:pt x="174" y="18"/>
                    </a:lnTo>
                    <a:lnTo>
                      <a:pt x="174" y="17"/>
                    </a:lnTo>
                    <a:lnTo>
                      <a:pt x="174" y="16"/>
                    </a:lnTo>
                    <a:lnTo>
                      <a:pt x="174" y="15"/>
                    </a:lnTo>
                    <a:lnTo>
                      <a:pt x="174" y="14"/>
                    </a:lnTo>
                    <a:lnTo>
                      <a:pt x="174" y="13"/>
                    </a:lnTo>
                    <a:lnTo>
                      <a:pt x="174" y="12"/>
                    </a:lnTo>
                    <a:lnTo>
                      <a:pt x="174" y="11"/>
                    </a:lnTo>
                    <a:lnTo>
                      <a:pt x="175" y="10"/>
                    </a:lnTo>
                    <a:lnTo>
                      <a:pt x="175" y="9"/>
                    </a:lnTo>
                    <a:lnTo>
                      <a:pt x="175" y="8"/>
                    </a:lnTo>
                    <a:lnTo>
                      <a:pt x="175" y="7"/>
                    </a:lnTo>
                    <a:lnTo>
                      <a:pt x="175" y="6"/>
                    </a:lnTo>
                    <a:lnTo>
                      <a:pt x="175" y="5"/>
                    </a:lnTo>
                    <a:lnTo>
                      <a:pt x="175" y="4"/>
                    </a:lnTo>
                    <a:lnTo>
                      <a:pt x="175" y="3"/>
                    </a:lnTo>
                    <a:lnTo>
                      <a:pt x="175" y="2"/>
                    </a:lnTo>
                    <a:lnTo>
                      <a:pt x="175" y="1"/>
                    </a:lnTo>
                    <a:lnTo>
                      <a:pt x="175" y="0"/>
                    </a:lnTo>
                    <a:lnTo>
                      <a:pt x="175" y="0"/>
                    </a:lnTo>
                    <a:lnTo>
                      <a:pt x="71" y="0"/>
                    </a:lnTo>
                    <a:lnTo>
                      <a:pt x="0" y="76"/>
                    </a:ln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138"/>
              </a:p>
            </p:txBody>
          </p:sp>
          <p:sp>
            <p:nvSpPr>
              <p:cNvPr id="79" name="Freeform 77"/>
              <p:cNvSpPr>
                <a:spLocks/>
              </p:cNvSpPr>
              <p:nvPr/>
            </p:nvSpPr>
            <p:spPr bwMode="auto">
              <a:xfrm>
                <a:off x="2890" y="789"/>
                <a:ext cx="329" cy="326"/>
              </a:xfrm>
              <a:custGeom>
                <a:avLst/>
                <a:gdLst>
                  <a:gd name="T0" fmla="*/ 208 w 208"/>
                  <a:gd name="T1" fmla="*/ 98 h 206"/>
                  <a:gd name="T2" fmla="*/ 207 w 208"/>
                  <a:gd name="T3" fmla="*/ 91 h 206"/>
                  <a:gd name="T4" fmla="*/ 206 w 208"/>
                  <a:gd name="T5" fmla="*/ 84 h 206"/>
                  <a:gd name="T6" fmla="*/ 204 w 208"/>
                  <a:gd name="T7" fmla="*/ 77 h 206"/>
                  <a:gd name="T8" fmla="*/ 202 w 208"/>
                  <a:gd name="T9" fmla="*/ 70 h 206"/>
                  <a:gd name="T10" fmla="*/ 200 w 208"/>
                  <a:gd name="T11" fmla="*/ 63 h 206"/>
                  <a:gd name="T12" fmla="*/ 196 w 208"/>
                  <a:gd name="T13" fmla="*/ 56 h 206"/>
                  <a:gd name="T14" fmla="*/ 192 w 208"/>
                  <a:gd name="T15" fmla="*/ 49 h 206"/>
                  <a:gd name="T16" fmla="*/ 187 w 208"/>
                  <a:gd name="T17" fmla="*/ 42 h 206"/>
                  <a:gd name="T18" fmla="*/ 182 w 208"/>
                  <a:gd name="T19" fmla="*/ 35 h 206"/>
                  <a:gd name="T20" fmla="*/ 175 w 208"/>
                  <a:gd name="T21" fmla="*/ 28 h 206"/>
                  <a:gd name="T22" fmla="*/ 168 w 208"/>
                  <a:gd name="T23" fmla="*/ 22 h 206"/>
                  <a:gd name="T24" fmla="*/ 161 w 208"/>
                  <a:gd name="T25" fmla="*/ 17 h 206"/>
                  <a:gd name="T26" fmla="*/ 154 w 208"/>
                  <a:gd name="T27" fmla="*/ 13 h 206"/>
                  <a:gd name="T28" fmla="*/ 147 w 208"/>
                  <a:gd name="T29" fmla="*/ 9 h 206"/>
                  <a:gd name="T30" fmla="*/ 140 w 208"/>
                  <a:gd name="T31" fmla="*/ 6 h 206"/>
                  <a:gd name="T32" fmla="*/ 133 w 208"/>
                  <a:gd name="T33" fmla="*/ 4 h 206"/>
                  <a:gd name="T34" fmla="*/ 126 w 208"/>
                  <a:gd name="T35" fmla="*/ 2 h 206"/>
                  <a:gd name="T36" fmla="*/ 119 w 208"/>
                  <a:gd name="T37" fmla="*/ 1 h 206"/>
                  <a:gd name="T38" fmla="*/ 112 w 208"/>
                  <a:gd name="T39" fmla="*/ 0 h 206"/>
                  <a:gd name="T40" fmla="*/ 105 w 208"/>
                  <a:gd name="T41" fmla="*/ 0 h 206"/>
                  <a:gd name="T42" fmla="*/ 98 w 208"/>
                  <a:gd name="T43" fmla="*/ 0 h 206"/>
                  <a:gd name="T44" fmla="*/ 91 w 208"/>
                  <a:gd name="T45" fmla="*/ 1 h 206"/>
                  <a:gd name="T46" fmla="*/ 84 w 208"/>
                  <a:gd name="T47" fmla="*/ 2 h 206"/>
                  <a:gd name="T48" fmla="*/ 77 w 208"/>
                  <a:gd name="T49" fmla="*/ 4 h 206"/>
                  <a:gd name="T50" fmla="*/ 70 w 208"/>
                  <a:gd name="T51" fmla="*/ 6 h 206"/>
                  <a:gd name="T52" fmla="*/ 63 w 208"/>
                  <a:gd name="T53" fmla="*/ 8 h 206"/>
                  <a:gd name="T54" fmla="*/ 56 w 208"/>
                  <a:gd name="T55" fmla="*/ 12 h 206"/>
                  <a:gd name="T56" fmla="*/ 49 w 208"/>
                  <a:gd name="T57" fmla="*/ 16 h 206"/>
                  <a:gd name="T58" fmla="*/ 42 w 208"/>
                  <a:gd name="T59" fmla="*/ 21 h 206"/>
                  <a:gd name="T60" fmla="*/ 35 w 208"/>
                  <a:gd name="T61" fmla="*/ 26 h 206"/>
                  <a:gd name="T62" fmla="*/ 28 w 208"/>
                  <a:gd name="T63" fmla="*/ 33 h 206"/>
                  <a:gd name="T64" fmla="*/ 22 w 208"/>
                  <a:gd name="T65" fmla="*/ 40 h 206"/>
                  <a:gd name="T66" fmla="*/ 17 w 208"/>
                  <a:gd name="T67" fmla="*/ 47 h 206"/>
                  <a:gd name="T68" fmla="*/ 13 w 208"/>
                  <a:gd name="T69" fmla="*/ 54 h 206"/>
                  <a:gd name="T70" fmla="*/ 9 w 208"/>
                  <a:gd name="T71" fmla="*/ 61 h 206"/>
                  <a:gd name="T72" fmla="*/ 6 w 208"/>
                  <a:gd name="T73" fmla="*/ 68 h 206"/>
                  <a:gd name="T74" fmla="*/ 4 w 208"/>
                  <a:gd name="T75" fmla="*/ 75 h 206"/>
                  <a:gd name="T76" fmla="*/ 2 w 208"/>
                  <a:gd name="T77" fmla="*/ 82 h 206"/>
                  <a:gd name="T78" fmla="*/ 1 w 208"/>
                  <a:gd name="T79" fmla="*/ 89 h 206"/>
                  <a:gd name="T80" fmla="*/ 0 w 208"/>
                  <a:gd name="T81" fmla="*/ 96 h 206"/>
                  <a:gd name="T82" fmla="*/ 0 w 208"/>
                  <a:gd name="T83" fmla="*/ 103 h 206"/>
                  <a:gd name="T84" fmla="*/ 0 w 208"/>
                  <a:gd name="T85" fmla="*/ 110 h 206"/>
                  <a:gd name="T86" fmla="*/ 1 w 208"/>
                  <a:gd name="T87" fmla="*/ 117 h 206"/>
                  <a:gd name="T88" fmla="*/ 2 w 208"/>
                  <a:gd name="T89" fmla="*/ 124 h 206"/>
                  <a:gd name="T90" fmla="*/ 4 w 208"/>
                  <a:gd name="T91" fmla="*/ 131 h 206"/>
                  <a:gd name="T92" fmla="*/ 6 w 208"/>
                  <a:gd name="T93" fmla="*/ 138 h 206"/>
                  <a:gd name="T94" fmla="*/ 8 w 208"/>
                  <a:gd name="T95" fmla="*/ 145 h 206"/>
                  <a:gd name="T96" fmla="*/ 12 w 208"/>
                  <a:gd name="T97" fmla="*/ 152 h 206"/>
                  <a:gd name="T98" fmla="*/ 16 w 208"/>
                  <a:gd name="T99" fmla="*/ 159 h 206"/>
                  <a:gd name="T100" fmla="*/ 21 w 208"/>
                  <a:gd name="T101" fmla="*/ 166 h 206"/>
                  <a:gd name="T102" fmla="*/ 26 w 208"/>
                  <a:gd name="T103" fmla="*/ 173 h 206"/>
                  <a:gd name="T104" fmla="*/ 33 w 208"/>
                  <a:gd name="T105" fmla="*/ 180 h 206"/>
                  <a:gd name="T106" fmla="*/ 40 w 208"/>
                  <a:gd name="T107" fmla="*/ 186 h 206"/>
                  <a:gd name="T108" fmla="*/ 47 w 208"/>
                  <a:gd name="T109" fmla="*/ 191 h 206"/>
                  <a:gd name="T110" fmla="*/ 54 w 208"/>
                  <a:gd name="T111" fmla="*/ 195 h 206"/>
                  <a:gd name="T112" fmla="*/ 61 w 208"/>
                  <a:gd name="T113" fmla="*/ 199 h 206"/>
                  <a:gd name="T114" fmla="*/ 68 w 208"/>
                  <a:gd name="T115" fmla="*/ 202 h 206"/>
                  <a:gd name="T116" fmla="*/ 75 w 208"/>
                  <a:gd name="T117" fmla="*/ 204 h 206"/>
                  <a:gd name="T118" fmla="*/ 82 w 208"/>
                  <a:gd name="T119" fmla="*/ 20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8" h="206">
                    <a:moveTo>
                      <a:pt x="208" y="104"/>
                    </a:moveTo>
                    <a:lnTo>
                      <a:pt x="208" y="103"/>
                    </a:lnTo>
                    <a:lnTo>
                      <a:pt x="208" y="102"/>
                    </a:lnTo>
                    <a:lnTo>
                      <a:pt x="208" y="101"/>
                    </a:lnTo>
                    <a:lnTo>
                      <a:pt x="208" y="100"/>
                    </a:lnTo>
                    <a:lnTo>
                      <a:pt x="208" y="99"/>
                    </a:lnTo>
                    <a:lnTo>
                      <a:pt x="208" y="98"/>
                    </a:lnTo>
                    <a:lnTo>
                      <a:pt x="208" y="97"/>
                    </a:lnTo>
                    <a:lnTo>
                      <a:pt x="208" y="96"/>
                    </a:lnTo>
                    <a:lnTo>
                      <a:pt x="208" y="95"/>
                    </a:lnTo>
                    <a:lnTo>
                      <a:pt x="208" y="94"/>
                    </a:lnTo>
                    <a:lnTo>
                      <a:pt x="207" y="93"/>
                    </a:lnTo>
                    <a:lnTo>
                      <a:pt x="207" y="92"/>
                    </a:lnTo>
                    <a:lnTo>
                      <a:pt x="207" y="91"/>
                    </a:lnTo>
                    <a:lnTo>
                      <a:pt x="207" y="90"/>
                    </a:lnTo>
                    <a:lnTo>
                      <a:pt x="207" y="89"/>
                    </a:lnTo>
                    <a:lnTo>
                      <a:pt x="207" y="88"/>
                    </a:lnTo>
                    <a:lnTo>
                      <a:pt x="207" y="87"/>
                    </a:lnTo>
                    <a:lnTo>
                      <a:pt x="206" y="86"/>
                    </a:lnTo>
                    <a:lnTo>
                      <a:pt x="206" y="85"/>
                    </a:lnTo>
                    <a:lnTo>
                      <a:pt x="206" y="84"/>
                    </a:lnTo>
                    <a:lnTo>
                      <a:pt x="206" y="83"/>
                    </a:lnTo>
                    <a:lnTo>
                      <a:pt x="206" y="82"/>
                    </a:lnTo>
                    <a:lnTo>
                      <a:pt x="205" y="81"/>
                    </a:lnTo>
                    <a:lnTo>
                      <a:pt x="205" y="80"/>
                    </a:lnTo>
                    <a:lnTo>
                      <a:pt x="205" y="79"/>
                    </a:lnTo>
                    <a:lnTo>
                      <a:pt x="205" y="78"/>
                    </a:lnTo>
                    <a:lnTo>
                      <a:pt x="204" y="77"/>
                    </a:lnTo>
                    <a:lnTo>
                      <a:pt x="204" y="76"/>
                    </a:lnTo>
                    <a:lnTo>
                      <a:pt x="204" y="75"/>
                    </a:lnTo>
                    <a:lnTo>
                      <a:pt x="204" y="74"/>
                    </a:lnTo>
                    <a:lnTo>
                      <a:pt x="203" y="73"/>
                    </a:lnTo>
                    <a:lnTo>
                      <a:pt x="203" y="72"/>
                    </a:lnTo>
                    <a:lnTo>
                      <a:pt x="203" y="71"/>
                    </a:lnTo>
                    <a:lnTo>
                      <a:pt x="202" y="70"/>
                    </a:lnTo>
                    <a:lnTo>
                      <a:pt x="202" y="69"/>
                    </a:lnTo>
                    <a:lnTo>
                      <a:pt x="202" y="68"/>
                    </a:lnTo>
                    <a:lnTo>
                      <a:pt x="201" y="67"/>
                    </a:lnTo>
                    <a:lnTo>
                      <a:pt x="201" y="66"/>
                    </a:lnTo>
                    <a:lnTo>
                      <a:pt x="200" y="65"/>
                    </a:lnTo>
                    <a:lnTo>
                      <a:pt x="200" y="64"/>
                    </a:lnTo>
                    <a:lnTo>
                      <a:pt x="200" y="63"/>
                    </a:lnTo>
                    <a:lnTo>
                      <a:pt x="199" y="62"/>
                    </a:lnTo>
                    <a:lnTo>
                      <a:pt x="199" y="61"/>
                    </a:lnTo>
                    <a:lnTo>
                      <a:pt x="198" y="60"/>
                    </a:lnTo>
                    <a:lnTo>
                      <a:pt x="198" y="59"/>
                    </a:lnTo>
                    <a:lnTo>
                      <a:pt x="197" y="58"/>
                    </a:lnTo>
                    <a:lnTo>
                      <a:pt x="197" y="57"/>
                    </a:lnTo>
                    <a:lnTo>
                      <a:pt x="196" y="56"/>
                    </a:lnTo>
                    <a:lnTo>
                      <a:pt x="196" y="55"/>
                    </a:lnTo>
                    <a:lnTo>
                      <a:pt x="195" y="54"/>
                    </a:lnTo>
                    <a:lnTo>
                      <a:pt x="195" y="53"/>
                    </a:lnTo>
                    <a:lnTo>
                      <a:pt x="194" y="52"/>
                    </a:lnTo>
                    <a:lnTo>
                      <a:pt x="193" y="51"/>
                    </a:lnTo>
                    <a:lnTo>
                      <a:pt x="193" y="50"/>
                    </a:lnTo>
                    <a:lnTo>
                      <a:pt x="192" y="49"/>
                    </a:lnTo>
                    <a:lnTo>
                      <a:pt x="192" y="48"/>
                    </a:lnTo>
                    <a:lnTo>
                      <a:pt x="191" y="47"/>
                    </a:lnTo>
                    <a:lnTo>
                      <a:pt x="190" y="46"/>
                    </a:lnTo>
                    <a:lnTo>
                      <a:pt x="190" y="45"/>
                    </a:lnTo>
                    <a:lnTo>
                      <a:pt x="189" y="44"/>
                    </a:lnTo>
                    <a:lnTo>
                      <a:pt x="188" y="43"/>
                    </a:lnTo>
                    <a:lnTo>
                      <a:pt x="187" y="42"/>
                    </a:lnTo>
                    <a:lnTo>
                      <a:pt x="187" y="41"/>
                    </a:lnTo>
                    <a:lnTo>
                      <a:pt x="186" y="40"/>
                    </a:lnTo>
                    <a:lnTo>
                      <a:pt x="185" y="39"/>
                    </a:lnTo>
                    <a:lnTo>
                      <a:pt x="184" y="38"/>
                    </a:lnTo>
                    <a:lnTo>
                      <a:pt x="184" y="37"/>
                    </a:lnTo>
                    <a:lnTo>
                      <a:pt x="183" y="36"/>
                    </a:lnTo>
                    <a:lnTo>
                      <a:pt x="182" y="35"/>
                    </a:lnTo>
                    <a:lnTo>
                      <a:pt x="181" y="34"/>
                    </a:lnTo>
                    <a:lnTo>
                      <a:pt x="180" y="33"/>
                    </a:lnTo>
                    <a:lnTo>
                      <a:pt x="179" y="32"/>
                    </a:lnTo>
                    <a:lnTo>
                      <a:pt x="178" y="31"/>
                    </a:lnTo>
                    <a:lnTo>
                      <a:pt x="177" y="30"/>
                    </a:lnTo>
                    <a:lnTo>
                      <a:pt x="176" y="29"/>
                    </a:lnTo>
                    <a:lnTo>
                      <a:pt x="175" y="28"/>
                    </a:lnTo>
                    <a:lnTo>
                      <a:pt x="174" y="27"/>
                    </a:lnTo>
                    <a:lnTo>
                      <a:pt x="173" y="26"/>
                    </a:lnTo>
                    <a:lnTo>
                      <a:pt x="172" y="25"/>
                    </a:lnTo>
                    <a:lnTo>
                      <a:pt x="171" y="24"/>
                    </a:lnTo>
                    <a:lnTo>
                      <a:pt x="170" y="24"/>
                    </a:lnTo>
                    <a:lnTo>
                      <a:pt x="169" y="23"/>
                    </a:lnTo>
                    <a:lnTo>
                      <a:pt x="168" y="22"/>
                    </a:lnTo>
                    <a:lnTo>
                      <a:pt x="167" y="21"/>
                    </a:lnTo>
                    <a:lnTo>
                      <a:pt x="166" y="21"/>
                    </a:lnTo>
                    <a:lnTo>
                      <a:pt x="165" y="20"/>
                    </a:lnTo>
                    <a:lnTo>
                      <a:pt x="164" y="19"/>
                    </a:lnTo>
                    <a:lnTo>
                      <a:pt x="163" y="18"/>
                    </a:lnTo>
                    <a:lnTo>
                      <a:pt x="162" y="18"/>
                    </a:lnTo>
                    <a:lnTo>
                      <a:pt x="161" y="17"/>
                    </a:lnTo>
                    <a:lnTo>
                      <a:pt x="160" y="16"/>
                    </a:lnTo>
                    <a:lnTo>
                      <a:pt x="159" y="16"/>
                    </a:lnTo>
                    <a:lnTo>
                      <a:pt x="158" y="15"/>
                    </a:lnTo>
                    <a:lnTo>
                      <a:pt x="157" y="15"/>
                    </a:lnTo>
                    <a:lnTo>
                      <a:pt x="156" y="14"/>
                    </a:lnTo>
                    <a:lnTo>
                      <a:pt x="155" y="13"/>
                    </a:lnTo>
                    <a:lnTo>
                      <a:pt x="154" y="13"/>
                    </a:lnTo>
                    <a:lnTo>
                      <a:pt x="153" y="12"/>
                    </a:lnTo>
                    <a:lnTo>
                      <a:pt x="152" y="12"/>
                    </a:lnTo>
                    <a:lnTo>
                      <a:pt x="151" y="11"/>
                    </a:lnTo>
                    <a:lnTo>
                      <a:pt x="150" y="11"/>
                    </a:lnTo>
                    <a:lnTo>
                      <a:pt x="149" y="10"/>
                    </a:lnTo>
                    <a:lnTo>
                      <a:pt x="148" y="10"/>
                    </a:lnTo>
                    <a:lnTo>
                      <a:pt x="147" y="9"/>
                    </a:lnTo>
                    <a:lnTo>
                      <a:pt x="146" y="9"/>
                    </a:lnTo>
                    <a:lnTo>
                      <a:pt x="145" y="8"/>
                    </a:lnTo>
                    <a:lnTo>
                      <a:pt x="144" y="8"/>
                    </a:lnTo>
                    <a:lnTo>
                      <a:pt x="143" y="8"/>
                    </a:lnTo>
                    <a:lnTo>
                      <a:pt x="142" y="7"/>
                    </a:lnTo>
                    <a:lnTo>
                      <a:pt x="141" y="7"/>
                    </a:lnTo>
                    <a:lnTo>
                      <a:pt x="140" y="6"/>
                    </a:lnTo>
                    <a:lnTo>
                      <a:pt x="139" y="6"/>
                    </a:lnTo>
                    <a:lnTo>
                      <a:pt x="138" y="6"/>
                    </a:lnTo>
                    <a:lnTo>
                      <a:pt x="137" y="5"/>
                    </a:lnTo>
                    <a:lnTo>
                      <a:pt x="136" y="5"/>
                    </a:lnTo>
                    <a:lnTo>
                      <a:pt x="135" y="5"/>
                    </a:lnTo>
                    <a:lnTo>
                      <a:pt x="134" y="4"/>
                    </a:lnTo>
                    <a:lnTo>
                      <a:pt x="133" y="4"/>
                    </a:lnTo>
                    <a:lnTo>
                      <a:pt x="132" y="4"/>
                    </a:lnTo>
                    <a:lnTo>
                      <a:pt x="131" y="4"/>
                    </a:lnTo>
                    <a:lnTo>
                      <a:pt x="130" y="3"/>
                    </a:lnTo>
                    <a:lnTo>
                      <a:pt x="129" y="3"/>
                    </a:lnTo>
                    <a:lnTo>
                      <a:pt x="128" y="3"/>
                    </a:lnTo>
                    <a:lnTo>
                      <a:pt x="127" y="3"/>
                    </a:lnTo>
                    <a:lnTo>
                      <a:pt x="126" y="2"/>
                    </a:lnTo>
                    <a:lnTo>
                      <a:pt x="125" y="2"/>
                    </a:lnTo>
                    <a:lnTo>
                      <a:pt x="124" y="2"/>
                    </a:lnTo>
                    <a:lnTo>
                      <a:pt x="123" y="2"/>
                    </a:lnTo>
                    <a:lnTo>
                      <a:pt x="122" y="2"/>
                    </a:lnTo>
                    <a:lnTo>
                      <a:pt x="121" y="1"/>
                    </a:lnTo>
                    <a:lnTo>
                      <a:pt x="120" y="1"/>
                    </a:lnTo>
                    <a:lnTo>
                      <a:pt x="119" y="1"/>
                    </a:lnTo>
                    <a:lnTo>
                      <a:pt x="118" y="1"/>
                    </a:lnTo>
                    <a:lnTo>
                      <a:pt x="117" y="1"/>
                    </a:lnTo>
                    <a:lnTo>
                      <a:pt x="116" y="1"/>
                    </a:lnTo>
                    <a:lnTo>
                      <a:pt x="115" y="1"/>
                    </a:lnTo>
                    <a:lnTo>
                      <a:pt x="114" y="0"/>
                    </a:lnTo>
                    <a:lnTo>
                      <a:pt x="113" y="0"/>
                    </a:lnTo>
                    <a:lnTo>
                      <a:pt x="112" y="0"/>
                    </a:lnTo>
                    <a:lnTo>
                      <a:pt x="111" y="0"/>
                    </a:lnTo>
                    <a:lnTo>
                      <a:pt x="110" y="0"/>
                    </a:lnTo>
                    <a:lnTo>
                      <a:pt x="109" y="0"/>
                    </a:lnTo>
                    <a:lnTo>
                      <a:pt x="108" y="0"/>
                    </a:lnTo>
                    <a:lnTo>
                      <a:pt x="107" y="0"/>
                    </a:lnTo>
                    <a:lnTo>
                      <a:pt x="106" y="0"/>
                    </a:lnTo>
                    <a:lnTo>
                      <a:pt x="105" y="0"/>
                    </a:lnTo>
                    <a:lnTo>
                      <a:pt x="104" y="0"/>
                    </a:lnTo>
                    <a:lnTo>
                      <a:pt x="103" y="0"/>
                    </a:lnTo>
                    <a:lnTo>
                      <a:pt x="102" y="0"/>
                    </a:lnTo>
                    <a:lnTo>
                      <a:pt x="101" y="0"/>
                    </a:lnTo>
                    <a:lnTo>
                      <a:pt x="100" y="0"/>
                    </a:lnTo>
                    <a:lnTo>
                      <a:pt x="99" y="0"/>
                    </a:lnTo>
                    <a:lnTo>
                      <a:pt x="98" y="0"/>
                    </a:lnTo>
                    <a:lnTo>
                      <a:pt x="97" y="0"/>
                    </a:lnTo>
                    <a:lnTo>
                      <a:pt x="96" y="0"/>
                    </a:lnTo>
                    <a:lnTo>
                      <a:pt x="95" y="0"/>
                    </a:lnTo>
                    <a:lnTo>
                      <a:pt x="94" y="0"/>
                    </a:lnTo>
                    <a:lnTo>
                      <a:pt x="93" y="1"/>
                    </a:lnTo>
                    <a:lnTo>
                      <a:pt x="92" y="1"/>
                    </a:lnTo>
                    <a:lnTo>
                      <a:pt x="91" y="1"/>
                    </a:lnTo>
                    <a:lnTo>
                      <a:pt x="90" y="1"/>
                    </a:lnTo>
                    <a:lnTo>
                      <a:pt x="89" y="1"/>
                    </a:lnTo>
                    <a:lnTo>
                      <a:pt x="88" y="1"/>
                    </a:lnTo>
                    <a:lnTo>
                      <a:pt x="87" y="1"/>
                    </a:lnTo>
                    <a:lnTo>
                      <a:pt x="86" y="2"/>
                    </a:lnTo>
                    <a:lnTo>
                      <a:pt x="85" y="2"/>
                    </a:lnTo>
                    <a:lnTo>
                      <a:pt x="84" y="2"/>
                    </a:lnTo>
                    <a:lnTo>
                      <a:pt x="83" y="2"/>
                    </a:lnTo>
                    <a:lnTo>
                      <a:pt x="82" y="2"/>
                    </a:lnTo>
                    <a:lnTo>
                      <a:pt x="81" y="3"/>
                    </a:lnTo>
                    <a:lnTo>
                      <a:pt x="80" y="3"/>
                    </a:lnTo>
                    <a:lnTo>
                      <a:pt x="79" y="3"/>
                    </a:lnTo>
                    <a:lnTo>
                      <a:pt x="78" y="3"/>
                    </a:lnTo>
                    <a:lnTo>
                      <a:pt x="77" y="4"/>
                    </a:lnTo>
                    <a:lnTo>
                      <a:pt x="76" y="4"/>
                    </a:lnTo>
                    <a:lnTo>
                      <a:pt x="75" y="4"/>
                    </a:lnTo>
                    <a:lnTo>
                      <a:pt x="74" y="4"/>
                    </a:lnTo>
                    <a:lnTo>
                      <a:pt x="73" y="5"/>
                    </a:lnTo>
                    <a:lnTo>
                      <a:pt x="72" y="5"/>
                    </a:lnTo>
                    <a:lnTo>
                      <a:pt x="71" y="5"/>
                    </a:lnTo>
                    <a:lnTo>
                      <a:pt x="70" y="6"/>
                    </a:lnTo>
                    <a:lnTo>
                      <a:pt x="69" y="6"/>
                    </a:lnTo>
                    <a:lnTo>
                      <a:pt x="68" y="6"/>
                    </a:lnTo>
                    <a:lnTo>
                      <a:pt x="67" y="7"/>
                    </a:lnTo>
                    <a:lnTo>
                      <a:pt x="66" y="7"/>
                    </a:lnTo>
                    <a:lnTo>
                      <a:pt x="65" y="8"/>
                    </a:lnTo>
                    <a:lnTo>
                      <a:pt x="64" y="8"/>
                    </a:lnTo>
                    <a:lnTo>
                      <a:pt x="63" y="8"/>
                    </a:lnTo>
                    <a:lnTo>
                      <a:pt x="62" y="9"/>
                    </a:lnTo>
                    <a:lnTo>
                      <a:pt x="61" y="9"/>
                    </a:lnTo>
                    <a:lnTo>
                      <a:pt x="60" y="10"/>
                    </a:lnTo>
                    <a:lnTo>
                      <a:pt x="59" y="10"/>
                    </a:lnTo>
                    <a:lnTo>
                      <a:pt x="58" y="11"/>
                    </a:lnTo>
                    <a:lnTo>
                      <a:pt x="57" y="11"/>
                    </a:lnTo>
                    <a:lnTo>
                      <a:pt x="56" y="12"/>
                    </a:lnTo>
                    <a:lnTo>
                      <a:pt x="55" y="12"/>
                    </a:lnTo>
                    <a:lnTo>
                      <a:pt x="54" y="13"/>
                    </a:lnTo>
                    <a:lnTo>
                      <a:pt x="53" y="13"/>
                    </a:lnTo>
                    <a:lnTo>
                      <a:pt x="52" y="14"/>
                    </a:lnTo>
                    <a:lnTo>
                      <a:pt x="51" y="15"/>
                    </a:lnTo>
                    <a:lnTo>
                      <a:pt x="50" y="15"/>
                    </a:lnTo>
                    <a:lnTo>
                      <a:pt x="49" y="16"/>
                    </a:lnTo>
                    <a:lnTo>
                      <a:pt x="48" y="16"/>
                    </a:lnTo>
                    <a:lnTo>
                      <a:pt x="47" y="17"/>
                    </a:lnTo>
                    <a:lnTo>
                      <a:pt x="46" y="18"/>
                    </a:lnTo>
                    <a:lnTo>
                      <a:pt x="45" y="18"/>
                    </a:lnTo>
                    <a:lnTo>
                      <a:pt x="44" y="19"/>
                    </a:lnTo>
                    <a:lnTo>
                      <a:pt x="43" y="20"/>
                    </a:lnTo>
                    <a:lnTo>
                      <a:pt x="42" y="21"/>
                    </a:lnTo>
                    <a:lnTo>
                      <a:pt x="41" y="21"/>
                    </a:lnTo>
                    <a:lnTo>
                      <a:pt x="40" y="22"/>
                    </a:lnTo>
                    <a:lnTo>
                      <a:pt x="39" y="23"/>
                    </a:lnTo>
                    <a:lnTo>
                      <a:pt x="38" y="24"/>
                    </a:lnTo>
                    <a:lnTo>
                      <a:pt x="37" y="24"/>
                    </a:lnTo>
                    <a:lnTo>
                      <a:pt x="36" y="25"/>
                    </a:lnTo>
                    <a:lnTo>
                      <a:pt x="35" y="26"/>
                    </a:lnTo>
                    <a:lnTo>
                      <a:pt x="34" y="27"/>
                    </a:lnTo>
                    <a:lnTo>
                      <a:pt x="33" y="28"/>
                    </a:lnTo>
                    <a:lnTo>
                      <a:pt x="32" y="29"/>
                    </a:lnTo>
                    <a:lnTo>
                      <a:pt x="31" y="30"/>
                    </a:lnTo>
                    <a:lnTo>
                      <a:pt x="30" y="31"/>
                    </a:lnTo>
                    <a:lnTo>
                      <a:pt x="29" y="32"/>
                    </a:lnTo>
                    <a:lnTo>
                      <a:pt x="28" y="33"/>
                    </a:lnTo>
                    <a:lnTo>
                      <a:pt x="27" y="34"/>
                    </a:lnTo>
                    <a:lnTo>
                      <a:pt x="26" y="35"/>
                    </a:lnTo>
                    <a:lnTo>
                      <a:pt x="25" y="36"/>
                    </a:lnTo>
                    <a:lnTo>
                      <a:pt x="24" y="37"/>
                    </a:lnTo>
                    <a:lnTo>
                      <a:pt x="24" y="38"/>
                    </a:lnTo>
                    <a:lnTo>
                      <a:pt x="23" y="39"/>
                    </a:lnTo>
                    <a:lnTo>
                      <a:pt x="22" y="40"/>
                    </a:lnTo>
                    <a:lnTo>
                      <a:pt x="21" y="41"/>
                    </a:lnTo>
                    <a:lnTo>
                      <a:pt x="21" y="42"/>
                    </a:lnTo>
                    <a:lnTo>
                      <a:pt x="20" y="43"/>
                    </a:lnTo>
                    <a:lnTo>
                      <a:pt x="19" y="44"/>
                    </a:lnTo>
                    <a:lnTo>
                      <a:pt x="18" y="45"/>
                    </a:lnTo>
                    <a:lnTo>
                      <a:pt x="18" y="46"/>
                    </a:lnTo>
                    <a:lnTo>
                      <a:pt x="17" y="47"/>
                    </a:lnTo>
                    <a:lnTo>
                      <a:pt x="16" y="48"/>
                    </a:lnTo>
                    <a:lnTo>
                      <a:pt x="16" y="49"/>
                    </a:lnTo>
                    <a:lnTo>
                      <a:pt x="15" y="50"/>
                    </a:lnTo>
                    <a:lnTo>
                      <a:pt x="15" y="51"/>
                    </a:lnTo>
                    <a:lnTo>
                      <a:pt x="14" y="52"/>
                    </a:lnTo>
                    <a:lnTo>
                      <a:pt x="13" y="53"/>
                    </a:lnTo>
                    <a:lnTo>
                      <a:pt x="13" y="54"/>
                    </a:lnTo>
                    <a:lnTo>
                      <a:pt x="12" y="55"/>
                    </a:lnTo>
                    <a:lnTo>
                      <a:pt x="12" y="56"/>
                    </a:lnTo>
                    <a:lnTo>
                      <a:pt x="11" y="57"/>
                    </a:lnTo>
                    <a:lnTo>
                      <a:pt x="11" y="58"/>
                    </a:lnTo>
                    <a:lnTo>
                      <a:pt x="10" y="59"/>
                    </a:lnTo>
                    <a:lnTo>
                      <a:pt x="10" y="60"/>
                    </a:lnTo>
                    <a:lnTo>
                      <a:pt x="9" y="61"/>
                    </a:lnTo>
                    <a:lnTo>
                      <a:pt x="9" y="62"/>
                    </a:lnTo>
                    <a:lnTo>
                      <a:pt x="8" y="63"/>
                    </a:lnTo>
                    <a:lnTo>
                      <a:pt x="8" y="64"/>
                    </a:lnTo>
                    <a:lnTo>
                      <a:pt x="8" y="65"/>
                    </a:lnTo>
                    <a:lnTo>
                      <a:pt x="7" y="66"/>
                    </a:lnTo>
                    <a:lnTo>
                      <a:pt x="7" y="67"/>
                    </a:lnTo>
                    <a:lnTo>
                      <a:pt x="6" y="68"/>
                    </a:lnTo>
                    <a:lnTo>
                      <a:pt x="6" y="69"/>
                    </a:lnTo>
                    <a:lnTo>
                      <a:pt x="6" y="70"/>
                    </a:lnTo>
                    <a:lnTo>
                      <a:pt x="5" y="71"/>
                    </a:lnTo>
                    <a:lnTo>
                      <a:pt x="5" y="72"/>
                    </a:lnTo>
                    <a:lnTo>
                      <a:pt x="5" y="73"/>
                    </a:lnTo>
                    <a:lnTo>
                      <a:pt x="4" y="74"/>
                    </a:lnTo>
                    <a:lnTo>
                      <a:pt x="4" y="75"/>
                    </a:lnTo>
                    <a:lnTo>
                      <a:pt x="4" y="76"/>
                    </a:lnTo>
                    <a:lnTo>
                      <a:pt x="4" y="77"/>
                    </a:lnTo>
                    <a:lnTo>
                      <a:pt x="3" y="78"/>
                    </a:lnTo>
                    <a:lnTo>
                      <a:pt x="3" y="79"/>
                    </a:lnTo>
                    <a:lnTo>
                      <a:pt x="3" y="80"/>
                    </a:lnTo>
                    <a:lnTo>
                      <a:pt x="3" y="81"/>
                    </a:lnTo>
                    <a:lnTo>
                      <a:pt x="2" y="82"/>
                    </a:lnTo>
                    <a:lnTo>
                      <a:pt x="2" y="83"/>
                    </a:lnTo>
                    <a:lnTo>
                      <a:pt x="2" y="84"/>
                    </a:lnTo>
                    <a:lnTo>
                      <a:pt x="2" y="85"/>
                    </a:lnTo>
                    <a:lnTo>
                      <a:pt x="2" y="86"/>
                    </a:lnTo>
                    <a:lnTo>
                      <a:pt x="1" y="87"/>
                    </a:lnTo>
                    <a:lnTo>
                      <a:pt x="1" y="88"/>
                    </a:lnTo>
                    <a:lnTo>
                      <a:pt x="1" y="89"/>
                    </a:lnTo>
                    <a:lnTo>
                      <a:pt x="1" y="90"/>
                    </a:lnTo>
                    <a:lnTo>
                      <a:pt x="1" y="91"/>
                    </a:lnTo>
                    <a:lnTo>
                      <a:pt x="1" y="92"/>
                    </a:lnTo>
                    <a:lnTo>
                      <a:pt x="1" y="93"/>
                    </a:lnTo>
                    <a:lnTo>
                      <a:pt x="0" y="94"/>
                    </a:lnTo>
                    <a:lnTo>
                      <a:pt x="0" y="95"/>
                    </a:lnTo>
                    <a:lnTo>
                      <a:pt x="0" y="96"/>
                    </a:lnTo>
                    <a:lnTo>
                      <a:pt x="0" y="97"/>
                    </a:lnTo>
                    <a:lnTo>
                      <a:pt x="0" y="98"/>
                    </a:lnTo>
                    <a:lnTo>
                      <a:pt x="0" y="99"/>
                    </a:lnTo>
                    <a:lnTo>
                      <a:pt x="0" y="100"/>
                    </a:lnTo>
                    <a:lnTo>
                      <a:pt x="0" y="101"/>
                    </a:lnTo>
                    <a:lnTo>
                      <a:pt x="0" y="102"/>
                    </a:lnTo>
                    <a:lnTo>
                      <a:pt x="0" y="103"/>
                    </a:lnTo>
                    <a:lnTo>
                      <a:pt x="0" y="104"/>
                    </a:lnTo>
                    <a:lnTo>
                      <a:pt x="0" y="105"/>
                    </a:lnTo>
                    <a:lnTo>
                      <a:pt x="0" y="106"/>
                    </a:lnTo>
                    <a:lnTo>
                      <a:pt x="0" y="107"/>
                    </a:lnTo>
                    <a:lnTo>
                      <a:pt x="0" y="108"/>
                    </a:lnTo>
                    <a:lnTo>
                      <a:pt x="0" y="109"/>
                    </a:lnTo>
                    <a:lnTo>
                      <a:pt x="0" y="110"/>
                    </a:lnTo>
                    <a:lnTo>
                      <a:pt x="0" y="111"/>
                    </a:lnTo>
                    <a:lnTo>
                      <a:pt x="0" y="112"/>
                    </a:lnTo>
                    <a:lnTo>
                      <a:pt x="0" y="113"/>
                    </a:lnTo>
                    <a:lnTo>
                      <a:pt x="0" y="114"/>
                    </a:lnTo>
                    <a:lnTo>
                      <a:pt x="1" y="115"/>
                    </a:lnTo>
                    <a:lnTo>
                      <a:pt x="1" y="116"/>
                    </a:lnTo>
                    <a:lnTo>
                      <a:pt x="1" y="117"/>
                    </a:lnTo>
                    <a:lnTo>
                      <a:pt x="1" y="118"/>
                    </a:lnTo>
                    <a:lnTo>
                      <a:pt x="1" y="119"/>
                    </a:lnTo>
                    <a:lnTo>
                      <a:pt x="1" y="120"/>
                    </a:lnTo>
                    <a:lnTo>
                      <a:pt x="1" y="121"/>
                    </a:lnTo>
                    <a:lnTo>
                      <a:pt x="2" y="122"/>
                    </a:lnTo>
                    <a:lnTo>
                      <a:pt x="2" y="123"/>
                    </a:lnTo>
                    <a:lnTo>
                      <a:pt x="2" y="124"/>
                    </a:lnTo>
                    <a:lnTo>
                      <a:pt x="2" y="125"/>
                    </a:lnTo>
                    <a:lnTo>
                      <a:pt x="2" y="126"/>
                    </a:lnTo>
                    <a:lnTo>
                      <a:pt x="3" y="127"/>
                    </a:lnTo>
                    <a:lnTo>
                      <a:pt x="3" y="128"/>
                    </a:lnTo>
                    <a:lnTo>
                      <a:pt x="3" y="129"/>
                    </a:lnTo>
                    <a:lnTo>
                      <a:pt x="3" y="130"/>
                    </a:lnTo>
                    <a:lnTo>
                      <a:pt x="4" y="131"/>
                    </a:lnTo>
                    <a:lnTo>
                      <a:pt x="4" y="132"/>
                    </a:lnTo>
                    <a:lnTo>
                      <a:pt x="4" y="133"/>
                    </a:lnTo>
                    <a:lnTo>
                      <a:pt x="4" y="134"/>
                    </a:lnTo>
                    <a:lnTo>
                      <a:pt x="5" y="135"/>
                    </a:lnTo>
                    <a:lnTo>
                      <a:pt x="5" y="136"/>
                    </a:lnTo>
                    <a:lnTo>
                      <a:pt x="5" y="137"/>
                    </a:lnTo>
                    <a:lnTo>
                      <a:pt x="6" y="138"/>
                    </a:lnTo>
                    <a:lnTo>
                      <a:pt x="6" y="139"/>
                    </a:lnTo>
                    <a:lnTo>
                      <a:pt x="6" y="140"/>
                    </a:lnTo>
                    <a:lnTo>
                      <a:pt x="7" y="141"/>
                    </a:lnTo>
                    <a:lnTo>
                      <a:pt x="7" y="142"/>
                    </a:lnTo>
                    <a:lnTo>
                      <a:pt x="8" y="143"/>
                    </a:lnTo>
                    <a:lnTo>
                      <a:pt x="8" y="144"/>
                    </a:lnTo>
                    <a:lnTo>
                      <a:pt x="8" y="145"/>
                    </a:lnTo>
                    <a:lnTo>
                      <a:pt x="9" y="146"/>
                    </a:lnTo>
                    <a:lnTo>
                      <a:pt x="9" y="147"/>
                    </a:lnTo>
                    <a:lnTo>
                      <a:pt x="10" y="148"/>
                    </a:lnTo>
                    <a:lnTo>
                      <a:pt x="10" y="149"/>
                    </a:lnTo>
                    <a:lnTo>
                      <a:pt x="11" y="150"/>
                    </a:lnTo>
                    <a:lnTo>
                      <a:pt x="11" y="151"/>
                    </a:lnTo>
                    <a:lnTo>
                      <a:pt x="12" y="152"/>
                    </a:lnTo>
                    <a:lnTo>
                      <a:pt x="12" y="153"/>
                    </a:lnTo>
                    <a:lnTo>
                      <a:pt x="13" y="154"/>
                    </a:lnTo>
                    <a:lnTo>
                      <a:pt x="13" y="155"/>
                    </a:lnTo>
                    <a:lnTo>
                      <a:pt x="14" y="156"/>
                    </a:lnTo>
                    <a:lnTo>
                      <a:pt x="15" y="157"/>
                    </a:lnTo>
                    <a:lnTo>
                      <a:pt x="15" y="158"/>
                    </a:lnTo>
                    <a:lnTo>
                      <a:pt x="16" y="159"/>
                    </a:lnTo>
                    <a:lnTo>
                      <a:pt x="16" y="160"/>
                    </a:lnTo>
                    <a:lnTo>
                      <a:pt x="17" y="161"/>
                    </a:lnTo>
                    <a:lnTo>
                      <a:pt x="18" y="162"/>
                    </a:lnTo>
                    <a:lnTo>
                      <a:pt x="18" y="163"/>
                    </a:lnTo>
                    <a:lnTo>
                      <a:pt x="19" y="164"/>
                    </a:lnTo>
                    <a:lnTo>
                      <a:pt x="20" y="165"/>
                    </a:lnTo>
                    <a:lnTo>
                      <a:pt x="21" y="166"/>
                    </a:lnTo>
                    <a:lnTo>
                      <a:pt x="21" y="167"/>
                    </a:lnTo>
                    <a:lnTo>
                      <a:pt x="22" y="168"/>
                    </a:lnTo>
                    <a:lnTo>
                      <a:pt x="23" y="169"/>
                    </a:lnTo>
                    <a:lnTo>
                      <a:pt x="24" y="170"/>
                    </a:lnTo>
                    <a:lnTo>
                      <a:pt x="24" y="171"/>
                    </a:lnTo>
                    <a:lnTo>
                      <a:pt x="25" y="172"/>
                    </a:lnTo>
                    <a:lnTo>
                      <a:pt x="26" y="173"/>
                    </a:lnTo>
                    <a:lnTo>
                      <a:pt x="27" y="174"/>
                    </a:lnTo>
                    <a:lnTo>
                      <a:pt x="28" y="175"/>
                    </a:lnTo>
                    <a:lnTo>
                      <a:pt x="29" y="176"/>
                    </a:lnTo>
                    <a:lnTo>
                      <a:pt x="30" y="177"/>
                    </a:lnTo>
                    <a:lnTo>
                      <a:pt x="31" y="178"/>
                    </a:lnTo>
                    <a:lnTo>
                      <a:pt x="32" y="179"/>
                    </a:lnTo>
                    <a:lnTo>
                      <a:pt x="33" y="180"/>
                    </a:lnTo>
                    <a:lnTo>
                      <a:pt x="34" y="181"/>
                    </a:lnTo>
                    <a:lnTo>
                      <a:pt x="35" y="182"/>
                    </a:lnTo>
                    <a:lnTo>
                      <a:pt x="36" y="183"/>
                    </a:lnTo>
                    <a:lnTo>
                      <a:pt x="37" y="184"/>
                    </a:lnTo>
                    <a:lnTo>
                      <a:pt x="38" y="184"/>
                    </a:lnTo>
                    <a:lnTo>
                      <a:pt x="39" y="185"/>
                    </a:lnTo>
                    <a:lnTo>
                      <a:pt x="40" y="186"/>
                    </a:lnTo>
                    <a:lnTo>
                      <a:pt x="41" y="187"/>
                    </a:lnTo>
                    <a:lnTo>
                      <a:pt x="42" y="187"/>
                    </a:lnTo>
                    <a:lnTo>
                      <a:pt x="43" y="188"/>
                    </a:lnTo>
                    <a:lnTo>
                      <a:pt x="44" y="189"/>
                    </a:lnTo>
                    <a:lnTo>
                      <a:pt x="45" y="190"/>
                    </a:lnTo>
                    <a:lnTo>
                      <a:pt x="46" y="190"/>
                    </a:lnTo>
                    <a:lnTo>
                      <a:pt x="47" y="191"/>
                    </a:lnTo>
                    <a:lnTo>
                      <a:pt x="48" y="192"/>
                    </a:lnTo>
                    <a:lnTo>
                      <a:pt x="49" y="192"/>
                    </a:lnTo>
                    <a:lnTo>
                      <a:pt x="50" y="193"/>
                    </a:lnTo>
                    <a:lnTo>
                      <a:pt x="51" y="193"/>
                    </a:lnTo>
                    <a:lnTo>
                      <a:pt x="52" y="194"/>
                    </a:lnTo>
                    <a:lnTo>
                      <a:pt x="53" y="195"/>
                    </a:lnTo>
                    <a:lnTo>
                      <a:pt x="54" y="195"/>
                    </a:lnTo>
                    <a:lnTo>
                      <a:pt x="55" y="196"/>
                    </a:lnTo>
                    <a:lnTo>
                      <a:pt x="56" y="196"/>
                    </a:lnTo>
                    <a:lnTo>
                      <a:pt x="57" y="197"/>
                    </a:lnTo>
                    <a:lnTo>
                      <a:pt x="58" y="197"/>
                    </a:lnTo>
                    <a:lnTo>
                      <a:pt x="59" y="198"/>
                    </a:lnTo>
                    <a:lnTo>
                      <a:pt x="60" y="198"/>
                    </a:lnTo>
                    <a:lnTo>
                      <a:pt x="61" y="199"/>
                    </a:lnTo>
                    <a:lnTo>
                      <a:pt x="62" y="199"/>
                    </a:lnTo>
                    <a:lnTo>
                      <a:pt x="63" y="200"/>
                    </a:lnTo>
                    <a:lnTo>
                      <a:pt x="64" y="200"/>
                    </a:lnTo>
                    <a:lnTo>
                      <a:pt x="65" y="200"/>
                    </a:lnTo>
                    <a:lnTo>
                      <a:pt x="66" y="201"/>
                    </a:lnTo>
                    <a:lnTo>
                      <a:pt x="67" y="201"/>
                    </a:lnTo>
                    <a:lnTo>
                      <a:pt x="68" y="202"/>
                    </a:lnTo>
                    <a:lnTo>
                      <a:pt x="69" y="202"/>
                    </a:lnTo>
                    <a:lnTo>
                      <a:pt x="70" y="202"/>
                    </a:lnTo>
                    <a:lnTo>
                      <a:pt x="71" y="203"/>
                    </a:lnTo>
                    <a:lnTo>
                      <a:pt x="72" y="203"/>
                    </a:lnTo>
                    <a:lnTo>
                      <a:pt x="73" y="203"/>
                    </a:lnTo>
                    <a:lnTo>
                      <a:pt x="74" y="204"/>
                    </a:lnTo>
                    <a:lnTo>
                      <a:pt x="75" y="204"/>
                    </a:lnTo>
                    <a:lnTo>
                      <a:pt x="76" y="204"/>
                    </a:lnTo>
                    <a:lnTo>
                      <a:pt x="77" y="204"/>
                    </a:lnTo>
                    <a:lnTo>
                      <a:pt x="78" y="205"/>
                    </a:lnTo>
                    <a:lnTo>
                      <a:pt x="79" y="205"/>
                    </a:lnTo>
                    <a:lnTo>
                      <a:pt x="80" y="205"/>
                    </a:lnTo>
                    <a:lnTo>
                      <a:pt x="81" y="205"/>
                    </a:lnTo>
                    <a:lnTo>
                      <a:pt x="82" y="206"/>
                    </a:lnTo>
                    <a:lnTo>
                      <a:pt x="83" y="206"/>
                    </a:lnTo>
                    <a:lnTo>
                      <a:pt x="84" y="206"/>
                    </a:lnTo>
                    <a:lnTo>
                      <a:pt x="85" y="206"/>
                    </a:lnTo>
                    <a:lnTo>
                      <a:pt x="85" y="206"/>
                    </a:lnTo>
                    <a:lnTo>
                      <a:pt x="104" y="104"/>
                    </a:lnTo>
                    <a:lnTo>
                      <a:pt x="208" y="104"/>
                    </a:lnTo>
                    <a:close/>
                  </a:path>
                </a:pathLst>
              </a:custGeom>
              <a:solidFill>
                <a:srgbClr val="004C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138"/>
              </a:p>
            </p:txBody>
          </p:sp>
          <p:sp>
            <p:nvSpPr>
              <p:cNvPr id="80" name="Freeform 78"/>
              <p:cNvSpPr>
                <a:spLocks/>
              </p:cNvSpPr>
              <p:nvPr/>
            </p:nvSpPr>
            <p:spPr bwMode="auto">
              <a:xfrm>
                <a:off x="3025" y="950"/>
                <a:ext cx="195" cy="164"/>
              </a:xfrm>
              <a:custGeom>
                <a:avLst/>
                <a:gdLst>
                  <a:gd name="T0" fmla="*/ 2 w 123"/>
                  <a:gd name="T1" fmla="*/ 103 h 104"/>
                  <a:gd name="T2" fmla="*/ 5 w 123"/>
                  <a:gd name="T3" fmla="*/ 103 h 104"/>
                  <a:gd name="T4" fmla="*/ 8 w 123"/>
                  <a:gd name="T5" fmla="*/ 103 h 104"/>
                  <a:gd name="T6" fmla="*/ 11 w 123"/>
                  <a:gd name="T7" fmla="*/ 104 h 104"/>
                  <a:gd name="T8" fmla="*/ 14 w 123"/>
                  <a:gd name="T9" fmla="*/ 104 h 104"/>
                  <a:gd name="T10" fmla="*/ 17 w 123"/>
                  <a:gd name="T11" fmla="*/ 104 h 104"/>
                  <a:gd name="T12" fmla="*/ 20 w 123"/>
                  <a:gd name="T13" fmla="*/ 104 h 104"/>
                  <a:gd name="T14" fmla="*/ 23 w 123"/>
                  <a:gd name="T15" fmla="*/ 104 h 104"/>
                  <a:gd name="T16" fmla="*/ 26 w 123"/>
                  <a:gd name="T17" fmla="*/ 104 h 104"/>
                  <a:gd name="T18" fmla="*/ 29 w 123"/>
                  <a:gd name="T19" fmla="*/ 104 h 104"/>
                  <a:gd name="T20" fmla="*/ 32 w 123"/>
                  <a:gd name="T21" fmla="*/ 103 h 104"/>
                  <a:gd name="T22" fmla="*/ 35 w 123"/>
                  <a:gd name="T23" fmla="*/ 103 h 104"/>
                  <a:gd name="T24" fmla="*/ 38 w 123"/>
                  <a:gd name="T25" fmla="*/ 102 h 104"/>
                  <a:gd name="T26" fmla="*/ 41 w 123"/>
                  <a:gd name="T27" fmla="*/ 102 h 104"/>
                  <a:gd name="T28" fmla="*/ 44 w 123"/>
                  <a:gd name="T29" fmla="*/ 101 h 104"/>
                  <a:gd name="T30" fmla="*/ 47 w 123"/>
                  <a:gd name="T31" fmla="*/ 100 h 104"/>
                  <a:gd name="T32" fmla="*/ 50 w 123"/>
                  <a:gd name="T33" fmla="*/ 99 h 104"/>
                  <a:gd name="T34" fmla="*/ 53 w 123"/>
                  <a:gd name="T35" fmla="*/ 98 h 104"/>
                  <a:gd name="T36" fmla="*/ 56 w 123"/>
                  <a:gd name="T37" fmla="*/ 97 h 104"/>
                  <a:gd name="T38" fmla="*/ 59 w 123"/>
                  <a:gd name="T39" fmla="*/ 96 h 104"/>
                  <a:gd name="T40" fmla="*/ 62 w 123"/>
                  <a:gd name="T41" fmla="*/ 95 h 104"/>
                  <a:gd name="T42" fmla="*/ 65 w 123"/>
                  <a:gd name="T43" fmla="*/ 93 h 104"/>
                  <a:gd name="T44" fmla="*/ 68 w 123"/>
                  <a:gd name="T45" fmla="*/ 92 h 104"/>
                  <a:gd name="T46" fmla="*/ 71 w 123"/>
                  <a:gd name="T47" fmla="*/ 90 h 104"/>
                  <a:gd name="T48" fmla="*/ 74 w 123"/>
                  <a:gd name="T49" fmla="*/ 88 h 104"/>
                  <a:gd name="T50" fmla="*/ 77 w 123"/>
                  <a:gd name="T51" fmla="*/ 86 h 104"/>
                  <a:gd name="T52" fmla="*/ 80 w 123"/>
                  <a:gd name="T53" fmla="*/ 84 h 104"/>
                  <a:gd name="T54" fmla="*/ 83 w 123"/>
                  <a:gd name="T55" fmla="*/ 82 h 104"/>
                  <a:gd name="T56" fmla="*/ 86 w 123"/>
                  <a:gd name="T57" fmla="*/ 80 h 104"/>
                  <a:gd name="T58" fmla="*/ 89 w 123"/>
                  <a:gd name="T59" fmla="*/ 77 h 104"/>
                  <a:gd name="T60" fmla="*/ 92 w 123"/>
                  <a:gd name="T61" fmla="*/ 74 h 104"/>
                  <a:gd name="T62" fmla="*/ 95 w 123"/>
                  <a:gd name="T63" fmla="*/ 71 h 104"/>
                  <a:gd name="T64" fmla="*/ 98 w 123"/>
                  <a:gd name="T65" fmla="*/ 68 h 104"/>
                  <a:gd name="T66" fmla="*/ 100 w 123"/>
                  <a:gd name="T67" fmla="*/ 65 h 104"/>
                  <a:gd name="T68" fmla="*/ 102 w 123"/>
                  <a:gd name="T69" fmla="*/ 62 h 104"/>
                  <a:gd name="T70" fmla="*/ 105 w 123"/>
                  <a:gd name="T71" fmla="*/ 59 h 104"/>
                  <a:gd name="T72" fmla="*/ 107 w 123"/>
                  <a:gd name="T73" fmla="*/ 56 h 104"/>
                  <a:gd name="T74" fmla="*/ 108 w 123"/>
                  <a:gd name="T75" fmla="*/ 53 h 104"/>
                  <a:gd name="T76" fmla="*/ 110 w 123"/>
                  <a:gd name="T77" fmla="*/ 50 h 104"/>
                  <a:gd name="T78" fmla="*/ 112 w 123"/>
                  <a:gd name="T79" fmla="*/ 47 h 104"/>
                  <a:gd name="T80" fmla="*/ 113 w 123"/>
                  <a:gd name="T81" fmla="*/ 44 h 104"/>
                  <a:gd name="T82" fmla="*/ 115 w 123"/>
                  <a:gd name="T83" fmla="*/ 41 h 104"/>
                  <a:gd name="T84" fmla="*/ 116 w 123"/>
                  <a:gd name="T85" fmla="*/ 38 h 104"/>
                  <a:gd name="T86" fmla="*/ 117 w 123"/>
                  <a:gd name="T87" fmla="*/ 35 h 104"/>
                  <a:gd name="T88" fmla="*/ 118 w 123"/>
                  <a:gd name="T89" fmla="*/ 32 h 104"/>
                  <a:gd name="T90" fmla="*/ 119 w 123"/>
                  <a:gd name="T91" fmla="*/ 29 h 104"/>
                  <a:gd name="T92" fmla="*/ 120 w 123"/>
                  <a:gd name="T93" fmla="*/ 26 h 104"/>
                  <a:gd name="T94" fmla="*/ 120 w 123"/>
                  <a:gd name="T95" fmla="*/ 23 h 104"/>
                  <a:gd name="T96" fmla="*/ 121 w 123"/>
                  <a:gd name="T97" fmla="*/ 20 h 104"/>
                  <a:gd name="T98" fmla="*/ 122 w 123"/>
                  <a:gd name="T99" fmla="*/ 17 h 104"/>
                  <a:gd name="T100" fmla="*/ 122 w 123"/>
                  <a:gd name="T101" fmla="*/ 14 h 104"/>
                  <a:gd name="T102" fmla="*/ 122 w 123"/>
                  <a:gd name="T103" fmla="*/ 11 h 104"/>
                  <a:gd name="T104" fmla="*/ 123 w 123"/>
                  <a:gd name="T105" fmla="*/ 8 h 104"/>
                  <a:gd name="T106" fmla="*/ 123 w 123"/>
                  <a:gd name="T107" fmla="*/ 5 h 104"/>
                  <a:gd name="T108" fmla="*/ 123 w 123"/>
                  <a:gd name="T109" fmla="*/ 2 h 104"/>
                  <a:gd name="T110" fmla="*/ 123 w 123"/>
                  <a:gd name="T111"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3" h="104">
                    <a:moveTo>
                      <a:pt x="0" y="102"/>
                    </a:moveTo>
                    <a:lnTo>
                      <a:pt x="1" y="102"/>
                    </a:lnTo>
                    <a:lnTo>
                      <a:pt x="2" y="103"/>
                    </a:lnTo>
                    <a:lnTo>
                      <a:pt x="3" y="103"/>
                    </a:lnTo>
                    <a:lnTo>
                      <a:pt x="4" y="103"/>
                    </a:lnTo>
                    <a:lnTo>
                      <a:pt x="5" y="103"/>
                    </a:lnTo>
                    <a:lnTo>
                      <a:pt x="6" y="103"/>
                    </a:lnTo>
                    <a:lnTo>
                      <a:pt x="7" y="103"/>
                    </a:lnTo>
                    <a:lnTo>
                      <a:pt x="8" y="103"/>
                    </a:lnTo>
                    <a:lnTo>
                      <a:pt x="9" y="104"/>
                    </a:lnTo>
                    <a:lnTo>
                      <a:pt x="10" y="104"/>
                    </a:lnTo>
                    <a:lnTo>
                      <a:pt x="11" y="104"/>
                    </a:lnTo>
                    <a:lnTo>
                      <a:pt x="12" y="104"/>
                    </a:lnTo>
                    <a:lnTo>
                      <a:pt x="13" y="104"/>
                    </a:lnTo>
                    <a:lnTo>
                      <a:pt x="14" y="104"/>
                    </a:lnTo>
                    <a:lnTo>
                      <a:pt x="15" y="104"/>
                    </a:lnTo>
                    <a:lnTo>
                      <a:pt x="16" y="104"/>
                    </a:lnTo>
                    <a:lnTo>
                      <a:pt x="17" y="104"/>
                    </a:lnTo>
                    <a:lnTo>
                      <a:pt x="18" y="104"/>
                    </a:lnTo>
                    <a:lnTo>
                      <a:pt x="19" y="104"/>
                    </a:lnTo>
                    <a:lnTo>
                      <a:pt x="20" y="104"/>
                    </a:lnTo>
                    <a:lnTo>
                      <a:pt x="21" y="104"/>
                    </a:lnTo>
                    <a:lnTo>
                      <a:pt x="22" y="104"/>
                    </a:lnTo>
                    <a:lnTo>
                      <a:pt x="23" y="104"/>
                    </a:lnTo>
                    <a:lnTo>
                      <a:pt x="24" y="104"/>
                    </a:lnTo>
                    <a:lnTo>
                      <a:pt x="25" y="104"/>
                    </a:lnTo>
                    <a:lnTo>
                      <a:pt x="26" y="104"/>
                    </a:lnTo>
                    <a:lnTo>
                      <a:pt x="27" y="104"/>
                    </a:lnTo>
                    <a:lnTo>
                      <a:pt x="28" y="104"/>
                    </a:lnTo>
                    <a:lnTo>
                      <a:pt x="29" y="104"/>
                    </a:lnTo>
                    <a:lnTo>
                      <a:pt x="30" y="103"/>
                    </a:lnTo>
                    <a:lnTo>
                      <a:pt x="31" y="103"/>
                    </a:lnTo>
                    <a:lnTo>
                      <a:pt x="32" y="103"/>
                    </a:lnTo>
                    <a:lnTo>
                      <a:pt x="33" y="103"/>
                    </a:lnTo>
                    <a:lnTo>
                      <a:pt x="34" y="103"/>
                    </a:lnTo>
                    <a:lnTo>
                      <a:pt x="35" y="103"/>
                    </a:lnTo>
                    <a:lnTo>
                      <a:pt x="36" y="103"/>
                    </a:lnTo>
                    <a:lnTo>
                      <a:pt x="37" y="102"/>
                    </a:lnTo>
                    <a:lnTo>
                      <a:pt x="38" y="102"/>
                    </a:lnTo>
                    <a:lnTo>
                      <a:pt x="39" y="102"/>
                    </a:lnTo>
                    <a:lnTo>
                      <a:pt x="40" y="102"/>
                    </a:lnTo>
                    <a:lnTo>
                      <a:pt x="41" y="102"/>
                    </a:lnTo>
                    <a:lnTo>
                      <a:pt x="42" y="101"/>
                    </a:lnTo>
                    <a:lnTo>
                      <a:pt x="43" y="101"/>
                    </a:lnTo>
                    <a:lnTo>
                      <a:pt x="44" y="101"/>
                    </a:lnTo>
                    <a:lnTo>
                      <a:pt x="45" y="101"/>
                    </a:lnTo>
                    <a:lnTo>
                      <a:pt x="46" y="100"/>
                    </a:lnTo>
                    <a:lnTo>
                      <a:pt x="47" y="100"/>
                    </a:lnTo>
                    <a:lnTo>
                      <a:pt x="48" y="100"/>
                    </a:lnTo>
                    <a:lnTo>
                      <a:pt x="49" y="100"/>
                    </a:lnTo>
                    <a:lnTo>
                      <a:pt x="50" y="99"/>
                    </a:lnTo>
                    <a:lnTo>
                      <a:pt x="51" y="99"/>
                    </a:lnTo>
                    <a:lnTo>
                      <a:pt x="52" y="99"/>
                    </a:lnTo>
                    <a:lnTo>
                      <a:pt x="53" y="98"/>
                    </a:lnTo>
                    <a:lnTo>
                      <a:pt x="54" y="98"/>
                    </a:lnTo>
                    <a:lnTo>
                      <a:pt x="55" y="98"/>
                    </a:lnTo>
                    <a:lnTo>
                      <a:pt x="56" y="97"/>
                    </a:lnTo>
                    <a:lnTo>
                      <a:pt x="57" y="97"/>
                    </a:lnTo>
                    <a:lnTo>
                      <a:pt x="58" y="96"/>
                    </a:lnTo>
                    <a:lnTo>
                      <a:pt x="59" y="96"/>
                    </a:lnTo>
                    <a:lnTo>
                      <a:pt x="60" y="96"/>
                    </a:lnTo>
                    <a:lnTo>
                      <a:pt x="61" y="95"/>
                    </a:lnTo>
                    <a:lnTo>
                      <a:pt x="62" y="95"/>
                    </a:lnTo>
                    <a:lnTo>
                      <a:pt x="63" y="94"/>
                    </a:lnTo>
                    <a:lnTo>
                      <a:pt x="64" y="94"/>
                    </a:lnTo>
                    <a:lnTo>
                      <a:pt x="65" y="93"/>
                    </a:lnTo>
                    <a:lnTo>
                      <a:pt x="66" y="93"/>
                    </a:lnTo>
                    <a:lnTo>
                      <a:pt x="67" y="92"/>
                    </a:lnTo>
                    <a:lnTo>
                      <a:pt x="68" y="92"/>
                    </a:lnTo>
                    <a:lnTo>
                      <a:pt x="69" y="91"/>
                    </a:lnTo>
                    <a:lnTo>
                      <a:pt x="70" y="91"/>
                    </a:lnTo>
                    <a:lnTo>
                      <a:pt x="71" y="90"/>
                    </a:lnTo>
                    <a:lnTo>
                      <a:pt x="72" y="89"/>
                    </a:lnTo>
                    <a:lnTo>
                      <a:pt x="73" y="89"/>
                    </a:lnTo>
                    <a:lnTo>
                      <a:pt x="74" y="88"/>
                    </a:lnTo>
                    <a:lnTo>
                      <a:pt x="75" y="88"/>
                    </a:lnTo>
                    <a:lnTo>
                      <a:pt x="76" y="87"/>
                    </a:lnTo>
                    <a:lnTo>
                      <a:pt x="77" y="86"/>
                    </a:lnTo>
                    <a:lnTo>
                      <a:pt x="78" y="86"/>
                    </a:lnTo>
                    <a:lnTo>
                      <a:pt x="79" y="85"/>
                    </a:lnTo>
                    <a:lnTo>
                      <a:pt x="80" y="84"/>
                    </a:lnTo>
                    <a:lnTo>
                      <a:pt x="81" y="83"/>
                    </a:lnTo>
                    <a:lnTo>
                      <a:pt x="82" y="83"/>
                    </a:lnTo>
                    <a:lnTo>
                      <a:pt x="83" y="82"/>
                    </a:lnTo>
                    <a:lnTo>
                      <a:pt x="84" y="81"/>
                    </a:lnTo>
                    <a:lnTo>
                      <a:pt x="85" y="80"/>
                    </a:lnTo>
                    <a:lnTo>
                      <a:pt x="86" y="80"/>
                    </a:lnTo>
                    <a:lnTo>
                      <a:pt x="87" y="79"/>
                    </a:lnTo>
                    <a:lnTo>
                      <a:pt x="88" y="78"/>
                    </a:lnTo>
                    <a:lnTo>
                      <a:pt x="89" y="77"/>
                    </a:lnTo>
                    <a:lnTo>
                      <a:pt x="90" y="76"/>
                    </a:lnTo>
                    <a:lnTo>
                      <a:pt x="91" y="75"/>
                    </a:lnTo>
                    <a:lnTo>
                      <a:pt x="92" y="74"/>
                    </a:lnTo>
                    <a:lnTo>
                      <a:pt x="93" y="73"/>
                    </a:lnTo>
                    <a:lnTo>
                      <a:pt x="94" y="72"/>
                    </a:lnTo>
                    <a:lnTo>
                      <a:pt x="95" y="71"/>
                    </a:lnTo>
                    <a:lnTo>
                      <a:pt x="96" y="70"/>
                    </a:lnTo>
                    <a:lnTo>
                      <a:pt x="97" y="69"/>
                    </a:lnTo>
                    <a:lnTo>
                      <a:pt x="98" y="68"/>
                    </a:lnTo>
                    <a:lnTo>
                      <a:pt x="99" y="67"/>
                    </a:lnTo>
                    <a:lnTo>
                      <a:pt x="99" y="66"/>
                    </a:lnTo>
                    <a:lnTo>
                      <a:pt x="100" y="65"/>
                    </a:lnTo>
                    <a:lnTo>
                      <a:pt x="101" y="64"/>
                    </a:lnTo>
                    <a:lnTo>
                      <a:pt x="102" y="63"/>
                    </a:lnTo>
                    <a:lnTo>
                      <a:pt x="102" y="62"/>
                    </a:lnTo>
                    <a:lnTo>
                      <a:pt x="103" y="61"/>
                    </a:lnTo>
                    <a:lnTo>
                      <a:pt x="104" y="60"/>
                    </a:lnTo>
                    <a:lnTo>
                      <a:pt x="105" y="59"/>
                    </a:lnTo>
                    <a:lnTo>
                      <a:pt x="105" y="58"/>
                    </a:lnTo>
                    <a:lnTo>
                      <a:pt x="106" y="57"/>
                    </a:lnTo>
                    <a:lnTo>
                      <a:pt x="107" y="56"/>
                    </a:lnTo>
                    <a:lnTo>
                      <a:pt x="107" y="55"/>
                    </a:lnTo>
                    <a:lnTo>
                      <a:pt x="108" y="54"/>
                    </a:lnTo>
                    <a:lnTo>
                      <a:pt x="108" y="53"/>
                    </a:lnTo>
                    <a:lnTo>
                      <a:pt x="109" y="52"/>
                    </a:lnTo>
                    <a:lnTo>
                      <a:pt x="110" y="51"/>
                    </a:lnTo>
                    <a:lnTo>
                      <a:pt x="110" y="50"/>
                    </a:lnTo>
                    <a:lnTo>
                      <a:pt x="111" y="49"/>
                    </a:lnTo>
                    <a:lnTo>
                      <a:pt x="111" y="48"/>
                    </a:lnTo>
                    <a:lnTo>
                      <a:pt x="112" y="47"/>
                    </a:lnTo>
                    <a:lnTo>
                      <a:pt x="112" y="46"/>
                    </a:lnTo>
                    <a:lnTo>
                      <a:pt x="113" y="45"/>
                    </a:lnTo>
                    <a:lnTo>
                      <a:pt x="113" y="44"/>
                    </a:lnTo>
                    <a:lnTo>
                      <a:pt x="114" y="43"/>
                    </a:lnTo>
                    <a:lnTo>
                      <a:pt x="114" y="42"/>
                    </a:lnTo>
                    <a:lnTo>
                      <a:pt x="115" y="41"/>
                    </a:lnTo>
                    <a:lnTo>
                      <a:pt x="115" y="40"/>
                    </a:lnTo>
                    <a:lnTo>
                      <a:pt x="115" y="39"/>
                    </a:lnTo>
                    <a:lnTo>
                      <a:pt x="116" y="38"/>
                    </a:lnTo>
                    <a:lnTo>
                      <a:pt x="116" y="37"/>
                    </a:lnTo>
                    <a:lnTo>
                      <a:pt x="117" y="36"/>
                    </a:lnTo>
                    <a:lnTo>
                      <a:pt x="117" y="35"/>
                    </a:lnTo>
                    <a:lnTo>
                      <a:pt x="117" y="34"/>
                    </a:lnTo>
                    <a:lnTo>
                      <a:pt x="118" y="33"/>
                    </a:lnTo>
                    <a:lnTo>
                      <a:pt x="118" y="32"/>
                    </a:lnTo>
                    <a:lnTo>
                      <a:pt x="118" y="31"/>
                    </a:lnTo>
                    <a:lnTo>
                      <a:pt x="119" y="30"/>
                    </a:lnTo>
                    <a:lnTo>
                      <a:pt x="119" y="29"/>
                    </a:lnTo>
                    <a:lnTo>
                      <a:pt x="119" y="28"/>
                    </a:lnTo>
                    <a:lnTo>
                      <a:pt x="119" y="27"/>
                    </a:lnTo>
                    <a:lnTo>
                      <a:pt x="120" y="26"/>
                    </a:lnTo>
                    <a:lnTo>
                      <a:pt x="120" y="25"/>
                    </a:lnTo>
                    <a:lnTo>
                      <a:pt x="120" y="24"/>
                    </a:lnTo>
                    <a:lnTo>
                      <a:pt x="120" y="23"/>
                    </a:lnTo>
                    <a:lnTo>
                      <a:pt x="121" y="22"/>
                    </a:lnTo>
                    <a:lnTo>
                      <a:pt x="121" y="21"/>
                    </a:lnTo>
                    <a:lnTo>
                      <a:pt x="121" y="20"/>
                    </a:lnTo>
                    <a:lnTo>
                      <a:pt x="121" y="19"/>
                    </a:lnTo>
                    <a:lnTo>
                      <a:pt x="121" y="18"/>
                    </a:lnTo>
                    <a:lnTo>
                      <a:pt x="122" y="17"/>
                    </a:lnTo>
                    <a:lnTo>
                      <a:pt x="122" y="16"/>
                    </a:lnTo>
                    <a:lnTo>
                      <a:pt x="122" y="15"/>
                    </a:lnTo>
                    <a:lnTo>
                      <a:pt x="122" y="14"/>
                    </a:lnTo>
                    <a:lnTo>
                      <a:pt x="122" y="13"/>
                    </a:lnTo>
                    <a:lnTo>
                      <a:pt x="122" y="12"/>
                    </a:lnTo>
                    <a:lnTo>
                      <a:pt x="122" y="11"/>
                    </a:lnTo>
                    <a:lnTo>
                      <a:pt x="123" y="10"/>
                    </a:lnTo>
                    <a:lnTo>
                      <a:pt x="123" y="9"/>
                    </a:lnTo>
                    <a:lnTo>
                      <a:pt x="123" y="8"/>
                    </a:lnTo>
                    <a:lnTo>
                      <a:pt x="123" y="7"/>
                    </a:lnTo>
                    <a:lnTo>
                      <a:pt x="123" y="6"/>
                    </a:lnTo>
                    <a:lnTo>
                      <a:pt x="123" y="5"/>
                    </a:lnTo>
                    <a:lnTo>
                      <a:pt x="123" y="4"/>
                    </a:lnTo>
                    <a:lnTo>
                      <a:pt x="123" y="3"/>
                    </a:lnTo>
                    <a:lnTo>
                      <a:pt x="123" y="2"/>
                    </a:lnTo>
                    <a:lnTo>
                      <a:pt x="123" y="1"/>
                    </a:lnTo>
                    <a:lnTo>
                      <a:pt x="123" y="0"/>
                    </a:lnTo>
                    <a:lnTo>
                      <a:pt x="123" y="0"/>
                    </a:lnTo>
                    <a:lnTo>
                      <a:pt x="19" y="0"/>
                    </a:lnTo>
                    <a:lnTo>
                      <a:pt x="0" y="102"/>
                    </a:ln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138"/>
              </a:p>
            </p:txBody>
          </p:sp>
          <p:sp>
            <p:nvSpPr>
              <p:cNvPr id="81" name="Freeform 79"/>
              <p:cNvSpPr>
                <a:spLocks/>
              </p:cNvSpPr>
              <p:nvPr/>
            </p:nvSpPr>
            <p:spPr bwMode="auto">
              <a:xfrm>
                <a:off x="2946" y="1476"/>
                <a:ext cx="331" cy="330"/>
              </a:xfrm>
              <a:custGeom>
                <a:avLst/>
                <a:gdLst>
                  <a:gd name="T0" fmla="*/ 209 w 209"/>
                  <a:gd name="T1" fmla="*/ 97 h 208"/>
                  <a:gd name="T2" fmla="*/ 208 w 209"/>
                  <a:gd name="T3" fmla="*/ 89 h 208"/>
                  <a:gd name="T4" fmla="*/ 206 w 209"/>
                  <a:gd name="T5" fmla="*/ 81 h 208"/>
                  <a:gd name="T6" fmla="*/ 204 w 209"/>
                  <a:gd name="T7" fmla="*/ 73 h 208"/>
                  <a:gd name="T8" fmla="*/ 201 w 209"/>
                  <a:gd name="T9" fmla="*/ 65 h 208"/>
                  <a:gd name="T10" fmla="*/ 198 w 209"/>
                  <a:gd name="T11" fmla="*/ 57 h 208"/>
                  <a:gd name="T12" fmla="*/ 193 w 209"/>
                  <a:gd name="T13" fmla="*/ 49 h 208"/>
                  <a:gd name="T14" fmla="*/ 188 w 209"/>
                  <a:gd name="T15" fmla="*/ 41 h 208"/>
                  <a:gd name="T16" fmla="*/ 181 w 209"/>
                  <a:gd name="T17" fmla="*/ 33 h 208"/>
                  <a:gd name="T18" fmla="*/ 173 w 209"/>
                  <a:gd name="T19" fmla="*/ 25 h 208"/>
                  <a:gd name="T20" fmla="*/ 165 w 209"/>
                  <a:gd name="T21" fmla="*/ 19 h 208"/>
                  <a:gd name="T22" fmla="*/ 157 w 209"/>
                  <a:gd name="T23" fmla="*/ 14 h 208"/>
                  <a:gd name="T24" fmla="*/ 149 w 209"/>
                  <a:gd name="T25" fmla="*/ 10 h 208"/>
                  <a:gd name="T26" fmla="*/ 141 w 209"/>
                  <a:gd name="T27" fmla="*/ 7 h 208"/>
                  <a:gd name="T28" fmla="*/ 133 w 209"/>
                  <a:gd name="T29" fmla="*/ 4 h 208"/>
                  <a:gd name="T30" fmla="*/ 125 w 209"/>
                  <a:gd name="T31" fmla="*/ 2 h 208"/>
                  <a:gd name="T32" fmla="*/ 117 w 209"/>
                  <a:gd name="T33" fmla="*/ 1 h 208"/>
                  <a:gd name="T34" fmla="*/ 109 w 209"/>
                  <a:gd name="T35" fmla="*/ 0 h 208"/>
                  <a:gd name="T36" fmla="*/ 101 w 209"/>
                  <a:gd name="T37" fmla="*/ 0 h 208"/>
                  <a:gd name="T38" fmla="*/ 93 w 209"/>
                  <a:gd name="T39" fmla="*/ 1 h 208"/>
                  <a:gd name="T40" fmla="*/ 85 w 209"/>
                  <a:gd name="T41" fmla="*/ 2 h 208"/>
                  <a:gd name="T42" fmla="*/ 77 w 209"/>
                  <a:gd name="T43" fmla="*/ 4 h 208"/>
                  <a:gd name="T44" fmla="*/ 69 w 209"/>
                  <a:gd name="T45" fmla="*/ 6 h 208"/>
                  <a:gd name="T46" fmla="*/ 61 w 209"/>
                  <a:gd name="T47" fmla="*/ 9 h 208"/>
                  <a:gd name="T48" fmla="*/ 53 w 209"/>
                  <a:gd name="T49" fmla="*/ 14 h 208"/>
                  <a:gd name="T50" fmla="*/ 45 w 209"/>
                  <a:gd name="T51" fmla="*/ 19 h 208"/>
                  <a:gd name="T52" fmla="*/ 37 w 209"/>
                  <a:gd name="T53" fmla="*/ 25 h 208"/>
                  <a:gd name="T54" fmla="*/ 29 w 209"/>
                  <a:gd name="T55" fmla="*/ 32 h 208"/>
                  <a:gd name="T56" fmla="*/ 22 w 209"/>
                  <a:gd name="T57" fmla="*/ 40 h 208"/>
                  <a:gd name="T58" fmla="*/ 16 w 209"/>
                  <a:gd name="T59" fmla="*/ 48 h 208"/>
                  <a:gd name="T60" fmla="*/ 12 w 209"/>
                  <a:gd name="T61" fmla="*/ 56 h 208"/>
                  <a:gd name="T62" fmla="*/ 8 w 209"/>
                  <a:gd name="T63" fmla="*/ 64 h 208"/>
                  <a:gd name="T64" fmla="*/ 5 w 209"/>
                  <a:gd name="T65" fmla="*/ 72 h 208"/>
                  <a:gd name="T66" fmla="*/ 3 w 209"/>
                  <a:gd name="T67" fmla="*/ 80 h 208"/>
                  <a:gd name="T68" fmla="*/ 1 w 209"/>
                  <a:gd name="T69" fmla="*/ 88 h 208"/>
                  <a:gd name="T70" fmla="*/ 0 w 209"/>
                  <a:gd name="T71" fmla="*/ 96 h 208"/>
                  <a:gd name="T72" fmla="*/ 0 w 209"/>
                  <a:gd name="T73" fmla="*/ 104 h 208"/>
                  <a:gd name="T74" fmla="*/ 0 w 209"/>
                  <a:gd name="T75" fmla="*/ 112 h 208"/>
                  <a:gd name="T76" fmla="*/ 1 w 209"/>
                  <a:gd name="T77" fmla="*/ 120 h 208"/>
                  <a:gd name="T78" fmla="*/ 3 w 209"/>
                  <a:gd name="T79" fmla="*/ 128 h 208"/>
                  <a:gd name="T80" fmla="*/ 5 w 209"/>
                  <a:gd name="T81" fmla="*/ 136 h 208"/>
                  <a:gd name="T82" fmla="*/ 8 w 209"/>
                  <a:gd name="T83" fmla="*/ 144 h 208"/>
                  <a:gd name="T84" fmla="*/ 12 w 209"/>
                  <a:gd name="T85" fmla="*/ 152 h 208"/>
                  <a:gd name="T86" fmla="*/ 16 w 209"/>
                  <a:gd name="T87" fmla="*/ 160 h 208"/>
                  <a:gd name="T88" fmla="*/ 22 w 209"/>
                  <a:gd name="T89" fmla="*/ 168 h 208"/>
                  <a:gd name="T90" fmla="*/ 29 w 209"/>
                  <a:gd name="T91" fmla="*/ 176 h 208"/>
                  <a:gd name="T92" fmla="*/ 37 w 209"/>
                  <a:gd name="T93" fmla="*/ 183 h 208"/>
                  <a:gd name="T94" fmla="*/ 45 w 209"/>
                  <a:gd name="T95" fmla="*/ 189 h 208"/>
                  <a:gd name="T96" fmla="*/ 53 w 209"/>
                  <a:gd name="T97" fmla="*/ 194 h 208"/>
                  <a:gd name="T98" fmla="*/ 61 w 209"/>
                  <a:gd name="T99" fmla="*/ 199 h 208"/>
                  <a:gd name="T100" fmla="*/ 69 w 209"/>
                  <a:gd name="T101" fmla="*/ 202 h 208"/>
                  <a:gd name="T102" fmla="*/ 77 w 209"/>
                  <a:gd name="T103" fmla="*/ 204 h 208"/>
                  <a:gd name="T104" fmla="*/ 85 w 209"/>
                  <a:gd name="T105" fmla="*/ 206 h 208"/>
                  <a:gd name="T106" fmla="*/ 93 w 209"/>
                  <a:gd name="T107" fmla="*/ 207 h 208"/>
                  <a:gd name="T108" fmla="*/ 101 w 209"/>
                  <a:gd name="T109" fmla="*/ 208 h 208"/>
                  <a:gd name="T110" fmla="*/ 109 w 209"/>
                  <a:gd name="T111" fmla="*/ 208 h 208"/>
                  <a:gd name="T112" fmla="*/ 117 w 209"/>
                  <a:gd name="T113" fmla="*/ 207 h 208"/>
                  <a:gd name="T114" fmla="*/ 125 w 209"/>
                  <a:gd name="T115" fmla="*/ 206 h 208"/>
                  <a:gd name="T116" fmla="*/ 209 w 209"/>
                  <a:gd name="T117" fmla="*/ 10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9" h="208">
                    <a:moveTo>
                      <a:pt x="209" y="104"/>
                    </a:moveTo>
                    <a:lnTo>
                      <a:pt x="209" y="103"/>
                    </a:lnTo>
                    <a:lnTo>
                      <a:pt x="209" y="102"/>
                    </a:lnTo>
                    <a:lnTo>
                      <a:pt x="209" y="101"/>
                    </a:lnTo>
                    <a:lnTo>
                      <a:pt x="209" y="100"/>
                    </a:lnTo>
                    <a:lnTo>
                      <a:pt x="209" y="99"/>
                    </a:lnTo>
                    <a:lnTo>
                      <a:pt x="209" y="98"/>
                    </a:lnTo>
                    <a:lnTo>
                      <a:pt x="209" y="97"/>
                    </a:lnTo>
                    <a:lnTo>
                      <a:pt x="209" y="96"/>
                    </a:lnTo>
                    <a:lnTo>
                      <a:pt x="209" y="95"/>
                    </a:lnTo>
                    <a:lnTo>
                      <a:pt x="209" y="94"/>
                    </a:lnTo>
                    <a:lnTo>
                      <a:pt x="208" y="93"/>
                    </a:lnTo>
                    <a:lnTo>
                      <a:pt x="208" y="92"/>
                    </a:lnTo>
                    <a:lnTo>
                      <a:pt x="208" y="91"/>
                    </a:lnTo>
                    <a:lnTo>
                      <a:pt x="208" y="90"/>
                    </a:lnTo>
                    <a:lnTo>
                      <a:pt x="208" y="89"/>
                    </a:lnTo>
                    <a:lnTo>
                      <a:pt x="208" y="88"/>
                    </a:lnTo>
                    <a:lnTo>
                      <a:pt x="208" y="87"/>
                    </a:lnTo>
                    <a:lnTo>
                      <a:pt x="207" y="86"/>
                    </a:lnTo>
                    <a:lnTo>
                      <a:pt x="207" y="85"/>
                    </a:lnTo>
                    <a:lnTo>
                      <a:pt x="207" y="84"/>
                    </a:lnTo>
                    <a:lnTo>
                      <a:pt x="207" y="83"/>
                    </a:lnTo>
                    <a:lnTo>
                      <a:pt x="207" y="82"/>
                    </a:lnTo>
                    <a:lnTo>
                      <a:pt x="206" y="81"/>
                    </a:lnTo>
                    <a:lnTo>
                      <a:pt x="206" y="80"/>
                    </a:lnTo>
                    <a:lnTo>
                      <a:pt x="206" y="79"/>
                    </a:lnTo>
                    <a:lnTo>
                      <a:pt x="206" y="78"/>
                    </a:lnTo>
                    <a:lnTo>
                      <a:pt x="205" y="77"/>
                    </a:lnTo>
                    <a:lnTo>
                      <a:pt x="205" y="76"/>
                    </a:lnTo>
                    <a:lnTo>
                      <a:pt x="205" y="75"/>
                    </a:lnTo>
                    <a:lnTo>
                      <a:pt x="205" y="74"/>
                    </a:lnTo>
                    <a:lnTo>
                      <a:pt x="204" y="73"/>
                    </a:lnTo>
                    <a:lnTo>
                      <a:pt x="204" y="72"/>
                    </a:lnTo>
                    <a:lnTo>
                      <a:pt x="204" y="71"/>
                    </a:lnTo>
                    <a:lnTo>
                      <a:pt x="203" y="70"/>
                    </a:lnTo>
                    <a:lnTo>
                      <a:pt x="203" y="69"/>
                    </a:lnTo>
                    <a:lnTo>
                      <a:pt x="203" y="68"/>
                    </a:lnTo>
                    <a:lnTo>
                      <a:pt x="202" y="67"/>
                    </a:lnTo>
                    <a:lnTo>
                      <a:pt x="202" y="66"/>
                    </a:lnTo>
                    <a:lnTo>
                      <a:pt x="201" y="65"/>
                    </a:lnTo>
                    <a:lnTo>
                      <a:pt x="201" y="64"/>
                    </a:lnTo>
                    <a:lnTo>
                      <a:pt x="201" y="63"/>
                    </a:lnTo>
                    <a:lnTo>
                      <a:pt x="200" y="62"/>
                    </a:lnTo>
                    <a:lnTo>
                      <a:pt x="200" y="61"/>
                    </a:lnTo>
                    <a:lnTo>
                      <a:pt x="199" y="60"/>
                    </a:lnTo>
                    <a:lnTo>
                      <a:pt x="199" y="59"/>
                    </a:lnTo>
                    <a:lnTo>
                      <a:pt x="198" y="58"/>
                    </a:lnTo>
                    <a:lnTo>
                      <a:pt x="198" y="57"/>
                    </a:lnTo>
                    <a:lnTo>
                      <a:pt x="197" y="56"/>
                    </a:lnTo>
                    <a:lnTo>
                      <a:pt x="197" y="55"/>
                    </a:lnTo>
                    <a:lnTo>
                      <a:pt x="196" y="54"/>
                    </a:lnTo>
                    <a:lnTo>
                      <a:pt x="196" y="53"/>
                    </a:lnTo>
                    <a:lnTo>
                      <a:pt x="195" y="52"/>
                    </a:lnTo>
                    <a:lnTo>
                      <a:pt x="194" y="51"/>
                    </a:lnTo>
                    <a:lnTo>
                      <a:pt x="194" y="50"/>
                    </a:lnTo>
                    <a:lnTo>
                      <a:pt x="193" y="49"/>
                    </a:lnTo>
                    <a:lnTo>
                      <a:pt x="193" y="48"/>
                    </a:lnTo>
                    <a:lnTo>
                      <a:pt x="192" y="47"/>
                    </a:lnTo>
                    <a:lnTo>
                      <a:pt x="191" y="46"/>
                    </a:lnTo>
                    <a:lnTo>
                      <a:pt x="191" y="45"/>
                    </a:lnTo>
                    <a:lnTo>
                      <a:pt x="190" y="44"/>
                    </a:lnTo>
                    <a:lnTo>
                      <a:pt x="189" y="43"/>
                    </a:lnTo>
                    <a:lnTo>
                      <a:pt x="188" y="42"/>
                    </a:lnTo>
                    <a:lnTo>
                      <a:pt x="188" y="41"/>
                    </a:lnTo>
                    <a:lnTo>
                      <a:pt x="187" y="40"/>
                    </a:lnTo>
                    <a:lnTo>
                      <a:pt x="186" y="39"/>
                    </a:lnTo>
                    <a:lnTo>
                      <a:pt x="185" y="38"/>
                    </a:lnTo>
                    <a:lnTo>
                      <a:pt x="184" y="37"/>
                    </a:lnTo>
                    <a:lnTo>
                      <a:pt x="184" y="36"/>
                    </a:lnTo>
                    <a:lnTo>
                      <a:pt x="183" y="35"/>
                    </a:lnTo>
                    <a:lnTo>
                      <a:pt x="182" y="34"/>
                    </a:lnTo>
                    <a:lnTo>
                      <a:pt x="181" y="33"/>
                    </a:lnTo>
                    <a:lnTo>
                      <a:pt x="180" y="32"/>
                    </a:lnTo>
                    <a:lnTo>
                      <a:pt x="179" y="31"/>
                    </a:lnTo>
                    <a:lnTo>
                      <a:pt x="178" y="30"/>
                    </a:lnTo>
                    <a:lnTo>
                      <a:pt x="177" y="29"/>
                    </a:lnTo>
                    <a:lnTo>
                      <a:pt x="176" y="28"/>
                    </a:lnTo>
                    <a:lnTo>
                      <a:pt x="175" y="27"/>
                    </a:lnTo>
                    <a:lnTo>
                      <a:pt x="174" y="26"/>
                    </a:lnTo>
                    <a:lnTo>
                      <a:pt x="173" y="25"/>
                    </a:lnTo>
                    <a:lnTo>
                      <a:pt x="172" y="25"/>
                    </a:lnTo>
                    <a:lnTo>
                      <a:pt x="171" y="24"/>
                    </a:lnTo>
                    <a:lnTo>
                      <a:pt x="170" y="23"/>
                    </a:lnTo>
                    <a:lnTo>
                      <a:pt x="169" y="22"/>
                    </a:lnTo>
                    <a:lnTo>
                      <a:pt x="168" y="21"/>
                    </a:lnTo>
                    <a:lnTo>
                      <a:pt x="167" y="21"/>
                    </a:lnTo>
                    <a:lnTo>
                      <a:pt x="166" y="20"/>
                    </a:lnTo>
                    <a:lnTo>
                      <a:pt x="165" y="19"/>
                    </a:lnTo>
                    <a:lnTo>
                      <a:pt x="164" y="19"/>
                    </a:lnTo>
                    <a:lnTo>
                      <a:pt x="163" y="18"/>
                    </a:lnTo>
                    <a:lnTo>
                      <a:pt x="162" y="17"/>
                    </a:lnTo>
                    <a:lnTo>
                      <a:pt x="161" y="17"/>
                    </a:lnTo>
                    <a:lnTo>
                      <a:pt x="160" y="16"/>
                    </a:lnTo>
                    <a:lnTo>
                      <a:pt x="159" y="15"/>
                    </a:lnTo>
                    <a:lnTo>
                      <a:pt x="158" y="15"/>
                    </a:lnTo>
                    <a:lnTo>
                      <a:pt x="157" y="14"/>
                    </a:lnTo>
                    <a:lnTo>
                      <a:pt x="156" y="14"/>
                    </a:lnTo>
                    <a:lnTo>
                      <a:pt x="155" y="13"/>
                    </a:lnTo>
                    <a:lnTo>
                      <a:pt x="154" y="12"/>
                    </a:lnTo>
                    <a:lnTo>
                      <a:pt x="153" y="12"/>
                    </a:lnTo>
                    <a:lnTo>
                      <a:pt x="152" y="11"/>
                    </a:lnTo>
                    <a:lnTo>
                      <a:pt x="151" y="11"/>
                    </a:lnTo>
                    <a:lnTo>
                      <a:pt x="150" y="10"/>
                    </a:lnTo>
                    <a:lnTo>
                      <a:pt x="149" y="10"/>
                    </a:lnTo>
                    <a:lnTo>
                      <a:pt x="148" y="9"/>
                    </a:lnTo>
                    <a:lnTo>
                      <a:pt x="147" y="9"/>
                    </a:lnTo>
                    <a:lnTo>
                      <a:pt x="146" y="9"/>
                    </a:lnTo>
                    <a:lnTo>
                      <a:pt x="145" y="8"/>
                    </a:lnTo>
                    <a:lnTo>
                      <a:pt x="144" y="8"/>
                    </a:lnTo>
                    <a:lnTo>
                      <a:pt x="143" y="7"/>
                    </a:lnTo>
                    <a:lnTo>
                      <a:pt x="142" y="7"/>
                    </a:lnTo>
                    <a:lnTo>
                      <a:pt x="141" y="7"/>
                    </a:lnTo>
                    <a:lnTo>
                      <a:pt x="140" y="6"/>
                    </a:lnTo>
                    <a:lnTo>
                      <a:pt x="139" y="6"/>
                    </a:lnTo>
                    <a:lnTo>
                      <a:pt x="138" y="5"/>
                    </a:lnTo>
                    <a:lnTo>
                      <a:pt x="137" y="5"/>
                    </a:lnTo>
                    <a:lnTo>
                      <a:pt x="136" y="5"/>
                    </a:lnTo>
                    <a:lnTo>
                      <a:pt x="135" y="5"/>
                    </a:lnTo>
                    <a:lnTo>
                      <a:pt x="134" y="4"/>
                    </a:lnTo>
                    <a:lnTo>
                      <a:pt x="133" y="4"/>
                    </a:lnTo>
                    <a:lnTo>
                      <a:pt x="132" y="4"/>
                    </a:lnTo>
                    <a:lnTo>
                      <a:pt x="131" y="3"/>
                    </a:lnTo>
                    <a:lnTo>
                      <a:pt x="130" y="3"/>
                    </a:lnTo>
                    <a:lnTo>
                      <a:pt x="129" y="3"/>
                    </a:lnTo>
                    <a:lnTo>
                      <a:pt x="128" y="3"/>
                    </a:lnTo>
                    <a:lnTo>
                      <a:pt x="127" y="2"/>
                    </a:lnTo>
                    <a:lnTo>
                      <a:pt x="126" y="2"/>
                    </a:lnTo>
                    <a:lnTo>
                      <a:pt x="125" y="2"/>
                    </a:lnTo>
                    <a:lnTo>
                      <a:pt x="124" y="2"/>
                    </a:lnTo>
                    <a:lnTo>
                      <a:pt x="123" y="2"/>
                    </a:lnTo>
                    <a:lnTo>
                      <a:pt x="122" y="1"/>
                    </a:lnTo>
                    <a:lnTo>
                      <a:pt x="121" y="1"/>
                    </a:lnTo>
                    <a:lnTo>
                      <a:pt x="120" y="1"/>
                    </a:lnTo>
                    <a:lnTo>
                      <a:pt x="119" y="1"/>
                    </a:lnTo>
                    <a:lnTo>
                      <a:pt x="118" y="1"/>
                    </a:lnTo>
                    <a:lnTo>
                      <a:pt x="117" y="1"/>
                    </a:lnTo>
                    <a:lnTo>
                      <a:pt x="116" y="1"/>
                    </a:lnTo>
                    <a:lnTo>
                      <a:pt x="115" y="1"/>
                    </a:lnTo>
                    <a:lnTo>
                      <a:pt x="114" y="0"/>
                    </a:lnTo>
                    <a:lnTo>
                      <a:pt x="113" y="0"/>
                    </a:lnTo>
                    <a:lnTo>
                      <a:pt x="112" y="0"/>
                    </a:lnTo>
                    <a:lnTo>
                      <a:pt x="111" y="0"/>
                    </a:lnTo>
                    <a:lnTo>
                      <a:pt x="110" y="0"/>
                    </a:lnTo>
                    <a:lnTo>
                      <a:pt x="109" y="0"/>
                    </a:lnTo>
                    <a:lnTo>
                      <a:pt x="108" y="0"/>
                    </a:lnTo>
                    <a:lnTo>
                      <a:pt x="107" y="0"/>
                    </a:lnTo>
                    <a:lnTo>
                      <a:pt x="106" y="0"/>
                    </a:lnTo>
                    <a:lnTo>
                      <a:pt x="105" y="0"/>
                    </a:lnTo>
                    <a:lnTo>
                      <a:pt x="104" y="0"/>
                    </a:lnTo>
                    <a:lnTo>
                      <a:pt x="103" y="0"/>
                    </a:lnTo>
                    <a:lnTo>
                      <a:pt x="102" y="0"/>
                    </a:lnTo>
                    <a:lnTo>
                      <a:pt x="101" y="0"/>
                    </a:lnTo>
                    <a:lnTo>
                      <a:pt x="100" y="0"/>
                    </a:lnTo>
                    <a:lnTo>
                      <a:pt x="99" y="0"/>
                    </a:lnTo>
                    <a:lnTo>
                      <a:pt x="98" y="0"/>
                    </a:lnTo>
                    <a:lnTo>
                      <a:pt x="97" y="0"/>
                    </a:lnTo>
                    <a:lnTo>
                      <a:pt x="96" y="0"/>
                    </a:lnTo>
                    <a:lnTo>
                      <a:pt x="95" y="0"/>
                    </a:lnTo>
                    <a:lnTo>
                      <a:pt x="94" y="1"/>
                    </a:lnTo>
                    <a:lnTo>
                      <a:pt x="93" y="1"/>
                    </a:lnTo>
                    <a:lnTo>
                      <a:pt x="92" y="1"/>
                    </a:lnTo>
                    <a:lnTo>
                      <a:pt x="91" y="1"/>
                    </a:lnTo>
                    <a:lnTo>
                      <a:pt x="90" y="1"/>
                    </a:lnTo>
                    <a:lnTo>
                      <a:pt x="89" y="1"/>
                    </a:lnTo>
                    <a:lnTo>
                      <a:pt x="88" y="1"/>
                    </a:lnTo>
                    <a:lnTo>
                      <a:pt x="87" y="1"/>
                    </a:lnTo>
                    <a:lnTo>
                      <a:pt x="86" y="2"/>
                    </a:lnTo>
                    <a:lnTo>
                      <a:pt x="85" y="2"/>
                    </a:lnTo>
                    <a:lnTo>
                      <a:pt x="84" y="2"/>
                    </a:lnTo>
                    <a:lnTo>
                      <a:pt x="83" y="2"/>
                    </a:lnTo>
                    <a:lnTo>
                      <a:pt x="82" y="2"/>
                    </a:lnTo>
                    <a:lnTo>
                      <a:pt x="81" y="3"/>
                    </a:lnTo>
                    <a:lnTo>
                      <a:pt x="80" y="3"/>
                    </a:lnTo>
                    <a:lnTo>
                      <a:pt x="79" y="3"/>
                    </a:lnTo>
                    <a:lnTo>
                      <a:pt x="78" y="3"/>
                    </a:lnTo>
                    <a:lnTo>
                      <a:pt x="77" y="4"/>
                    </a:lnTo>
                    <a:lnTo>
                      <a:pt x="76" y="4"/>
                    </a:lnTo>
                    <a:lnTo>
                      <a:pt x="75" y="4"/>
                    </a:lnTo>
                    <a:lnTo>
                      <a:pt x="74" y="5"/>
                    </a:lnTo>
                    <a:lnTo>
                      <a:pt x="73" y="5"/>
                    </a:lnTo>
                    <a:lnTo>
                      <a:pt x="72" y="5"/>
                    </a:lnTo>
                    <a:lnTo>
                      <a:pt x="71" y="5"/>
                    </a:lnTo>
                    <a:lnTo>
                      <a:pt x="70" y="6"/>
                    </a:lnTo>
                    <a:lnTo>
                      <a:pt x="69" y="6"/>
                    </a:lnTo>
                    <a:lnTo>
                      <a:pt x="68" y="7"/>
                    </a:lnTo>
                    <a:lnTo>
                      <a:pt x="67" y="7"/>
                    </a:lnTo>
                    <a:lnTo>
                      <a:pt x="66" y="7"/>
                    </a:lnTo>
                    <a:lnTo>
                      <a:pt x="65" y="8"/>
                    </a:lnTo>
                    <a:lnTo>
                      <a:pt x="64" y="8"/>
                    </a:lnTo>
                    <a:lnTo>
                      <a:pt x="63" y="9"/>
                    </a:lnTo>
                    <a:lnTo>
                      <a:pt x="62" y="9"/>
                    </a:lnTo>
                    <a:lnTo>
                      <a:pt x="61" y="9"/>
                    </a:lnTo>
                    <a:lnTo>
                      <a:pt x="60" y="10"/>
                    </a:lnTo>
                    <a:lnTo>
                      <a:pt x="59" y="10"/>
                    </a:lnTo>
                    <a:lnTo>
                      <a:pt x="58" y="11"/>
                    </a:lnTo>
                    <a:lnTo>
                      <a:pt x="57" y="11"/>
                    </a:lnTo>
                    <a:lnTo>
                      <a:pt x="56" y="12"/>
                    </a:lnTo>
                    <a:lnTo>
                      <a:pt x="55" y="12"/>
                    </a:lnTo>
                    <a:lnTo>
                      <a:pt x="54" y="13"/>
                    </a:lnTo>
                    <a:lnTo>
                      <a:pt x="53" y="14"/>
                    </a:lnTo>
                    <a:lnTo>
                      <a:pt x="52" y="14"/>
                    </a:lnTo>
                    <a:lnTo>
                      <a:pt x="51" y="15"/>
                    </a:lnTo>
                    <a:lnTo>
                      <a:pt x="50" y="15"/>
                    </a:lnTo>
                    <a:lnTo>
                      <a:pt x="49" y="16"/>
                    </a:lnTo>
                    <a:lnTo>
                      <a:pt x="48" y="17"/>
                    </a:lnTo>
                    <a:lnTo>
                      <a:pt x="47" y="17"/>
                    </a:lnTo>
                    <a:lnTo>
                      <a:pt x="46" y="18"/>
                    </a:lnTo>
                    <a:lnTo>
                      <a:pt x="45" y="19"/>
                    </a:lnTo>
                    <a:lnTo>
                      <a:pt x="44" y="19"/>
                    </a:lnTo>
                    <a:lnTo>
                      <a:pt x="43" y="20"/>
                    </a:lnTo>
                    <a:lnTo>
                      <a:pt x="42" y="21"/>
                    </a:lnTo>
                    <a:lnTo>
                      <a:pt x="41" y="21"/>
                    </a:lnTo>
                    <a:lnTo>
                      <a:pt x="40" y="22"/>
                    </a:lnTo>
                    <a:lnTo>
                      <a:pt x="39" y="23"/>
                    </a:lnTo>
                    <a:lnTo>
                      <a:pt x="38" y="24"/>
                    </a:lnTo>
                    <a:lnTo>
                      <a:pt x="37" y="25"/>
                    </a:lnTo>
                    <a:lnTo>
                      <a:pt x="36" y="25"/>
                    </a:lnTo>
                    <a:lnTo>
                      <a:pt x="35" y="26"/>
                    </a:lnTo>
                    <a:lnTo>
                      <a:pt x="34" y="27"/>
                    </a:lnTo>
                    <a:lnTo>
                      <a:pt x="33" y="28"/>
                    </a:lnTo>
                    <a:lnTo>
                      <a:pt x="32" y="29"/>
                    </a:lnTo>
                    <a:lnTo>
                      <a:pt x="31" y="30"/>
                    </a:lnTo>
                    <a:lnTo>
                      <a:pt x="30" y="31"/>
                    </a:lnTo>
                    <a:lnTo>
                      <a:pt x="29" y="32"/>
                    </a:lnTo>
                    <a:lnTo>
                      <a:pt x="28" y="33"/>
                    </a:lnTo>
                    <a:lnTo>
                      <a:pt x="27" y="34"/>
                    </a:lnTo>
                    <a:lnTo>
                      <a:pt x="26" y="35"/>
                    </a:lnTo>
                    <a:lnTo>
                      <a:pt x="25" y="36"/>
                    </a:lnTo>
                    <a:lnTo>
                      <a:pt x="25" y="37"/>
                    </a:lnTo>
                    <a:lnTo>
                      <a:pt x="24" y="38"/>
                    </a:lnTo>
                    <a:lnTo>
                      <a:pt x="23" y="39"/>
                    </a:lnTo>
                    <a:lnTo>
                      <a:pt x="22" y="40"/>
                    </a:lnTo>
                    <a:lnTo>
                      <a:pt x="21" y="41"/>
                    </a:lnTo>
                    <a:lnTo>
                      <a:pt x="21" y="42"/>
                    </a:lnTo>
                    <a:lnTo>
                      <a:pt x="20" y="43"/>
                    </a:lnTo>
                    <a:lnTo>
                      <a:pt x="19" y="44"/>
                    </a:lnTo>
                    <a:lnTo>
                      <a:pt x="18" y="45"/>
                    </a:lnTo>
                    <a:lnTo>
                      <a:pt x="18" y="46"/>
                    </a:lnTo>
                    <a:lnTo>
                      <a:pt x="17" y="47"/>
                    </a:lnTo>
                    <a:lnTo>
                      <a:pt x="16" y="48"/>
                    </a:lnTo>
                    <a:lnTo>
                      <a:pt x="16" y="49"/>
                    </a:lnTo>
                    <a:lnTo>
                      <a:pt x="15" y="50"/>
                    </a:lnTo>
                    <a:lnTo>
                      <a:pt x="15" y="51"/>
                    </a:lnTo>
                    <a:lnTo>
                      <a:pt x="14" y="52"/>
                    </a:lnTo>
                    <a:lnTo>
                      <a:pt x="13" y="53"/>
                    </a:lnTo>
                    <a:lnTo>
                      <a:pt x="13" y="54"/>
                    </a:lnTo>
                    <a:lnTo>
                      <a:pt x="12" y="55"/>
                    </a:lnTo>
                    <a:lnTo>
                      <a:pt x="12" y="56"/>
                    </a:lnTo>
                    <a:lnTo>
                      <a:pt x="11" y="57"/>
                    </a:lnTo>
                    <a:lnTo>
                      <a:pt x="11" y="58"/>
                    </a:lnTo>
                    <a:lnTo>
                      <a:pt x="10" y="59"/>
                    </a:lnTo>
                    <a:lnTo>
                      <a:pt x="10" y="60"/>
                    </a:lnTo>
                    <a:lnTo>
                      <a:pt x="9" y="61"/>
                    </a:lnTo>
                    <a:lnTo>
                      <a:pt x="9" y="62"/>
                    </a:lnTo>
                    <a:lnTo>
                      <a:pt x="8" y="63"/>
                    </a:lnTo>
                    <a:lnTo>
                      <a:pt x="8" y="64"/>
                    </a:lnTo>
                    <a:lnTo>
                      <a:pt x="8" y="65"/>
                    </a:lnTo>
                    <a:lnTo>
                      <a:pt x="7" y="66"/>
                    </a:lnTo>
                    <a:lnTo>
                      <a:pt x="7" y="67"/>
                    </a:lnTo>
                    <a:lnTo>
                      <a:pt x="6" y="68"/>
                    </a:lnTo>
                    <a:lnTo>
                      <a:pt x="6" y="69"/>
                    </a:lnTo>
                    <a:lnTo>
                      <a:pt x="6" y="70"/>
                    </a:lnTo>
                    <a:lnTo>
                      <a:pt x="5" y="71"/>
                    </a:lnTo>
                    <a:lnTo>
                      <a:pt x="5" y="72"/>
                    </a:lnTo>
                    <a:lnTo>
                      <a:pt x="5" y="73"/>
                    </a:lnTo>
                    <a:lnTo>
                      <a:pt x="4" y="74"/>
                    </a:lnTo>
                    <a:lnTo>
                      <a:pt x="4" y="75"/>
                    </a:lnTo>
                    <a:lnTo>
                      <a:pt x="4" y="76"/>
                    </a:lnTo>
                    <a:lnTo>
                      <a:pt x="4" y="77"/>
                    </a:lnTo>
                    <a:lnTo>
                      <a:pt x="3" y="78"/>
                    </a:lnTo>
                    <a:lnTo>
                      <a:pt x="3" y="79"/>
                    </a:lnTo>
                    <a:lnTo>
                      <a:pt x="3" y="80"/>
                    </a:lnTo>
                    <a:lnTo>
                      <a:pt x="3" y="81"/>
                    </a:lnTo>
                    <a:lnTo>
                      <a:pt x="2" y="82"/>
                    </a:lnTo>
                    <a:lnTo>
                      <a:pt x="2" y="83"/>
                    </a:lnTo>
                    <a:lnTo>
                      <a:pt x="2" y="84"/>
                    </a:lnTo>
                    <a:lnTo>
                      <a:pt x="2" y="85"/>
                    </a:lnTo>
                    <a:lnTo>
                      <a:pt x="2" y="86"/>
                    </a:lnTo>
                    <a:lnTo>
                      <a:pt x="1" y="87"/>
                    </a:lnTo>
                    <a:lnTo>
                      <a:pt x="1" y="88"/>
                    </a:lnTo>
                    <a:lnTo>
                      <a:pt x="1" y="89"/>
                    </a:lnTo>
                    <a:lnTo>
                      <a:pt x="1" y="90"/>
                    </a:lnTo>
                    <a:lnTo>
                      <a:pt x="1" y="91"/>
                    </a:lnTo>
                    <a:lnTo>
                      <a:pt x="1" y="92"/>
                    </a:lnTo>
                    <a:lnTo>
                      <a:pt x="1" y="93"/>
                    </a:lnTo>
                    <a:lnTo>
                      <a:pt x="0" y="94"/>
                    </a:lnTo>
                    <a:lnTo>
                      <a:pt x="0" y="95"/>
                    </a:lnTo>
                    <a:lnTo>
                      <a:pt x="0" y="96"/>
                    </a:lnTo>
                    <a:lnTo>
                      <a:pt x="0" y="97"/>
                    </a:lnTo>
                    <a:lnTo>
                      <a:pt x="0" y="98"/>
                    </a:lnTo>
                    <a:lnTo>
                      <a:pt x="0" y="99"/>
                    </a:lnTo>
                    <a:lnTo>
                      <a:pt x="0" y="100"/>
                    </a:lnTo>
                    <a:lnTo>
                      <a:pt x="0" y="101"/>
                    </a:lnTo>
                    <a:lnTo>
                      <a:pt x="0" y="102"/>
                    </a:lnTo>
                    <a:lnTo>
                      <a:pt x="0" y="103"/>
                    </a:lnTo>
                    <a:lnTo>
                      <a:pt x="0" y="104"/>
                    </a:lnTo>
                    <a:lnTo>
                      <a:pt x="0" y="105"/>
                    </a:lnTo>
                    <a:lnTo>
                      <a:pt x="0" y="106"/>
                    </a:lnTo>
                    <a:lnTo>
                      <a:pt x="0" y="107"/>
                    </a:lnTo>
                    <a:lnTo>
                      <a:pt x="0" y="108"/>
                    </a:lnTo>
                    <a:lnTo>
                      <a:pt x="0" y="109"/>
                    </a:lnTo>
                    <a:lnTo>
                      <a:pt x="0" y="110"/>
                    </a:lnTo>
                    <a:lnTo>
                      <a:pt x="0" y="111"/>
                    </a:lnTo>
                    <a:lnTo>
                      <a:pt x="0" y="112"/>
                    </a:lnTo>
                    <a:lnTo>
                      <a:pt x="0" y="113"/>
                    </a:lnTo>
                    <a:lnTo>
                      <a:pt x="0" y="114"/>
                    </a:lnTo>
                    <a:lnTo>
                      <a:pt x="1" y="115"/>
                    </a:lnTo>
                    <a:lnTo>
                      <a:pt x="1" y="116"/>
                    </a:lnTo>
                    <a:lnTo>
                      <a:pt x="1" y="117"/>
                    </a:lnTo>
                    <a:lnTo>
                      <a:pt x="1" y="118"/>
                    </a:lnTo>
                    <a:lnTo>
                      <a:pt x="1" y="119"/>
                    </a:lnTo>
                    <a:lnTo>
                      <a:pt x="1" y="120"/>
                    </a:lnTo>
                    <a:lnTo>
                      <a:pt x="1" y="121"/>
                    </a:lnTo>
                    <a:lnTo>
                      <a:pt x="2" y="122"/>
                    </a:lnTo>
                    <a:lnTo>
                      <a:pt x="2" y="123"/>
                    </a:lnTo>
                    <a:lnTo>
                      <a:pt x="2" y="124"/>
                    </a:lnTo>
                    <a:lnTo>
                      <a:pt x="2" y="125"/>
                    </a:lnTo>
                    <a:lnTo>
                      <a:pt x="2" y="126"/>
                    </a:lnTo>
                    <a:lnTo>
                      <a:pt x="3" y="127"/>
                    </a:lnTo>
                    <a:lnTo>
                      <a:pt x="3" y="128"/>
                    </a:lnTo>
                    <a:lnTo>
                      <a:pt x="3" y="129"/>
                    </a:lnTo>
                    <a:lnTo>
                      <a:pt x="3" y="130"/>
                    </a:lnTo>
                    <a:lnTo>
                      <a:pt x="4" y="131"/>
                    </a:lnTo>
                    <a:lnTo>
                      <a:pt x="4" y="132"/>
                    </a:lnTo>
                    <a:lnTo>
                      <a:pt x="4" y="133"/>
                    </a:lnTo>
                    <a:lnTo>
                      <a:pt x="4" y="134"/>
                    </a:lnTo>
                    <a:lnTo>
                      <a:pt x="5" y="135"/>
                    </a:lnTo>
                    <a:lnTo>
                      <a:pt x="5" y="136"/>
                    </a:lnTo>
                    <a:lnTo>
                      <a:pt x="5" y="137"/>
                    </a:lnTo>
                    <a:lnTo>
                      <a:pt x="6" y="138"/>
                    </a:lnTo>
                    <a:lnTo>
                      <a:pt x="6" y="139"/>
                    </a:lnTo>
                    <a:lnTo>
                      <a:pt x="6" y="140"/>
                    </a:lnTo>
                    <a:lnTo>
                      <a:pt x="7" y="141"/>
                    </a:lnTo>
                    <a:lnTo>
                      <a:pt x="7" y="142"/>
                    </a:lnTo>
                    <a:lnTo>
                      <a:pt x="8" y="143"/>
                    </a:lnTo>
                    <a:lnTo>
                      <a:pt x="8" y="144"/>
                    </a:lnTo>
                    <a:lnTo>
                      <a:pt x="8" y="145"/>
                    </a:lnTo>
                    <a:lnTo>
                      <a:pt x="9" y="146"/>
                    </a:lnTo>
                    <a:lnTo>
                      <a:pt x="9" y="147"/>
                    </a:lnTo>
                    <a:lnTo>
                      <a:pt x="10" y="148"/>
                    </a:lnTo>
                    <a:lnTo>
                      <a:pt x="10" y="149"/>
                    </a:lnTo>
                    <a:lnTo>
                      <a:pt x="11" y="150"/>
                    </a:lnTo>
                    <a:lnTo>
                      <a:pt x="11" y="151"/>
                    </a:lnTo>
                    <a:lnTo>
                      <a:pt x="12" y="152"/>
                    </a:lnTo>
                    <a:lnTo>
                      <a:pt x="12" y="153"/>
                    </a:lnTo>
                    <a:lnTo>
                      <a:pt x="13" y="154"/>
                    </a:lnTo>
                    <a:lnTo>
                      <a:pt x="13" y="155"/>
                    </a:lnTo>
                    <a:lnTo>
                      <a:pt x="14" y="156"/>
                    </a:lnTo>
                    <a:lnTo>
                      <a:pt x="15" y="157"/>
                    </a:lnTo>
                    <a:lnTo>
                      <a:pt x="15" y="158"/>
                    </a:lnTo>
                    <a:lnTo>
                      <a:pt x="16" y="159"/>
                    </a:lnTo>
                    <a:lnTo>
                      <a:pt x="16" y="160"/>
                    </a:lnTo>
                    <a:lnTo>
                      <a:pt x="17" y="161"/>
                    </a:lnTo>
                    <a:lnTo>
                      <a:pt x="18" y="162"/>
                    </a:lnTo>
                    <a:lnTo>
                      <a:pt x="18" y="163"/>
                    </a:lnTo>
                    <a:lnTo>
                      <a:pt x="19" y="164"/>
                    </a:lnTo>
                    <a:lnTo>
                      <a:pt x="20" y="165"/>
                    </a:lnTo>
                    <a:lnTo>
                      <a:pt x="21" y="166"/>
                    </a:lnTo>
                    <a:lnTo>
                      <a:pt x="21" y="167"/>
                    </a:lnTo>
                    <a:lnTo>
                      <a:pt x="22" y="168"/>
                    </a:lnTo>
                    <a:lnTo>
                      <a:pt x="23" y="169"/>
                    </a:lnTo>
                    <a:lnTo>
                      <a:pt x="24" y="170"/>
                    </a:lnTo>
                    <a:lnTo>
                      <a:pt x="25" y="171"/>
                    </a:lnTo>
                    <a:lnTo>
                      <a:pt x="25" y="172"/>
                    </a:lnTo>
                    <a:lnTo>
                      <a:pt x="26" y="173"/>
                    </a:lnTo>
                    <a:lnTo>
                      <a:pt x="27" y="174"/>
                    </a:lnTo>
                    <a:lnTo>
                      <a:pt x="28" y="175"/>
                    </a:lnTo>
                    <a:lnTo>
                      <a:pt x="29" y="176"/>
                    </a:lnTo>
                    <a:lnTo>
                      <a:pt x="30" y="177"/>
                    </a:lnTo>
                    <a:lnTo>
                      <a:pt x="31" y="178"/>
                    </a:lnTo>
                    <a:lnTo>
                      <a:pt x="32" y="179"/>
                    </a:lnTo>
                    <a:lnTo>
                      <a:pt x="33" y="180"/>
                    </a:lnTo>
                    <a:lnTo>
                      <a:pt x="34" y="181"/>
                    </a:lnTo>
                    <a:lnTo>
                      <a:pt x="35" y="182"/>
                    </a:lnTo>
                    <a:lnTo>
                      <a:pt x="36" y="183"/>
                    </a:lnTo>
                    <a:lnTo>
                      <a:pt x="37" y="183"/>
                    </a:lnTo>
                    <a:lnTo>
                      <a:pt x="38" y="184"/>
                    </a:lnTo>
                    <a:lnTo>
                      <a:pt x="39" y="185"/>
                    </a:lnTo>
                    <a:lnTo>
                      <a:pt x="40" y="186"/>
                    </a:lnTo>
                    <a:lnTo>
                      <a:pt x="41" y="187"/>
                    </a:lnTo>
                    <a:lnTo>
                      <a:pt x="42" y="187"/>
                    </a:lnTo>
                    <a:lnTo>
                      <a:pt x="43" y="188"/>
                    </a:lnTo>
                    <a:lnTo>
                      <a:pt x="44" y="189"/>
                    </a:lnTo>
                    <a:lnTo>
                      <a:pt x="45" y="189"/>
                    </a:lnTo>
                    <a:lnTo>
                      <a:pt x="46" y="190"/>
                    </a:lnTo>
                    <a:lnTo>
                      <a:pt x="47" y="191"/>
                    </a:lnTo>
                    <a:lnTo>
                      <a:pt x="48" y="191"/>
                    </a:lnTo>
                    <a:lnTo>
                      <a:pt x="49" y="192"/>
                    </a:lnTo>
                    <a:lnTo>
                      <a:pt x="50" y="193"/>
                    </a:lnTo>
                    <a:lnTo>
                      <a:pt x="51" y="193"/>
                    </a:lnTo>
                    <a:lnTo>
                      <a:pt x="52" y="194"/>
                    </a:lnTo>
                    <a:lnTo>
                      <a:pt x="53" y="194"/>
                    </a:lnTo>
                    <a:lnTo>
                      <a:pt x="54" y="195"/>
                    </a:lnTo>
                    <a:lnTo>
                      <a:pt x="55" y="196"/>
                    </a:lnTo>
                    <a:lnTo>
                      <a:pt x="56" y="196"/>
                    </a:lnTo>
                    <a:lnTo>
                      <a:pt x="57" y="197"/>
                    </a:lnTo>
                    <a:lnTo>
                      <a:pt x="58" y="197"/>
                    </a:lnTo>
                    <a:lnTo>
                      <a:pt x="59" y="198"/>
                    </a:lnTo>
                    <a:lnTo>
                      <a:pt x="60" y="198"/>
                    </a:lnTo>
                    <a:lnTo>
                      <a:pt x="61" y="199"/>
                    </a:lnTo>
                    <a:lnTo>
                      <a:pt x="62" y="199"/>
                    </a:lnTo>
                    <a:lnTo>
                      <a:pt x="63" y="199"/>
                    </a:lnTo>
                    <a:lnTo>
                      <a:pt x="64" y="200"/>
                    </a:lnTo>
                    <a:lnTo>
                      <a:pt x="65" y="200"/>
                    </a:lnTo>
                    <a:lnTo>
                      <a:pt x="66" y="201"/>
                    </a:lnTo>
                    <a:lnTo>
                      <a:pt x="67" y="201"/>
                    </a:lnTo>
                    <a:lnTo>
                      <a:pt x="68" y="201"/>
                    </a:lnTo>
                    <a:lnTo>
                      <a:pt x="69" y="202"/>
                    </a:lnTo>
                    <a:lnTo>
                      <a:pt x="70" y="202"/>
                    </a:lnTo>
                    <a:lnTo>
                      <a:pt x="71" y="203"/>
                    </a:lnTo>
                    <a:lnTo>
                      <a:pt x="72" y="203"/>
                    </a:lnTo>
                    <a:lnTo>
                      <a:pt x="73" y="203"/>
                    </a:lnTo>
                    <a:lnTo>
                      <a:pt x="74" y="203"/>
                    </a:lnTo>
                    <a:lnTo>
                      <a:pt x="75" y="204"/>
                    </a:lnTo>
                    <a:lnTo>
                      <a:pt x="76" y="204"/>
                    </a:lnTo>
                    <a:lnTo>
                      <a:pt x="77" y="204"/>
                    </a:lnTo>
                    <a:lnTo>
                      <a:pt x="78" y="205"/>
                    </a:lnTo>
                    <a:lnTo>
                      <a:pt x="79" y="205"/>
                    </a:lnTo>
                    <a:lnTo>
                      <a:pt x="80" y="205"/>
                    </a:lnTo>
                    <a:lnTo>
                      <a:pt x="81" y="205"/>
                    </a:lnTo>
                    <a:lnTo>
                      <a:pt x="82" y="206"/>
                    </a:lnTo>
                    <a:lnTo>
                      <a:pt x="83" y="206"/>
                    </a:lnTo>
                    <a:lnTo>
                      <a:pt x="84" y="206"/>
                    </a:lnTo>
                    <a:lnTo>
                      <a:pt x="85" y="206"/>
                    </a:lnTo>
                    <a:lnTo>
                      <a:pt x="86" y="206"/>
                    </a:lnTo>
                    <a:lnTo>
                      <a:pt x="87" y="207"/>
                    </a:lnTo>
                    <a:lnTo>
                      <a:pt x="88" y="207"/>
                    </a:lnTo>
                    <a:lnTo>
                      <a:pt x="89" y="207"/>
                    </a:lnTo>
                    <a:lnTo>
                      <a:pt x="90" y="207"/>
                    </a:lnTo>
                    <a:lnTo>
                      <a:pt x="91" y="207"/>
                    </a:lnTo>
                    <a:lnTo>
                      <a:pt x="92" y="207"/>
                    </a:lnTo>
                    <a:lnTo>
                      <a:pt x="93" y="207"/>
                    </a:lnTo>
                    <a:lnTo>
                      <a:pt x="94" y="207"/>
                    </a:lnTo>
                    <a:lnTo>
                      <a:pt x="95" y="208"/>
                    </a:lnTo>
                    <a:lnTo>
                      <a:pt x="96" y="208"/>
                    </a:lnTo>
                    <a:lnTo>
                      <a:pt x="97" y="208"/>
                    </a:lnTo>
                    <a:lnTo>
                      <a:pt x="98" y="208"/>
                    </a:lnTo>
                    <a:lnTo>
                      <a:pt x="99" y="208"/>
                    </a:lnTo>
                    <a:lnTo>
                      <a:pt x="100" y="208"/>
                    </a:lnTo>
                    <a:lnTo>
                      <a:pt x="101" y="208"/>
                    </a:lnTo>
                    <a:lnTo>
                      <a:pt x="102" y="208"/>
                    </a:lnTo>
                    <a:lnTo>
                      <a:pt x="103" y="208"/>
                    </a:lnTo>
                    <a:lnTo>
                      <a:pt x="104" y="208"/>
                    </a:lnTo>
                    <a:lnTo>
                      <a:pt x="105" y="208"/>
                    </a:lnTo>
                    <a:lnTo>
                      <a:pt x="106" y="208"/>
                    </a:lnTo>
                    <a:lnTo>
                      <a:pt x="107" y="208"/>
                    </a:lnTo>
                    <a:lnTo>
                      <a:pt x="108" y="208"/>
                    </a:lnTo>
                    <a:lnTo>
                      <a:pt x="109" y="208"/>
                    </a:lnTo>
                    <a:lnTo>
                      <a:pt x="110" y="208"/>
                    </a:lnTo>
                    <a:lnTo>
                      <a:pt x="111" y="208"/>
                    </a:lnTo>
                    <a:lnTo>
                      <a:pt x="112" y="208"/>
                    </a:lnTo>
                    <a:lnTo>
                      <a:pt x="113" y="208"/>
                    </a:lnTo>
                    <a:lnTo>
                      <a:pt x="114" y="208"/>
                    </a:lnTo>
                    <a:lnTo>
                      <a:pt x="115" y="207"/>
                    </a:lnTo>
                    <a:lnTo>
                      <a:pt x="116" y="207"/>
                    </a:lnTo>
                    <a:lnTo>
                      <a:pt x="117" y="207"/>
                    </a:lnTo>
                    <a:lnTo>
                      <a:pt x="118" y="207"/>
                    </a:lnTo>
                    <a:lnTo>
                      <a:pt x="119" y="207"/>
                    </a:lnTo>
                    <a:lnTo>
                      <a:pt x="120" y="207"/>
                    </a:lnTo>
                    <a:lnTo>
                      <a:pt x="121" y="207"/>
                    </a:lnTo>
                    <a:lnTo>
                      <a:pt x="122" y="207"/>
                    </a:lnTo>
                    <a:lnTo>
                      <a:pt x="123" y="206"/>
                    </a:lnTo>
                    <a:lnTo>
                      <a:pt x="124" y="206"/>
                    </a:lnTo>
                    <a:lnTo>
                      <a:pt x="125" y="206"/>
                    </a:lnTo>
                    <a:lnTo>
                      <a:pt x="126" y="206"/>
                    </a:lnTo>
                    <a:lnTo>
                      <a:pt x="127" y="206"/>
                    </a:lnTo>
                    <a:lnTo>
                      <a:pt x="128" y="205"/>
                    </a:lnTo>
                    <a:lnTo>
                      <a:pt x="129" y="205"/>
                    </a:lnTo>
                    <a:lnTo>
                      <a:pt x="130" y="205"/>
                    </a:lnTo>
                    <a:lnTo>
                      <a:pt x="130" y="205"/>
                    </a:lnTo>
                    <a:lnTo>
                      <a:pt x="104" y="104"/>
                    </a:lnTo>
                    <a:lnTo>
                      <a:pt x="209" y="104"/>
                    </a:lnTo>
                    <a:close/>
                  </a:path>
                </a:pathLst>
              </a:custGeom>
              <a:solidFill>
                <a:srgbClr val="004C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138"/>
              </a:p>
            </p:txBody>
          </p:sp>
          <p:sp>
            <p:nvSpPr>
              <p:cNvPr id="82" name="Freeform 80"/>
              <p:cNvSpPr>
                <a:spLocks/>
              </p:cNvSpPr>
              <p:nvPr/>
            </p:nvSpPr>
            <p:spPr bwMode="auto">
              <a:xfrm>
                <a:off x="3111" y="1641"/>
                <a:ext cx="166" cy="160"/>
              </a:xfrm>
              <a:custGeom>
                <a:avLst/>
                <a:gdLst>
                  <a:gd name="T0" fmla="*/ 27 w 105"/>
                  <a:gd name="T1" fmla="*/ 101 h 101"/>
                  <a:gd name="T2" fmla="*/ 29 w 105"/>
                  <a:gd name="T3" fmla="*/ 100 h 101"/>
                  <a:gd name="T4" fmla="*/ 31 w 105"/>
                  <a:gd name="T5" fmla="*/ 99 h 101"/>
                  <a:gd name="T6" fmla="*/ 33 w 105"/>
                  <a:gd name="T7" fmla="*/ 99 h 101"/>
                  <a:gd name="T8" fmla="*/ 35 w 105"/>
                  <a:gd name="T9" fmla="*/ 98 h 101"/>
                  <a:gd name="T10" fmla="*/ 37 w 105"/>
                  <a:gd name="T11" fmla="*/ 97 h 101"/>
                  <a:gd name="T12" fmla="*/ 39 w 105"/>
                  <a:gd name="T13" fmla="*/ 97 h 101"/>
                  <a:gd name="T14" fmla="*/ 41 w 105"/>
                  <a:gd name="T15" fmla="*/ 96 h 101"/>
                  <a:gd name="T16" fmla="*/ 43 w 105"/>
                  <a:gd name="T17" fmla="*/ 95 h 101"/>
                  <a:gd name="T18" fmla="*/ 45 w 105"/>
                  <a:gd name="T19" fmla="*/ 94 h 101"/>
                  <a:gd name="T20" fmla="*/ 47 w 105"/>
                  <a:gd name="T21" fmla="*/ 93 h 101"/>
                  <a:gd name="T22" fmla="*/ 49 w 105"/>
                  <a:gd name="T23" fmla="*/ 92 h 101"/>
                  <a:gd name="T24" fmla="*/ 51 w 105"/>
                  <a:gd name="T25" fmla="*/ 91 h 101"/>
                  <a:gd name="T26" fmla="*/ 53 w 105"/>
                  <a:gd name="T27" fmla="*/ 90 h 101"/>
                  <a:gd name="T28" fmla="*/ 55 w 105"/>
                  <a:gd name="T29" fmla="*/ 89 h 101"/>
                  <a:gd name="T30" fmla="*/ 57 w 105"/>
                  <a:gd name="T31" fmla="*/ 87 h 101"/>
                  <a:gd name="T32" fmla="*/ 59 w 105"/>
                  <a:gd name="T33" fmla="*/ 86 h 101"/>
                  <a:gd name="T34" fmla="*/ 61 w 105"/>
                  <a:gd name="T35" fmla="*/ 85 h 101"/>
                  <a:gd name="T36" fmla="*/ 63 w 105"/>
                  <a:gd name="T37" fmla="*/ 83 h 101"/>
                  <a:gd name="T38" fmla="*/ 65 w 105"/>
                  <a:gd name="T39" fmla="*/ 82 h 101"/>
                  <a:gd name="T40" fmla="*/ 67 w 105"/>
                  <a:gd name="T41" fmla="*/ 80 h 101"/>
                  <a:gd name="T42" fmla="*/ 69 w 105"/>
                  <a:gd name="T43" fmla="*/ 79 h 101"/>
                  <a:gd name="T44" fmla="*/ 71 w 105"/>
                  <a:gd name="T45" fmla="*/ 77 h 101"/>
                  <a:gd name="T46" fmla="*/ 73 w 105"/>
                  <a:gd name="T47" fmla="*/ 75 h 101"/>
                  <a:gd name="T48" fmla="*/ 75 w 105"/>
                  <a:gd name="T49" fmla="*/ 73 h 101"/>
                  <a:gd name="T50" fmla="*/ 77 w 105"/>
                  <a:gd name="T51" fmla="*/ 71 h 101"/>
                  <a:gd name="T52" fmla="*/ 79 w 105"/>
                  <a:gd name="T53" fmla="*/ 69 h 101"/>
                  <a:gd name="T54" fmla="*/ 80 w 105"/>
                  <a:gd name="T55" fmla="*/ 67 h 101"/>
                  <a:gd name="T56" fmla="*/ 82 w 105"/>
                  <a:gd name="T57" fmla="*/ 65 h 101"/>
                  <a:gd name="T58" fmla="*/ 84 w 105"/>
                  <a:gd name="T59" fmla="*/ 63 h 101"/>
                  <a:gd name="T60" fmla="*/ 85 w 105"/>
                  <a:gd name="T61" fmla="*/ 61 h 101"/>
                  <a:gd name="T62" fmla="*/ 87 w 105"/>
                  <a:gd name="T63" fmla="*/ 59 h 101"/>
                  <a:gd name="T64" fmla="*/ 88 w 105"/>
                  <a:gd name="T65" fmla="*/ 57 h 101"/>
                  <a:gd name="T66" fmla="*/ 89 w 105"/>
                  <a:gd name="T67" fmla="*/ 55 h 101"/>
                  <a:gd name="T68" fmla="*/ 90 w 105"/>
                  <a:gd name="T69" fmla="*/ 53 h 101"/>
                  <a:gd name="T70" fmla="*/ 92 w 105"/>
                  <a:gd name="T71" fmla="*/ 51 h 101"/>
                  <a:gd name="T72" fmla="*/ 93 w 105"/>
                  <a:gd name="T73" fmla="*/ 49 h 101"/>
                  <a:gd name="T74" fmla="*/ 94 w 105"/>
                  <a:gd name="T75" fmla="*/ 47 h 101"/>
                  <a:gd name="T76" fmla="*/ 95 w 105"/>
                  <a:gd name="T77" fmla="*/ 45 h 101"/>
                  <a:gd name="T78" fmla="*/ 96 w 105"/>
                  <a:gd name="T79" fmla="*/ 43 h 101"/>
                  <a:gd name="T80" fmla="*/ 97 w 105"/>
                  <a:gd name="T81" fmla="*/ 41 h 101"/>
                  <a:gd name="T82" fmla="*/ 97 w 105"/>
                  <a:gd name="T83" fmla="*/ 39 h 101"/>
                  <a:gd name="T84" fmla="*/ 98 w 105"/>
                  <a:gd name="T85" fmla="*/ 37 h 101"/>
                  <a:gd name="T86" fmla="*/ 99 w 105"/>
                  <a:gd name="T87" fmla="*/ 35 h 101"/>
                  <a:gd name="T88" fmla="*/ 100 w 105"/>
                  <a:gd name="T89" fmla="*/ 33 h 101"/>
                  <a:gd name="T90" fmla="*/ 100 w 105"/>
                  <a:gd name="T91" fmla="*/ 31 h 101"/>
                  <a:gd name="T92" fmla="*/ 101 w 105"/>
                  <a:gd name="T93" fmla="*/ 29 h 101"/>
                  <a:gd name="T94" fmla="*/ 101 w 105"/>
                  <a:gd name="T95" fmla="*/ 27 h 101"/>
                  <a:gd name="T96" fmla="*/ 102 w 105"/>
                  <a:gd name="T97" fmla="*/ 25 h 101"/>
                  <a:gd name="T98" fmla="*/ 102 w 105"/>
                  <a:gd name="T99" fmla="*/ 23 h 101"/>
                  <a:gd name="T100" fmla="*/ 103 w 105"/>
                  <a:gd name="T101" fmla="*/ 21 h 101"/>
                  <a:gd name="T102" fmla="*/ 103 w 105"/>
                  <a:gd name="T103" fmla="*/ 19 h 101"/>
                  <a:gd name="T104" fmla="*/ 104 w 105"/>
                  <a:gd name="T105" fmla="*/ 17 h 101"/>
                  <a:gd name="T106" fmla="*/ 104 w 105"/>
                  <a:gd name="T107" fmla="*/ 15 h 101"/>
                  <a:gd name="T108" fmla="*/ 104 w 105"/>
                  <a:gd name="T109" fmla="*/ 13 h 101"/>
                  <a:gd name="T110" fmla="*/ 104 w 105"/>
                  <a:gd name="T111" fmla="*/ 11 h 101"/>
                  <a:gd name="T112" fmla="*/ 105 w 105"/>
                  <a:gd name="T113" fmla="*/ 9 h 101"/>
                  <a:gd name="T114" fmla="*/ 105 w 105"/>
                  <a:gd name="T115" fmla="*/ 7 h 101"/>
                  <a:gd name="T116" fmla="*/ 105 w 105"/>
                  <a:gd name="T117" fmla="*/ 5 h 101"/>
                  <a:gd name="T118" fmla="*/ 105 w 105"/>
                  <a:gd name="T119" fmla="*/ 3 h 101"/>
                  <a:gd name="T120" fmla="*/ 105 w 105"/>
                  <a:gd name="T121" fmla="*/ 1 h 101"/>
                  <a:gd name="T122" fmla="*/ 105 w 105"/>
                  <a:gd name="T123" fmla="*/ 0 h 101"/>
                  <a:gd name="T124" fmla="*/ 26 w 105"/>
                  <a:gd name="T1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5" h="101">
                    <a:moveTo>
                      <a:pt x="26" y="101"/>
                    </a:moveTo>
                    <a:lnTo>
                      <a:pt x="27" y="101"/>
                    </a:lnTo>
                    <a:lnTo>
                      <a:pt x="28" y="100"/>
                    </a:lnTo>
                    <a:lnTo>
                      <a:pt x="29" y="100"/>
                    </a:lnTo>
                    <a:lnTo>
                      <a:pt x="30" y="100"/>
                    </a:lnTo>
                    <a:lnTo>
                      <a:pt x="31" y="99"/>
                    </a:lnTo>
                    <a:lnTo>
                      <a:pt x="32" y="99"/>
                    </a:lnTo>
                    <a:lnTo>
                      <a:pt x="33" y="99"/>
                    </a:lnTo>
                    <a:lnTo>
                      <a:pt x="34" y="99"/>
                    </a:lnTo>
                    <a:lnTo>
                      <a:pt x="35" y="98"/>
                    </a:lnTo>
                    <a:lnTo>
                      <a:pt x="36" y="98"/>
                    </a:lnTo>
                    <a:lnTo>
                      <a:pt x="37" y="97"/>
                    </a:lnTo>
                    <a:lnTo>
                      <a:pt x="38" y="97"/>
                    </a:lnTo>
                    <a:lnTo>
                      <a:pt x="39" y="97"/>
                    </a:lnTo>
                    <a:lnTo>
                      <a:pt x="40" y="96"/>
                    </a:lnTo>
                    <a:lnTo>
                      <a:pt x="41" y="96"/>
                    </a:lnTo>
                    <a:lnTo>
                      <a:pt x="42" y="95"/>
                    </a:lnTo>
                    <a:lnTo>
                      <a:pt x="43" y="95"/>
                    </a:lnTo>
                    <a:lnTo>
                      <a:pt x="44" y="95"/>
                    </a:lnTo>
                    <a:lnTo>
                      <a:pt x="45" y="94"/>
                    </a:lnTo>
                    <a:lnTo>
                      <a:pt x="46" y="94"/>
                    </a:lnTo>
                    <a:lnTo>
                      <a:pt x="47" y="93"/>
                    </a:lnTo>
                    <a:lnTo>
                      <a:pt x="48" y="93"/>
                    </a:lnTo>
                    <a:lnTo>
                      <a:pt x="49" y="92"/>
                    </a:lnTo>
                    <a:lnTo>
                      <a:pt x="50" y="92"/>
                    </a:lnTo>
                    <a:lnTo>
                      <a:pt x="51" y="91"/>
                    </a:lnTo>
                    <a:lnTo>
                      <a:pt x="52" y="90"/>
                    </a:lnTo>
                    <a:lnTo>
                      <a:pt x="53" y="90"/>
                    </a:lnTo>
                    <a:lnTo>
                      <a:pt x="54" y="89"/>
                    </a:lnTo>
                    <a:lnTo>
                      <a:pt x="55" y="89"/>
                    </a:lnTo>
                    <a:lnTo>
                      <a:pt x="56" y="88"/>
                    </a:lnTo>
                    <a:lnTo>
                      <a:pt x="57" y="87"/>
                    </a:lnTo>
                    <a:lnTo>
                      <a:pt x="58" y="87"/>
                    </a:lnTo>
                    <a:lnTo>
                      <a:pt x="59" y="86"/>
                    </a:lnTo>
                    <a:lnTo>
                      <a:pt x="60" y="85"/>
                    </a:lnTo>
                    <a:lnTo>
                      <a:pt x="61" y="85"/>
                    </a:lnTo>
                    <a:lnTo>
                      <a:pt x="62" y="84"/>
                    </a:lnTo>
                    <a:lnTo>
                      <a:pt x="63" y="83"/>
                    </a:lnTo>
                    <a:lnTo>
                      <a:pt x="64" y="83"/>
                    </a:lnTo>
                    <a:lnTo>
                      <a:pt x="65" y="82"/>
                    </a:lnTo>
                    <a:lnTo>
                      <a:pt x="66" y="81"/>
                    </a:lnTo>
                    <a:lnTo>
                      <a:pt x="67" y="80"/>
                    </a:lnTo>
                    <a:lnTo>
                      <a:pt x="68" y="79"/>
                    </a:lnTo>
                    <a:lnTo>
                      <a:pt x="69" y="79"/>
                    </a:lnTo>
                    <a:lnTo>
                      <a:pt x="70" y="78"/>
                    </a:lnTo>
                    <a:lnTo>
                      <a:pt x="71" y="77"/>
                    </a:lnTo>
                    <a:lnTo>
                      <a:pt x="72" y="76"/>
                    </a:lnTo>
                    <a:lnTo>
                      <a:pt x="73" y="75"/>
                    </a:lnTo>
                    <a:lnTo>
                      <a:pt x="74" y="74"/>
                    </a:lnTo>
                    <a:lnTo>
                      <a:pt x="75" y="73"/>
                    </a:lnTo>
                    <a:lnTo>
                      <a:pt x="76" y="72"/>
                    </a:lnTo>
                    <a:lnTo>
                      <a:pt x="77" y="71"/>
                    </a:lnTo>
                    <a:lnTo>
                      <a:pt x="78" y="70"/>
                    </a:lnTo>
                    <a:lnTo>
                      <a:pt x="79" y="69"/>
                    </a:lnTo>
                    <a:lnTo>
                      <a:pt x="80" y="68"/>
                    </a:lnTo>
                    <a:lnTo>
                      <a:pt x="80" y="67"/>
                    </a:lnTo>
                    <a:lnTo>
                      <a:pt x="81" y="66"/>
                    </a:lnTo>
                    <a:lnTo>
                      <a:pt x="82" y="65"/>
                    </a:lnTo>
                    <a:lnTo>
                      <a:pt x="83" y="64"/>
                    </a:lnTo>
                    <a:lnTo>
                      <a:pt x="84" y="63"/>
                    </a:lnTo>
                    <a:lnTo>
                      <a:pt x="84" y="62"/>
                    </a:lnTo>
                    <a:lnTo>
                      <a:pt x="85" y="61"/>
                    </a:lnTo>
                    <a:lnTo>
                      <a:pt x="86" y="60"/>
                    </a:lnTo>
                    <a:lnTo>
                      <a:pt x="87" y="59"/>
                    </a:lnTo>
                    <a:lnTo>
                      <a:pt x="87" y="58"/>
                    </a:lnTo>
                    <a:lnTo>
                      <a:pt x="88" y="57"/>
                    </a:lnTo>
                    <a:lnTo>
                      <a:pt x="89" y="56"/>
                    </a:lnTo>
                    <a:lnTo>
                      <a:pt x="89" y="55"/>
                    </a:lnTo>
                    <a:lnTo>
                      <a:pt x="90" y="54"/>
                    </a:lnTo>
                    <a:lnTo>
                      <a:pt x="90" y="53"/>
                    </a:lnTo>
                    <a:lnTo>
                      <a:pt x="91" y="52"/>
                    </a:lnTo>
                    <a:lnTo>
                      <a:pt x="92" y="51"/>
                    </a:lnTo>
                    <a:lnTo>
                      <a:pt x="92" y="50"/>
                    </a:lnTo>
                    <a:lnTo>
                      <a:pt x="93" y="49"/>
                    </a:lnTo>
                    <a:lnTo>
                      <a:pt x="93" y="48"/>
                    </a:lnTo>
                    <a:lnTo>
                      <a:pt x="94" y="47"/>
                    </a:lnTo>
                    <a:lnTo>
                      <a:pt x="94" y="46"/>
                    </a:lnTo>
                    <a:lnTo>
                      <a:pt x="95" y="45"/>
                    </a:lnTo>
                    <a:lnTo>
                      <a:pt x="95" y="44"/>
                    </a:lnTo>
                    <a:lnTo>
                      <a:pt x="96" y="43"/>
                    </a:lnTo>
                    <a:lnTo>
                      <a:pt x="96" y="42"/>
                    </a:lnTo>
                    <a:lnTo>
                      <a:pt x="97" y="41"/>
                    </a:lnTo>
                    <a:lnTo>
                      <a:pt x="97" y="40"/>
                    </a:lnTo>
                    <a:lnTo>
                      <a:pt x="97" y="39"/>
                    </a:lnTo>
                    <a:lnTo>
                      <a:pt x="98" y="38"/>
                    </a:lnTo>
                    <a:lnTo>
                      <a:pt x="98" y="37"/>
                    </a:lnTo>
                    <a:lnTo>
                      <a:pt x="99" y="36"/>
                    </a:lnTo>
                    <a:lnTo>
                      <a:pt x="99" y="35"/>
                    </a:lnTo>
                    <a:lnTo>
                      <a:pt x="99" y="34"/>
                    </a:lnTo>
                    <a:lnTo>
                      <a:pt x="100" y="33"/>
                    </a:lnTo>
                    <a:lnTo>
                      <a:pt x="100" y="32"/>
                    </a:lnTo>
                    <a:lnTo>
                      <a:pt x="100" y="31"/>
                    </a:lnTo>
                    <a:lnTo>
                      <a:pt x="101" y="30"/>
                    </a:lnTo>
                    <a:lnTo>
                      <a:pt x="101" y="29"/>
                    </a:lnTo>
                    <a:lnTo>
                      <a:pt x="101" y="28"/>
                    </a:lnTo>
                    <a:lnTo>
                      <a:pt x="101" y="27"/>
                    </a:lnTo>
                    <a:lnTo>
                      <a:pt x="102" y="26"/>
                    </a:lnTo>
                    <a:lnTo>
                      <a:pt x="102" y="25"/>
                    </a:lnTo>
                    <a:lnTo>
                      <a:pt x="102" y="24"/>
                    </a:lnTo>
                    <a:lnTo>
                      <a:pt x="102" y="23"/>
                    </a:lnTo>
                    <a:lnTo>
                      <a:pt x="103" y="22"/>
                    </a:lnTo>
                    <a:lnTo>
                      <a:pt x="103" y="21"/>
                    </a:lnTo>
                    <a:lnTo>
                      <a:pt x="103" y="20"/>
                    </a:lnTo>
                    <a:lnTo>
                      <a:pt x="103" y="19"/>
                    </a:lnTo>
                    <a:lnTo>
                      <a:pt x="103" y="18"/>
                    </a:lnTo>
                    <a:lnTo>
                      <a:pt x="104" y="17"/>
                    </a:lnTo>
                    <a:lnTo>
                      <a:pt x="104" y="16"/>
                    </a:lnTo>
                    <a:lnTo>
                      <a:pt x="104" y="15"/>
                    </a:lnTo>
                    <a:lnTo>
                      <a:pt x="104" y="14"/>
                    </a:lnTo>
                    <a:lnTo>
                      <a:pt x="104" y="13"/>
                    </a:lnTo>
                    <a:lnTo>
                      <a:pt x="104" y="12"/>
                    </a:lnTo>
                    <a:lnTo>
                      <a:pt x="104" y="11"/>
                    </a:lnTo>
                    <a:lnTo>
                      <a:pt x="105" y="10"/>
                    </a:lnTo>
                    <a:lnTo>
                      <a:pt x="105" y="9"/>
                    </a:lnTo>
                    <a:lnTo>
                      <a:pt x="105" y="8"/>
                    </a:lnTo>
                    <a:lnTo>
                      <a:pt x="105" y="7"/>
                    </a:lnTo>
                    <a:lnTo>
                      <a:pt x="105" y="6"/>
                    </a:lnTo>
                    <a:lnTo>
                      <a:pt x="105" y="5"/>
                    </a:lnTo>
                    <a:lnTo>
                      <a:pt x="105" y="4"/>
                    </a:lnTo>
                    <a:lnTo>
                      <a:pt x="105" y="3"/>
                    </a:lnTo>
                    <a:lnTo>
                      <a:pt x="105" y="2"/>
                    </a:lnTo>
                    <a:lnTo>
                      <a:pt x="105" y="1"/>
                    </a:lnTo>
                    <a:lnTo>
                      <a:pt x="105" y="0"/>
                    </a:lnTo>
                    <a:lnTo>
                      <a:pt x="105" y="0"/>
                    </a:lnTo>
                    <a:lnTo>
                      <a:pt x="0" y="0"/>
                    </a:lnTo>
                    <a:lnTo>
                      <a:pt x="26" y="101"/>
                    </a:ln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138"/>
              </a:p>
            </p:txBody>
          </p:sp>
          <p:sp>
            <p:nvSpPr>
              <p:cNvPr id="83" name="Freeform 81"/>
              <p:cNvSpPr>
                <a:spLocks/>
              </p:cNvSpPr>
              <p:nvPr/>
            </p:nvSpPr>
            <p:spPr bwMode="auto">
              <a:xfrm>
                <a:off x="4855" y="2266"/>
                <a:ext cx="198" cy="199"/>
              </a:xfrm>
              <a:custGeom>
                <a:avLst/>
                <a:gdLst>
                  <a:gd name="T0" fmla="*/ 125 w 125"/>
                  <a:gd name="T1" fmla="*/ 58 h 125"/>
                  <a:gd name="T2" fmla="*/ 124 w 125"/>
                  <a:gd name="T3" fmla="*/ 52 h 125"/>
                  <a:gd name="T4" fmla="*/ 123 w 125"/>
                  <a:gd name="T5" fmla="*/ 46 h 125"/>
                  <a:gd name="T6" fmla="*/ 121 w 125"/>
                  <a:gd name="T7" fmla="*/ 40 h 125"/>
                  <a:gd name="T8" fmla="*/ 118 w 125"/>
                  <a:gd name="T9" fmla="*/ 34 h 125"/>
                  <a:gd name="T10" fmla="*/ 115 w 125"/>
                  <a:gd name="T11" fmla="*/ 28 h 125"/>
                  <a:gd name="T12" fmla="*/ 110 w 125"/>
                  <a:gd name="T13" fmla="*/ 22 h 125"/>
                  <a:gd name="T14" fmla="*/ 104 w 125"/>
                  <a:gd name="T15" fmla="*/ 16 h 125"/>
                  <a:gd name="T16" fmla="*/ 98 w 125"/>
                  <a:gd name="T17" fmla="*/ 11 h 125"/>
                  <a:gd name="T18" fmla="*/ 92 w 125"/>
                  <a:gd name="T19" fmla="*/ 7 h 125"/>
                  <a:gd name="T20" fmla="*/ 86 w 125"/>
                  <a:gd name="T21" fmla="*/ 5 h 125"/>
                  <a:gd name="T22" fmla="*/ 80 w 125"/>
                  <a:gd name="T23" fmla="*/ 3 h 125"/>
                  <a:gd name="T24" fmla="*/ 74 w 125"/>
                  <a:gd name="T25" fmla="*/ 1 h 125"/>
                  <a:gd name="T26" fmla="*/ 68 w 125"/>
                  <a:gd name="T27" fmla="*/ 0 h 125"/>
                  <a:gd name="T28" fmla="*/ 62 w 125"/>
                  <a:gd name="T29" fmla="*/ 0 h 125"/>
                  <a:gd name="T30" fmla="*/ 56 w 125"/>
                  <a:gd name="T31" fmla="*/ 0 h 125"/>
                  <a:gd name="T32" fmla="*/ 50 w 125"/>
                  <a:gd name="T33" fmla="*/ 1 h 125"/>
                  <a:gd name="T34" fmla="*/ 44 w 125"/>
                  <a:gd name="T35" fmla="*/ 3 h 125"/>
                  <a:gd name="T36" fmla="*/ 38 w 125"/>
                  <a:gd name="T37" fmla="*/ 5 h 125"/>
                  <a:gd name="T38" fmla="*/ 32 w 125"/>
                  <a:gd name="T39" fmla="*/ 8 h 125"/>
                  <a:gd name="T40" fmla="*/ 26 w 125"/>
                  <a:gd name="T41" fmla="*/ 12 h 125"/>
                  <a:gd name="T42" fmla="*/ 20 w 125"/>
                  <a:gd name="T43" fmla="*/ 17 h 125"/>
                  <a:gd name="T44" fmla="*/ 14 w 125"/>
                  <a:gd name="T45" fmla="*/ 23 h 125"/>
                  <a:gd name="T46" fmla="*/ 10 w 125"/>
                  <a:gd name="T47" fmla="*/ 29 h 125"/>
                  <a:gd name="T48" fmla="*/ 6 w 125"/>
                  <a:gd name="T49" fmla="*/ 35 h 125"/>
                  <a:gd name="T50" fmla="*/ 4 w 125"/>
                  <a:gd name="T51" fmla="*/ 41 h 125"/>
                  <a:gd name="T52" fmla="*/ 2 w 125"/>
                  <a:gd name="T53" fmla="*/ 47 h 125"/>
                  <a:gd name="T54" fmla="*/ 1 w 125"/>
                  <a:gd name="T55" fmla="*/ 53 h 125"/>
                  <a:gd name="T56" fmla="*/ 0 w 125"/>
                  <a:gd name="T57" fmla="*/ 59 h 125"/>
                  <a:gd name="T58" fmla="*/ 0 w 125"/>
                  <a:gd name="T59" fmla="*/ 65 h 125"/>
                  <a:gd name="T60" fmla="*/ 1 w 125"/>
                  <a:gd name="T61" fmla="*/ 71 h 125"/>
                  <a:gd name="T62" fmla="*/ 2 w 125"/>
                  <a:gd name="T63" fmla="*/ 77 h 125"/>
                  <a:gd name="T64" fmla="*/ 3 w 125"/>
                  <a:gd name="T65" fmla="*/ 83 h 125"/>
                  <a:gd name="T66" fmla="*/ 6 w 125"/>
                  <a:gd name="T67" fmla="*/ 89 h 125"/>
                  <a:gd name="T68" fmla="*/ 9 w 125"/>
                  <a:gd name="T69" fmla="*/ 95 h 125"/>
                  <a:gd name="T70" fmla="*/ 13 w 125"/>
                  <a:gd name="T71" fmla="*/ 101 h 125"/>
                  <a:gd name="T72" fmla="*/ 19 w 125"/>
                  <a:gd name="T73" fmla="*/ 107 h 125"/>
                  <a:gd name="T74" fmla="*/ 25 w 125"/>
                  <a:gd name="T75" fmla="*/ 112 h 125"/>
                  <a:gd name="T76" fmla="*/ 31 w 125"/>
                  <a:gd name="T77" fmla="*/ 116 h 125"/>
                  <a:gd name="T78" fmla="*/ 37 w 125"/>
                  <a:gd name="T79" fmla="*/ 120 h 125"/>
                  <a:gd name="T80" fmla="*/ 43 w 125"/>
                  <a:gd name="T81" fmla="*/ 122 h 125"/>
                  <a:gd name="T82" fmla="*/ 49 w 125"/>
                  <a:gd name="T83" fmla="*/ 124 h 125"/>
                  <a:gd name="T84" fmla="*/ 55 w 125"/>
                  <a:gd name="T85" fmla="*/ 125 h 125"/>
                  <a:gd name="T86" fmla="*/ 61 w 125"/>
                  <a:gd name="T87" fmla="*/ 125 h 125"/>
                  <a:gd name="T88" fmla="*/ 67 w 125"/>
                  <a:gd name="T89" fmla="*/ 125 h 125"/>
                  <a:gd name="T90" fmla="*/ 73 w 125"/>
                  <a:gd name="T91" fmla="*/ 124 h 125"/>
                  <a:gd name="T92" fmla="*/ 79 w 125"/>
                  <a:gd name="T93" fmla="*/ 123 h 125"/>
                  <a:gd name="T94" fmla="*/ 85 w 125"/>
                  <a:gd name="T95" fmla="*/ 121 h 125"/>
                  <a:gd name="T96" fmla="*/ 91 w 125"/>
                  <a:gd name="T97" fmla="*/ 118 h 125"/>
                  <a:gd name="T98" fmla="*/ 97 w 125"/>
                  <a:gd name="T99" fmla="*/ 115 h 125"/>
                  <a:gd name="T100" fmla="*/ 103 w 125"/>
                  <a:gd name="T101" fmla="*/ 110 h 125"/>
                  <a:gd name="T102" fmla="*/ 109 w 125"/>
                  <a:gd name="T103" fmla="*/ 104 h 125"/>
                  <a:gd name="T104" fmla="*/ 114 w 125"/>
                  <a:gd name="T105" fmla="*/ 98 h 125"/>
                  <a:gd name="T106" fmla="*/ 118 w 125"/>
                  <a:gd name="T107" fmla="*/ 92 h 125"/>
                  <a:gd name="T108" fmla="*/ 120 w 125"/>
                  <a:gd name="T109" fmla="*/ 86 h 125"/>
                  <a:gd name="T110" fmla="*/ 122 w 125"/>
                  <a:gd name="T111" fmla="*/ 80 h 125"/>
                  <a:gd name="T112" fmla="*/ 124 w 125"/>
                  <a:gd name="T113" fmla="*/ 74 h 125"/>
                  <a:gd name="T114" fmla="*/ 125 w 125"/>
                  <a:gd name="T115" fmla="*/ 68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5" h="125">
                    <a:moveTo>
                      <a:pt x="125" y="63"/>
                    </a:moveTo>
                    <a:lnTo>
                      <a:pt x="125" y="62"/>
                    </a:lnTo>
                    <a:lnTo>
                      <a:pt x="125" y="61"/>
                    </a:lnTo>
                    <a:lnTo>
                      <a:pt x="125" y="60"/>
                    </a:lnTo>
                    <a:lnTo>
                      <a:pt x="125" y="59"/>
                    </a:lnTo>
                    <a:lnTo>
                      <a:pt x="125" y="58"/>
                    </a:lnTo>
                    <a:lnTo>
                      <a:pt x="125" y="57"/>
                    </a:lnTo>
                    <a:lnTo>
                      <a:pt x="125" y="56"/>
                    </a:lnTo>
                    <a:lnTo>
                      <a:pt x="125" y="55"/>
                    </a:lnTo>
                    <a:lnTo>
                      <a:pt x="124" y="54"/>
                    </a:lnTo>
                    <a:lnTo>
                      <a:pt x="124" y="53"/>
                    </a:lnTo>
                    <a:lnTo>
                      <a:pt x="124" y="52"/>
                    </a:lnTo>
                    <a:lnTo>
                      <a:pt x="124" y="51"/>
                    </a:lnTo>
                    <a:lnTo>
                      <a:pt x="124" y="50"/>
                    </a:lnTo>
                    <a:lnTo>
                      <a:pt x="124" y="49"/>
                    </a:lnTo>
                    <a:lnTo>
                      <a:pt x="123" y="48"/>
                    </a:lnTo>
                    <a:lnTo>
                      <a:pt x="123" y="47"/>
                    </a:lnTo>
                    <a:lnTo>
                      <a:pt x="123" y="46"/>
                    </a:lnTo>
                    <a:lnTo>
                      <a:pt x="122" y="45"/>
                    </a:lnTo>
                    <a:lnTo>
                      <a:pt x="122" y="44"/>
                    </a:lnTo>
                    <a:lnTo>
                      <a:pt x="122" y="43"/>
                    </a:lnTo>
                    <a:lnTo>
                      <a:pt x="122" y="42"/>
                    </a:lnTo>
                    <a:lnTo>
                      <a:pt x="121" y="41"/>
                    </a:lnTo>
                    <a:lnTo>
                      <a:pt x="121" y="40"/>
                    </a:lnTo>
                    <a:lnTo>
                      <a:pt x="120" y="39"/>
                    </a:lnTo>
                    <a:lnTo>
                      <a:pt x="120" y="38"/>
                    </a:lnTo>
                    <a:lnTo>
                      <a:pt x="120" y="37"/>
                    </a:lnTo>
                    <a:lnTo>
                      <a:pt x="119" y="36"/>
                    </a:lnTo>
                    <a:lnTo>
                      <a:pt x="119" y="35"/>
                    </a:lnTo>
                    <a:lnTo>
                      <a:pt x="118" y="34"/>
                    </a:lnTo>
                    <a:lnTo>
                      <a:pt x="118" y="33"/>
                    </a:lnTo>
                    <a:lnTo>
                      <a:pt x="117" y="32"/>
                    </a:lnTo>
                    <a:lnTo>
                      <a:pt x="116" y="31"/>
                    </a:lnTo>
                    <a:lnTo>
                      <a:pt x="116" y="30"/>
                    </a:lnTo>
                    <a:lnTo>
                      <a:pt x="115" y="29"/>
                    </a:lnTo>
                    <a:lnTo>
                      <a:pt x="115" y="28"/>
                    </a:lnTo>
                    <a:lnTo>
                      <a:pt x="114" y="27"/>
                    </a:lnTo>
                    <a:lnTo>
                      <a:pt x="113" y="26"/>
                    </a:lnTo>
                    <a:lnTo>
                      <a:pt x="112" y="25"/>
                    </a:lnTo>
                    <a:lnTo>
                      <a:pt x="112" y="24"/>
                    </a:lnTo>
                    <a:lnTo>
                      <a:pt x="111" y="23"/>
                    </a:lnTo>
                    <a:lnTo>
                      <a:pt x="110" y="22"/>
                    </a:lnTo>
                    <a:lnTo>
                      <a:pt x="109" y="21"/>
                    </a:lnTo>
                    <a:lnTo>
                      <a:pt x="108" y="20"/>
                    </a:lnTo>
                    <a:lnTo>
                      <a:pt x="107" y="19"/>
                    </a:lnTo>
                    <a:lnTo>
                      <a:pt x="106" y="18"/>
                    </a:lnTo>
                    <a:lnTo>
                      <a:pt x="105" y="17"/>
                    </a:lnTo>
                    <a:lnTo>
                      <a:pt x="104" y="16"/>
                    </a:lnTo>
                    <a:lnTo>
                      <a:pt x="103" y="15"/>
                    </a:lnTo>
                    <a:lnTo>
                      <a:pt x="102" y="14"/>
                    </a:lnTo>
                    <a:lnTo>
                      <a:pt x="101" y="13"/>
                    </a:lnTo>
                    <a:lnTo>
                      <a:pt x="100" y="13"/>
                    </a:lnTo>
                    <a:lnTo>
                      <a:pt x="99" y="12"/>
                    </a:lnTo>
                    <a:lnTo>
                      <a:pt x="98" y="11"/>
                    </a:lnTo>
                    <a:lnTo>
                      <a:pt x="97" y="10"/>
                    </a:lnTo>
                    <a:lnTo>
                      <a:pt x="96" y="10"/>
                    </a:lnTo>
                    <a:lnTo>
                      <a:pt x="95" y="9"/>
                    </a:lnTo>
                    <a:lnTo>
                      <a:pt x="94" y="9"/>
                    </a:lnTo>
                    <a:lnTo>
                      <a:pt x="93" y="8"/>
                    </a:lnTo>
                    <a:lnTo>
                      <a:pt x="92" y="7"/>
                    </a:lnTo>
                    <a:lnTo>
                      <a:pt x="91" y="7"/>
                    </a:lnTo>
                    <a:lnTo>
                      <a:pt x="90" y="6"/>
                    </a:lnTo>
                    <a:lnTo>
                      <a:pt x="89" y="6"/>
                    </a:lnTo>
                    <a:lnTo>
                      <a:pt x="88" y="5"/>
                    </a:lnTo>
                    <a:lnTo>
                      <a:pt x="87" y="5"/>
                    </a:lnTo>
                    <a:lnTo>
                      <a:pt x="86" y="5"/>
                    </a:lnTo>
                    <a:lnTo>
                      <a:pt x="85" y="4"/>
                    </a:lnTo>
                    <a:lnTo>
                      <a:pt x="84" y="4"/>
                    </a:lnTo>
                    <a:lnTo>
                      <a:pt x="83" y="3"/>
                    </a:lnTo>
                    <a:lnTo>
                      <a:pt x="82" y="3"/>
                    </a:lnTo>
                    <a:lnTo>
                      <a:pt x="81" y="3"/>
                    </a:lnTo>
                    <a:lnTo>
                      <a:pt x="80" y="3"/>
                    </a:lnTo>
                    <a:lnTo>
                      <a:pt x="79" y="2"/>
                    </a:lnTo>
                    <a:lnTo>
                      <a:pt x="78" y="2"/>
                    </a:lnTo>
                    <a:lnTo>
                      <a:pt x="77" y="2"/>
                    </a:lnTo>
                    <a:lnTo>
                      <a:pt x="76" y="1"/>
                    </a:lnTo>
                    <a:lnTo>
                      <a:pt x="75" y="1"/>
                    </a:lnTo>
                    <a:lnTo>
                      <a:pt x="74" y="1"/>
                    </a:lnTo>
                    <a:lnTo>
                      <a:pt x="73" y="1"/>
                    </a:lnTo>
                    <a:lnTo>
                      <a:pt x="72" y="1"/>
                    </a:lnTo>
                    <a:lnTo>
                      <a:pt x="71" y="1"/>
                    </a:lnTo>
                    <a:lnTo>
                      <a:pt x="70" y="0"/>
                    </a:lnTo>
                    <a:lnTo>
                      <a:pt x="69" y="0"/>
                    </a:lnTo>
                    <a:lnTo>
                      <a:pt x="68" y="0"/>
                    </a:lnTo>
                    <a:lnTo>
                      <a:pt x="67" y="0"/>
                    </a:lnTo>
                    <a:lnTo>
                      <a:pt x="66" y="0"/>
                    </a:lnTo>
                    <a:lnTo>
                      <a:pt x="65" y="0"/>
                    </a:lnTo>
                    <a:lnTo>
                      <a:pt x="64" y="0"/>
                    </a:lnTo>
                    <a:lnTo>
                      <a:pt x="63" y="0"/>
                    </a:lnTo>
                    <a:lnTo>
                      <a:pt x="62" y="0"/>
                    </a:lnTo>
                    <a:lnTo>
                      <a:pt x="61" y="0"/>
                    </a:lnTo>
                    <a:lnTo>
                      <a:pt x="60" y="0"/>
                    </a:lnTo>
                    <a:lnTo>
                      <a:pt x="59" y="0"/>
                    </a:lnTo>
                    <a:lnTo>
                      <a:pt x="58" y="0"/>
                    </a:lnTo>
                    <a:lnTo>
                      <a:pt x="57" y="0"/>
                    </a:lnTo>
                    <a:lnTo>
                      <a:pt x="56" y="0"/>
                    </a:lnTo>
                    <a:lnTo>
                      <a:pt x="55" y="0"/>
                    </a:lnTo>
                    <a:lnTo>
                      <a:pt x="54" y="1"/>
                    </a:lnTo>
                    <a:lnTo>
                      <a:pt x="53" y="1"/>
                    </a:lnTo>
                    <a:lnTo>
                      <a:pt x="52" y="1"/>
                    </a:lnTo>
                    <a:lnTo>
                      <a:pt x="51" y="1"/>
                    </a:lnTo>
                    <a:lnTo>
                      <a:pt x="50" y="1"/>
                    </a:lnTo>
                    <a:lnTo>
                      <a:pt x="49" y="1"/>
                    </a:lnTo>
                    <a:lnTo>
                      <a:pt x="48" y="2"/>
                    </a:lnTo>
                    <a:lnTo>
                      <a:pt x="47" y="2"/>
                    </a:lnTo>
                    <a:lnTo>
                      <a:pt x="46" y="2"/>
                    </a:lnTo>
                    <a:lnTo>
                      <a:pt x="45" y="3"/>
                    </a:lnTo>
                    <a:lnTo>
                      <a:pt x="44" y="3"/>
                    </a:lnTo>
                    <a:lnTo>
                      <a:pt x="43" y="3"/>
                    </a:lnTo>
                    <a:lnTo>
                      <a:pt x="42" y="3"/>
                    </a:lnTo>
                    <a:lnTo>
                      <a:pt x="41" y="4"/>
                    </a:lnTo>
                    <a:lnTo>
                      <a:pt x="40" y="4"/>
                    </a:lnTo>
                    <a:lnTo>
                      <a:pt x="39" y="5"/>
                    </a:lnTo>
                    <a:lnTo>
                      <a:pt x="38" y="5"/>
                    </a:lnTo>
                    <a:lnTo>
                      <a:pt x="37" y="5"/>
                    </a:lnTo>
                    <a:lnTo>
                      <a:pt x="36" y="6"/>
                    </a:lnTo>
                    <a:lnTo>
                      <a:pt x="35" y="6"/>
                    </a:lnTo>
                    <a:lnTo>
                      <a:pt x="34" y="7"/>
                    </a:lnTo>
                    <a:lnTo>
                      <a:pt x="33" y="7"/>
                    </a:lnTo>
                    <a:lnTo>
                      <a:pt x="32" y="8"/>
                    </a:lnTo>
                    <a:lnTo>
                      <a:pt x="31" y="9"/>
                    </a:lnTo>
                    <a:lnTo>
                      <a:pt x="30" y="9"/>
                    </a:lnTo>
                    <a:lnTo>
                      <a:pt x="29" y="10"/>
                    </a:lnTo>
                    <a:lnTo>
                      <a:pt x="28" y="10"/>
                    </a:lnTo>
                    <a:lnTo>
                      <a:pt x="27" y="11"/>
                    </a:lnTo>
                    <a:lnTo>
                      <a:pt x="26" y="12"/>
                    </a:lnTo>
                    <a:lnTo>
                      <a:pt x="25" y="13"/>
                    </a:lnTo>
                    <a:lnTo>
                      <a:pt x="24" y="13"/>
                    </a:lnTo>
                    <a:lnTo>
                      <a:pt x="23" y="14"/>
                    </a:lnTo>
                    <a:lnTo>
                      <a:pt x="22" y="15"/>
                    </a:lnTo>
                    <a:lnTo>
                      <a:pt x="21" y="16"/>
                    </a:lnTo>
                    <a:lnTo>
                      <a:pt x="20" y="17"/>
                    </a:lnTo>
                    <a:lnTo>
                      <a:pt x="19" y="18"/>
                    </a:lnTo>
                    <a:lnTo>
                      <a:pt x="18" y="19"/>
                    </a:lnTo>
                    <a:lnTo>
                      <a:pt x="17" y="20"/>
                    </a:lnTo>
                    <a:lnTo>
                      <a:pt x="16" y="21"/>
                    </a:lnTo>
                    <a:lnTo>
                      <a:pt x="15" y="22"/>
                    </a:lnTo>
                    <a:lnTo>
                      <a:pt x="14" y="23"/>
                    </a:lnTo>
                    <a:lnTo>
                      <a:pt x="13" y="24"/>
                    </a:lnTo>
                    <a:lnTo>
                      <a:pt x="13" y="25"/>
                    </a:lnTo>
                    <a:lnTo>
                      <a:pt x="12" y="26"/>
                    </a:lnTo>
                    <a:lnTo>
                      <a:pt x="11" y="27"/>
                    </a:lnTo>
                    <a:lnTo>
                      <a:pt x="10" y="28"/>
                    </a:lnTo>
                    <a:lnTo>
                      <a:pt x="10" y="29"/>
                    </a:lnTo>
                    <a:lnTo>
                      <a:pt x="9" y="30"/>
                    </a:lnTo>
                    <a:lnTo>
                      <a:pt x="9" y="31"/>
                    </a:lnTo>
                    <a:lnTo>
                      <a:pt x="8" y="32"/>
                    </a:lnTo>
                    <a:lnTo>
                      <a:pt x="7" y="33"/>
                    </a:lnTo>
                    <a:lnTo>
                      <a:pt x="7" y="34"/>
                    </a:lnTo>
                    <a:lnTo>
                      <a:pt x="6" y="35"/>
                    </a:lnTo>
                    <a:lnTo>
                      <a:pt x="6" y="36"/>
                    </a:lnTo>
                    <a:lnTo>
                      <a:pt x="5" y="37"/>
                    </a:lnTo>
                    <a:lnTo>
                      <a:pt x="5" y="38"/>
                    </a:lnTo>
                    <a:lnTo>
                      <a:pt x="5" y="39"/>
                    </a:lnTo>
                    <a:lnTo>
                      <a:pt x="4" y="40"/>
                    </a:lnTo>
                    <a:lnTo>
                      <a:pt x="4" y="41"/>
                    </a:lnTo>
                    <a:lnTo>
                      <a:pt x="3" y="42"/>
                    </a:lnTo>
                    <a:lnTo>
                      <a:pt x="3" y="43"/>
                    </a:lnTo>
                    <a:lnTo>
                      <a:pt x="3" y="44"/>
                    </a:lnTo>
                    <a:lnTo>
                      <a:pt x="3" y="45"/>
                    </a:lnTo>
                    <a:lnTo>
                      <a:pt x="2" y="46"/>
                    </a:lnTo>
                    <a:lnTo>
                      <a:pt x="2" y="47"/>
                    </a:lnTo>
                    <a:lnTo>
                      <a:pt x="2" y="48"/>
                    </a:lnTo>
                    <a:lnTo>
                      <a:pt x="1" y="49"/>
                    </a:lnTo>
                    <a:lnTo>
                      <a:pt x="1" y="50"/>
                    </a:lnTo>
                    <a:lnTo>
                      <a:pt x="1" y="51"/>
                    </a:lnTo>
                    <a:lnTo>
                      <a:pt x="1" y="52"/>
                    </a:lnTo>
                    <a:lnTo>
                      <a:pt x="1" y="53"/>
                    </a:lnTo>
                    <a:lnTo>
                      <a:pt x="1" y="54"/>
                    </a:lnTo>
                    <a:lnTo>
                      <a:pt x="0" y="55"/>
                    </a:lnTo>
                    <a:lnTo>
                      <a:pt x="0" y="56"/>
                    </a:lnTo>
                    <a:lnTo>
                      <a:pt x="0" y="57"/>
                    </a:lnTo>
                    <a:lnTo>
                      <a:pt x="0" y="58"/>
                    </a:lnTo>
                    <a:lnTo>
                      <a:pt x="0" y="59"/>
                    </a:lnTo>
                    <a:lnTo>
                      <a:pt x="0" y="60"/>
                    </a:lnTo>
                    <a:lnTo>
                      <a:pt x="0" y="61"/>
                    </a:lnTo>
                    <a:lnTo>
                      <a:pt x="0" y="62"/>
                    </a:lnTo>
                    <a:lnTo>
                      <a:pt x="0" y="63"/>
                    </a:lnTo>
                    <a:lnTo>
                      <a:pt x="0" y="64"/>
                    </a:lnTo>
                    <a:lnTo>
                      <a:pt x="0" y="65"/>
                    </a:lnTo>
                    <a:lnTo>
                      <a:pt x="0" y="66"/>
                    </a:lnTo>
                    <a:lnTo>
                      <a:pt x="0" y="67"/>
                    </a:lnTo>
                    <a:lnTo>
                      <a:pt x="0" y="68"/>
                    </a:lnTo>
                    <a:lnTo>
                      <a:pt x="0" y="69"/>
                    </a:lnTo>
                    <a:lnTo>
                      <a:pt x="0" y="70"/>
                    </a:lnTo>
                    <a:lnTo>
                      <a:pt x="1" y="71"/>
                    </a:lnTo>
                    <a:lnTo>
                      <a:pt x="1" y="72"/>
                    </a:lnTo>
                    <a:lnTo>
                      <a:pt x="1" y="73"/>
                    </a:lnTo>
                    <a:lnTo>
                      <a:pt x="1" y="74"/>
                    </a:lnTo>
                    <a:lnTo>
                      <a:pt x="1" y="75"/>
                    </a:lnTo>
                    <a:lnTo>
                      <a:pt x="1" y="76"/>
                    </a:lnTo>
                    <a:lnTo>
                      <a:pt x="2" y="77"/>
                    </a:lnTo>
                    <a:lnTo>
                      <a:pt x="2" y="78"/>
                    </a:lnTo>
                    <a:lnTo>
                      <a:pt x="2" y="79"/>
                    </a:lnTo>
                    <a:lnTo>
                      <a:pt x="3" y="80"/>
                    </a:lnTo>
                    <a:lnTo>
                      <a:pt x="3" y="81"/>
                    </a:lnTo>
                    <a:lnTo>
                      <a:pt x="3" y="82"/>
                    </a:lnTo>
                    <a:lnTo>
                      <a:pt x="3" y="83"/>
                    </a:lnTo>
                    <a:lnTo>
                      <a:pt x="4" y="84"/>
                    </a:lnTo>
                    <a:lnTo>
                      <a:pt x="4" y="85"/>
                    </a:lnTo>
                    <a:lnTo>
                      <a:pt x="5" y="86"/>
                    </a:lnTo>
                    <a:lnTo>
                      <a:pt x="5" y="87"/>
                    </a:lnTo>
                    <a:lnTo>
                      <a:pt x="5" y="88"/>
                    </a:lnTo>
                    <a:lnTo>
                      <a:pt x="6" y="89"/>
                    </a:lnTo>
                    <a:lnTo>
                      <a:pt x="6" y="90"/>
                    </a:lnTo>
                    <a:lnTo>
                      <a:pt x="7" y="91"/>
                    </a:lnTo>
                    <a:lnTo>
                      <a:pt x="7" y="92"/>
                    </a:lnTo>
                    <a:lnTo>
                      <a:pt x="8" y="93"/>
                    </a:lnTo>
                    <a:lnTo>
                      <a:pt x="9" y="94"/>
                    </a:lnTo>
                    <a:lnTo>
                      <a:pt x="9" y="95"/>
                    </a:lnTo>
                    <a:lnTo>
                      <a:pt x="10" y="96"/>
                    </a:lnTo>
                    <a:lnTo>
                      <a:pt x="10" y="97"/>
                    </a:lnTo>
                    <a:lnTo>
                      <a:pt x="11" y="98"/>
                    </a:lnTo>
                    <a:lnTo>
                      <a:pt x="12" y="99"/>
                    </a:lnTo>
                    <a:lnTo>
                      <a:pt x="13" y="100"/>
                    </a:lnTo>
                    <a:lnTo>
                      <a:pt x="13" y="101"/>
                    </a:lnTo>
                    <a:lnTo>
                      <a:pt x="14" y="102"/>
                    </a:lnTo>
                    <a:lnTo>
                      <a:pt x="15" y="103"/>
                    </a:lnTo>
                    <a:lnTo>
                      <a:pt x="16" y="104"/>
                    </a:lnTo>
                    <a:lnTo>
                      <a:pt x="17" y="105"/>
                    </a:lnTo>
                    <a:lnTo>
                      <a:pt x="18" y="106"/>
                    </a:lnTo>
                    <a:lnTo>
                      <a:pt x="19" y="107"/>
                    </a:lnTo>
                    <a:lnTo>
                      <a:pt x="20" y="108"/>
                    </a:lnTo>
                    <a:lnTo>
                      <a:pt x="21" y="109"/>
                    </a:lnTo>
                    <a:lnTo>
                      <a:pt x="22" y="110"/>
                    </a:lnTo>
                    <a:lnTo>
                      <a:pt x="23" y="111"/>
                    </a:lnTo>
                    <a:lnTo>
                      <a:pt x="24" y="112"/>
                    </a:lnTo>
                    <a:lnTo>
                      <a:pt x="25" y="112"/>
                    </a:lnTo>
                    <a:lnTo>
                      <a:pt x="26" y="113"/>
                    </a:lnTo>
                    <a:lnTo>
                      <a:pt x="27" y="114"/>
                    </a:lnTo>
                    <a:lnTo>
                      <a:pt x="28" y="115"/>
                    </a:lnTo>
                    <a:lnTo>
                      <a:pt x="29" y="115"/>
                    </a:lnTo>
                    <a:lnTo>
                      <a:pt x="30" y="116"/>
                    </a:lnTo>
                    <a:lnTo>
                      <a:pt x="31" y="116"/>
                    </a:lnTo>
                    <a:lnTo>
                      <a:pt x="32" y="117"/>
                    </a:lnTo>
                    <a:lnTo>
                      <a:pt x="33" y="118"/>
                    </a:lnTo>
                    <a:lnTo>
                      <a:pt x="34" y="118"/>
                    </a:lnTo>
                    <a:lnTo>
                      <a:pt x="35" y="119"/>
                    </a:lnTo>
                    <a:lnTo>
                      <a:pt x="36" y="119"/>
                    </a:lnTo>
                    <a:lnTo>
                      <a:pt x="37" y="120"/>
                    </a:lnTo>
                    <a:lnTo>
                      <a:pt x="38" y="120"/>
                    </a:lnTo>
                    <a:lnTo>
                      <a:pt x="39" y="120"/>
                    </a:lnTo>
                    <a:lnTo>
                      <a:pt x="40" y="121"/>
                    </a:lnTo>
                    <a:lnTo>
                      <a:pt x="41" y="121"/>
                    </a:lnTo>
                    <a:lnTo>
                      <a:pt x="42" y="122"/>
                    </a:lnTo>
                    <a:lnTo>
                      <a:pt x="43" y="122"/>
                    </a:lnTo>
                    <a:lnTo>
                      <a:pt x="44" y="122"/>
                    </a:lnTo>
                    <a:lnTo>
                      <a:pt x="45" y="122"/>
                    </a:lnTo>
                    <a:lnTo>
                      <a:pt x="46" y="123"/>
                    </a:lnTo>
                    <a:lnTo>
                      <a:pt x="47" y="123"/>
                    </a:lnTo>
                    <a:lnTo>
                      <a:pt x="48" y="123"/>
                    </a:lnTo>
                    <a:lnTo>
                      <a:pt x="49" y="124"/>
                    </a:lnTo>
                    <a:lnTo>
                      <a:pt x="50" y="124"/>
                    </a:lnTo>
                    <a:lnTo>
                      <a:pt x="51" y="124"/>
                    </a:lnTo>
                    <a:lnTo>
                      <a:pt x="52" y="124"/>
                    </a:lnTo>
                    <a:lnTo>
                      <a:pt x="53" y="124"/>
                    </a:lnTo>
                    <a:lnTo>
                      <a:pt x="54" y="124"/>
                    </a:lnTo>
                    <a:lnTo>
                      <a:pt x="55" y="125"/>
                    </a:lnTo>
                    <a:lnTo>
                      <a:pt x="56" y="125"/>
                    </a:lnTo>
                    <a:lnTo>
                      <a:pt x="57" y="125"/>
                    </a:lnTo>
                    <a:lnTo>
                      <a:pt x="58" y="125"/>
                    </a:lnTo>
                    <a:lnTo>
                      <a:pt x="59" y="125"/>
                    </a:lnTo>
                    <a:lnTo>
                      <a:pt x="60" y="125"/>
                    </a:lnTo>
                    <a:lnTo>
                      <a:pt x="61" y="125"/>
                    </a:lnTo>
                    <a:lnTo>
                      <a:pt x="62" y="125"/>
                    </a:lnTo>
                    <a:lnTo>
                      <a:pt x="63" y="125"/>
                    </a:lnTo>
                    <a:lnTo>
                      <a:pt x="64" y="125"/>
                    </a:lnTo>
                    <a:lnTo>
                      <a:pt x="65" y="125"/>
                    </a:lnTo>
                    <a:lnTo>
                      <a:pt x="66" y="125"/>
                    </a:lnTo>
                    <a:lnTo>
                      <a:pt x="67" y="125"/>
                    </a:lnTo>
                    <a:lnTo>
                      <a:pt x="68" y="125"/>
                    </a:lnTo>
                    <a:lnTo>
                      <a:pt x="69" y="125"/>
                    </a:lnTo>
                    <a:lnTo>
                      <a:pt x="70" y="125"/>
                    </a:lnTo>
                    <a:lnTo>
                      <a:pt x="71" y="124"/>
                    </a:lnTo>
                    <a:lnTo>
                      <a:pt x="72" y="124"/>
                    </a:lnTo>
                    <a:lnTo>
                      <a:pt x="73" y="124"/>
                    </a:lnTo>
                    <a:lnTo>
                      <a:pt x="74" y="124"/>
                    </a:lnTo>
                    <a:lnTo>
                      <a:pt x="75" y="124"/>
                    </a:lnTo>
                    <a:lnTo>
                      <a:pt x="76" y="124"/>
                    </a:lnTo>
                    <a:lnTo>
                      <a:pt x="77" y="123"/>
                    </a:lnTo>
                    <a:lnTo>
                      <a:pt x="78" y="123"/>
                    </a:lnTo>
                    <a:lnTo>
                      <a:pt x="79" y="123"/>
                    </a:lnTo>
                    <a:lnTo>
                      <a:pt x="80" y="122"/>
                    </a:lnTo>
                    <a:lnTo>
                      <a:pt x="81" y="122"/>
                    </a:lnTo>
                    <a:lnTo>
                      <a:pt x="82" y="122"/>
                    </a:lnTo>
                    <a:lnTo>
                      <a:pt x="83" y="122"/>
                    </a:lnTo>
                    <a:lnTo>
                      <a:pt x="84" y="121"/>
                    </a:lnTo>
                    <a:lnTo>
                      <a:pt x="85" y="121"/>
                    </a:lnTo>
                    <a:lnTo>
                      <a:pt x="86" y="120"/>
                    </a:lnTo>
                    <a:lnTo>
                      <a:pt x="87" y="120"/>
                    </a:lnTo>
                    <a:lnTo>
                      <a:pt x="88" y="120"/>
                    </a:lnTo>
                    <a:lnTo>
                      <a:pt x="89" y="119"/>
                    </a:lnTo>
                    <a:lnTo>
                      <a:pt x="90" y="119"/>
                    </a:lnTo>
                    <a:lnTo>
                      <a:pt x="91" y="118"/>
                    </a:lnTo>
                    <a:lnTo>
                      <a:pt x="92" y="118"/>
                    </a:lnTo>
                    <a:lnTo>
                      <a:pt x="93" y="117"/>
                    </a:lnTo>
                    <a:lnTo>
                      <a:pt x="94" y="116"/>
                    </a:lnTo>
                    <a:lnTo>
                      <a:pt x="95" y="116"/>
                    </a:lnTo>
                    <a:lnTo>
                      <a:pt x="96" y="115"/>
                    </a:lnTo>
                    <a:lnTo>
                      <a:pt x="97" y="115"/>
                    </a:lnTo>
                    <a:lnTo>
                      <a:pt x="98" y="114"/>
                    </a:lnTo>
                    <a:lnTo>
                      <a:pt x="99" y="113"/>
                    </a:lnTo>
                    <a:lnTo>
                      <a:pt x="100" y="112"/>
                    </a:lnTo>
                    <a:lnTo>
                      <a:pt x="101" y="112"/>
                    </a:lnTo>
                    <a:lnTo>
                      <a:pt x="102" y="111"/>
                    </a:lnTo>
                    <a:lnTo>
                      <a:pt x="103" y="110"/>
                    </a:lnTo>
                    <a:lnTo>
                      <a:pt x="104" y="109"/>
                    </a:lnTo>
                    <a:lnTo>
                      <a:pt x="105" y="108"/>
                    </a:lnTo>
                    <a:lnTo>
                      <a:pt x="106" y="107"/>
                    </a:lnTo>
                    <a:lnTo>
                      <a:pt x="107" y="106"/>
                    </a:lnTo>
                    <a:lnTo>
                      <a:pt x="108" y="105"/>
                    </a:lnTo>
                    <a:lnTo>
                      <a:pt x="109" y="104"/>
                    </a:lnTo>
                    <a:lnTo>
                      <a:pt x="110" y="103"/>
                    </a:lnTo>
                    <a:lnTo>
                      <a:pt x="111" y="102"/>
                    </a:lnTo>
                    <a:lnTo>
                      <a:pt x="112" y="101"/>
                    </a:lnTo>
                    <a:lnTo>
                      <a:pt x="112" y="100"/>
                    </a:lnTo>
                    <a:lnTo>
                      <a:pt x="113" y="99"/>
                    </a:lnTo>
                    <a:lnTo>
                      <a:pt x="114" y="98"/>
                    </a:lnTo>
                    <a:lnTo>
                      <a:pt x="115" y="97"/>
                    </a:lnTo>
                    <a:lnTo>
                      <a:pt x="115" y="96"/>
                    </a:lnTo>
                    <a:lnTo>
                      <a:pt x="116" y="95"/>
                    </a:lnTo>
                    <a:lnTo>
                      <a:pt x="116" y="94"/>
                    </a:lnTo>
                    <a:lnTo>
                      <a:pt x="117" y="93"/>
                    </a:lnTo>
                    <a:lnTo>
                      <a:pt x="118" y="92"/>
                    </a:lnTo>
                    <a:lnTo>
                      <a:pt x="118" y="91"/>
                    </a:lnTo>
                    <a:lnTo>
                      <a:pt x="119" y="90"/>
                    </a:lnTo>
                    <a:lnTo>
                      <a:pt x="119" y="89"/>
                    </a:lnTo>
                    <a:lnTo>
                      <a:pt x="120" y="88"/>
                    </a:lnTo>
                    <a:lnTo>
                      <a:pt x="120" y="87"/>
                    </a:lnTo>
                    <a:lnTo>
                      <a:pt x="120" y="86"/>
                    </a:lnTo>
                    <a:lnTo>
                      <a:pt x="121" y="85"/>
                    </a:lnTo>
                    <a:lnTo>
                      <a:pt x="121" y="84"/>
                    </a:lnTo>
                    <a:lnTo>
                      <a:pt x="122" y="83"/>
                    </a:lnTo>
                    <a:lnTo>
                      <a:pt x="122" y="82"/>
                    </a:lnTo>
                    <a:lnTo>
                      <a:pt x="122" y="81"/>
                    </a:lnTo>
                    <a:lnTo>
                      <a:pt x="122" y="80"/>
                    </a:lnTo>
                    <a:lnTo>
                      <a:pt x="123" y="79"/>
                    </a:lnTo>
                    <a:lnTo>
                      <a:pt x="123" y="78"/>
                    </a:lnTo>
                    <a:lnTo>
                      <a:pt x="123" y="77"/>
                    </a:lnTo>
                    <a:lnTo>
                      <a:pt x="124" y="76"/>
                    </a:lnTo>
                    <a:lnTo>
                      <a:pt x="124" y="75"/>
                    </a:lnTo>
                    <a:lnTo>
                      <a:pt x="124" y="74"/>
                    </a:lnTo>
                    <a:lnTo>
                      <a:pt x="124" y="73"/>
                    </a:lnTo>
                    <a:lnTo>
                      <a:pt x="124" y="72"/>
                    </a:lnTo>
                    <a:lnTo>
                      <a:pt x="124" y="71"/>
                    </a:lnTo>
                    <a:lnTo>
                      <a:pt x="125" y="70"/>
                    </a:lnTo>
                    <a:lnTo>
                      <a:pt x="125" y="69"/>
                    </a:lnTo>
                    <a:lnTo>
                      <a:pt x="125" y="68"/>
                    </a:lnTo>
                    <a:lnTo>
                      <a:pt x="125" y="67"/>
                    </a:lnTo>
                    <a:lnTo>
                      <a:pt x="125" y="66"/>
                    </a:lnTo>
                    <a:lnTo>
                      <a:pt x="125" y="65"/>
                    </a:lnTo>
                    <a:lnTo>
                      <a:pt x="125" y="64"/>
                    </a:lnTo>
                    <a:lnTo>
                      <a:pt x="125" y="63"/>
                    </a:lnTo>
                    <a:close/>
                  </a:path>
                </a:pathLst>
              </a:custGeom>
              <a:solidFill>
                <a:srgbClr val="2892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138"/>
              </a:p>
            </p:txBody>
          </p:sp>
          <p:sp>
            <p:nvSpPr>
              <p:cNvPr id="84" name="Freeform 82"/>
              <p:cNvSpPr>
                <a:spLocks/>
              </p:cNvSpPr>
              <p:nvPr/>
            </p:nvSpPr>
            <p:spPr bwMode="auto">
              <a:xfrm>
                <a:off x="4591" y="2166"/>
                <a:ext cx="198" cy="198"/>
              </a:xfrm>
              <a:custGeom>
                <a:avLst/>
                <a:gdLst>
                  <a:gd name="T0" fmla="*/ 125 w 125"/>
                  <a:gd name="T1" fmla="*/ 57 h 125"/>
                  <a:gd name="T2" fmla="*/ 124 w 125"/>
                  <a:gd name="T3" fmla="*/ 51 h 125"/>
                  <a:gd name="T4" fmla="*/ 122 w 125"/>
                  <a:gd name="T5" fmla="*/ 45 h 125"/>
                  <a:gd name="T6" fmla="*/ 120 w 125"/>
                  <a:gd name="T7" fmla="*/ 39 h 125"/>
                  <a:gd name="T8" fmla="*/ 118 w 125"/>
                  <a:gd name="T9" fmla="*/ 33 h 125"/>
                  <a:gd name="T10" fmla="*/ 114 w 125"/>
                  <a:gd name="T11" fmla="*/ 27 h 125"/>
                  <a:gd name="T12" fmla="*/ 109 w 125"/>
                  <a:gd name="T13" fmla="*/ 21 h 125"/>
                  <a:gd name="T14" fmla="*/ 103 w 125"/>
                  <a:gd name="T15" fmla="*/ 15 h 125"/>
                  <a:gd name="T16" fmla="*/ 97 w 125"/>
                  <a:gd name="T17" fmla="*/ 10 h 125"/>
                  <a:gd name="T18" fmla="*/ 91 w 125"/>
                  <a:gd name="T19" fmla="*/ 7 h 125"/>
                  <a:gd name="T20" fmla="*/ 85 w 125"/>
                  <a:gd name="T21" fmla="*/ 4 h 125"/>
                  <a:gd name="T22" fmla="*/ 79 w 125"/>
                  <a:gd name="T23" fmla="*/ 2 h 125"/>
                  <a:gd name="T24" fmla="*/ 73 w 125"/>
                  <a:gd name="T25" fmla="*/ 1 h 125"/>
                  <a:gd name="T26" fmla="*/ 67 w 125"/>
                  <a:gd name="T27" fmla="*/ 0 h 125"/>
                  <a:gd name="T28" fmla="*/ 61 w 125"/>
                  <a:gd name="T29" fmla="*/ 0 h 125"/>
                  <a:gd name="T30" fmla="*/ 55 w 125"/>
                  <a:gd name="T31" fmla="*/ 0 h 125"/>
                  <a:gd name="T32" fmla="*/ 49 w 125"/>
                  <a:gd name="T33" fmla="*/ 1 h 125"/>
                  <a:gd name="T34" fmla="*/ 43 w 125"/>
                  <a:gd name="T35" fmla="*/ 3 h 125"/>
                  <a:gd name="T36" fmla="*/ 37 w 125"/>
                  <a:gd name="T37" fmla="*/ 5 h 125"/>
                  <a:gd name="T38" fmla="*/ 31 w 125"/>
                  <a:gd name="T39" fmla="*/ 9 h 125"/>
                  <a:gd name="T40" fmla="*/ 25 w 125"/>
                  <a:gd name="T41" fmla="*/ 13 h 125"/>
                  <a:gd name="T42" fmla="*/ 19 w 125"/>
                  <a:gd name="T43" fmla="*/ 18 h 125"/>
                  <a:gd name="T44" fmla="*/ 13 w 125"/>
                  <a:gd name="T45" fmla="*/ 24 h 125"/>
                  <a:gd name="T46" fmla="*/ 9 w 125"/>
                  <a:gd name="T47" fmla="*/ 30 h 125"/>
                  <a:gd name="T48" fmla="*/ 6 w 125"/>
                  <a:gd name="T49" fmla="*/ 36 h 125"/>
                  <a:gd name="T50" fmla="*/ 3 w 125"/>
                  <a:gd name="T51" fmla="*/ 42 h 125"/>
                  <a:gd name="T52" fmla="*/ 2 w 125"/>
                  <a:gd name="T53" fmla="*/ 48 h 125"/>
                  <a:gd name="T54" fmla="*/ 1 w 125"/>
                  <a:gd name="T55" fmla="*/ 54 h 125"/>
                  <a:gd name="T56" fmla="*/ 0 w 125"/>
                  <a:gd name="T57" fmla="*/ 60 h 125"/>
                  <a:gd name="T58" fmla="*/ 0 w 125"/>
                  <a:gd name="T59" fmla="*/ 66 h 125"/>
                  <a:gd name="T60" fmla="*/ 1 w 125"/>
                  <a:gd name="T61" fmla="*/ 72 h 125"/>
                  <a:gd name="T62" fmla="*/ 2 w 125"/>
                  <a:gd name="T63" fmla="*/ 78 h 125"/>
                  <a:gd name="T64" fmla="*/ 4 w 125"/>
                  <a:gd name="T65" fmla="*/ 84 h 125"/>
                  <a:gd name="T66" fmla="*/ 6 w 125"/>
                  <a:gd name="T67" fmla="*/ 90 h 125"/>
                  <a:gd name="T68" fmla="*/ 10 w 125"/>
                  <a:gd name="T69" fmla="*/ 96 h 125"/>
                  <a:gd name="T70" fmla="*/ 14 w 125"/>
                  <a:gd name="T71" fmla="*/ 102 h 125"/>
                  <a:gd name="T72" fmla="*/ 20 w 125"/>
                  <a:gd name="T73" fmla="*/ 108 h 125"/>
                  <a:gd name="T74" fmla="*/ 26 w 125"/>
                  <a:gd name="T75" fmla="*/ 113 h 125"/>
                  <a:gd name="T76" fmla="*/ 32 w 125"/>
                  <a:gd name="T77" fmla="*/ 117 h 125"/>
                  <a:gd name="T78" fmla="*/ 38 w 125"/>
                  <a:gd name="T79" fmla="*/ 120 h 125"/>
                  <a:gd name="T80" fmla="*/ 44 w 125"/>
                  <a:gd name="T81" fmla="*/ 122 h 125"/>
                  <a:gd name="T82" fmla="*/ 50 w 125"/>
                  <a:gd name="T83" fmla="*/ 124 h 125"/>
                  <a:gd name="T84" fmla="*/ 56 w 125"/>
                  <a:gd name="T85" fmla="*/ 125 h 125"/>
                  <a:gd name="T86" fmla="*/ 62 w 125"/>
                  <a:gd name="T87" fmla="*/ 125 h 125"/>
                  <a:gd name="T88" fmla="*/ 68 w 125"/>
                  <a:gd name="T89" fmla="*/ 125 h 125"/>
                  <a:gd name="T90" fmla="*/ 74 w 125"/>
                  <a:gd name="T91" fmla="*/ 124 h 125"/>
                  <a:gd name="T92" fmla="*/ 80 w 125"/>
                  <a:gd name="T93" fmla="*/ 122 h 125"/>
                  <a:gd name="T94" fmla="*/ 86 w 125"/>
                  <a:gd name="T95" fmla="*/ 120 h 125"/>
                  <a:gd name="T96" fmla="*/ 92 w 125"/>
                  <a:gd name="T97" fmla="*/ 118 h 125"/>
                  <a:gd name="T98" fmla="*/ 98 w 125"/>
                  <a:gd name="T99" fmla="*/ 114 h 125"/>
                  <a:gd name="T100" fmla="*/ 104 w 125"/>
                  <a:gd name="T101" fmla="*/ 109 h 125"/>
                  <a:gd name="T102" fmla="*/ 110 w 125"/>
                  <a:gd name="T103" fmla="*/ 103 h 125"/>
                  <a:gd name="T104" fmla="*/ 115 w 125"/>
                  <a:gd name="T105" fmla="*/ 97 h 125"/>
                  <a:gd name="T106" fmla="*/ 118 w 125"/>
                  <a:gd name="T107" fmla="*/ 91 h 125"/>
                  <a:gd name="T108" fmla="*/ 121 w 125"/>
                  <a:gd name="T109" fmla="*/ 85 h 125"/>
                  <a:gd name="T110" fmla="*/ 123 w 125"/>
                  <a:gd name="T111" fmla="*/ 79 h 125"/>
                  <a:gd name="T112" fmla="*/ 124 w 125"/>
                  <a:gd name="T113" fmla="*/ 73 h 125"/>
                  <a:gd name="T114" fmla="*/ 125 w 125"/>
                  <a:gd name="T115" fmla="*/ 6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5" h="125">
                    <a:moveTo>
                      <a:pt x="125" y="62"/>
                    </a:moveTo>
                    <a:lnTo>
                      <a:pt x="125" y="61"/>
                    </a:lnTo>
                    <a:lnTo>
                      <a:pt x="125" y="60"/>
                    </a:lnTo>
                    <a:lnTo>
                      <a:pt x="125" y="59"/>
                    </a:lnTo>
                    <a:lnTo>
                      <a:pt x="125" y="58"/>
                    </a:lnTo>
                    <a:lnTo>
                      <a:pt x="125" y="57"/>
                    </a:lnTo>
                    <a:lnTo>
                      <a:pt x="125" y="56"/>
                    </a:lnTo>
                    <a:lnTo>
                      <a:pt x="125" y="55"/>
                    </a:lnTo>
                    <a:lnTo>
                      <a:pt x="124" y="54"/>
                    </a:lnTo>
                    <a:lnTo>
                      <a:pt x="124" y="53"/>
                    </a:lnTo>
                    <a:lnTo>
                      <a:pt x="124" y="52"/>
                    </a:lnTo>
                    <a:lnTo>
                      <a:pt x="124" y="51"/>
                    </a:lnTo>
                    <a:lnTo>
                      <a:pt x="124" y="50"/>
                    </a:lnTo>
                    <a:lnTo>
                      <a:pt x="124" y="49"/>
                    </a:lnTo>
                    <a:lnTo>
                      <a:pt x="123" y="48"/>
                    </a:lnTo>
                    <a:lnTo>
                      <a:pt x="123" y="47"/>
                    </a:lnTo>
                    <a:lnTo>
                      <a:pt x="123" y="46"/>
                    </a:lnTo>
                    <a:lnTo>
                      <a:pt x="122" y="45"/>
                    </a:lnTo>
                    <a:lnTo>
                      <a:pt x="122" y="44"/>
                    </a:lnTo>
                    <a:lnTo>
                      <a:pt x="122" y="43"/>
                    </a:lnTo>
                    <a:lnTo>
                      <a:pt x="122" y="42"/>
                    </a:lnTo>
                    <a:lnTo>
                      <a:pt x="121" y="41"/>
                    </a:lnTo>
                    <a:lnTo>
                      <a:pt x="121" y="40"/>
                    </a:lnTo>
                    <a:lnTo>
                      <a:pt x="120" y="39"/>
                    </a:lnTo>
                    <a:lnTo>
                      <a:pt x="120" y="38"/>
                    </a:lnTo>
                    <a:lnTo>
                      <a:pt x="120" y="37"/>
                    </a:lnTo>
                    <a:lnTo>
                      <a:pt x="119" y="36"/>
                    </a:lnTo>
                    <a:lnTo>
                      <a:pt x="119" y="35"/>
                    </a:lnTo>
                    <a:lnTo>
                      <a:pt x="118" y="34"/>
                    </a:lnTo>
                    <a:lnTo>
                      <a:pt x="118" y="33"/>
                    </a:lnTo>
                    <a:lnTo>
                      <a:pt x="117" y="32"/>
                    </a:lnTo>
                    <a:lnTo>
                      <a:pt x="116" y="31"/>
                    </a:lnTo>
                    <a:lnTo>
                      <a:pt x="116" y="30"/>
                    </a:lnTo>
                    <a:lnTo>
                      <a:pt x="115" y="29"/>
                    </a:lnTo>
                    <a:lnTo>
                      <a:pt x="115" y="28"/>
                    </a:lnTo>
                    <a:lnTo>
                      <a:pt x="114" y="27"/>
                    </a:lnTo>
                    <a:lnTo>
                      <a:pt x="113" y="26"/>
                    </a:lnTo>
                    <a:lnTo>
                      <a:pt x="112" y="25"/>
                    </a:lnTo>
                    <a:lnTo>
                      <a:pt x="112" y="24"/>
                    </a:lnTo>
                    <a:lnTo>
                      <a:pt x="111" y="23"/>
                    </a:lnTo>
                    <a:lnTo>
                      <a:pt x="110" y="22"/>
                    </a:lnTo>
                    <a:lnTo>
                      <a:pt x="109" y="21"/>
                    </a:lnTo>
                    <a:lnTo>
                      <a:pt x="108" y="20"/>
                    </a:lnTo>
                    <a:lnTo>
                      <a:pt x="107" y="19"/>
                    </a:lnTo>
                    <a:lnTo>
                      <a:pt x="106" y="18"/>
                    </a:lnTo>
                    <a:lnTo>
                      <a:pt x="105" y="17"/>
                    </a:lnTo>
                    <a:lnTo>
                      <a:pt x="104" y="16"/>
                    </a:lnTo>
                    <a:lnTo>
                      <a:pt x="103" y="15"/>
                    </a:lnTo>
                    <a:lnTo>
                      <a:pt x="102" y="14"/>
                    </a:lnTo>
                    <a:lnTo>
                      <a:pt x="101" y="13"/>
                    </a:lnTo>
                    <a:lnTo>
                      <a:pt x="100" y="13"/>
                    </a:lnTo>
                    <a:lnTo>
                      <a:pt x="99" y="12"/>
                    </a:lnTo>
                    <a:lnTo>
                      <a:pt x="98" y="11"/>
                    </a:lnTo>
                    <a:lnTo>
                      <a:pt x="97" y="10"/>
                    </a:lnTo>
                    <a:lnTo>
                      <a:pt x="96" y="10"/>
                    </a:lnTo>
                    <a:lnTo>
                      <a:pt x="95" y="9"/>
                    </a:lnTo>
                    <a:lnTo>
                      <a:pt x="94" y="9"/>
                    </a:lnTo>
                    <a:lnTo>
                      <a:pt x="93" y="8"/>
                    </a:lnTo>
                    <a:lnTo>
                      <a:pt x="92" y="7"/>
                    </a:lnTo>
                    <a:lnTo>
                      <a:pt x="91" y="7"/>
                    </a:lnTo>
                    <a:lnTo>
                      <a:pt x="90" y="6"/>
                    </a:lnTo>
                    <a:lnTo>
                      <a:pt x="89" y="6"/>
                    </a:lnTo>
                    <a:lnTo>
                      <a:pt x="88" y="5"/>
                    </a:lnTo>
                    <a:lnTo>
                      <a:pt x="87" y="5"/>
                    </a:lnTo>
                    <a:lnTo>
                      <a:pt x="86" y="5"/>
                    </a:lnTo>
                    <a:lnTo>
                      <a:pt x="85" y="4"/>
                    </a:lnTo>
                    <a:lnTo>
                      <a:pt x="84" y="4"/>
                    </a:lnTo>
                    <a:lnTo>
                      <a:pt x="83" y="3"/>
                    </a:lnTo>
                    <a:lnTo>
                      <a:pt x="82" y="3"/>
                    </a:lnTo>
                    <a:lnTo>
                      <a:pt x="81" y="3"/>
                    </a:lnTo>
                    <a:lnTo>
                      <a:pt x="80" y="3"/>
                    </a:lnTo>
                    <a:lnTo>
                      <a:pt x="79" y="2"/>
                    </a:lnTo>
                    <a:lnTo>
                      <a:pt x="78" y="2"/>
                    </a:lnTo>
                    <a:lnTo>
                      <a:pt x="77" y="2"/>
                    </a:lnTo>
                    <a:lnTo>
                      <a:pt x="76" y="1"/>
                    </a:lnTo>
                    <a:lnTo>
                      <a:pt x="75" y="1"/>
                    </a:lnTo>
                    <a:lnTo>
                      <a:pt x="74" y="1"/>
                    </a:lnTo>
                    <a:lnTo>
                      <a:pt x="73" y="1"/>
                    </a:lnTo>
                    <a:lnTo>
                      <a:pt x="72" y="1"/>
                    </a:lnTo>
                    <a:lnTo>
                      <a:pt x="71" y="1"/>
                    </a:lnTo>
                    <a:lnTo>
                      <a:pt x="70" y="0"/>
                    </a:lnTo>
                    <a:lnTo>
                      <a:pt x="69" y="0"/>
                    </a:lnTo>
                    <a:lnTo>
                      <a:pt x="68" y="0"/>
                    </a:lnTo>
                    <a:lnTo>
                      <a:pt x="67" y="0"/>
                    </a:lnTo>
                    <a:lnTo>
                      <a:pt x="66" y="0"/>
                    </a:lnTo>
                    <a:lnTo>
                      <a:pt x="65" y="0"/>
                    </a:lnTo>
                    <a:lnTo>
                      <a:pt x="64" y="0"/>
                    </a:lnTo>
                    <a:lnTo>
                      <a:pt x="63" y="0"/>
                    </a:lnTo>
                    <a:lnTo>
                      <a:pt x="62" y="0"/>
                    </a:lnTo>
                    <a:lnTo>
                      <a:pt x="61" y="0"/>
                    </a:lnTo>
                    <a:lnTo>
                      <a:pt x="60" y="0"/>
                    </a:lnTo>
                    <a:lnTo>
                      <a:pt x="59" y="0"/>
                    </a:lnTo>
                    <a:lnTo>
                      <a:pt x="58" y="0"/>
                    </a:lnTo>
                    <a:lnTo>
                      <a:pt x="57" y="0"/>
                    </a:lnTo>
                    <a:lnTo>
                      <a:pt x="56" y="0"/>
                    </a:lnTo>
                    <a:lnTo>
                      <a:pt x="55" y="0"/>
                    </a:lnTo>
                    <a:lnTo>
                      <a:pt x="54" y="1"/>
                    </a:lnTo>
                    <a:lnTo>
                      <a:pt x="53" y="1"/>
                    </a:lnTo>
                    <a:lnTo>
                      <a:pt x="52" y="1"/>
                    </a:lnTo>
                    <a:lnTo>
                      <a:pt x="51" y="1"/>
                    </a:lnTo>
                    <a:lnTo>
                      <a:pt x="50" y="1"/>
                    </a:lnTo>
                    <a:lnTo>
                      <a:pt x="49" y="1"/>
                    </a:lnTo>
                    <a:lnTo>
                      <a:pt x="48" y="2"/>
                    </a:lnTo>
                    <a:lnTo>
                      <a:pt x="47" y="2"/>
                    </a:lnTo>
                    <a:lnTo>
                      <a:pt x="46" y="2"/>
                    </a:lnTo>
                    <a:lnTo>
                      <a:pt x="45" y="3"/>
                    </a:lnTo>
                    <a:lnTo>
                      <a:pt x="44" y="3"/>
                    </a:lnTo>
                    <a:lnTo>
                      <a:pt x="43" y="3"/>
                    </a:lnTo>
                    <a:lnTo>
                      <a:pt x="42" y="3"/>
                    </a:lnTo>
                    <a:lnTo>
                      <a:pt x="41" y="4"/>
                    </a:lnTo>
                    <a:lnTo>
                      <a:pt x="40" y="4"/>
                    </a:lnTo>
                    <a:lnTo>
                      <a:pt x="39" y="5"/>
                    </a:lnTo>
                    <a:lnTo>
                      <a:pt x="38" y="5"/>
                    </a:lnTo>
                    <a:lnTo>
                      <a:pt x="37" y="5"/>
                    </a:lnTo>
                    <a:lnTo>
                      <a:pt x="36" y="6"/>
                    </a:lnTo>
                    <a:lnTo>
                      <a:pt x="35" y="6"/>
                    </a:lnTo>
                    <a:lnTo>
                      <a:pt x="34" y="7"/>
                    </a:lnTo>
                    <a:lnTo>
                      <a:pt x="33" y="7"/>
                    </a:lnTo>
                    <a:lnTo>
                      <a:pt x="32" y="8"/>
                    </a:lnTo>
                    <a:lnTo>
                      <a:pt x="31" y="9"/>
                    </a:lnTo>
                    <a:lnTo>
                      <a:pt x="30" y="9"/>
                    </a:lnTo>
                    <a:lnTo>
                      <a:pt x="29" y="10"/>
                    </a:lnTo>
                    <a:lnTo>
                      <a:pt x="28" y="10"/>
                    </a:lnTo>
                    <a:lnTo>
                      <a:pt x="27" y="11"/>
                    </a:lnTo>
                    <a:lnTo>
                      <a:pt x="26" y="12"/>
                    </a:lnTo>
                    <a:lnTo>
                      <a:pt x="25" y="13"/>
                    </a:lnTo>
                    <a:lnTo>
                      <a:pt x="24" y="13"/>
                    </a:lnTo>
                    <a:lnTo>
                      <a:pt x="23" y="14"/>
                    </a:lnTo>
                    <a:lnTo>
                      <a:pt x="22" y="15"/>
                    </a:lnTo>
                    <a:lnTo>
                      <a:pt x="21" y="16"/>
                    </a:lnTo>
                    <a:lnTo>
                      <a:pt x="20" y="17"/>
                    </a:lnTo>
                    <a:lnTo>
                      <a:pt x="19" y="18"/>
                    </a:lnTo>
                    <a:lnTo>
                      <a:pt x="18" y="19"/>
                    </a:lnTo>
                    <a:lnTo>
                      <a:pt x="17" y="20"/>
                    </a:lnTo>
                    <a:lnTo>
                      <a:pt x="16" y="21"/>
                    </a:lnTo>
                    <a:lnTo>
                      <a:pt x="15" y="22"/>
                    </a:lnTo>
                    <a:lnTo>
                      <a:pt x="14" y="23"/>
                    </a:lnTo>
                    <a:lnTo>
                      <a:pt x="13" y="24"/>
                    </a:lnTo>
                    <a:lnTo>
                      <a:pt x="13" y="25"/>
                    </a:lnTo>
                    <a:lnTo>
                      <a:pt x="12" y="26"/>
                    </a:lnTo>
                    <a:lnTo>
                      <a:pt x="11" y="27"/>
                    </a:lnTo>
                    <a:lnTo>
                      <a:pt x="10" y="28"/>
                    </a:lnTo>
                    <a:lnTo>
                      <a:pt x="10" y="29"/>
                    </a:lnTo>
                    <a:lnTo>
                      <a:pt x="9" y="30"/>
                    </a:lnTo>
                    <a:lnTo>
                      <a:pt x="9" y="31"/>
                    </a:lnTo>
                    <a:lnTo>
                      <a:pt x="8" y="32"/>
                    </a:lnTo>
                    <a:lnTo>
                      <a:pt x="7" y="33"/>
                    </a:lnTo>
                    <a:lnTo>
                      <a:pt x="7" y="34"/>
                    </a:lnTo>
                    <a:lnTo>
                      <a:pt x="6" y="35"/>
                    </a:lnTo>
                    <a:lnTo>
                      <a:pt x="6" y="36"/>
                    </a:lnTo>
                    <a:lnTo>
                      <a:pt x="5" y="37"/>
                    </a:lnTo>
                    <a:lnTo>
                      <a:pt x="5" y="38"/>
                    </a:lnTo>
                    <a:lnTo>
                      <a:pt x="5" y="39"/>
                    </a:lnTo>
                    <a:lnTo>
                      <a:pt x="4" y="40"/>
                    </a:lnTo>
                    <a:lnTo>
                      <a:pt x="4" y="41"/>
                    </a:lnTo>
                    <a:lnTo>
                      <a:pt x="3" y="42"/>
                    </a:lnTo>
                    <a:lnTo>
                      <a:pt x="3" y="43"/>
                    </a:lnTo>
                    <a:lnTo>
                      <a:pt x="3" y="44"/>
                    </a:lnTo>
                    <a:lnTo>
                      <a:pt x="3" y="45"/>
                    </a:lnTo>
                    <a:lnTo>
                      <a:pt x="2" y="46"/>
                    </a:lnTo>
                    <a:lnTo>
                      <a:pt x="2" y="47"/>
                    </a:lnTo>
                    <a:lnTo>
                      <a:pt x="2" y="48"/>
                    </a:lnTo>
                    <a:lnTo>
                      <a:pt x="1" y="49"/>
                    </a:lnTo>
                    <a:lnTo>
                      <a:pt x="1" y="50"/>
                    </a:lnTo>
                    <a:lnTo>
                      <a:pt x="1" y="51"/>
                    </a:lnTo>
                    <a:lnTo>
                      <a:pt x="1" y="52"/>
                    </a:lnTo>
                    <a:lnTo>
                      <a:pt x="1" y="53"/>
                    </a:lnTo>
                    <a:lnTo>
                      <a:pt x="1" y="54"/>
                    </a:lnTo>
                    <a:lnTo>
                      <a:pt x="0" y="55"/>
                    </a:lnTo>
                    <a:lnTo>
                      <a:pt x="0" y="56"/>
                    </a:lnTo>
                    <a:lnTo>
                      <a:pt x="0" y="57"/>
                    </a:lnTo>
                    <a:lnTo>
                      <a:pt x="0" y="58"/>
                    </a:lnTo>
                    <a:lnTo>
                      <a:pt x="0" y="59"/>
                    </a:lnTo>
                    <a:lnTo>
                      <a:pt x="0" y="60"/>
                    </a:lnTo>
                    <a:lnTo>
                      <a:pt x="0" y="61"/>
                    </a:lnTo>
                    <a:lnTo>
                      <a:pt x="0" y="62"/>
                    </a:lnTo>
                    <a:lnTo>
                      <a:pt x="0" y="63"/>
                    </a:lnTo>
                    <a:lnTo>
                      <a:pt x="0" y="64"/>
                    </a:lnTo>
                    <a:lnTo>
                      <a:pt x="0" y="65"/>
                    </a:lnTo>
                    <a:lnTo>
                      <a:pt x="0" y="66"/>
                    </a:lnTo>
                    <a:lnTo>
                      <a:pt x="0" y="67"/>
                    </a:lnTo>
                    <a:lnTo>
                      <a:pt x="0" y="68"/>
                    </a:lnTo>
                    <a:lnTo>
                      <a:pt x="0" y="69"/>
                    </a:lnTo>
                    <a:lnTo>
                      <a:pt x="0" y="70"/>
                    </a:lnTo>
                    <a:lnTo>
                      <a:pt x="1" y="71"/>
                    </a:lnTo>
                    <a:lnTo>
                      <a:pt x="1" y="72"/>
                    </a:lnTo>
                    <a:lnTo>
                      <a:pt x="1" y="73"/>
                    </a:lnTo>
                    <a:lnTo>
                      <a:pt x="1" y="74"/>
                    </a:lnTo>
                    <a:lnTo>
                      <a:pt x="1" y="75"/>
                    </a:lnTo>
                    <a:lnTo>
                      <a:pt x="1" y="76"/>
                    </a:lnTo>
                    <a:lnTo>
                      <a:pt x="2" y="77"/>
                    </a:lnTo>
                    <a:lnTo>
                      <a:pt x="2" y="78"/>
                    </a:lnTo>
                    <a:lnTo>
                      <a:pt x="2" y="79"/>
                    </a:lnTo>
                    <a:lnTo>
                      <a:pt x="3" y="80"/>
                    </a:lnTo>
                    <a:lnTo>
                      <a:pt x="3" y="81"/>
                    </a:lnTo>
                    <a:lnTo>
                      <a:pt x="3" y="82"/>
                    </a:lnTo>
                    <a:lnTo>
                      <a:pt x="3" y="83"/>
                    </a:lnTo>
                    <a:lnTo>
                      <a:pt x="4" y="84"/>
                    </a:lnTo>
                    <a:lnTo>
                      <a:pt x="4" y="85"/>
                    </a:lnTo>
                    <a:lnTo>
                      <a:pt x="5" y="86"/>
                    </a:lnTo>
                    <a:lnTo>
                      <a:pt x="5" y="87"/>
                    </a:lnTo>
                    <a:lnTo>
                      <a:pt x="5" y="88"/>
                    </a:lnTo>
                    <a:lnTo>
                      <a:pt x="6" y="89"/>
                    </a:lnTo>
                    <a:lnTo>
                      <a:pt x="6" y="90"/>
                    </a:lnTo>
                    <a:lnTo>
                      <a:pt x="7" y="91"/>
                    </a:lnTo>
                    <a:lnTo>
                      <a:pt x="7" y="92"/>
                    </a:lnTo>
                    <a:lnTo>
                      <a:pt x="8" y="93"/>
                    </a:lnTo>
                    <a:lnTo>
                      <a:pt x="9" y="94"/>
                    </a:lnTo>
                    <a:lnTo>
                      <a:pt x="9" y="95"/>
                    </a:lnTo>
                    <a:lnTo>
                      <a:pt x="10" y="96"/>
                    </a:lnTo>
                    <a:lnTo>
                      <a:pt x="10" y="97"/>
                    </a:lnTo>
                    <a:lnTo>
                      <a:pt x="11" y="98"/>
                    </a:lnTo>
                    <a:lnTo>
                      <a:pt x="12" y="99"/>
                    </a:lnTo>
                    <a:lnTo>
                      <a:pt x="13" y="100"/>
                    </a:lnTo>
                    <a:lnTo>
                      <a:pt x="13" y="101"/>
                    </a:lnTo>
                    <a:lnTo>
                      <a:pt x="14" y="102"/>
                    </a:lnTo>
                    <a:lnTo>
                      <a:pt x="15" y="103"/>
                    </a:lnTo>
                    <a:lnTo>
                      <a:pt x="16" y="104"/>
                    </a:lnTo>
                    <a:lnTo>
                      <a:pt x="17" y="105"/>
                    </a:lnTo>
                    <a:lnTo>
                      <a:pt x="18" y="106"/>
                    </a:lnTo>
                    <a:lnTo>
                      <a:pt x="19" y="107"/>
                    </a:lnTo>
                    <a:lnTo>
                      <a:pt x="20" y="108"/>
                    </a:lnTo>
                    <a:lnTo>
                      <a:pt x="21" y="109"/>
                    </a:lnTo>
                    <a:lnTo>
                      <a:pt x="22" y="110"/>
                    </a:lnTo>
                    <a:lnTo>
                      <a:pt x="23" y="111"/>
                    </a:lnTo>
                    <a:lnTo>
                      <a:pt x="24" y="112"/>
                    </a:lnTo>
                    <a:lnTo>
                      <a:pt x="25" y="112"/>
                    </a:lnTo>
                    <a:lnTo>
                      <a:pt x="26" y="113"/>
                    </a:lnTo>
                    <a:lnTo>
                      <a:pt x="27" y="114"/>
                    </a:lnTo>
                    <a:lnTo>
                      <a:pt x="28" y="115"/>
                    </a:lnTo>
                    <a:lnTo>
                      <a:pt x="29" y="115"/>
                    </a:lnTo>
                    <a:lnTo>
                      <a:pt x="30" y="116"/>
                    </a:lnTo>
                    <a:lnTo>
                      <a:pt x="31" y="116"/>
                    </a:lnTo>
                    <a:lnTo>
                      <a:pt x="32" y="117"/>
                    </a:lnTo>
                    <a:lnTo>
                      <a:pt x="33" y="118"/>
                    </a:lnTo>
                    <a:lnTo>
                      <a:pt x="34" y="118"/>
                    </a:lnTo>
                    <a:lnTo>
                      <a:pt x="35" y="119"/>
                    </a:lnTo>
                    <a:lnTo>
                      <a:pt x="36" y="119"/>
                    </a:lnTo>
                    <a:lnTo>
                      <a:pt x="37" y="120"/>
                    </a:lnTo>
                    <a:lnTo>
                      <a:pt x="38" y="120"/>
                    </a:lnTo>
                    <a:lnTo>
                      <a:pt x="39" y="120"/>
                    </a:lnTo>
                    <a:lnTo>
                      <a:pt x="40" y="121"/>
                    </a:lnTo>
                    <a:lnTo>
                      <a:pt x="41" y="121"/>
                    </a:lnTo>
                    <a:lnTo>
                      <a:pt x="42" y="122"/>
                    </a:lnTo>
                    <a:lnTo>
                      <a:pt x="43" y="122"/>
                    </a:lnTo>
                    <a:lnTo>
                      <a:pt x="44" y="122"/>
                    </a:lnTo>
                    <a:lnTo>
                      <a:pt x="45" y="122"/>
                    </a:lnTo>
                    <a:lnTo>
                      <a:pt x="46" y="123"/>
                    </a:lnTo>
                    <a:lnTo>
                      <a:pt x="47" y="123"/>
                    </a:lnTo>
                    <a:lnTo>
                      <a:pt x="48" y="123"/>
                    </a:lnTo>
                    <a:lnTo>
                      <a:pt x="49" y="124"/>
                    </a:lnTo>
                    <a:lnTo>
                      <a:pt x="50" y="124"/>
                    </a:lnTo>
                    <a:lnTo>
                      <a:pt x="51" y="124"/>
                    </a:lnTo>
                    <a:lnTo>
                      <a:pt x="52" y="124"/>
                    </a:lnTo>
                    <a:lnTo>
                      <a:pt x="53" y="124"/>
                    </a:lnTo>
                    <a:lnTo>
                      <a:pt x="54" y="124"/>
                    </a:lnTo>
                    <a:lnTo>
                      <a:pt x="55" y="125"/>
                    </a:lnTo>
                    <a:lnTo>
                      <a:pt x="56" y="125"/>
                    </a:lnTo>
                    <a:lnTo>
                      <a:pt x="57" y="125"/>
                    </a:lnTo>
                    <a:lnTo>
                      <a:pt x="58" y="125"/>
                    </a:lnTo>
                    <a:lnTo>
                      <a:pt x="59" y="125"/>
                    </a:lnTo>
                    <a:lnTo>
                      <a:pt x="60" y="125"/>
                    </a:lnTo>
                    <a:lnTo>
                      <a:pt x="61" y="125"/>
                    </a:lnTo>
                    <a:lnTo>
                      <a:pt x="62" y="125"/>
                    </a:lnTo>
                    <a:lnTo>
                      <a:pt x="63" y="125"/>
                    </a:lnTo>
                    <a:lnTo>
                      <a:pt x="64" y="125"/>
                    </a:lnTo>
                    <a:lnTo>
                      <a:pt x="65" y="125"/>
                    </a:lnTo>
                    <a:lnTo>
                      <a:pt x="66" y="125"/>
                    </a:lnTo>
                    <a:lnTo>
                      <a:pt x="67" y="125"/>
                    </a:lnTo>
                    <a:lnTo>
                      <a:pt x="68" y="125"/>
                    </a:lnTo>
                    <a:lnTo>
                      <a:pt x="69" y="125"/>
                    </a:lnTo>
                    <a:lnTo>
                      <a:pt x="70" y="125"/>
                    </a:lnTo>
                    <a:lnTo>
                      <a:pt x="71" y="124"/>
                    </a:lnTo>
                    <a:lnTo>
                      <a:pt x="72" y="124"/>
                    </a:lnTo>
                    <a:lnTo>
                      <a:pt x="73" y="124"/>
                    </a:lnTo>
                    <a:lnTo>
                      <a:pt x="74" y="124"/>
                    </a:lnTo>
                    <a:lnTo>
                      <a:pt x="75" y="124"/>
                    </a:lnTo>
                    <a:lnTo>
                      <a:pt x="76" y="124"/>
                    </a:lnTo>
                    <a:lnTo>
                      <a:pt x="77" y="123"/>
                    </a:lnTo>
                    <a:lnTo>
                      <a:pt x="78" y="123"/>
                    </a:lnTo>
                    <a:lnTo>
                      <a:pt x="79" y="123"/>
                    </a:lnTo>
                    <a:lnTo>
                      <a:pt x="80" y="122"/>
                    </a:lnTo>
                    <a:lnTo>
                      <a:pt x="81" y="122"/>
                    </a:lnTo>
                    <a:lnTo>
                      <a:pt x="82" y="122"/>
                    </a:lnTo>
                    <a:lnTo>
                      <a:pt x="83" y="122"/>
                    </a:lnTo>
                    <a:lnTo>
                      <a:pt x="84" y="121"/>
                    </a:lnTo>
                    <a:lnTo>
                      <a:pt x="85" y="121"/>
                    </a:lnTo>
                    <a:lnTo>
                      <a:pt x="86" y="120"/>
                    </a:lnTo>
                    <a:lnTo>
                      <a:pt x="87" y="120"/>
                    </a:lnTo>
                    <a:lnTo>
                      <a:pt x="88" y="120"/>
                    </a:lnTo>
                    <a:lnTo>
                      <a:pt x="89" y="119"/>
                    </a:lnTo>
                    <a:lnTo>
                      <a:pt x="90" y="119"/>
                    </a:lnTo>
                    <a:lnTo>
                      <a:pt x="91" y="118"/>
                    </a:lnTo>
                    <a:lnTo>
                      <a:pt x="92" y="118"/>
                    </a:lnTo>
                    <a:lnTo>
                      <a:pt x="93" y="117"/>
                    </a:lnTo>
                    <a:lnTo>
                      <a:pt x="94" y="116"/>
                    </a:lnTo>
                    <a:lnTo>
                      <a:pt x="95" y="116"/>
                    </a:lnTo>
                    <a:lnTo>
                      <a:pt x="96" y="115"/>
                    </a:lnTo>
                    <a:lnTo>
                      <a:pt x="97" y="115"/>
                    </a:lnTo>
                    <a:lnTo>
                      <a:pt x="98" y="114"/>
                    </a:lnTo>
                    <a:lnTo>
                      <a:pt x="99" y="113"/>
                    </a:lnTo>
                    <a:lnTo>
                      <a:pt x="100" y="112"/>
                    </a:lnTo>
                    <a:lnTo>
                      <a:pt x="101" y="112"/>
                    </a:lnTo>
                    <a:lnTo>
                      <a:pt x="102" y="111"/>
                    </a:lnTo>
                    <a:lnTo>
                      <a:pt x="103" y="110"/>
                    </a:lnTo>
                    <a:lnTo>
                      <a:pt x="104" y="109"/>
                    </a:lnTo>
                    <a:lnTo>
                      <a:pt x="105" y="108"/>
                    </a:lnTo>
                    <a:lnTo>
                      <a:pt x="106" y="107"/>
                    </a:lnTo>
                    <a:lnTo>
                      <a:pt x="107" y="106"/>
                    </a:lnTo>
                    <a:lnTo>
                      <a:pt x="108" y="105"/>
                    </a:lnTo>
                    <a:lnTo>
                      <a:pt x="109" y="104"/>
                    </a:lnTo>
                    <a:lnTo>
                      <a:pt x="110" y="103"/>
                    </a:lnTo>
                    <a:lnTo>
                      <a:pt x="111" y="102"/>
                    </a:lnTo>
                    <a:lnTo>
                      <a:pt x="112" y="101"/>
                    </a:lnTo>
                    <a:lnTo>
                      <a:pt x="112" y="100"/>
                    </a:lnTo>
                    <a:lnTo>
                      <a:pt x="113" y="99"/>
                    </a:lnTo>
                    <a:lnTo>
                      <a:pt x="114" y="98"/>
                    </a:lnTo>
                    <a:lnTo>
                      <a:pt x="115" y="97"/>
                    </a:lnTo>
                    <a:lnTo>
                      <a:pt x="115" y="96"/>
                    </a:lnTo>
                    <a:lnTo>
                      <a:pt x="116" y="95"/>
                    </a:lnTo>
                    <a:lnTo>
                      <a:pt x="116" y="94"/>
                    </a:lnTo>
                    <a:lnTo>
                      <a:pt x="117" y="93"/>
                    </a:lnTo>
                    <a:lnTo>
                      <a:pt x="118" y="92"/>
                    </a:lnTo>
                    <a:lnTo>
                      <a:pt x="118" y="91"/>
                    </a:lnTo>
                    <a:lnTo>
                      <a:pt x="119" y="90"/>
                    </a:lnTo>
                    <a:lnTo>
                      <a:pt x="119" y="89"/>
                    </a:lnTo>
                    <a:lnTo>
                      <a:pt x="120" y="88"/>
                    </a:lnTo>
                    <a:lnTo>
                      <a:pt x="120" y="87"/>
                    </a:lnTo>
                    <a:lnTo>
                      <a:pt x="120" y="86"/>
                    </a:lnTo>
                    <a:lnTo>
                      <a:pt x="121" y="85"/>
                    </a:lnTo>
                    <a:lnTo>
                      <a:pt x="121" y="84"/>
                    </a:lnTo>
                    <a:lnTo>
                      <a:pt x="122" y="83"/>
                    </a:lnTo>
                    <a:lnTo>
                      <a:pt x="122" y="82"/>
                    </a:lnTo>
                    <a:lnTo>
                      <a:pt x="122" y="81"/>
                    </a:lnTo>
                    <a:lnTo>
                      <a:pt x="122" y="80"/>
                    </a:lnTo>
                    <a:lnTo>
                      <a:pt x="123" y="79"/>
                    </a:lnTo>
                    <a:lnTo>
                      <a:pt x="123" y="78"/>
                    </a:lnTo>
                    <a:lnTo>
                      <a:pt x="123" y="77"/>
                    </a:lnTo>
                    <a:lnTo>
                      <a:pt x="124" y="76"/>
                    </a:lnTo>
                    <a:lnTo>
                      <a:pt x="124" y="75"/>
                    </a:lnTo>
                    <a:lnTo>
                      <a:pt x="124" y="74"/>
                    </a:lnTo>
                    <a:lnTo>
                      <a:pt x="124" y="73"/>
                    </a:lnTo>
                    <a:lnTo>
                      <a:pt x="124" y="72"/>
                    </a:lnTo>
                    <a:lnTo>
                      <a:pt x="124" y="71"/>
                    </a:lnTo>
                    <a:lnTo>
                      <a:pt x="125" y="70"/>
                    </a:lnTo>
                    <a:lnTo>
                      <a:pt x="125" y="69"/>
                    </a:lnTo>
                    <a:lnTo>
                      <a:pt x="125" y="68"/>
                    </a:lnTo>
                    <a:lnTo>
                      <a:pt x="125" y="67"/>
                    </a:lnTo>
                    <a:lnTo>
                      <a:pt x="125" y="66"/>
                    </a:lnTo>
                    <a:lnTo>
                      <a:pt x="125" y="65"/>
                    </a:lnTo>
                    <a:lnTo>
                      <a:pt x="125" y="64"/>
                    </a:lnTo>
                    <a:lnTo>
                      <a:pt x="125" y="63"/>
                    </a:lnTo>
                    <a:lnTo>
                      <a:pt x="125" y="62"/>
                    </a:lnTo>
                    <a:close/>
                  </a:path>
                </a:pathLst>
              </a:custGeom>
              <a:solidFill>
                <a:srgbClr val="2892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138"/>
              </a:p>
            </p:txBody>
          </p:sp>
          <p:sp>
            <p:nvSpPr>
              <p:cNvPr id="85" name="Freeform 83"/>
              <p:cNvSpPr>
                <a:spLocks/>
              </p:cNvSpPr>
              <p:nvPr/>
            </p:nvSpPr>
            <p:spPr bwMode="auto">
              <a:xfrm>
                <a:off x="4217" y="1426"/>
                <a:ext cx="198" cy="198"/>
              </a:xfrm>
              <a:custGeom>
                <a:avLst/>
                <a:gdLst>
                  <a:gd name="T0" fmla="*/ 125 w 125"/>
                  <a:gd name="T1" fmla="*/ 57 h 125"/>
                  <a:gd name="T2" fmla="*/ 124 w 125"/>
                  <a:gd name="T3" fmla="*/ 51 h 125"/>
                  <a:gd name="T4" fmla="*/ 122 w 125"/>
                  <a:gd name="T5" fmla="*/ 45 h 125"/>
                  <a:gd name="T6" fmla="*/ 120 w 125"/>
                  <a:gd name="T7" fmla="*/ 39 h 125"/>
                  <a:gd name="T8" fmla="*/ 118 w 125"/>
                  <a:gd name="T9" fmla="*/ 33 h 125"/>
                  <a:gd name="T10" fmla="*/ 114 w 125"/>
                  <a:gd name="T11" fmla="*/ 27 h 125"/>
                  <a:gd name="T12" fmla="*/ 109 w 125"/>
                  <a:gd name="T13" fmla="*/ 21 h 125"/>
                  <a:gd name="T14" fmla="*/ 103 w 125"/>
                  <a:gd name="T15" fmla="*/ 15 h 125"/>
                  <a:gd name="T16" fmla="*/ 97 w 125"/>
                  <a:gd name="T17" fmla="*/ 10 h 125"/>
                  <a:gd name="T18" fmla="*/ 91 w 125"/>
                  <a:gd name="T19" fmla="*/ 7 h 125"/>
                  <a:gd name="T20" fmla="*/ 85 w 125"/>
                  <a:gd name="T21" fmla="*/ 4 h 125"/>
                  <a:gd name="T22" fmla="*/ 79 w 125"/>
                  <a:gd name="T23" fmla="*/ 2 h 125"/>
                  <a:gd name="T24" fmla="*/ 73 w 125"/>
                  <a:gd name="T25" fmla="*/ 1 h 125"/>
                  <a:gd name="T26" fmla="*/ 67 w 125"/>
                  <a:gd name="T27" fmla="*/ 0 h 125"/>
                  <a:gd name="T28" fmla="*/ 61 w 125"/>
                  <a:gd name="T29" fmla="*/ 0 h 125"/>
                  <a:gd name="T30" fmla="*/ 55 w 125"/>
                  <a:gd name="T31" fmla="*/ 0 h 125"/>
                  <a:gd name="T32" fmla="*/ 49 w 125"/>
                  <a:gd name="T33" fmla="*/ 1 h 125"/>
                  <a:gd name="T34" fmla="*/ 43 w 125"/>
                  <a:gd name="T35" fmla="*/ 3 h 125"/>
                  <a:gd name="T36" fmla="*/ 37 w 125"/>
                  <a:gd name="T37" fmla="*/ 5 h 125"/>
                  <a:gd name="T38" fmla="*/ 31 w 125"/>
                  <a:gd name="T39" fmla="*/ 9 h 125"/>
                  <a:gd name="T40" fmla="*/ 25 w 125"/>
                  <a:gd name="T41" fmla="*/ 13 h 125"/>
                  <a:gd name="T42" fmla="*/ 19 w 125"/>
                  <a:gd name="T43" fmla="*/ 18 h 125"/>
                  <a:gd name="T44" fmla="*/ 13 w 125"/>
                  <a:gd name="T45" fmla="*/ 24 h 125"/>
                  <a:gd name="T46" fmla="*/ 9 w 125"/>
                  <a:gd name="T47" fmla="*/ 30 h 125"/>
                  <a:gd name="T48" fmla="*/ 6 w 125"/>
                  <a:gd name="T49" fmla="*/ 36 h 125"/>
                  <a:gd name="T50" fmla="*/ 3 w 125"/>
                  <a:gd name="T51" fmla="*/ 42 h 125"/>
                  <a:gd name="T52" fmla="*/ 2 w 125"/>
                  <a:gd name="T53" fmla="*/ 48 h 125"/>
                  <a:gd name="T54" fmla="*/ 1 w 125"/>
                  <a:gd name="T55" fmla="*/ 54 h 125"/>
                  <a:gd name="T56" fmla="*/ 0 w 125"/>
                  <a:gd name="T57" fmla="*/ 60 h 125"/>
                  <a:gd name="T58" fmla="*/ 0 w 125"/>
                  <a:gd name="T59" fmla="*/ 66 h 125"/>
                  <a:gd name="T60" fmla="*/ 1 w 125"/>
                  <a:gd name="T61" fmla="*/ 72 h 125"/>
                  <a:gd name="T62" fmla="*/ 2 w 125"/>
                  <a:gd name="T63" fmla="*/ 78 h 125"/>
                  <a:gd name="T64" fmla="*/ 4 w 125"/>
                  <a:gd name="T65" fmla="*/ 84 h 125"/>
                  <a:gd name="T66" fmla="*/ 6 w 125"/>
                  <a:gd name="T67" fmla="*/ 90 h 125"/>
                  <a:gd name="T68" fmla="*/ 10 w 125"/>
                  <a:gd name="T69" fmla="*/ 96 h 125"/>
                  <a:gd name="T70" fmla="*/ 14 w 125"/>
                  <a:gd name="T71" fmla="*/ 102 h 125"/>
                  <a:gd name="T72" fmla="*/ 20 w 125"/>
                  <a:gd name="T73" fmla="*/ 108 h 125"/>
                  <a:gd name="T74" fmla="*/ 26 w 125"/>
                  <a:gd name="T75" fmla="*/ 113 h 125"/>
                  <a:gd name="T76" fmla="*/ 32 w 125"/>
                  <a:gd name="T77" fmla="*/ 117 h 125"/>
                  <a:gd name="T78" fmla="*/ 38 w 125"/>
                  <a:gd name="T79" fmla="*/ 120 h 125"/>
                  <a:gd name="T80" fmla="*/ 44 w 125"/>
                  <a:gd name="T81" fmla="*/ 122 h 125"/>
                  <a:gd name="T82" fmla="*/ 50 w 125"/>
                  <a:gd name="T83" fmla="*/ 124 h 125"/>
                  <a:gd name="T84" fmla="*/ 56 w 125"/>
                  <a:gd name="T85" fmla="*/ 125 h 125"/>
                  <a:gd name="T86" fmla="*/ 62 w 125"/>
                  <a:gd name="T87" fmla="*/ 125 h 125"/>
                  <a:gd name="T88" fmla="*/ 68 w 125"/>
                  <a:gd name="T89" fmla="*/ 125 h 125"/>
                  <a:gd name="T90" fmla="*/ 74 w 125"/>
                  <a:gd name="T91" fmla="*/ 124 h 125"/>
                  <a:gd name="T92" fmla="*/ 80 w 125"/>
                  <a:gd name="T93" fmla="*/ 122 h 125"/>
                  <a:gd name="T94" fmla="*/ 86 w 125"/>
                  <a:gd name="T95" fmla="*/ 120 h 125"/>
                  <a:gd name="T96" fmla="*/ 92 w 125"/>
                  <a:gd name="T97" fmla="*/ 118 h 125"/>
                  <a:gd name="T98" fmla="*/ 98 w 125"/>
                  <a:gd name="T99" fmla="*/ 114 h 125"/>
                  <a:gd name="T100" fmla="*/ 104 w 125"/>
                  <a:gd name="T101" fmla="*/ 109 h 125"/>
                  <a:gd name="T102" fmla="*/ 110 w 125"/>
                  <a:gd name="T103" fmla="*/ 103 h 125"/>
                  <a:gd name="T104" fmla="*/ 115 w 125"/>
                  <a:gd name="T105" fmla="*/ 97 h 125"/>
                  <a:gd name="T106" fmla="*/ 118 w 125"/>
                  <a:gd name="T107" fmla="*/ 91 h 125"/>
                  <a:gd name="T108" fmla="*/ 121 w 125"/>
                  <a:gd name="T109" fmla="*/ 85 h 125"/>
                  <a:gd name="T110" fmla="*/ 123 w 125"/>
                  <a:gd name="T111" fmla="*/ 79 h 125"/>
                  <a:gd name="T112" fmla="*/ 124 w 125"/>
                  <a:gd name="T113" fmla="*/ 73 h 125"/>
                  <a:gd name="T114" fmla="*/ 125 w 125"/>
                  <a:gd name="T115" fmla="*/ 6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5" h="125">
                    <a:moveTo>
                      <a:pt x="125" y="62"/>
                    </a:moveTo>
                    <a:lnTo>
                      <a:pt x="125" y="61"/>
                    </a:lnTo>
                    <a:lnTo>
                      <a:pt x="125" y="60"/>
                    </a:lnTo>
                    <a:lnTo>
                      <a:pt x="125" y="59"/>
                    </a:lnTo>
                    <a:lnTo>
                      <a:pt x="125" y="58"/>
                    </a:lnTo>
                    <a:lnTo>
                      <a:pt x="125" y="57"/>
                    </a:lnTo>
                    <a:lnTo>
                      <a:pt x="125" y="56"/>
                    </a:lnTo>
                    <a:lnTo>
                      <a:pt x="125" y="55"/>
                    </a:lnTo>
                    <a:lnTo>
                      <a:pt x="124" y="54"/>
                    </a:lnTo>
                    <a:lnTo>
                      <a:pt x="124" y="53"/>
                    </a:lnTo>
                    <a:lnTo>
                      <a:pt x="124" y="52"/>
                    </a:lnTo>
                    <a:lnTo>
                      <a:pt x="124" y="51"/>
                    </a:lnTo>
                    <a:lnTo>
                      <a:pt x="124" y="50"/>
                    </a:lnTo>
                    <a:lnTo>
                      <a:pt x="124" y="49"/>
                    </a:lnTo>
                    <a:lnTo>
                      <a:pt x="123" y="48"/>
                    </a:lnTo>
                    <a:lnTo>
                      <a:pt x="123" y="47"/>
                    </a:lnTo>
                    <a:lnTo>
                      <a:pt x="123" y="46"/>
                    </a:lnTo>
                    <a:lnTo>
                      <a:pt x="122" y="45"/>
                    </a:lnTo>
                    <a:lnTo>
                      <a:pt x="122" y="44"/>
                    </a:lnTo>
                    <a:lnTo>
                      <a:pt x="122" y="43"/>
                    </a:lnTo>
                    <a:lnTo>
                      <a:pt x="122" y="42"/>
                    </a:lnTo>
                    <a:lnTo>
                      <a:pt x="121" y="41"/>
                    </a:lnTo>
                    <a:lnTo>
                      <a:pt x="121" y="40"/>
                    </a:lnTo>
                    <a:lnTo>
                      <a:pt x="120" y="39"/>
                    </a:lnTo>
                    <a:lnTo>
                      <a:pt x="120" y="38"/>
                    </a:lnTo>
                    <a:lnTo>
                      <a:pt x="120" y="37"/>
                    </a:lnTo>
                    <a:lnTo>
                      <a:pt x="119" y="36"/>
                    </a:lnTo>
                    <a:lnTo>
                      <a:pt x="119" y="35"/>
                    </a:lnTo>
                    <a:lnTo>
                      <a:pt x="118" y="34"/>
                    </a:lnTo>
                    <a:lnTo>
                      <a:pt x="118" y="33"/>
                    </a:lnTo>
                    <a:lnTo>
                      <a:pt x="117" y="32"/>
                    </a:lnTo>
                    <a:lnTo>
                      <a:pt x="116" y="31"/>
                    </a:lnTo>
                    <a:lnTo>
                      <a:pt x="116" y="30"/>
                    </a:lnTo>
                    <a:lnTo>
                      <a:pt x="115" y="29"/>
                    </a:lnTo>
                    <a:lnTo>
                      <a:pt x="115" y="28"/>
                    </a:lnTo>
                    <a:lnTo>
                      <a:pt x="114" y="27"/>
                    </a:lnTo>
                    <a:lnTo>
                      <a:pt x="113" y="26"/>
                    </a:lnTo>
                    <a:lnTo>
                      <a:pt x="112" y="25"/>
                    </a:lnTo>
                    <a:lnTo>
                      <a:pt x="112" y="24"/>
                    </a:lnTo>
                    <a:lnTo>
                      <a:pt x="111" y="23"/>
                    </a:lnTo>
                    <a:lnTo>
                      <a:pt x="110" y="22"/>
                    </a:lnTo>
                    <a:lnTo>
                      <a:pt x="109" y="21"/>
                    </a:lnTo>
                    <a:lnTo>
                      <a:pt x="108" y="20"/>
                    </a:lnTo>
                    <a:lnTo>
                      <a:pt x="107" y="19"/>
                    </a:lnTo>
                    <a:lnTo>
                      <a:pt x="106" y="18"/>
                    </a:lnTo>
                    <a:lnTo>
                      <a:pt x="105" y="17"/>
                    </a:lnTo>
                    <a:lnTo>
                      <a:pt x="104" y="16"/>
                    </a:lnTo>
                    <a:lnTo>
                      <a:pt x="103" y="15"/>
                    </a:lnTo>
                    <a:lnTo>
                      <a:pt x="102" y="14"/>
                    </a:lnTo>
                    <a:lnTo>
                      <a:pt x="101" y="13"/>
                    </a:lnTo>
                    <a:lnTo>
                      <a:pt x="100" y="13"/>
                    </a:lnTo>
                    <a:lnTo>
                      <a:pt x="99" y="12"/>
                    </a:lnTo>
                    <a:lnTo>
                      <a:pt x="98" y="11"/>
                    </a:lnTo>
                    <a:lnTo>
                      <a:pt x="97" y="10"/>
                    </a:lnTo>
                    <a:lnTo>
                      <a:pt x="96" y="10"/>
                    </a:lnTo>
                    <a:lnTo>
                      <a:pt x="95" y="9"/>
                    </a:lnTo>
                    <a:lnTo>
                      <a:pt x="94" y="9"/>
                    </a:lnTo>
                    <a:lnTo>
                      <a:pt x="93" y="8"/>
                    </a:lnTo>
                    <a:lnTo>
                      <a:pt x="92" y="7"/>
                    </a:lnTo>
                    <a:lnTo>
                      <a:pt x="91" y="7"/>
                    </a:lnTo>
                    <a:lnTo>
                      <a:pt x="90" y="6"/>
                    </a:lnTo>
                    <a:lnTo>
                      <a:pt x="89" y="6"/>
                    </a:lnTo>
                    <a:lnTo>
                      <a:pt x="88" y="5"/>
                    </a:lnTo>
                    <a:lnTo>
                      <a:pt x="87" y="5"/>
                    </a:lnTo>
                    <a:lnTo>
                      <a:pt x="86" y="5"/>
                    </a:lnTo>
                    <a:lnTo>
                      <a:pt x="85" y="4"/>
                    </a:lnTo>
                    <a:lnTo>
                      <a:pt x="84" y="4"/>
                    </a:lnTo>
                    <a:lnTo>
                      <a:pt x="83" y="3"/>
                    </a:lnTo>
                    <a:lnTo>
                      <a:pt x="82" y="3"/>
                    </a:lnTo>
                    <a:lnTo>
                      <a:pt x="81" y="3"/>
                    </a:lnTo>
                    <a:lnTo>
                      <a:pt x="80" y="3"/>
                    </a:lnTo>
                    <a:lnTo>
                      <a:pt x="79" y="2"/>
                    </a:lnTo>
                    <a:lnTo>
                      <a:pt x="78" y="2"/>
                    </a:lnTo>
                    <a:lnTo>
                      <a:pt x="77" y="2"/>
                    </a:lnTo>
                    <a:lnTo>
                      <a:pt x="76" y="1"/>
                    </a:lnTo>
                    <a:lnTo>
                      <a:pt x="75" y="1"/>
                    </a:lnTo>
                    <a:lnTo>
                      <a:pt x="74" y="1"/>
                    </a:lnTo>
                    <a:lnTo>
                      <a:pt x="73" y="1"/>
                    </a:lnTo>
                    <a:lnTo>
                      <a:pt x="72" y="1"/>
                    </a:lnTo>
                    <a:lnTo>
                      <a:pt x="71" y="1"/>
                    </a:lnTo>
                    <a:lnTo>
                      <a:pt x="70" y="0"/>
                    </a:lnTo>
                    <a:lnTo>
                      <a:pt x="69" y="0"/>
                    </a:lnTo>
                    <a:lnTo>
                      <a:pt x="68" y="0"/>
                    </a:lnTo>
                    <a:lnTo>
                      <a:pt x="67" y="0"/>
                    </a:lnTo>
                    <a:lnTo>
                      <a:pt x="66" y="0"/>
                    </a:lnTo>
                    <a:lnTo>
                      <a:pt x="65" y="0"/>
                    </a:lnTo>
                    <a:lnTo>
                      <a:pt x="64" y="0"/>
                    </a:lnTo>
                    <a:lnTo>
                      <a:pt x="63" y="0"/>
                    </a:lnTo>
                    <a:lnTo>
                      <a:pt x="62" y="0"/>
                    </a:lnTo>
                    <a:lnTo>
                      <a:pt x="61" y="0"/>
                    </a:lnTo>
                    <a:lnTo>
                      <a:pt x="60" y="0"/>
                    </a:lnTo>
                    <a:lnTo>
                      <a:pt x="59" y="0"/>
                    </a:lnTo>
                    <a:lnTo>
                      <a:pt x="58" y="0"/>
                    </a:lnTo>
                    <a:lnTo>
                      <a:pt x="57" y="0"/>
                    </a:lnTo>
                    <a:lnTo>
                      <a:pt x="56" y="0"/>
                    </a:lnTo>
                    <a:lnTo>
                      <a:pt x="55" y="0"/>
                    </a:lnTo>
                    <a:lnTo>
                      <a:pt x="54" y="1"/>
                    </a:lnTo>
                    <a:lnTo>
                      <a:pt x="53" y="1"/>
                    </a:lnTo>
                    <a:lnTo>
                      <a:pt x="52" y="1"/>
                    </a:lnTo>
                    <a:lnTo>
                      <a:pt x="51" y="1"/>
                    </a:lnTo>
                    <a:lnTo>
                      <a:pt x="50" y="1"/>
                    </a:lnTo>
                    <a:lnTo>
                      <a:pt x="49" y="1"/>
                    </a:lnTo>
                    <a:lnTo>
                      <a:pt x="48" y="2"/>
                    </a:lnTo>
                    <a:lnTo>
                      <a:pt x="47" y="2"/>
                    </a:lnTo>
                    <a:lnTo>
                      <a:pt x="46" y="2"/>
                    </a:lnTo>
                    <a:lnTo>
                      <a:pt x="45" y="3"/>
                    </a:lnTo>
                    <a:lnTo>
                      <a:pt x="44" y="3"/>
                    </a:lnTo>
                    <a:lnTo>
                      <a:pt x="43" y="3"/>
                    </a:lnTo>
                    <a:lnTo>
                      <a:pt x="42" y="3"/>
                    </a:lnTo>
                    <a:lnTo>
                      <a:pt x="41" y="4"/>
                    </a:lnTo>
                    <a:lnTo>
                      <a:pt x="40" y="4"/>
                    </a:lnTo>
                    <a:lnTo>
                      <a:pt x="39" y="5"/>
                    </a:lnTo>
                    <a:lnTo>
                      <a:pt x="38" y="5"/>
                    </a:lnTo>
                    <a:lnTo>
                      <a:pt x="37" y="5"/>
                    </a:lnTo>
                    <a:lnTo>
                      <a:pt x="36" y="6"/>
                    </a:lnTo>
                    <a:lnTo>
                      <a:pt x="35" y="6"/>
                    </a:lnTo>
                    <a:lnTo>
                      <a:pt x="34" y="7"/>
                    </a:lnTo>
                    <a:lnTo>
                      <a:pt x="33" y="7"/>
                    </a:lnTo>
                    <a:lnTo>
                      <a:pt x="32" y="8"/>
                    </a:lnTo>
                    <a:lnTo>
                      <a:pt x="31" y="9"/>
                    </a:lnTo>
                    <a:lnTo>
                      <a:pt x="30" y="9"/>
                    </a:lnTo>
                    <a:lnTo>
                      <a:pt x="29" y="10"/>
                    </a:lnTo>
                    <a:lnTo>
                      <a:pt x="28" y="10"/>
                    </a:lnTo>
                    <a:lnTo>
                      <a:pt x="27" y="11"/>
                    </a:lnTo>
                    <a:lnTo>
                      <a:pt x="26" y="12"/>
                    </a:lnTo>
                    <a:lnTo>
                      <a:pt x="25" y="13"/>
                    </a:lnTo>
                    <a:lnTo>
                      <a:pt x="24" y="13"/>
                    </a:lnTo>
                    <a:lnTo>
                      <a:pt x="23" y="14"/>
                    </a:lnTo>
                    <a:lnTo>
                      <a:pt x="22" y="15"/>
                    </a:lnTo>
                    <a:lnTo>
                      <a:pt x="21" y="16"/>
                    </a:lnTo>
                    <a:lnTo>
                      <a:pt x="20" y="17"/>
                    </a:lnTo>
                    <a:lnTo>
                      <a:pt x="19" y="18"/>
                    </a:lnTo>
                    <a:lnTo>
                      <a:pt x="18" y="19"/>
                    </a:lnTo>
                    <a:lnTo>
                      <a:pt x="17" y="20"/>
                    </a:lnTo>
                    <a:lnTo>
                      <a:pt x="16" y="21"/>
                    </a:lnTo>
                    <a:lnTo>
                      <a:pt x="15" y="22"/>
                    </a:lnTo>
                    <a:lnTo>
                      <a:pt x="14" y="23"/>
                    </a:lnTo>
                    <a:lnTo>
                      <a:pt x="13" y="24"/>
                    </a:lnTo>
                    <a:lnTo>
                      <a:pt x="13" y="25"/>
                    </a:lnTo>
                    <a:lnTo>
                      <a:pt x="12" y="26"/>
                    </a:lnTo>
                    <a:lnTo>
                      <a:pt x="11" y="27"/>
                    </a:lnTo>
                    <a:lnTo>
                      <a:pt x="10" y="28"/>
                    </a:lnTo>
                    <a:lnTo>
                      <a:pt x="10" y="29"/>
                    </a:lnTo>
                    <a:lnTo>
                      <a:pt x="9" y="30"/>
                    </a:lnTo>
                    <a:lnTo>
                      <a:pt x="9" y="31"/>
                    </a:lnTo>
                    <a:lnTo>
                      <a:pt x="8" y="32"/>
                    </a:lnTo>
                    <a:lnTo>
                      <a:pt x="7" y="33"/>
                    </a:lnTo>
                    <a:lnTo>
                      <a:pt x="7" y="34"/>
                    </a:lnTo>
                    <a:lnTo>
                      <a:pt x="6" y="35"/>
                    </a:lnTo>
                    <a:lnTo>
                      <a:pt x="6" y="36"/>
                    </a:lnTo>
                    <a:lnTo>
                      <a:pt x="5" y="37"/>
                    </a:lnTo>
                    <a:lnTo>
                      <a:pt x="5" y="38"/>
                    </a:lnTo>
                    <a:lnTo>
                      <a:pt x="5" y="39"/>
                    </a:lnTo>
                    <a:lnTo>
                      <a:pt x="4" y="40"/>
                    </a:lnTo>
                    <a:lnTo>
                      <a:pt x="4" y="41"/>
                    </a:lnTo>
                    <a:lnTo>
                      <a:pt x="3" y="42"/>
                    </a:lnTo>
                    <a:lnTo>
                      <a:pt x="3" y="43"/>
                    </a:lnTo>
                    <a:lnTo>
                      <a:pt x="3" y="44"/>
                    </a:lnTo>
                    <a:lnTo>
                      <a:pt x="3" y="45"/>
                    </a:lnTo>
                    <a:lnTo>
                      <a:pt x="2" y="46"/>
                    </a:lnTo>
                    <a:lnTo>
                      <a:pt x="2" y="47"/>
                    </a:lnTo>
                    <a:lnTo>
                      <a:pt x="2" y="48"/>
                    </a:lnTo>
                    <a:lnTo>
                      <a:pt x="1" y="49"/>
                    </a:lnTo>
                    <a:lnTo>
                      <a:pt x="1" y="50"/>
                    </a:lnTo>
                    <a:lnTo>
                      <a:pt x="1" y="51"/>
                    </a:lnTo>
                    <a:lnTo>
                      <a:pt x="1" y="52"/>
                    </a:lnTo>
                    <a:lnTo>
                      <a:pt x="1" y="53"/>
                    </a:lnTo>
                    <a:lnTo>
                      <a:pt x="1" y="54"/>
                    </a:lnTo>
                    <a:lnTo>
                      <a:pt x="0" y="55"/>
                    </a:lnTo>
                    <a:lnTo>
                      <a:pt x="0" y="56"/>
                    </a:lnTo>
                    <a:lnTo>
                      <a:pt x="0" y="57"/>
                    </a:lnTo>
                    <a:lnTo>
                      <a:pt x="0" y="58"/>
                    </a:lnTo>
                    <a:lnTo>
                      <a:pt x="0" y="59"/>
                    </a:lnTo>
                    <a:lnTo>
                      <a:pt x="0" y="60"/>
                    </a:lnTo>
                    <a:lnTo>
                      <a:pt x="0" y="61"/>
                    </a:lnTo>
                    <a:lnTo>
                      <a:pt x="0" y="62"/>
                    </a:lnTo>
                    <a:lnTo>
                      <a:pt x="0" y="63"/>
                    </a:lnTo>
                    <a:lnTo>
                      <a:pt x="0" y="64"/>
                    </a:lnTo>
                    <a:lnTo>
                      <a:pt x="0" y="65"/>
                    </a:lnTo>
                    <a:lnTo>
                      <a:pt x="0" y="66"/>
                    </a:lnTo>
                    <a:lnTo>
                      <a:pt x="0" y="67"/>
                    </a:lnTo>
                    <a:lnTo>
                      <a:pt x="0" y="68"/>
                    </a:lnTo>
                    <a:lnTo>
                      <a:pt x="0" y="69"/>
                    </a:lnTo>
                    <a:lnTo>
                      <a:pt x="0" y="70"/>
                    </a:lnTo>
                    <a:lnTo>
                      <a:pt x="1" y="71"/>
                    </a:lnTo>
                    <a:lnTo>
                      <a:pt x="1" y="72"/>
                    </a:lnTo>
                    <a:lnTo>
                      <a:pt x="1" y="73"/>
                    </a:lnTo>
                    <a:lnTo>
                      <a:pt x="1" y="74"/>
                    </a:lnTo>
                    <a:lnTo>
                      <a:pt x="1" y="75"/>
                    </a:lnTo>
                    <a:lnTo>
                      <a:pt x="1" y="76"/>
                    </a:lnTo>
                    <a:lnTo>
                      <a:pt x="2" y="77"/>
                    </a:lnTo>
                    <a:lnTo>
                      <a:pt x="2" y="78"/>
                    </a:lnTo>
                    <a:lnTo>
                      <a:pt x="2" y="79"/>
                    </a:lnTo>
                    <a:lnTo>
                      <a:pt x="3" y="80"/>
                    </a:lnTo>
                    <a:lnTo>
                      <a:pt x="3" y="81"/>
                    </a:lnTo>
                    <a:lnTo>
                      <a:pt x="3" y="82"/>
                    </a:lnTo>
                    <a:lnTo>
                      <a:pt x="3" y="83"/>
                    </a:lnTo>
                    <a:lnTo>
                      <a:pt x="4" y="84"/>
                    </a:lnTo>
                    <a:lnTo>
                      <a:pt x="4" y="85"/>
                    </a:lnTo>
                    <a:lnTo>
                      <a:pt x="5" y="86"/>
                    </a:lnTo>
                    <a:lnTo>
                      <a:pt x="5" y="87"/>
                    </a:lnTo>
                    <a:lnTo>
                      <a:pt x="5" y="88"/>
                    </a:lnTo>
                    <a:lnTo>
                      <a:pt x="6" y="89"/>
                    </a:lnTo>
                    <a:lnTo>
                      <a:pt x="6" y="90"/>
                    </a:lnTo>
                    <a:lnTo>
                      <a:pt x="7" y="91"/>
                    </a:lnTo>
                    <a:lnTo>
                      <a:pt x="7" y="92"/>
                    </a:lnTo>
                    <a:lnTo>
                      <a:pt x="8" y="93"/>
                    </a:lnTo>
                    <a:lnTo>
                      <a:pt x="9" y="94"/>
                    </a:lnTo>
                    <a:lnTo>
                      <a:pt x="9" y="95"/>
                    </a:lnTo>
                    <a:lnTo>
                      <a:pt x="10" y="96"/>
                    </a:lnTo>
                    <a:lnTo>
                      <a:pt x="10" y="97"/>
                    </a:lnTo>
                    <a:lnTo>
                      <a:pt x="11" y="98"/>
                    </a:lnTo>
                    <a:lnTo>
                      <a:pt x="12" y="99"/>
                    </a:lnTo>
                    <a:lnTo>
                      <a:pt x="13" y="100"/>
                    </a:lnTo>
                    <a:lnTo>
                      <a:pt x="13" y="101"/>
                    </a:lnTo>
                    <a:lnTo>
                      <a:pt x="14" y="102"/>
                    </a:lnTo>
                    <a:lnTo>
                      <a:pt x="15" y="103"/>
                    </a:lnTo>
                    <a:lnTo>
                      <a:pt x="16" y="104"/>
                    </a:lnTo>
                    <a:lnTo>
                      <a:pt x="17" y="105"/>
                    </a:lnTo>
                    <a:lnTo>
                      <a:pt x="18" y="106"/>
                    </a:lnTo>
                    <a:lnTo>
                      <a:pt x="19" y="107"/>
                    </a:lnTo>
                    <a:lnTo>
                      <a:pt x="20" y="108"/>
                    </a:lnTo>
                    <a:lnTo>
                      <a:pt x="21" y="109"/>
                    </a:lnTo>
                    <a:lnTo>
                      <a:pt x="22" y="110"/>
                    </a:lnTo>
                    <a:lnTo>
                      <a:pt x="23" y="111"/>
                    </a:lnTo>
                    <a:lnTo>
                      <a:pt x="24" y="112"/>
                    </a:lnTo>
                    <a:lnTo>
                      <a:pt x="25" y="112"/>
                    </a:lnTo>
                    <a:lnTo>
                      <a:pt x="26" y="113"/>
                    </a:lnTo>
                    <a:lnTo>
                      <a:pt x="27" y="114"/>
                    </a:lnTo>
                    <a:lnTo>
                      <a:pt x="28" y="115"/>
                    </a:lnTo>
                    <a:lnTo>
                      <a:pt x="29" y="115"/>
                    </a:lnTo>
                    <a:lnTo>
                      <a:pt x="30" y="116"/>
                    </a:lnTo>
                    <a:lnTo>
                      <a:pt x="31" y="116"/>
                    </a:lnTo>
                    <a:lnTo>
                      <a:pt x="32" y="117"/>
                    </a:lnTo>
                    <a:lnTo>
                      <a:pt x="33" y="118"/>
                    </a:lnTo>
                    <a:lnTo>
                      <a:pt x="34" y="118"/>
                    </a:lnTo>
                    <a:lnTo>
                      <a:pt x="35" y="119"/>
                    </a:lnTo>
                    <a:lnTo>
                      <a:pt x="36" y="119"/>
                    </a:lnTo>
                    <a:lnTo>
                      <a:pt x="37" y="120"/>
                    </a:lnTo>
                    <a:lnTo>
                      <a:pt x="38" y="120"/>
                    </a:lnTo>
                    <a:lnTo>
                      <a:pt x="39" y="120"/>
                    </a:lnTo>
                    <a:lnTo>
                      <a:pt x="40" y="121"/>
                    </a:lnTo>
                    <a:lnTo>
                      <a:pt x="41" y="121"/>
                    </a:lnTo>
                    <a:lnTo>
                      <a:pt x="42" y="122"/>
                    </a:lnTo>
                    <a:lnTo>
                      <a:pt x="43" y="122"/>
                    </a:lnTo>
                    <a:lnTo>
                      <a:pt x="44" y="122"/>
                    </a:lnTo>
                    <a:lnTo>
                      <a:pt x="45" y="122"/>
                    </a:lnTo>
                    <a:lnTo>
                      <a:pt x="46" y="123"/>
                    </a:lnTo>
                    <a:lnTo>
                      <a:pt x="47" y="123"/>
                    </a:lnTo>
                    <a:lnTo>
                      <a:pt x="48" y="123"/>
                    </a:lnTo>
                    <a:lnTo>
                      <a:pt x="49" y="124"/>
                    </a:lnTo>
                    <a:lnTo>
                      <a:pt x="50" y="124"/>
                    </a:lnTo>
                    <a:lnTo>
                      <a:pt x="51" y="124"/>
                    </a:lnTo>
                    <a:lnTo>
                      <a:pt x="52" y="124"/>
                    </a:lnTo>
                    <a:lnTo>
                      <a:pt x="53" y="124"/>
                    </a:lnTo>
                    <a:lnTo>
                      <a:pt x="54" y="124"/>
                    </a:lnTo>
                    <a:lnTo>
                      <a:pt x="55" y="125"/>
                    </a:lnTo>
                    <a:lnTo>
                      <a:pt x="56" y="125"/>
                    </a:lnTo>
                    <a:lnTo>
                      <a:pt x="57" y="125"/>
                    </a:lnTo>
                    <a:lnTo>
                      <a:pt x="58" y="125"/>
                    </a:lnTo>
                    <a:lnTo>
                      <a:pt x="59" y="125"/>
                    </a:lnTo>
                    <a:lnTo>
                      <a:pt x="60" y="125"/>
                    </a:lnTo>
                    <a:lnTo>
                      <a:pt x="61" y="125"/>
                    </a:lnTo>
                    <a:lnTo>
                      <a:pt x="62" y="125"/>
                    </a:lnTo>
                    <a:lnTo>
                      <a:pt x="63" y="125"/>
                    </a:lnTo>
                    <a:lnTo>
                      <a:pt x="64" y="125"/>
                    </a:lnTo>
                    <a:lnTo>
                      <a:pt x="65" y="125"/>
                    </a:lnTo>
                    <a:lnTo>
                      <a:pt x="66" y="125"/>
                    </a:lnTo>
                    <a:lnTo>
                      <a:pt x="67" y="125"/>
                    </a:lnTo>
                    <a:lnTo>
                      <a:pt x="68" y="125"/>
                    </a:lnTo>
                    <a:lnTo>
                      <a:pt x="69" y="125"/>
                    </a:lnTo>
                    <a:lnTo>
                      <a:pt x="70" y="125"/>
                    </a:lnTo>
                    <a:lnTo>
                      <a:pt x="71" y="124"/>
                    </a:lnTo>
                    <a:lnTo>
                      <a:pt x="72" y="124"/>
                    </a:lnTo>
                    <a:lnTo>
                      <a:pt x="73" y="124"/>
                    </a:lnTo>
                    <a:lnTo>
                      <a:pt x="74" y="124"/>
                    </a:lnTo>
                    <a:lnTo>
                      <a:pt x="75" y="124"/>
                    </a:lnTo>
                    <a:lnTo>
                      <a:pt x="76" y="124"/>
                    </a:lnTo>
                    <a:lnTo>
                      <a:pt x="77" y="123"/>
                    </a:lnTo>
                    <a:lnTo>
                      <a:pt x="78" y="123"/>
                    </a:lnTo>
                    <a:lnTo>
                      <a:pt x="79" y="123"/>
                    </a:lnTo>
                    <a:lnTo>
                      <a:pt x="80" y="122"/>
                    </a:lnTo>
                    <a:lnTo>
                      <a:pt x="81" y="122"/>
                    </a:lnTo>
                    <a:lnTo>
                      <a:pt x="82" y="122"/>
                    </a:lnTo>
                    <a:lnTo>
                      <a:pt x="83" y="122"/>
                    </a:lnTo>
                    <a:lnTo>
                      <a:pt x="84" y="121"/>
                    </a:lnTo>
                    <a:lnTo>
                      <a:pt x="85" y="121"/>
                    </a:lnTo>
                    <a:lnTo>
                      <a:pt x="86" y="120"/>
                    </a:lnTo>
                    <a:lnTo>
                      <a:pt x="87" y="120"/>
                    </a:lnTo>
                    <a:lnTo>
                      <a:pt x="88" y="120"/>
                    </a:lnTo>
                    <a:lnTo>
                      <a:pt x="89" y="119"/>
                    </a:lnTo>
                    <a:lnTo>
                      <a:pt x="90" y="119"/>
                    </a:lnTo>
                    <a:lnTo>
                      <a:pt x="91" y="118"/>
                    </a:lnTo>
                    <a:lnTo>
                      <a:pt x="92" y="118"/>
                    </a:lnTo>
                    <a:lnTo>
                      <a:pt x="93" y="117"/>
                    </a:lnTo>
                    <a:lnTo>
                      <a:pt x="94" y="116"/>
                    </a:lnTo>
                    <a:lnTo>
                      <a:pt x="95" y="116"/>
                    </a:lnTo>
                    <a:lnTo>
                      <a:pt x="96" y="115"/>
                    </a:lnTo>
                    <a:lnTo>
                      <a:pt x="97" y="115"/>
                    </a:lnTo>
                    <a:lnTo>
                      <a:pt x="98" y="114"/>
                    </a:lnTo>
                    <a:lnTo>
                      <a:pt x="99" y="113"/>
                    </a:lnTo>
                    <a:lnTo>
                      <a:pt x="100" y="112"/>
                    </a:lnTo>
                    <a:lnTo>
                      <a:pt x="101" y="112"/>
                    </a:lnTo>
                    <a:lnTo>
                      <a:pt x="102" y="111"/>
                    </a:lnTo>
                    <a:lnTo>
                      <a:pt x="103" y="110"/>
                    </a:lnTo>
                    <a:lnTo>
                      <a:pt x="104" y="109"/>
                    </a:lnTo>
                    <a:lnTo>
                      <a:pt x="105" y="108"/>
                    </a:lnTo>
                    <a:lnTo>
                      <a:pt x="106" y="107"/>
                    </a:lnTo>
                    <a:lnTo>
                      <a:pt x="107" y="106"/>
                    </a:lnTo>
                    <a:lnTo>
                      <a:pt x="108" y="105"/>
                    </a:lnTo>
                    <a:lnTo>
                      <a:pt x="109" y="104"/>
                    </a:lnTo>
                    <a:lnTo>
                      <a:pt x="110" y="103"/>
                    </a:lnTo>
                    <a:lnTo>
                      <a:pt x="111" y="102"/>
                    </a:lnTo>
                    <a:lnTo>
                      <a:pt x="112" y="101"/>
                    </a:lnTo>
                    <a:lnTo>
                      <a:pt x="112" y="100"/>
                    </a:lnTo>
                    <a:lnTo>
                      <a:pt x="113" y="99"/>
                    </a:lnTo>
                    <a:lnTo>
                      <a:pt x="114" y="98"/>
                    </a:lnTo>
                    <a:lnTo>
                      <a:pt x="115" y="97"/>
                    </a:lnTo>
                    <a:lnTo>
                      <a:pt x="115" y="96"/>
                    </a:lnTo>
                    <a:lnTo>
                      <a:pt x="116" y="95"/>
                    </a:lnTo>
                    <a:lnTo>
                      <a:pt x="116" y="94"/>
                    </a:lnTo>
                    <a:lnTo>
                      <a:pt x="117" y="93"/>
                    </a:lnTo>
                    <a:lnTo>
                      <a:pt x="118" y="92"/>
                    </a:lnTo>
                    <a:lnTo>
                      <a:pt x="118" y="91"/>
                    </a:lnTo>
                    <a:lnTo>
                      <a:pt x="119" y="90"/>
                    </a:lnTo>
                    <a:lnTo>
                      <a:pt x="119" y="89"/>
                    </a:lnTo>
                    <a:lnTo>
                      <a:pt x="120" y="88"/>
                    </a:lnTo>
                    <a:lnTo>
                      <a:pt x="120" y="87"/>
                    </a:lnTo>
                    <a:lnTo>
                      <a:pt x="120" y="86"/>
                    </a:lnTo>
                    <a:lnTo>
                      <a:pt x="121" y="85"/>
                    </a:lnTo>
                    <a:lnTo>
                      <a:pt x="121" y="84"/>
                    </a:lnTo>
                    <a:lnTo>
                      <a:pt x="122" y="83"/>
                    </a:lnTo>
                    <a:lnTo>
                      <a:pt x="122" y="82"/>
                    </a:lnTo>
                    <a:lnTo>
                      <a:pt x="122" y="81"/>
                    </a:lnTo>
                    <a:lnTo>
                      <a:pt x="122" y="80"/>
                    </a:lnTo>
                    <a:lnTo>
                      <a:pt x="123" y="79"/>
                    </a:lnTo>
                    <a:lnTo>
                      <a:pt x="123" y="78"/>
                    </a:lnTo>
                    <a:lnTo>
                      <a:pt x="123" y="77"/>
                    </a:lnTo>
                    <a:lnTo>
                      <a:pt x="124" y="76"/>
                    </a:lnTo>
                    <a:lnTo>
                      <a:pt x="124" y="75"/>
                    </a:lnTo>
                    <a:lnTo>
                      <a:pt x="124" y="74"/>
                    </a:lnTo>
                    <a:lnTo>
                      <a:pt x="124" y="73"/>
                    </a:lnTo>
                    <a:lnTo>
                      <a:pt x="124" y="72"/>
                    </a:lnTo>
                    <a:lnTo>
                      <a:pt x="124" y="71"/>
                    </a:lnTo>
                    <a:lnTo>
                      <a:pt x="125" y="70"/>
                    </a:lnTo>
                    <a:lnTo>
                      <a:pt x="125" y="69"/>
                    </a:lnTo>
                    <a:lnTo>
                      <a:pt x="125" y="68"/>
                    </a:lnTo>
                    <a:lnTo>
                      <a:pt x="125" y="67"/>
                    </a:lnTo>
                    <a:lnTo>
                      <a:pt x="125" y="66"/>
                    </a:lnTo>
                    <a:lnTo>
                      <a:pt x="125" y="65"/>
                    </a:lnTo>
                    <a:lnTo>
                      <a:pt x="125" y="64"/>
                    </a:lnTo>
                    <a:lnTo>
                      <a:pt x="125" y="63"/>
                    </a:lnTo>
                    <a:lnTo>
                      <a:pt x="125" y="62"/>
                    </a:lnTo>
                    <a:close/>
                  </a:path>
                </a:pathLst>
              </a:custGeom>
              <a:solidFill>
                <a:srgbClr val="0073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138"/>
              </a:p>
            </p:txBody>
          </p:sp>
          <p:sp>
            <p:nvSpPr>
              <p:cNvPr id="86" name="Freeform 84"/>
              <p:cNvSpPr>
                <a:spLocks/>
              </p:cNvSpPr>
              <p:nvPr/>
            </p:nvSpPr>
            <p:spPr bwMode="auto">
              <a:xfrm>
                <a:off x="4158" y="1159"/>
                <a:ext cx="198" cy="198"/>
              </a:xfrm>
              <a:custGeom>
                <a:avLst/>
                <a:gdLst>
                  <a:gd name="T0" fmla="*/ 125 w 125"/>
                  <a:gd name="T1" fmla="*/ 57 h 125"/>
                  <a:gd name="T2" fmla="*/ 124 w 125"/>
                  <a:gd name="T3" fmla="*/ 51 h 125"/>
                  <a:gd name="T4" fmla="*/ 122 w 125"/>
                  <a:gd name="T5" fmla="*/ 45 h 125"/>
                  <a:gd name="T6" fmla="*/ 120 w 125"/>
                  <a:gd name="T7" fmla="*/ 39 h 125"/>
                  <a:gd name="T8" fmla="*/ 118 w 125"/>
                  <a:gd name="T9" fmla="*/ 33 h 125"/>
                  <a:gd name="T10" fmla="*/ 114 w 125"/>
                  <a:gd name="T11" fmla="*/ 27 h 125"/>
                  <a:gd name="T12" fmla="*/ 109 w 125"/>
                  <a:gd name="T13" fmla="*/ 21 h 125"/>
                  <a:gd name="T14" fmla="*/ 103 w 125"/>
                  <a:gd name="T15" fmla="*/ 15 h 125"/>
                  <a:gd name="T16" fmla="*/ 97 w 125"/>
                  <a:gd name="T17" fmla="*/ 10 h 125"/>
                  <a:gd name="T18" fmla="*/ 91 w 125"/>
                  <a:gd name="T19" fmla="*/ 7 h 125"/>
                  <a:gd name="T20" fmla="*/ 85 w 125"/>
                  <a:gd name="T21" fmla="*/ 4 h 125"/>
                  <a:gd name="T22" fmla="*/ 79 w 125"/>
                  <a:gd name="T23" fmla="*/ 2 h 125"/>
                  <a:gd name="T24" fmla="*/ 73 w 125"/>
                  <a:gd name="T25" fmla="*/ 1 h 125"/>
                  <a:gd name="T26" fmla="*/ 67 w 125"/>
                  <a:gd name="T27" fmla="*/ 0 h 125"/>
                  <a:gd name="T28" fmla="*/ 61 w 125"/>
                  <a:gd name="T29" fmla="*/ 0 h 125"/>
                  <a:gd name="T30" fmla="*/ 55 w 125"/>
                  <a:gd name="T31" fmla="*/ 0 h 125"/>
                  <a:gd name="T32" fmla="*/ 49 w 125"/>
                  <a:gd name="T33" fmla="*/ 1 h 125"/>
                  <a:gd name="T34" fmla="*/ 43 w 125"/>
                  <a:gd name="T35" fmla="*/ 3 h 125"/>
                  <a:gd name="T36" fmla="*/ 37 w 125"/>
                  <a:gd name="T37" fmla="*/ 5 h 125"/>
                  <a:gd name="T38" fmla="*/ 31 w 125"/>
                  <a:gd name="T39" fmla="*/ 9 h 125"/>
                  <a:gd name="T40" fmla="*/ 25 w 125"/>
                  <a:gd name="T41" fmla="*/ 13 h 125"/>
                  <a:gd name="T42" fmla="*/ 19 w 125"/>
                  <a:gd name="T43" fmla="*/ 18 h 125"/>
                  <a:gd name="T44" fmla="*/ 13 w 125"/>
                  <a:gd name="T45" fmla="*/ 24 h 125"/>
                  <a:gd name="T46" fmla="*/ 9 w 125"/>
                  <a:gd name="T47" fmla="*/ 30 h 125"/>
                  <a:gd name="T48" fmla="*/ 6 w 125"/>
                  <a:gd name="T49" fmla="*/ 36 h 125"/>
                  <a:gd name="T50" fmla="*/ 3 w 125"/>
                  <a:gd name="T51" fmla="*/ 42 h 125"/>
                  <a:gd name="T52" fmla="*/ 2 w 125"/>
                  <a:gd name="T53" fmla="*/ 48 h 125"/>
                  <a:gd name="T54" fmla="*/ 1 w 125"/>
                  <a:gd name="T55" fmla="*/ 54 h 125"/>
                  <a:gd name="T56" fmla="*/ 0 w 125"/>
                  <a:gd name="T57" fmla="*/ 60 h 125"/>
                  <a:gd name="T58" fmla="*/ 0 w 125"/>
                  <a:gd name="T59" fmla="*/ 66 h 125"/>
                  <a:gd name="T60" fmla="*/ 1 w 125"/>
                  <a:gd name="T61" fmla="*/ 72 h 125"/>
                  <a:gd name="T62" fmla="*/ 2 w 125"/>
                  <a:gd name="T63" fmla="*/ 78 h 125"/>
                  <a:gd name="T64" fmla="*/ 4 w 125"/>
                  <a:gd name="T65" fmla="*/ 84 h 125"/>
                  <a:gd name="T66" fmla="*/ 6 w 125"/>
                  <a:gd name="T67" fmla="*/ 90 h 125"/>
                  <a:gd name="T68" fmla="*/ 10 w 125"/>
                  <a:gd name="T69" fmla="*/ 96 h 125"/>
                  <a:gd name="T70" fmla="*/ 14 w 125"/>
                  <a:gd name="T71" fmla="*/ 102 h 125"/>
                  <a:gd name="T72" fmla="*/ 20 w 125"/>
                  <a:gd name="T73" fmla="*/ 108 h 125"/>
                  <a:gd name="T74" fmla="*/ 26 w 125"/>
                  <a:gd name="T75" fmla="*/ 113 h 125"/>
                  <a:gd name="T76" fmla="*/ 32 w 125"/>
                  <a:gd name="T77" fmla="*/ 117 h 125"/>
                  <a:gd name="T78" fmla="*/ 38 w 125"/>
                  <a:gd name="T79" fmla="*/ 120 h 125"/>
                  <a:gd name="T80" fmla="*/ 44 w 125"/>
                  <a:gd name="T81" fmla="*/ 122 h 125"/>
                  <a:gd name="T82" fmla="*/ 50 w 125"/>
                  <a:gd name="T83" fmla="*/ 124 h 125"/>
                  <a:gd name="T84" fmla="*/ 56 w 125"/>
                  <a:gd name="T85" fmla="*/ 125 h 125"/>
                  <a:gd name="T86" fmla="*/ 62 w 125"/>
                  <a:gd name="T87" fmla="*/ 125 h 125"/>
                  <a:gd name="T88" fmla="*/ 68 w 125"/>
                  <a:gd name="T89" fmla="*/ 125 h 125"/>
                  <a:gd name="T90" fmla="*/ 74 w 125"/>
                  <a:gd name="T91" fmla="*/ 124 h 125"/>
                  <a:gd name="T92" fmla="*/ 80 w 125"/>
                  <a:gd name="T93" fmla="*/ 122 h 125"/>
                  <a:gd name="T94" fmla="*/ 86 w 125"/>
                  <a:gd name="T95" fmla="*/ 120 h 125"/>
                  <a:gd name="T96" fmla="*/ 92 w 125"/>
                  <a:gd name="T97" fmla="*/ 118 h 125"/>
                  <a:gd name="T98" fmla="*/ 98 w 125"/>
                  <a:gd name="T99" fmla="*/ 114 h 125"/>
                  <a:gd name="T100" fmla="*/ 104 w 125"/>
                  <a:gd name="T101" fmla="*/ 109 h 125"/>
                  <a:gd name="T102" fmla="*/ 110 w 125"/>
                  <a:gd name="T103" fmla="*/ 103 h 125"/>
                  <a:gd name="T104" fmla="*/ 115 w 125"/>
                  <a:gd name="T105" fmla="*/ 97 h 125"/>
                  <a:gd name="T106" fmla="*/ 118 w 125"/>
                  <a:gd name="T107" fmla="*/ 91 h 125"/>
                  <a:gd name="T108" fmla="*/ 121 w 125"/>
                  <a:gd name="T109" fmla="*/ 85 h 125"/>
                  <a:gd name="T110" fmla="*/ 123 w 125"/>
                  <a:gd name="T111" fmla="*/ 79 h 125"/>
                  <a:gd name="T112" fmla="*/ 124 w 125"/>
                  <a:gd name="T113" fmla="*/ 73 h 125"/>
                  <a:gd name="T114" fmla="*/ 125 w 125"/>
                  <a:gd name="T115" fmla="*/ 6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5" h="125">
                    <a:moveTo>
                      <a:pt x="125" y="62"/>
                    </a:moveTo>
                    <a:lnTo>
                      <a:pt x="125" y="61"/>
                    </a:lnTo>
                    <a:lnTo>
                      <a:pt x="125" y="60"/>
                    </a:lnTo>
                    <a:lnTo>
                      <a:pt x="125" y="59"/>
                    </a:lnTo>
                    <a:lnTo>
                      <a:pt x="125" y="58"/>
                    </a:lnTo>
                    <a:lnTo>
                      <a:pt x="125" y="57"/>
                    </a:lnTo>
                    <a:lnTo>
                      <a:pt x="125" y="56"/>
                    </a:lnTo>
                    <a:lnTo>
                      <a:pt x="125" y="55"/>
                    </a:lnTo>
                    <a:lnTo>
                      <a:pt x="124" y="54"/>
                    </a:lnTo>
                    <a:lnTo>
                      <a:pt x="124" y="53"/>
                    </a:lnTo>
                    <a:lnTo>
                      <a:pt x="124" y="52"/>
                    </a:lnTo>
                    <a:lnTo>
                      <a:pt x="124" y="51"/>
                    </a:lnTo>
                    <a:lnTo>
                      <a:pt x="124" y="50"/>
                    </a:lnTo>
                    <a:lnTo>
                      <a:pt x="124" y="49"/>
                    </a:lnTo>
                    <a:lnTo>
                      <a:pt x="123" y="48"/>
                    </a:lnTo>
                    <a:lnTo>
                      <a:pt x="123" y="47"/>
                    </a:lnTo>
                    <a:lnTo>
                      <a:pt x="123" y="46"/>
                    </a:lnTo>
                    <a:lnTo>
                      <a:pt x="122" y="45"/>
                    </a:lnTo>
                    <a:lnTo>
                      <a:pt x="122" y="44"/>
                    </a:lnTo>
                    <a:lnTo>
                      <a:pt x="122" y="43"/>
                    </a:lnTo>
                    <a:lnTo>
                      <a:pt x="122" y="42"/>
                    </a:lnTo>
                    <a:lnTo>
                      <a:pt x="121" y="41"/>
                    </a:lnTo>
                    <a:lnTo>
                      <a:pt x="121" y="40"/>
                    </a:lnTo>
                    <a:lnTo>
                      <a:pt x="120" y="39"/>
                    </a:lnTo>
                    <a:lnTo>
                      <a:pt x="120" y="38"/>
                    </a:lnTo>
                    <a:lnTo>
                      <a:pt x="120" y="37"/>
                    </a:lnTo>
                    <a:lnTo>
                      <a:pt x="119" y="36"/>
                    </a:lnTo>
                    <a:lnTo>
                      <a:pt x="119" y="35"/>
                    </a:lnTo>
                    <a:lnTo>
                      <a:pt x="118" y="34"/>
                    </a:lnTo>
                    <a:lnTo>
                      <a:pt x="118" y="33"/>
                    </a:lnTo>
                    <a:lnTo>
                      <a:pt x="117" y="32"/>
                    </a:lnTo>
                    <a:lnTo>
                      <a:pt x="116" y="31"/>
                    </a:lnTo>
                    <a:lnTo>
                      <a:pt x="116" y="30"/>
                    </a:lnTo>
                    <a:lnTo>
                      <a:pt x="115" y="29"/>
                    </a:lnTo>
                    <a:lnTo>
                      <a:pt x="115" y="28"/>
                    </a:lnTo>
                    <a:lnTo>
                      <a:pt x="114" y="27"/>
                    </a:lnTo>
                    <a:lnTo>
                      <a:pt x="113" y="26"/>
                    </a:lnTo>
                    <a:lnTo>
                      <a:pt x="112" y="25"/>
                    </a:lnTo>
                    <a:lnTo>
                      <a:pt x="112" y="24"/>
                    </a:lnTo>
                    <a:lnTo>
                      <a:pt x="111" y="23"/>
                    </a:lnTo>
                    <a:lnTo>
                      <a:pt x="110" y="22"/>
                    </a:lnTo>
                    <a:lnTo>
                      <a:pt x="109" y="21"/>
                    </a:lnTo>
                    <a:lnTo>
                      <a:pt x="108" y="20"/>
                    </a:lnTo>
                    <a:lnTo>
                      <a:pt x="107" y="19"/>
                    </a:lnTo>
                    <a:lnTo>
                      <a:pt x="106" y="18"/>
                    </a:lnTo>
                    <a:lnTo>
                      <a:pt x="105" y="17"/>
                    </a:lnTo>
                    <a:lnTo>
                      <a:pt x="104" y="16"/>
                    </a:lnTo>
                    <a:lnTo>
                      <a:pt x="103" y="15"/>
                    </a:lnTo>
                    <a:lnTo>
                      <a:pt x="102" y="14"/>
                    </a:lnTo>
                    <a:lnTo>
                      <a:pt x="101" y="13"/>
                    </a:lnTo>
                    <a:lnTo>
                      <a:pt x="100" y="13"/>
                    </a:lnTo>
                    <a:lnTo>
                      <a:pt x="99" y="12"/>
                    </a:lnTo>
                    <a:lnTo>
                      <a:pt x="98" y="11"/>
                    </a:lnTo>
                    <a:lnTo>
                      <a:pt x="97" y="10"/>
                    </a:lnTo>
                    <a:lnTo>
                      <a:pt x="96" y="10"/>
                    </a:lnTo>
                    <a:lnTo>
                      <a:pt x="95" y="9"/>
                    </a:lnTo>
                    <a:lnTo>
                      <a:pt x="94" y="9"/>
                    </a:lnTo>
                    <a:lnTo>
                      <a:pt x="93" y="8"/>
                    </a:lnTo>
                    <a:lnTo>
                      <a:pt x="92" y="7"/>
                    </a:lnTo>
                    <a:lnTo>
                      <a:pt x="91" y="7"/>
                    </a:lnTo>
                    <a:lnTo>
                      <a:pt x="90" y="6"/>
                    </a:lnTo>
                    <a:lnTo>
                      <a:pt x="89" y="6"/>
                    </a:lnTo>
                    <a:lnTo>
                      <a:pt x="88" y="5"/>
                    </a:lnTo>
                    <a:lnTo>
                      <a:pt x="87" y="5"/>
                    </a:lnTo>
                    <a:lnTo>
                      <a:pt x="86" y="5"/>
                    </a:lnTo>
                    <a:lnTo>
                      <a:pt x="85" y="4"/>
                    </a:lnTo>
                    <a:lnTo>
                      <a:pt x="84" y="4"/>
                    </a:lnTo>
                    <a:lnTo>
                      <a:pt x="83" y="3"/>
                    </a:lnTo>
                    <a:lnTo>
                      <a:pt x="82" y="3"/>
                    </a:lnTo>
                    <a:lnTo>
                      <a:pt x="81" y="3"/>
                    </a:lnTo>
                    <a:lnTo>
                      <a:pt x="80" y="3"/>
                    </a:lnTo>
                    <a:lnTo>
                      <a:pt x="79" y="2"/>
                    </a:lnTo>
                    <a:lnTo>
                      <a:pt x="78" y="2"/>
                    </a:lnTo>
                    <a:lnTo>
                      <a:pt x="77" y="2"/>
                    </a:lnTo>
                    <a:lnTo>
                      <a:pt x="76" y="1"/>
                    </a:lnTo>
                    <a:lnTo>
                      <a:pt x="75" y="1"/>
                    </a:lnTo>
                    <a:lnTo>
                      <a:pt x="74" y="1"/>
                    </a:lnTo>
                    <a:lnTo>
                      <a:pt x="73" y="1"/>
                    </a:lnTo>
                    <a:lnTo>
                      <a:pt x="72" y="1"/>
                    </a:lnTo>
                    <a:lnTo>
                      <a:pt x="71" y="1"/>
                    </a:lnTo>
                    <a:lnTo>
                      <a:pt x="70" y="0"/>
                    </a:lnTo>
                    <a:lnTo>
                      <a:pt x="69" y="0"/>
                    </a:lnTo>
                    <a:lnTo>
                      <a:pt x="68" y="0"/>
                    </a:lnTo>
                    <a:lnTo>
                      <a:pt x="67" y="0"/>
                    </a:lnTo>
                    <a:lnTo>
                      <a:pt x="66" y="0"/>
                    </a:lnTo>
                    <a:lnTo>
                      <a:pt x="65" y="0"/>
                    </a:lnTo>
                    <a:lnTo>
                      <a:pt x="64" y="0"/>
                    </a:lnTo>
                    <a:lnTo>
                      <a:pt x="63" y="0"/>
                    </a:lnTo>
                    <a:lnTo>
                      <a:pt x="62" y="0"/>
                    </a:lnTo>
                    <a:lnTo>
                      <a:pt x="61" y="0"/>
                    </a:lnTo>
                    <a:lnTo>
                      <a:pt x="60" y="0"/>
                    </a:lnTo>
                    <a:lnTo>
                      <a:pt x="59" y="0"/>
                    </a:lnTo>
                    <a:lnTo>
                      <a:pt x="58" y="0"/>
                    </a:lnTo>
                    <a:lnTo>
                      <a:pt x="57" y="0"/>
                    </a:lnTo>
                    <a:lnTo>
                      <a:pt x="56" y="0"/>
                    </a:lnTo>
                    <a:lnTo>
                      <a:pt x="55" y="0"/>
                    </a:lnTo>
                    <a:lnTo>
                      <a:pt x="54" y="1"/>
                    </a:lnTo>
                    <a:lnTo>
                      <a:pt x="53" y="1"/>
                    </a:lnTo>
                    <a:lnTo>
                      <a:pt x="52" y="1"/>
                    </a:lnTo>
                    <a:lnTo>
                      <a:pt x="51" y="1"/>
                    </a:lnTo>
                    <a:lnTo>
                      <a:pt x="50" y="1"/>
                    </a:lnTo>
                    <a:lnTo>
                      <a:pt x="49" y="1"/>
                    </a:lnTo>
                    <a:lnTo>
                      <a:pt x="48" y="2"/>
                    </a:lnTo>
                    <a:lnTo>
                      <a:pt x="47" y="2"/>
                    </a:lnTo>
                    <a:lnTo>
                      <a:pt x="46" y="2"/>
                    </a:lnTo>
                    <a:lnTo>
                      <a:pt x="45" y="3"/>
                    </a:lnTo>
                    <a:lnTo>
                      <a:pt x="44" y="3"/>
                    </a:lnTo>
                    <a:lnTo>
                      <a:pt x="43" y="3"/>
                    </a:lnTo>
                    <a:lnTo>
                      <a:pt x="42" y="3"/>
                    </a:lnTo>
                    <a:lnTo>
                      <a:pt x="41" y="4"/>
                    </a:lnTo>
                    <a:lnTo>
                      <a:pt x="40" y="4"/>
                    </a:lnTo>
                    <a:lnTo>
                      <a:pt x="39" y="5"/>
                    </a:lnTo>
                    <a:lnTo>
                      <a:pt x="38" y="5"/>
                    </a:lnTo>
                    <a:lnTo>
                      <a:pt x="37" y="5"/>
                    </a:lnTo>
                    <a:lnTo>
                      <a:pt x="36" y="6"/>
                    </a:lnTo>
                    <a:lnTo>
                      <a:pt x="35" y="6"/>
                    </a:lnTo>
                    <a:lnTo>
                      <a:pt x="34" y="7"/>
                    </a:lnTo>
                    <a:lnTo>
                      <a:pt x="33" y="7"/>
                    </a:lnTo>
                    <a:lnTo>
                      <a:pt x="32" y="8"/>
                    </a:lnTo>
                    <a:lnTo>
                      <a:pt x="31" y="9"/>
                    </a:lnTo>
                    <a:lnTo>
                      <a:pt x="30" y="9"/>
                    </a:lnTo>
                    <a:lnTo>
                      <a:pt x="29" y="10"/>
                    </a:lnTo>
                    <a:lnTo>
                      <a:pt x="28" y="10"/>
                    </a:lnTo>
                    <a:lnTo>
                      <a:pt x="27" y="11"/>
                    </a:lnTo>
                    <a:lnTo>
                      <a:pt x="26" y="12"/>
                    </a:lnTo>
                    <a:lnTo>
                      <a:pt x="25" y="13"/>
                    </a:lnTo>
                    <a:lnTo>
                      <a:pt x="24" y="13"/>
                    </a:lnTo>
                    <a:lnTo>
                      <a:pt x="23" y="14"/>
                    </a:lnTo>
                    <a:lnTo>
                      <a:pt x="22" y="15"/>
                    </a:lnTo>
                    <a:lnTo>
                      <a:pt x="21" y="16"/>
                    </a:lnTo>
                    <a:lnTo>
                      <a:pt x="20" y="17"/>
                    </a:lnTo>
                    <a:lnTo>
                      <a:pt x="19" y="18"/>
                    </a:lnTo>
                    <a:lnTo>
                      <a:pt x="18" y="19"/>
                    </a:lnTo>
                    <a:lnTo>
                      <a:pt x="17" y="20"/>
                    </a:lnTo>
                    <a:lnTo>
                      <a:pt x="16" y="21"/>
                    </a:lnTo>
                    <a:lnTo>
                      <a:pt x="15" y="22"/>
                    </a:lnTo>
                    <a:lnTo>
                      <a:pt x="14" y="23"/>
                    </a:lnTo>
                    <a:lnTo>
                      <a:pt x="13" y="24"/>
                    </a:lnTo>
                    <a:lnTo>
                      <a:pt x="13" y="25"/>
                    </a:lnTo>
                    <a:lnTo>
                      <a:pt x="12" y="26"/>
                    </a:lnTo>
                    <a:lnTo>
                      <a:pt x="11" y="27"/>
                    </a:lnTo>
                    <a:lnTo>
                      <a:pt x="10" y="28"/>
                    </a:lnTo>
                    <a:lnTo>
                      <a:pt x="10" y="29"/>
                    </a:lnTo>
                    <a:lnTo>
                      <a:pt x="9" y="30"/>
                    </a:lnTo>
                    <a:lnTo>
                      <a:pt x="9" y="31"/>
                    </a:lnTo>
                    <a:lnTo>
                      <a:pt x="8" y="32"/>
                    </a:lnTo>
                    <a:lnTo>
                      <a:pt x="7" y="33"/>
                    </a:lnTo>
                    <a:lnTo>
                      <a:pt x="7" y="34"/>
                    </a:lnTo>
                    <a:lnTo>
                      <a:pt x="6" y="35"/>
                    </a:lnTo>
                    <a:lnTo>
                      <a:pt x="6" y="36"/>
                    </a:lnTo>
                    <a:lnTo>
                      <a:pt x="5" y="37"/>
                    </a:lnTo>
                    <a:lnTo>
                      <a:pt x="5" y="38"/>
                    </a:lnTo>
                    <a:lnTo>
                      <a:pt x="5" y="39"/>
                    </a:lnTo>
                    <a:lnTo>
                      <a:pt x="4" y="40"/>
                    </a:lnTo>
                    <a:lnTo>
                      <a:pt x="4" y="41"/>
                    </a:lnTo>
                    <a:lnTo>
                      <a:pt x="3" y="42"/>
                    </a:lnTo>
                    <a:lnTo>
                      <a:pt x="3" y="43"/>
                    </a:lnTo>
                    <a:lnTo>
                      <a:pt x="3" y="44"/>
                    </a:lnTo>
                    <a:lnTo>
                      <a:pt x="3" y="45"/>
                    </a:lnTo>
                    <a:lnTo>
                      <a:pt x="2" y="46"/>
                    </a:lnTo>
                    <a:lnTo>
                      <a:pt x="2" y="47"/>
                    </a:lnTo>
                    <a:lnTo>
                      <a:pt x="2" y="48"/>
                    </a:lnTo>
                    <a:lnTo>
                      <a:pt x="1" y="49"/>
                    </a:lnTo>
                    <a:lnTo>
                      <a:pt x="1" y="50"/>
                    </a:lnTo>
                    <a:lnTo>
                      <a:pt x="1" y="51"/>
                    </a:lnTo>
                    <a:lnTo>
                      <a:pt x="1" y="52"/>
                    </a:lnTo>
                    <a:lnTo>
                      <a:pt x="1" y="53"/>
                    </a:lnTo>
                    <a:lnTo>
                      <a:pt x="1" y="54"/>
                    </a:lnTo>
                    <a:lnTo>
                      <a:pt x="0" y="55"/>
                    </a:lnTo>
                    <a:lnTo>
                      <a:pt x="0" y="56"/>
                    </a:lnTo>
                    <a:lnTo>
                      <a:pt x="0" y="57"/>
                    </a:lnTo>
                    <a:lnTo>
                      <a:pt x="0" y="58"/>
                    </a:lnTo>
                    <a:lnTo>
                      <a:pt x="0" y="59"/>
                    </a:lnTo>
                    <a:lnTo>
                      <a:pt x="0" y="60"/>
                    </a:lnTo>
                    <a:lnTo>
                      <a:pt x="0" y="61"/>
                    </a:lnTo>
                    <a:lnTo>
                      <a:pt x="0" y="62"/>
                    </a:lnTo>
                    <a:lnTo>
                      <a:pt x="0" y="63"/>
                    </a:lnTo>
                    <a:lnTo>
                      <a:pt x="0" y="64"/>
                    </a:lnTo>
                    <a:lnTo>
                      <a:pt x="0" y="65"/>
                    </a:lnTo>
                    <a:lnTo>
                      <a:pt x="0" y="66"/>
                    </a:lnTo>
                    <a:lnTo>
                      <a:pt x="0" y="67"/>
                    </a:lnTo>
                    <a:lnTo>
                      <a:pt x="0" y="68"/>
                    </a:lnTo>
                    <a:lnTo>
                      <a:pt x="0" y="69"/>
                    </a:lnTo>
                    <a:lnTo>
                      <a:pt x="0" y="70"/>
                    </a:lnTo>
                    <a:lnTo>
                      <a:pt x="1" y="71"/>
                    </a:lnTo>
                    <a:lnTo>
                      <a:pt x="1" y="72"/>
                    </a:lnTo>
                    <a:lnTo>
                      <a:pt x="1" y="73"/>
                    </a:lnTo>
                    <a:lnTo>
                      <a:pt x="1" y="74"/>
                    </a:lnTo>
                    <a:lnTo>
                      <a:pt x="1" y="75"/>
                    </a:lnTo>
                    <a:lnTo>
                      <a:pt x="1" y="76"/>
                    </a:lnTo>
                    <a:lnTo>
                      <a:pt x="2" y="77"/>
                    </a:lnTo>
                    <a:lnTo>
                      <a:pt x="2" y="78"/>
                    </a:lnTo>
                    <a:lnTo>
                      <a:pt x="2" y="79"/>
                    </a:lnTo>
                    <a:lnTo>
                      <a:pt x="3" y="80"/>
                    </a:lnTo>
                    <a:lnTo>
                      <a:pt x="3" y="81"/>
                    </a:lnTo>
                    <a:lnTo>
                      <a:pt x="3" y="82"/>
                    </a:lnTo>
                    <a:lnTo>
                      <a:pt x="3" y="83"/>
                    </a:lnTo>
                    <a:lnTo>
                      <a:pt x="4" y="84"/>
                    </a:lnTo>
                    <a:lnTo>
                      <a:pt x="4" y="85"/>
                    </a:lnTo>
                    <a:lnTo>
                      <a:pt x="5" y="86"/>
                    </a:lnTo>
                    <a:lnTo>
                      <a:pt x="5" y="87"/>
                    </a:lnTo>
                    <a:lnTo>
                      <a:pt x="5" y="88"/>
                    </a:lnTo>
                    <a:lnTo>
                      <a:pt x="6" y="89"/>
                    </a:lnTo>
                    <a:lnTo>
                      <a:pt x="6" y="90"/>
                    </a:lnTo>
                    <a:lnTo>
                      <a:pt x="7" y="91"/>
                    </a:lnTo>
                    <a:lnTo>
                      <a:pt x="7" y="92"/>
                    </a:lnTo>
                    <a:lnTo>
                      <a:pt x="8" y="93"/>
                    </a:lnTo>
                    <a:lnTo>
                      <a:pt x="9" y="94"/>
                    </a:lnTo>
                    <a:lnTo>
                      <a:pt x="9" y="95"/>
                    </a:lnTo>
                    <a:lnTo>
                      <a:pt x="10" y="96"/>
                    </a:lnTo>
                    <a:lnTo>
                      <a:pt x="10" y="97"/>
                    </a:lnTo>
                    <a:lnTo>
                      <a:pt x="11" y="98"/>
                    </a:lnTo>
                    <a:lnTo>
                      <a:pt x="12" y="99"/>
                    </a:lnTo>
                    <a:lnTo>
                      <a:pt x="13" y="100"/>
                    </a:lnTo>
                    <a:lnTo>
                      <a:pt x="13" y="101"/>
                    </a:lnTo>
                    <a:lnTo>
                      <a:pt x="14" y="102"/>
                    </a:lnTo>
                    <a:lnTo>
                      <a:pt x="15" y="103"/>
                    </a:lnTo>
                    <a:lnTo>
                      <a:pt x="16" y="104"/>
                    </a:lnTo>
                    <a:lnTo>
                      <a:pt x="17" y="105"/>
                    </a:lnTo>
                    <a:lnTo>
                      <a:pt x="18" y="106"/>
                    </a:lnTo>
                    <a:lnTo>
                      <a:pt x="19" y="107"/>
                    </a:lnTo>
                    <a:lnTo>
                      <a:pt x="20" y="108"/>
                    </a:lnTo>
                    <a:lnTo>
                      <a:pt x="21" y="109"/>
                    </a:lnTo>
                    <a:lnTo>
                      <a:pt x="22" y="110"/>
                    </a:lnTo>
                    <a:lnTo>
                      <a:pt x="23" y="111"/>
                    </a:lnTo>
                    <a:lnTo>
                      <a:pt x="24" y="112"/>
                    </a:lnTo>
                    <a:lnTo>
                      <a:pt x="25" y="112"/>
                    </a:lnTo>
                    <a:lnTo>
                      <a:pt x="26" y="113"/>
                    </a:lnTo>
                    <a:lnTo>
                      <a:pt x="27" y="114"/>
                    </a:lnTo>
                    <a:lnTo>
                      <a:pt x="28" y="115"/>
                    </a:lnTo>
                    <a:lnTo>
                      <a:pt x="29" y="115"/>
                    </a:lnTo>
                    <a:lnTo>
                      <a:pt x="30" y="116"/>
                    </a:lnTo>
                    <a:lnTo>
                      <a:pt x="31" y="116"/>
                    </a:lnTo>
                    <a:lnTo>
                      <a:pt x="32" y="117"/>
                    </a:lnTo>
                    <a:lnTo>
                      <a:pt x="33" y="118"/>
                    </a:lnTo>
                    <a:lnTo>
                      <a:pt x="34" y="118"/>
                    </a:lnTo>
                    <a:lnTo>
                      <a:pt x="35" y="119"/>
                    </a:lnTo>
                    <a:lnTo>
                      <a:pt x="36" y="119"/>
                    </a:lnTo>
                    <a:lnTo>
                      <a:pt x="37" y="120"/>
                    </a:lnTo>
                    <a:lnTo>
                      <a:pt x="38" y="120"/>
                    </a:lnTo>
                    <a:lnTo>
                      <a:pt x="39" y="120"/>
                    </a:lnTo>
                    <a:lnTo>
                      <a:pt x="40" y="121"/>
                    </a:lnTo>
                    <a:lnTo>
                      <a:pt x="41" y="121"/>
                    </a:lnTo>
                    <a:lnTo>
                      <a:pt x="42" y="122"/>
                    </a:lnTo>
                    <a:lnTo>
                      <a:pt x="43" y="122"/>
                    </a:lnTo>
                    <a:lnTo>
                      <a:pt x="44" y="122"/>
                    </a:lnTo>
                    <a:lnTo>
                      <a:pt x="45" y="122"/>
                    </a:lnTo>
                    <a:lnTo>
                      <a:pt x="46" y="123"/>
                    </a:lnTo>
                    <a:lnTo>
                      <a:pt x="47" y="123"/>
                    </a:lnTo>
                    <a:lnTo>
                      <a:pt x="48" y="123"/>
                    </a:lnTo>
                    <a:lnTo>
                      <a:pt x="49" y="124"/>
                    </a:lnTo>
                    <a:lnTo>
                      <a:pt x="50" y="124"/>
                    </a:lnTo>
                    <a:lnTo>
                      <a:pt x="51" y="124"/>
                    </a:lnTo>
                    <a:lnTo>
                      <a:pt x="52" y="124"/>
                    </a:lnTo>
                    <a:lnTo>
                      <a:pt x="53" y="124"/>
                    </a:lnTo>
                    <a:lnTo>
                      <a:pt x="54" y="124"/>
                    </a:lnTo>
                    <a:lnTo>
                      <a:pt x="55" y="125"/>
                    </a:lnTo>
                    <a:lnTo>
                      <a:pt x="56" y="125"/>
                    </a:lnTo>
                    <a:lnTo>
                      <a:pt x="57" y="125"/>
                    </a:lnTo>
                    <a:lnTo>
                      <a:pt x="58" y="125"/>
                    </a:lnTo>
                    <a:lnTo>
                      <a:pt x="59" y="125"/>
                    </a:lnTo>
                    <a:lnTo>
                      <a:pt x="60" y="125"/>
                    </a:lnTo>
                    <a:lnTo>
                      <a:pt x="61" y="125"/>
                    </a:lnTo>
                    <a:lnTo>
                      <a:pt x="62" y="125"/>
                    </a:lnTo>
                    <a:lnTo>
                      <a:pt x="63" y="125"/>
                    </a:lnTo>
                    <a:lnTo>
                      <a:pt x="64" y="125"/>
                    </a:lnTo>
                    <a:lnTo>
                      <a:pt x="65" y="125"/>
                    </a:lnTo>
                    <a:lnTo>
                      <a:pt x="66" y="125"/>
                    </a:lnTo>
                    <a:lnTo>
                      <a:pt x="67" y="125"/>
                    </a:lnTo>
                    <a:lnTo>
                      <a:pt x="68" y="125"/>
                    </a:lnTo>
                    <a:lnTo>
                      <a:pt x="69" y="125"/>
                    </a:lnTo>
                    <a:lnTo>
                      <a:pt x="70" y="125"/>
                    </a:lnTo>
                    <a:lnTo>
                      <a:pt x="71" y="124"/>
                    </a:lnTo>
                    <a:lnTo>
                      <a:pt x="72" y="124"/>
                    </a:lnTo>
                    <a:lnTo>
                      <a:pt x="73" y="124"/>
                    </a:lnTo>
                    <a:lnTo>
                      <a:pt x="74" y="124"/>
                    </a:lnTo>
                    <a:lnTo>
                      <a:pt x="75" y="124"/>
                    </a:lnTo>
                    <a:lnTo>
                      <a:pt x="76" y="124"/>
                    </a:lnTo>
                    <a:lnTo>
                      <a:pt x="77" y="123"/>
                    </a:lnTo>
                    <a:lnTo>
                      <a:pt x="78" y="123"/>
                    </a:lnTo>
                    <a:lnTo>
                      <a:pt x="79" y="123"/>
                    </a:lnTo>
                    <a:lnTo>
                      <a:pt x="80" y="122"/>
                    </a:lnTo>
                    <a:lnTo>
                      <a:pt x="81" y="122"/>
                    </a:lnTo>
                    <a:lnTo>
                      <a:pt x="82" y="122"/>
                    </a:lnTo>
                    <a:lnTo>
                      <a:pt x="83" y="122"/>
                    </a:lnTo>
                    <a:lnTo>
                      <a:pt x="84" y="121"/>
                    </a:lnTo>
                    <a:lnTo>
                      <a:pt x="85" y="121"/>
                    </a:lnTo>
                    <a:lnTo>
                      <a:pt x="86" y="120"/>
                    </a:lnTo>
                    <a:lnTo>
                      <a:pt x="87" y="120"/>
                    </a:lnTo>
                    <a:lnTo>
                      <a:pt x="88" y="120"/>
                    </a:lnTo>
                    <a:lnTo>
                      <a:pt x="89" y="119"/>
                    </a:lnTo>
                    <a:lnTo>
                      <a:pt x="90" y="119"/>
                    </a:lnTo>
                    <a:lnTo>
                      <a:pt x="91" y="118"/>
                    </a:lnTo>
                    <a:lnTo>
                      <a:pt x="92" y="118"/>
                    </a:lnTo>
                    <a:lnTo>
                      <a:pt x="93" y="117"/>
                    </a:lnTo>
                    <a:lnTo>
                      <a:pt x="94" y="116"/>
                    </a:lnTo>
                    <a:lnTo>
                      <a:pt x="95" y="116"/>
                    </a:lnTo>
                    <a:lnTo>
                      <a:pt x="96" y="115"/>
                    </a:lnTo>
                    <a:lnTo>
                      <a:pt x="97" y="115"/>
                    </a:lnTo>
                    <a:lnTo>
                      <a:pt x="98" y="114"/>
                    </a:lnTo>
                    <a:lnTo>
                      <a:pt x="99" y="113"/>
                    </a:lnTo>
                    <a:lnTo>
                      <a:pt x="100" y="112"/>
                    </a:lnTo>
                    <a:lnTo>
                      <a:pt x="101" y="112"/>
                    </a:lnTo>
                    <a:lnTo>
                      <a:pt x="102" y="111"/>
                    </a:lnTo>
                    <a:lnTo>
                      <a:pt x="103" y="110"/>
                    </a:lnTo>
                    <a:lnTo>
                      <a:pt x="104" y="109"/>
                    </a:lnTo>
                    <a:lnTo>
                      <a:pt x="105" y="108"/>
                    </a:lnTo>
                    <a:lnTo>
                      <a:pt x="106" y="107"/>
                    </a:lnTo>
                    <a:lnTo>
                      <a:pt x="107" y="106"/>
                    </a:lnTo>
                    <a:lnTo>
                      <a:pt x="108" y="105"/>
                    </a:lnTo>
                    <a:lnTo>
                      <a:pt x="109" y="104"/>
                    </a:lnTo>
                    <a:lnTo>
                      <a:pt x="110" y="103"/>
                    </a:lnTo>
                    <a:lnTo>
                      <a:pt x="111" y="102"/>
                    </a:lnTo>
                    <a:lnTo>
                      <a:pt x="112" y="101"/>
                    </a:lnTo>
                    <a:lnTo>
                      <a:pt x="112" y="100"/>
                    </a:lnTo>
                    <a:lnTo>
                      <a:pt x="113" y="99"/>
                    </a:lnTo>
                    <a:lnTo>
                      <a:pt x="114" y="98"/>
                    </a:lnTo>
                    <a:lnTo>
                      <a:pt x="115" y="97"/>
                    </a:lnTo>
                    <a:lnTo>
                      <a:pt x="115" y="96"/>
                    </a:lnTo>
                    <a:lnTo>
                      <a:pt x="116" y="95"/>
                    </a:lnTo>
                    <a:lnTo>
                      <a:pt x="116" y="94"/>
                    </a:lnTo>
                    <a:lnTo>
                      <a:pt x="117" y="93"/>
                    </a:lnTo>
                    <a:lnTo>
                      <a:pt x="118" y="92"/>
                    </a:lnTo>
                    <a:lnTo>
                      <a:pt x="118" y="91"/>
                    </a:lnTo>
                    <a:lnTo>
                      <a:pt x="119" y="90"/>
                    </a:lnTo>
                    <a:lnTo>
                      <a:pt x="119" y="89"/>
                    </a:lnTo>
                    <a:lnTo>
                      <a:pt x="120" y="88"/>
                    </a:lnTo>
                    <a:lnTo>
                      <a:pt x="120" y="87"/>
                    </a:lnTo>
                    <a:lnTo>
                      <a:pt x="120" y="86"/>
                    </a:lnTo>
                    <a:lnTo>
                      <a:pt x="121" y="85"/>
                    </a:lnTo>
                    <a:lnTo>
                      <a:pt x="121" y="84"/>
                    </a:lnTo>
                    <a:lnTo>
                      <a:pt x="122" y="83"/>
                    </a:lnTo>
                    <a:lnTo>
                      <a:pt x="122" y="82"/>
                    </a:lnTo>
                    <a:lnTo>
                      <a:pt x="122" y="81"/>
                    </a:lnTo>
                    <a:lnTo>
                      <a:pt x="122" y="80"/>
                    </a:lnTo>
                    <a:lnTo>
                      <a:pt x="123" y="79"/>
                    </a:lnTo>
                    <a:lnTo>
                      <a:pt x="123" y="78"/>
                    </a:lnTo>
                    <a:lnTo>
                      <a:pt x="123" y="77"/>
                    </a:lnTo>
                    <a:lnTo>
                      <a:pt x="124" y="76"/>
                    </a:lnTo>
                    <a:lnTo>
                      <a:pt x="124" y="75"/>
                    </a:lnTo>
                    <a:lnTo>
                      <a:pt x="124" y="74"/>
                    </a:lnTo>
                    <a:lnTo>
                      <a:pt x="124" y="73"/>
                    </a:lnTo>
                    <a:lnTo>
                      <a:pt x="124" y="72"/>
                    </a:lnTo>
                    <a:lnTo>
                      <a:pt x="124" y="71"/>
                    </a:lnTo>
                    <a:lnTo>
                      <a:pt x="125" y="70"/>
                    </a:lnTo>
                    <a:lnTo>
                      <a:pt x="125" y="69"/>
                    </a:lnTo>
                    <a:lnTo>
                      <a:pt x="125" y="68"/>
                    </a:lnTo>
                    <a:lnTo>
                      <a:pt x="125" y="67"/>
                    </a:lnTo>
                    <a:lnTo>
                      <a:pt x="125" y="66"/>
                    </a:lnTo>
                    <a:lnTo>
                      <a:pt x="125" y="65"/>
                    </a:lnTo>
                    <a:lnTo>
                      <a:pt x="125" y="64"/>
                    </a:lnTo>
                    <a:lnTo>
                      <a:pt x="125" y="63"/>
                    </a:lnTo>
                    <a:lnTo>
                      <a:pt x="125" y="62"/>
                    </a:lnTo>
                    <a:close/>
                  </a:path>
                </a:pathLst>
              </a:custGeom>
              <a:solidFill>
                <a:srgbClr val="0073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138"/>
              </a:p>
            </p:txBody>
          </p:sp>
          <p:sp>
            <p:nvSpPr>
              <p:cNvPr id="87" name="Freeform 85"/>
              <p:cNvSpPr>
                <a:spLocks/>
              </p:cNvSpPr>
              <p:nvPr/>
            </p:nvSpPr>
            <p:spPr bwMode="auto">
              <a:xfrm>
                <a:off x="4353" y="1657"/>
                <a:ext cx="198" cy="198"/>
              </a:xfrm>
              <a:custGeom>
                <a:avLst/>
                <a:gdLst>
                  <a:gd name="T0" fmla="*/ 125 w 125"/>
                  <a:gd name="T1" fmla="*/ 58 h 125"/>
                  <a:gd name="T2" fmla="*/ 124 w 125"/>
                  <a:gd name="T3" fmla="*/ 52 h 125"/>
                  <a:gd name="T4" fmla="*/ 123 w 125"/>
                  <a:gd name="T5" fmla="*/ 46 h 125"/>
                  <a:gd name="T6" fmla="*/ 121 w 125"/>
                  <a:gd name="T7" fmla="*/ 40 h 125"/>
                  <a:gd name="T8" fmla="*/ 118 w 125"/>
                  <a:gd name="T9" fmla="*/ 34 h 125"/>
                  <a:gd name="T10" fmla="*/ 115 w 125"/>
                  <a:gd name="T11" fmla="*/ 28 h 125"/>
                  <a:gd name="T12" fmla="*/ 110 w 125"/>
                  <a:gd name="T13" fmla="*/ 22 h 125"/>
                  <a:gd name="T14" fmla="*/ 104 w 125"/>
                  <a:gd name="T15" fmla="*/ 16 h 125"/>
                  <a:gd name="T16" fmla="*/ 98 w 125"/>
                  <a:gd name="T17" fmla="*/ 11 h 125"/>
                  <a:gd name="T18" fmla="*/ 92 w 125"/>
                  <a:gd name="T19" fmla="*/ 7 h 125"/>
                  <a:gd name="T20" fmla="*/ 86 w 125"/>
                  <a:gd name="T21" fmla="*/ 5 h 125"/>
                  <a:gd name="T22" fmla="*/ 80 w 125"/>
                  <a:gd name="T23" fmla="*/ 3 h 125"/>
                  <a:gd name="T24" fmla="*/ 74 w 125"/>
                  <a:gd name="T25" fmla="*/ 1 h 125"/>
                  <a:gd name="T26" fmla="*/ 68 w 125"/>
                  <a:gd name="T27" fmla="*/ 0 h 125"/>
                  <a:gd name="T28" fmla="*/ 62 w 125"/>
                  <a:gd name="T29" fmla="*/ 0 h 125"/>
                  <a:gd name="T30" fmla="*/ 56 w 125"/>
                  <a:gd name="T31" fmla="*/ 0 h 125"/>
                  <a:gd name="T32" fmla="*/ 50 w 125"/>
                  <a:gd name="T33" fmla="*/ 1 h 125"/>
                  <a:gd name="T34" fmla="*/ 44 w 125"/>
                  <a:gd name="T35" fmla="*/ 3 h 125"/>
                  <a:gd name="T36" fmla="*/ 38 w 125"/>
                  <a:gd name="T37" fmla="*/ 5 h 125"/>
                  <a:gd name="T38" fmla="*/ 32 w 125"/>
                  <a:gd name="T39" fmla="*/ 8 h 125"/>
                  <a:gd name="T40" fmla="*/ 26 w 125"/>
                  <a:gd name="T41" fmla="*/ 12 h 125"/>
                  <a:gd name="T42" fmla="*/ 20 w 125"/>
                  <a:gd name="T43" fmla="*/ 17 h 125"/>
                  <a:gd name="T44" fmla="*/ 14 w 125"/>
                  <a:gd name="T45" fmla="*/ 23 h 125"/>
                  <a:gd name="T46" fmla="*/ 10 w 125"/>
                  <a:gd name="T47" fmla="*/ 29 h 125"/>
                  <a:gd name="T48" fmla="*/ 6 w 125"/>
                  <a:gd name="T49" fmla="*/ 35 h 125"/>
                  <a:gd name="T50" fmla="*/ 4 w 125"/>
                  <a:gd name="T51" fmla="*/ 41 h 125"/>
                  <a:gd name="T52" fmla="*/ 2 w 125"/>
                  <a:gd name="T53" fmla="*/ 47 h 125"/>
                  <a:gd name="T54" fmla="*/ 1 w 125"/>
                  <a:gd name="T55" fmla="*/ 53 h 125"/>
                  <a:gd name="T56" fmla="*/ 0 w 125"/>
                  <a:gd name="T57" fmla="*/ 59 h 125"/>
                  <a:gd name="T58" fmla="*/ 0 w 125"/>
                  <a:gd name="T59" fmla="*/ 65 h 125"/>
                  <a:gd name="T60" fmla="*/ 1 w 125"/>
                  <a:gd name="T61" fmla="*/ 71 h 125"/>
                  <a:gd name="T62" fmla="*/ 2 w 125"/>
                  <a:gd name="T63" fmla="*/ 77 h 125"/>
                  <a:gd name="T64" fmla="*/ 3 w 125"/>
                  <a:gd name="T65" fmla="*/ 83 h 125"/>
                  <a:gd name="T66" fmla="*/ 6 w 125"/>
                  <a:gd name="T67" fmla="*/ 89 h 125"/>
                  <a:gd name="T68" fmla="*/ 9 w 125"/>
                  <a:gd name="T69" fmla="*/ 95 h 125"/>
                  <a:gd name="T70" fmla="*/ 13 w 125"/>
                  <a:gd name="T71" fmla="*/ 101 h 125"/>
                  <a:gd name="T72" fmla="*/ 19 w 125"/>
                  <a:gd name="T73" fmla="*/ 107 h 125"/>
                  <a:gd name="T74" fmla="*/ 25 w 125"/>
                  <a:gd name="T75" fmla="*/ 112 h 125"/>
                  <a:gd name="T76" fmla="*/ 31 w 125"/>
                  <a:gd name="T77" fmla="*/ 116 h 125"/>
                  <a:gd name="T78" fmla="*/ 37 w 125"/>
                  <a:gd name="T79" fmla="*/ 120 h 125"/>
                  <a:gd name="T80" fmla="*/ 43 w 125"/>
                  <a:gd name="T81" fmla="*/ 122 h 125"/>
                  <a:gd name="T82" fmla="*/ 49 w 125"/>
                  <a:gd name="T83" fmla="*/ 124 h 125"/>
                  <a:gd name="T84" fmla="*/ 55 w 125"/>
                  <a:gd name="T85" fmla="*/ 125 h 125"/>
                  <a:gd name="T86" fmla="*/ 61 w 125"/>
                  <a:gd name="T87" fmla="*/ 125 h 125"/>
                  <a:gd name="T88" fmla="*/ 67 w 125"/>
                  <a:gd name="T89" fmla="*/ 125 h 125"/>
                  <a:gd name="T90" fmla="*/ 73 w 125"/>
                  <a:gd name="T91" fmla="*/ 124 h 125"/>
                  <a:gd name="T92" fmla="*/ 79 w 125"/>
                  <a:gd name="T93" fmla="*/ 123 h 125"/>
                  <a:gd name="T94" fmla="*/ 85 w 125"/>
                  <a:gd name="T95" fmla="*/ 121 h 125"/>
                  <a:gd name="T96" fmla="*/ 91 w 125"/>
                  <a:gd name="T97" fmla="*/ 118 h 125"/>
                  <a:gd name="T98" fmla="*/ 97 w 125"/>
                  <a:gd name="T99" fmla="*/ 115 h 125"/>
                  <a:gd name="T100" fmla="*/ 103 w 125"/>
                  <a:gd name="T101" fmla="*/ 110 h 125"/>
                  <a:gd name="T102" fmla="*/ 109 w 125"/>
                  <a:gd name="T103" fmla="*/ 104 h 125"/>
                  <a:gd name="T104" fmla="*/ 114 w 125"/>
                  <a:gd name="T105" fmla="*/ 98 h 125"/>
                  <a:gd name="T106" fmla="*/ 118 w 125"/>
                  <a:gd name="T107" fmla="*/ 92 h 125"/>
                  <a:gd name="T108" fmla="*/ 120 w 125"/>
                  <a:gd name="T109" fmla="*/ 86 h 125"/>
                  <a:gd name="T110" fmla="*/ 122 w 125"/>
                  <a:gd name="T111" fmla="*/ 80 h 125"/>
                  <a:gd name="T112" fmla="*/ 124 w 125"/>
                  <a:gd name="T113" fmla="*/ 74 h 125"/>
                  <a:gd name="T114" fmla="*/ 125 w 125"/>
                  <a:gd name="T115" fmla="*/ 68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5" h="125">
                    <a:moveTo>
                      <a:pt x="125" y="63"/>
                    </a:moveTo>
                    <a:lnTo>
                      <a:pt x="125" y="62"/>
                    </a:lnTo>
                    <a:lnTo>
                      <a:pt x="125" y="61"/>
                    </a:lnTo>
                    <a:lnTo>
                      <a:pt x="125" y="60"/>
                    </a:lnTo>
                    <a:lnTo>
                      <a:pt x="125" y="59"/>
                    </a:lnTo>
                    <a:lnTo>
                      <a:pt x="125" y="58"/>
                    </a:lnTo>
                    <a:lnTo>
                      <a:pt x="125" y="57"/>
                    </a:lnTo>
                    <a:lnTo>
                      <a:pt x="125" y="56"/>
                    </a:lnTo>
                    <a:lnTo>
                      <a:pt x="125" y="55"/>
                    </a:lnTo>
                    <a:lnTo>
                      <a:pt x="124" y="54"/>
                    </a:lnTo>
                    <a:lnTo>
                      <a:pt x="124" y="53"/>
                    </a:lnTo>
                    <a:lnTo>
                      <a:pt x="124" y="52"/>
                    </a:lnTo>
                    <a:lnTo>
                      <a:pt x="124" y="51"/>
                    </a:lnTo>
                    <a:lnTo>
                      <a:pt x="124" y="50"/>
                    </a:lnTo>
                    <a:lnTo>
                      <a:pt x="124" y="49"/>
                    </a:lnTo>
                    <a:lnTo>
                      <a:pt x="123" y="48"/>
                    </a:lnTo>
                    <a:lnTo>
                      <a:pt x="123" y="47"/>
                    </a:lnTo>
                    <a:lnTo>
                      <a:pt x="123" y="46"/>
                    </a:lnTo>
                    <a:lnTo>
                      <a:pt x="122" y="45"/>
                    </a:lnTo>
                    <a:lnTo>
                      <a:pt x="122" y="44"/>
                    </a:lnTo>
                    <a:lnTo>
                      <a:pt x="122" y="43"/>
                    </a:lnTo>
                    <a:lnTo>
                      <a:pt x="122" y="42"/>
                    </a:lnTo>
                    <a:lnTo>
                      <a:pt x="121" y="41"/>
                    </a:lnTo>
                    <a:lnTo>
                      <a:pt x="121" y="40"/>
                    </a:lnTo>
                    <a:lnTo>
                      <a:pt x="120" y="39"/>
                    </a:lnTo>
                    <a:lnTo>
                      <a:pt x="120" y="38"/>
                    </a:lnTo>
                    <a:lnTo>
                      <a:pt x="120" y="37"/>
                    </a:lnTo>
                    <a:lnTo>
                      <a:pt x="119" y="36"/>
                    </a:lnTo>
                    <a:lnTo>
                      <a:pt x="119" y="35"/>
                    </a:lnTo>
                    <a:lnTo>
                      <a:pt x="118" y="34"/>
                    </a:lnTo>
                    <a:lnTo>
                      <a:pt x="118" y="33"/>
                    </a:lnTo>
                    <a:lnTo>
                      <a:pt x="117" y="32"/>
                    </a:lnTo>
                    <a:lnTo>
                      <a:pt x="116" y="31"/>
                    </a:lnTo>
                    <a:lnTo>
                      <a:pt x="116" y="30"/>
                    </a:lnTo>
                    <a:lnTo>
                      <a:pt x="115" y="29"/>
                    </a:lnTo>
                    <a:lnTo>
                      <a:pt x="115" y="28"/>
                    </a:lnTo>
                    <a:lnTo>
                      <a:pt x="114" y="27"/>
                    </a:lnTo>
                    <a:lnTo>
                      <a:pt x="113" y="26"/>
                    </a:lnTo>
                    <a:lnTo>
                      <a:pt x="112" y="25"/>
                    </a:lnTo>
                    <a:lnTo>
                      <a:pt x="112" y="24"/>
                    </a:lnTo>
                    <a:lnTo>
                      <a:pt x="111" y="23"/>
                    </a:lnTo>
                    <a:lnTo>
                      <a:pt x="110" y="22"/>
                    </a:lnTo>
                    <a:lnTo>
                      <a:pt x="109" y="21"/>
                    </a:lnTo>
                    <a:lnTo>
                      <a:pt x="108" y="20"/>
                    </a:lnTo>
                    <a:lnTo>
                      <a:pt x="107" y="19"/>
                    </a:lnTo>
                    <a:lnTo>
                      <a:pt x="106" y="18"/>
                    </a:lnTo>
                    <a:lnTo>
                      <a:pt x="105" y="17"/>
                    </a:lnTo>
                    <a:lnTo>
                      <a:pt x="104" y="16"/>
                    </a:lnTo>
                    <a:lnTo>
                      <a:pt x="103" y="15"/>
                    </a:lnTo>
                    <a:lnTo>
                      <a:pt x="102" y="14"/>
                    </a:lnTo>
                    <a:lnTo>
                      <a:pt x="101" y="13"/>
                    </a:lnTo>
                    <a:lnTo>
                      <a:pt x="100" y="13"/>
                    </a:lnTo>
                    <a:lnTo>
                      <a:pt x="99" y="12"/>
                    </a:lnTo>
                    <a:lnTo>
                      <a:pt x="98" y="11"/>
                    </a:lnTo>
                    <a:lnTo>
                      <a:pt x="97" y="10"/>
                    </a:lnTo>
                    <a:lnTo>
                      <a:pt x="96" y="10"/>
                    </a:lnTo>
                    <a:lnTo>
                      <a:pt x="95" y="9"/>
                    </a:lnTo>
                    <a:lnTo>
                      <a:pt x="94" y="9"/>
                    </a:lnTo>
                    <a:lnTo>
                      <a:pt x="93" y="8"/>
                    </a:lnTo>
                    <a:lnTo>
                      <a:pt x="92" y="7"/>
                    </a:lnTo>
                    <a:lnTo>
                      <a:pt x="91" y="7"/>
                    </a:lnTo>
                    <a:lnTo>
                      <a:pt x="90" y="6"/>
                    </a:lnTo>
                    <a:lnTo>
                      <a:pt x="89" y="6"/>
                    </a:lnTo>
                    <a:lnTo>
                      <a:pt x="88" y="5"/>
                    </a:lnTo>
                    <a:lnTo>
                      <a:pt x="87" y="5"/>
                    </a:lnTo>
                    <a:lnTo>
                      <a:pt x="86" y="5"/>
                    </a:lnTo>
                    <a:lnTo>
                      <a:pt x="85" y="4"/>
                    </a:lnTo>
                    <a:lnTo>
                      <a:pt x="84" y="4"/>
                    </a:lnTo>
                    <a:lnTo>
                      <a:pt x="83" y="3"/>
                    </a:lnTo>
                    <a:lnTo>
                      <a:pt x="82" y="3"/>
                    </a:lnTo>
                    <a:lnTo>
                      <a:pt x="81" y="3"/>
                    </a:lnTo>
                    <a:lnTo>
                      <a:pt x="80" y="3"/>
                    </a:lnTo>
                    <a:lnTo>
                      <a:pt x="79" y="2"/>
                    </a:lnTo>
                    <a:lnTo>
                      <a:pt x="78" y="2"/>
                    </a:lnTo>
                    <a:lnTo>
                      <a:pt x="77" y="2"/>
                    </a:lnTo>
                    <a:lnTo>
                      <a:pt x="76" y="1"/>
                    </a:lnTo>
                    <a:lnTo>
                      <a:pt x="75" y="1"/>
                    </a:lnTo>
                    <a:lnTo>
                      <a:pt x="74" y="1"/>
                    </a:lnTo>
                    <a:lnTo>
                      <a:pt x="73" y="1"/>
                    </a:lnTo>
                    <a:lnTo>
                      <a:pt x="72" y="1"/>
                    </a:lnTo>
                    <a:lnTo>
                      <a:pt x="71" y="1"/>
                    </a:lnTo>
                    <a:lnTo>
                      <a:pt x="70" y="0"/>
                    </a:lnTo>
                    <a:lnTo>
                      <a:pt x="69" y="0"/>
                    </a:lnTo>
                    <a:lnTo>
                      <a:pt x="68" y="0"/>
                    </a:lnTo>
                    <a:lnTo>
                      <a:pt x="67" y="0"/>
                    </a:lnTo>
                    <a:lnTo>
                      <a:pt x="66" y="0"/>
                    </a:lnTo>
                    <a:lnTo>
                      <a:pt x="65" y="0"/>
                    </a:lnTo>
                    <a:lnTo>
                      <a:pt x="64" y="0"/>
                    </a:lnTo>
                    <a:lnTo>
                      <a:pt x="63" y="0"/>
                    </a:lnTo>
                    <a:lnTo>
                      <a:pt x="62" y="0"/>
                    </a:lnTo>
                    <a:lnTo>
                      <a:pt x="61" y="0"/>
                    </a:lnTo>
                    <a:lnTo>
                      <a:pt x="60" y="0"/>
                    </a:lnTo>
                    <a:lnTo>
                      <a:pt x="59" y="0"/>
                    </a:lnTo>
                    <a:lnTo>
                      <a:pt x="58" y="0"/>
                    </a:lnTo>
                    <a:lnTo>
                      <a:pt x="57" y="0"/>
                    </a:lnTo>
                    <a:lnTo>
                      <a:pt x="56" y="0"/>
                    </a:lnTo>
                    <a:lnTo>
                      <a:pt x="55" y="0"/>
                    </a:lnTo>
                    <a:lnTo>
                      <a:pt x="54" y="1"/>
                    </a:lnTo>
                    <a:lnTo>
                      <a:pt x="53" y="1"/>
                    </a:lnTo>
                    <a:lnTo>
                      <a:pt x="52" y="1"/>
                    </a:lnTo>
                    <a:lnTo>
                      <a:pt x="51" y="1"/>
                    </a:lnTo>
                    <a:lnTo>
                      <a:pt x="50" y="1"/>
                    </a:lnTo>
                    <a:lnTo>
                      <a:pt x="49" y="1"/>
                    </a:lnTo>
                    <a:lnTo>
                      <a:pt x="48" y="2"/>
                    </a:lnTo>
                    <a:lnTo>
                      <a:pt x="47" y="2"/>
                    </a:lnTo>
                    <a:lnTo>
                      <a:pt x="46" y="2"/>
                    </a:lnTo>
                    <a:lnTo>
                      <a:pt x="45" y="3"/>
                    </a:lnTo>
                    <a:lnTo>
                      <a:pt x="44" y="3"/>
                    </a:lnTo>
                    <a:lnTo>
                      <a:pt x="43" y="3"/>
                    </a:lnTo>
                    <a:lnTo>
                      <a:pt x="42" y="3"/>
                    </a:lnTo>
                    <a:lnTo>
                      <a:pt x="41" y="4"/>
                    </a:lnTo>
                    <a:lnTo>
                      <a:pt x="40" y="4"/>
                    </a:lnTo>
                    <a:lnTo>
                      <a:pt x="39" y="5"/>
                    </a:lnTo>
                    <a:lnTo>
                      <a:pt x="38" y="5"/>
                    </a:lnTo>
                    <a:lnTo>
                      <a:pt x="37" y="5"/>
                    </a:lnTo>
                    <a:lnTo>
                      <a:pt x="36" y="6"/>
                    </a:lnTo>
                    <a:lnTo>
                      <a:pt x="35" y="6"/>
                    </a:lnTo>
                    <a:lnTo>
                      <a:pt x="34" y="7"/>
                    </a:lnTo>
                    <a:lnTo>
                      <a:pt x="33" y="7"/>
                    </a:lnTo>
                    <a:lnTo>
                      <a:pt x="32" y="8"/>
                    </a:lnTo>
                    <a:lnTo>
                      <a:pt x="31" y="9"/>
                    </a:lnTo>
                    <a:lnTo>
                      <a:pt x="30" y="9"/>
                    </a:lnTo>
                    <a:lnTo>
                      <a:pt x="29" y="10"/>
                    </a:lnTo>
                    <a:lnTo>
                      <a:pt x="28" y="10"/>
                    </a:lnTo>
                    <a:lnTo>
                      <a:pt x="27" y="11"/>
                    </a:lnTo>
                    <a:lnTo>
                      <a:pt x="26" y="12"/>
                    </a:lnTo>
                    <a:lnTo>
                      <a:pt x="25" y="13"/>
                    </a:lnTo>
                    <a:lnTo>
                      <a:pt x="24" y="13"/>
                    </a:lnTo>
                    <a:lnTo>
                      <a:pt x="23" y="14"/>
                    </a:lnTo>
                    <a:lnTo>
                      <a:pt x="22" y="15"/>
                    </a:lnTo>
                    <a:lnTo>
                      <a:pt x="21" y="16"/>
                    </a:lnTo>
                    <a:lnTo>
                      <a:pt x="20" y="17"/>
                    </a:lnTo>
                    <a:lnTo>
                      <a:pt x="19" y="18"/>
                    </a:lnTo>
                    <a:lnTo>
                      <a:pt x="18" y="19"/>
                    </a:lnTo>
                    <a:lnTo>
                      <a:pt x="17" y="20"/>
                    </a:lnTo>
                    <a:lnTo>
                      <a:pt x="16" y="21"/>
                    </a:lnTo>
                    <a:lnTo>
                      <a:pt x="15" y="22"/>
                    </a:lnTo>
                    <a:lnTo>
                      <a:pt x="14" y="23"/>
                    </a:lnTo>
                    <a:lnTo>
                      <a:pt x="13" y="24"/>
                    </a:lnTo>
                    <a:lnTo>
                      <a:pt x="13" y="25"/>
                    </a:lnTo>
                    <a:lnTo>
                      <a:pt x="12" y="26"/>
                    </a:lnTo>
                    <a:lnTo>
                      <a:pt x="11" y="27"/>
                    </a:lnTo>
                    <a:lnTo>
                      <a:pt x="10" y="28"/>
                    </a:lnTo>
                    <a:lnTo>
                      <a:pt x="10" y="29"/>
                    </a:lnTo>
                    <a:lnTo>
                      <a:pt x="9" y="30"/>
                    </a:lnTo>
                    <a:lnTo>
                      <a:pt x="9" y="31"/>
                    </a:lnTo>
                    <a:lnTo>
                      <a:pt x="8" y="32"/>
                    </a:lnTo>
                    <a:lnTo>
                      <a:pt x="7" y="33"/>
                    </a:lnTo>
                    <a:lnTo>
                      <a:pt x="7" y="34"/>
                    </a:lnTo>
                    <a:lnTo>
                      <a:pt x="6" y="35"/>
                    </a:lnTo>
                    <a:lnTo>
                      <a:pt x="6" y="36"/>
                    </a:lnTo>
                    <a:lnTo>
                      <a:pt x="5" y="37"/>
                    </a:lnTo>
                    <a:lnTo>
                      <a:pt x="5" y="38"/>
                    </a:lnTo>
                    <a:lnTo>
                      <a:pt x="5" y="39"/>
                    </a:lnTo>
                    <a:lnTo>
                      <a:pt x="4" y="40"/>
                    </a:lnTo>
                    <a:lnTo>
                      <a:pt x="4" y="41"/>
                    </a:lnTo>
                    <a:lnTo>
                      <a:pt x="3" y="42"/>
                    </a:lnTo>
                    <a:lnTo>
                      <a:pt x="3" y="43"/>
                    </a:lnTo>
                    <a:lnTo>
                      <a:pt x="3" y="44"/>
                    </a:lnTo>
                    <a:lnTo>
                      <a:pt x="3" y="45"/>
                    </a:lnTo>
                    <a:lnTo>
                      <a:pt x="2" y="46"/>
                    </a:lnTo>
                    <a:lnTo>
                      <a:pt x="2" y="47"/>
                    </a:lnTo>
                    <a:lnTo>
                      <a:pt x="2" y="48"/>
                    </a:lnTo>
                    <a:lnTo>
                      <a:pt x="1" y="49"/>
                    </a:lnTo>
                    <a:lnTo>
                      <a:pt x="1" y="50"/>
                    </a:lnTo>
                    <a:lnTo>
                      <a:pt x="1" y="51"/>
                    </a:lnTo>
                    <a:lnTo>
                      <a:pt x="1" y="52"/>
                    </a:lnTo>
                    <a:lnTo>
                      <a:pt x="1" y="53"/>
                    </a:lnTo>
                    <a:lnTo>
                      <a:pt x="1" y="54"/>
                    </a:lnTo>
                    <a:lnTo>
                      <a:pt x="0" y="55"/>
                    </a:lnTo>
                    <a:lnTo>
                      <a:pt x="0" y="56"/>
                    </a:lnTo>
                    <a:lnTo>
                      <a:pt x="0" y="57"/>
                    </a:lnTo>
                    <a:lnTo>
                      <a:pt x="0" y="58"/>
                    </a:lnTo>
                    <a:lnTo>
                      <a:pt x="0" y="59"/>
                    </a:lnTo>
                    <a:lnTo>
                      <a:pt x="0" y="60"/>
                    </a:lnTo>
                    <a:lnTo>
                      <a:pt x="0" y="61"/>
                    </a:lnTo>
                    <a:lnTo>
                      <a:pt x="0" y="62"/>
                    </a:lnTo>
                    <a:lnTo>
                      <a:pt x="0" y="63"/>
                    </a:lnTo>
                    <a:lnTo>
                      <a:pt x="0" y="64"/>
                    </a:lnTo>
                    <a:lnTo>
                      <a:pt x="0" y="65"/>
                    </a:lnTo>
                    <a:lnTo>
                      <a:pt x="0" y="66"/>
                    </a:lnTo>
                    <a:lnTo>
                      <a:pt x="0" y="67"/>
                    </a:lnTo>
                    <a:lnTo>
                      <a:pt x="0" y="68"/>
                    </a:lnTo>
                    <a:lnTo>
                      <a:pt x="0" y="69"/>
                    </a:lnTo>
                    <a:lnTo>
                      <a:pt x="0" y="70"/>
                    </a:lnTo>
                    <a:lnTo>
                      <a:pt x="1" y="71"/>
                    </a:lnTo>
                    <a:lnTo>
                      <a:pt x="1" y="72"/>
                    </a:lnTo>
                    <a:lnTo>
                      <a:pt x="1" y="73"/>
                    </a:lnTo>
                    <a:lnTo>
                      <a:pt x="1" y="74"/>
                    </a:lnTo>
                    <a:lnTo>
                      <a:pt x="1" y="75"/>
                    </a:lnTo>
                    <a:lnTo>
                      <a:pt x="1" y="76"/>
                    </a:lnTo>
                    <a:lnTo>
                      <a:pt x="2" y="77"/>
                    </a:lnTo>
                    <a:lnTo>
                      <a:pt x="2" y="78"/>
                    </a:lnTo>
                    <a:lnTo>
                      <a:pt x="2" y="79"/>
                    </a:lnTo>
                    <a:lnTo>
                      <a:pt x="3" y="80"/>
                    </a:lnTo>
                    <a:lnTo>
                      <a:pt x="3" y="81"/>
                    </a:lnTo>
                    <a:lnTo>
                      <a:pt x="3" y="82"/>
                    </a:lnTo>
                    <a:lnTo>
                      <a:pt x="3" y="83"/>
                    </a:lnTo>
                    <a:lnTo>
                      <a:pt x="4" y="84"/>
                    </a:lnTo>
                    <a:lnTo>
                      <a:pt x="4" y="85"/>
                    </a:lnTo>
                    <a:lnTo>
                      <a:pt x="5" y="86"/>
                    </a:lnTo>
                    <a:lnTo>
                      <a:pt x="5" y="87"/>
                    </a:lnTo>
                    <a:lnTo>
                      <a:pt x="5" y="88"/>
                    </a:lnTo>
                    <a:lnTo>
                      <a:pt x="6" y="89"/>
                    </a:lnTo>
                    <a:lnTo>
                      <a:pt x="6" y="90"/>
                    </a:lnTo>
                    <a:lnTo>
                      <a:pt x="7" y="91"/>
                    </a:lnTo>
                    <a:lnTo>
                      <a:pt x="7" y="92"/>
                    </a:lnTo>
                    <a:lnTo>
                      <a:pt x="8" y="93"/>
                    </a:lnTo>
                    <a:lnTo>
                      <a:pt x="9" y="94"/>
                    </a:lnTo>
                    <a:lnTo>
                      <a:pt x="9" y="95"/>
                    </a:lnTo>
                    <a:lnTo>
                      <a:pt x="10" y="96"/>
                    </a:lnTo>
                    <a:lnTo>
                      <a:pt x="10" y="97"/>
                    </a:lnTo>
                    <a:lnTo>
                      <a:pt x="11" y="98"/>
                    </a:lnTo>
                    <a:lnTo>
                      <a:pt x="12" y="99"/>
                    </a:lnTo>
                    <a:lnTo>
                      <a:pt x="13" y="100"/>
                    </a:lnTo>
                    <a:lnTo>
                      <a:pt x="13" y="101"/>
                    </a:lnTo>
                    <a:lnTo>
                      <a:pt x="14" y="102"/>
                    </a:lnTo>
                    <a:lnTo>
                      <a:pt x="15" y="103"/>
                    </a:lnTo>
                    <a:lnTo>
                      <a:pt x="16" y="104"/>
                    </a:lnTo>
                    <a:lnTo>
                      <a:pt x="17" y="105"/>
                    </a:lnTo>
                    <a:lnTo>
                      <a:pt x="18" y="106"/>
                    </a:lnTo>
                    <a:lnTo>
                      <a:pt x="19" y="107"/>
                    </a:lnTo>
                    <a:lnTo>
                      <a:pt x="20" y="108"/>
                    </a:lnTo>
                    <a:lnTo>
                      <a:pt x="21" y="109"/>
                    </a:lnTo>
                    <a:lnTo>
                      <a:pt x="22" y="110"/>
                    </a:lnTo>
                    <a:lnTo>
                      <a:pt x="23" y="111"/>
                    </a:lnTo>
                    <a:lnTo>
                      <a:pt x="24" y="112"/>
                    </a:lnTo>
                    <a:lnTo>
                      <a:pt x="25" y="112"/>
                    </a:lnTo>
                    <a:lnTo>
                      <a:pt x="26" y="113"/>
                    </a:lnTo>
                    <a:lnTo>
                      <a:pt x="27" y="114"/>
                    </a:lnTo>
                    <a:lnTo>
                      <a:pt x="28" y="115"/>
                    </a:lnTo>
                    <a:lnTo>
                      <a:pt x="29" y="115"/>
                    </a:lnTo>
                    <a:lnTo>
                      <a:pt x="30" y="116"/>
                    </a:lnTo>
                    <a:lnTo>
                      <a:pt x="31" y="116"/>
                    </a:lnTo>
                    <a:lnTo>
                      <a:pt x="32" y="117"/>
                    </a:lnTo>
                    <a:lnTo>
                      <a:pt x="33" y="118"/>
                    </a:lnTo>
                    <a:lnTo>
                      <a:pt x="34" y="118"/>
                    </a:lnTo>
                    <a:lnTo>
                      <a:pt x="35" y="119"/>
                    </a:lnTo>
                    <a:lnTo>
                      <a:pt x="36" y="119"/>
                    </a:lnTo>
                    <a:lnTo>
                      <a:pt x="37" y="120"/>
                    </a:lnTo>
                    <a:lnTo>
                      <a:pt x="38" y="120"/>
                    </a:lnTo>
                    <a:lnTo>
                      <a:pt x="39" y="120"/>
                    </a:lnTo>
                    <a:lnTo>
                      <a:pt x="40" y="121"/>
                    </a:lnTo>
                    <a:lnTo>
                      <a:pt x="41" y="121"/>
                    </a:lnTo>
                    <a:lnTo>
                      <a:pt x="42" y="122"/>
                    </a:lnTo>
                    <a:lnTo>
                      <a:pt x="43" y="122"/>
                    </a:lnTo>
                    <a:lnTo>
                      <a:pt x="44" y="122"/>
                    </a:lnTo>
                    <a:lnTo>
                      <a:pt x="45" y="122"/>
                    </a:lnTo>
                    <a:lnTo>
                      <a:pt x="46" y="123"/>
                    </a:lnTo>
                    <a:lnTo>
                      <a:pt x="47" y="123"/>
                    </a:lnTo>
                    <a:lnTo>
                      <a:pt x="48" y="123"/>
                    </a:lnTo>
                    <a:lnTo>
                      <a:pt x="49" y="124"/>
                    </a:lnTo>
                    <a:lnTo>
                      <a:pt x="50" y="124"/>
                    </a:lnTo>
                    <a:lnTo>
                      <a:pt x="51" y="124"/>
                    </a:lnTo>
                    <a:lnTo>
                      <a:pt x="52" y="124"/>
                    </a:lnTo>
                    <a:lnTo>
                      <a:pt x="53" y="124"/>
                    </a:lnTo>
                    <a:lnTo>
                      <a:pt x="54" y="124"/>
                    </a:lnTo>
                    <a:lnTo>
                      <a:pt x="55" y="125"/>
                    </a:lnTo>
                    <a:lnTo>
                      <a:pt x="56" y="125"/>
                    </a:lnTo>
                    <a:lnTo>
                      <a:pt x="57" y="125"/>
                    </a:lnTo>
                    <a:lnTo>
                      <a:pt x="58" y="125"/>
                    </a:lnTo>
                    <a:lnTo>
                      <a:pt x="59" y="125"/>
                    </a:lnTo>
                    <a:lnTo>
                      <a:pt x="60" y="125"/>
                    </a:lnTo>
                    <a:lnTo>
                      <a:pt x="61" y="125"/>
                    </a:lnTo>
                    <a:lnTo>
                      <a:pt x="62" y="125"/>
                    </a:lnTo>
                    <a:lnTo>
                      <a:pt x="63" y="125"/>
                    </a:lnTo>
                    <a:lnTo>
                      <a:pt x="64" y="125"/>
                    </a:lnTo>
                    <a:lnTo>
                      <a:pt x="65" y="125"/>
                    </a:lnTo>
                    <a:lnTo>
                      <a:pt x="66" y="125"/>
                    </a:lnTo>
                    <a:lnTo>
                      <a:pt x="67" y="125"/>
                    </a:lnTo>
                    <a:lnTo>
                      <a:pt x="68" y="125"/>
                    </a:lnTo>
                    <a:lnTo>
                      <a:pt x="69" y="125"/>
                    </a:lnTo>
                    <a:lnTo>
                      <a:pt x="70" y="125"/>
                    </a:lnTo>
                    <a:lnTo>
                      <a:pt x="71" y="124"/>
                    </a:lnTo>
                    <a:lnTo>
                      <a:pt x="72" y="124"/>
                    </a:lnTo>
                    <a:lnTo>
                      <a:pt x="73" y="124"/>
                    </a:lnTo>
                    <a:lnTo>
                      <a:pt x="74" y="124"/>
                    </a:lnTo>
                    <a:lnTo>
                      <a:pt x="75" y="124"/>
                    </a:lnTo>
                    <a:lnTo>
                      <a:pt x="76" y="124"/>
                    </a:lnTo>
                    <a:lnTo>
                      <a:pt x="77" y="123"/>
                    </a:lnTo>
                    <a:lnTo>
                      <a:pt x="78" y="123"/>
                    </a:lnTo>
                    <a:lnTo>
                      <a:pt x="79" y="123"/>
                    </a:lnTo>
                    <a:lnTo>
                      <a:pt x="80" y="122"/>
                    </a:lnTo>
                    <a:lnTo>
                      <a:pt x="81" y="122"/>
                    </a:lnTo>
                    <a:lnTo>
                      <a:pt x="82" y="122"/>
                    </a:lnTo>
                    <a:lnTo>
                      <a:pt x="83" y="122"/>
                    </a:lnTo>
                    <a:lnTo>
                      <a:pt x="84" y="121"/>
                    </a:lnTo>
                    <a:lnTo>
                      <a:pt x="85" y="121"/>
                    </a:lnTo>
                    <a:lnTo>
                      <a:pt x="86" y="120"/>
                    </a:lnTo>
                    <a:lnTo>
                      <a:pt x="87" y="120"/>
                    </a:lnTo>
                    <a:lnTo>
                      <a:pt x="88" y="120"/>
                    </a:lnTo>
                    <a:lnTo>
                      <a:pt x="89" y="119"/>
                    </a:lnTo>
                    <a:lnTo>
                      <a:pt x="90" y="119"/>
                    </a:lnTo>
                    <a:lnTo>
                      <a:pt x="91" y="118"/>
                    </a:lnTo>
                    <a:lnTo>
                      <a:pt x="92" y="118"/>
                    </a:lnTo>
                    <a:lnTo>
                      <a:pt x="93" y="117"/>
                    </a:lnTo>
                    <a:lnTo>
                      <a:pt x="94" y="116"/>
                    </a:lnTo>
                    <a:lnTo>
                      <a:pt x="95" y="116"/>
                    </a:lnTo>
                    <a:lnTo>
                      <a:pt x="96" y="115"/>
                    </a:lnTo>
                    <a:lnTo>
                      <a:pt x="97" y="115"/>
                    </a:lnTo>
                    <a:lnTo>
                      <a:pt x="98" y="114"/>
                    </a:lnTo>
                    <a:lnTo>
                      <a:pt x="99" y="113"/>
                    </a:lnTo>
                    <a:lnTo>
                      <a:pt x="100" y="112"/>
                    </a:lnTo>
                    <a:lnTo>
                      <a:pt x="101" y="112"/>
                    </a:lnTo>
                    <a:lnTo>
                      <a:pt x="102" y="111"/>
                    </a:lnTo>
                    <a:lnTo>
                      <a:pt x="103" y="110"/>
                    </a:lnTo>
                    <a:lnTo>
                      <a:pt x="104" y="109"/>
                    </a:lnTo>
                    <a:lnTo>
                      <a:pt x="105" y="108"/>
                    </a:lnTo>
                    <a:lnTo>
                      <a:pt x="106" y="107"/>
                    </a:lnTo>
                    <a:lnTo>
                      <a:pt x="107" y="106"/>
                    </a:lnTo>
                    <a:lnTo>
                      <a:pt x="108" y="105"/>
                    </a:lnTo>
                    <a:lnTo>
                      <a:pt x="109" y="104"/>
                    </a:lnTo>
                    <a:lnTo>
                      <a:pt x="110" y="103"/>
                    </a:lnTo>
                    <a:lnTo>
                      <a:pt x="111" y="102"/>
                    </a:lnTo>
                    <a:lnTo>
                      <a:pt x="112" y="101"/>
                    </a:lnTo>
                    <a:lnTo>
                      <a:pt x="112" y="100"/>
                    </a:lnTo>
                    <a:lnTo>
                      <a:pt x="113" y="99"/>
                    </a:lnTo>
                    <a:lnTo>
                      <a:pt x="114" y="98"/>
                    </a:lnTo>
                    <a:lnTo>
                      <a:pt x="115" y="97"/>
                    </a:lnTo>
                    <a:lnTo>
                      <a:pt x="115" y="96"/>
                    </a:lnTo>
                    <a:lnTo>
                      <a:pt x="116" y="95"/>
                    </a:lnTo>
                    <a:lnTo>
                      <a:pt x="116" y="94"/>
                    </a:lnTo>
                    <a:lnTo>
                      <a:pt x="117" y="93"/>
                    </a:lnTo>
                    <a:lnTo>
                      <a:pt x="118" y="92"/>
                    </a:lnTo>
                    <a:lnTo>
                      <a:pt x="118" y="91"/>
                    </a:lnTo>
                    <a:lnTo>
                      <a:pt x="119" y="90"/>
                    </a:lnTo>
                    <a:lnTo>
                      <a:pt x="119" y="89"/>
                    </a:lnTo>
                    <a:lnTo>
                      <a:pt x="120" y="88"/>
                    </a:lnTo>
                    <a:lnTo>
                      <a:pt x="120" y="87"/>
                    </a:lnTo>
                    <a:lnTo>
                      <a:pt x="120" y="86"/>
                    </a:lnTo>
                    <a:lnTo>
                      <a:pt x="121" y="85"/>
                    </a:lnTo>
                    <a:lnTo>
                      <a:pt x="121" y="84"/>
                    </a:lnTo>
                    <a:lnTo>
                      <a:pt x="122" y="83"/>
                    </a:lnTo>
                    <a:lnTo>
                      <a:pt x="122" y="82"/>
                    </a:lnTo>
                    <a:lnTo>
                      <a:pt x="122" y="81"/>
                    </a:lnTo>
                    <a:lnTo>
                      <a:pt x="122" y="80"/>
                    </a:lnTo>
                    <a:lnTo>
                      <a:pt x="123" y="79"/>
                    </a:lnTo>
                    <a:lnTo>
                      <a:pt x="123" y="78"/>
                    </a:lnTo>
                    <a:lnTo>
                      <a:pt x="123" y="77"/>
                    </a:lnTo>
                    <a:lnTo>
                      <a:pt x="124" y="76"/>
                    </a:lnTo>
                    <a:lnTo>
                      <a:pt x="124" y="75"/>
                    </a:lnTo>
                    <a:lnTo>
                      <a:pt x="124" y="74"/>
                    </a:lnTo>
                    <a:lnTo>
                      <a:pt x="124" y="73"/>
                    </a:lnTo>
                    <a:lnTo>
                      <a:pt x="124" y="72"/>
                    </a:lnTo>
                    <a:lnTo>
                      <a:pt x="124" y="71"/>
                    </a:lnTo>
                    <a:lnTo>
                      <a:pt x="125" y="70"/>
                    </a:lnTo>
                    <a:lnTo>
                      <a:pt x="125" y="69"/>
                    </a:lnTo>
                    <a:lnTo>
                      <a:pt x="125" y="68"/>
                    </a:lnTo>
                    <a:lnTo>
                      <a:pt x="125" y="67"/>
                    </a:lnTo>
                    <a:lnTo>
                      <a:pt x="125" y="66"/>
                    </a:lnTo>
                    <a:lnTo>
                      <a:pt x="125" y="65"/>
                    </a:lnTo>
                    <a:lnTo>
                      <a:pt x="125" y="64"/>
                    </a:lnTo>
                    <a:lnTo>
                      <a:pt x="125" y="63"/>
                    </a:lnTo>
                    <a:close/>
                  </a:path>
                </a:pathLst>
              </a:custGeom>
              <a:solidFill>
                <a:srgbClr val="0073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138"/>
              </a:p>
            </p:txBody>
          </p:sp>
          <p:sp>
            <p:nvSpPr>
              <p:cNvPr id="88" name="Freeform 86"/>
              <p:cNvSpPr>
                <a:spLocks/>
              </p:cNvSpPr>
              <p:nvPr/>
            </p:nvSpPr>
            <p:spPr bwMode="auto">
              <a:xfrm>
                <a:off x="1767" y="3079"/>
                <a:ext cx="198" cy="198"/>
              </a:xfrm>
              <a:custGeom>
                <a:avLst/>
                <a:gdLst>
                  <a:gd name="T0" fmla="*/ 125 w 125"/>
                  <a:gd name="T1" fmla="*/ 58 h 125"/>
                  <a:gd name="T2" fmla="*/ 124 w 125"/>
                  <a:gd name="T3" fmla="*/ 52 h 125"/>
                  <a:gd name="T4" fmla="*/ 123 w 125"/>
                  <a:gd name="T5" fmla="*/ 46 h 125"/>
                  <a:gd name="T6" fmla="*/ 121 w 125"/>
                  <a:gd name="T7" fmla="*/ 40 h 125"/>
                  <a:gd name="T8" fmla="*/ 118 w 125"/>
                  <a:gd name="T9" fmla="*/ 34 h 125"/>
                  <a:gd name="T10" fmla="*/ 115 w 125"/>
                  <a:gd name="T11" fmla="*/ 28 h 125"/>
                  <a:gd name="T12" fmla="*/ 110 w 125"/>
                  <a:gd name="T13" fmla="*/ 22 h 125"/>
                  <a:gd name="T14" fmla="*/ 104 w 125"/>
                  <a:gd name="T15" fmla="*/ 16 h 125"/>
                  <a:gd name="T16" fmla="*/ 98 w 125"/>
                  <a:gd name="T17" fmla="*/ 11 h 125"/>
                  <a:gd name="T18" fmla="*/ 92 w 125"/>
                  <a:gd name="T19" fmla="*/ 7 h 125"/>
                  <a:gd name="T20" fmla="*/ 86 w 125"/>
                  <a:gd name="T21" fmla="*/ 5 h 125"/>
                  <a:gd name="T22" fmla="*/ 80 w 125"/>
                  <a:gd name="T23" fmla="*/ 3 h 125"/>
                  <a:gd name="T24" fmla="*/ 74 w 125"/>
                  <a:gd name="T25" fmla="*/ 1 h 125"/>
                  <a:gd name="T26" fmla="*/ 68 w 125"/>
                  <a:gd name="T27" fmla="*/ 0 h 125"/>
                  <a:gd name="T28" fmla="*/ 62 w 125"/>
                  <a:gd name="T29" fmla="*/ 0 h 125"/>
                  <a:gd name="T30" fmla="*/ 56 w 125"/>
                  <a:gd name="T31" fmla="*/ 0 h 125"/>
                  <a:gd name="T32" fmla="*/ 50 w 125"/>
                  <a:gd name="T33" fmla="*/ 1 h 125"/>
                  <a:gd name="T34" fmla="*/ 44 w 125"/>
                  <a:gd name="T35" fmla="*/ 3 h 125"/>
                  <a:gd name="T36" fmla="*/ 38 w 125"/>
                  <a:gd name="T37" fmla="*/ 5 h 125"/>
                  <a:gd name="T38" fmla="*/ 32 w 125"/>
                  <a:gd name="T39" fmla="*/ 8 h 125"/>
                  <a:gd name="T40" fmla="*/ 26 w 125"/>
                  <a:gd name="T41" fmla="*/ 12 h 125"/>
                  <a:gd name="T42" fmla="*/ 20 w 125"/>
                  <a:gd name="T43" fmla="*/ 17 h 125"/>
                  <a:gd name="T44" fmla="*/ 14 w 125"/>
                  <a:gd name="T45" fmla="*/ 23 h 125"/>
                  <a:gd name="T46" fmla="*/ 10 w 125"/>
                  <a:gd name="T47" fmla="*/ 29 h 125"/>
                  <a:gd name="T48" fmla="*/ 6 w 125"/>
                  <a:gd name="T49" fmla="*/ 35 h 125"/>
                  <a:gd name="T50" fmla="*/ 4 w 125"/>
                  <a:gd name="T51" fmla="*/ 41 h 125"/>
                  <a:gd name="T52" fmla="*/ 2 w 125"/>
                  <a:gd name="T53" fmla="*/ 47 h 125"/>
                  <a:gd name="T54" fmla="*/ 1 w 125"/>
                  <a:gd name="T55" fmla="*/ 53 h 125"/>
                  <a:gd name="T56" fmla="*/ 0 w 125"/>
                  <a:gd name="T57" fmla="*/ 59 h 125"/>
                  <a:gd name="T58" fmla="*/ 0 w 125"/>
                  <a:gd name="T59" fmla="*/ 65 h 125"/>
                  <a:gd name="T60" fmla="*/ 1 w 125"/>
                  <a:gd name="T61" fmla="*/ 71 h 125"/>
                  <a:gd name="T62" fmla="*/ 2 w 125"/>
                  <a:gd name="T63" fmla="*/ 77 h 125"/>
                  <a:gd name="T64" fmla="*/ 3 w 125"/>
                  <a:gd name="T65" fmla="*/ 83 h 125"/>
                  <a:gd name="T66" fmla="*/ 6 w 125"/>
                  <a:gd name="T67" fmla="*/ 89 h 125"/>
                  <a:gd name="T68" fmla="*/ 9 w 125"/>
                  <a:gd name="T69" fmla="*/ 95 h 125"/>
                  <a:gd name="T70" fmla="*/ 13 w 125"/>
                  <a:gd name="T71" fmla="*/ 101 h 125"/>
                  <a:gd name="T72" fmla="*/ 19 w 125"/>
                  <a:gd name="T73" fmla="*/ 107 h 125"/>
                  <a:gd name="T74" fmla="*/ 25 w 125"/>
                  <a:gd name="T75" fmla="*/ 112 h 125"/>
                  <a:gd name="T76" fmla="*/ 31 w 125"/>
                  <a:gd name="T77" fmla="*/ 116 h 125"/>
                  <a:gd name="T78" fmla="*/ 37 w 125"/>
                  <a:gd name="T79" fmla="*/ 120 h 125"/>
                  <a:gd name="T80" fmla="*/ 43 w 125"/>
                  <a:gd name="T81" fmla="*/ 122 h 125"/>
                  <a:gd name="T82" fmla="*/ 49 w 125"/>
                  <a:gd name="T83" fmla="*/ 124 h 125"/>
                  <a:gd name="T84" fmla="*/ 55 w 125"/>
                  <a:gd name="T85" fmla="*/ 125 h 125"/>
                  <a:gd name="T86" fmla="*/ 61 w 125"/>
                  <a:gd name="T87" fmla="*/ 125 h 125"/>
                  <a:gd name="T88" fmla="*/ 67 w 125"/>
                  <a:gd name="T89" fmla="*/ 125 h 125"/>
                  <a:gd name="T90" fmla="*/ 73 w 125"/>
                  <a:gd name="T91" fmla="*/ 124 h 125"/>
                  <a:gd name="T92" fmla="*/ 79 w 125"/>
                  <a:gd name="T93" fmla="*/ 123 h 125"/>
                  <a:gd name="T94" fmla="*/ 85 w 125"/>
                  <a:gd name="T95" fmla="*/ 121 h 125"/>
                  <a:gd name="T96" fmla="*/ 91 w 125"/>
                  <a:gd name="T97" fmla="*/ 118 h 125"/>
                  <a:gd name="T98" fmla="*/ 97 w 125"/>
                  <a:gd name="T99" fmla="*/ 115 h 125"/>
                  <a:gd name="T100" fmla="*/ 103 w 125"/>
                  <a:gd name="T101" fmla="*/ 110 h 125"/>
                  <a:gd name="T102" fmla="*/ 109 w 125"/>
                  <a:gd name="T103" fmla="*/ 104 h 125"/>
                  <a:gd name="T104" fmla="*/ 114 w 125"/>
                  <a:gd name="T105" fmla="*/ 98 h 125"/>
                  <a:gd name="T106" fmla="*/ 118 w 125"/>
                  <a:gd name="T107" fmla="*/ 92 h 125"/>
                  <a:gd name="T108" fmla="*/ 120 w 125"/>
                  <a:gd name="T109" fmla="*/ 86 h 125"/>
                  <a:gd name="T110" fmla="*/ 122 w 125"/>
                  <a:gd name="T111" fmla="*/ 80 h 125"/>
                  <a:gd name="T112" fmla="*/ 124 w 125"/>
                  <a:gd name="T113" fmla="*/ 74 h 125"/>
                  <a:gd name="T114" fmla="*/ 125 w 125"/>
                  <a:gd name="T115" fmla="*/ 68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5" h="125">
                    <a:moveTo>
                      <a:pt x="125" y="63"/>
                    </a:moveTo>
                    <a:lnTo>
                      <a:pt x="125" y="62"/>
                    </a:lnTo>
                    <a:lnTo>
                      <a:pt x="125" y="61"/>
                    </a:lnTo>
                    <a:lnTo>
                      <a:pt x="125" y="60"/>
                    </a:lnTo>
                    <a:lnTo>
                      <a:pt x="125" y="59"/>
                    </a:lnTo>
                    <a:lnTo>
                      <a:pt x="125" y="58"/>
                    </a:lnTo>
                    <a:lnTo>
                      <a:pt x="125" y="57"/>
                    </a:lnTo>
                    <a:lnTo>
                      <a:pt x="125" y="56"/>
                    </a:lnTo>
                    <a:lnTo>
                      <a:pt x="125" y="55"/>
                    </a:lnTo>
                    <a:lnTo>
                      <a:pt x="124" y="54"/>
                    </a:lnTo>
                    <a:lnTo>
                      <a:pt x="124" y="53"/>
                    </a:lnTo>
                    <a:lnTo>
                      <a:pt x="124" y="52"/>
                    </a:lnTo>
                    <a:lnTo>
                      <a:pt x="124" y="51"/>
                    </a:lnTo>
                    <a:lnTo>
                      <a:pt x="124" y="50"/>
                    </a:lnTo>
                    <a:lnTo>
                      <a:pt x="124" y="49"/>
                    </a:lnTo>
                    <a:lnTo>
                      <a:pt x="123" y="48"/>
                    </a:lnTo>
                    <a:lnTo>
                      <a:pt x="123" y="47"/>
                    </a:lnTo>
                    <a:lnTo>
                      <a:pt x="123" y="46"/>
                    </a:lnTo>
                    <a:lnTo>
                      <a:pt x="122" y="45"/>
                    </a:lnTo>
                    <a:lnTo>
                      <a:pt x="122" y="44"/>
                    </a:lnTo>
                    <a:lnTo>
                      <a:pt x="122" y="43"/>
                    </a:lnTo>
                    <a:lnTo>
                      <a:pt x="122" y="42"/>
                    </a:lnTo>
                    <a:lnTo>
                      <a:pt x="121" y="41"/>
                    </a:lnTo>
                    <a:lnTo>
                      <a:pt x="121" y="40"/>
                    </a:lnTo>
                    <a:lnTo>
                      <a:pt x="120" y="39"/>
                    </a:lnTo>
                    <a:lnTo>
                      <a:pt x="120" y="38"/>
                    </a:lnTo>
                    <a:lnTo>
                      <a:pt x="120" y="37"/>
                    </a:lnTo>
                    <a:lnTo>
                      <a:pt x="119" y="36"/>
                    </a:lnTo>
                    <a:lnTo>
                      <a:pt x="119" y="35"/>
                    </a:lnTo>
                    <a:lnTo>
                      <a:pt x="118" y="34"/>
                    </a:lnTo>
                    <a:lnTo>
                      <a:pt x="118" y="33"/>
                    </a:lnTo>
                    <a:lnTo>
                      <a:pt x="117" y="32"/>
                    </a:lnTo>
                    <a:lnTo>
                      <a:pt x="116" y="31"/>
                    </a:lnTo>
                    <a:lnTo>
                      <a:pt x="116" y="30"/>
                    </a:lnTo>
                    <a:lnTo>
                      <a:pt x="115" y="29"/>
                    </a:lnTo>
                    <a:lnTo>
                      <a:pt x="115" y="28"/>
                    </a:lnTo>
                    <a:lnTo>
                      <a:pt x="114" y="27"/>
                    </a:lnTo>
                    <a:lnTo>
                      <a:pt x="113" y="26"/>
                    </a:lnTo>
                    <a:lnTo>
                      <a:pt x="112" y="25"/>
                    </a:lnTo>
                    <a:lnTo>
                      <a:pt x="112" y="24"/>
                    </a:lnTo>
                    <a:lnTo>
                      <a:pt x="111" y="23"/>
                    </a:lnTo>
                    <a:lnTo>
                      <a:pt x="110" y="22"/>
                    </a:lnTo>
                    <a:lnTo>
                      <a:pt x="109" y="21"/>
                    </a:lnTo>
                    <a:lnTo>
                      <a:pt x="108" y="20"/>
                    </a:lnTo>
                    <a:lnTo>
                      <a:pt x="107" y="19"/>
                    </a:lnTo>
                    <a:lnTo>
                      <a:pt x="106" y="18"/>
                    </a:lnTo>
                    <a:lnTo>
                      <a:pt x="105" y="17"/>
                    </a:lnTo>
                    <a:lnTo>
                      <a:pt x="104" y="16"/>
                    </a:lnTo>
                    <a:lnTo>
                      <a:pt x="103" y="15"/>
                    </a:lnTo>
                    <a:lnTo>
                      <a:pt x="102" y="14"/>
                    </a:lnTo>
                    <a:lnTo>
                      <a:pt x="101" y="13"/>
                    </a:lnTo>
                    <a:lnTo>
                      <a:pt x="100" y="13"/>
                    </a:lnTo>
                    <a:lnTo>
                      <a:pt x="99" y="12"/>
                    </a:lnTo>
                    <a:lnTo>
                      <a:pt x="98" y="11"/>
                    </a:lnTo>
                    <a:lnTo>
                      <a:pt x="97" y="10"/>
                    </a:lnTo>
                    <a:lnTo>
                      <a:pt x="96" y="10"/>
                    </a:lnTo>
                    <a:lnTo>
                      <a:pt x="95" y="9"/>
                    </a:lnTo>
                    <a:lnTo>
                      <a:pt x="94" y="9"/>
                    </a:lnTo>
                    <a:lnTo>
                      <a:pt x="93" y="8"/>
                    </a:lnTo>
                    <a:lnTo>
                      <a:pt x="92" y="7"/>
                    </a:lnTo>
                    <a:lnTo>
                      <a:pt x="91" y="7"/>
                    </a:lnTo>
                    <a:lnTo>
                      <a:pt x="90" y="6"/>
                    </a:lnTo>
                    <a:lnTo>
                      <a:pt x="89" y="6"/>
                    </a:lnTo>
                    <a:lnTo>
                      <a:pt x="88" y="5"/>
                    </a:lnTo>
                    <a:lnTo>
                      <a:pt x="87" y="5"/>
                    </a:lnTo>
                    <a:lnTo>
                      <a:pt x="86" y="5"/>
                    </a:lnTo>
                    <a:lnTo>
                      <a:pt x="85" y="4"/>
                    </a:lnTo>
                    <a:lnTo>
                      <a:pt x="84" y="4"/>
                    </a:lnTo>
                    <a:lnTo>
                      <a:pt x="83" y="3"/>
                    </a:lnTo>
                    <a:lnTo>
                      <a:pt x="82" y="3"/>
                    </a:lnTo>
                    <a:lnTo>
                      <a:pt x="81" y="3"/>
                    </a:lnTo>
                    <a:lnTo>
                      <a:pt x="80" y="3"/>
                    </a:lnTo>
                    <a:lnTo>
                      <a:pt x="79" y="2"/>
                    </a:lnTo>
                    <a:lnTo>
                      <a:pt x="78" y="2"/>
                    </a:lnTo>
                    <a:lnTo>
                      <a:pt x="77" y="2"/>
                    </a:lnTo>
                    <a:lnTo>
                      <a:pt x="76" y="1"/>
                    </a:lnTo>
                    <a:lnTo>
                      <a:pt x="75" y="1"/>
                    </a:lnTo>
                    <a:lnTo>
                      <a:pt x="74" y="1"/>
                    </a:lnTo>
                    <a:lnTo>
                      <a:pt x="73" y="1"/>
                    </a:lnTo>
                    <a:lnTo>
                      <a:pt x="72" y="1"/>
                    </a:lnTo>
                    <a:lnTo>
                      <a:pt x="71" y="1"/>
                    </a:lnTo>
                    <a:lnTo>
                      <a:pt x="70" y="0"/>
                    </a:lnTo>
                    <a:lnTo>
                      <a:pt x="69" y="0"/>
                    </a:lnTo>
                    <a:lnTo>
                      <a:pt x="68" y="0"/>
                    </a:lnTo>
                    <a:lnTo>
                      <a:pt x="67" y="0"/>
                    </a:lnTo>
                    <a:lnTo>
                      <a:pt x="66" y="0"/>
                    </a:lnTo>
                    <a:lnTo>
                      <a:pt x="65" y="0"/>
                    </a:lnTo>
                    <a:lnTo>
                      <a:pt x="64" y="0"/>
                    </a:lnTo>
                    <a:lnTo>
                      <a:pt x="63" y="0"/>
                    </a:lnTo>
                    <a:lnTo>
                      <a:pt x="62" y="0"/>
                    </a:lnTo>
                    <a:lnTo>
                      <a:pt x="61" y="0"/>
                    </a:lnTo>
                    <a:lnTo>
                      <a:pt x="60" y="0"/>
                    </a:lnTo>
                    <a:lnTo>
                      <a:pt x="59" y="0"/>
                    </a:lnTo>
                    <a:lnTo>
                      <a:pt x="58" y="0"/>
                    </a:lnTo>
                    <a:lnTo>
                      <a:pt x="57" y="0"/>
                    </a:lnTo>
                    <a:lnTo>
                      <a:pt x="56" y="0"/>
                    </a:lnTo>
                    <a:lnTo>
                      <a:pt x="55" y="0"/>
                    </a:lnTo>
                    <a:lnTo>
                      <a:pt x="54" y="1"/>
                    </a:lnTo>
                    <a:lnTo>
                      <a:pt x="53" y="1"/>
                    </a:lnTo>
                    <a:lnTo>
                      <a:pt x="52" y="1"/>
                    </a:lnTo>
                    <a:lnTo>
                      <a:pt x="51" y="1"/>
                    </a:lnTo>
                    <a:lnTo>
                      <a:pt x="50" y="1"/>
                    </a:lnTo>
                    <a:lnTo>
                      <a:pt x="49" y="1"/>
                    </a:lnTo>
                    <a:lnTo>
                      <a:pt x="48" y="2"/>
                    </a:lnTo>
                    <a:lnTo>
                      <a:pt x="47" y="2"/>
                    </a:lnTo>
                    <a:lnTo>
                      <a:pt x="46" y="2"/>
                    </a:lnTo>
                    <a:lnTo>
                      <a:pt x="45" y="3"/>
                    </a:lnTo>
                    <a:lnTo>
                      <a:pt x="44" y="3"/>
                    </a:lnTo>
                    <a:lnTo>
                      <a:pt x="43" y="3"/>
                    </a:lnTo>
                    <a:lnTo>
                      <a:pt x="42" y="3"/>
                    </a:lnTo>
                    <a:lnTo>
                      <a:pt x="41" y="4"/>
                    </a:lnTo>
                    <a:lnTo>
                      <a:pt x="40" y="4"/>
                    </a:lnTo>
                    <a:lnTo>
                      <a:pt x="39" y="5"/>
                    </a:lnTo>
                    <a:lnTo>
                      <a:pt x="38" y="5"/>
                    </a:lnTo>
                    <a:lnTo>
                      <a:pt x="37" y="5"/>
                    </a:lnTo>
                    <a:lnTo>
                      <a:pt x="36" y="6"/>
                    </a:lnTo>
                    <a:lnTo>
                      <a:pt x="35" y="6"/>
                    </a:lnTo>
                    <a:lnTo>
                      <a:pt x="34" y="7"/>
                    </a:lnTo>
                    <a:lnTo>
                      <a:pt x="33" y="7"/>
                    </a:lnTo>
                    <a:lnTo>
                      <a:pt x="32" y="8"/>
                    </a:lnTo>
                    <a:lnTo>
                      <a:pt x="31" y="9"/>
                    </a:lnTo>
                    <a:lnTo>
                      <a:pt x="30" y="9"/>
                    </a:lnTo>
                    <a:lnTo>
                      <a:pt x="29" y="10"/>
                    </a:lnTo>
                    <a:lnTo>
                      <a:pt x="28" y="10"/>
                    </a:lnTo>
                    <a:lnTo>
                      <a:pt x="27" y="11"/>
                    </a:lnTo>
                    <a:lnTo>
                      <a:pt x="26" y="12"/>
                    </a:lnTo>
                    <a:lnTo>
                      <a:pt x="25" y="13"/>
                    </a:lnTo>
                    <a:lnTo>
                      <a:pt x="24" y="13"/>
                    </a:lnTo>
                    <a:lnTo>
                      <a:pt x="23" y="14"/>
                    </a:lnTo>
                    <a:lnTo>
                      <a:pt x="22" y="15"/>
                    </a:lnTo>
                    <a:lnTo>
                      <a:pt x="21" y="16"/>
                    </a:lnTo>
                    <a:lnTo>
                      <a:pt x="20" y="17"/>
                    </a:lnTo>
                    <a:lnTo>
                      <a:pt x="19" y="18"/>
                    </a:lnTo>
                    <a:lnTo>
                      <a:pt x="18" y="19"/>
                    </a:lnTo>
                    <a:lnTo>
                      <a:pt x="17" y="20"/>
                    </a:lnTo>
                    <a:lnTo>
                      <a:pt x="16" y="21"/>
                    </a:lnTo>
                    <a:lnTo>
                      <a:pt x="15" y="22"/>
                    </a:lnTo>
                    <a:lnTo>
                      <a:pt x="14" y="23"/>
                    </a:lnTo>
                    <a:lnTo>
                      <a:pt x="13" y="24"/>
                    </a:lnTo>
                    <a:lnTo>
                      <a:pt x="13" y="25"/>
                    </a:lnTo>
                    <a:lnTo>
                      <a:pt x="12" y="26"/>
                    </a:lnTo>
                    <a:lnTo>
                      <a:pt x="11" y="27"/>
                    </a:lnTo>
                    <a:lnTo>
                      <a:pt x="10" y="28"/>
                    </a:lnTo>
                    <a:lnTo>
                      <a:pt x="10" y="29"/>
                    </a:lnTo>
                    <a:lnTo>
                      <a:pt x="9" y="30"/>
                    </a:lnTo>
                    <a:lnTo>
                      <a:pt x="9" y="31"/>
                    </a:lnTo>
                    <a:lnTo>
                      <a:pt x="8" y="32"/>
                    </a:lnTo>
                    <a:lnTo>
                      <a:pt x="7" y="33"/>
                    </a:lnTo>
                    <a:lnTo>
                      <a:pt x="7" y="34"/>
                    </a:lnTo>
                    <a:lnTo>
                      <a:pt x="6" y="35"/>
                    </a:lnTo>
                    <a:lnTo>
                      <a:pt x="6" y="36"/>
                    </a:lnTo>
                    <a:lnTo>
                      <a:pt x="5" y="37"/>
                    </a:lnTo>
                    <a:lnTo>
                      <a:pt x="5" y="38"/>
                    </a:lnTo>
                    <a:lnTo>
                      <a:pt x="5" y="39"/>
                    </a:lnTo>
                    <a:lnTo>
                      <a:pt x="4" y="40"/>
                    </a:lnTo>
                    <a:lnTo>
                      <a:pt x="4" y="41"/>
                    </a:lnTo>
                    <a:lnTo>
                      <a:pt x="3" y="42"/>
                    </a:lnTo>
                    <a:lnTo>
                      <a:pt x="3" y="43"/>
                    </a:lnTo>
                    <a:lnTo>
                      <a:pt x="3" y="44"/>
                    </a:lnTo>
                    <a:lnTo>
                      <a:pt x="3" y="45"/>
                    </a:lnTo>
                    <a:lnTo>
                      <a:pt x="2" y="46"/>
                    </a:lnTo>
                    <a:lnTo>
                      <a:pt x="2" y="47"/>
                    </a:lnTo>
                    <a:lnTo>
                      <a:pt x="2" y="48"/>
                    </a:lnTo>
                    <a:lnTo>
                      <a:pt x="1" y="49"/>
                    </a:lnTo>
                    <a:lnTo>
                      <a:pt x="1" y="50"/>
                    </a:lnTo>
                    <a:lnTo>
                      <a:pt x="1" y="51"/>
                    </a:lnTo>
                    <a:lnTo>
                      <a:pt x="1" y="52"/>
                    </a:lnTo>
                    <a:lnTo>
                      <a:pt x="1" y="53"/>
                    </a:lnTo>
                    <a:lnTo>
                      <a:pt x="1" y="54"/>
                    </a:lnTo>
                    <a:lnTo>
                      <a:pt x="0" y="55"/>
                    </a:lnTo>
                    <a:lnTo>
                      <a:pt x="0" y="56"/>
                    </a:lnTo>
                    <a:lnTo>
                      <a:pt x="0" y="57"/>
                    </a:lnTo>
                    <a:lnTo>
                      <a:pt x="0" y="58"/>
                    </a:lnTo>
                    <a:lnTo>
                      <a:pt x="0" y="59"/>
                    </a:lnTo>
                    <a:lnTo>
                      <a:pt x="0" y="60"/>
                    </a:lnTo>
                    <a:lnTo>
                      <a:pt x="0" y="61"/>
                    </a:lnTo>
                    <a:lnTo>
                      <a:pt x="0" y="62"/>
                    </a:lnTo>
                    <a:lnTo>
                      <a:pt x="0" y="63"/>
                    </a:lnTo>
                    <a:lnTo>
                      <a:pt x="0" y="64"/>
                    </a:lnTo>
                    <a:lnTo>
                      <a:pt x="0" y="65"/>
                    </a:lnTo>
                    <a:lnTo>
                      <a:pt x="0" y="66"/>
                    </a:lnTo>
                    <a:lnTo>
                      <a:pt x="0" y="67"/>
                    </a:lnTo>
                    <a:lnTo>
                      <a:pt x="0" y="68"/>
                    </a:lnTo>
                    <a:lnTo>
                      <a:pt x="0" y="69"/>
                    </a:lnTo>
                    <a:lnTo>
                      <a:pt x="0" y="70"/>
                    </a:lnTo>
                    <a:lnTo>
                      <a:pt x="1" y="71"/>
                    </a:lnTo>
                    <a:lnTo>
                      <a:pt x="1" y="72"/>
                    </a:lnTo>
                    <a:lnTo>
                      <a:pt x="1" y="73"/>
                    </a:lnTo>
                    <a:lnTo>
                      <a:pt x="1" y="74"/>
                    </a:lnTo>
                    <a:lnTo>
                      <a:pt x="1" y="75"/>
                    </a:lnTo>
                    <a:lnTo>
                      <a:pt x="1" y="76"/>
                    </a:lnTo>
                    <a:lnTo>
                      <a:pt x="2" y="77"/>
                    </a:lnTo>
                    <a:lnTo>
                      <a:pt x="2" y="78"/>
                    </a:lnTo>
                    <a:lnTo>
                      <a:pt x="2" y="79"/>
                    </a:lnTo>
                    <a:lnTo>
                      <a:pt x="3" y="80"/>
                    </a:lnTo>
                    <a:lnTo>
                      <a:pt x="3" y="81"/>
                    </a:lnTo>
                    <a:lnTo>
                      <a:pt x="3" y="82"/>
                    </a:lnTo>
                    <a:lnTo>
                      <a:pt x="3" y="83"/>
                    </a:lnTo>
                    <a:lnTo>
                      <a:pt x="4" y="84"/>
                    </a:lnTo>
                    <a:lnTo>
                      <a:pt x="4" y="85"/>
                    </a:lnTo>
                    <a:lnTo>
                      <a:pt x="5" y="86"/>
                    </a:lnTo>
                    <a:lnTo>
                      <a:pt x="5" y="87"/>
                    </a:lnTo>
                    <a:lnTo>
                      <a:pt x="5" y="88"/>
                    </a:lnTo>
                    <a:lnTo>
                      <a:pt x="6" y="89"/>
                    </a:lnTo>
                    <a:lnTo>
                      <a:pt x="6" y="90"/>
                    </a:lnTo>
                    <a:lnTo>
                      <a:pt x="7" y="91"/>
                    </a:lnTo>
                    <a:lnTo>
                      <a:pt x="7" y="92"/>
                    </a:lnTo>
                    <a:lnTo>
                      <a:pt x="8" y="93"/>
                    </a:lnTo>
                    <a:lnTo>
                      <a:pt x="9" y="94"/>
                    </a:lnTo>
                    <a:lnTo>
                      <a:pt x="9" y="95"/>
                    </a:lnTo>
                    <a:lnTo>
                      <a:pt x="10" y="96"/>
                    </a:lnTo>
                    <a:lnTo>
                      <a:pt x="10" y="97"/>
                    </a:lnTo>
                    <a:lnTo>
                      <a:pt x="11" y="98"/>
                    </a:lnTo>
                    <a:lnTo>
                      <a:pt x="12" y="99"/>
                    </a:lnTo>
                    <a:lnTo>
                      <a:pt x="13" y="100"/>
                    </a:lnTo>
                    <a:lnTo>
                      <a:pt x="13" y="101"/>
                    </a:lnTo>
                    <a:lnTo>
                      <a:pt x="14" y="102"/>
                    </a:lnTo>
                    <a:lnTo>
                      <a:pt x="15" y="103"/>
                    </a:lnTo>
                    <a:lnTo>
                      <a:pt x="16" y="104"/>
                    </a:lnTo>
                    <a:lnTo>
                      <a:pt x="17" y="105"/>
                    </a:lnTo>
                    <a:lnTo>
                      <a:pt x="18" y="106"/>
                    </a:lnTo>
                    <a:lnTo>
                      <a:pt x="19" y="107"/>
                    </a:lnTo>
                    <a:lnTo>
                      <a:pt x="20" y="108"/>
                    </a:lnTo>
                    <a:lnTo>
                      <a:pt x="21" y="109"/>
                    </a:lnTo>
                    <a:lnTo>
                      <a:pt x="22" y="110"/>
                    </a:lnTo>
                    <a:lnTo>
                      <a:pt x="23" y="111"/>
                    </a:lnTo>
                    <a:lnTo>
                      <a:pt x="24" y="112"/>
                    </a:lnTo>
                    <a:lnTo>
                      <a:pt x="25" y="112"/>
                    </a:lnTo>
                    <a:lnTo>
                      <a:pt x="26" y="113"/>
                    </a:lnTo>
                    <a:lnTo>
                      <a:pt x="27" y="114"/>
                    </a:lnTo>
                    <a:lnTo>
                      <a:pt x="28" y="115"/>
                    </a:lnTo>
                    <a:lnTo>
                      <a:pt x="29" y="115"/>
                    </a:lnTo>
                    <a:lnTo>
                      <a:pt x="30" y="116"/>
                    </a:lnTo>
                    <a:lnTo>
                      <a:pt x="31" y="116"/>
                    </a:lnTo>
                    <a:lnTo>
                      <a:pt x="32" y="117"/>
                    </a:lnTo>
                    <a:lnTo>
                      <a:pt x="33" y="118"/>
                    </a:lnTo>
                    <a:lnTo>
                      <a:pt x="34" y="118"/>
                    </a:lnTo>
                    <a:lnTo>
                      <a:pt x="35" y="119"/>
                    </a:lnTo>
                    <a:lnTo>
                      <a:pt x="36" y="119"/>
                    </a:lnTo>
                    <a:lnTo>
                      <a:pt x="37" y="120"/>
                    </a:lnTo>
                    <a:lnTo>
                      <a:pt x="38" y="120"/>
                    </a:lnTo>
                    <a:lnTo>
                      <a:pt x="39" y="120"/>
                    </a:lnTo>
                    <a:lnTo>
                      <a:pt x="40" y="121"/>
                    </a:lnTo>
                    <a:lnTo>
                      <a:pt x="41" y="121"/>
                    </a:lnTo>
                    <a:lnTo>
                      <a:pt x="42" y="122"/>
                    </a:lnTo>
                    <a:lnTo>
                      <a:pt x="43" y="122"/>
                    </a:lnTo>
                    <a:lnTo>
                      <a:pt x="44" y="122"/>
                    </a:lnTo>
                    <a:lnTo>
                      <a:pt x="45" y="122"/>
                    </a:lnTo>
                    <a:lnTo>
                      <a:pt x="46" y="123"/>
                    </a:lnTo>
                    <a:lnTo>
                      <a:pt x="47" y="123"/>
                    </a:lnTo>
                    <a:lnTo>
                      <a:pt x="48" y="123"/>
                    </a:lnTo>
                    <a:lnTo>
                      <a:pt x="49" y="124"/>
                    </a:lnTo>
                    <a:lnTo>
                      <a:pt x="50" y="124"/>
                    </a:lnTo>
                    <a:lnTo>
                      <a:pt x="51" y="124"/>
                    </a:lnTo>
                    <a:lnTo>
                      <a:pt x="52" y="124"/>
                    </a:lnTo>
                    <a:lnTo>
                      <a:pt x="53" y="124"/>
                    </a:lnTo>
                    <a:lnTo>
                      <a:pt x="54" y="124"/>
                    </a:lnTo>
                    <a:lnTo>
                      <a:pt x="55" y="125"/>
                    </a:lnTo>
                    <a:lnTo>
                      <a:pt x="56" y="125"/>
                    </a:lnTo>
                    <a:lnTo>
                      <a:pt x="57" y="125"/>
                    </a:lnTo>
                    <a:lnTo>
                      <a:pt x="58" y="125"/>
                    </a:lnTo>
                    <a:lnTo>
                      <a:pt x="59" y="125"/>
                    </a:lnTo>
                    <a:lnTo>
                      <a:pt x="60" y="125"/>
                    </a:lnTo>
                    <a:lnTo>
                      <a:pt x="61" y="125"/>
                    </a:lnTo>
                    <a:lnTo>
                      <a:pt x="62" y="125"/>
                    </a:lnTo>
                    <a:lnTo>
                      <a:pt x="63" y="125"/>
                    </a:lnTo>
                    <a:lnTo>
                      <a:pt x="64" y="125"/>
                    </a:lnTo>
                    <a:lnTo>
                      <a:pt x="65" y="125"/>
                    </a:lnTo>
                    <a:lnTo>
                      <a:pt x="66" y="125"/>
                    </a:lnTo>
                    <a:lnTo>
                      <a:pt x="67" y="125"/>
                    </a:lnTo>
                    <a:lnTo>
                      <a:pt x="68" y="125"/>
                    </a:lnTo>
                    <a:lnTo>
                      <a:pt x="69" y="125"/>
                    </a:lnTo>
                    <a:lnTo>
                      <a:pt x="70" y="125"/>
                    </a:lnTo>
                    <a:lnTo>
                      <a:pt x="71" y="124"/>
                    </a:lnTo>
                    <a:lnTo>
                      <a:pt x="72" y="124"/>
                    </a:lnTo>
                    <a:lnTo>
                      <a:pt x="73" y="124"/>
                    </a:lnTo>
                    <a:lnTo>
                      <a:pt x="74" y="124"/>
                    </a:lnTo>
                    <a:lnTo>
                      <a:pt x="75" y="124"/>
                    </a:lnTo>
                    <a:lnTo>
                      <a:pt x="76" y="124"/>
                    </a:lnTo>
                    <a:lnTo>
                      <a:pt x="77" y="123"/>
                    </a:lnTo>
                    <a:lnTo>
                      <a:pt x="78" y="123"/>
                    </a:lnTo>
                    <a:lnTo>
                      <a:pt x="79" y="123"/>
                    </a:lnTo>
                    <a:lnTo>
                      <a:pt x="80" y="122"/>
                    </a:lnTo>
                    <a:lnTo>
                      <a:pt x="81" y="122"/>
                    </a:lnTo>
                    <a:lnTo>
                      <a:pt x="82" y="122"/>
                    </a:lnTo>
                    <a:lnTo>
                      <a:pt x="83" y="122"/>
                    </a:lnTo>
                    <a:lnTo>
                      <a:pt x="84" y="121"/>
                    </a:lnTo>
                    <a:lnTo>
                      <a:pt x="85" y="121"/>
                    </a:lnTo>
                    <a:lnTo>
                      <a:pt x="86" y="120"/>
                    </a:lnTo>
                    <a:lnTo>
                      <a:pt x="87" y="120"/>
                    </a:lnTo>
                    <a:lnTo>
                      <a:pt x="88" y="120"/>
                    </a:lnTo>
                    <a:lnTo>
                      <a:pt x="89" y="119"/>
                    </a:lnTo>
                    <a:lnTo>
                      <a:pt x="90" y="119"/>
                    </a:lnTo>
                    <a:lnTo>
                      <a:pt x="91" y="118"/>
                    </a:lnTo>
                    <a:lnTo>
                      <a:pt x="92" y="118"/>
                    </a:lnTo>
                    <a:lnTo>
                      <a:pt x="93" y="117"/>
                    </a:lnTo>
                    <a:lnTo>
                      <a:pt x="94" y="116"/>
                    </a:lnTo>
                    <a:lnTo>
                      <a:pt x="95" y="116"/>
                    </a:lnTo>
                    <a:lnTo>
                      <a:pt x="96" y="115"/>
                    </a:lnTo>
                    <a:lnTo>
                      <a:pt x="97" y="115"/>
                    </a:lnTo>
                    <a:lnTo>
                      <a:pt x="98" y="114"/>
                    </a:lnTo>
                    <a:lnTo>
                      <a:pt x="99" y="113"/>
                    </a:lnTo>
                    <a:lnTo>
                      <a:pt x="100" y="112"/>
                    </a:lnTo>
                    <a:lnTo>
                      <a:pt x="101" y="112"/>
                    </a:lnTo>
                    <a:lnTo>
                      <a:pt x="102" y="111"/>
                    </a:lnTo>
                    <a:lnTo>
                      <a:pt x="103" y="110"/>
                    </a:lnTo>
                    <a:lnTo>
                      <a:pt x="104" y="109"/>
                    </a:lnTo>
                    <a:lnTo>
                      <a:pt x="105" y="108"/>
                    </a:lnTo>
                    <a:lnTo>
                      <a:pt x="106" y="107"/>
                    </a:lnTo>
                    <a:lnTo>
                      <a:pt x="107" y="106"/>
                    </a:lnTo>
                    <a:lnTo>
                      <a:pt x="108" y="105"/>
                    </a:lnTo>
                    <a:lnTo>
                      <a:pt x="109" y="104"/>
                    </a:lnTo>
                    <a:lnTo>
                      <a:pt x="110" y="103"/>
                    </a:lnTo>
                    <a:lnTo>
                      <a:pt x="111" y="102"/>
                    </a:lnTo>
                    <a:lnTo>
                      <a:pt x="112" y="101"/>
                    </a:lnTo>
                    <a:lnTo>
                      <a:pt x="112" y="100"/>
                    </a:lnTo>
                    <a:lnTo>
                      <a:pt x="113" y="99"/>
                    </a:lnTo>
                    <a:lnTo>
                      <a:pt x="114" y="98"/>
                    </a:lnTo>
                    <a:lnTo>
                      <a:pt x="115" y="97"/>
                    </a:lnTo>
                    <a:lnTo>
                      <a:pt x="115" y="96"/>
                    </a:lnTo>
                    <a:lnTo>
                      <a:pt x="116" y="95"/>
                    </a:lnTo>
                    <a:lnTo>
                      <a:pt x="116" y="94"/>
                    </a:lnTo>
                    <a:lnTo>
                      <a:pt x="117" y="93"/>
                    </a:lnTo>
                    <a:lnTo>
                      <a:pt x="118" y="92"/>
                    </a:lnTo>
                    <a:lnTo>
                      <a:pt x="118" y="91"/>
                    </a:lnTo>
                    <a:lnTo>
                      <a:pt x="119" y="90"/>
                    </a:lnTo>
                    <a:lnTo>
                      <a:pt x="119" y="89"/>
                    </a:lnTo>
                    <a:lnTo>
                      <a:pt x="120" y="88"/>
                    </a:lnTo>
                    <a:lnTo>
                      <a:pt x="120" y="87"/>
                    </a:lnTo>
                    <a:lnTo>
                      <a:pt x="120" y="86"/>
                    </a:lnTo>
                    <a:lnTo>
                      <a:pt x="121" y="85"/>
                    </a:lnTo>
                    <a:lnTo>
                      <a:pt x="121" y="84"/>
                    </a:lnTo>
                    <a:lnTo>
                      <a:pt x="122" y="83"/>
                    </a:lnTo>
                    <a:lnTo>
                      <a:pt x="122" y="82"/>
                    </a:lnTo>
                    <a:lnTo>
                      <a:pt x="122" y="81"/>
                    </a:lnTo>
                    <a:lnTo>
                      <a:pt x="122" y="80"/>
                    </a:lnTo>
                    <a:lnTo>
                      <a:pt x="123" y="79"/>
                    </a:lnTo>
                    <a:lnTo>
                      <a:pt x="123" y="78"/>
                    </a:lnTo>
                    <a:lnTo>
                      <a:pt x="123" y="77"/>
                    </a:lnTo>
                    <a:lnTo>
                      <a:pt x="124" y="76"/>
                    </a:lnTo>
                    <a:lnTo>
                      <a:pt x="124" y="75"/>
                    </a:lnTo>
                    <a:lnTo>
                      <a:pt x="124" y="74"/>
                    </a:lnTo>
                    <a:lnTo>
                      <a:pt x="124" y="73"/>
                    </a:lnTo>
                    <a:lnTo>
                      <a:pt x="124" y="72"/>
                    </a:lnTo>
                    <a:lnTo>
                      <a:pt x="124" y="71"/>
                    </a:lnTo>
                    <a:lnTo>
                      <a:pt x="125" y="70"/>
                    </a:lnTo>
                    <a:lnTo>
                      <a:pt x="125" y="69"/>
                    </a:lnTo>
                    <a:lnTo>
                      <a:pt x="125" y="68"/>
                    </a:lnTo>
                    <a:lnTo>
                      <a:pt x="125" y="67"/>
                    </a:lnTo>
                    <a:lnTo>
                      <a:pt x="125" y="66"/>
                    </a:lnTo>
                    <a:lnTo>
                      <a:pt x="125" y="65"/>
                    </a:lnTo>
                    <a:lnTo>
                      <a:pt x="125" y="64"/>
                    </a:lnTo>
                    <a:lnTo>
                      <a:pt x="125" y="63"/>
                    </a:lnTo>
                    <a:close/>
                  </a:path>
                </a:pathLst>
              </a:custGeom>
              <a:solidFill>
                <a:srgbClr val="004C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138"/>
              </a:p>
            </p:txBody>
          </p:sp>
          <p:sp>
            <p:nvSpPr>
              <p:cNvPr id="89" name="Rectangle 87"/>
              <p:cNvSpPr>
                <a:spLocks noChangeArrowheads="1"/>
              </p:cNvSpPr>
              <p:nvPr/>
            </p:nvSpPr>
            <p:spPr bwMode="auto">
              <a:xfrm>
                <a:off x="3986" y="3265"/>
                <a:ext cx="314"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r>
                  <a:rPr lang="en-US" altLang="en-US" sz="975" dirty="0">
                    <a:solidFill>
                      <a:srgbClr val="000000"/>
                    </a:solidFill>
                  </a:rPr>
                  <a:t>Somali</a:t>
                </a:r>
                <a:endParaRPr lang="en-US" altLang="en-US" sz="975" dirty="0"/>
              </a:p>
            </p:txBody>
          </p:sp>
          <p:sp>
            <p:nvSpPr>
              <p:cNvPr id="90" name="Rectangle 88"/>
              <p:cNvSpPr>
                <a:spLocks noChangeArrowheads="1"/>
              </p:cNvSpPr>
              <p:nvPr/>
            </p:nvSpPr>
            <p:spPr bwMode="auto">
              <a:xfrm>
                <a:off x="3690" y="2768"/>
                <a:ext cx="337"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r>
                  <a:rPr lang="en-US" altLang="en-US" sz="975" dirty="0">
                    <a:solidFill>
                      <a:srgbClr val="000000"/>
                    </a:solidFill>
                  </a:rPr>
                  <a:t>Oromia</a:t>
                </a:r>
                <a:endParaRPr lang="en-US" altLang="en-US" sz="975" dirty="0"/>
              </a:p>
            </p:txBody>
          </p:sp>
          <p:sp>
            <p:nvSpPr>
              <p:cNvPr id="91" name="Rectangle 89"/>
              <p:cNvSpPr>
                <a:spLocks noChangeArrowheads="1"/>
              </p:cNvSpPr>
              <p:nvPr/>
            </p:nvSpPr>
            <p:spPr bwMode="auto">
              <a:xfrm>
                <a:off x="3696" y="1439"/>
                <a:ext cx="189"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r>
                  <a:rPr lang="en-US" altLang="en-US" sz="975">
                    <a:solidFill>
                      <a:srgbClr val="000000"/>
                    </a:solidFill>
                  </a:rPr>
                  <a:t>Afar</a:t>
                </a:r>
                <a:endParaRPr lang="en-US" altLang="en-US" sz="975"/>
              </a:p>
            </p:txBody>
          </p:sp>
          <p:sp>
            <p:nvSpPr>
              <p:cNvPr id="92" name="Rectangle 90"/>
              <p:cNvSpPr>
                <a:spLocks noChangeArrowheads="1"/>
              </p:cNvSpPr>
              <p:nvPr/>
            </p:nvSpPr>
            <p:spPr bwMode="auto">
              <a:xfrm>
                <a:off x="2720" y="1367"/>
                <a:ext cx="360"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r>
                  <a:rPr lang="en-US" altLang="en-US" sz="975" dirty="0">
                    <a:solidFill>
                      <a:srgbClr val="000000"/>
                    </a:solidFill>
                  </a:rPr>
                  <a:t>Amhara</a:t>
                </a:r>
                <a:endParaRPr lang="en-US" altLang="en-US" sz="975" dirty="0"/>
              </a:p>
            </p:txBody>
          </p:sp>
          <p:sp>
            <p:nvSpPr>
              <p:cNvPr id="93" name="Rectangle 91"/>
              <p:cNvSpPr>
                <a:spLocks noChangeArrowheads="1"/>
              </p:cNvSpPr>
              <p:nvPr/>
            </p:nvSpPr>
            <p:spPr bwMode="auto">
              <a:xfrm>
                <a:off x="2539" y="841"/>
                <a:ext cx="286"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r>
                  <a:rPr lang="en-US" altLang="en-US" sz="975" dirty="0">
                    <a:solidFill>
                      <a:srgbClr val="000000"/>
                    </a:solidFill>
                  </a:rPr>
                  <a:t>Tigray</a:t>
                </a:r>
                <a:endParaRPr lang="en-US" altLang="en-US" sz="975" dirty="0"/>
              </a:p>
            </p:txBody>
          </p:sp>
          <p:sp>
            <p:nvSpPr>
              <p:cNvPr id="94" name="Rectangle 92"/>
              <p:cNvSpPr>
                <a:spLocks noChangeArrowheads="1"/>
              </p:cNvSpPr>
              <p:nvPr/>
            </p:nvSpPr>
            <p:spPr bwMode="auto">
              <a:xfrm>
                <a:off x="1963" y="2995"/>
                <a:ext cx="2009"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r>
                  <a:rPr lang="en-US" altLang="en-US" sz="975" dirty="0">
                    <a:solidFill>
                      <a:srgbClr val="000000"/>
                    </a:solidFill>
                  </a:rPr>
                  <a:t>Southern Nations, Nationalities and Peoples</a:t>
                </a:r>
                <a:endParaRPr lang="en-US" altLang="en-US" sz="975" dirty="0"/>
              </a:p>
            </p:txBody>
          </p:sp>
          <p:sp>
            <p:nvSpPr>
              <p:cNvPr id="95" name="Rectangle 93"/>
              <p:cNvSpPr>
                <a:spLocks noChangeArrowheads="1"/>
              </p:cNvSpPr>
              <p:nvPr/>
            </p:nvSpPr>
            <p:spPr bwMode="auto">
              <a:xfrm>
                <a:off x="1865" y="1876"/>
                <a:ext cx="907"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r>
                  <a:rPr lang="en-US" altLang="en-US" sz="975">
                    <a:solidFill>
                      <a:srgbClr val="000000"/>
                    </a:solidFill>
                  </a:rPr>
                  <a:t>Benshangul-Gumaz</a:t>
                </a:r>
                <a:endParaRPr lang="en-US" altLang="en-US" sz="975"/>
              </a:p>
            </p:txBody>
          </p:sp>
          <p:sp>
            <p:nvSpPr>
              <p:cNvPr id="96" name="Rectangle 94"/>
              <p:cNvSpPr>
                <a:spLocks noChangeArrowheads="1"/>
              </p:cNvSpPr>
              <p:nvPr/>
            </p:nvSpPr>
            <p:spPr bwMode="auto">
              <a:xfrm>
                <a:off x="1182" y="2574"/>
                <a:ext cx="816"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r>
                  <a:rPr lang="en-US" altLang="en-US" sz="975" dirty="0">
                    <a:solidFill>
                      <a:srgbClr val="000000"/>
                    </a:solidFill>
                  </a:rPr>
                  <a:t>Gambela Peoples</a:t>
                </a:r>
                <a:endParaRPr lang="en-US" altLang="en-US" sz="975" dirty="0"/>
              </a:p>
            </p:txBody>
          </p:sp>
          <p:sp>
            <p:nvSpPr>
              <p:cNvPr id="97" name="Rectangle 95"/>
              <p:cNvSpPr>
                <a:spLocks noChangeArrowheads="1"/>
              </p:cNvSpPr>
              <p:nvPr/>
            </p:nvSpPr>
            <p:spPr bwMode="auto">
              <a:xfrm>
                <a:off x="3927" y="2171"/>
                <a:ext cx="479"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r>
                  <a:rPr lang="en-US" altLang="en-US" sz="975">
                    <a:solidFill>
                      <a:srgbClr val="000000"/>
                    </a:solidFill>
                  </a:rPr>
                  <a:t>Dire Dawa</a:t>
                </a:r>
                <a:endParaRPr lang="en-US" altLang="en-US" sz="975"/>
              </a:p>
            </p:txBody>
          </p:sp>
          <p:sp>
            <p:nvSpPr>
              <p:cNvPr id="98" name="Rectangle 96"/>
              <p:cNvSpPr>
                <a:spLocks noChangeArrowheads="1"/>
              </p:cNvSpPr>
              <p:nvPr/>
            </p:nvSpPr>
            <p:spPr bwMode="auto">
              <a:xfrm>
                <a:off x="2881" y="2304"/>
                <a:ext cx="582"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r>
                  <a:rPr lang="en-US" altLang="en-US" sz="975" dirty="0">
                    <a:solidFill>
                      <a:srgbClr val="000000"/>
                    </a:solidFill>
                  </a:rPr>
                  <a:t>Addis Ababa</a:t>
                </a:r>
                <a:endParaRPr lang="en-US" altLang="en-US" sz="975" dirty="0"/>
              </a:p>
            </p:txBody>
          </p:sp>
          <p:sp>
            <p:nvSpPr>
              <p:cNvPr id="99" name="Rectangle 97"/>
              <p:cNvSpPr>
                <a:spLocks noChangeArrowheads="1"/>
              </p:cNvSpPr>
              <p:nvPr/>
            </p:nvSpPr>
            <p:spPr bwMode="auto">
              <a:xfrm>
                <a:off x="3933" y="2252"/>
                <a:ext cx="627"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r>
                  <a:rPr lang="en-US" altLang="en-US" sz="975">
                    <a:solidFill>
                      <a:srgbClr val="000000"/>
                    </a:solidFill>
                  </a:rPr>
                  <a:t>Harari People</a:t>
                </a:r>
                <a:endParaRPr lang="en-US" altLang="en-US" sz="975"/>
              </a:p>
            </p:txBody>
          </p:sp>
          <p:sp>
            <p:nvSpPr>
              <p:cNvPr id="105" name="Line 103"/>
              <p:cNvSpPr>
                <a:spLocks noChangeShapeType="1"/>
              </p:cNvSpPr>
              <p:nvPr/>
            </p:nvSpPr>
            <p:spPr bwMode="auto">
              <a:xfrm flipV="1">
                <a:off x="6401" y="599"/>
                <a:ext cx="0" cy="3498"/>
              </a:xfrm>
              <a:prstGeom prst="line">
                <a:avLst/>
              </a:prstGeom>
              <a:noFill/>
              <a:ln w="3175">
                <a:solidFill>
                  <a:srgbClr val="E1E1E1"/>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106" name="Line 104"/>
              <p:cNvSpPr>
                <a:spLocks noChangeShapeType="1"/>
              </p:cNvSpPr>
              <p:nvPr/>
            </p:nvSpPr>
            <p:spPr bwMode="auto">
              <a:xfrm flipV="1">
                <a:off x="4942" y="599"/>
                <a:ext cx="0" cy="3498"/>
              </a:xfrm>
              <a:prstGeom prst="line">
                <a:avLst/>
              </a:prstGeom>
              <a:noFill/>
              <a:ln w="3175">
                <a:solidFill>
                  <a:srgbClr val="E1E1E1"/>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107" name="Line 105"/>
              <p:cNvSpPr>
                <a:spLocks noChangeShapeType="1"/>
              </p:cNvSpPr>
              <p:nvPr/>
            </p:nvSpPr>
            <p:spPr bwMode="auto">
              <a:xfrm flipV="1">
                <a:off x="3671" y="657"/>
                <a:ext cx="0" cy="3498"/>
              </a:xfrm>
              <a:prstGeom prst="line">
                <a:avLst/>
              </a:prstGeom>
              <a:noFill/>
              <a:ln w="3175">
                <a:solidFill>
                  <a:srgbClr val="E1E1E1"/>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108" name="Line 106"/>
              <p:cNvSpPr>
                <a:spLocks noChangeShapeType="1"/>
              </p:cNvSpPr>
              <p:nvPr/>
            </p:nvSpPr>
            <p:spPr bwMode="auto">
              <a:xfrm flipV="1">
                <a:off x="2022" y="599"/>
                <a:ext cx="0" cy="3498"/>
              </a:xfrm>
              <a:prstGeom prst="line">
                <a:avLst/>
              </a:prstGeom>
              <a:noFill/>
              <a:ln w="3175">
                <a:solidFill>
                  <a:srgbClr val="E1E1E1"/>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109" name="Line 107"/>
              <p:cNvSpPr>
                <a:spLocks noChangeShapeType="1"/>
              </p:cNvSpPr>
              <p:nvPr/>
            </p:nvSpPr>
            <p:spPr bwMode="auto">
              <a:xfrm flipV="1">
                <a:off x="563" y="599"/>
                <a:ext cx="0" cy="3498"/>
              </a:xfrm>
              <a:prstGeom prst="line">
                <a:avLst/>
              </a:prstGeom>
              <a:noFill/>
              <a:ln w="3175">
                <a:solidFill>
                  <a:srgbClr val="E1E1E1"/>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110" name="Line 108"/>
              <p:cNvSpPr>
                <a:spLocks noChangeShapeType="1"/>
              </p:cNvSpPr>
              <p:nvPr/>
            </p:nvSpPr>
            <p:spPr bwMode="auto">
              <a:xfrm>
                <a:off x="465" y="616"/>
                <a:ext cx="6254" cy="0"/>
              </a:xfrm>
              <a:prstGeom prst="line">
                <a:avLst/>
              </a:prstGeom>
              <a:noFill/>
              <a:ln w="3175">
                <a:solidFill>
                  <a:srgbClr val="E1E1E1"/>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111" name="Line 109"/>
              <p:cNvSpPr>
                <a:spLocks noChangeShapeType="1"/>
              </p:cNvSpPr>
              <p:nvPr/>
            </p:nvSpPr>
            <p:spPr bwMode="auto">
              <a:xfrm>
                <a:off x="465" y="2077"/>
                <a:ext cx="6254" cy="0"/>
              </a:xfrm>
              <a:prstGeom prst="line">
                <a:avLst/>
              </a:prstGeom>
              <a:noFill/>
              <a:ln w="3175">
                <a:solidFill>
                  <a:srgbClr val="E1E1E1"/>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112" name="Line 110"/>
              <p:cNvSpPr>
                <a:spLocks noChangeShapeType="1"/>
              </p:cNvSpPr>
              <p:nvPr/>
            </p:nvSpPr>
            <p:spPr bwMode="auto">
              <a:xfrm>
                <a:off x="465" y="3536"/>
                <a:ext cx="6254" cy="0"/>
              </a:xfrm>
              <a:prstGeom prst="line">
                <a:avLst/>
              </a:prstGeom>
              <a:noFill/>
              <a:ln w="3175">
                <a:solidFill>
                  <a:srgbClr val="E1E1E1"/>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113" name="Line 111"/>
              <p:cNvSpPr>
                <a:spLocks noChangeShapeType="1"/>
              </p:cNvSpPr>
              <p:nvPr/>
            </p:nvSpPr>
            <p:spPr bwMode="auto">
              <a:xfrm>
                <a:off x="6401" y="4097"/>
                <a:ext cx="0" cy="33"/>
              </a:xfrm>
              <a:prstGeom prst="line">
                <a:avLst/>
              </a:prstGeom>
              <a:noFill/>
              <a:ln w="158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114" name="Rectangle 112"/>
              <p:cNvSpPr>
                <a:spLocks noChangeArrowheads="1"/>
              </p:cNvSpPr>
              <p:nvPr/>
            </p:nvSpPr>
            <p:spPr bwMode="auto">
              <a:xfrm>
                <a:off x="6316" y="4137"/>
                <a:ext cx="165" cy="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r>
                  <a:rPr lang="en-US" altLang="en-US" sz="406">
                    <a:solidFill>
                      <a:srgbClr val="000000"/>
                    </a:solidFill>
                  </a:rPr>
                  <a:t>50°0'0"E</a:t>
                </a:r>
                <a:endParaRPr lang="en-US" altLang="en-US" sz="1463"/>
              </a:p>
            </p:txBody>
          </p:sp>
          <p:sp>
            <p:nvSpPr>
              <p:cNvPr id="115" name="Line 113"/>
              <p:cNvSpPr>
                <a:spLocks noChangeShapeType="1"/>
              </p:cNvSpPr>
              <p:nvPr/>
            </p:nvSpPr>
            <p:spPr bwMode="auto">
              <a:xfrm flipV="1">
                <a:off x="6401" y="565"/>
                <a:ext cx="0" cy="34"/>
              </a:xfrm>
              <a:prstGeom prst="line">
                <a:avLst/>
              </a:prstGeom>
              <a:noFill/>
              <a:ln w="158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116" name="Rectangle 114"/>
              <p:cNvSpPr>
                <a:spLocks noChangeArrowheads="1"/>
              </p:cNvSpPr>
              <p:nvPr/>
            </p:nvSpPr>
            <p:spPr bwMode="auto">
              <a:xfrm>
                <a:off x="6316" y="516"/>
                <a:ext cx="165" cy="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r>
                  <a:rPr lang="en-US" altLang="en-US" sz="406">
                    <a:solidFill>
                      <a:srgbClr val="000000"/>
                    </a:solidFill>
                  </a:rPr>
                  <a:t>50°0'0"E</a:t>
                </a:r>
                <a:endParaRPr lang="en-US" altLang="en-US" sz="1463"/>
              </a:p>
            </p:txBody>
          </p:sp>
          <p:sp>
            <p:nvSpPr>
              <p:cNvPr id="117" name="Line 115"/>
              <p:cNvSpPr>
                <a:spLocks noChangeShapeType="1"/>
              </p:cNvSpPr>
              <p:nvPr/>
            </p:nvSpPr>
            <p:spPr bwMode="auto">
              <a:xfrm>
                <a:off x="4942" y="4097"/>
                <a:ext cx="0" cy="33"/>
              </a:xfrm>
              <a:prstGeom prst="line">
                <a:avLst/>
              </a:prstGeom>
              <a:noFill/>
              <a:ln w="158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118" name="Rectangle 116"/>
              <p:cNvSpPr>
                <a:spLocks noChangeArrowheads="1"/>
              </p:cNvSpPr>
              <p:nvPr/>
            </p:nvSpPr>
            <p:spPr bwMode="auto">
              <a:xfrm>
                <a:off x="4857" y="4137"/>
                <a:ext cx="165" cy="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r>
                  <a:rPr lang="en-US" altLang="en-US" sz="406">
                    <a:solidFill>
                      <a:srgbClr val="000000"/>
                    </a:solidFill>
                  </a:rPr>
                  <a:t>45°0'0"E</a:t>
                </a:r>
                <a:endParaRPr lang="en-US" altLang="en-US" sz="1463"/>
              </a:p>
            </p:txBody>
          </p:sp>
          <p:sp>
            <p:nvSpPr>
              <p:cNvPr id="119" name="Line 117"/>
              <p:cNvSpPr>
                <a:spLocks noChangeShapeType="1"/>
              </p:cNvSpPr>
              <p:nvPr/>
            </p:nvSpPr>
            <p:spPr bwMode="auto">
              <a:xfrm flipV="1">
                <a:off x="4942" y="565"/>
                <a:ext cx="0" cy="34"/>
              </a:xfrm>
              <a:prstGeom prst="line">
                <a:avLst/>
              </a:prstGeom>
              <a:noFill/>
              <a:ln w="158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120" name="Rectangle 118"/>
              <p:cNvSpPr>
                <a:spLocks noChangeArrowheads="1"/>
              </p:cNvSpPr>
              <p:nvPr/>
            </p:nvSpPr>
            <p:spPr bwMode="auto">
              <a:xfrm>
                <a:off x="4857" y="516"/>
                <a:ext cx="165" cy="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r>
                  <a:rPr lang="en-US" altLang="en-US" sz="406">
                    <a:solidFill>
                      <a:srgbClr val="000000"/>
                    </a:solidFill>
                  </a:rPr>
                  <a:t>45°0'0"E</a:t>
                </a:r>
                <a:endParaRPr lang="en-US" altLang="en-US" sz="1463"/>
              </a:p>
            </p:txBody>
          </p:sp>
          <p:sp>
            <p:nvSpPr>
              <p:cNvPr id="121" name="Line 119"/>
              <p:cNvSpPr>
                <a:spLocks noChangeShapeType="1"/>
              </p:cNvSpPr>
              <p:nvPr/>
            </p:nvSpPr>
            <p:spPr bwMode="auto">
              <a:xfrm>
                <a:off x="3481" y="4097"/>
                <a:ext cx="0" cy="33"/>
              </a:xfrm>
              <a:prstGeom prst="line">
                <a:avLst/>
              </a:prstGeom>
              <a:noFill/>
              <a:ln w="158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122" name="Rectangle 120"/>
              <p:cNvSpPr>
                <a:spLocks noChangeArrowheads="1"/>
              </p:cNvSpPr>
              <p:nvPr/>
            </p:nvSpPr>
            <p:spPr bwMode="auto">
              <a:xfrm>
                <a:off x="3396" y="4137"/>
                <a:ext cx="165" cy="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r>
                  <a:rPr lang="en-US" altLang="en-US" sz="406">
                    <a:solidFill>
                      <a:srgbClr val="000000"/>
                    </a:solidFill>
                  </a:rPr>
                  <a:t>40°0'0"E</a:t>
                </a:r>
                <a:endParaRPr lang="en-US" altLang="en-US" sz="1463"/>
              </a:p>
            </p:txBody>
          </p:sp>
          <p:sp>
            <p:nvSpPr>
              <p:cNvPr id="123" name="Line 121"/>
              <p:cNvSpPr>
                <a:spLocks noChangeShapeType="1"/>
              </p:cNvSpPr>
              <p:nvPr/>
            </p:nvSpPr>
            <p:spPr bwMode="auto">
              <a:xfrm flipV="1">
                <a:off x="3481" y="565"/>
                <a:ext cx="0" cy="34"/>
              </a:xfrm>
              <a:prstGeom prst="line">
                <a:avLst/>
              </a:prstGeom>
              <a:noFill/>
              <a:ln w="158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124" name="Rectangle 122"/>
              <p:cNvSpPr>
                <a:spLocks noChangeArrowheads="1"/>
              </p:cNvSpPr>
              <p:nvPr/>
            </p:nvSpPr>
            <p:spPr bwMode="auto">
              <a:xfrm>
                <a:off x="3396" y="516"/>
                <a:ext cx="165" cy="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r>
                  <a:rPr lang="en-US" altLang="en-US" sz="406">
                    <a:solidFill>
                      <a:srgbClr val="000000"/>
                    </a:solidFill>
                  </a:rPr>
                  <a:t>40°0'0"E</a:t>
                </a:r>
                <a:endParaRPr lang="en-US" altLang="en-US" sz="1463"/>
              </a:p>
            </p:txBody>
          </p:sp>
          <p:sp>
            <p:nvSpPr>
              <p:cNvPr id="125" name="Line 123"/>
              <p:cNvSpPr>
                <a:spLocks noChangeShapeType="1"/>
              </p:cNvSpPr>
              <p:nvPr/>
            </p:nvSpPr>
            <p:spPr bwMode="auto">
              <a:xfrm>
                <a:off x="2022" y="4097"/>
                <a:ext cx="0" cy="33"/>
              </a:xfrm>
              <a:prstGeom prst="line">
                <a:avLst/>
              </a:prstGeom>
              <a:noFill/>
              <a:ln w="158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127" name="Line 125"/>
              <p:cNvSpPr>
                <a:spLocks noChangeShapeType="1"/>
              </p:cNvSpPr>
              <p:nvPr/>
            </p:nvSpPr>
            <p:spPr bwMode="auto">
              <a:xfrm flipV="1">
                <a:off x="2022" y="565"/>
                <a:ext cx="0" cy="34"/>
              </a:xfrm>
              <a:prstGeom prst="line">
                <a:avLst/>
              </a:prstGeom>
              <a:noFill/>
              <a:ln w="158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128" name="Rectangle 126"/>
              <p:cNvSpPr>
                <a:spLocks noChangeArrowheads="1"/>
              </p:cNvSpPr>
              <p:nvPr/>
            </p:nvSpPr>
            <p:spPr bwMode="auto">
              <a:xfrm>
                <a:off x="1937" y="516"/>
                <a:ext cx="165" cy="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r>
                  <a:rPr lang="en-US" altLang="en-US" sz="406">
                    <a:solidFill>
                      <a:srgbClr val="000000"/>
                    </a:solidFill>
                  </a:rPr>
                  <a:t>35°0'0"E</a:t>
                </a:r>
                <a:endParaRPr lang="en-US" altLang="en-US" sz="1463"/>
              </a:p>
            </p:txBody>
          </p:sp>
          <p:sp>
            <p:nvSpPr>
              <p:cNvPr id="131" name="Line 129"/>
              <p:cNvSpPr>
                <a:spLocks noChangeShapeType="1"/>
              </p:cNvSpPr>
              <p:nvPr/>
            </p:nvSpPr>
            <p:spPr bwMode="auto">
              <a:xfrm flipV="1">
                <a:off x="563" y="565"/>
                <a:ext cx="0" cy="34"/>
              </a:xfrm>
              <a:prstGeom prst="line">
                <a:avLst/>
              </a:prstGeom>
              <a:noFill/>
              <a:ln w="158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132" name="Rectangle 130"/>
              <p:cNvSpPr>
                <a:spLocks noChangeArrowheads="1"/>
              </p:cNvSpPr>
              <p:nvPr/>
            </p:nvSpPr>
            <p:spPr bwMode="auto">
              <a:xfrm>
                <a:off x="478" y="516"/>
                <a:ext cx="165" cy="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r>
                  <a:rPr lang="en-US" altLang="en-US" sz="406">
                    <a:solidFill>
                      <a:srgbClr val="000000"/>
                    </a:solidFill>
                  </a:rPr>
                  <a:t>30°0'0"E</a:t>
                </a:r>
                <a:endParaRPr lang="en-US" altLang="en-US" sz="1463"/>
              </a:p>
            </p:txBody>
          </p:sp>
          <p:sp>
            <p:nvSpPr>
              <p:cNvPr id="133" name="Line 131"/>
              <p:cNvSpPr>
                <a:spLocks noChangeShapeType="1"/>
              </p:cNvSpPr>
              <p:nvPr/>
            </p:nvSpPr>
            <p:spPr bwMode="auto">
              <a:xfrm flipH="1">
                <a:off x="432" y="616"/>
                <a:ext cx="33" cy="0"/>
              </a:xfrm>
              <a:prstGeom prst="line">
                <a:avLst/>
              </a:prstGeom>
              <a:noFill/>
              <a:ln w="158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134" name="Rectangle 132"/>
              <p:cNvSpPr>
                <a:spLocks noChangeArrowheads="1"/>
              </p:cNvSpPr>
              <p:nvPr/>
            </p:nvSpPr>
            <p:spPr bwMode="auto">
              <a:xfrm>
                <a:off x="253" y="597"/>
                <a:ext cx="167" cy="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r>
                  <a:rPr lang="en-US" altLang="en-US" sz="406">
                    <a:solidFill>
                      <a:srgbClr val="000000"/>
                    </a:solidFill>
                  </a:rPr>
                  <a:t>15°0'0"N</a:t>
                </a:r>
                <a:endParaRPr lang="en-US" altLang="en-US" sz="1463"/>
              </a:p>
            </p:txBody>
          </p:sp>
          <p:sp>
            <p:nvSpPr>
              <p:cNvPr id="135" name="Line 133"/>
              <p:cNvSpPr>
                <a:spLocks noChangeShapeType="1"/>
              </p:cNvSpPr>
              <p:nvPr/>
            </p:nvSpPr>
            <p:spPr bwMode="auto">
              <a:xfrm>
                <a:off x="6719" y="616"/>
                <a:ext cx="33" cy="0"/>
              </a:xfrm>
              <a:prstGeom prst="line">
                <a:avLst/>
              </a:prstGeom>
              <a:noFill/>
              <a:ln w="158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136" name="Rectangle 134"/>
              <p:cNvSpPr>
                <a:spLocks noChangeArrowheads="1"/>
              </p:cNvSpPr>
              <p:nvPr/>
            </p:nvSpPr>
            <p:spPr bwMode="auto">
              <a:xfrm>
                <a:off x="6759" y="597"/>
                <a:ext cx="167" cy="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r>
                  <a:rPr lang="en-US" altLang="en-US" sz="406">
                    <a:solidFill>
                      <a:srgbClr val="000000"/>
                    </a:solidFill>
                  </a:rPr>
                  <a:t>15°0'0"N</a:t>
                </a:r>
                <a:endParaRPr lang="en-US" altLang="en-US" sz="1463"/>
              </a:p>
            </p:txBody>
          </p:sp>
          <p:sp>
            <p:nvSpPr>
              <p:cNvPr id="139" name="Line 137"/>
              <p:cNvSpPr>
                <a:spLocks noChangeShapeType="1"/>
              </p:cNvSpPr>
              <p:nvPr/>
            </p:nvSpPr>
            <p:spPr bwMode="auto">
              <a:xfrm>
                <a:off x="6719" y="2077"/>
                <a:ext cx="33" cy="0"/>
              </a:xfrm>
              <a:prstGeom prst="line">
                <a:avLst/>
              </a:prstGeom>
              <a:noFill/>
              <a:ln w="158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140" name="Rectangle 138"/>
              <p:cNvSpPr>
                <a:spLocks noChangeArrowheads="1"/>
              </p:cNvSpPr>
              <p:nvPr/>
            </p:nvSpPr>
            <p:spPr bwMode="auto">
              <a:xfrm>
                <a:off x="6759" y="2058"/>
                <a:ext cx="167" cy="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r>
                  <a:rPr lang="en-US" altLang="en-US" sz="406">
                    <a:solidFill>
                      <a:srgbClr val="000000"/>
                    </a:solidFill>
                  </a:rPr>
                  <a:t>10°0'0"N</a:t>
                </a:r>
                <a:endParaRPr lang="en-US" altLang="en-US" sz="1463"/>
              </a:p>
            </p:txBody>
          </p:sp>
          <p:sp>
            <p:nvSpPr>
              <p:cNvPr id="141" name="Line 139"/>
              <p:cNvSpPr>
                <a:spLocks noChangeShapeType="1"/>
              </p:cNvSpPr>
              <p:nvPr/>
            </p:nvSpPr>
            <p:spPr bwMode="auto">
              <a:xfrm flipH="1">
                <a:off x="432" y="3536"/>
                <a:ext cx="33" cy="0"/>
              </a:xfrm>
              <a:prstGeom prst="line">
                <a:avLst/>
              </a:prstGeom>
              <a:noFill/>
              <a:ln w="158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142" name="Rectangle 140"/>
              <p:cNvSpPr>
                <a:spLocks noChangeArrowheads="1"/>
              </p:cNvSpPr>
              <p:nvPr/>
            </p:nvSpPr>
            <p:spPr bwMode="auto">
              <a:xfrm>
                <a:off x="276" y="3518"/>
                <a:ext cx="143" cy="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r>
                  <a:rPr lang="en-US" altLang="en-US" sz="406">
                    <a:solidFill>
                      <a:srgbClr val="000000"/>
                    </a:solidFill>
                  </a:rPr>
                  <a:t>5°0'0"N</a:t>
                </a:r>
                <a:endParaRPr lang="en-US" altLang="en-US" sz="1463"/>
              </a:p>
            </p:txBody>
          </p:sp>
          <p:sp>
            <p:nvSpPr>
              <p:cNvPr id="143" name="Line 141"/>
              <p:cNvSpPr>
                <a:spLocks noChangeShapeType="1"/>
              </p:cNvSpPr>
              <p:nvPr/>
            </p:nvSpPr>
            <p:spPr bwMode="auto">
              <a:xfrm>
                <a:off x="6719" y="3536"/>
                <a:ext cx="33" cy="0"/>
              </a:xfrm>
              <a:prstGeom prst="line">
                <a:avLst/>
              </a:prstGeom>
              <a:noFill/>
              <a:ln w="158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144" name="Rectangle 142"/>
              <p:cNvSpPr>
                <a:spLocks noChangeArrowheads="1"/>
              </p:cNvSpPr>
              <p:nvPr/>
            </p:nvSpPr>
            <p:spPr bwMode="auto">
              <a:xfrm>
                <a:off x="6759" y="3518"/>
                <a:ext cx="143" cy="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r>
                  <a:rPr lang="en-US" altLang="en-US" sz="406">
                    <a:solidFill>
                      <a:srgbClr val="000000"/>
                    </a:solidFill>
                  </a:rPr>
                  <a:t>5°0'0"N</a:t>
                </a:r>
                <a:endParaRPr lang="en-US" altLang="en-US" sz="1463"/>
              </a:p>
            </p:txBody>
          </p:sp>
          <p:sp>
            <p:nvSpPr>
              <p:cNvPr id="146" name="Rectangle 144"/>
              <p:cNvSpPr>
                <a:spLocks noChangeArrowheads="1"/>
              </p:cNvSpPr>
              <p:nvPr/>
            </p:nvSpPr>
            <p:spPr bwMode="auto">
              <a:xfrm>
                <a:off x="875" y="3614"/>
                <a:ext cx="332"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r>
                  <a:rPr lang="en-US" altLang="en-US" sz="975" b="1" dirty="0"/>
                  <a:t>Grants</a:t>
                </a:r>
              </a:p>
            </p:txBody>
          </p:sp>
          <p:sp>
            <p:nvSpPr>
              <p:cNvPr id="152" name="Rectangle 150"/>
              <p:cNvSpPr>
                <a:spLocks noChangeArrowheads="1"/>
              </p:cNvSpPr>
              <p:nvPr/>
            </p:nvSpPr>
            <p:spPr bwMode="auto">
              <a:xfrm>
                <a:off x="1683" y="3469"/>
                <a:ext cx="198" cy="100"/>
              </a:xfrm>
              <a:prstGeom prst="rect">
                <a:avLst/>
              </a:prstGeom>
              <a:solidFill>
                <a:srgbClr val="00734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endParaRPr lang="en-GB" sz="1138"/>
              </a:p>
            </p:txBody>
          </p:sp>
          <p:sp>
            <p:nvSpPr>
              <p:cNvPr id="153" name="Rectangle 151"/>
              <p:cNvSpPr>
                <a:spLocks noChangeArrowheads="1"/>
              </p:cNvSpPr>
              <p:nvPr/>
            </p:nvSpPr>
            <p:spPr bwMode="auto">
              <a:xfrm>
                <a:off x="1916" y="3485"/>
                <a:ext cx="274"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r>
                  <a:rPr lang="en-US" altLang="en-US" sz="975" dirty="0">
                    <a:solidFill>
                      <a:srgbClr val="000000"/>
                    </a:solidFill>
                  </a:rPr>
                  <a:t>Policy</a:t>
                </a:r>
                <a:endParaRPr lang="en-US" altLang="en-US" sz="975" dirty="0"/>
              </a:p>
            </p:txBody>
          </p:sp>
          <p:sp>
            <p:nvSpPr>
              <p:cNvPr id="154" name="Rectangle 152"/>
              <p:cNvSpPr>
                <a:spLocks noChangeArrowheads="1"/>
              </p:cNvSpPr>
              <p:nvPr/>
            </p:nvSpPr>
            <p:spPr bwMode="auto">
              <a:xfrm>
                <a:off x="1683" y="3604"/>
                <a:ext cx="198" cy="98"/>
              </a:xfrm>
              <a:prstGeom prst="rect">
                <a:avLst/>
              </a:prstGeom>
              <a:solidFill>
                <a:srgbClr val="004C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endParaRPr lang="en-GB" sz="1138"/>
              </a:p>
            </p:txBody>
          </p:sp>
          <p:sp>
            <p:nvSpPr>
              <p:cNvPr id="155" name="Rectangle 153"/>
              <p:cNvSpPr>
                <a:spLocks noChangeArrowheads="1"/>
              </p:cNvSpPr>
              <p:nvPr/>
            </p:nvSpPr>
            <p:spPr bwMode="auto">
              <a:xfrm>
                <a:off x="1916" y="3618"/>
                <a:ext cx="451"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r>
                  <a:rPr lang="en-US" altLang="en-US" sz="975" dirty="0">
                    <a:solidFill>
                      <a:srgbClr val="000000"/>
                    </a:solidFill>
                  </a:rPr>
                  <a:t>Extension</a:t>
                </a:r>
                <a:endParaRPr lang="en-US" altLang="en-US" sz="975" dirty="0"/>
              </a:p>
            </p:txBody>
          </p:sp>
          <p:sp>
            <p:nvSpPr>
              <p:cNvPr id="156" name="Rectangle 154"/>
              <p:cNvSpPr>
                <a:spLocks noChangeArrowheads="1"/>
              </p:cNvSpPr>
              <p:nvPr/>
            </p:nvSpPr>
            <p:spPr bwMode="auto">
              <a:xfrm>
                <a:off x="1683" y="3738"/>
                <a:ext cx="198" cy="99"/>
              </a:xfrm>
              <a:prstGeom prst="rect">
                <a:avLst/>
              </a:prstGeom>
              <a:solidFill>
                <a:srgbClr val="FFF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endParaRPr lang="en-GB" sz="1138"/>
              </a:p>
            </p:txBody>
          </p:sp>
          <p:sp>
            <p:nvSpPr>
              <p:cNvPr id="157" name="Rectangle 155"/>
              <p:cNvSpPr>
                <a:spLocks noChangeArrowheads="1"/>
              </p:cNvSpPr>
              <p:nvPr/>
            </p:nvSpPr>
            <p:spPr bwMode="auto">
              <a:xfrm>
                <a:off x="1916" y="3753"/>
                <a:ext cx="366"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r>
                  <a:rPr lang="en-US" altLang="en-US" sz="975">
                    <a:solidFill>
                      <a:srgbClr val="000000"/>
                    </a:solidFill>
                  </a:rPr>
                  <a:t>Markets</a:t>
                </a:r>
                <a:endParaRPr lang="en-US" altLang="en-US" sz="975"/>
              </a:p>
            </p:txBody>
          </p:sp>
          <p:sp>
            <p:nvSpPr>
              <p:cNvPr id="158" name="Rectangle 156"/>
              <p:cNvSpPr>
                <a:spLocks noChangeArrowheads="1"/>
              </p:cNvSpPr>
              <p:nvPr/>
            </p:nvSpPr>
            <p:spPr bwMode="auto">
              <a:xfrm>
                <a:off x="1683" y="3871"/>
                <a:ext cx="198" cy="100"/>
              </a:xfrm>
              <a:prstGeom prst="rect">
                <a:avLst/>
              </a:prstGeom>
              <a:solidFill>
                <a:srgbClr val="2892C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endParaRPr lang="en-GB" sz="1138"/>
              </a:p>
            </p:txBody>
          </p:sp>
          <p:sp>
            <p:nvSpPr>
              <p:cNvPr id="159" name="Rectangle 157"/>
              <p:cNvSpPr>
                <a:spLocks noChangeArrowheads="1"/>
              </p:cNvSpPr>
              <p:nvPr/>
            </p:nvSpPr>
            <p:spPr bwMode="auto">
              <a:xfrm>
                <a:off x="1916" y="3886"/>
                <a:ext cx="291"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r>
                  <a:rPr lang="en-US" altLang="en-US" sz="975" dirty="0">
                    <a:solidFill>
                      <a:srgbClr val="000000"/>
                    </a:solidFill>
                  </a:rPr>
                  <a:t>Seeds</a:t>
                </a:r>
                <a:endParaRPr lang="en-US" altLang="en-US" sz="975" dirty="0"/>
              </a:p>
            </p:txBody>
          </p:sp>
          <p:sp>
            <p:nvSpPr>
              <p:cNvPr id="160" name="Rectangle 158"/>
              <p:cNvSpPr>
                <a:spLocks noChangeArrowheads="1"/>
              </p:cNvSpPr>
              <p:nvPr/>
            </p:nvSpPr>
            <p:spPr bwMode="auto">
              <a:xfrm>
                <a:off x="1683" y="4006"/>
                <a:ext cx="198" cy="98"/>
              </a:xfrm>
              <a:prstGeom prst="rect">
                <a:avLst/>
              </a:prstGeom>
              <a:solidFill>
                <a:srgbClr val="C9F2D0"/>
              </a:solidFill>
              <a:ln w="4763">
                <a:solidFill>
                  <a:srgbClr val="6E6E6E"/>
                </a:solidFill>
                <a:prstDash val="solid"/>
                <a:miter lim="800000"/>
                <a:headEnd/>
                <a:tailEnd/>
              </a:ln>
            </p:spPr>
            <p:txBody>
              <a:bodyPr vert="horz" wrap="square" lIns="74295" tIns="37148" rIns="74295" bIns="37148" numCol="1" anchor="t" anchorCtr="0" compatLnSpc="1">
                <a:prstTxWarp prst="textNoShape">
                  <a:avLst/>
                </a:prstTxWarp>
              </a:bodyPr>
              <a:lstStyle/>
              <a:p>
                <a:endParaRPr lang="en-GB" sz="1138"/>
              </a:p>
            </p:txBody>
          </p:sp>
          <p:sp>
            <p:nvSpPr>
              <p:cNvPr id="161" name="Rectangle 159"/>
              <p:cNvSpPr>
                <a:spLocks noChangeArrowheads="1"/>
              </p:cNvSpPr>
              <p:nvPr/>
            </p:nvSpPr>
            <p:spPr bwMode="auto">
              <a:xfrm>
                <a:off x="1916" y="4021"/>
                <a:ext cx="1155"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r>
                  <a:rPr lang="en-US" altLang="en-US" sz="975">
                    <a:solidFill>
                      <a:srgbClr val="000000"/>
                    </a:solidFill>
                  </a:rPr>
                  <a:t>AGRA Selected Regions </a:t>
                </a:r>
                <a:endParaRPr lang="en-US" altLang="en-US" sz="975"/>
              </a:p>
            </p:txBody>
          </p:sp>
          <p:sp>
            <p:nvSpPr>
              <p:cNvPr id="162" name="Rectangle 160"/>
              <p:cNvSpPr>
                <a:spLocks noChangeArrowheads="1"/>
              </p:cNvSpPr>
              <p:nvPr/>
            </p:nvSpPr>
            <p:spPr bwMode="auto">
              <a:xfrm>
                <a:off x="1683" y="4139"/>
                <a:ext cx="198" cy="100"/>
              </a:xfrm>
              <a:prstGeom prst="rect">
                <a:avLst/>
              </a:prstGeom>
              <a:solidFill>
                <a:srgbClr val="E1E1E1"/>
              </a:solidFill>
              <a:ln w="4763">
                <a:solidFill>
                  <a:srgbClr val="FFFFFF"/>
                </a:solidFill>
                <a:prstDash val="solid"/>
                <a:miter lim="800000"/>
                <a:headEnd/>
                <a:tailEnd/>
              </a:ln>
            </p:spPr>
            <p:txBody>
              <a:bodyPr vert="horz" wrap="square" lIns="74295" tIns="37148" rIns="74295" bIns="37148" numCol="1" anchor="t" anchorCtr="0" compatLnSpc="1">
                <a:prstTxWarp prst="textNoShape">
                  <a:avLst/>
                </a:prstTxWarp>
              </a:bodyPr>
              <a:lstStyle/>
              <a:p>
                <a:endParaRPr lang="en-GB" sz="1138"/>
              </a:p>
            </p:txBody>
          </p:sp>
          <p:sp>
            <p:nvSpPr>
              <p:cNvPr id="163" name="Rectangle 161"/>
              <p:cNvSpPr>
                <a:spLocks noChangeArrowheads="1"/>
              </p:cNvSpPr>
              <p:nvPr/>
            </p:nvSpPr>
            <p:spPr bwMode="auto">
              <a:xfrm>
                <a:off x="1917" y="4136"/>
                <a:ext cx="1119" cy="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r>
                  <a:rPr lang="en-US" altLang="en-US" sz="975" dirty="0">
                    <a:solidFill>
                      <a:srgbClr val="000000"/>
                    </a:solidFill>
                  </a:rPr>
                  <a:t>Other Ethiopian Regions</a:t>
                </a:r>
                <a:endParaRPr lang="en-US" altLang="en-US" sz="975" dirty="0"/>
              </a:p>
            </p:txBody>
          </p:sp>
          <p:sp>
            <p:nvSpPr>
              <p:cNvPr id="164" name="Rectangle 162"/>
              <p:cNvSpPr>
                <a:spLocks noChangeArrowheads="1"/>
              </p:cNvSpPr>
              <p:nvPr/>
            </p:nvSpPr>
            <p:spPr bwMode="auto">
              <a:xfrm>
                <a:off x="3870" y="4358"/>
                <a:ext cx="146" cy="39"/>
              </a:xfrm>
              <a:prstGeom prst="rect">
                <a:avLst/>
              </a:prstGeom>
              <a:solidFill>
                <a:srgbClr val="000000"/>
              </a:solidFill>
              <a:ln w="9525">
                <a:solidFill>
                  <a:srgbClr val="000000"/>
                </a:solidFill>
                <a:prstDash val="solid"/>
                <a:miter lim="800000"/>
                <a:headEnd/>
                <a:tailEnd/>
              </a:ln>
            </p:spPr>
            <p:txBody>
              <a:bodyPr vert="horz" wrap="square" lIns="74295" tIns="37148" rIns="74295" bIns="37148" numCol="1" anchor="t" anchorCtr="0" compatLnSpc="1">
                <a:prstTxWarp prst="textNoShape">
                  <a:avLst/>
                </a:prstTxWarp>
              </a:bodyPr>
              <a:lstStyle/>
              <a:p>
                <a:endParaRPr lang="en-GB" sz="1138"/>
              </a:p>
            </p:txBody>
          </p:sp>
          <p:sp>
            <p:nvSpPr>
              <p:cNvPr id="165" name="Rectangle 163"/>
              <p:cNvSpPr>
                <a:spLocks noChangeArrowheads="1"/>
              </p:cNvSpPr>
              <p:nvPr/>
            </p:nvSpPr>
            <p:spPr bwMode="auto">
              <a:xfrm>
                <a:off x="4016" y="4358"/>
                <a:ext cx="144" cy="39"/>
              </a:xfrm>
              <a:prstGeom prst="rect">
                <a:avLst/>
              </a:prstGeom>
              <a:noFill/>
              <a:ln w="9525">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166" name="Rectangle 164"/>
              <p:cNvSpPr>
                <a:spLocks noChangeArrowheads="1"/>
              </p:cNvSpPr>
              <p:nvPr/>
            </p:nvSpPr>
            <p:spPr bwMode="auto">
              <a:xfrm>
                <a:off x="4160" y="4358"/>
                <a:ext cx="144" cy="39"/>
              </a:xfrm>
              <a:prstGeom prst="rect">
                <a:avLst/>
              </a:prstGeom>
              <a:solidFill>
                <a:srgbClr val="000000"/>
              </a:solidFill>
              <a:ln w="9525">
                <a:solidFill>
                  <a:srgbClr val="000000"/>
                </a:solidFill>
                <a:prstDash val="solid"/>
                <a:miter lim="800000"/>
                <a:headEnd/>
                <a:tailEnd/>
              </a:ln>
            </p:spPr>
            <p:txBody>
              <a:bodyPr vert="horz" wrap="square" lIns="74295" tIns="37148" rIns="74295" bIns="37148" numCol="1" anchor="t" anchorCtr="0" compatLnSpc="1">
                <a:prstTxWarp prst="textNoShape">
                  <a:avLst/>
                </a:prstTxWarp>
              </a:bodyPr>
              <a:lstStyle/>
              <a:p>
                <a:endParaRPr lang="en-GB" sz="1138"/>
              </a:p>
            </p:txBody>
          </p:sp>
          <p:sp>
            <p:nvSpPr>
              <p:cNvPr id="167" name="Rectangle 165"/>
              <p:cNvSpPr>
                <a:spLocks noChangeArrowheads="1"/>
              </p:cNvSpPr>
              <p:nvPr/>
            </p:nvSpPr>
            <p:spPr bwMode="auto">
              <a:xfrm>
                <a:off x="4304" y="4358"/>
                <a:ext cx="144" cy="39"/>
              </a:xfrm>
              <a:prstGeom prst="rect">
                <a:avLst/>
              </a:prstGeom>
              <a:noFill/>
              <a:ln w="9525">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168" name="Rectangle 166"/>
              <p:cNvSpPr>
                <a:spLocks noChangeArrowheads="1"/>
              </p:cNvSpPr>
              <p:nvPr/>
            </p:nvSpPr>
            <p:spPr bwMode="auto">
              <a:xfrm>
                <a:off x="4448" y="4358"/>
                <a:ext cx="577" cy="39"/>
              </a:xfrm>
              <a:prstGeom prst="rect">
                <a:avLst/>
              </a:prstGeom>
              <a:solidFill>
                <a:srgbClr val="000000"/>
              </a:solidFill>
              <a:ln w="9525">
                <a:solidFill>
                  <a:srgbClr val="000000"/>
                </a:solidFill>
                <a:prstDash val="solid"/>
                <a:miter lim="800000"/>
                <a:headEnd/>
                <a:tailEnd/>
              </a:ln>
            </p:spPr>
            <p:txBody>
              <a:bodyPr vert="horz" wrap="square" lIns="74295" tIns="37148" rIns="74295" bIns="37148" numCol="1" anchor="t" anchorCtr="0" compatLnSpc="1">
                <a:prstTxWarp prst="textNoShape">
                  <a:avLst/>
                </a:prstTxWarp>
              </a:bodyPr>
              <a:lstStyle/>
              <a:p>
                <a:endParaRPr lang="en-GB" sz="1138"/>
              </a:p>
            </p:txBody>
          </p:sp>
          <p:sp>
            <p:nvSpPr>
              <p:cNvPr id="169" name="Rectangle 167"/>
              <p:cNvSpPr>
                <a:spLocks noChangeArrowheads="1"/>
              </p:cNvSpPr>
              <p:nvPr/>
            </p:nvSpPr>
            <p:spPr bwMode="auto">
              <a:xfrm>
                <a:off x="5025" y="4358"/>
                <a:ext cx="576" cy="39"/>
              </a:xfrm>
              <a:prstGeom prst="rect">
                <a:avLst/>
              </a:prstGeom>
              <a:noFill/>
              <a:ln w="9525">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endParaRPr lang="en-GB" sz="1138"/>
              </a:p>
            </p:txBody>
          </p:sp>
          <p:sp>
            <p:nvSpPr>
              <p:cNvPr id="170" name="Rectangle 168"/>
              <p:cNvSpPr>
                <a:spLocks noChangeArrowheads="1"/>
              </p:cNvSpPr>
              <p:nvPr/>
            </p:nvSpPr>
            <p:spPr bwMode="auto">
              <a:xfrm>
                <a:off x="5601" y="4358"/>
                <a:ext cx="579" cy="39"/>
              </a:xfrm>
              <a:prstGeom prst="rect">
                <a:avLst/>
              </a:prstGeom>
              <a:solidFill>
                <a:srgbClr val="000000"/>
              </a:solidFill>
              <a:ln w="9525">
                <a:solidFill>
                  <a:srgbClr val="000000"/>
                </a:solidFill>
                <a:prstDash val="solid"/>
                <a:miter lim="800000"/>
                <a:headEnd/>
                <a:tailEnd/>
              </a:ln>
            </p:spPr>
            <p:txBody>
              <a:bodyPr vert="horz" wrap="square" lIns="74295" tIns="37148" rIns="74295" bIns="37148" numCol="1" anchor="t" anchorCtr="0" compatLnSpc="1">
                <a:prstTxWarp prst="textNoShape">
                  <a:avLst/>
                </a:prstTxWarp>
              </a:bodyPr>
              <a:lstStyle/>
              <a:p>
                <a:endParaRPr lang="en-GB" sz="1138"/>
              </a:p>
            </p:txBody>
          </p:sp>
          <p:sp>
            <p:nvSpPr>
              <p:cNvPr id="171" name="Rectangle 169"/>
              <p:cNvSpPr>
                <a:spLocks noChangeArrowheads="1"/>
              </p:cNvSpPr>
              <p:nvPr/>
            </p:nvSpPr>
            <p:spPr bwMode="auto">
              <a:xfrm>
                <a:off x="3831" y="4416"/>
                <a:ext cx="48" cy="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r>
                  <a:rPr lang="en-US" altLang="en-US" sz="813" dirty="0">
                    <a:solidFill>
                      <a:srgbClr val="000000"/>
                    </a:solidFill>
                  </a:rPr>
                  <a:t>0</a:t>
                </a:r>
                <a:endParaRPr lang="en-US" altLang="en-US" sz="1463" dirty="0"/>
              </a:p>
            </p:txBody>
          </p:sp>
          <p:sp>
            <p:nvSpPr>
              <p:cNvPr id="172" name="Rectangle 170"/>
              <p:cNvSpPr>
                <a:spLocks noChangeArrowheads="1"/>
              </p:cNvSpPr>
              <p:nvPr/>
            </p:nvSpPr>
            <p:spPr bwMode="auto">
              <a:xfrm>
                <a:off x="4365" y="4416"/>
                <a:ext cx="143" cy="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r>
                  <a:rPr lang="en-US" altLang="en-US" sz="813">
                    <a:solidFill>
                      <a:srgbClr val="000000"/>
                    </a:solidFill>
                  </a:rPr>
                  <a:t>220</a:t>
                </a:r>
                <a:endParaRPr lang="en-US" altLang="en-US" sz="1463"/>
              </a:p>
            </p:txBody>
          </p:sp>
          <p:sp>
            <p:nvSpPr>
              <p:cNvPr id="173" name="Rectangle 171"/>
              <p:cNvSpPr>
                <a:spLocks noChangeArrowheads="1"/>
              </p:cNvSpPr>
              <p:nvPr/>
            </p:nvSpPr>
            <p:spPr bwMode="auto">
              <a:xfrm>
                <a:off x="4942" y="4416"/>
                <a:ext cx="143" cy="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r>
                  <a:rPr lang="en-US" altLang="en-US" sz="813">
                    <a:solidFill>
                      <a:srgbClr val="000000"/>
                    </a:solidFill>
                  </a:rPr>
                  <a:t>440</a:t>
                </a:r>
                <a:endParaRPr lang="en-US" altLang="en-US" sz="1463"/>
              </a:p>
            </p:txBody>
          </p:sp>
          <p:sp>
            <p:nvSpPr>
              <p:cNvPr id="174" name="Rectangle 172"/>
              <p:cNvSpPr>
                <a:spLocks noChangeArrowheads="1"/>
              </p:cNvSpPr>
              <p:nvPr/>
            </p:nvSpPr>
            <p:spPr bwMode="auto">
              <a:xfrm>
                <a:off x="5518" y="4416"/>
                <a:ext cx="143" cy="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r>
                  <a:rPr lang="en-US" altLang="en-US" sz="813">
                    <a:solidFill>
                      <a:srgbClr val="000000"/>
                    </a:solidFill>
                  </a:rPr>
                  <a:t>660</a:t>
                </a:r>
                <a:endParaRPr lang="en-US" altLang="en-US" sz="1463"/>
              </a:p>
            </p:txBody>
          </p:sp>
          <p:sp>
            <p:nvSpPr>
              <p:cNvPr id="175" name="Rectangle 173"/>
              <p:cNvSpPr>
                <a:spLocks noChangeArrowheads="1"/>
              </p:cNvSpPr>
              <p:nvPr/>
            </p:nvSpPr>
            <p:spPr bwMode="auto">
              <a:xfrm>
                <a:off x="6097" y="4416"/>
                <a:ext cx="143" cy="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r>
                  <a:rPr lang="en-US" altLang="en-US" sz="813">
                    <a:solidFill>
                      <a:srgbClr val="000000"/>
                    </a:solidFill>
                  </a:rPr>
                  <a:t>880</a:t>
                </a:r>
                <a:endParaRPr lang="en-US" altLang="en-US" sz="1463"/>
              </a:p>
            </p:txBody>
          </p:sp>
          <p:sp>
            <p:nvSpPr>
              <p:cNvPr id="176" name="Rectangle 174"/>
              <p:cNvSpPr>
                <a:spLocks noChangeArrowheads="1"/>
              </p:cNvSpPr>
              <p:nvPr/>
            </p:nvSpPr>
            <p:spPr bwMode="auto">
              <a:xfrm>
                <a:off x="4077" y="4416"/>
                <a:ext cx="143" cy="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r>
                  <a:rPr lang="en-US" altLang="en-US" sz="813" dirty="0">
                    <a:solidFill>
                      <a:srgbClr val="000000"/>
                    </a:solidFill>
                  </a:rPr>
                  <a:t>110</a:t>
                </a:r>
                <a:endParaRPr lang="en-US" altLang="en-US" sz="1463" dirty="0"/>
              </a:p>
            </p:txBody>
          </p:sp>
          <p:sp>
            <p:nvSpPr>
              <p:cNvPr id="177" name="Rectangle 175"/>
              <p:cNvSpPr>
                <a:spLocks noChangeArrowheads="1"/>
              </p:cNvSpPr>
              <p:nvPr/>
            </p:nvSpPr>
            <p:spPr bwMode="auto">
              <a:xfrm>
                <a:off x="6199" y="4326"/>
                <a:ext cx="405" cy="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r>
                  <a:rPr lang="en-US" altLang="en-US" sz="813" dirty="0">
                    <a:solidFill>
                      <a:srgbClr val="000000"/>
                    </a:solidFill>
                  </a:rPr>
                  <a:t>Kilometers</a:t>
                </a:r>
                <a:endParaRPr lang="en-US" altLang="en-US" sz="1463" dirty="0"/>
              </a:p>
            </p:txBody>
          </p:sp>
          <p:sp>
            <p:nvSpPr>
              <p:cNvPr id="178" name="Freeform 176"/>
              <p:cNvSpPr>
                <a:spLocks noEditPoints="1"/>
              </p:cNvSpPr>
              <p:nvPr/>
            </p:nvSpPr>
            <p:spPr bwMode="auto">
              <a:xfrm>
                <a:off x="4452" y="3734"/>
                <a:ext cx="44" cy="445"/>
              </a:xfrm>
              <a:custGeom>
                <a:avLst/>
                <a:gdLst>
                  <a:gd name="T0" fmla="*/ 27 w 44"/>
                  <a:gd name="T1" fmla="*/ 236 h 445"/>
                  <a:gd name="T2" fmla="*/ 25 w 44"/>
                  <a:gd name="T3" fmla="*/ 211 h 445"/>
                  <a:gd name="T4" fmla="*/ 40 w 44"/>
                  <a:gd name="T5" fmla="*/ 219 h 445"/>
                  <a:gd name="T6" fmla="*/ 24 w 44"/>
                  <a:gd name="T7" fmla="*/ 78 h 445"/>
                  <a:gd name="T8" fmla="*/ 6 w 44"/>
                  <a:gd name="T9" fmla="*/ 219 h 445"/>
                  <a:gd name="T10" fmla="*/ 21 w 44"/>
                  <a:gd name="T11" fmla="*/ 211 h 445"/>
                  <a:gd name="T12" fmla="*/ 22 w 44"/>
                  <a:gd name="T13" fmla="*/ 236 h 445"/>
                  <a:gd name="T14" fmla="*/ 14 w 44"/>
                  <a:gd name="T15" fmla="*/ 238 h 445"/>
                  <a:gd name="T16" fmla="*/ 10 w 44"/>
                  <a:gd name="T17" fmla="*/ 243 h 445"/>
                  <a:gd name="T18" fmla="*/ 6 w 44"/>
                  <a:gd name="T19" fmla="*/ 247 h 445"/>
                  <a:gd name="T20" fmla="*/ 5 w 44"/>
                  <a:gd name="T21" fmla="*/ 255 h 445"/>
                  <a:gd name="T22" fmla="*/ 6 w 44"/>
                  <a:gd name="T23" fmla="*/ 262 h 445"/>
                  <a:gd name="T24" fmla="*/ 10 w 44"/>
                  <a:gd name="T25" fmla="*/ 268 h 445"/>
                  <a:gd name="T26" fmla="*/ 16 w 44"/>
                  <a:gd name="T27" fmla="*/ 271 h 445"/>
                  <a:gd name="T28" fmla="*/ 22 w 44"/>
                  <a:gd name="T29" fmla="*/ 274 h 445"/>
                  <a:gd name="T30" fmla="*/ 3 w 44"/>
                  <a:gd name="T31" fmla="*/ 445 h 445"/>
                  <a:gd name="T32" fmla="*/ 24 w 44"/>
                  <a:gd name="T33" fmla="*/ 436 h 445"/>
                  <a:gd name="T34" fmla="*/ 43 w 44"/>
                  <a:gd name="T35" fmla="*/ 445 h 445"/>
                  <a:gd name="T36" fmla="*/ 25 w 44"/>
                  <a:gd name="T37" fmla="*/ 274 h 445"/>
                  <a:gd name="T38" fmla="*/ 32 w 44"/>
                  <a:gd name="T39" fmla="*/ 271 h 445"/>
                  <a:gd name="T40" fmla="*/ 38 w 44"/>
                  <a:gd name="T41" fmla="*/ 268 h 445"/>
                  <a:gd name="T42" fmla="*/ 41 w 44"/>
                  <a:gd name="T43" fmla="*/ 262 h 445"/>
                  <a:gd name="T44" fmla="*/ 43 w 44"/>
                  <a:gd name="T45" fmla="*/ 255 h 445"/>
                  <a:gd name="T46" fmla="*/ 41 w 44"/>
                  <a:gd name="T47" fmla="*/ 247 h 445"/>
                  <a:gd name="T48" fmla="*/ 38 w 44"/>
                  <a:gd name="T49" fmla="*/ 243 h 445"/>
                  <a:gd name="T50" fmla="*/ 33 w 44"/>
                  <a:gd name="T51" fmla="*/ 238 h 445"/>
                  <a:gd name="T52" fmla="*/ 27 w 44"/>
                  <a:gd name="T53" fmla="*/ 236 h 445"/>
                  <a:gd name="T54" fmla="*/ 24 w 44"/>
                  <a:gd name="T55" fmla="*/ 433 h 445"/>
                  <a:gd name="T56" fmla="*/ 22 w 44"/>
                  <a:gd name="T57" fmla="*/ 289 h 445"/>
                  <a:gd name="T58" fmla="*/ 24 w 44"/>
                  <a:gd name="T59" fmla="*/ 289 h 445"/>
                  <a:gd name="T60" fmla="*/ 40 w 44"/>
                  <a:gd name="T61" fmla="*/ 441 h 445"/>
                  <a:gd name="T62" fmla="*/ 24 w 44"/>
                  <a:gd name="T63" fmla="*/ 433 h 445"/>
                  <a:gd name="T64" fmla="*/ 0 w 44"/>
                  <a:gd name="T65" fmla="*/ 0 h 445"/>
                  <a:gd name="T66" fmla="*/ 0 w 44"/>
                  <a:gd name="T67" fmla="*/ 57 h 445"/>
                  <a:gd name="T68" fmla="*/ 6 w 44"/>
                  <a:gd name="T69" fmla="*/ 57 h 445"/>
                  <a:gd name="T70" fmla="*/ 6 w 44"/>
                  <a:gd name="T71" fmla="*/ 13 h 445"/>
                  <a:gd name="T72" fmla="*/ 36 w 44"/>
                  <a:gd name="T73" fmla="*/ 57 h 445"/>
                  <a:gd name="T74" fmla="*/ 44 w 44"/>
                  <a:gd name="T75" fmla="*/ 57 h 445"/>
                  <a:gd name="T76" fmla="*/ 44 w 44"/>
                  <a:gd name="T77" fmla="*/ 0 h 445"/>
                  <a:gd name="T78" fmla="*/ 36 w 44"/>
                  <a:gd name="T79" fmla="*/ 0 h 445"/>
                  <a:gd name="T80" fmla="*/ 36 w 44"/>
                  <a:gd name="T81" fmla="*/ 45 h 445"/>
                  <a:gd name="T82" fmla="*/ 6 w 44"/>
                  <a:gd name="T83" fmla="*/ 0 h 445"/>
                  <a:gd name="T84" fmla="*/ 0 w 44"/>
                  <a:gd name="T85" fmla="*/ 0 h 445"/>
                  <a:gd name="T86" fmla="*/ 24 w 44"/>
                  <a:gd name="T87" fmla="*/ 98 h 445"/>
                  <a:gd name="T88" fmla="*/ 24 w 44"/>
                  <a:gd name="T89" fmla="*/ 208 h 445"/>
                  <a:gd name="T90" fmla="*/ 8 w 44"/>
                  <a:gd name="T91" fmla="*/ 213 h 445"/>
                  <a:gd name="T92" fmla="*/ 24 w 44"/>
                  <a:gd name="T93" fmla="*/ 98 h 445"/>
                  <a:gd name="T94" fmla="*/ 6 w 44"/>
                  <a:gd name="T95" fmla="*/ 255 h 445"/>
                  <a:gd name="T96" fmla="*/ 24 w 44"/>
                  <a:gd name="T97" fmla="*/ 255 h 445"/>
                  <a:gd name="T98" fmla="*/ 24 w 44"/>
                  <a:gd name="T99" fmla="*/ 271 h 445"/>
                  <a:gd name="T100" fmla="*/ 17 w 44"/>
                  <a:gd name="T101" fmla="*/ 271 h 445"/>
                  <a:gd name="T102" fmla="*/ 11 w 44"/>
                  <a:gd name="T103" fmla="*/ 266 h 445"/>
                  <a:gd name="T104" fmla="*/ 8 w 44"/>
                  <a:gd name="T105" fmla="*/ 262 h 445"/>
                  <a:gd name="T106" fmla="*/ 6 w 44"/>
                  <a:gd name="T107" fmla="*/ 255 h 445"/>
                  <a:gd name="T108" fmla="*/ 41 w 44"/>
                  <a:gd name="T109" fmla="*/ 254 h 445"/>
                  <a:gd name="T110" fmla="*/ 25 w 44"/>
                  <a:gd name="T111" fmla="*/ 254 h 445"/>
                  <a:gd name="T112" fmla="*/ 25 w 44"/>
                  <a:gd name="T113" fmla="*/ 236 h 445"/>
                  <a:gd name="T114" fmla="*/ 32 w 44"/>
                  <a:gd name="T115" fmla="*/ 238 h 445"/>
                  <a:gd name="T116" fmla="*/ 36 w 44"/>
                  <a:gd name="T117" fmla="*/ 243 h 445"/>
                  <a:gd name="T118" fmla="*/ 40 w 44"/>
                  <a:gd name="T119" fmla="*/ 247 h 445"/>
                  <a:gd name="T120" fmla="*/ 41 w 44"/>
                  <a:gd name="T121" fmla="*/ 25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4" h="445">
                    <a:moveTo>
                      <a:pt x="27" y="236"/>
                    </a:moveTo>
                    <a:lnTo>
                      <a:pt x="25" y="211"/>
                    </a:lnTo>
                    <a:lnTo>
                      <a:pt x="40" y="219"/>
                    </a:lnTo>
                    <a:lnTo>
                      <a:pt x="24" y="78"/>
                    </a:lnTo>
                    <a:lnTo>
                      <a:pt x="6" y="219"/>
                    </a:lnTo>
                    <a:lnTo>
                      <a:pt x="21" y="211"/>
                    </a:lnTo>
                    <a:lnTo>
                      <a:pt x="22" y="236"/>
                    </a:lnTo>
                    <a:lnTo>
                      <a:pt x="14" y="238"/>
                    </a:lnTo>
                    <a:lnTo>
                      <a:pt x="10" y="243"/>
                    </a:lnTo>
                    <a:lnTo>
                      <a:pt x="6" y="247"/>
                    </a:lnTo>
                    <a:lnTo>
                      <a:pt x="5" y="255"/>
                    </a:lnTo>
                    <a:lnTo>
                      <a:pt x="6" y="262"/>
                    </a:lnTo>
                    <a:lnTo>
                      <a:pt x="10" y="268"/>
                    </a:lnTo>
                    <a:lnTo>
                      <a:pt x="16" y="271"/>
                    </a:lnTo>
                    <a:lnTo>
                      <a:pt x="22" y="274"/>
                    </a:lnTo>
                    <a:lnTo>
                      <a:pt x="3" y="445"/>
                    </a:lnTo>
                    <a:lnTo>
                      <a:pt x="24" y="436"/>
                    </a:lnTo>
                    <a:lnTo>
                      <a:pt x="43" y="445"/>
                    </a:lnTo>
                    <a:lnTo>
                      <a:pt x="25" y="274"/>
                    </a:lnTo>
                    <a:lnTo>
                      <a:pt x="32" y="271"/>
                    </a:lnTo>
                    <a:lnTo>
                      <a:pt x="38" y="268"/>
                    </a:lnTo>
                    <a:lnTo>
                      <a:pt x="41" y="262"/>
                    </a:lnTo>
                    <a:lnTo>
                      <a:pt x="43" y="255"/>
                    </a:lnTo>
                    <a:lnTo>
                      <a:pt x="41" y="247"/>
                    </a:lnTo>
                    <a:lnTo>
                      <a:pt x="38" y="243"/>
                    </a:lnTo>
                    <a:lnTo>
                      <a:pt x="33" y="238"/>
                    </a:lnTo>
                    <a:lnTo>
                      <a:pt x="27" y="236"/>
                    </a:lnTo>
                    <a:close/>
                    <a:moveTo>
                      <a:pt x="24" y="433"/>
                    </a:moveTo>
                    <a:lnTo>
                      <a:pt x="22" y="289"/>
                    </a:lnTo>
                    <a:lnTo>
                      <a:pt x="24" y="289"/>
                    </a:lnTo>
                    <a:lnTo>
                      <a:pt x="40" y="441"/>
                    </a:lnTo>
                    <a:lnTo>
                      <a:pt x="24" y="433"/>
                    </a:lnTo>
                    <a:close/>
                    <a:moveTo>
                      <a:pt x="0" y="0"/>
                    </a:moveTo>
                    <a:lnTo>
                      <a:pt x="0" y="57"/>
                    </a:lnTo>
                    <a:lnTo>
                      <a:pt x="6" y="57"/>
                    </a:lnTo>
                    <a:lnTo>
                      <a:pt x="6" y="13"/>
                    </a:lnTo>
                    <a:lnTo>
                      <a:pt x="36" y="57"/>
                    </a:lnTo>
                    <a:lnTo>
                      <a:pt x="44" y="57"/>
                    </a:lnTo>
                    <a:lnTo>
                      <a:pt x="44" y="0"/>
                    </a:lnTo>
                    <a:lnTo>
                      <a:pt x="36" y="0"/>
                    </a:lnTo>
                    <a:lnTo>
                      <a:pt x="36" y="45"/>
                    </a:lnTo>
                    <a:lnTo>
                      <a:pt x="6" y="0"/>
                    </a:lnTo>
                    <a:lnTo>
                      <a:pt x="0" y="0"/>
                    </a:lnTo>
                    <a:close/>
                    <a:moveTo>
                      <a:pt x="24" y="98"/>
                    </a:moveTo>
                    <a:lnTo>
                      <a:pt x="24" y="208"/>
                    </a:lnTo>
                    <a:lnTo>
                      <a:pt x="8" y="213"/>
                    </a:lnTo>
                    <a:lnTo>
                      <a:pt x="24" y="98"/>
                    </a:lnTo>
                    <a:close/>
                    <a:moveTo>
                      <a:pt x="6" y="255"/>
                    </a:moveTo>
                    <a:lnTo>
                      <a:pt x="24" y="255"/>
                    </a:lnTo>
                    <a:lnTo>
                      <a:pt x="24" y="271"/>
                    </a:lnTo>
                    <a:lnTo>
                      <a:pt x="17" y="271"/>
                    </a:lnTo>
                    <a:lnTo>
                      <a:pt x="11" y="266"/>
                    </a:lnTo>
                    <a:lnTo>
                      <a:pt x="8" y="262"/>
                    </a:lnTo>
                    <a:lnTo>
                      <a:pt x="6" y="255"/>
                    </a:lnTo>
                    <a:close/>
                    <a:moveTo>
                      <a:pt x="41" y="254"/>
                    </a:moveTo>
                    <a:lnTo>
                      <a:pt x="25" y="254"/>
                    </a:lnTo>
                    <a:lnTo>
                      <a:pt x="25" y="236"/>
                    </a:lnTo>
                    <a:lnTo>
                      <a:pt x="32" y="238"/>
                    </a:lnTo>
                    <a:lnTo>
                      <a:pt x="36" y="243"/>
                    </a:lnTo>
                    <a:lnTo>
                      <a:pt x="40" y="247"/>
                    </a:lnTo>
                    <a:lnTo>
                      <a:pt x="41" y="25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138"/>
              </a:p>
            </p:txBody>
          </p:sp>
          <p:sp>
            <p:nvSpPr>
              <p:cNvPr id="182" name="Freeform 85"/>
              <p:cNvSpPr>
                <a:spLocks/>
              </p:cNvSpPr>
              <p:nvPr/>
            </p:nvSpPr>
            <p:spPr bwMode="auto">
              <a:xfrm>
                <a:off x="4370" y="1905"/>
                <a:ext cx="198" cy="198"/>
              </a:xfrm>
              <a:custGeom>
                <a:avLst/>
                <a:gdLst>
                  <a:gd name="T0" fmla="*/ 125 w 125"/>
                  <a:gd name="T1" fmla="*/ 58 h 125"/>
                  <a:gd name="T2" fmla="*/ 124 w 125"/>
                  <a:gd name="T3" fmla="*/ 52 h 125"/>
                  <a:gd name="T4" fmla="*/ 123 w 125"/>
                  <a:gd name="T5" fmla="*/ 46 h 125"/>
                  <a:gd name="T6" fmla="*/ 121 w 125"/>
                  <a:gd name="T7" fmla="*/ 40 h 125"/>
                  <a:gd name="T8" fmla="*/ 118 w 125"/>
                  <a:gd name="T9" fmla="*/ 34 h 125"/>
                  <a:gd name="T10" fmla="*/ 115 w 125"/>
                  <a:gd name="T11" fmla="*/ 28 h 125"/>
                  <a:gd name="T12" fmla="*/ 110 w 125"/>
                  <a:gd name="T13" fmla="*/ 22 h 125"/>
                  <a:gd name="T14" fmla="*/ 104 w 125"/>
                  <a:gd name="T15" fmla="*/ 16 h 125"/>
                  <a:gd name="T16" fmla="*/ 98 w 125"/>
                  <a:gd name="T17" fmla="*/ 11 h 125"/>
                  <a:gd name="T18" fmla="*/ 92 w 125"/>
                  <a:gd name="T19" fmla="*/ 7 h 125"/>
                  <a:gd name="T20" fmla="*/ 86 w 125"/>
                  <a:gd name="T21" fmla="*/ 5 h 125"/>
                  <a:gd name="T22" fmla="*/ 80 w 125"/>
                  <a:gd name="T23" fmla="*/ 3 h 125"/>
                  <a:gd name="T24" fmla="*/ 74 w 125"/>
                  <a:gd name="T25" fmla="*/ 1 h 125"/>
                  <a:gd name="T26" fmla="*/ 68 w 125"/>
                  <a:gd name="T27" fmla="*/ 0 h 125"/>
                  <a:gd name="T28" fmla="*/ 62 w 125"/>
                  <a:gd name="T29" fmla="*/ 0 h 125"/>
                  <a:gd name="T30" fmla="*/ 56 w 125"/>
                  <a:gd name="T31" fmla="*/ 0 h 125"/>
                  <a:gd name="T32" fmla="*/ 50 w 125"/>
                  <a:gd name="T33" fmla="*/ 1 h 125"/>
                  <a:gd name="T34" fmla="*/ 44 w 125"/>
                  <a:gd name="T35" fmla="*/ 3 h 125"/>
                  <a:gd name="T36" fmla="*/ 38 w 125"/>
                  <a:gd name="T37" fmla="*/ 5 h 125"/>
                  <a:gd name="T38" fmla="*/ 32 w 125"/>
                  <a:gd name="T39" fmla="*/ 8 h 125"/>
                  <a:gd name="T40" fmla="*/ 26 w 125"/>
                  <a:gd name="T41" fmla="*/ 12 h 125"/>
                  <a:gd name="T42" fmla="*/ 20 w 125"/>
                  <a:gd name="T43" fmla="*/ 17 h 125"/>
                  <a:gd name="T44" fmla="*/ 14 w 125"/>
                  <a:gd name="T45" fmla="*/ 23 h 125"/>
                  <a:gd name="T46" fmla="*/ 10 w 125"/>
                  <a:gd name="T47" fmla="*/ 29 h 125"/>
                  <a:gd name="T48" fmla="*/ 6 w 125"/>
                  <a:gd name="T49" fmla="*/ 35 h 125"/>
                  <a:gd name="T50" fmla="*/ 4 w 125"/>
                  <a:gd name="T51" fmla="*/ 41 h 125"/>
                  <a:gd name="T52" fmla="*/ 2 w 125"/>
                  <a:gd name="T53" fmla="*/ 47 h 125"/>
                  <a:gd name="T54" fmla="*/ 1 w 125"/>
                  <a:gd name="T55" fmla="*/ 53 h 125"/>
                  <a:gd name="T56" fmla="*/ 0 w 125"/>
                  <a:gd name="T57" fmla="*/ 59 h 125"/>
                  <a:gd name="T58" fmla="*/ 0 w 125"/>
                  <a:gd name="T59" fmla="*/ 65 h 125"/>
                  <a:gd name="T60" fmla="*/ 1 w 125"/>
                  <a:gd name="T61" fmla="*/ 71 h 125"/>
                  <a:gd name="T62" fmla="*/ 2 w 125"/>
                  <a:gd name="T63" fmla="*/ 77 h 125"/>
                  <a:gd name="T64" fmla="*/ 3 w 125"/>
                  <a:gd name="T65" fmla="*/ 83 h 125"/>
                  <a:gd name="T66" fmla="*/ 6 w 125"/>
                  <a:gd name="T67" fmla="*/ 89 h 125"/>
                  <a:gd name="T68" fmla="*/ 9 w 125"/>
                  <a:gd name="T69" fmla="*/ 95 h 125"/>
                  <a:gd name="T70" fmla="*/ 13 w 125"/>
                  <a:gd name="T71" fmla="*/ 101 h 125"/>
                  <a:gd name="T72" fmla="*/ 19 w 125"/>
                  <a:gd name="T73" fmla="*/ 107 h 125"/>
                  <a:gd name="T74" fmla="*/ 25 w 125"/>
                  <a:gd name="T75" fmla="*/ 112 h 125"/>
                  <a:gd name="T76" fmla="*/ 31 w 125"/>
                  <a:gd name="T77" fmla="*/ 116 h 125"/>
                  <a:gd name="T78" fmla="*/ 37 w 125"/>
                  <a:gd name="T79" fmla="*/ 120 h 125"/>
                  <a:gd name="T80" fmla="*/ 43 w 125"/>
                  <a:gd name="T81" fmla="*/ 122 h 125"/>
                  <a:gd name="T82" fmla="*/ 49 w 125"/>
                  <a:gd name="T83" fmla="*/ 124 h 125"/>
                  <a:gd name="T84" fmla="*/ 55 w 125"/>
                  <a:gd name="T85" fmla="*/ 125 h 125"/>
                  <a:gd name="T86" fmla="*/ 61 w 125"/>
                  <a:gd name="T87" fmla="*/ 125 h 125"/>
                  <a:gd name="T88" fmla="*/ 67 w 125"/>
                  <a:gd name="T89" fmla="*/ 125 h 125"/>
                  <a:gd name="T90" fmla="*/ 73 w 125"/>
                  <a:gd name="T91" fmla="*/ 124 h 125"/>
                  <a:gd name="T92" fmla="*/ 79 w 125"/>
                  <a:gd name="T93" fmla="*/ 123 h 125"/>
                  <a:gd name="T94" fmla="*/ 85 w 125"/>
                  <a:gd name="T95" fmla="*/ 121 h 125"/>
                  <a:gd name="T96" fmla="*/ 91 w 125"/>
                  <a:gd name="T97" fmla="*/ 118 h 125"/>
                  <a:gd name="T98" fmla="*/ 97 w 125"/>
                  <a:gd name="T99" fmla="*/ 115 h 125"/>
                  <a:gd name="T100" fmla="*/ 103 w 125"/>
                  <a:gd name="T101" fmla="*/ 110 h 125"/>
                  <a:gd name="T102" fmla="*/ 109 w 125"/>
                  <a:gd name="T103" fmla="*/ 104 h 125"/>
                  <a:gd name="T104" fmla="*/ 114 w 125"/>
                  <a:gd name="T105" fmla="*/ 98 h 125"/>
                  <a:gd name="T106" fmla="*/ 118 w 125"/>
                  <a:gd name="T107" fmla="*/ 92 h 125"/>
                  <a:gd name="T108" fmla="*/ 120 w 125"/>
                  <a:gd name="T109" fmla="*/ 86 h 125"/>
                  <a:gd name="T110" fmla="*/ 122 w 125"/>
                  <a:gd name="T111" fmla="*/ 80 h 125"/>
                  <a:gd name="T112" fmla="*/ 124 w 125"/>
                  <a:gd name="T113" fmla="*/ 74 h 125"/>
                  <a:gd name="T114" fmla="*/ 125 w 125"/>
                  <a:gd name="T115" fmla="*/ 68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5" h="125">
                    <a:moveTo>
                      <a:pt x="125" y="63"/>
                    </a:moveTo>
                    <a:lnTo>
                      <a:pt x="125" y="62"/>
                    </a:lnTo>
                    <a:lnTo>
                      <a:pt x="125" y="61"/>
                    </a:lnTo>
                    <a:lnTo>
                      <a:pt x="125" y="60"/>
                    </a:lnTo>
                    <a:lnTo>
                      <a:pt x="125" y="59"/>
                    </a:lnTo>
                    <a:lnTo>
                      <a:pt x="125" y="58"/>
                    </a:lnTo>
                    <a:lnTo>
                      <a:pt x="125" y="57"/>
                    </a:lnTo>
                    <a:lnTo>
                      <a:pt x="125" y="56"/>
                    </a:lnTo>
                    <a:lnTo>
                      <a:pt x="125" y="55"/>
                    </a:lnTo>
                    <a:lnTo>
                      <a:pt x="124" y="54"/>
                    </a:lnTo>
                    <a:lnTo>
                      <a:pt x="124" y="53"/>
                    </a:lnTo>
                    <a:lnTo>
                      <a:pt x="124" y="52"/>
                    </a:lnTo>
                    <a:lnTo>
                      <a:pt x="124" y="51"/>
                    </a:lnTo>
                    <a:lnTo>
                      <a:pt x="124" y="50"/>
                    </a:lnTo>
                    <a:lnTo>
                      <a:pt x="124" y="49"/>
                    </a:lnTo>
                    <a:lnTo>
                      <a:pt x="123" y="48"/>
                    </a:lnTo>
                    <a:lnTo>
                      <a:pt x="123" y="47"/>
                    </a:lnTo>
                    <a:lnTo>
                      <a:pt x="123" y="46"/>
                    </a:lnTo>
                    <a:lnTo>
                      <a:pt x="122" y="45"/>
                    </a:lnTo>
                    <a:lnTo>
                      <a:pt x="122" y="44"/>
                    </a:lnTo>
                    <a:lnTo>
                      <a:pt x="122" y="43"/>
                    </a:lnTo>
                    <a:lnTo>
                      <a:pt x="122" y="42"/>
                    </a:lnTo>
                    <a:lnTo>
                      <a:pt x="121" y="41"/>
                    </a:lnTo>
                    <a:lnTo>
                      <a:pt x="121" y="40"/>
                    </a:lnTo>
                    <a:lnTo>
                      <a:pt x="120" y="39"/>
                    </a:lnTo>
                    <a:lnTo>
                      <a:pt x="120" y="38"/>
                    </a:lnTo>
                    <a:lnTo>
                      <a:pt x="120" y="37"/>
                    </a:lnTo>
                    <a:lnTo>
                      <a:pt x="119" y="36"/>
                    </a:lnTo>
                    <a:lnTo>
                      <a:pt x="119" y="35"/>
                    </a:lnTo>
                    <a:lnTo>
                      <a:pt x="118" y="34"/>
                    </a:lnTo>
                    <a:lnTo>
                      <a:pt x="118" y="33"/>
                    </a:lnTo>
                    <a:lnTo>
                      <a:pt x="117" y="32"/>
                    </a:lnTo>
                    <a:lnTo>
                      <a:pt x="116" y="31"/>
                    </a:lnTo>
                    <a:lnTo>
                      <a:pt x="116" y="30"/>
                    </a:lnTo>
                    <a:lnTo>
                      <a:pt x="115" y="29"/>
                    </a:lnTo>
                    <a:lnTo>
                      <a:pt x="115" y="28"/>
                    </a:lnTo>
                    <a:lnTo>
                      <a:pt x="114" y="27"/>
                    </a:lnTo>
                    <a:lnTo>
                      <a:pt x="113" y="26"/>
                    </a:lnTo>
                    <a:lnTo>
                      <a:pt x="112" y="25"/>
                    </a:lnTo>
                    <a:lnTo>
                      <a:pt x="112" y="24"/>
                    </a:lnTo>
                    <a:lnTo>
                      <a:pt x="111" y="23"/>
                    </a:lnTo>
                    <a:lnTo>
                      <a:pt x="110" y="22"/>
                    </a:lnTo>
                    <a:lnTo>
                      <a:pt x="109" y="21"/>
                    </a:lnTo>
                    <a:lnTo>
                      <a:pt x="108" y="20"/>
                    </a:lnTo>
                    <a:lnTo>
                      <a:pt x="107" y="19"/>
                    </a:lnTo>
                    <a:lnTo>
                      <a:pt x="106" y="18"/>
                    </a:lnTo>
                    <a:lnTo>
                      <a:pt x="105" y="17"/>
                    </a:lnTo>
                    <a:lnTo>
                      <a:pt x="104" y="16"/>
                    </a:lnTo>
                    <a:lnTo>
                      <a:pt x="103" y="15"/>
                    </a:lnTo>
                    <a:lnTo>
                      <a:pt x="102" y="14"/>
                    </a:lnTo>
                    <a:lnTo>
                      <a:pt x="101" y="13"/>
                    </a:lnTo>
                    <a:lnTo>
                      <a:pt x="100" y="13"/>
                    </a:lnTo>
                    <a:lnTo>
                      <a:pt x="99" y="12"/>
                    </a:lnTo>
                    <a:lnTo>
                      <a:pt x="98" y="11"/>
                    </a:lnTo>
                    <a:lnTo>
                      <a:pt x="97" y="10"/>
                    </a:lnTo>
                    <a:lnTo>
                      <a:pt x="96" y="10"/>
                    </a:lnTo>
                    <a:lnTo>
                      <a:pt x="95" y="9"/>
                    </a:lnTo>
                    <a:lnTo>
                      <a:pt x="94" y="9"/>
                    </a:lnTo>
                    <a:lnTo>
                      <a:pt x="93" y="8"/>
                    </a:lnTo>
                    <a:lnTo>
                      <a:pt x="92" y="7"/>
                    </a:lnTo>
                    <a:lnTo>
                      <a:pt x="91" y="7"/>
                    </a:lnTo>
                    <a:lnTo>
                      <a:pt x="90" y="6"/>
                    </a:lnTo>
                    <a:lnTo>
                      <a:pt x="89" y="6"/>
                    </a:lnTo>
                    <a:lnTo>
                      <a:pt x="88" y="5"/>
                    </a:lnTo>
                    <a:lnTo>
                      <a:pt x="87" y="5"/>
                    </a:lnTo>
                    <a:lnTo>
                      <a:pt x="86" y="5"/>
                    </a:lnTo>
                    <a:lnTo>
                      <a:pt x="85" y="4"/>
                    </a:lnTo>
                    <a:lnTo>
                      <a:pt x="84" y="4"/>
                    </a:lnTo>
                    <a:lnTo>
                      <a:pt x="83" y="3"/>
                    </a:lnTo>
                    <a:lnTo>
                      <a:pt x="82" y="3"/>
                    </a:lnTo>
                    <a:lnTo>
                      <a:pt x="81" y="3"/>
                    </a:lnTo>
                    <a:lnTo>
                      <a:pt x="80" y="3"/>
                    </a:lnTo>
                    <a:lnTo>
                      <a:pt x="79" y="2"/>
                    </a:lnTo>
                    <a:lnTo>
                      <a:pt x="78" y="2"/>
                    </a:lnTo>
                    <a:lnTo>
                      <a:pt x="77" y="2"/>
                    </a:lnTo>
                    <a:lnTo>
                      <a:pt x="76" y="1"/>
                    </a:lnTo>
                    <a:lnTo>
                      <a:pt x="75" y="1"/>
                    </a:lnTo>
                    <a:lnTo>
                      <a:pt x="74" y="1"/>
                    </a:lnTo>
                    <a:lnTo>
                      <a:pt x="73" y="1"/>
                    </a:lnTo>
                    <a:lnTo>
                      <a:pt x="72" y="1"/>
                    </a:lnTo>
                    <a:lnTo>
                      <a:pt x="71" y="1"/>
                    </a:lnTo>
                    <a:lnTo>
                      <a:pt x="70" y="0"/>
                    </a:lnTo>
                    <a:lnTo>
                      <a:pt x="69" y="0"/>
                    </a:lnTo>
                    <a:lnTo>
                      <a:pt x="68" y="0"/>
                    </a:lnTo>
                    <a:lnTo>
                      <a:pt x="67" y="0"/>
                    </a:lnTo>
                    <a:lnTo>
                      <a:pt x="66" y="0"/>
                    </a:lnTo>
                    <a:lnTo>
                      <a:pt x="65" y="0"/>
                    </a:lnTo>
                    <a:lnTo>
                      <a:pt x="64" y="0"/>
                    </a:lnTo>
                    <a:lnTo>
                      <a:pt x="63" y="0"/>
                    </a:lnTo>
                    <a:lnTo>
                      <a:pt x="62" y="0"/>
                    </a:lnTo>
                    <a:lnTo>
                      <a:pt x="61" y="0"/>
                    </a:lnTo>
                    <a:lnTo>
                      <a:pt x="60" y="0"/>
                    </a:lnTo>
                    <a:lnTo>
                      <a:pt x="59" y="0"/>
                    </a:lnTo>
                    <a:lnTo>
                      <a:pt x="58" y="0"/>
                    </a:lnTo>
                    <a:lnTo>
                      <a:pt x="57" y="0"/>
                    </a:lnTo>
                    <a:lnTo>
                      <a:pt x="56" y="0"/>
                    </a:lnTo>
                    <a:lnTo>
                      <a:pt x="55" y="0"/>
                    </a:lnTo>
                    <a:lnTo>
                      <a:pt x="54" y="1"/>
                    </a:lnTo>
                    <a:lnTo>
                      <a:pt x="53" y="1"/>
                    </a:lnTo>
                    <a:lnTo>
                      <a:pt x="52" y="1"/>
                    </a:lnTo>
                    <a:lnTo>
                      <a:pt x="51" y="1"/>
                    </a:lnTo>
                    <a:lnTo>
                      <a:pt x="50" y="1"/>
                    </a:lnTo>
                    <a:lnTo>
                      <a:pt x="49" y="1"/>
                    </a:lnTo>
                    <a:lnTo>
                      <a:pt x="48" y="2"/>
                    </a:lnTo>
                    <a:lnTo>
                      <a:pt x="47" y="2"/>
                    </a:lnTo>
                    <a:lnTo>
                      <a:pt x="46" y="2"/>
                    </a:lnTo>
                    <a:lnTo>
                      <a:pt x="45" y="3"/>
                    </a:lnTo>
                    <a:lnTo>
                      <a:pt x="44" y="3"/>
                    </a:lnTo>
                    <a:lnTo>
                      <a:pt x="43" y="3"/>
                    </a:lnTo>
                    <a:lnTo>
                      <a:pt x="42" y="3"/>
                    </a:lnTo>
                    <a:lnTo>
                      <a:pt x="41" y="4"/>
                    </a:lnTo>
                    <a:lnTo>
                      <a:pt x="40" y="4"/>
                    </a:lnTo>
                    <a:lnTo>
                      <a:pt x="39" y="5"/>
                    </a:lnTo>
                    <a:lnTo>
                      <a:pt x="38" y="5"/>
                    </a:lnTo>
                    <a:lnTo>
                      <a:pt x="37" y="5"/>
                    </a:lnTo>
                    <a:lnTo>
                      <a:pt x="36" y="6"/>
                    </a:lnTo>
                    <a:lnTo>
                      <a:pt x="35" y="6"/>
                    </a:lnTo>
                    <a:lnTo>
                      <a:pt x="34" y="7"/>
                    </a:lnTo>
                    <a:lnTo>
                      <a:pt x="33" y="7"/>
                    </a:lnTo>
                    <a:lnTo>
                      <a:pt x="32" y="8"/>
                    </a:lnTo>
                    <a:lnTo>
                      <a:pt x="31" y="9"/>
                    </a:lnTo>
                    <a:lnTo>
                      <a:pt x="30" y="9"/>
                    </a:lnTo>
                    <a:lnTo>
                      <a:pt x="29" y="10"/>
                    </a:lnTo>
                    <a:lnTo>
                      <a:pt x="28" y="10"/>
                    </a:lnTo>
                    <a:lnTo>
                      <a:pt x="27" y="11"/>
                    </a:lnTo>
                    <a:lnTo>
                      <a:pt x="26" y="12"/>
                    </a:lnTo>
                    <a:lnTo>
                      <a:pt x="25" y="13"/>
                    </a:lnTo>
                    <a:lnTo>
                      <a:pt x="24" y="13"/>
                    </a:lnTo>
                    <a:lnTo>
                      <a:pt x="23" y="14"/>
                    </a:lnTo>
                    <a:lnTo>
                      <a:pt x="22" y="15"/>
                    </a:lnTo>
                    <a:lnTo>
                      <a:pt x="21" y="16"/>
                    </a:lnTo>
                    <a:lnTo>
                      <a:pt x="20" y="17"/>
                    </a:lnTo>
                    <a:lnTo>
                      <a:pt x="19" y="18"/>
                    </a:lnTo>
                    <a:lnTo>
                      <a:pt x="18" y="19"/>
                    </a:lnTo>
                    <a:lnTo>
                      <a:pt x="17" y="20"/>
                    </a:lnTo>
                    <a:lnTo>
                      <a:pt x="16" y="21"/>
                    </a:lnTo>
                    <a:lnTo>
                      <a:pt x="15" y="22"/>
                    </a:lnTo>
                    <a:lnTo>
                      <a:pt x="14" y="23"/>
                    </a:lnTo>
                    <a:lnTo>
                      <a:pt x="13" y="24"/>
                    </a:lnTo>
                    <a:lnTo>
                      <a:pt x="13" y="25"/>
                    </a:lnTo>
                    <a:lnTo>
                      <a:pt x="12" y="26"/>
                    </a:lnTo>
                    <a:lnTo>
                      <a:pt x="11" y="27"/>
                    </a:lnTo>
                    <a:lnTo>
                      <a:pt x="10" y="28"/>
                    </a:lnTo>
                    <a:lnTo>
                      <a:pt x="10" y="29"/>
                    </a:lnTo>
                    <a:lnTo>
                      <a:pt x="9" y="30"/>
                    </a:lnTo>
                    <a:lnTo>
                      <a:pt x="9" y="31"/>
                    </a:lnTo>
                    <a:lnTo>
                      <a:pt x="8" y="32"/>
                    </a:lnTo>
                    <a:lnTo>
                      <a:pt x="7" y="33"/>
                    </a:lnTo>
                    <a:lnTo>
                      <a:pt x="7" y="34"/>
                    </a:lnTo>
                    <a:lnTo>
                      <a:pt x="6" y="35"/>
                    </a:lnTo>
                    <a:lnTo>
                      <a:pt x="6" y="36"/>
                    </a:lnTo>
                    <a:lnTo>
                      <a:pt x="5" y="37"/>
                    </a:lnTo>
                    <a:lnTo>
                      <a:pt x="5" y="38"/>
                    </a:lnTo>
                    <a:lnTo>
                      <a:pt x="5" y="39"/>
                    </a:lnTo>
                    <a:lnTo>
                      <a:pt x="4" y="40"/>
                    </a:lnTo>
                    <a:lnTo>
                      <a:pt x="4" y="41"/>
                    </a:lnTo>
                    <a:lnTo>
                      <a:pt x="3" y="42"/>
                    </a:lnTo>
                    <a:lnTo>
                      <a:pt x="3" y="43"/>
                    </a:lnTo>
                    <a:lnTo>
                      <a:pt x="3" y="44"/>
                    </a:lnTo>
                    <a:lnTo>
                      <a:pt x="3" y="45"/>
                    </a:lnTo>
                    <a:lnTo>
                      <a:pt x="2" y="46"/>
                    </a:lnTo>
                    <a:lnTo>
                      <a:pt x="2" y="47"/>
                    </a:lnTo>
                    <a:lnTo>
                      <a:pt x="2" y="48"/>
                    </a:lnTo>
                    <a:lnTo>
                      <a:pt x="1" y="49"/>
                    </a:lnTo>
                    <a:lnTo>
                      <a:pt x="1" y="50"/>
                    </a:lnTo>
                    <a:lnTo>
                      <a:pt x="1" y="51"/>
                    </a:lnTo>
                    <a:lnTo>
                      <a:pt x="1" y="52"/>
                    </a:lnTo>
                    <a:lnTo>
                      <a:pt x="1" y="53"/>
                    </a:lnTo>
                    <a:lnTo>
                      <a:pt x="1" y="54"/>
                    </a:lnTo>
                    <a:lnTo>
                      <a:pt x="0" y="55"/>
                    </a:lnTo>
                    <a:lnTo>
                      <a:pt x="0" y="56"/>
                    </a:lnTo>
                    <a:lnTo>
                      <a:pt x="0" y="57"/>
                    </a:lnTo>
                    <a:lnTo>
                      <a:pt x="0" y="58"/>
                    </a:lnTo>
                    <a:lnTo>
                      <a:pt x="0" y="59"/>
                    </a:lnTo>
                    <a:lnTo>
                      <a:pt x="0" y="60"/>
                    </a:lnTo>
                    <a:lnTo>
                      <a:pt x="0" y="61"/>
                    </a:lnTo>
                    <a:lnTo>
                      <a:pt x="0" y="62"/>
                    </a:lnTo>
                    <a:lnTo>
                      <a:pt x="0" y="63"/>
                    </a:lnTo>
                    <a:lnTo>
                      <a:pt x="0" y="64"/>
                    </a:lnTo>
                    <a:lnTo>
                      <a:pt x="0" y="65"/>
                    </a:lnTo>
                    <a:lnTo>
                      <a:pt x="0" y="66"/>
                    </a:lnTo>
                    <a:lnTo>
                      <a:pt x="0" y="67"/>
                    </a:lnTo>
                    <a:lnTo>
                      <a:pt x="0" y="68"/>
                    </a:lnTo>
                    <a:lnTo>
                      <a:pt x="0" y="69"/>
                    </a:lnTo>
                    <a:lnTo>
                      <a:pt x="0" y="70"/>
                    </a:lnTo>
                    <a:lnTo>
                      <a:pt x="1" y="71"/>
                    </a:lnTo>
                    <a:lnTo>
                      <a:pt x="1" y="72"/>
                    </a:lnTo>
                    <a:lnTo>
                      <a:pt x="1" y="73"/>
                    </a:lnTo>
                    <a:lnTo>
                      <a:pt x="1" y="74"/>
                    </a:lnTo>
                    <a:lnTo>
                      <a:pt x="1" y="75"/>
                    </a:lnTo>
                    <a:lnTo>
                      <a:pt x="1" y="76"/>
                    </a:lnTo>
                    <a:lnTo>
                      <a:pt x="2" y="77"/>
                    </a:lnTo>
                    <a:lnTo>
                      <a:pt x="2" y="78"/>
                    </a:lnTo>
                    <a:lnTo>
                      <a:pt x="2" y="79"/>
                    </a:lnTo>
                    <a:lnTo>
                      <a:pt x="3" y="80"/>
                    </a:lnTo>
                    <a:lnTo>
                      <a:pt x="3" y="81"/>
                    </a:lnTo>
                    <a:lnTo>
                      <a:pt x="3" y="82"/>
                    </a:lnTo>
                    <a:lnTo>
                      <a:pt x="3" y="83"/>
                    </a:lnTo>
                    <a:lnTo>
                      <a:pt x="4" y="84"/>
                    </a:lnTo>
                    <a:lnTo>
                      <a:pt x="4" y="85"/>
                    </a:lnTo>
                    <a:lnTo>
                      <a:pt x="5" y="86"/>
                    </a:lnTo>
                    <a:lnTo>
                      <a:pt x="5" y="87"/>
                    </a:lnTo>
                    <a:lnTo>
                      <a:pt x="5" y="88"/>
                    </a:lnTo>
                    <a:lnTo>
                      <a:pt x="6" y="89"/>
                    </a:lnTo>
                    <a:lnTo>
                      <a:pt x="6" y="90"/>
                    </a:lnTo>
                    <a:lnTo>
                      <a:pt x="7" y="91"/>
                    </a:lnTo>
                    <a:lnTo>
                      <a:pt x="7" y="92"/>
                    </a:lnTo>
                    <a:lnTo>
                      <a:pt x="8" y="93"/>
                    </a:lnTo>
                    <a:lnTo>
                      <a:pt x="9" y="94"/>
                    </a:lnTo>
                    <a:lnTo>
                      <a:pt x="9" y="95"/>
                    </a:lnTo>
                    <a:lnTo>
                      <a:pt x="10" y="96"/>
                    </a:lnTo>
                    <a:lnTo>
                      <a:pt x="10" y="97"/>
                    </a:lnTo>
                    <a:lnTo>
                      <a:pt x="11" y="98"/>
                    </a:lnTo>
                    <a:lnTo>
                      <a:pt x="12" y="99"/>
                    </a:lnTo>
                    <a:lnTo>
                      <a:pt x="13" y="100"/>
                    </a:lnTo>
                    <a:lnTo>
                      <a:pt x="13" y="101"/>
                    </a:lnTo>
                    <a:lnTo>
                      <a:pt x="14" y="102"/>
                    </a:lnTo>
                    <a:lnTo>
                      <a:pt x="15" y="103"/>
                    </a:lnTo>
                    <a:lnTo>
                      <a:pt x="16" y="104"/>
                    </a:lnTo>
                    <a:lnTo>
                      <a:pt x="17" y="105"/>
                    </a:lnTo>
                    <a:lnTo>
                      <a:pt x="18" y="106"/>
                    </a:lnTo>
                    <a:lnTo>
                      <a:pt x="19" y="107"/>
                    </a:lnTo>
                    <a:lnTo>
                      <a:pt x="20" y="108"/>
                    </a:lnTo>
                    <a:lnTo>
                      <a:pt x="21" y="109"/>
                    </a:lnTo>
                    <a:lnTo>
                      <a:pt x="22" y="110"/>
                    </a:lnTo>
                    <a:lnTo>
                      <a:pt x="23" y="111"/>
                    </a:lnTo>
                    <a:lnTo>
                      <a:pt x="24" y="112"/>
                    </a:lnTo>
                    <a:lnTo>
                      <a:pt x="25" y="112"/>
                    </a:lnTo>
                    <a:lnTo>
                      <a:pt x="26" y="113"/>
                    </a:lnTo>
                    <a:lnTo>
                      <a:pt x="27" y="114"/>
                    </a:lnTo>
                    <a:lnTo>
                      <a:pt x="28" y="115"/>
                    </a:lnTo>
                    <a:lnTo>
                      <a:pt x="29" y="115"/>
                    </a:lnTo>
                    <a:lnTo>
                      <a:pt x="30" y="116"/>
                    </a:lnTo>
                    <a:lnTo>
                      <a:pt x="31" y="116"/>
                    </a:lnTo>
                    <a:lnTo>
                      <a:pt x="32" y="117"/>
                    </a:lnTo>
                    <a:lnTo>
                      <a:pt x="33" y="118"/>
                    </a:lnTo>
                    <a:lnTo>
                      <a:pt x="34" y="118"/>
                    </a:lnTo>
                    <a:lnTo>
                      <a:pt x="35" y="119"/>
                    </a:lnTo>
                    <a:lnTo>
                      <a:pt x="36" y="119"/>
                    </a:lnTo>
                    <a:lnTo>
                      <a:pt x="37" y="120"/>
                    </a:lnTo>
                    <a:lnTo>
                      <a:pt x="38" y="120"/>
                    </a:lnTo>
                    <a:lnTo>
                      <a:pt x="39" y="120"/>
                    </a:lnTo>
                    <a:lnTo>
                      <a:pt x="40" y="121"/>
                    </a:lnTo>
                    <a:lnTo>
                      <a:pt x="41" y="121"/>
                    </a:lnTo>
                    <a:lnTo>
                      <a:pt x="42" y="122"/>
                    </a:lnTo>
                    <a:lnTo>
                      <a:pt x="43" y="122"/>
                    </a:lnTo>
                    <a:lnTo>
                      <a:pt x="44" y="122"/>
                    </a:lnTo>
                    <a:lnTo>
                      <a:pt x="45" y="122"/>
                    </a:lnTo>
                    <a:lnTo>
                      <a:pt x="46" y="123"/>
                    </a:lnTo>
                    <a:lnTo>
                      <a:pt x="47" y="123"/>
                    </a:lnTo>
                    <a:lnTo>
                      <a:pt x="48" y="123"/>
                    </a:lnTo>
                    <a:lnTo>
                      <a:pt x="49" y="124"/>
                    </a:lnTo>
                    <a:lnTo>
                      <a:pt x="50" y="124"/>
                    </a:lnTo>
                    <a:lnTo>
                      <a:pt x="51" y="124"/>
                    </a:lnTo>
                    <a:lnTo>
                      <a:pt x="52" y="124"/>
                    </a:lnTo>
                    <a:lnTo>
                      <a:pt x="53" y="124"/>
                    </a:lnTo>
                    <a:lnTo>
                      <a:pt x="54" y="124"/>
                    </a:lnTo>
                    <a:lnTo>
                      <a:pt x="55" y="125"/>
                    </a:lnTo>
                    <a:lnTo>
                      <a:pt x="56" y="125"/>
                    </a:lnTo>
                    <a:lnTo>
                      <a:pt x="57" y="125"/>
                    </a:lnTo>
                    <a:lnTo>
                      <a:pt x="58" y="125"/>
                    </a:lnTo>
                    <a:lnTo>
                      <a:pt x="59" y="125"/>
                    </a:lnTo>
                    <a:lnTo>
                      <a:pt x="60" y="125"/>
                    </a:lnTo>
                    <a:lnTo>
                      <a:pt x="61" y="125"/>
                    </a:lnTo>
                    <a:lnTo>
                      <a:pt x="62" y="125"/>
                    </a:lnTo>
                    <a:lnTo>
                      <a:pt x="63" y="125"/>
                    </a:lnTo>
                    <a:lnTo>
                      <a:pt x="64" y="125"/>
                    </a:lnTo>
                    <a:lnTo>
                      <a:pt x="65" y="125"/>
                    </a:lnTo>
                    <a:lnTo>
                      <a:pt x="66" y="125"/>
                    </a:lnTo>
                    <a:lnTo>
                      <a:pt x="67" y="125"/>
                    </a:lnTo>
                    <a:lnTo>
                      <a:pt x="68" y="125"/>
                    </a:lnTo>
                    <a:lnTo>
                      <a:pt x="69" y="125"/>
                    </a:lnTo>
                    <a:lnTo>
                      <a:pt x="70" y="125"/>
                    </a:lnTo>
                    <a:lnTo>
                      <a:pt x="71" y="124"/>
                    </a:lnTo>
                    <a:lnTo>
                      <a:pt x="72" y="124"/>
                    </a:lnTo>
                    <a:lnTo>
                      <a:pt x="73" y="124"/>
                    </a:lnTo>
                    <a:lnTo>
                      <a:pt x="74" y="124"/>
                    </a:lnTo>
                    <a:lnTo>
                      <a:pt x="75" y="124"/>
                    </a:lnTo>
                    <a:lnTo>
                      <a:pt x="76" y="124"/>
                    </a:lnTo>
                    <a:lnTo>
                      <a:pt x="77" y="123"/>
                    </a:lnTo>
                    <a:lnTo>
                      <a:pt x="78" y="123"/>
                    </a:lnTo>
                    <a:lnTo>
                      <a:pt x="79" y="123"/>
                    </a:lnTo>
                    <a:lnTo>
                      <a:pt x="80" y="122"/>
                    </a:lnTo>
                    <a:lnTo>
                      <a:pt x="81" y="122"/>
                    </a:lnTo>
                    <a:lnTo>
                      <a:pt x="82" y="122"/>
                    </a:lnTo>
                    <a:lnTo>
                      <a:pt x="83" y="122"/>
                    </a:lnTo>
                    <a:lnTo>
                      <a:pt x="84" y="121"/>
                    </a:lnTo>
                    <a:lnTo>
                      <a:pt x="85" y="121"/>
                    </a:lnTo>
                    <a:lnTo>
                      <a:pt x="86" y="120"/>
                    </a:lnTo>
                    <a:lnTo>
                      <a:pt x="87" y="120"/>
                    </a:lnTo>
                    <a:lnTo>
                      <a:pt x="88" y="120"/>
                    </a:lnTo>
                    <a:lnTo>
                      <a:pt x="89" y="119"/>
                    </a:lnTo>
                    <a:lnTo>
                      <a:pt x="90" y="119"/>
                    </a:lnTo>
                    <a:lnTo>
                      <a:pt x="91" y="118"/>
                    </a:lnTo>
                    <a:lnTo>
                      <a:pt x="92" y="118"/>
                    </a:lnTo>
                    <a:lnTo>
                      <a:pt x="93" y="117"/>
                    </a:lnTo>
                    <a:lnTo>
                      <a:pt x="94" y="116"/>
                    </a:lnTo>
                    <a:lnTo>
                      <a:pt x="95" y="116"/>
                    </a:lnTo>
                    <a:lnTo>
                      <a:pt x="96" y="115"/>
                    </a:lnTo>
                    <a:lnTo>
                      <a:pt x="97" y="115"/>
                    </a:lnTo>
                    <a:lnTo>
                      <a:pt x="98" y="114"/>
                    </a:lnTo>
                    <a:lnTo>
                      <a:pt x="99" y="113"/>
                    </a:lnTo>
                    <a:lnTo>
                      <a:pt x="100" y="112"/>
                    </a:lnTo>
                    <a:lnTo>
                      <a:pt x="101" y="112"/>
                    </a:lnTo>
                    <a:lnTo>
                      <a:pt x="102" y="111"/>
                    </a:lnTo>
                    <a:lnTo>
                      <a:pt x="103" y="110"/>
                    </a:lnTo>
                    <a:lnTo>
                      <a:pt x="104" y="109"/>
                    </a:lnTo>
                    <a:lnTo>
                      <a:pt x="105" y="108"/>
                    </a:lnTo>
                    <a:lnTo>
                      <a:pt x="106" y="107"/>
                    </a:lnTo>
                    <a:lnTo>
                      <a:pt x="107" y="106"/>
                    </a:lnTo>
                    <a:lnTo>
                      <a:pt x="108" y="105"/>
                    </a:lnTo>
                    <a:lnTo>
                      <a:pt x="109" y="104"/>
                    </a:lnTo>
                    <a:lnTo>
                      <a:pt x="110" y="103"/>
                    </a:lnTo>
                    <a:lnTo>
                      <a:pt x="111" y="102"/>
                    </a:lnTo>
                    <a:lnTo>
                      <a:pt x="112" y="101"/>
                    </a:lnTo>
                    <a:lnTo>
                      <a:pt x="112" y="100"/>
                    </a:lnTo>
                    <a:lnTo>
                      <a:pt x="113" y="99"/>
                    </a:lnTo>
                    <a:lnTo>
                      <a:pt x="114" y="98"/>
                    </a:lnTo>
                    <a:lnTo>
                      <a:pt x="115" y="97"/>
                    </a:lnTo>
                    <a:lnTo>
                      <a:pt x="115" y="96"/>
                    </a:lnTo>
                    <a:lnTo>
                      <a:pt x="116" y="95"/>
                    </a:lnTo>
                    <a:lnTo>
                      <a:pt x="116" y="94"/>
                    </a:lnTo>
                    <a:lnTo>
                      <a:pt x="117" y="93"/>
                    </a:lnTo>
                    <a:lnTo>
                      <a:pt x="118" y="92"/>
                    </a:lnTo>
                    <a:lnTo>
                      <a:pt x="118" y="91"/>
                    </a:lnTo>
                    <a:lnTo>
                      <a:pt x="119" y="90"/>
                    </a:lnTo>
                    <a:lnTo>
                      <a:pt x="119" y="89"/>
                    </a:lnTo>
                    <a:lnTo>
                      <a:pt x="120" y="88"/>
                    </a:lnTo>
                    <a:lnTo>
                      <a:pt x="120" y="87"/>
                    </a:lnTo>
                    <a:lnTo>
                      <a:pt x="120" y="86"/>
                    </a:lnTo>
                    <a:lnTo>
                      <a:pt x="121" y="85"/>
                    </a:lnTo>
                    <a:lnTo>
                      <a:pt x="121" y="84"/>
                    </a:lnTo>
                    <a:lnTo>
                      <a:pt x="122" y="83"/>
                    </a:lnTo>
                    <a:lnTo>
                      <a:pt x="122" y="82"/>
                    </a:lnTo>
                    <a:lnTo>
                      <a:pt x="122" y="81"/>
                    </a:lnTo>
                    <a:lnTo>
                      <a:pt x="122" y="80"/>
                    </a:lnTo>
                    <a:lnTo>
                      <a:pt x="123" y="79"/>
                    </a:lnTo>
                    <a:lnTo>
                      <a:pt x="123" y="78"/>
                    </a:lnTo>
                    <a:lnTo>
                      <a:pt x="123" y="77"/>
                    </a:lnTo>
                    <a:lnTo>
                      <a:pt x="124" y="76"/>
                    </a:lnTo>
                    <a:lnTo>
                      <a:pt x="124" y="75"/>
                    </a:lnTo>
                    <a:lnTo>
                      <a:pt x="124" y="74"/>
                    </a:lnTo>
                    <a:lnTo>
                      <a:pt x="124" y="73"/>
                    </a:lnTo>
                    <a:lnTo>
                      <a:pt x="124" y="72"/>
                    </a:lnTo>
                    <a:lnTo>
                      <a:pt x="124" y="71"/>
                    </a:lnTo>
                    <a:lnTo>
                      <a:pt x="125" y="70"/>
                    </a:lnTo>
                    <a:lnTo>
                      <a:pt x="125" y="69"/>
                    </a:lnTo>
                    <a:lnTo>
                      <a:pt x="125" y="68"/>
                    </a:lnTo>
                    <a:lnTo>
                      <a:pt x="125" y="67"/>
                    </a:lnTo>
                    <a:lnTo>
                      <a:pt x="125" y="66"/>
                    </a:lnTo>
                    <a:lnTo>
                      <a:pt x="125" y="65"/>
                    </a:lnTo>
                    <a:lnTo>
                      <a:pt x="125" y="64"/>
                    </a:lnTo>
                    <a:lnTo>
                      <a:pt x="125" y="63"/>
                    </a:lnTo>
                    <a:close/>
                  </a:path>
                </a:pathLst>
              </a:custGeom>
              <a:solidFill>
                <a:srgbClr val="98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138"/>
              </a:p>
            </p:txBody>
          </p:sp>
        </p:grpSp>
        <p:sp>
          <p:nvSpPr>
            <p:cNvPr id="179" name="TextBox 178"/>
            <p:cNvSpPr txBox="1"/>
            <p:nvPr/>
          </p:nvSpPr>
          <p:spPr>
            <a:xfrm>
              <a:off x="7719557" y="951985"/>
              <a:ext cx="3582269" cy="452353"/>
            </a:xfrm>
            <a:prstGeom prst="rect">
              <a:avLst/>
            </a:prstGeom>
            <a:noFill/>
          </p:spPr>
          <p:txBody>
            <a:bodyPr wrap="square" rtlCol="0">
              <a:spAutoFit/>
            </a:bodyPr>
            <a:lstStyle/>
            <a:p>
              <a:pPr algn="just"/>
              <a:r>
                <a:rPr lang="en-US" sz="894" b="1" dirty="0" smtClean="0">
                  <a:solidFill>
                    <a:schemeClr val="tx1">
                      <a:lumMod val="95000"/>
                      <a:lumOff val="5000"/>
                    </a:schemeClr>
                  </a:solidFill>
                </a:rPr>
                <a:t>Grant </a:t>
              </a:r>
              <a:r>
                <a:rPr lang="en-US" sz="894" b="1" dirty="0">
                  <a:solidFill>
                    <a:schemeClr val="tx1">
                      <a:lumMod val="95000"/>
                      <a:lumOff val="5000"/>
                    </a:schemeClr>
                  </a:solidFill>
                </a:rPr>
                <a:t>Title: </a:t>
              </a:r>
              <a:r>
                <a:rPr lang="en-GB" sz="894" dirty="0">
                  <a:solidFill>
                    <a:schemeClr val="tx1">
                      <a:lumMod val="95000"/>
                      <a:lumOff val="5000"/>
                    </a:schemeClr>
                  </a:solidFill>
                </a:rPr>
                <a:t>Automation of the Input Voucher System</a:t>
              </a:r>
              <a:endParaRPr lang="en-US" sz="894" dirty="0">
                <a:solidFill>
                  <a:schemeClr val="tx1">
                    <a:lumMod val="95000"/>
                    <a:lumOff val="5000"/>
                  </a:schemeClr>
                </a:solidFill>
              </a:endParaRPr>
            </a:p>
            <a:p>
              <a:pPr algn="just"/>
              <a:r>
                <a:rPr lang="en-US" sz="894" b="1" dirty="0">
                  <a:solidFill>
                    <a:schemeClr val="tx1">
                      <a:lumMod val="95000"/>
                      <a:lumOff val="5000"/>
                    </a:schemeClr>
                  </a:solidFill>
                </a:rPr>
                <a:t>Coverage</a:t>
              </a:r>
              <a:r>
                <a:rPr lang="en-US" sz="894" dirty="0"/>
                <a:t>: </a:t>
              </a:r>
              <a:r>
                <a:rPr lang="en-GB" sz="894" dirty="0">
                  <a:solidFill>
                    <a:schemeClr val="tx1">
                      <a:lumMod val="95000"/>
                      <a:lumOff val="5000"/>
                    </a:schemeClr>
                  </a:solidFill>
                </a:rPr>
                <a:t>Amhara, Tigray, SNNPR and </a:t>
              </a:r>
              <a:r>
                <a:rPr lang="en-GB" sz="894" dirty="0" smtClean="0">
                  <a:solidFill>
                    <a:schemeClr val="tx1">
                      <a:lumMod val="95000"/>
                      <a:lumOff val="5000"/>
                    </a:schemeClr>
                  </a:solidFill>
                </a:rPr>
                <a:t>Oromia</a:t>
              </a:r>
              <a:endParaRPr lang="en-GB" sz="894" dirty="0">
                <a:solidFill>
                  <a:schemeClr val="tx1">
                    <a:lumMod val="95000"/>
                    <a:lumOff val="5000"/>
                  </a:schemeClr>
                </a:solidFill>
              </a:endParaRPr>
            </a:p>
          </p:txBody>
        </p:sp>
        <p:sp>
          <p:nvSpPr>
            <p:cNvPr id="180" name="TextBox 179"/>
            <p:cNvSpPr txBox="1"/>
            <p:nvPr/>
          </p:nvSpPr>
          <p:spPr>
            <a:xfrm>
              <a:off x="7738932" y="1702701"/>
              <a:ext cx="4475372" cy="791065"/>
            </a:xfrm>
            <a:prstGeom prst="rect">
              <a:avLst/>
            </a:prstGeom>
            <a:noFill/>
          </p:spPr>
          <p:txBody>
            <a:bodyPr wrap="square" rtlCol="0">
              <a:spAutoFit/>
            </a:bodyPr>
            <a:lstStyle/>
            <a:p>
              <a:pPr algn="just"/>
              <a:r>
                <a:rPr lang="en-US" sz="894" b="1" dirty="0" smtClean="0">
                  <a:solidFill>
                    <a:schemeClr val="tx1">
                      <a:lumMod val="95000"/>
                      <a:lumOff val="5000"/>
                    </a:schemeClr>
                  </a:solidFill>
                </a:rPr>
                <a:t>Grant </a:t>
              </a:r>
              <a:r>
                <a:rPr lang="en-US" sz="894" b="1" dirty="0">
                  <a:solidFill>
                    <a:schemeClr val="tx1">
                      <a:lumMod val="95000"/>
                      <a:lumOff val="5000"/>
                    </a:schemeClr>
                  </a:solidFill>
                </a:rPr>
                <a:t>Title: </a:t>
              </a:r>
              <a:r>
                <a:rPr lang="en-GB" sz="894" dirty="0">
                  <a:solidFill>
                    <a:schemeClr val="tx1">
                      <a:lumMod val="95000"/>
                      <a:lumOff val="5000"/>
                    </a:schemeClr>
                  </a:solidFill>
                </a:rPr>
                <a:t>Development and Adoption of Ministerial Directives (regulations) to Operationalise the new Plant Breeders Rights Proclamation</a:t>
              </a:r>
              <a:endParaRPr lang="en-US" sz="894" dirty="0">
                <a:solidFill>
                  <a:schemeClr val="tx1">
                    <a:lumMod val="95000"/>
                    <a:lumOff val="5000"/>
                  </a:schemeClr>
                </a:solidFill>
              </a:endParaRPr>
            </a:p>
            <a:p>
              <a:pPr algn="just"/>
              <a:r>
                <a:rPr lang="en-US" sz="894" b="1" dirty="0">
                  <a:solidFill>
                    <a:schemeClr val="tx1">
                      <a:lumMod val="95000"/>
                      <a:lumOff val="5000"/>
                    </a:schemeClr>
                  </a:solidFill>
                </a:rPr>
                <a:t>Coverage</a:t>
              </a:r>
              <a:r>
                <a:rPr lang="en-US" sz="894" dirty="0"/>
                <a:t>: </a:t>
              </a:r>
              <a:r>
                <a:rPr lang="en-GB" sz="894" dirty="0" smtClean="0">
                  <a:solidFill>
                    <a:schemeClr val="tx1">
                      <a:lumMod val="95000"/>
                      <a:lumOff val="5000"/>
                    </a:schemeClr>
                  </a:solidFill>
                </a:rPr>
                <a:t>National</a:t>
              </a:r>
              <a:endParaRPr lang="en-GB" sz="894" dirty="0">
                <a:solidFill>
                  <a:schemeClr val="tx1">
                    <a:lumMod val="95000"/>
                    <a:lumOff val="5000"/>
                  </a:schemeClr>
                </a:solidFill>
              </a:endParaRPr>
            </a:p>
          </p:txBody>
        </p:sp>
        <p:sp>
          <p:nvSpPr>
            <p:cNvPr id="181" name="TextBox 180"/>
            <p:cNvSpPr txBox="1"/>
            <p:nvPr/>
          </p:nvSpPr>
          <p:spPr>
            <a:xfrm>
              <a:off x="8045962" y="2602583"/>
              <a:ext cx="4227632" cy="621708"/>
            </a:xfrm>
            <a:prstGeom prst="rect">
              <a:avLst/>
            </a:prstGeom>
            <a:noFill/>
          </p:spPr>
          <p:txBody>
            <a:bodyPr wrap="square" rtlCol="0">
              <a:spAutoFit/>
            </a:bodyPr>
            <a:lstStyle/>
            <a:p>
              <a:pPr algn="just"/>
              <a:r>
                <a:rPr lang="en-US" sz="894" b="1" dirty="0" smtClean="0">
                  <a:solidFill>
                    <a:schemeClr val="tx1">
                      <a:lumMod val="95000"/>
                      <a:lumOff val="5000"/>
                    </a:schemeClr>
                  </a:solidFill>
                </a:rPr>
                <a:t>Grant </a:t>
              </a:r>
              <a:r>
                <a:rPr lang="en-US" sz="894" b="1" dirty="0">
                  <a:solidFill>
                    <a:schemeClr val="tx1">
                      <a:lumMod val="95000"/>
                      <a:lumOff val="5000"/>
                    </a:schemeClr>
                  </a:solidFill>
                </a:rPr>
                <a:t>Title: </a:t>
              </a:r>
              <a:r>
                <a:rPr lang="en-GB" sz="894" dirty="0">
                  <a:solidFill>
                    <a:schemeClr val="tx1">
                      <a:lumMod val="95000"/>
                      <a:lumOff val="5000"/>
                    </a:schemeClr>
                  </a:solidFill>
                </a:rPr>
                <a:t>Development of a National Agricultural Trade Policy(NATP) for the Federal Democratic Republic of Ethiopia</a:t>
              </a:r>
              <a:endParaRPr lang="en-US" sz="894" dirty="0">
                <a:solidFill>
                  <a:schemeClr val="tx1">
                    <a:lumMod val="95000"/>
                    <a:lumOff val="5000"/>
                  </a:schemeClr>
                </a:solidFill>
              </a:endParaRPr>
            </a:p>
            <a:p>
              <a:pPr algn="just"/>
              <a:r>
                <a:rPr lang="en-US" sz="894" b="1" dirty="0">
                  <a:solidFill>
                    <a:schemeClr val="tx1">
                      <a:lumMod val="95000"/>
                      <a:lumOff val="5000"/>
                    </a:schemeClr>
                  </a:solidFill>
                </a:rPr>
                <a:t>Coverage</a:t>
              </a:r>
              <a:r>
                <a:rPr lang="en-US" sz="894" dirty="0"/>
                <a:t>: </a:t>
              </a:r>
              <a:r>
                <a:rPr lang="en-GB" sz="894" dirty="0" smtClean="0">
                  <a:solidFill>
                    <a:schemeClr val="tx1">
                      <a:lumMod val="95000"/>
                      <a:lumOff val="5000"/>
                    </a:schemeClr>
                  </a:solidFill>
                </a:rPr>
                <a:t>National</a:t>
              </a:r>
              <a:endParaRPr lang="en-GB" sz="894" dirty="0">
                <a:solidFill>
                  <a:schemeClr val="tx1">
                    <a:lumMod val="95000"/>
                    <a:lumOff val="5000"/>
                  </a:schemeClr>
                </a:solidFill>
              </a:endParaRPr>
            </a:p>
          </p:txBody>
        </p:sp>
        <p:sp>
          <p:nvSpPr>
            <p:cNvPr id="183" name="TextBox 182"/>
            <p:cNvSpPr txBox="1"/>
            <p:nvPr/>
          </p:nvSpPr>
          <p:spPr>
            <a:xfrm>
              <a:off x="9037792" y="3552861"/>
              <a:ext cx="2986308" cy="791065"/>
            </a:xfrm>
            <a:prstGeom prst="rect">
              <a:avLst/>
            </a:prstGeom>
            <a:noFill/>
          </p:spPr>
          <p:txBody>
            <a:bodyPr wrap="square" rtlCol="0">
              <a:spAutoFit/>
            </a:bodyPr>
            <a:lstStyle/>
            <a:p>
              <a:pPr algn="just"/>
              <a:r>
                <a:rPr lang="en-US" sz="894" b="1" dirty="0" smtClean="0">
                  <a:solidFill>
                    <a:schemeClr val="tx1">
                      <a:lumMod val="95000"/>
                      <a:lumOff val="5000"/>
                    </a:schemeClr>
                  </a:solidFill>
                </a:rPr>
                <a:t>Grant </a:t>
              </a:r>
              <a:r>
                <a:rPr lang="en-US" sz="894" b="1" dirty="0">
                  <a:solidFill>
                    <a:schemeClr val="tx1">
                      <a:lumMod val="95000"/>
                      <a:lumOff val="5000"/>
                    </a:schemeClr>
                  </a:solidFill>
                </a:rPr>
                <a:t>Title: </a:t>
              </a:r>
              <a:r>
                <a:rPr lang="en-GB" sz="894" dirty="0">
                  <a:solidFill>
                    <a:schemeClr val="tx1">
                      <a:lumMod val="95000"/>
                      <a:lumOff val="5000"/>
                    </a:schemeClr>
                  </a:solidFill>
                </a:rPr>
                <a:t>Institutional Capacity Development for the Ministry of Agriculture and Affiliated Institutions in Ethiopia</a:t>
              </a:r>
            </a:p>
            <a:p>
              <a:pPr algn="just"/>
              <a:r>
                <a:rPr lang="en-US" sz="894" b="1" dirty="0">
                  <a:solidFill>
                    <a:schemeClr val="tx1">
                      <a:lumMod val="95000"/>
                      <a:lumOff val="5000"/>
                    </a:schemeClr>
                  </a:solidFill>
                </a:rPr>
                <a:t>Coverage</a:t>
              </a:r>
              <a:r>
                <a:rPr lang="en-US" sz="894" dirty="0"/>
                <a:t>: </a:t>
              </a:r>
              <a:r>
                <a:rPr lang="en-GB" sz="894" dirty="0" smtClean="0">
                  <a:solidFill>
                    <a:schemeClr val="tx1">
                      <a:lumMod val="95000"/>
                      <a:lumOff val="5000"/>
                    </a:schemeClr>
                  </a:solidFill>
                </a:rPr>
                <a:t>National</a:t>
              </a:r>
              <a:endParaRPr lang="en-GB" sz="894" dirty="0">
                <a:solidFill>
                  <a:schemeClr val="tx1">
                    <a:lumMod val="95000"/>
                    <a:lumOff val="5000"/>
                  </a:schemeClr>
                </a:solidFill>
              </a:endParaRPr>
            </a:p>
          </p:txBody>
        </p:sp>
        <p:sp>
          <p:nvSpPr>
            <p:cNvPr id="352" name="TextBox 351"/>
            <p:cNvSpPr txBox="1"/>
            <p:nvPr/>
          </p:nvSpPr>
          <p:spPr>
            <a:xfrm>
              <a:off x="8679254" y="4609766"/>
              <a:ext cx="3494199" cy="791065"/>
            </a:xfrm>
            <a:prstGeom prst="rect">
              <a:avLst/>
            </a:prstGeom>
            <a:noFill/>
          </p:spPr>
          <p:txBody>
            <a:bodyPr wrap="square" rtlCol="0">
              <a:spAutoFit/>
            </a:bodyPr>
            <a:lstStyle/>
            <a:p>
              <a:pPr algn="just"/>
              <a:r>
                <a:rPr lang="en-US" sz="894" b="1" dirty="0" smtClean="0">
                  <a:solidFill>
                    <a:schemeClr val="tx1">
                      <a:lumMod val="95000"/>
                      <a:lumOff val="5000"/>
                    </a:schemeClr>
                  </a:solidFill>
                </a:rPr>
                <a:t>Grant </a:t>
              </a:r>
              <a:r>
                <a:rPr lang="en-US" sz="894" b="1" dirty="0">
                  <a:solidFill>
                    <a:schemeClr val="tx1">
                      <a:lumMod val="95000"/>
                      <a:lumOff val="5000"/>
                    </a:schemeClr>
                  </a:solidFill>
                </a:rPr>
                <a:t>Title: </a:t>
              </a:r>
              <a:r>
                <a:rPr lang="en-GB" sz="894" dirty="0">
                  <a:solidFill>
                    <a:schemeClr val="tx1">
                      <a:lumMod val="95000"/>
                      <a:lumOff val="5000"/>
                    </a:schemeClr>
                  </a:solidFill>
                </a:rPr>
                <a:t>Early Generation Seed Production for key staple crops as an intervention to address seed shortage in Ethiopia</a:t>
              </a:r>
              <a:endParaRPr lang="en-US" sz="894" dirty="0">
                <a:solidFill>
                  <a:schemeClr val="tx1">
                    <a:lumMod val="95000"/>
                    <a:lumOff val="5000"/>
                  </a:schemeClr>
                </a:solidFill>
              </a:endParaRPr>
            </a:p>
            <a:p>
              <a:pPr algn="just"/>
              <a:r>
                <a:rPr lang="en-US" sz="894" b="1" dirty="0">
                  <a:solidFill>
                    <a:schemeClr val="tx1">
                      <a:lumMod val="95000"/>
                      <a:lumOff val="5000"/>
                    </a:schemeClr>
                  </a:solidFill>
                </a:rPr>
                <a:t>Coverage</a:t>
              </a:r>
              <a:r>
                <a:rPr lang="en-US" sz="894" dirty="0"/>
                <a:t>: </a:t>
              </a:r>
              <a:r>
                <a:rPr lang="en-GB" sz="894" dirty="0" smtClean="0">
                  <a:solidFill>
                    <a:schemeClr val="tx1">
                      <a:lumMod val="95000"/>
                      <a:lumOff val="5000"/>
                    </a:schemeClr>
                  </a:solidFill>
                </a:rPr>
                <a:t>National</a:t>
              </a:r>
              <a:endParaRPr lang="en-GB" sz="894" dirty="0">
                <a:solidFill>
                  <a:schemeClr val="tx1">
                    <a:lumMod val="95000"/>
                    <a:lumOff val="5000"/>
                  </a:schemeClr>
                </a:solidFill>
              </a:endParaRPr>
            </a:p>
          </p:txBody>
        </p:sp>
        <p:sp>
          <p:nvSpPr>
            <p:cNvPr id="354" name="TextBox 353"/>
            <p:cNvSpPr txBox="1"/>
            <p:nvPr/>
          </p:nvSpPr>
          <p:spPr>
            <a:xfrm>
              <a:off x="126227" y="1035390"/>
              <a:ext cx="3509333" cy="621708"/>
            </a:xfrm>
            <a:prstGeom prst="rect">
              <a:avLst/>
            </a:prstGeom>
            <a:noFill/>
          </p:spPr>
          <p:txBody>
            <a:bodyPr wrap="square" rtlCol="0">
              <a:spAutoFit/>
            </a:bodyPr>
            <a:lstStyle/>
            <a:p>
              <a:pPr algn="just"/>
              <a:r>
                <a:rPr lang="en-US" sz="894" b="1" dirty="0" smtClean="0">
                  <a:solidFill>
                    <a:schemeClr val="tx1">
                      <a:lumMod val="95000"/>
                      <a:lumOff val="5000"/>
                    </a:schemeClr>
                  </a:solidFill>
                </a:rPr>
                <a:t>Grant </a:t>
              </a:r>
              <a:r>
                <a:rPr lang="en-US" sz="894" b="1" dirty="0">
                  <a:solidFill>
                    <a:schemeClr val="tx1">
                      <a:lumMod val="95000"/>
                      <a:lumOff val="5000"/>
                    </a:schemeClr>
                  </a:solidFill>
                </a:rPr>
                <a:t>Title: </a:t>
              </a:r>
              <a:r>
                <a:rPr lang="en-GB" sz="894" dirty="0">
                  <a:solidFill>
                    <a:schemeClr val="tx1">
                      <a:lumMod val="95000"/>
                      <a:lumOff val="5000"/>
                    </a:schemeClr>
                  </a:solidFill>
                </a:rPr>
                <a:t>Improving Market led Production of selected Agricultural Commodities in Targeted Woredas of Tigray </a:t>
              </a:r>
              <a:r>
                <a:rPr lang="en-US" sz="894" b="1" dirty="0">
                  <a:solidFill>
                    <a:schemeClr val="tx1">
                      <a:lumMod val="95000"/>
                      <a:lumOff val="5000"/>
                    </a:schemeClr>
                  </a:solidFill>
                </a:rPr>
                <a:t>Coverage</a:t>
              </a:r>
              <a:r>
                <a:rPr lang="en-US" sz="894" dirty="0"/>
                <a:t>: </a:t>
              </a:r>
              <a:r>
                <a:rPr lang="en-GB" sz="894" dirty="0">
                  <a:solidFill>
                    <a:schemeClr val="tx1">
                      <a:lumMod val="95000"/>
                      <a:lumOff val="5000"/>
                    </a:schemeClr>
                  </a:solidFill>
                </a:rPr>
                <a:t>Tigray, </a:t>
              </a:r>
              <a:r>
                <a:rPr lang="en-US" sz="894" b="1" dirty="0" smtClean="0"/>
                <a:t>Grant</a:t>
              </a:r>
              <a:endParaRPr lang="en-GB" sz="894" dirty="0"/>
            </a:p>
          </p:txBody>
        </p:sp>
        <p:sp>
          <p:nvSpPr>
            <p:cNvPr id="355" name="TextBox 354"/>
            <p:cNvSpPr txBox="1"/>
            <p:nvPr/>
          </p:nvSpPr>
          <p:spPr>
            <a:xfrm>
              <a:off x="126227" y="1919659"/>
              <a:ext cx="3158198" cy="791065"/>
            </a:xfrm>
            <a:prstGeom prst="rect">
              <a:avLst/>
            </a:prstGeom>
            <a:noFill/>
          </p:spPr>
          <p:txBody>
            <a:bodyPr wrap="square" rtlCol="0">
              <a:spAutoFit/>
            </a:bodyPr>
            <a:lstStyle/>
            <a:p>
              <a:pPr algn="just"/>
              <a:r>
                <a:rPr lang="en-US" sz="894" b="1" dirty="0" smtClean="0">
                  <a:solidFill>
                    <a:schemeClr val="tx1">
                      <a:lumMod val="95000"/>
                      <a:lumOff val="5000"/>
                    </a:schemeClr>
                  </a:solidFill>
                </a:rPr>
                <a:t>Grant </a:t>
              </a:r>
              <a:r>
                <a:rPr lang="en-US" sz="894" b="1" dirty="0">
                  <a:solidFill>
                    <a:schemeClr val="tx1">
                      <a:lumMod val="95000"/>
                      <a:lumOff val="5000"/>
                    </a:schemeClr>
                  </a:solidFill>
                </a:rPr>
                <a:t>Title: </a:t>
              </a:r>
              <a:r>
                <a:rPr lang="en-GB" sz="894" dirty="0">
                  <a:solidFill>
                    <a:schemeClr val="tx1">
                      <a:lumMod val="95000"/>
                      <a:lumOff val="5000"/>
                    </a:schemeClr>
                  </a:solidFill>
                </a:rPr>
                <a:t>Improving Market Led production of Selected Agricultural Commodities in Targeted Woredas  of Amhara </a:t>
              </a:r>
            </a:p>
            <a:p>
              <a:pPr algn="just"/>
              <a:r>
                <a:rPr lang="en-US" sz="894" b="1" dirty="0">
                  <a:solidFill>
                    <a:schemeClr val="tx1">
                      <a:lumMod val="95000"/>
                      <a:lumOff val="5000"/>
                    </a:schemeClr>
                  </a:solidFill>
                </a:rPr>
                <a:t>Coverage</a:t>
              </a:r>
              <a:r>
                <a:rPr lang="en-US" sz="894" dirty="0"/>
                <a:t>: </a:t>
              </a:r>
              <a:r>
                <a:rPr lang="en-GB" sz="894" dirty="0" smtClean="0">
                  <a:solidFill>
                    <a:schemeClr val="tx1">
                      <a:lumMod val="95000"/>
                      <a:lumOff val="5000"/>
                    </a:schemeClr>
                  </a:solidFill>
                </a:rPr>
                <a:t>Amhara</a:t>
              </a:r>
              <a:endParaRPr lang="en-GB" sz="894" dirty="0">
                <a:solidFill>
                  <a:schemeClr val="tx1">
                    <a:lumMod val="95000"/>
                    <a:lumOff val="5000"/>
                  </a:schemeClr>
                </a:solidFill>
              </a:endParaRPr>
            </a:p>
          </p:txBody>
        </p:sp>
        <p:sp>
          <p:nvSpPr>
            <p:cNvPr id="356" name="TextBox 355"/>
            <p:cNvSpPr txBox="1"/>
            <p:nvPr/>
          </p:nvSpPr>
          <p:spPr>
            <a:xfrm>
              <a:off x="135176" y="4092278"/>
              <a:ext cx="2628372" cy="1129777"/>
            </a:xfrm>
            <a:prstGeom prst="rect">
              <a:avLst/>
            </a:prstGeom>
            <a:noFill/>
          </p:spPr>
          <p:txBody>
            <a:bodyPr wrap="square" rtlCol="0">
              <a:spAutoFit/>
            </a:bodyPr>
            <a:lstStyle/>
            <a:p>
              <a:r>
                <a:rPr lang="en-US" sz="894" b="1" dirty="0" smtClean="0">
                  <a:solidFill>
                    <a:schemeClr val="tx1">
                      <a:lumMod val="95000"/>
                      <a:lumOff val="5000"/>
                    </a:schemeClr>
                  </a:solidFill>
                </a:rPr>
                <a:t>Grant </a:t>
              </a:r>
              <a:r>
                <a:rPr lang="en-US" sz="894" b="1" dirty="0">
                  <a:solidFill>
                    <a:schemeClr val="tx1">
                      <a:lumMod val="95000"/>
                      <a:lumOff val="5000"/>
                    </a:schemeClr>
                  </a:solidFill>
                </a:rPr>
                <a:t>Title: </a:t>
              </a:r>
              <a:r>
                <a:rPr lang="en-GB" sz="894" dirty="0">
                  <a:solidFill>
                    <a:schemeClr val="tx1">
                      <a:lumMod val="95000"/>
                      <a:lumOff val="5000"/>
                    </a:schemeClr>
                  </a:solidFill>
                </a:rPr>
                <a:t>Agribusiness Technical Assistance for Participatory Small-scale Irrigation Development Programme (PASIDP II)</a:t>
              </a:r>
            </a:p>
            <a:p>
              <a:r>
                <a:rPr lang="en-US" sz="894" b="1" dirty="0">
                  <a:solidFill>
                    <a:schemeClr val="tx1">
                      <a:lumMod val="95000"/>
                      <a:lumOff val="5000"/>
                    </a:schemeClr>
                  </a:solidFill>
                </a:rPr>
                <a:t>Coverage</a:t>
              </a:r>
              <a:r>
                <a:rPr lang="en-US" sz="894" dirty="0"/>
                <a:t>: </a:t>
              </a:r>
              <a:r>
                <a:rPr lang="en-GB" sz="894" dirty="0"/>
                <a:t>Amhara, Tigray, SNNPR and </a:t>
              </a:r>
              <a:r>
                <a:rPr lang="en-GB" sz="894" dirty="0" smtClean="0"/>
                <a:t>Oromia</a:t>
              </a:r>
              <a:endParaRPr lang="en-US" sz="894" dirty="0"/>
            </a:p>
          </p:txBody>
        </p:sp>
        <p:sp>
          <p:nvSpPr>
            <p:cNvPr id="358" name="Rectangle 357"/>
            <p:cNvSpPr>
              <a:spLocks noChangeArrowheads="1"/>
            </p:cNvSpPr>
            <p:nvPr/>
          </p:nvSpPr>
          <p:spPr bwMode="auto">
            <a:xfrm>
              <a:off x="2660074" y="5102606"/>
              <a:ext cx="314325" cy="157163"/>
            </a:xfrm>
            <a:prstGeom prst="rect">
              <a:avLst/>
            </a:prstGeom>
            <a:solidFill>
              <a:srgbClr val="98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74295" tIns="37148" rIns="74295" bIns="37148" numCol="1" anchor="t" anchorCtr="0" compatLnSpc="1">
              <a:prstTxWarp prst="textNoShape">
                <a:avLst/>
              </a:prstTxWarp>
            </a:bodyPr>
            <a:lstStyle/>
            <a:p>
              <a:endParaRPr lang="en-GB" sz="1138"/>
            </a:p>
          </p:txBody>
        </p:sp>
        <p:sp>
          <p:nvSpPr>
            <p:cNvPr id="359" name="Rectangle 358"/>
            <p:cNvSpPr>
              <a:spLocks noChangeArrowheads="1"/>
            </p:cNvSpPr>
            <p:nvPr/>
          </p:nvSpPr>
          <p:spPr bwMode="auto">
            <a:xfrm>
              <a:off x="3029962" y="5121656"/>
              <a:ext cx="103973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742950">
                <a:buClrTx/>
              </a:pPr>
              <a:r>
                <a:rPr lang="en-US" altLang="en-US" sz="975" dirty="0">
                  <a:solidFill>
                    <a:srgbClr val="000000"/>
                  </a:solidFill>
                </a:rPr>
                <a:t>State capability</a:t>
              </a:r>
              <a:endParaRPr lang="en-US" altLang="en-US" sz="975" dirty="0"/>
            </a:p>
          </p:txBody>
        </p:sp>
        <p:grpSp>
          <p:nvGrpSpPr>
            <p:cNvPr id="366" name="Group 365"/>
            <p:cNvGrpSpPr/>
            <p:nvPr/>
          </p:nvGrpSpPr>
          <p:grpSpPr>
            <a:xfrm>
              <a:off x="2054988" y="5424691"/>
              <a:ext cx="312419" cy="314325"/>
              <a:chOff x="2054988" y="5424691"/>
              <a:chExt cx="312419" cy="314325"/>
            </a:xfrm>
          </p:grpSpPr>
          <p:grpSp>
            <p:nvGrpSpPr>
              <p:cNvPr id="364" name="Group 363"/>
              <p:cNvGrpSpPr/>
              <p:nvPr/>
            </p:nvGrpSpPr>
            <p:grpSpPr>
              <a:xfrm>
                <a:off x="2083245" y="5424691"/>
                <a:ext cx="284162" cy="314325"/>
                <a:chOff x="2083245" y="5424691"/>
                <a:chExt cx="284162" cy="314325"/>
              </a:xfrm>
            </p:grpSpPr>
            <p:sp>
              <p:nvSpPr>
                <p:cNvPr id="360" name="Freeform 359"/>
                <p:cNvSpPr>
                  <a:spLocks/>
                </p:cNvSpPr>
                <p:nvPr/>
              </p:nvSpPr>
              <p:spPr bwMode="auto">
                <a:xfrm>
                  <a:off x="2208657" y="5431041"/>
                  <a:ext cx="158750" cy="149225"/>
                </a:xfrm>
                <a:custGeom>
                  <a:avLst/>
                  <a:gdLst>
                    <a:gd name="T0" fmla="*/ 63 w 63"/>
                    <a:gd name="T1" fmla="*/ 58 h 59"/>
                    <a:gd name="T2" fmla="*/ 63 w 63"/>
                    <a:gd name="T3" fmla="*/ 56 h 59"/>
                    <a:gd name="T4" fmla="*/ 63 w 63"/>
                    <a:gd name="T5" fmla="*/ 54 h 59"/>
                    <a:gd name="T6" fmla="*/ 63 w 63"/>
                    <a:gd name="T7" fmla="*/ 52 h 59"/>
                    <a:gd name="T8" fmla="*/ 62 w 63"/>
                    <a:gd name="T9" fmla="*/ 50 h 59"/>
                    <a:gd name="T10" fmla="*/ 62 w 63"/>
                    <a:gd name="T11" fmla="*/ 48 h 59"/>
                    <a:gd name="T12" fmla="*/ 62 w 63"/>
                    <a:gd name="T13" fmla="*/ 46 h 59"/>
                    <a:gd name="T14" fmla="*/ 61 w 63"/>
                    <a:gd name="T15" fmla="*/ 44 h 59"/>
                    <a:gd name="T16" fmla="*/ 60 w 63"/>
                    <a:gd name="T17" fmla="*/ 42 h 59"/>
                    <a:gd name="T18" fmla="*/ 60 w 63"/>
                    <a:gd name="T19" fmla="*/ 40 h 59"/>
                    <a:gd name="T20" fmla="*/ 59 w 63"/>
                    <a:gd name="T21" fmla="*/ 38 h 59"/>
                    <a:gd name="T22" fmla="*/ 58 w 63"/>
                    <a:gd name="T23" fmla="*/ 36 h 59"/>
                    <a:gd name="T24" fmla="*/ 58 w 63"/>
                    <a:gd name="T25" fmla="*/ 34 h 59"/>
                    <a:gd name="T26" fmla="*/ 57 w 63"/>
                    <a:gd name="T27" fmla="*/ 32 h 59"/>
                    <a:gd name="T28" fmla="*/ 56 w 63"/>
                    <a:gd name="T29" fmla="*/ 30 h 59"/>
                    <a:gd name="T30" fmla="*/ 54 w 63"/>
                    <a:gd name="T31" fmla="*/ 28 h 59"/>
                    <a:gd name="T32" fmla="*/ 53 w 63"/>
                    <a:gd name="T33" fmla="*/ 26 h 59"/>
                    <a:gd name="T34" fmla="*/ 52 w 63"/>
                    <a:gd name="T35" fmla="*/ 24 h 59"/>
                    <a:gd name="T36" fmla="*/ 50 w 63"/>
                    <a:gd name="T37" fmla="*/ 22 h 59"/>
                    <a:gd name="T38" fmla="*/ 49 w 63"/>
                    <a:gd name="T39" fmla="*/ 20 h 59"/>
                    <a:gd name="T40" fmla="*/ 47 w 63"/>
                    <a:gd name="T41" fmla="*/ 18 h 59"/>
                    <a:gd name="T42" fmla="*/ 45 w 63"/>
                    <a:gd name="T43" fmla="*/ 16 h 59"/>
                    <a:gd name="T44" fmla="*/ 43 w 63"/>
                    <a:gd name="T45" fmla="*/ 14 h 59"/>
                    <a:gd name="T46" fmla="*/ 41 w 63"/>
                    <a:gd name="T47" fmla="*/ 12 h 59"/>
                    <a:gd name="T48" fmla="*/ 39 w 63"/>
                    <a:gd name="T49" fmla="*/ 10 h 59"/>
                    <a:gd name="T50" fmla="*/ 37 w 63"/>
                    <a:gd name="T51" fmla="*/ 9 h 59"/>
                    <a:gd name="T52" fmla="*/ 35 w 63"/>
                    <a:gd name="T53" fmla="*/ 7 h 59"/>
                    <a:gd name="T54" fmla="*/ 33 w 63"/>
                    <a:gd name="T55" fmla="*/ 6 h 59"/>
                    <a:gd name="T56" fmla="*/ 31 w 63"/>
                    <a:gd name="T57" fmla="*/ 5 h 59"/>
                    <a:gd name="T58" fmla="*/ 29 w 63"/>
                    <a:gd name="T59" fmla="*/ 4 h 59"/>
                    <a:gd name="T60" fmla="*/ 27 w 63"/>
                    <a:gd name="T61" fmla="*/ 3 h 59"/>
                    <a:gd name="T62" fmla="*/ 25 w 63"/>
                    <a:gd name="T63" fmla="*/ 2 h 59"/>
                    <a:gd name="T64" fmla="*/ 23 w 63"/>
                    <a:gd name="T65" fmla="*/ 1 h 59"/>
                    <a:gd name="T66" fmla="*/ 21 w 63"/>
                    <a:gd name="T67" fmla="*/ 0 h 59"/>
                    <a:gd name="T68" fmla="*/ 20 w 63"/>
                    <a:gd name="T69" fmla="*/ 0 h 59"/>
                    <a:gd name="T70" fmla="*/ 63 w 63"/>
                    <a:gd name="T71"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 h="59">
                      <a:moveTo>
                        <a:pt x="63" y="59"/>
                      </a:moveTo>
                      <a:lnTo>
                        <a:pt x="63" y="58"/>
                      </a:lnTo>
                      <a:lnTo>
                        <a:pt x="63" y="57"/>
                      </a:lnTo>
                      <a:lnTo>
                        <a:pt x="63" y="56"/>
                      </a:lnTo>
                      <a:lnTo>
                        <a:pt x="63" y="55"/>
                      </a:lnTo>
                      <a:lnTo>
                        <a:pt x="63" y="54"/>
                      </a:lnTo>
                      <a:lnTo>
                        <a:pt x="63" y="53"/>
                      </a:lnTo>
                      <a:lnTo>
                        <a:pt x="63" y="52"/>
                      </a:lnTo>
                      <a:lnTo>
                        <a:pt x="62" y="51"/>
                      </a:lnTo>
                      <a:lnTo>
                        <a:pt x="62" y="50"/>
                      </a:lnTo>
                      <a:lnTo>
                        <a:pt x="62" y="49"/>
                      </a:lnTo>
                      <a:lnTo>
                        <a:pt x="62" y="48"/>
                      </a:lnTo>
                      <a:lnTo>
                        <a:pt x="62" y="47"/>
                      </a:lnTo>
                      <a:lnTo>
                        <a:pt x="62" y="46"/>
                      </a:lnTo>
                      <a:lnTo>
                        <a:pt x="61" y="45"/>
                      </a:lnTo>
                      <a:lnTo>
                        <a:pt x="61" y="44"/>
                      </a:lnTo>
                      <a:lnTo>
                        <a:pt x="61" y="43"/>
                      </a:lnTo>
                      <a:lnTo>
                        <a:pt x="60" y="42"/>
                      </a:lnTo>
                      <a:lnTo>
                        <a:pt x="60" y="41"/>
                      </a:lnTo>
                      <a:lnTo>
                        <a:pt x="60" y="40"/>
                      </a:lnTo>
                      <a:lnTo>
                        <a:pt x="60" y="39"/>
                      </a:lnTo>
                      <a:lnTo>
                        <a:pt x="59" y="38"/>
                      </a:lnTo>
                      <a:lnTo>
                        <a:pt x="59" y="37"/>
                      </a:lnTo>
                      <a:lnTo>
                        <a:pt x="58" y="36"/>
                      </a:lnTo>
                      <a:lnTo>
                        <a:pt x="58" y="35"/>
                      </a:lnTo>
                      <a:lnTo>
                        <a:pt x="58" y="34"/>
                      </a:lnTo>
                      <a:lnTo>
                        <a:pt x="57" y="33"/>
                      </a:lnTo>
                      <a:lnTo>
                        <a:pt x="57" y="32"/>
                      </a:lnTo>
                      <a:lnTo>
                        <a:pt x="56" y="31"/>
                      </a:lnTo>
                      <a:lnTo>
                        <a:pt x="56" y="30"/>
                      </a:lnTo>
                      <a:lnTo>
                        <a:pt x="55" y="29"/>
                      </a:lnTo>
                      <a:lnTo>
                        <a:pt x="54" y="28"/>
                      </a:lnTo>
                      <a:lnTo>
                        <a:pt x="54" y="27"/>
                      </a:lnTo>
                      <a:lnTo>
                        <a:pt x="53" y="26"/>
                      </a:lnTo>
                      <a:lnTo>
                        <a:pt x="53" y="25"/>
                      </a:lnTo>
                      <a:lnTo>
                        <a:pt x="52" y="24"/>
                      </a:lnTo>
                      <a:lnTo>
                        <a:pt x="51" y="23"/>
                      </a:lnTo>
                      <a:lnTo>
                        <a:pt x="50" y="22"/>
                      </a:lnTo>
                      <a:lnTo>
                        <a:pt x="50" y="21"/>
                      </a:lnTo>
                      <a:lnTo>
                        <a:pt x="49" y="20"/>
                      </a:lnTo>
                      <a:lnTo>
                        <a:pt x="48" y="19"/>
                      </a:lnTo>
                      <a:lnTo>
                        <a:pt x="47" y="18"/>
                      </a:lnTo>
                      <a:lnTo>
                        <a:pt x="46" y="17"/>
                      </a:lnTo>
                      <a:lnTo>
                        <a:pt x="45" y="16"/>
                      </a:lnTo>
                      <a:lnTo>
                        <a:pt x="44" y="15"/>
                      </a:lnTo>
                      <a:lnTo>
                        <a:pt x="43" y="14"/>
                      </a:lnTo>
                      <a:lnTo>
                        <a:pt x="42" y="13"/>
                      </a:lnTo>
                      <a:lnTo>
                        <a:pt x="41" y="12"/>
                      </a:lnTo>
                      <a:lnTo>
                        <a:pt x="40" y="11"/>
                      </a:lnTo>
                      <a:lnTo>
                        <a:pt x="39" y="10"/>
                      </a:lnTo>
                      <a:lnTo>
                        <a:pt x="38" y="10"/>
                      </a:lnTo>
                      <a:lnTo>
                        <a:pt x="37" y="9"/>
                      </a:lnTo>
                      <a:lnTo>
                        <a:pt x="36" y="8"/>
                      </a:lnTo>
                      <a:lnTo>
                        <a:pt x="35" y="7"/>
                      </a:lnTo>
                      <a:lnTo>
                        <a:pt x="34" y="7"/>
                      </a:lnTo>
                      <a:lnTo>
                        <a:pt x="33" y="6"/>
                      </a:lnTo>
                      <a:lnTo>
                        <a:pt x="32" y="6"/>
                      </a:lnTo>
                      <a:lnTo>
                        <a:pt x="31" y="5"/>
                      </a:lnTo>
                      <a:lnTo>
                        <a:pt x="30" y="4"/>
                      </a:lnTo>
                      <a:lnTo>
                        <a:pt x="29" y="4"/>
                      </a:lnTo>
                      <a:lnTo>
                        <a:pt x="28" y="3"/>
                      </a:lnTo>
                      <a:lnTo>
                        <a:pt x="27" y="3"/>
                      </a:lnTo>
                      <a:lnTo>
                        <a:pt x="26" y="2"/>
                      </a:lnTo>
                      <a:lnTo>
                        <a:pt x="25" y="2"/>
                      </a:lnTo>
                      <a:lnTo>
                        <a:pt x="24" y="2"/>
                      </a:lnTo>
                      <a:lnTo>
                        <a:pt x="23" y="1"/>
                      </a:lnTo>
                      <a:lnTo>
                        <a:pt x="22" y="1"/>
                      </a:lnTo>
                      <a:lnTo>
                        <a:pt x="21" y="0"/>
                      </a:lnTo>
                      <a:lnTo>
                        <a:pt x="20" y="0"/>
                      </a:lnTo>
                      <a:lnTo>
                        <a:pt x="20" y="0"/>
                      </a:lnTo>
                      <a:lnTo>
                        <a:pt x="0" y="59"/>
                      </a:lnTo>
                      <a:lnTo>
                        <a:pt x="63" y="59"/>
                      </a:lnTo>
                      <a:close/>
                    </a:path>
                  </a:pathLst>
                </a:custGeom>
                <a:solidFill>
                  <a:srgbClr val="0073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138"/>
                </a:p>
              </p:txBody>
            </p:sp>
            <p:sp>
              <p:nvSpPr>
                <p:cNvPr id="361" name="Freeform 360"/>
                <p:cNvSpPr>
                  <a:spLocks/>
                </p:cNvSpPr>
                <p:nvPr/>
              </p:nvSpPr>
              <p:spPr bwMode="auto">
                <a:xfrm>
                  <a:off x="2083245" y="5424691"/>
                  <a:ext cx="176213" cy="155575"/>
                </a:xfrm>
                <a:custGeom>
                  <a:avLst/>
                  <a:gdLst>
                    <a:gd name="T0" fmla="*/ 69 w 70"/>
                    <a:gd name="T1" fmla="*/ 3 h 62"/>
                    <a:gd name="T2" fmla="*/ 67 w 70"/>
                    <a:gd name="T3" fmla="*/ 2 h 62"/>
                    <a:gd name="T4" fmla="*/ 65 w 70"/>
                    <a:gd name="T5" fmla="*/ 2 h 62"/>
                    <a:gd name="T6" fmla="*/ 63 w 70"/>
                    <a:gd name="T7" fmla="*/ 1 h 62"/>
                    <a:gd name="T8" fmla="*/ 61 w 70"/>
                    <a:gd name="T9" fmla="*/ 1 h 62"/>
                    <a:gd name="T10" fmla="*/ 59 w 70"/>
                    <a:gd name="T11" fmla="*/ 1 h 62"/>
                    <a:gd name="T12" fmla="*/ 57 w 70"/>
                    <a:gd name="T13" fmla="*/ 0 h 62"/>
                    <a:gd name="T14" fmla="*/ 55 w 70"/>
                    <a:gd name="T15" fmla="*/ 0 h 62"/>
                    <a:gd name="T16" fmla="*/ 53 w 70"/>
                    <a:gd name="T17" fmla="*/ 0 h 62"/>
                    <a:gd name="T18" fmla="*/ 51 w 70"/>
                    <a:gd name="T19" fmla="*/ 0 h 62"/>
                    <a:gd name="T20" fmla="*/ 49 w 70"/>
                    <a:gd name="T21" fmla="*/ 0 h 62"/>
                    <a:gd name="T22" fmla="*/ 47 w 70"/>
                    <a:gd name="T23" fmla="*/ 0 h 62"/>
                    <a:gd name="T24" fmla="*/ 45 w 70"/>
                    <a:gd name="T25" fmla="*/ 0 h 62"/>
                    <a:gd name="T26" fmla="*/ 43 w 70"/>
                    <a:gd name="T27" fmla="*/ 0 h 62"/>
                    <a:gd name="T28" fmla="*/ 41 w 70"/>
                    <a:gd name="T29" fmla="*/ 1 h 62"/>
                    <a:gd name="T30" fmla="*/ 39 w 70"/>
                    <a:gd name="T31" fmla="*/ 1 h 62"/>
                    <a:gd name="T32" fmla="*/ 37 w 70"/>
                    <a:gd name="T33" fmla="*/ 1 h 62"/>
                    <a:gd name="T34" fmla="*/ 35 w 70"/>
                    <a:gd name="T35" fmla="*/ 2 h 62"/>
                    <a:gd name="T36" fmla="*/ 33 w 70"/>
                    <a:gd name="T37" fmla="*/ 3 h 62"/>
                    <a:gd name="T38" fmla="*/ 31 w 70"/>
                    <a:gd name="T39" fmla="*/ 3 h 62"/>
                    <a:gd name="T40" fmla="*/ 29 w 70"/>
                    <a:gd name="T41" fmla="*/ 4 h 62"/>
                    <a:gd name="T42" fmla="*/ 27 w 70"/>
                    <a:gd name="T43" fmla="*/ 5 h 62"/>
                    <a:gd name="T44" fmla="*/ 25 w 70"/>
                    <a:gd name="T45" fmla="*/ 5 h 62"/>
                    <a:gd name="T46" fmla="*/ 23 w 70"/>
                    <a:gd name="T47" fmla="*/ 6 h 62"/>
                    <a:gd name="T48" fmla="*/ 21 w 70"/>
                    <a:gd name="T49" fmla="*/ 7 h 62"/>
                    <a:gd name="T50" fmla="*/ 19 w 70"/>
                    <a:gd name="T51" fmla="*/ 9 h 62"/>
                    <a:gd name="T52" fmla="*/ 17 w 70"/>
                    <a:gd name="T53" fmla="*/ 10 h 62"/>
                    <a:gd name="T54" fmla="*/ 15 w 70"/>
                    <a:gd name="T55" fmla="*/ 11 h 62"/>
                    <a:gd name="T56" fmla="*/ 13 w 70"/>
                    <a:gd name="T57" fmla="*/ 13 h 62"/>
                    <a:gd name="T58" fmla="*/ 11 w 70"/>
                    <a:gd name="T59" fmla="*/ 14 h 62"/>
                    <a:gd name="T60" fmla="*/ 9 w 70"/>
                    <a:gd name="T61" fmla="*/ 16 h 62"/>
                    <a:gd name="T62" fmla="*/ 7 w 70"/>
                    <a:gd name="T63" fmla="*/ 18 h 62"/>
                    <a:gd name="T64" fmla="*/ 5 w 70"/>
                    <a:gd name="T65" fmla="*/ 20 h 62"/>
                    <a:gd name="T66" fmla="*/ 3 w 70"/>
                    <a:gd name="T67" fmla="*/ 22 h 62"/>
                    <a:gd name="T68" fmla="*/ 1 w 70"/>
                    <a:gd name="T69" fmla="*/ 24 h 62"/>
                    <a:gd name="T70" fmla="*/ 0 w 70"/>
                    <a:gd name="T71" fmla="*/ 25 h 62"/>
                    <a:gd name="T72" fmla="*/ 50 w 70"/>
                    <a:gd name="T7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 h="62">
                      <a:moveTo>
                        <a:pt x="70" y="3"/>
                      </a:moveTo>
                      <a:lnTo>
                        <a:pt x="69" y="3"/>
                      </a:lnTo>
                      <a:lnTo>
                        <a:pt x="68" y="3"/>
                      </a:lnTo>
                      <a:lnTo>
                        <a:pt x="67" y="2"/>
                      </a:lnTo>
                      <a:lnTo>
                        <a:pt x="66" y="2"/>
                      </a:lnTo>
                      <a:lnTo>
                        <a:pt x="65" y="2"/>
                      </a:lnTo>
                      <a:lnTo>
                        <a:pt x="64" y="1"/>
                      </a:lnTo>
                      <a:lnTo>
                        <a:pt x="63" y="1"/>
                      </a:lnTo>
                      <a:lnTo>
                        <a:pt x="62" y="1"/>
                      </a:lnTo>
                      <a:lnTo>
                        <a:pt x="61" y="1"/>
                      </a:lnTo>
                      <a:lnTo>
                        <a:pt x="60" y="1"/>
                      </a:lnTo>
                      <a:lnTo>
                        <a:pt x="59" y="1"/>
                      </a:lnTo>
                      <a:lnTo>
                        <a:pt x="58" y="0"/>
                      </a:lnTo>
                      <a:lnTo>
                        <a:pt x="57" y="0"/>
                      </a:lnTo>
                      <a:lnTo>
                        <a:pt x="56" y="0"/>
                      </a:lnTo>
                      <a:lnTo>
                        <a:pt x="55" y="0"/>
                      </a:lnTo>
                      <a:lnTo>
                        <a:pt x="54" y="0"/>
                      </a:lnTo>
                      <a:lnTo>
                        <a:pt x="53" y="0"/>
                      </a:lnTo>
                      <a:lnTo>
                        <a:pt x="52" y="0"/>
                      </a:lnTo>
                      <a:lnTo>
                        <a:pt x="51" y="0"/>
                      </a:lnTo>
                      <a:lnTo>
                        <a:pt x="50" y="0"/>
                      </a:lnTo>
                      <a:lnTo>
                        <a:pt x="49" y="0"/>
                      </a:lnTo>
                      <a:lnTo>
                        <a:pt x="48" y="0"/>
                      </a:lnTo>
                      <a:lnTo>
                        <a:pt x="47" y="0"/>
                      </a:lnTo>
                      <a:lnTo>
                        <a:pt x="46" y="0"/>
                      </a:lnTo>
                      <a:lnTo>
                        <a:pt x="45" y="0"/>
                      </a:lnTo>
                      <a:lnTo>
                        <a:pt x="44" y="0"/>
                      </a:lnTo>
                      <a:lnTo>
                        <a:pt x="43" y="0"/>
                      </a:lnTo>
                      <a:lnTo>
                        <a:pt x="42" y="1"/>
                      </a:lnTo>
                      <a:lnTo>
                        <a:pt x="41" y="1"/>
                      </a:lnTo>
                      <a:lnTo>
                        <a:pt x="40" y="1"/>
                      </a:lnTo>
                      <a:lnTo>
                        <a:pt x="39" y="1"/>
                      </a:lnTo>
                      <a:lnTo>
                        <a:pt x="38" y="1"/>
                      </a:lnTo>
                      <a:lnTo>
                        <a:pt x="37" y="1"/>
                      </a:lnTo>
                      <a:lnTo>
                        <a:pt x="36" y="2"/>
                      </a:lnTo>
                      <a:lnTo>
                        <a:pt x="35" y="2"/>
                      </a:lnTo>
                      <a:lnTo>
                        <a:pt x="34" y="2"/>
                      </a:lnTo>
                      <a:lnTo>
                        <a:pt x="33" y="3"/>
                      </a:lnTo>
                      <a:lnTo>
                        <a:pt x="32" y="3"/>
                      </a:lnTo>
                      <a:lnTo>
                        <a:pt x="31" y="3"/>
                      </a:lnTo>
                      <a:lnTo>
                        <a:pt x="30" y="3"/>
                      </a:lnTo>
                      <a:lnTo>
                        <a:pt x="29" y="4"/>
                      </a:lnTo>
                      <a:lnTo>
                        <a:pt x="28" y="4"/>
                      </a:lnTo>
                      <a:lnTo>
                        <a:pt x="27" y="5"/>
                      </a:lnTo>
                      <a:lnTo>
                        <a:pt x="26" y="5"/>
                      </a:lnTo>
                      <a:lnTo>
                        <a:pt x="25" y="5"/>
                      </a:lnTo>
                      <a:lnTo>
                        <a:pt x="24" y="6"/>
                      </a:lnTo>
                      <a:lnTo>
                        <a:pt x="23" y="6"/>
                      </a:lnTo>
                      <a:lnTo>
                        <a:pt x="22" y="7"/>
                      </a:lnTo>
                      <a:lnTo>
                        <a:pt x="21" y="7"/>
                      </a:lnTo>
                      <a:lnTo>
                        <a:pt x="20" y="8"/>
                      </a:lnTo>
                      <a:lnTo>
                        <a:pt x="19" y="9"/>
                      </a:lnTo>
                      <a:lnTo>
                        <a:pt x="18" y="9"/>
                      </a:lnTo>
                      <a:lnTo>
                        <a:pt x="17" y="10"/>
                      </a:lnTo>
                      <a:lnTo>
                        <a:pt x="16" y="10"/>
                      </a:lnTo>
                      <a:lnTo>
                        <a:pt x="15" y="11"/>
                      </a:lnTo>
                      <a:lnTo>
                        <a:pt x="14" y="12"/>
                      </a:lnTo>
                      <a:lnTo>
                        <a:pt x="13" y="13"/>
                      </a:lnTo>
                      <a:lnTo>
                        <a:pt x="12" y="13"/>
                      </a:lnTo>
                      <a:lnTo>
                        <a:pt x="11" y="14"/>
                      </a:lnTo>
                      <a:lnTo>
                        <a:pt x="10" y="15"/>
                      </a:lnTo>
                      <a:lnTo>
                        <a:pt x="9" y="16"/>
                      </a:lnTo>
                      <a:lnTo>
                        <a:pt x="8" y="17"/>
                      </a:lnTo>
                      <a:lnTo>
                        <a:pt x="7" y="18"/>
                      </a:lnTo>
                      <a:lnTo>
                        <a:pt x="6" y="19"/>
                      </a:lnTo>
                      <a:lnTo>
                        <a:pt x="5" y="20"/>
                      </a:lnTo>
                      <a:lnTo>
                        <a:pt x="4" y="21"/>
                      </a:lnTo>
                      <a:lnTo>
                        <a:pt x="3" y="22"/>
                      </a:lnTo>
                      <a:lnTo>
                        <a:pt x="2" y="23"/>
                      </a:lnTo>
                      <a:lnTo>
                        <a:pt x="1" y="24"/>
                      </a:lnTo>
                      <a:lnTo>
                        <a:pt x="1" y="25"/>
                      </a:lnTo>
                      <a:lnTo>
                        <a:pt x="0" y="25"/>
                      </a:lnTo>
                      <a:lnTo>
                        <a:pt x="0" y="25"/>
                      </a:lnTo>
                      <a:lnTo>
                        <a:pt x="50" y="62"/>
                      </a:lnTo>
                      <a:lnTo>
                        <a:pt x="70" y="3"/>
                      </a:lnTo>
                      <a:close/>
                    </a:path>
                  </a:pathLst>
                </a:custGeom>
                <a:solidFill>
                  <a:srgbClr val="004C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138"/>
                </a:p>
              </p:txBody>
            </p:sp>
            <p:sp>
              <p:nvSpPr>
                <p:cNvPr id="362" name="Freeform 361"/>
                <p:cNvSpPr>
                  <a:spLocks/>
                </p:cNvSpPr>
                <p:nvPr/>
              </p:nvSpPr>
              <p:spPr bwMode="auto">
                <a:xfrm>
                  <a:off x="2083245" y="5580266"/>
                  <a:ext cx="176213" cy="158750"/>
                </a:xfrm>
                <a:custGeom>
                  <a:avLst/>
                  <a:gdLst>
                    <a:gd name="T0" fmla="*/ 1 w 70"/>
                    <a:gd name="T1" fmla="*/ 38 h 63"/>
                    <a:gd name="T2" fmla="*/ 2 w 70"/>
                    <a:gd name="T3" fmla="*/ 40 h 63"/>
                    <a:gd name="T4" fmla="*/ 4 w 70"/>
                    <a:gd name="T5" fmla="*/ 42 h 63"/>
                    <a:gd name="T6" fmla="*/ 6 w 70"/>
                    <a:gd name="T7" fmla="*/ 44 h 63"/>
                    <a:gd name="T8" fmla="*/ 8 w 70"/>
                    <a:gd name="T9" fmla="*/ 46 h 63"/>
                    <a:gd name="T10" fmla="*/ 10 w 70"/>
                    <a:gd name="T11" fmla="*/ 48 h 63"/>
                    <a:gd name="T12" fmla="*/ 12 w 70"/>
                    <a:gd name="T13" fmla="*/ 50 h 63"/>
                    <a:gd name="T14" fmla="*/ 14 w 70"/>
                    <a:gd name="T15" fmla="*/ 51 h 63"/>
                    <a:gd name="T16" fmla="*/ 16 w 70"/>
                    <a:gd name="T17" fmla="*/ 53 h 63"/>
                    <a:gd name="T18" fmla="*/ 18 w 70"/>
                    <a:gd name="T19" fmla="*/ 54 h 63"/>
                    <a:gd name="T20" fmla="*/ 20 w 70"/>
                    <a:gd name="T21" fmla="*/ 55 h 63"/>
                    <a:gd name="T22" fmla="*/ 22 w 70"/>
                    <a:gd name="T23" fmla="*/ 56 h 63"/>
                    <a:gd name="T24" fmla="*/ 24 w 70"/>
                    <a:gd name="T25" fmla="*/ 57 h 63"/>
                    <a:gd name="T26" fmla="*/ 26 w 70"/>
                    <a:gd name="T27" fmla="*/ 58 h 63"/>
                    <a:gd name="T28" fmla="*/ 28 w 70"/>
                    <a:gd name="T29" fmla="*/ 59 h 63"/>
                    <a:gd name="T30" fmla="*/ 30 w 70"/>
                    <a:gd name="T31" fmla="*/ 60 h 63"/>
                    <a:gd name="T32" fmla="*/ 32 w 70"/>
                    <a:gd name="T33" fmla="*/ 60 h 63"/>
                    <a:gd name="T34" fmla="*/ 34 w 70"/>
                    <a:gd name="T35" fmla="*/ 61 h 63"/>
                    <a:gd name="T36" fmla="*/ 36 w 70"/>
                    <a:gd name="T37" fmla="*/ 61 h 63"/>
                    <a:gd name="T38" fmla="*/ 38 w 70"/>
                    <a:gd name="T39" fmla="*/ 62 h 63"/>
                    <a:gd name="T40" fmla="*/ 40 w 70"/>
                    <a:gd name="T41" fmla="*/ 62 h 63"/>
                    <a:gd name="T42" fmla="*/ 42 w 70"/>
                    <a:gd name="T43" fmla="*/ 62 h 63"/>
                    <a:gd name="T44" fmla="*/ 44 w 70"/>
                    <a:gd name="T45" fmla="*/ 63 h 63"/>
                    <a:gd name="T46" fmla="*/ 46 w 70"/>
                    <a:gd name="T47" fmla="*/ 63 h 63"/>
                    <a:gd name="T48" fmla="*/ 48 w 70"/>
                    <a:gd name="T49" fmla="*/ 63 h 63"/>
                    <a:gd name="T50" fmla="*/ 50 w 70"/>
                    <a:gd name="T51" fmla="*/ 63 h 63"/>
                    <a:gd name="T52" fmla="*/ 52 w 70"/>
                    <a:gd name="T53" fmla="*/ 63 h 63"/>
                    <a:gd name="T54" fmla="*/ 54 w 70"/>
                    <a:gd name="T55" fmla="*/ 63 h 63"/>
                    <a:gd name="T56" fmla="*/ 56 w 70"/>
                    <a:gd name="T57" fmla="*/ 63 h 63"/>
                    <a:gd name="T58" fmla="*/ 58 w 70"/>
                    <a:gd name="T59" fmla="*/ 63 h 63"/>
                    <a:gd name="T60" fmla="*/ 60 w 70"/>
                    <a:gd name="T61" fmla="*/ 62 h 63"/>
                    <a:gd name="T62" fmla="*/ 62 w 70"/>
                    <a:gd name="T63" fmla="*/ 62 h 63"/>
                    <a:gd name="T64" fmla="*/ 64 w 70"/>
                    <a:gd name="T65" fmla="*/ 62 h 63"/>
                    <a:gd name="T66" fmla="*/ 66 w 70"/>
                    <a:gd name="T67" fmla="*/ 61 h 63"/>
                    <a:gd name="T68" fmla="*/ 68 w 70"/>
                    <a:gd name="T69" fmla="*/ 60 h 63"/>
                    <a:gd name="T70" fmla="*/ 70 w 70"/>
                    <a:gd name="T71" fmla="*/ 60 h 63"/>
                    <a:gd name="T72" fmla="*/ 50 w 70"/>
                    <a:gd name="T73"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 h="63">
                      <a:moveTo>
                        <a:pt x="0" y="37"/>
                      </a:moveTo>
                      <a:lnTo>
                        <a:pt x="1" y="38"/>
                      </a:lnTo>
                      <a:lnTo>
                        <a:pt x="1" y="39"/>
                      </a:lnTo>
                      <a:lnTo>
                        <a:pt x="2" y="40"/>
                      </a:lnTo>
                      <a:lnTo>
                        <a:pt x="3" y="41"/>
                      </a:lnTo>
                      <a:lnTo>
                        <a:pt x="4" y="42"/>
                      </a:lnTo>
                      <a:lnTo>
                        <a:pt x="5" y="43"/>
                      </a:lnTo>
                      <a:lnTo>
                        <a:pt x="6" y="44"/>
                      </a:lnTo>
                      <a:lnTo>
                        <a:pt x="7" y="45"/>
                      </a:lnTo>
                      <a:lnTo>
                        <a:pt x="8" y="46"/>
                      </a:lnTo>
                      <a:lnTo>
                        <a:pt x="9" y="47"/>
                      </a:lnTo>
                      <a:lnTo>
                        <a:pt x="10" y="48"/>
                      </a:lnTo>
                      <a:lnTo>
                        <a:pt x="11" y="49"/>
                      </a:lnTo>
                      <a:lnTo>
                        <a:pt x="12" y="50"/>
                      </a:lnTo>
                      <a:lnTo>
                        <a:pt x="13" y="50"/>
                      </a:lnTo>
                      <a:lnTo>
                        <a:pt x="14" y="51"/>
                      </a:lnTo>
                      <a:lnTo>
                        <a:pt x="15" y="52"/>
                      </a:lnTo>
                      <a:lnTo>
                        <a:pt x="16" y="53"/>
                      </a:lnTo>
                      <a:lnTo>
                        <a:pt x="17" y="53"/>
                      </a:lnTo>
                      <a:lnTo>
                        <a:pt x="18" y="54"/>
                      </a:lnTo>
                      <a:lnTo>
                        <a:pt x="19" y="54"/>
                      </a:lnTo>
                      <a:lnTo>
                        <a:pt x="20" y="55"/>
                      </a:lnTo>
                      <a:lnTo>
                        <a:pt x="21" y="56"/>
                      </a:lnTo>
                      <a:lnTo>
                        <a:pt x="22" y="56"/>
                      </a:lnTo>
                      <a:lnTo>
                        <a:pt x="23" y="57"/>
                      </a:lnTo>
                      <a:lnTo>
                        <a:pt x="24" y="57"/>
                      </a:lnTo>
                      <a:lnTo>
                        <a:pt x="25" y="58"/>
                      </a:lnTo>
                      <a:lnTo>
                        <a:pt x="26" y="58"/>
                      </a:lnTo>
                      <a:lnTo>
                        <a:pt x="27" y="58"/>
                      </a:lnTo>
                      <a:lnTo>
                        <a:pt x="28" y="59"/>
                      </a:lnTo>
                      <a:lnTo>
                        <a:pt x="29" y="59"/>
                      </a:lnTo>
                      <a:lnTo>
                        <a:pt x="30" y="60"/>
                      </a:lnTo>
                      <a:lnTo>
                        <a:pt x="31" y="60"/>
                      </a:lnTo>
                      <a:lnTo>
                        <a:pt x="32" y="60"/>
                      </a:lnTo>
                      <a:lnTo>
                        <a:pt x="33" y="60"/>
                      </a:lnTo>
                      <a:lnTo>
                        <a:pt x="34" y="61"/>
                      </a:lnTo>
                      <a:lnTo>
                        <a:pt x="35" y="61"/>
                      </a:lnTo>
                      <a:lnTo>
                        <a:pt x="36" y="61"/>
                      </a:lnTo>
                      <a:lnTo>
                        <a:pt x="37" y="62"/>
                      </a:lnTo>
                      <a:lnTo>
                        <a:pt x="38" y="62"/>
                      </a:lnTo>
                      <a:lnTo>
                        <a:pt x="39" y="62"/>
                      </a:lnTo>
                      <a:lnTo>
                        <a:pt x="40" y="62"/>
                      </a:lnTo>
                      <a:lnTo>
                        <a:pt x="41" y="62"/>
                      </a:lnTo>
                      <a:lnTo>
                        <a:pt x="42" y="62"/>
                      </a:lnTo>
                      <a:lnTo>
                        <a:pt x="43" y="63"/>
                      </a:lnTo>
                      <a:lnTo>
                        <a:pt x="44" y="63"/>
                      </a:lnTo>
                      <a:lnTo>
                        <a:pt x="45" y="63"/>
                      </a:lnTo>
                      <a:lnTo>
                        <a:pt x="46" y="63"/>
                      </a:lnTo>
                      <a:lnTo>
                        <a:pt x="47" y="63"/>
                      </a:lnTo>
                      <a:lnTo>
                        <a:pt x="48" y="63"/>
                      </a:lnTo>
                      <a:lnTo>
                        <a:pt x="49" y="63"/>
                      </a:lnTo>
                      <a:lnTo>
                        <a:pt x="50" y="63"/>
                      </a:lnTo>
                      <a:lnTo>
                        <a:pt x="51" y="63"/>
                      </a:lnTo>
                      <a:lnTo>
                        <a:pt x="52" y="63"/>
                      </a:lnTo>
                      <a:lnTo>
                        <a:pt x="53" y="63"/>
                      </a:lnTo>
                      <a:lnTo>
                        <a:pt x="54" y="63"/>
                      </a:lnTo>
                      <a:lnTo>
                        <a:pt x="55" y="63"/>
                      </a:lnTo>
                      <a:lnTo>
                        <a:pt x="56" y="63"/>
                      </a:lnTo>
                      <a:lnTo>
                        <a:pt x="57" y="63"/>
                      </a:lnTo>
                      <a:lnTo>
                        <a:pt x="58" y="63"/>
                      </a:lnTo>
                      <a:lnTo>
                        <a:pt x="59" y="62"/>
                      </a:lnTo>
                      <a:lnTo>
                        <a:pt x="60" y="62"/>
                      </a:lnTo>
                      <a:lnTo>
                        <a:pt x="61" y="62"/>
                      </a:lnTo>
                      <a:lnTo>
                        <a:pt x="62" y="62"/>
                      </a:lnTo>
                      <a:lnTo>
                        <a:pt x="63" y="62"/>
                      </a:lnTo>
                      <a:lnTo>
                        <a:pt x="64" y="62"/>
                      </a:lnTo>
                      <a:lnTo>
                        <a:pt x="65" y="61"/>
                      </a:lnTo>
                      <a:lnTo>
                        <a:pt x="66" y="61"/>
                      </a:lnTo>
                      <a:lnTo>
                        <a:pt x="67" y="61"/>
                      </a:lnTo>
                      <a:lnTo>
                        <a:pt x="68" y="60"/>
                      </a:lnTo>
                      <a:lnTo>
                        <a:pt x="69" y="60"/>
                      </a:lnTo>
                      <a:lnTo>
                        <a:pt x="70" y="60"/>
                      </a:lnTo>
                      <a:lnTo>
                        <a:pt x="70" y="60"/>
                      </a:lnTo>
                      <a:lnTo>
                        <a:pt x="50" y="0"/>
                      </a:lnTo>
                      <a:lnTo>
                        <a:pt x="0" y="37"/>
                      </a:lnTo>
                      <a:close/>
                    </a:path>
                  </a:pathLst>
                </a:custGeom>
                <a:solidFill>
                  <a:srgbClr val="2892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138"/>
                </a:p>
              </p:txBody>
            </p:sp>
            <p:sp>
              <p:nvSpPr>
                <p:cNvPr id="363" name="Freeform 362"/>
                <p:cNvSpPr>
                  <a:spLocks/>
                </p:cNvSpPr>
                <p:nvPr/>
              </p:nvSpPr>
              <p:spPr bwMode="auto">
                <a:xfrm>
                  <a:off x="2208657" y="5580266"/>
                  <a:ext cx="158750" cy="150813"/>
                </a:xfrm>
                <a:custGeom>
                  <a:avLst/>
                  <a:gdLst>
                    <a:gd name="T0" fmla="*/ 21 w 63"/>
                    <a:gd name="T1" fmla="*/ 60 h 60"/>
                    <a:gd name="T2" fmla="*/ 23 w 63"/>
                    <a:gd name="T3" fmla="*/ 59 h 60"/>
                    <a:gd name="T4" fmla="*/ 25 w 63"/>
                    <a:gd name="T5" fmla="*/ 58 h 60"/>
                    <a:gd name="T6" fmla="*/ 27 w 63"/>
                    <a:gd name="T7" fmla="*/ 57 h 60"/>
                    <a:gd name="T8" fmla="*/ 29 w 63"/>
                    <a:gd name="T9" fmla="*/ 56 h 60"/>
                    <a:gd name="T10" fmla="*/ 31 w 63"/>
                    <a:gd name="T11" fmla="*/ 55 h 60"/>
                    <a:gd name="T12" fmla="*/ 33 w 63"/>
                    <a:gd name="T13" fmla="*/ 54 h 60"/>
                    <a:gd name="T14" fmla="*/ 35 w 63"/>
                    <a:gd name="T15" fmla="*/ 53 h 60"/>
                    <a:gd name="T16" fmla="*/ 37 w 63"/>
                    <a:gd name="T17" fmla="*/ 51 h 60"/>
                    <a:gd name="T18" fmla="*/ 39 w 63"/>
                    <a:gd name="T19" fmla="*/ 50 h 60"/>
                    <a:gd name="T20" fmla="*/ 41 w 63"/>
                    <a:gd name="T21" fmla="*/ 48 h 60"/>
                    <a:gd name="T22" fmla="*/ 43 w 63"/>
                    <a:gd name="T23" fmla="*/ 46 h 60"/>
                    <a:gd name="T24" fmla="*/ 45 w 63"/>
                    <a:gd name="T25" fmla="*/ 44 h 60"/>
                    <a:gd name="T26" fmla="*/ 47 w 63"/>
                    <a:gd name="T27" fmla="*/ 42 h 60"/>
                    <a:gd name="T28" fmla="*/ 49 w 63"/>
                    <a:gd name="T29" fmla="*/ 40 h 60"/>
                    <a:gd name="T30" fmla="*/ 50 w 63"/>
                    <a:gd name="T31" fmla="*/ 38 h 60"/>
                    <a:gd name="T32" fmla="*/ 52 w 63"/>
                    <a:gd name="T33" fmla="*/ 36 h 60"/>
                    <a:gd name="T34" fmla="*/ 53 w 63"/>
                    <a:gd name="T35" fmla="*/ 34 h 60"/>
                    <a:gd name="T36" fmla="*/ 54 w 63"/>
                    <a:gd name="T37" fmla="*/ 32 h 60"/>
                    <a:gd name="T38" fmla="*/ 56 w 63"/>
                    <a:gd name="T39" fmla="*/ 30 h 60"/>
                    <a:gd name="T40" fmla="*/ 57 w 63"/>
                    <a:gd name="T41" fmla="*/ 28 h 60"/>
                    <a:gd name="T42" fmla="*/ 58 w 63"/>
                    <a:gd name="T43" fmla="*/ 26 h 60"/>
                    <a:gd name="T44" fmla="*/ 58 w 63"/>
                    <a:gd name="T45" fmla="*/ 24 h 60"/>
                    <a:gd name="T46" fmla="*/ 59 w 63"/>
                    <a:gd name="T47" fmla="*/ 22 h 60"/>
                    <a:gd name="T48" fmla="*/ 60 w 63"/>
                    <a:gd name="T49" fmla="*/ 20 h 60"/>
                    <a:gd name="T50" fmla="*/ 60 w 63"/>
                    <a:gd name="T51" fmla="*/ 18 h 60"/>
                    <a:gd name="T52" fmla="*/ 61 w 63"/>
                    <a:gd name="T53" fmla="*/ 16 h 60"/>
                    <a:gd name="T54" fmla="*/ 62 w 63"/>
                    <a:gd name="T55" fmla="*/ 14 h 60"/>
                    <a:gd name="T56" fmla="*/ 62 w 63"/>
                    <a:gd name="T57" fmla="*/ 12 h 60"/>
                    <a:gd name="T58" fmla="*/ 62 w 63"/>
                    <a:gd name="T59" fmla="*/ 10 h 60"/>
                    <a:gd name="T60" fmla="*/ 63 w 63"/>
                    <a:gd name="T61" fmla="*/ 8 h 60"/>
                    <a:gd name="T62" fmla="*/ 63 w 63"/>
                    <a:gd name="T63" fmla="*/ 6 h 60"/>
                    <a:gd name="T64" fmla="*/ 63 w 63"/>
                    <a:gd name="T65" fmla="*/ 4 h 60"/>
                    <a:gd name="T66" fmla="*/ 63 w 63"/>
                    <a:gd name="T67" fmla="*/ 2 h 60"/>
                    <a:gd name="T68" fmla="*/ 63 w 63"/>
                    <a:gd name="T69" fmla="*/ 0 h 60"/>
                    <a:gd name="T70" fmla="*/ 0 w 63"/>
                    <a:gd name="T7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 h="60">
                      <a:moveTo>
                        <a:pt x="20" y="60"/>
                      </a:moveTo>
                      <a:lnTo>
                        <a:pt x="21" y="60"/>
                      </a:lnTo>
                      <a:lnTo>
                        <a:pt x="22" y="59"/>
                      </a:lnTo>
                      <a:lnTo>
                        <a:pt x="23" y="59"/>
                      </a:lnTo>
                      <a:lnTo>
                        <a:pt x="24" y="58"/>
                      </a:lnTo>
                      <a:lnTo>
                        <a:pt x="25" y="58"/>
                      </a:lnTo>
                      <a:lnTo>
                        <a:pt x="26" y="58"/>
                      </a:lnTo>
                      <a:lnTo>
                        <a:pt x="27" y="57"/>
                      </a:lnTo>
                      <a:lnTo>
                        <a:pt x="28" y="57"/>
                      </a:lnTo>
                      <a:lnTo>
                        <a:pt x="29" y="56"/>
                      </a:lnTo>
                      <a:lnTo>
                        <a:pt x="30" y="56"/>
                      </a:lnTo>
                      <a:lnTo>
                        <a:pt x="31" y="55"/>
                      </a:lnTo>
                      <a:lnTo>
                        <a:pt x="32" y="54"/>
                      </a:lnTo>
                      <a:lnTo>
                        <a:pt x="33" y="54"/>
                      </a:lnTo>
                      <a:lnTo>
                        <a:pt x="34" y="53"/>
                      </a:lnTo>
                      <a:lnTo>
                        <a:pt x="35" y="53"/>
                      </a:lnTo>
                      <a:lnTo>
                        <a:pt x="36" y="52"/>
                      </a:lnTo>
                      <a:lnTo>
                        <a:pt x="37" y="51"/>
                      </a:lnTo>
                      <a:lnTo>
                        <a:pt x="38" y="50"/>
                      </a:lnTo>
                      <a:lnTo>
                        <a:pt x="39" y="50"/>
                      </a:lnTo>
                      <a:lnTo>
                        <a:pt x="40" y="49"/>
                      </a:lnTo>
                      <a:lnTo>
                        <a:pt x="41" y="48"/>
                      </a:lnTo>
                      <a:lnTo>
                        <a:pt x="42" y="47"/>
                      </a:lnTo>
                      <a:lnTo>
                        <a:pt x="43" y="46"/>
                      </a:lnTo>
                      <a:lnTo>
                        <a:pt x="44" y="45"/>
                      </a:lnTo>
                      <a:lnTo>
                        <a:pt x="45" y="44"/>
                      </a:lnTo>
                      <a:lnTo>
                        <a:pt x="46" y="43"/>
                      </a:lnTo>
                      <a:lnTo>
                        <a:pt x="47" y="42"/>
                      </a:lnTo>
                      <a:lnTo>
                        <a:pt x="48" y="41"/>
                      </a:lnTo>
                      <a:lnTo>
                        <a:pt x="49" y="40"/>
                      </a:lnTo>
                      <a:lnTo>
                        <a:pt x="50" y="39"/>
                      </a:lnTo>
                      <a:lnTo>
                        <a:pt x="50" y="38"/>
                      </a:lnTo>
                      <a:lnTo>
                        <a:pt x="51" y="37"/>
                      </a:lnTo>
                      <a:lnTo>
                        <a:pt x="52" y="36"/>
                      </a:lnTo>
                      <a:lnTo>
                        <a:pt x="53" y="35"/>
                      </a:lnTo>
                      <a:lnTo>
                        <a:pt x="53" y="34"/>
                      </a:lnTo>
                      <a:lnTo>
                        <a:pt x="54" y="33"/>
                      </a:lnTo>
                      <a:lnTo>
                        <a:pt x="54" y="32"/>
                      </a:lnTo>
                      <a:lnTo>
                        <a:pt x="55" y="31"/>
                      </a:lnTo>
                      <a:lnTo>
                        <a:pt x="56" y="30"/>
                      </a:lnTo>
                      <a:lnTo>
                        <a:pt x="56" y="29"/>
                      </a:lnTo>
                      <a:lnTo>
                        <a:pt x="57" y="28"/>
                      </a:lnTo>
                      <a:lnTo>
                        <a:pt x="57" y="27"/>
                      </a:lnTo>
                      <a:lnTo>
                        <a:pt x="58" y="26"/>
                      </a:lnTo>
                      <a:lnTo>
                        <a:pt x="58" y="25"/>
                      </a:lnTo>
                      <a:lnTo>
                        <a:pt x="58" y="24"/>
                      </a:lnTo>
                      <a:lnTo>
                        <a:pt x="59" y="23"/>
                      </a:lnTo>
                      <a:lnTo>
                        <a:pt x="59" y="22"/>
                      </a:lnTo>
                      <a:lnTo>
                        <a:pt x="60" y="21"/>
                      </a:lnTo>
                      <a:lnTo>
                        <a:pt x="60" y="20"/>
                      </a:lnTo>
                      <a:lnTo>
                        <a:pt x="60" y="19"/>
                      </a:lnTo>
                      <a:lnTo>
                        <a:pt x="60" y="18"/>
                      </a:lnTo>
                      <a:lnTo>
                        <a:pt x="61" y="17"/>
                      </a:lnTo>
                      <a:lnTo>
                        <a:pt x="61" y="16"/>
                      </a:lnTo>
                      <a:lnTo>
                        <a:pt x="61" y="15"/>
                      </a:lnTo>
                      <a:lnTo>
                        <a:pt x="62" y="14"/>
                      </a:lnTo>
                      <a:lnTo>
                        <a:pt x="62" y="13"/>
                      </a:lnTo>
                      <a:lnTo>
                        <a:pt x="62" y="12"/>
                      </a:lnTo>
                      <a:lnTo>
                        <a:pt x="62" y="11"/>
                      </a:lnTo>
                      <a:lnTo>
                        <a:pt x="62" y="10"/>
                      </a:lnTo>
                      <a:lnTo>
                        <a:pt x="62" y="9"/>
                      </a:lnTo>
                      <a:lnTo>
                        <a:pt x="63" y="8"/>
                      </a:lnTo>
                      <a:lnTo>
                        <a:pt x="63" y="7"/>
                      </a:lnTo>
                      <a:lnTo>
                        <a:pt x="63" y="6"/>
                      </a:lnTo>
                      <a:lnTo>
                        <a:pt x="63" y="5"/>
                      </a:lnTo>
                      <a:lnTo>
                        <a:pt x="63" y="4"/>
                      </a:lnTo>
                      <a:lnTo>
                        <a:pt x="63" y="3"/>
                      </a:lnTo>
                      <a:lnTo>
                        <a:pt x="63" y="2"/>
                      </a:lnTo>
                      <a:lnTo>
                        <a:pt x="63" y="1"/>
                      </a:lnTo>
                      <a:lnTo>
                        <a:pt x="63" y="0"/>
                      </a:lnTo>
                      <a:lnTo>
                        <a:pt x="63" y="0"/>
                      </a:lnTo>
                      <a:lnTo>
                        <a:pt x="0" y="0"/>
                      </a:lnTo>
                      <a:lnTo>
                        <a:pt x="20" y="60"/>
                      </a:lnTo>
                      <a:close/>
                    </a:path>
                  </a:pathLst>
                </a:custGeom>
                <a:solidFill>
                  <a:srgbClr val="98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138"/>
                </a:p>
              </p:txBody>
            </p:sp>
          </p:grpSp>
          <p:sp>
            <p:nvSpPr>
              <p:cNvPr id="365" name="Freeform 364"/>
              <p:cNvSpPr>
                <a:spLocks/>
              </p:cNvSpPr>
              <p:nvPr/>
            </p:nvSpPr>
            <p:spPr bwMode="auto">
              <a:xfrm>
                <a:off x="2054988" y="5479142"/>
                <a:ext cx="155575" cy="185738"/>
              </a:xfrm>
              <a:custGeom>
                <a:avLst/>
                <a:gdLst>
                  <a:gd name="T0" fmla="*/ 12 w 62"/>
                  <a:gd name="T1" fmla="*/ 1 h 74"/>
                  <a:gd name="T2" fmla="*/ 10 w 62"/>
                  <a:gd name="T3" fmla="*/ 3 h 74"/>
                  <a:gd name="T4" fmla="*/ 9 w 62"/>
                  <a:gd name="T5" fmla="*/ 5 h 74"/>
                  <a:gd name="T6" fmla="*/ 8 w 62"/>
                  <a:gd name="T7" fmla="*/ 7 h 74"/>
                  <a:gd name="T8" fmla="*/ 7 w 62"/>
                  <a:gd name="T9" fmla="*/ 9 h 74"/>
                  <a:gd name="T10" fmla="*/ 6 w 62"/>
                  <a:gd name="T11" fmla="*/ 11 h 74"/>
                  <a:gd name="T12" fmla="*/ 5 w 62"/>
                  <a:gd name="T13" fmla="*/ 13 h 74"/>
                  <a:gd name="T14" fmla="*/ 4 w 62"/>
                  <a:gd name="T15" fmla="*/ 15 h 74"/>
                  <a:gd name="T16" fmla="*/ 3 w 62"/>
                  <a:gd name="T17" fmla="*/ 17 h 74"/>
                  <a:gd name="T18" fmla="*/ 3 w 62"/>
                  <a:gd name="T19" fmla="*/ 19 h 74"/>
                  <a:gd name="T20" fmla="*/ 2 w 62"/>
                  <a:gd name="T21" fmla="*/ 21 h 74"/>
                  <a:gd name="T22" fmla="*/ 2 w 62"/>
                  <a:gd name="T23" fmla="*/ 23 h 74"/>
                  <a:gd name="T24" fmla="*/ 1 w 62"/>
                  <a:gd name="T25" fmla="*/ 25 h 74"/>
                  <a:gd name="T26" fmla="*/ 1 w 62"/>
                  <a:gd name="T27" fmla="*/ 27 h 74"/>
                  <a:gd name="T28" fmla="*/ 1 w 62"/>
                  <a:gd name="T29" fmla="*/ 29 h 74"/>
                  <a:gd name="T30" fmla="*/ 0 w 62"/>
                  <a:gd name="T31" fmla="*/ 31 h 74"/>
                  <a:gd name="T32" fmla="*/ 0 w 62"/>
                  <a:gd name="T33" fmla="*/ 33 h 74"/>
                  <a:gd name="T34" fmla="*/ 0 w 62"/>
                  <a:gd name="T35" fmla="*/ 35 h 74"/>
                  <a:gd name="T36" fmla="*/ 0 w 62"/>
                  <a:gd name="T37" fmla="*/ 37 h 74"/>
                  <a:gd name="T38" fmla="*/ 0 w 62"/>
                  <a:gd name="T39" fmla="*/ 39 h 74"/>
                  <a:gd name="T40" fmla="*/ 0 w 62"/>
                  <a:gd name="T41" fmla="*/ 41 h 74"/>
                  <a:gd name="T42" fmla="*/ 0 w 62"/>
                  <a:gd name="T43" fmla="*/ 43 h 74"/>
                  <a:gd name="T44" fmla="*/ 0 w 62"/>
                  <a:gd name="T45" fmla="*/ 45 h 74"/>
                  <a:gd name="T46" fmla="*/ 1 w 62"/>
                  <a:gd name="T47" fmla="*/ 47 h 74"/>
                  <a:gd name="T48" fmla="*/ 1 w 62"/>
                  <a:gd name="T49" fmla="*/ 49 h 74"/>
                  <a:gd name="T50" fmla="*/ 1 w 62"/>
                  <a:gd name="T51" fmla="*/ 51 h 74"/>
                  <a:gd name="T52" fmla="*/ 2 w 62"/>
                  <a:gd name="T53" fmla="*/ 53 h 74"/>
                  <a:gd name="T54" fmla="*/ 3 w 62"/>
                  <a:gd name="T55" fmla="*/ 55 h 74"/>
                  <a:gd name="T56" fmla="*/ 3 w 62"/>
                  <a:gd name="T57" fmla="*/ 57 h 74"/>
                  <a:gd name="T58" fmla="*/ 4 w 62"/>
                  <a:gd name="T59" fmla="*/ 59 h 74"/>
                  <a:gd name="T60" fmla="*/ 5 w 62"/>
                  <a:gd name="T61" fmla="*/ 61 h 74"/>
                  <a:gd name="T62" fmla="*/ 5 w 62"/>
                  <a:gd name="T63" fmla="*/ 63 h 74"/>
                  <a:gd name="T64" fmla="*/ 6 w 62"/>
                  <a:gd name="T65" fmla="*/ 65 h 74"/>
                  <a:gd name="T66" fmla="*/ 7 w 62"/>
                  <a:gd name="T67" fmla="*/ 67 h 74"/>
                  <a:gd name="T68" fmla="*/ 9 w 62"/>
                  <a:gd name="T69" fmla="*/ 69 h 74"/>
                  <a:gd name="T70" fmla="*/ 10 w 62"/>
                  <a:gd name="T71" fmla="*/ 71 h 74"/>
                  <a:gd name="T72" fmla="*/ 11 w 62"/>
                  <a:gd name="T73" fmla="*/ 73 h 74"/>
                  <a:gd name="T74" fmla="*/ 12 w 62"/>
                  <a:gd name="T75" fmla="*/ 74 h 74"/>
                  <a:gd name="T76" fmla="*/ 12 w 62"/>
                  <a:gd name="T77"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2" h="74">
                    <a:moveTo>
                      <a:pt x="12" y="0"/>
                    </a:moveTo>
                    <a:lnTo>
                      <a:pt x="12" y="1"/>
                    </a:lnTo>
                    <a:lnTo>
                      <a:pt x="11" y="2"/>
                    </a:lnTo>
                    <a:lnTo>
                      <a:pt x="10" y="3"/>
                    </a:lnTo>
                    <a:lnTo>
                      <a:pt x="10" y="4"/>
                    </a:lnTo>
                    <a:lnTo>
                      <a:pt x="9" y="5"/>
                    </a:lnTo>
                    <a:lnTo>
                      <a:pt x="9" y="6"/>
                    </a:lnTo>
                    <a:lnTo>
                      <a:pt x="8" y="7"/>
                    </a:lnTo>
                    <a:lnTo>
                      <a:pt x="7" y="8"/>
                    </a:lnTo>
                    <a:lnTo>
                      <a:pt x="7" y="9"/>
                    </a:lnTo>
                    <a:lnTo>
                      <a:pt x="6" y="10"/>
                    </a:lnTo>
                    <a:lnTo>
                      <a:pt x="6" y="11"/>
                    </a:lnTo>
                    <a:lnTo>
                      <a:pt x="5" y="12"/>
                    </a:lnTo>
                    <a:lnTo>
                      <a:pt x="5" y="13"/>
                    </a:lnTo>
                    <a:lnTo>
                      <a:pt x="5" y="14"/>
                    </a:lnTo>
                    <a:lnTo>
                      <a:pt x="4" y="15"/>
                    </a:lnTo>
                    <a:lnTo>
                      <a:pt x="4" y="16"/>
                    </a:lnTo>
                    <a:lnTo>
                      <a:pt x="3" y="17"/>
                    </a:lnTo>
                    <a:lnTo>
                      <a:pt x="3" y="18"/>
                    </a:lnTo>
                    <a:lnTo>
                      <a:pt x="3" y="19"/>
                    </a:lnTo>
                    <a:lnTo>
                      <a:pt x="3" y="20"/>
                    </a:lnTo>
                    <a:lnTo>
                      <a:pt x="2" y="21"/>
                    </a:lnTo>
                    <a:lnTo>
                      <a:pt x="2" y="22"/>
                    </a:lnTo>
                    <a:lnTo>
                      <a:pt x="2" y="23"/>
                    </a:lnTo>
                    <a:lnTo>
                      <a:pt x="1" y="24"/>
                    </a:lnTo>
                    <a:lnTo>
                      <a:pt x="1" y="25"/>
                    </a:lnTo>
                    <a:lnTo>
                      <a:pt x="1" y="26"/>
                    </a:lnTo>
                    <a:lnTo>
                      <a:pt x="1" y="27"/>
                    </a:lnTo>
                    <a:lnTo>
                      <a:pt x="1" y="28"/>
                    </a:lnTo>
                    <a:lnTo>
                      <a:pt x="1" y="29"/>
                    </a:lnTo>
                    <a:lnTo>
                      <a:pt x="0" y="30"/>
                    </a:lnTo>
                    <a:lnTo>
                      <a:pt x="0" y="31"/>
                    </a:lnTo>
                    <a:lnTo>
                      <a:pt x="0" y="32"/>
                    </a:lnTo>
                    <a:lnTo>
                      <a:pt x="0" y="33"/>
                    </a:lnTo>
                    <a:lnTo>
                      <a:pt x="0" y="34"/>
                    </a:lnTo>
                    <a:lnTo>
                      <a:pt x="0" y="35"/>
                    </a:lnTo>
                    <a:lnTo>
                      <a:pt x="0" y="36"/>
                    </a:lnTo>
                    <a:lnTo>
                      <a:pt x="0" y="37"/>
                    </a:lnTo>
                    <a:lnTo>
                      <a:pt x="0" y="38"/>
                    </a:lnTo>
                    <a:lnTo>
                      <a:pt x="0" y="39"/>
                    </a:lnTo>
                    <a:lnTo>
                      <a:pt x="0" y="40"/>
                    </a:lnTo>
                    <a:lnTo>
                      <a:pt x="0" y="41"/>
                    </a:lnTo>
                    <a:lnTo>
                      <a:pt x="0" y="42"/>
                    </a:lnTo>
                    <a:lnTo>
                      <a:pt x="0" y="43"/>
                    </a:lnTo>
                    <a:lnTo>
                      <a:pt x="0" y="44"/>
                    </a:lnTo>
                    <a:lnTo>
                      <a:pt x="0" y="45"/>
                    </a:lnTo>
                    <a:lnTo>
                      <a:pt x="1" y="46"/>
                    </a:lnTo>
                    <a:lnTo>
                      <a:pt x="1" y="47"/>
                    </a:lnTo>
                    <a:lnTo>
                      <a:pt x="1" y="48"/>
                    </a:lnTo>
                    <a:lnTo>
                      <a:pt x="1" y="49"/>
                    </a:lnTo>
                    <a:lnTo>
                      <a:pt x="1" y="50"/>
                    </a:lnTo>
                    <a:lnTo>
                      <a:pt x="1" y="51"/>
                    </a:lnTo>
                    <a:lnTo>
                      <a:pt x="2" y="52"/>
                    </a:lnTo>
                    <a:lnTo>
                      <a:pt x="2" y="53"/>
                    </a:lnTo>
                    <a:lnTo>
                      <a:pt x="2" y="54"/>
                    </a:lnTo>
                    <a:lnTo>
                      <a:pt x="3" y="55"/>
                    </a:lnTo>
                    <a:lnTo>
                      <a:pt x="3" y="56"/>
                    </a:lnTo>
                    <a:lnTo>
                      <a:pt x="3" y="57"/>
                    </a:lnTo>
                    <a:lnTo>
                      <a:pt x="3" y="58"/>
                    </a:lnTo>
                    <a:lnTo>
                      <a:pt x="4" y="59"/>
                    </a:lnTo>
                    <a:lnTo>
                      <a:pt x="4" y="60"/>
                    </a:lnTo>
                    <a:lnTo>
                      <a:pt x="5" y="61"/>
                    </a:lnTo>
                    <a:lnTo>
                      <a:pt x="5" y="62"/>
                    </a:lnTo>
                    <a:lnTo>
                      <a:pt x="5" y="63"/>
                    </a:lnTo>
                    <a:lnTo>
                      <a:pt x="6" y="64"/>
                    </a:lnTo>
                    <a:lnTo>
                      <a:pt x="6" y="65"/>
                    </a:lnTo>
                    <a:lnTo>
                      <a:pt x="7" y="66"/>
                    </a:lnTo>
                    <a:lnTo>
                      <a:pt x="7" y="67"/>
                    </a:lnTo>
                    <a:lnTo>
                      <a:pt x="8" y="68"/>
                    </a:lnTo>
                    <a:lnTo>
                      <a:pt x="9" y="69"/>
                    </a:lnTo>
                    <a:lnTo>
                      <a:pt x="9" y="70"/>
                    </a:lnTo>
                    <a:lnTo>
                      <a:pt x="10" y="71"/>
                    </a:lnTo>
                    <a:lnTo>
                      <a:pt x="10" y="72"/>
                    </a:lnTo>
                    <a:lnTo>
                      <a:pt x="11" y="73"/>
                    </a:lnTo>
                    <a:lnTo>
                      <a:pt x="12" y="74"/>
                    </a:lnTo>
                    <a:lnTo>
                      <a:pt x="12" y="74"/>
                    </a:lnTo>
                    <a:lnTo>
                      <a:pt x="62" y="37"/>
                    </a:lnTo>
                    <a:lnTo>
                      <a:pt x="12" y="0"/>
                    </a:lnTo>
                    <a:close/>
                  </a:path>
                </a:pathLst>
              </a:custGeom>
              <a:solidFill>
                <a:srgbClr val="FFF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endParaRPr lang="en-GB" sz="1138"/>
              </a:p>
            </p:txBody>
          </p:sp>
        </p:grpSp>
        <p:sp>
          <p:nvSpPr>
            <p:cNvPr id="367" name="TextBox 366"/>
            <p:cNvSpPr txBox="1"/>
            <p:nvPr/>
          </p:nvSpPr>
          <p:spPr>
            <a:xfrm>
              <a:off x="190431" y="3094571"/>
              <a:ext cx="3031329" cy="791065"/>
            </a:xfrm>
            <a:prstGeom prst="rect">
              <a:avLst/>
            </a:prstGeom>
            <a:noFill/>
          </p:spPr>
          <p:txBody>
            <a:bodyPr wrap="square" rtlCol="0">
              <a:spAutoFit/>
            </a:bodyPr>
            <a:lstStyle/>
            <a:p>
              <a:pPr algn="just"/>
              <a:r>
                <a:rPr lang="en-US" sz="894" b="1" dirty="0" smtClean="0">
                  <a:solidFill>
                    <a:schemeClr val="tx1">
                      <a:lumMod val="95000"/>
                      <a:lumOff val="5000"/>
                    </a:schemeClr>
                  </a:solidFill>
                </a:rPr>
                <a:t>Grant </a:t>
              </a:r>
              <a:r>
                <a:rPr lang="en-US" sz="894" b="1" dirty="0">
                  <a:solidFill>
                    <a:schemeClr val="tx1">
                      <a:lumMod val="95000"/>
                      <a:lumOff val="5000"/>
                    </a:schemeClr>
                  </a:solidFill>
                </a:rPr>
                <a:t>Title: </a:t>
              </a:r>
              <a:r>
                <a:rPr lang="en-GB" sz="894" dirty="0">
                  <a:solidFill>
                    <a:schemeClr val="tx1">
                      <a:lumMod val="95000"/>
                      <a:lumOff val="5000"/>
                    </a:schemeClr>
                  </a:solidFill>
                </a:rPr>
                <a:t>Promoting market based production system for smallholder farmers in SNNPR </a:t>
              </a:r>
            </a:p>
            <a:p>
              <a:r>
                <a:rPr lang="en-US" sz="894" b="1" dirty="0" smtClean="0">
                  <a:solidFill>
                    <a:schemeClr val="tx1">
                      <a:lumMod val="95000"/>
                      <a:lumOff val="5000"/>
                    </a:schemeClr>
                  </a:solidFill>
                </a:rPr>
                <a:t>Coverage</a:t>
              </a:r>
              <a:r>
                <a:rPr lang="en-US" sz="894" dirty="0" smtClean="0"/>
                <a:t>: </a:t>
              </a:r>
              <a:r>
                <a:rPr lang="en-GB" sz="894" dirty="0" err="1" smtClean="0">
                  <a:solidFill>
                    <a:schemeClr val="tx1">
                      <a:lumMod val="95000"/>
                      <a:lumOff val="5000"/>
                    </a:schemeClr>
                  </a:solidFill>
                </a:rPr>
                <a:t>SNNPR</a:t>
              </a:r>
              <a:r>
                <a:rPr lang="en-GB" sz="894" dirty="0" smtClean="0">
                  <a:solidFill>
                    <a:schemeClr val="tx1">
                      <a:lumMod val="95000"/>
                      <a:lumOff val="5000"/>
                    </a:schemeClr>
                  </a:solidFill>
                </a:rPr>
                <a:t> </a:t>
              </a:r>
            </a:p>
          </p:txBody>
        </p:sp>
        <p:cxnSp>
          <p:nvCxnSpPr>
            <p:cNvPr id="371" name="Straight Arrow Connector 370"/>
            <p:cNvCxnSpPr>
              <a:stCxn id="86" idx="6"/>
            </p:cNvCxnSpPr>
            <p:nvPr/>
          </p:nvCxnSpPr>
          <p:spPr>
            <a:xfrm flipV="1">
              <a:off x="6615122" y="1259465"/>
              <a:ext cx="895614" cy="637252"/>
            </a:xfrm>
            <a:prstGeom prst="straightConnector1">
              <a:avLst/>
            </a:prstGeom>
            <a:ln>
              <a:solidFill>
                <a:srgbClr val="70AD47"/>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75" name="Straight Arrow Connector 374"/>
            <p:cNvCxnSpPr>
              <a:stCxn id="85" idx="6"/>
            </p:cNvCxnSpPr>
            <p:nvPr/>
          </p:nvCxnSpPr>
          <p:spPr>
            <a:xfrm flipV="1">
              <a:off x="6703119" y="2086302"/>
              <a:ext cx="892201" cy="208639"/>
            </a:xfrm>
            <a:prstGeom prst="straightConnector1">
              <a:avLst/>
            </a:prstGeom>
            <a:ln>
              <a:solidFill>
                <a:srgbClr val="70AD47"/>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77" name="Straight Arrow Connector 376"/>
            <p:cNvCxnSpPr>
              <a:stCxn id="87" idx="0"/>
            </p:cNvCxnSpPr>
            <p:nvPr/>
          </p:nvCxnSpPr>
          <p:spPr>
            <a:xfrm>
              <a:off x="6943760" y="2726885"/>
              <a:ext cx="806890" cy="243951"/>
            </a:xfrm>
            <a:prstGeom prst="straightConnector1">
              <a:avLst/>
            </a:prstGeom>
            <a:ln>
              <a:solidFill>
                <a:srgbClr val="70AD47"/>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79" name="Straight Arrow Connector 378"/>
            <p:cNvCxnSpPr>
              <a:stCxn id="182" idx="51"/>
            </p:cNvCxnSpPr>
            <p:nvPr/>
          </p:nvCxnSpPr>
          <p:spPr>
            <a:xfrm>
              <a:off x="6931315" y="3205445"/>
              <a:ext cx="1894686" cy="766991"/>
            </a:xfrm>
            <a:prstGeom prst="straightConnector1">
              <a:avLst/>
            </a:prstGeom>
            <a:ln>
              <a:solidFill>
                <a:srgbClr val="70AD47"/>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92" name="Elbow Connector 391"/>
            <p:cNvCxnSpPr/>
            <p:nvPr/>
          </p:nvCxnSpPr>
          <p:spPr>
            <a:xfrm rot="16200000" flipH="1">
              <a:off x="7376458" y="3934387"/>
              <a:ext cx="1222264" cy="963570"/>
            </a:xfrm>
            <a:prstGeom prst="bentConnector3">
              <a:avLst>
                <a:gd name="adj1" fmla="val 101953"/>
              </a:avLst>
            </a:prstGeom>
            <a:ln>
              <a:solidFill>
                <a:srgbClr val="70AD47"/>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00" name="Elbow Connector 399"/>
            <p:cNvCxnSpPr>
              <a:stCxn id="84" idx="38"/>
            </p:cNvCxnSpPr>
            <p:nvPr/>
          </p:nvCxnSpPr>
          <p:spPr>
            <a:xfrm>
              <a:off x="7079019" y="3625432"/>
              <a:ext cx="1194231" cy="2533981"/>
            </a:xfrm>
            <a:prstGeom prst="bentConnector3">
              <a:avLst>
                <a:gd name="adj1" fmla="val 778"/>
              </a:avLst>
            </a:prstGeom>
            <a:ln>
              <a:solidFill>
                <a:srgbClr val="70AD47"/>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10" name="Elbow Connector 409"/>
            <p:cNvCxnSpPr>
              <a:stCxn id="79" idx="19"/>
            </p:cNvCxnSpPr>
            <p:nvPr/>
          </p:nvCxnSpPr>
          <p:spPr>
            <a:xfrm flipH="1" flipV="1">
              <a:off x="3329915" y="1098385"/>
              <a:ext cx="1400725" cy="196875"/>
            </a:xfrm>
            <a:prstGeom prst="bentConnector3">
              <a:avLst>
                <a:gd name="adj1" fmla="val 3119"/>
              </a:avLst>
            </a:prstGeom>
            <a:ln>
              <a:solidFill>
                <a:srgbClr val="70AD47"/>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13" name="Elbow Connector 412"/>
            <p:cNvCxnSpPr>
              <a:stCxn id="81" idx="37"/>
            </p:cNvCxnSpPr>
            <p:nvPr/>
          </p:nvCxnSpPr>
          <p:spPr>
            <a:xfrm flipH="1" flipV="1">
              <a:off x="3158215" y="2067098"/>
              <a:ext cx="1391727" cy="517829"/>
            </a:xfrm>
            <a:prstGeom prst="bentConnector3">
              <a:avLst>
                <a:gd name="adj1" fmla="val 36858"/>
              </a:avLst>
            </a:prstGeom>
            <a:ln>
              <a:solidFill>
                <a:srgbClr val="70AD47"/>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16" name="Elbow Connector 415"/>
            <p:cNvCxnSpPr/>
            <p:nvPr/>
          </p:nvCxnSpPr>
          <p:spPr>
            <a:xfrm rot="16200000" flipH="1">
              <a:off x="2638838" y="3651482"/>
              <a:ext cx="1204366" cy="990209"/>
            </a:xfrm>
            <a:prstGeom prst="bentConnector3">
              <a:avLst/>
            </a:prstGeom>
            <a:ln>
              <a:solidFill>
                <a:srgbClr val="70AD47"/>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20" name="Straight Arrow Connector 419"/>
            <p:cNvCxnSpPr>
              <a:stCxn id="88" idx="23"/>
            </p:cNvCxnSpPr>
            <p:nvPr/>
          </p:nvCxnSpPr>
          <p:spPr>
            <a:xfrm flipH="1" flipV="1">
              <a:off x="2547967" y="4733109"/>
              <a:ext cx="267151" cy="46140"/>
            </a:xfrm>
            <a:prstGeom prst="straightConnector1">
              <a:avLst/>
            </a:prstGeom>
            <a:ln>
              <a:solidFill>
                <a:srgbClr val="70AD47"/>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grpSp>
      <p:sp>
        <p:nvSpPr>
          <p:cNvPr id="2" name="Rectangle 1"/>
          <p:cNvSpPr/>
          <p:nvPr/>
        </p:nvSpPr>
        <p:spPr>
          <a:xfrm>
            <a:off x="285274" y="5852248"/>
            <a:ext cx="4953000" cy="592726"/>
          </a:xfrm>
          <a:prstGeom prst="rect">
            <a:avLst/>
          </a:prstGeom>
        </p:spPr>
        <p:txBody>
          <a:bodyPr>
            <a:spAutoFit/>
          </a:bodyPr>
          <a:lstStyle/>
          <a:p>
            <a:pPr lvl="0"/>
            <a:r>
              <a:rPr lang="en-US" sz="813" i="1" u="sng" dirty="0">
                <a:solidFill>
                  <a:prstClr val="black"/>
                </a:solidFill>
              </a:rPr>
              <a:t>Notes</a:t>
            </a:r>
          </a:p>
          <a:p>
            <a:pPr lvl="0"/>
            <a:r>
              <a:rPr lang="en-US" sz="813" i="1" dirty="0">
                <a:solidFill>
                  <a:prstClr val="black"/>
                </a:solidFill>
              </a:rPr>
              <a:t>*Bigger Circles/Pie charts shows consortia grants</a:t>
            </a:r>
          </a:p>
          <a:p>
            <a:pPr lvl="0"/>
            <a:r>
              <a:rPr lang="en-US" sz="813" i="1" dirty="0">
                <a:solidFill>
                  <a:prstClr val="black"/>
                </a:solidFill>
              </a:rPr>
              <a:t>*Smaller circle shows stand alone/gap filling grants.</a:t>
            </a:r>
          </a:p>
          <a:p>
            <a:pPr lvl="0"/>
            <a:r>
              <a:rPr lang="en-US" sz="813" i="1" dirty="0">
                <a:solidFill>
                  <a:prstClr val="black"/>
                </a:solidFill>
              </a:rPr>
              <a:t>*Circles/Pie charts leaning on the county outline illustrates grants covering multiple locations</a:t>
            </a:r>
            <a:endParaRPr lang="en-GB" sz="813" i="1" dirty="0">
              <a:solidFill>
                <a:prstClr val="black"/>
              </a:solidFill>
            </a:endParaRPr>
          </a:p>
        </p:txBody>
      </p:sp>
      <p:sp>
        <p:nvSpPr>
          <p:cNvPr id="192" name="Oval 191"/>
          <p:cNvSpPr/>
          <p:nvPr/>
        </p:nvSpPr>
        <p:spPr>
          <a:xfrm>
            <a:off x="-41281" y="1475632"/>
            <a:ext cx="290215" cy="28253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38" b="1" dirty="0">
                <a:solidFill>
                  <a:schemeClr val="tx1"/>
                </a:solidFill>
              </a:rPr>
              <a:t>1</a:t>
            </a:r>
            <a:endParaRPr lang="en-GB" sz="1138" b="1" dirty="0">
              <a:solidFill>
                <a:schemeClr val="tx1"/>
              </a:solidFill>
            </a:endParaRPr>
          </a:p>
        </p:txBody>
      </p:sp>
      <p:sp>
        <p:nvSpPr>
          <p:cNvPr id="193" name="Oval 192"/>
          <p:cNvSpPr/>
          <p:nvPr/>
        </p:nvSpPr>
        <p:spPr>
          <a:xfrm>
            <a:off x="-61313" y="2281532"/>
            <a:ext cx="290215" cy="28253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38" b="1" dirty="0">
                <a:solidFill>
                  <a:schemeClr val="tx1"/>
                </a:solidFill>
              </a:rPr>
              <a:t>2</a:t>
            </a:r>
            <a:endParaRPr lang="en-GB" sz="1138" b="1" dirty="0">
              <a:solidFill>
                <a:schemeClr val="tx1"/>
              </a:solidFill>
            </a:endParaRPr>
          </a:p>
        </p:txBody>
      </p:sp>
      <p:sp>
        <p:nvSpPr>
          <p:cNvPr id="194" name="Oval 193"/>
          <p:cNvSpPr/>
          <p:nvPr/>
        </p:nvSpPr>
        <p:spPr>
          <a:xfrm>
            <a:off x="-64402" y="3240191"/>
            <a:ext cx="290215" cy="28253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38" b="1" dirty="0">
                <a:solidFill>
                  <a:schemeClr val="tx1"/>
                </a:solidFill>
              </a:rPr>
              <a:t>3</a:t>
            </a:r>
            <a:endParaRPr lang="en-GB" sz="1138" b="1" dirty="0">
              <a:solidFill>
                <a:schemeClr val="tx1"/>
              </a:solidFill>
            </a:endParaRPr>
          </a:p>
        </p:txBody>
      </p:sp>
      <p:sp>
        <p:nvSpPr>
          <p:cNvPr id="195" name="Oval 194"/>
          <p:cNvSpPr/>
          <p:nvPr/>
        </p:nvSpPr>
        <p:spPr>
          <a:xfrm>
            <a:off x="-20368" y="4164793"/>
            <a:ext cx="290215" cy="28253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38" b="1" dirty="0">
                <a:solidFill>
                  <a:schemeClr val="tx1"/>
                </a:solidFill>
              </a:rPr>
              <a:t>4</a:t>
            </a:r>
            <a:endParaRPr lang="en-GB" sz="1138" b="1" dirty="0">
              <a:solidFill>
                <a:schemeClr val="tx1"/>
              </a:solidFill>
            </a:endParaRPr>
          </a:p>
        </p:txBody>
      </p:sp>
      <p:sp>
        <p:nvSpPr>
          <p:cNvPr id="196" name="Oval 195"/>
          <p:cNvSpPr/>
          <p:nvPr/>
        </p:nvSpPr>
        <p:spPr>
          <a:xfrm>
            <a:off x="6134318" y="1491091"/>
            <a:ext cx="290215" cy="28253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38" b="1" dirty="0">
                <a:solidFill>
                  <a:schemeClr val="tx1"/>
                </a:solidFill>
              </a:rPr>
              <a:t>5</a:t>
            </a:r>
            <a:endParaRPr lang="en-GB" sz="1138" b="1" dirty="0">
              <a:solidFill>
                <a:schemeClr val="tx1"/>
              </a:solidFill>
            </a:endParaRPr>
          </a:p>
        </p:txBody>
      </p:sp>
      <p:sp>
        <p:nvSpPr>
          <p:cNvPr id="197" name="Oval 196"/>
          <p:cNvSpPr/>
          <p:nvPr/>
        </p:nvSpPr>
        <p:spPr>
          <a:xfrm>
            <a:off x="6166719" y="2106470"/>
            <a:ext cx="290215" cy="28253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38" b="1" dirty="0">
                <a:solidFill>
                  <a:schemeClr val="tx1"/>
                </a:solidFill>
              </a:rPr>
              <a:t>6</a:t>
            </a:r>
            <a:endParaRPr lang="en-GB" sz="1138" b="1" dirty="0">
              <a:solidFill>
                <a:schemeClr val="tx1"/>
              </a:solidFill>
            </a:endParaRPr>
          </a:p>
        </p:txBody>
      </p:sp>
      <p:sp>
        <p:nvSpPr>
          <p:cNvPr id="409" name="Oval 408"/>
          <p:cNvSpPr/>
          <p:nvPr/>
        </p:nvSpPr>
        <p:spPr>
          <a:xfrm>
            <a:off x="6345091" y="2870809"/>
            <a:ext cx="290215" cy="28253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38" b="1" dirty="0">
                <a:solidFill>
                  <a:schemeClr val="tx1"/>
                </a:solidFill>
              </a:rPr>
              <a:t>7</a:t>
            </a:r>
            <a:endParaRPr lang="en-GB" sz="1138" b="1" dirty="0">
              <a:solidFill>
                <a:schemeClr val="tx1"/>
              </a:solidFill>
            </a:endParaRPr>
          </a:p>
        </p:txBody>
      </p:sp>
      <p:sp>
        <p:nvSpPr>
          <p:cNvPr id="411" name="Oval 410"/>
          <p:cNvSpPr/>
          <p:nvPr/>
        </p:nvSpPr>
        <p:spPr>
          <a:xfrm>
            <a:off x="7174035" y="3655251"/>
            <a:ext cx="290215" cy="28253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38" b="1" dirty="0">
                <a:solidFill>
                  <a:schemeClr val="tx1"/>
                </a:solidFill>
              </a:rPr>
              <a:t>8</a:t>
            </a:r>
            <a:endParaRPr lang="en-GB" sz="1138" b="1" dirty="0">
              <a:solidFill>
                <a:schemeClr val="tx1"/>
              </a:solidFill>
            </a:endParaRPr>
          </a:p>
        </p:txBody>
      </p:sp>
      <p:sp>
        <p:nvSpPr>
          <p:cNvPr id="412" name="Oval 411"/>
          <p:cNvSpPr/>
          <p:nvPr/>
        </p:nvSpPr>
        <p:spPr>
          <a:xfrm>
            <a:off x="6919547" y="4493613"/>
            <a:ext cx="290215" cy="28253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38" b="1" dirty="0">
                <a:solidFill>
                  <a:schemeClr val="tx1"/>
                </a:solidFill>
              </a:rPr>
              <a:t>9</a:t>
            </a:r>
            <a:endParaRPr lang="en-GB" sz="1138" b="1" dirty="0">
              <a:solidFill>
                <a:schemeClr val="tx1"/>
              </a:solidFill>
            </a:endParaRPr>
          </a:p>
        </p:txBody>
      </p:sp>
      <p:sp>
        <p:nvSpPr>
          <p:cNvPr id="414" name="Oval 413"/>
          <p:cNvSpPr/>
          <p:nvPr/>
        </p:nvSpPr>
        <p:spPr>
          <a:xfrm>
            <a:off x="6556920" y="5406353"/>
            <a:ext cx="563253" cy="28253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38" b="1" dirty="0">
                <a:solidFill>
                  <a:schemeClr val="tx1"/>
                </a:solidFill>
              </a:rPr>
              <a:t>10</a:t>
            </a:r>
            <a:endParaRPr lang="en-GB" sz="1138" b="1" dirty="0">
              <a:solidFill>
                <a:schemeClr val="tx1"/>
              </a:solidFill>
            </a:endParaRPr>
          </a:p>
        </p:txBody>
      </p:sp>
      <p:sp>
        <p:nvSpPr>
          <p:cNvPr id="415" name="TextBox 414"/>
          <p:cNvSpPr txBox="1"/>
          <p:nvPr/>
        </p:nvSpPr>
        <p:spPr>
          <a:xfrm>
            <a:off x="6907871" y="5150960"/>
            <a:ext cx="3005617" cy="780342"/>
          </a:xfrm>
          <a:prstGeom prst="rect">
            <a:avLst/>
          </a:prstGeom>
          <a:noFill/>
        </p:spPr>
        <p:txBody>
          <a:bodyPr wrap="square" rtlCol="0">
            <a:spAutoFit/>
          </a:bodyPr>
          <a:lstStyle/>
          <a:p>
            <a:r>
              <a:rPr lang="en-US" sz="894" b="1" dirty="0" smtClean="0">
                <a:solidFill>
                  <a:schemeClr val="tx1">
                    <a:lumMod val="95000"/>
                    <a:lumOff val="5000"/>
                  </a:schemeClr>
                </a:solidFill>
              </a:rPr>
              <a:t>Grant </a:t>
            </a:r>
            <a:r>
              <a:rPr lang="en-US" sz="894" b="1" dirty="0">
                <a:solidFill>
                  <a:schemeClr val="tx1">
                    <a:lumMod val="95000"/>
                    <a:lumOff val="5000"/>
                  </a:schemeClr>
                </a:solidFill>
              </a:rPr>
              <a:t>Title: </a:t>
            </a:r>
            <a:r>
              <a:rPr lang="en-GB" sz="894" dirty="0">
                <a:solidFill>
                  <a:schemeClr val="tx1">
                    <a:lumMod val="95000"/>
                    <a:lumOff val="5000"/>
                  </a:schemeClr>
                </a:solidFill>
              </a:rPr>
              <a:t>Strengthening Seed Certification Capacity as an Intervention to address Seed Quality Problems in Ethiopia</a:t>
            </a:r>
            <a:endParaRPr lang="en-US" sz="894" dirty="0">
              <a:solidFill>
                <a:schemeClr val="tx1">
                  <a:lumMod val="95000"/>
                  <a:lumOff val="5000"/>
                </a:schemeClr>
              </a:solidFill>
            </a:endParaRPr>
          </a:p>
          <a:p>
            <a:pPr algn="just"/>
            <a:r>
              <a:rPr lang="en-US" sz="894" b="1" dirty="0">
                <a:solidFill>
                  <a:schemeClr val="tx1">
                    <a:lumMod val="95000"/>
                    <a:lumOff val="5000"/>
                  </a:schemeClr>
                </a:solidFill>
              </a:rPr>
              <a:t>Coverage</a:t>
            </a:r>
            <a:r>
              <a:rPr lang="en-US" sz="894" dirty="0"/>
              <a:t>: </a:t>
            </a:r>
            <a:r>
              <a:rPr lang="en-GB" sz="894" dirty="0">
                <a:solidFill>
                  <a:schemeClr val="tx1">
                    <a:lumMod val="95000"/>
                    <a:lumOff val="5000"/>
                  </a:schemeClr>
                </a:solidFill>
              </a:rPr>
              <a:t>National</a:t>
            </a:r>
          </a:p>
          <a:p>
            <a:pPr algn="just"/>
            <a:endParaRPr lang="en-GB" sz="894" dirty="0"/>
          </a:p>
        </p:txBody>
      </p:sp>
      <p:sp>
        <p:nvSpPr>
          <p:cNvPr id="4" name="Title 3"/>
          <p:cNvSpPr>
            <a:spLocks noGrp="1"/>
          </p:cNvSpPr>
          <p:nvPr>
            <p:ph type="title"/>
          </p:nvPr>
        </p:nvSpPr>
        <p:spPr/>
        <p:txBody>
          <a:bodyPr/>
          <a:lstStyle/>
          <a:p>
            <a:pPr lvl="0"/>
            <a:r>
              <a:rPr lang="en-US" altLang="en-US" sz="2000" dirty="0">
                <a:solidFill>
                  <a:srgbClr val="000000"/>
                </a:solidFill>
              </a:rPr>
              <a:t>Approved</a:t>
            </a:r>
            <a:r>
              <a:rPr lang="en-US" altLang="en-US" sz="2000" dirty="0">
                <a:solidFill>
                  <a:srgbClr val="000000"/>
                </a:solidFill>
                <a:latin typeface="Times New Roman" panose="02020603050405020304" pitchFamily="18" charset="0"/>
                <a:cs typeface="Times New Roman" panose="02020603050405020304" pitchFamily="18" charset="0"/>
              </a:rPr>
              <a:t> </a:t>
            </a:r>
            <a:r>
              <a:rPr lang="en-US" altLang="en-US" sz="2000" dirty="0">
                <a:solidFill>
                  <a:srgbClr val="000000"/>
                </a:solidFill>
              </a:rPr>
              <a:t>Grants, Ethiopia; 2017- March </a:t>
            </a:r>
            <a:r>
              <a:rPr lang="en-US" altLang="en-US" sz="2000" dirty="0" smtClean="0">
                <a:solidFill>
                  <a:srgbClr val="000000"/>
                </a:solidFill>
              </a:rPr>
              <a:t>2019</a:t>
            </a:r>
            <a:endParaRPr lang="en-US" dirty="0"/>
          </a:p>
        </p:txBody>
      </p:sp>
    </p:spTree>
    <p:extLst>
      <p:ext uri="{BB962C8B-B14F-4D97-AF65-F5344CB8AC3E}">
        <p14:creationId xmlns:p14="http://schemas.microsoft.com/office/powerpoint/2010/main" val="3631970634"/>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450740" y="134053"/>
            <a:ext cx="7245459" cy="582389"/>
          </a:xfrm>
          <a:prstGeom prst="rect">
            <a:avLst/>
          </a:prstGeom>
          <a:noFill/>
          <a:ln>
            <a:noFill/>
          </a:ln>
        </p:spPr>
        <p:txBody>
          <a:bodyPr spcFirstLastPara="1" wrap="square" lIns="0" tIns="0" rIns="0" bIns="0" anchor="b" anchorCtr="0"/>
          <a:lstStyle>
            <a:defPPr marR="0" lvl="0" algn="l" rtl="0">
              <a:lnSpc>
                <a:spcPct val="100000"/>
              </a:lnSpc>
              <a:spcBef>
                <a:spcPts val="0"/>
              </a:spcBef>
              <a:spcAft>
                <a:spcPts val="0"/>
              </a:spcAft>
            </a:defPPr>
            <a:lvl1pPr marL="0" indent="0" defTabSz="914395" eaLnBrk="1" fontAlgn="auto" latinLnBrk="0" hangingPunct="1">
              <a:lnSpc>
                <a:spcPct val="90000"/>
              </a:lnSpc>
              <a:buClr>
                <a:schemeClr val="dk1"/>
              </a:buClr>
              <a:buSzPts val="2200"/>
              <a:buNone/>
              <a:tabLst/>
              <a:defRPr lang="en-US" sz="2200" b="1" smtClean="0">
                <a:solidFill>
                  <a:schemeClr val="dk1"/>
                </a:solidFill>
              </a:defRPr>
            </a:lvl1pPr>
          </a:lstStyle>
          <a:p>
            <a:r>
              <a:rPr lang="en-US" dirty="0"/>
              <a:t>Details of </a:t>
            </a:r>
            <a:r>
              <a:rPr lang="en-US" dirty="0" smtClean="0"/>
              <a:t>Existing Investments </a:t>
            </a:r>
            <a:r>
              <a:rPr lang="en-US" dirty="0"/>
              <a:t>in </a:t>
            </a:r>
            <a:r>
              <a:rPr lang="en-US" dirty="0" smtClean="0"/>
              <a:t>Ethiopia</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1347938902"/>
              </p:ext>
            </p:extLst>
          </p:nvPr>
        </p:nvGraphicFramePr>
        <p:xfrm>
          <a:off x="376313" y="1051034"/>
          <a:ext cx="9132730" cy="4907355"/>
        </p:xfrm>
        <a:graphic>
          <a:graphicData uri="http://schemas.openxmlformats.org/drawingml/2006/table">
            <a:tbl>
              <a:tblPr firstRow="1" bandRow="1">
                <a:tableStyleId>{41E0FAD3-7C2D-4B5A-B7BA-DEB1A53D0DEB}</a:tableStyleId>
              </a:tblPr>
              <a:tblGrid>
                <a:gridCol w="1177500">
                  <a:extLst>
                    <a:ext uri="{9D8B030D-6E8A-4147-A177-3AD203B41FA5}">
                      <a16:colId xmlns:a16="http://schemas.microsoft.com/office/drawing/2014/main" val="20000"/>
                    </a:ext>
                  </a:extLst>
                </a:gridCol>
                <a:gridCol w="3438601">
                  <a:extLst>
                    <a:ext uri="{9D8B030D-6E8A-4147-A177-3AD203B41FA5}">
                      <a16:colId xmlns:a16="http://schemas.microsoft.com/office/drawing/2014/main" val="20001"/>
                    </a:ext>
                  </a:extLst>
                </a:gridCol>
                <a:gridCol w="3004406">
                  <a:extLst>
                    <a:ext uri="{9D8B030D-6E8A-4147-A177-3AD203B41FA5}">
                      <a16:colId xmlns:a16="http://schemas.microsoft.com/office/drawing/2014/main" val="20003"/>
                    </a:ext>
                  </a:extLst>
                </a:gridCol>
                <a:gridCol w="1512223">
                  <a:extLst>
                    <a:ext uri="{9D8B030D-6E8A-4147-A177-3AD203B41FA5}">
                      <a16:colId xmlns:a16="http://schemas.microsoft.com/office/drawing/2014/main" val="4101559693"/>
                    </a:ext>
                  </a:extLst>
                </a:gridCol>
              </a:tblGrid>
              <a:tr h="431811">
                <a:tc>
                  <a:txBody>
                    <a:bodyPr/>
                    <a:lstStyle/>
                    <a:p>
                      <a:r>
                        <a:rPr lang="en-US" sz="1200" dirty="0" smtClean="0">
                          <a:latin typeface="+mn-lt"/>
                        </a:rPr>
                        <a:t>Area of Work</a:t>
                      </a:r>
                      <a:endParaRPr lang="en-US" sz="1200" dirty="0">
                        <a:latin typeface="+mn-lt"/>
                      </a:endParaRPr>
                    </a:p>
                  </a:txBody>
                  <a:tcPr/>
                </a:tc>
                <a:tc>
                  <a:txBody>
                    <a:bodyPr/>
                    <a:lstStyle/>
                    <a:p>
                      <a:r>
                        <a:rPr lang="en-US" sz="1200" dirty="0" smtClean="0">
                          <a:latin typeface="+mn-lt"/>
                        </a:rPr>
                        <a:t>Description</a:t>
                      </a:r>
                      <a:endParaRPr lang="en-US" sz="1200" dirty="0">
                        <a:latin typeface="+mn-lt"/>
                      </a:endParaRPr>
                    </a:p>
                  </a:txBody>
                  <a:tcPr/>
                </a:tc>
                <a:tc>
                  <a:txBody>
                    <a:bodyPr/>
                    <a:lstStyle/>
                    <a:p>
                      <a:r>
                        <a:rPr lang="en-US" sz="1200" dirty="0" smtClean="0">
                          <a:latin typeface="+mn-lt"/>
                        </a:rPr>
                        <a:t>Rationale</a:t>
                      </a:r>
                      <a:endParaRPr lang="en-US" sz="1200" dirty="0">
                        <a:latin typeface="+mn-lt"/>
                      </a:endParaRPr>
                    </a:p>
                  </a:txBody>
                  <a:tcPr/>
                </a:tc>
                <a:tc>
                  <a:txBody>
                    <a:bodyPr/>
                    <a:lstStyle/>
                    <a:p>
                      <a:r>
                        <a:rPr lang="en-US" sz="1200" dirty="0" smtClean="0">
                          <a:latin typeface="+mn-lt"/>
                        </a:rPr>
                        <a:t>Target</a:t>
                      </a:r>
                      <a:r>
                        <a:rPr lang="en-US" sz="1200" baseline="0" dirty="0" smtClean="0">
                          <a:latin typeface="+mn-lt"/>
                        </a:rPr>
                        <a:t> Population</a:t>
                      </a:r>
                      <a:endParaRPr lang="en-US" sz="1200" dirty="0">
                        <a:latin typeface="+mn-lt"/>
                      </a:endParaRPr>
                    </a:p>
                  </a:txBody>
                  <a:tcPr/>
                </a:tc>
                <a:extLst>
                  <a:ext uri="{0D108BD9-81ED-4DB2-BD59-A6C34878D82A}">
                    <a16:rowId xmlns:a16="http://schemas.microsoft.com/office/drawing/2014/main" val="10000"/>
                  </a:ext>
                </a:extLst>
              </a:tr>
              <a:tr h="1010973">
                <a:tc rowSpan="2">
                  <a:txBody>
                    <a:bodyPr/>
                    <a:lstStyle/>
                    <a:p>
                      <a:r>
                        <a:rPr lang="en-US" sz="1100" b="1" dirty="0" smtClean="0">
                          <a:latin typeface="+mn-lt"/>
                        </a:rPr>
                        <a:t>Policy and State Capacity </a:t>
                      </a:r>
                      <a:endParaRPr lang="en-US" sz="1100" b="1" dirty="0">
                        <a:latin typeface="+mn-lt"/>
                      </a:endParaRPr>
                    </a:p>
                  </a:txBody>
                  <a:tcPr/>
                </a:tc>
                <a:tc>
                  <a:txBody>
                    <a:bodyPr/>
                    <a:lstStyle/>
                    <a:p>
                      <a:r>
                        <a:rPr lang="en-US" sz="1100" b="1" i="0" u="none" strike="noStrike" cap="none" dirty="0" smtClean="0">
                          <a:solidFill>
                            <a:schemeClr val="dk1"/>
                          </a:solidFill>
                          <a:effectLst/>
                          <a:latin typeface="Calibri"/>
                          <a:ea typeface="Calibri"/>
                          <a:cs typeface="Calibri"/>
                          <a:sym typeface="Arial"/>
                        </a:rPr>
                        <a:t>Policy enabling environment</a:t>
                      </a:r>
                    </a:p>
                    <a:p>
                      <a:r>
                        <a:rPr lang="en-US" sz="1100" b="0" i="0" u="none" strike="noStrike" cap="none" dirty="0" smtClean="0">
                          <a:solidFill>
                            <a:schemeClr val="dk1"/>
                          </a:solidFill>
                          <a:effectLst/>
                          <a:latin typeface="Calibri"/>
                          <a:ea typeface="Calibri"/>
                          <a:cs typeface="Calibri"/>
                          <a:sym typeface="Arial"/>
                        </a:rPr>
                        <a:t>Operationalization of Plant Breeders' Right</a:t>
                      </a:r>
                      <a:endParaRPr lang="en-US" sz="1100" dirty="0" smtClean="0">
                        <a:latin typeface="+mn-lt"/>
                      </a:endParaRPr>
                    </a:p>
                  </a:txBody>
                  <a:tcPr/>
                </a:tc>
                <a:tc>
                  <a:txBody>
                    <a:bodyPr/>
                    <a:lstStyle/>
                    <a:p>
                      <a:pPr marL="171450" indent="-171450">
                        <a:buFont typeface="Arial" panose="020B0604020202020204" pitchFamily="34" charset="0"/>
                        <a:buChar char="•"/>
                      </a:pPr>
                      <a:r>
                        <a:rPr lang="en-US" sz="1100" b="0" i="0" u="none" strike="noStrike" cap="none" dirty="0" smtClean="0">
                          <a:solidFill>
                            <a:schemeClr val="dk1"/>
                          </a:solidFill>
                          <a:effectLst/>
                          <a:latin typeface="Calibri"/>
                          <a:ea typeface="Calibri"/>
                          <a:cs typeface="Calibri"/>
                          <a:sym typeface="Arial"/>
                        </a:rPr>
                        <a:t>The plant breeders' right will create incentives for researchers by allowing them to benefit through royalties and aid in technology</a:t>
                      </a:r>
                      <a:r>
                        <a:rPr lang="en-US" sz="1100" b="0" i="0" u="none" strike="noStrike" cap="none" baseline="0" dirty="0" smtClean="0">
                          <a:solidFill>
                            <a:schemeClr val="dk1"/>
                          </a:solidFill>
                          <a:effectLst/>
                          <a:latin typeface="Calibri"/>
                          <a:ea typeface="Calibri"/>
                          <a:cs typeface="Calibri"/>
                          <a:sym typeface="Arial"/>
                        </a:rPr>
                        <a:t> generation and promotion and ensures the quality and relevance of research</a:t>
                      </a:r>
                      <a:endParaRPr lang="en-US" sz="1100" dirty="0">
                        <a:latin typeface="+mn-lt"/>
                      </a:endParaRPr>
                    </a:p>
                  </a:txBody>
                  <a:tcPr/>
                </a:tc>
                <a:tc>
                  <a:txBody>
                    <a:bodyPr/>
                    <a:lstStyle/>
                    <a:p>
                      <a:r>
                        <a:rPr lang="en-US" sz="1100" b="0" i="0" u="none" strike="noStrike" cap="none" dirty="0" smtClean="0">
                          <a:solidFill>
                            <a:schemeClr val="dk1"/>
                          </a:solidFill>
                          <a:effectLst/>
                          <a:latin typeface="Calibri"/>
                          <a:ea typeface="Calibri"/>
                          <a:cs typeface="Calibri"/>
                          <a:sym typeface="Arial"/>
                        </a:rPr>
                        <a:t>National</a:t>
                      </a:r>
                      <a:endParaRPr lang="en-US" sz="1100" dirty="0">
                        <a:latin typeface="+mn-lt"/>
                      </a:endParaRPr>
                    </a:p>
                  </a:txBody>
                  <a:tcPr/>
                </a:tc>
                <a:extLst>
                  <a:ext uri="{0D108BD9-81ED-4DB2-BD59-A6C34878D82A}">
                    <a16:rowId xmlns:a16="http://schemas.microsoft.com/office/drawing/2014/main" val="10001"/>
                  </a:ext>
                </a:extLst>
              </a:tr>
              <a:tr h="745317">
                <a:tc vMerge="1">
                  <a:txBody>
                    <a:bodyPr/>
                    <a:lstStyle/>
                    <a:p>
                      <a:endParaRPr lang="en-US" sz="1200" dirty="0">
                        <a:latin typeface="+mn-lt"/>
                      </a:endParaRPr>
                    </a:p>
                  </a:txBody>
                  <a:tcPr/>
                </a:tc>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1100" b="1" i="0" u="none" strike="noStrike" cap="none" dirty="0" smtClean="0">
                          <a:solidFill>
                            <a:schemeClr val="dk1"/>
                          </a:solidFill>
                          <a:effectLst/>
                          <a:latin typeface="Calibri"/>
                          <a:ea typeface="Calibri"/>
                          <a:cs typeface="Calibri"/>
                          <a:sym typeface="Arial"/>
                        </a:rPr>
                        <a:t>Policy enabling environment</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100" b="0" i="0" u="none" strike="noStrike" cap="none" dirty="0" smtClean="0">
                          <a:solidFill>
                            <a:schemeClr val="dk1"/>
                          </a:solidFill>
                          <a:effectLst/>
                          <a:latin typeface="Calibri"/>
                          <a:ea typeface="Calibri"/>
                          <a:cs typeface="Calibri"/>
                          <a:sym typeface="Arial"/>
                        </a:rPr>
                        <a:t>Development of a National Agricultural Trade Policy(</a:t>
                      </a:r>
                      <a:r>
                        <a:rPr lang="en-US" sz="1100" b="0" i="0" u="none" strike="noStrike" cap="none" dirty="0" err="1" smtClean="0">
                          <a:solidFill>
                            <a:schemeClr val="dk1"/>
                          </a:solidFill>
                          <a:effectLst/>
                          <a:latin typeface="Calibri"/>
                          <a:ea typeface="Calibri"/>
                          <a:cs typeface="Calibri"/>
                          <a:sym typeface="Arial"/>
                        </a:rPr>
                        <a:t>NATP</a:t>
                      </a:r>
                      <a:r>
                        <a:rPr lang="en-US" sz="1100" b="0" i="0" u="none" strike="noStrike" cap="none" dirty="0" smtClean="0">
                          <a:solidFill>
                            <a:schemeClr val="dk1"/>
                          </a:solidFill>
                          <a:effectLst/>
                          <a:latin typeface="Calibri"/>
                          <a:ea typeface="Calibri"/>
                          <a:cs typeface="Calibri"/>
                          <a:sym typeface="Arial"/>
                        </a:rPr>
                        <a:t>) for the Federal Democratic Republic of Ethiopia</a:t>
                      </a:r>
                      <a:endParaRPr lang="en-US" sz="1100" dirty="0" smtClean="0">
                        <a:latin typeface="+mn-lt"/>
                      </a:endParaRPr>
                    </a:p>
                  </a:txBody>
                  <a:tcPr/>
                </a:tc>
                <a:tc>
                  <a:txBody>
                    <a:bodyPr/>
                    <a:lstStyle/>
                    <a:p>
                      <a:pPr marL="171450" indent="-171450">
                        <a:buFont typeface="Arial" panose="020B0604020202020204" pitchFamily="34" charset="0"/>
                        <a:buChar char="•"/>
                      </a:pPr>
                      <a:r>
                        <a:rPr lang="en-US" sz="1100" dirty="0" smtClean="0">
                          <a:latin typeface="+mn-lt"/>
                        </a:rPr>
                        <a:t>The Ministry of Trade as a government agency mandated to lead and regulate agricultural marketing and trade needs a coherent policy vision to effectively execute its mandate.</a:t>
                      </a:r>
                      <a:endParaRPr lang="en-US" sz="1100" dirty="0">
                        <a:latin typeface="+mn-lt"/>
                      </a:endParaRPr>
                    </a:p>
                  </a:txBody>
                  <a:tcPr/>
                </a:tc>
                <a:tc>
                  <a:txBody>
                    <a:bodyPr/>
                    <a:lstStyle/>
                    <a:p>
                      <a:r>
                        <a:rPr lang="en-US" sz="1100" b="0" i="0" u="none" strike="noStrike" cap="none" dirty="0" smtClean="0">
                          <a:solidFill>
                            <a:schemeClr val="dk1"/>
                          </a:solidFill>
                          <a:effectLst/>
                          <a:latin typeface="Calibri"/>
                          <a:ea typeface="Calibri"/>
                          <a:cs typeface="Calibri"/>
                          <a:sym typeface="Arial"/>
                        </a:rPr>
                        <a:t>National</a:t>
                      </a:r>
                      <a:endParaRPr lang="en-US" sz="1100" dirty="0">
                        <a:latin typeface="+mn-lt"/>
                      </a:endParaRPr>
                    </a:p>
                  </a:txBody>
                  <a:tcPr/>
                </a:tc>
                <a:extLst>
                  <a:ext uri="{0D108BD9-81ED-4DB2-BD59-A6C34878D82A}">
                    <a16:rowId xmlns:a16="http://schemas.microsoft.com/office/drawing/2014/main" val="10002"/>
                  </a:ext>
                </a:extLst>
              </a:tr>
              <a:tr h="1810056">
                <a:tc rowSpan="2">
                  <a:txBody>
                    <a:bodyPr/>
                    <a:lstStyle/>
                    <a:p>
                      <a:endParaRPr lang="en-US" sz="1100" b="1" dirty="0">
                        <a:latin typeface="+mn-lt"/>
                      </a:endParaRPr>
                    </a:p>
                  </a:txBody>
                  <a:tcPr/>
                </a:tc>
                <a:tc>
                  <a:txBody>
                    <a:bodyPr/>
                    <a:lstStyle/>
                    <a:p>
                      <a:r>
                        <a:rPr lang="en-US" sz="1100" b="1" i="0" u="none" strike="noStrike" cap="none" dirty="0" smtClean="0">
                          <a:solidFill>
                            <a:schemeClr val="dk1"/>
                          </a:solidFill>
                          <a:effectLst/>
                          <a:latin typeface="Calibri"/>
                          <a:ea typeface="Calibri"/>
                          <a:cs typeface="Calibri"/>
                          <a:sym typeface="Arial"/>
                        </a:rPr>
                        <a:t>State capacity building / implementation support</a:t>
                      </a:r>
                    </a:p>
                    <a:p>
                      <a:pPr marL="285750" indent="-285750">
                        <a:buFont typeface="Arial" panose="020B0604020202020204" pitchFamily="34" charset="0"/>
                        <a:buChar char="•"/>
                      </a:pPr>
                      <a:r>
                        <a:rPr lang="en-US" sz="1100" b="0" i="0" u="none" strike="noStrike" cap="none" dirty="0" smtClean="0">
                          <a:solidFill>
                            <a:schemeClr val="dk1"/>
                          </a:solidFill>
                          <a:effectLst/>
                          <a:latin typeface="Calibri"/>
                          <a:ea typeface="Calibri"/>
                          <a:cs typeface="Calibri"/>
                          <a:sym typeface="Arial"/>
                        </a:rPr>
                        <a:t>Institutional Capacity Development for the Ministry of Agriculture and Affiliated Institutions in Ethiopia </a:t>
                      </a:r>
                    </a:p>
                    <a:p>
                      <a:pPr marL="285750" indent="-285750">
                        <a:buFont typeface="Arial" panose="020B0604020202020204" pitchFamily="34" charset="0"/>
                        <a:buChar char="•"/>
                      </a:pPr>
                      <a:r>
                        <a:rPr lang="en-US" sz="1100" b="0" i="0" u="none" strike="noStrike" cap="none" dirty="0" smtClean="0">
                          <a:solidFill>
                            <a:schemeClr val="dk1"/>
                          </a:solidFill>
                          <a:effectLst/>
                          <a:latin typeface="Calibri"/>
                          <a:ea typeface="Calibri"/>
                          <a:cs typeface="Calibri"/>
                          <a:sym typeface="Arial"/>
                        </a:rPr>
                        <a:t>Agribusiness Technical Assistance for Participatory Small-scale Irrigation Development </a:t>
                      </a:r>
                      <a:r>
                        <a:rPr lang="en-US" sz="1100" b="0" i="0" u="none" strike="noStrike" cap="none" dirty="0" err="1" smtClean="0">
                          <a:solidFill>
                            <a:schemeClr val="dk1"/>
                          </a:solidFill>
                          <a:effectLst/>
                          <a:latin typeface="Calibri"/>
                          <a:ea typeface="Calibri"/>
                          <a:cs typeface="Calibri"/>
                          <a:sym typeface="Arial"/>
                        </a:rPr>
                        <a:t>Programme</a:t>
                      </a:r>
                      <a:r>
                        <a:rPr lang="en-US" sz="1100" b="0" i="0" u="none" strike="noStrike" cap="none" dirty="0" smtClean="0">
                          <a:solidFill>
                            <a:schemeClr val="dk1"/>
                          </a:solidFill>
                          <a:effectLst/>
                          <a:latin typeface="Calibri"/>
                          <a:ea typeface="Calibri"/>
                          <a:cs typeface="Calibri"/>
                          <a:sym typeface="Arial"/>
                        </a:rPr>
                        <a:t> (</a:t>
                      </a:r>
                      <a:r>
                        <a:rPr lang="en-US" sz="1100" b="0" i="0" u="none" strike="noStrike" cap="none" dirty="0" err="1" smtClean="0">
                          <a:solidFill>
                            <a:schemeClr val="dk1"/>
                          </a:solidFill>
                          <a:effectLst/>
                          <a:latin typeface="Calibri"/>
                          <a:ea typeface="Calibri"/>
                          <a:cs typeface="Calibri"/>
                          <a:sym typeface="Arial"/>
                        </a:rPr>
                        <a:t>PASIDP</a:t>
                      </a:r>
                      <a:r>
                        <a:rPr lang="en-US" sz="1100" b="0" i="0" u="none" strike="noStrike" cap="none" dirty="0" smtClean="0">
                          <a:solidFill>
                            <a:schemeClr val="dk1"/>
                          </a:solidFill>
                          <a:effectLst/>
                          <a:latin typeface="Calibri"/>
                          <a:ea typeface="Calibri"/>
                          <a:cs typeface="Calibri"/>
                          <a:sym typeface="Arial"/>
                        </a:rPr>
                        <a:t> II)</a:t>
                      </a:r>
                      <a:endParaRPr lang="en-US" sz="1100" b="0" i="0" u="none" strike="noStrike" cap="none" dirty="0">
                        <a:solidFill>
                          <a:schemeClr val="dk1"/>
                        </a:solidFill>
                        <a:effectLst/>
                        <a:latin typeface="Calibri"/>
                        <a:ea typeface="Calibri"/>
                        <a:cs typeface="Calibri"/>
                        <a:sym typeface="Arial"/>
                      </a:endParaRPr>
                    </a:p>
                  </a:txBody>
                  <a:tcPr/>
                </a:tc>
                <a:tc>
                  <a:txBody>
                    <a:bodyPr/>
                    <a:lstStyle/>
                    <a:p>
                      <a:pPr marL="171450" indent="-171450">
                        <a:buFont typeface="Arial" panose="020B0604020202020204" pitchFamily="34" charset="0"/>
                        <a:buChar char="•"/>
                      </a:pPr>
                      <a:r>
                        <a:rPr lang="en-US" sz="1100" dirty="0" smtClean="0">
                          <a:latin typeface="+mn-lt"/>
                        </a:rPr>
                        <a:t>The Ministry of Agriculture and generally the civil service system has been highly depleted of its skilled human resources due</a:t>
                      </a:r>
                      <a:r>
                        <a:rPr lang="en-US" sz="1100" baseline="0" dirty="0" smtClean="0">
                          <a:latin typeface="+mn-lt"/>
                        </a:rPr>
                        <a:t> to poor public service salary scales. As a result the capability of the Ministry to provide effective leadership to the sector in developing appropriate policies and regulations, programs and projects and effectively implement them has been limited. AGRA recognizes that without effective leadership of the government agricultural transformation cannot happen</a:t>
                      </a:r>
                      <a:endParaRPr lang="en-US" sz="1100" dirty="0">
                        <a:latin typeface="+mn-lt"/>
                      </a:endParaRPr>
                    </a:p>
                  </a:txBody>
                  <a:tcPr/>
                </a:tc>
                <a:tc>
                  <a:txBody>
                    <a:bodyPr/>
                    <a:lstStyle/>
                    <a:p>
                      <a:r>
                        <a:rPr lang="en-US" sz="1100" b="0" i="0" u="none" strike="noStrike" cap="none" dirty="0" smtClean="0">
                          <a:solidFill>
                            <a:schemeClr val="dk1"/>
                          </a:solidFill>
                          <a:effectLst/>
                          <a:latin typeface="Calibri"/>
                          <a:ea typeface="Calibri"/>
                          <a:cs typeface="Calibri"/>
                          <a:sym typeface="Arial"/>
                        </a:rPr>
                        <a:t>National</a:t>
                      </a:r>
                      <a:endParaRPr lang="en-US" sz="1100" dirty="0">
                        <a:latin typeface="+mn-lt"/>
                      </a:endParaRPr>
                    </a:p>
                  </a:txBody>
                  <a:tcPr/>
                </a:tc>
                <a:extLst>
                  <a:ext uri="{0D108BD9-81ED-4DB2-BD59-A6C34878D82A}">
                    <a16:rowId xmlns:a16="http://schemas.microsoft.com/office/drawing/2014/main" val="10003"/>
                  </a:ext>
                </a:extLst>
              </a:tr>
              <a:tr h="431811">
                <a:tc vMerge="1">
                  <a:txBody>
                    <a:bodyPr/>
                    <a:lstStyle/>
                    <a:p>
                      <a:endParaRPr lang="en-US" sz="1200" dirty="0">
                        <a:latin typeface="+mn-lt"/>
                      </a:endParaRPr>
                    </a:p>
                  </a:txBody>
                  <a:tcPr/>
                </a:tc>
                <a:tc>
                  <a:txBody>
                    <a:bodyPr/>
                    <a:lstStyle/>
                    <a:p>
                      <a:pPr marL="171450" indent="-171450">
                        <a:buFont typeface="Arial" panose="020B0604020202020204" pitchFamily="34" charset="0"/>
                        <a:buChar char="•"/>
                      </a:pPr>
                      <a:endParaRPr lang="en-US" sz="1200" dirty="0">
                        <a:latin typeface="+mn-lt"/>
                      </a:endParaRPr>
                    </a:p>
                  </a:txBody>
                  <a:tcPr/>
                </a:tc>
                <a:tc>
                  <a:txBody>
                    <a:bodyPr/>
                    <a:lstStyle/>
                    <a:p>
                      <a:endParaRPr lang="en-US" sz="1200" dirty="0">
                        <a:latin typeface="+mn-lt"/>
                      </a:endParaRPr>
                    </a:p>
                  </a:txBody>
                  <a:tcPr/>
                </a:tc>
                <a:tc>
                  <a:txBody>
                    <a:bodyPr/>
                    <a:lstStyle/>
                    <a:p>
                      <a:endParaRPr lang="en-US" sz="1200" dirty="0">
                        <a:latin typeface="+mn-lt"/>
                      </a:endParaRPr>
                    </a:p>
                  </a:txBody>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83548518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Executive Summary</a:t>
            </a:r>
            <a:endParaRPr lang="en-US" dirty="0"/>
          </a:p>
        </p:txBody>
      </p:sp>
    </p:spTree>
    <p:extLst>
      <p:ext uri="{BB962C8B-B14F-4D97-AF65-F5344CB8AC3E}">
        <p14:creationId xmlns:p14="http://schemas.microsoft.com/office/powerpoint/2010/main" val="937186905"/>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450740" y="134053"/>
            <a:ext cx="7245459" cy="582389"/>
          </a:xfrm>
          <a:prstGeom prst="rect">
            <a:avLst/>
          </a:prstGeom>
          <a:noFill/>
          <a:ln>
            <a:noFill/>
          </a:ln>
        </p:spPr>
        <p:txBody>
          <a:bodyPr spcFirstLastPara="1" wrap="square" lIns="0" tIns="0" rIns="0" bIns="0" anchor="b" anchorCtr="0"/>
          <a:lstStyle>
            <a:defPPr marR="0" lvl="0" algn="l" rtl="0">
              <a:lnSpc>
                <a:spcPct val="100000"/>
              </a:lnSpc>
              <a:spcBef>
                <a:spcPts val="0"/>
              </a:spcBef>
              <a:spcAft>
                <a:spcPts val="0"/>
              </a:spcAft>
            </a:defPPr>
            <a:lvl1pPr marL="0" indent="0" defTabSz="914395" eaLnBrk="1" fontAlgn="auto" latinLnBrk="0" hangingPunct="1">
              <a:lnSpc>
                <a:spcPct val="90000"/>
              </a:lnSpc>
              <a:buClr>
                <a:schemeClr val="dk1"/>
              </a:buClr>
              <a:buSzPts val="2200"/>
              <a:buNone/>
              <a:tabLst/>
              <a:defRPr lang="en-US" sz="2200" b="1" smtClean="0">
                <a:solidFill>
                  <a:schemeClr val="dk1"/>
                </a:solidFill>
              </a:defRPr>
            </a:lvl1pPr>
          </a:lstStyle>
          <a:p>
            <a:r>
              <a:rPr lang="en-US" dirty="0"/>
              <a:t>Details of </a:t>
            </a:r>
            <a:r>
              <a:rPr lang="en-US" dirty="0" smtClean="0"/>
              <a:t>Existing Investments </a:t>
            </a:r>
            <a:r>
              <a:rPr lang="en-US" dirty="0"/>
              <a:t>in </a:t>
            </a:r>
            <a:r>
              <a:rPr lang="en-US" dirty="0" smtClean="0"/>
              <a:t>Ethiopia</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1038389635"/>
              </p:ext>
            </p:extLst>
          </p:nvPr>
        </p:nvGraphicFramePr>
        <p:xfrm>
          <a:off x="450740" y="895169"/>
          <a:ext cx="9349579" cy="5564898"/>
        </p:xfrm>
        <a:graphic>
          <a:graphicData uri="http://schemas.openxmlformats.org/drawingml/2006/table">
            <a:tbl>
              <a:tblPr firstRow="1" bandRow="1">
                <a:tableStyleId>{41E0FAD3-7C2D-4B5A-B7BA-DEB1A53D0DEB}</a:tableStyleId>
              </a:tblPr>
              <a:tblGrid>
                <a:gridCol w="1205459">
                  <a:extLst>
                    <a:ext uri="{9D8B030D-6E8A-4147-A177-3AD203B41FA5}">
                      <a16:colId xmlns:a16="http://schemas.microsoft.com/office/drawing/2014/main" val="20000"/>
                    </a:ext>
                  </a:extLst>
                </a:gridCol>
                <a:gridCol w="3430255">
                  <a:extLst>
                    <a:ext uri="{9D8B030D-6E8A-4147-A177-3AD203B41FA5}">
                      <a16:colId xmlns:a16="http://schemas.microsoft.com/office/drawing/2014/main" val="20001"/>
                    </a:ext>
                  </a:extLst>
                </a:gridCol>
                <a:gridCol w="3648708">
                  <a:extLst>
                    <a:ext uri="{9D8B030D-6E8A-4147-A177-3AD203B41FA5}">
                      <a16:colId xmlns:a16="http://schemas.microsoft.com/office/drawing/2014/main" val="20003"/>
                    </a:ext>
                  </a:extLst>
                </a:gridCol>
                <a:gridCol w="1065157">
                  <a:extLst>
                    <a:ext uri="{9D8B030D-6E8A-4147-A177-3AD203B41FA5}">
                      <a16:colId xmlns:a16="http://schemas.microsoft.com/office/drawing/2014/main" val="4101559693"/>
                    </a:ext>
                  </a:extLst>
                </a:gridCol>
              </a:tblGrid>
              <a:tr h="330672">
                <a:tc>
                  <a:txBody>
                    <a:bodyPr/>
                    <a:lstStyle/>
                    <a:p>
                      <a:r>
                        <a:rPr lang="en-US" sz="1200" dirty="0" smtClean="0">
                          <a:latin typeface="+mn-lt"/>
                        </a:rPr>
                        <a:t>Area of Work</a:t>
                      </a:r>
                      <a:endParaRPr lang="en-US" sz="1200" dirty="0">
                        <a:latin typeface="+mn-lt"/>
                      </a:endParaRPr>
                    </a:p>
                  </a:txBody>
                  <a:tcPr/>
                </a:tc>
                <a:tc>
                  <a:txBody>
                    <a:bodyPr/>
                    <a:lstStyle/>
                    <a:p>
                      <a:r>
                        <a:rPr lang="en-US" sz="1200" dirty="0" smtClean="0">
                          <a:latin typeface="+mn-lt"/>
                        </a:rPr>
                        <a:t>Description</a:t>
                      </a:r>
                      <a:endParaRPr lang="en-US" sz="1200" dirty="0">
                        <a:latin typeface="+mn-lt"/>
                      </a:endParaRPr>
                    </a:p>
                  </a:txBody>
                  <a:tcPr/>
                </a:tc>
                <a:tc>
                  <a:txBody>
                    <a:bodyPr/>
                    <a:lstStyle/>
                    <a:p>
                      <a:r>
                        <a:rPr lang="en-US" sz="1200" dirty="0" smtClean="0">
                          <a:latin typeface="+mn-lt"/>
                        </a:rPr>
                        <a:t>Rationale</a:t>
                      </a:r>
                      <a:endParaRPr lang="en-US" sz="1200" dirty="0">
                        <a:latin typeface="+mn-lt"/>
                      </a:endParaRPr>
                    </a:p>
                  </a:txBody>
                  <a:tcPr/>
                </a:tc>
                <a:tc>
                  <a:txBody>
                    <a:bodyPr/>
                    <a:lstStyle/>
                    <a:p>
                      <a:r>
                        <a:rPr lang="en-US" sz="1200" dirty="0" smtClean="0">
                          <a:latin typeface="+mn-lt"/>
                        </a:rPr>
                        <a:t>Target</a:t>
                      </a:r>
                      <a:r>
                        <a:rPr lang="en-US" sz="1200" baseline="0" dirty="0" smtClean="0">
                          <a:latin typeface="+mn-lt"/>
                        </a:rPr>
                        <a:t> Population</a:t>
                      </a:r>
                      <a:endParaRPr lang="en-US" sz="1200" dirty="0">
                        <a:latin typeface="+mn-lt"/>
                      </a:endParaRPr>
                    </a:p>
                  </a:txBody>
                  <a:tcPr/>
                </a:tc>
                <a:extLst>
                  <a:ext uri="{0D108BD9-81ED-4DB2-BD59-A6C34878D82A}">
                    <a16:rowId xmlns:a16="http://schemas.microsoft.com/office/drawing/2014/main" val="10000"/>
                  </a:ext>
                </a:extLst>
              </a:tr>
              <a:tr h="1016758">
                <a:tc rowSpan="2">
                  <a:txBody>
                    <a:bodyPr/>
                    <a:lstStyle/>
                    <a:p>
                      <a:r>
                        <a:rPr lang="en-US" sz="1050" b="1" dirty="0" smtClean="0">
                          <a:latin typeface="+mn-lt"/>
                        </a:rPr>
                        <a:t>Systems Development</a:t>
                      </a:r>
                      <a:endParaRPr lang="en-US" sz="1050" b="1" dirty="0">
                        <a:latin typeface="+mn-lt"/>
                      </a:endParaRPr>
                    </a:p>
                  </a:txBody>
                  <a:tcPr/>
                </a:tc>
                <a:tc>
                  <a:txBody>
                    <a:bodyPr/>
                    <a:lstStyle/>
                    <a:p>
                      <a:r>
                        <a:rPr lang="en-US" sz="1050" b="1" dirty="0" smtClean="0">
                          <a:latin typeface="+mn-lt"/>
                        </a:rPr>
                        <a:t>Seeds / Input Systems</a:t>
                      </a:r>
                    </a:p>
                    <a:p>
                      <a:pPr marL="171450" indent="-171450">
                        <a:buFont typeface="Arial" panose="020B0604020202020204" pitchFamily="34" charset="0"/>
                        <a:buChar char="•"/>
                      </a:pPr>
                      <a:r>
                        <a:rPr lang="en-US" sz="1050" b="0" dirty="0" smtClean="0">
                          <a:latin typeface="+mn-lt"/>
                        </a:rPr>
                        <a:t>Support to increase the production supply of </a:t>
                      </a:r>
                      <a:r>
                        <a:rPr lang="en-US" sz="1050" b="0" dirty="0" err="1" smtClean="0">
                          <a:latin typeface="+mn-lt"/>
                        </a:rPr>
                        <a:t>EGS</a:t>
                      </a:r>
                      <a:endParaRPr lang="en-US" sz="1050" b="0" dirty="0" smtClean="0">
                        <a:latin typeface="+mn-lt"/>
                      </a:endParaRPr>
                    </a:p>
                    <a:p>
                      <a:pPr marL="171450" indent="-171450">
                        <a:buFont typeface="Arial" panose="020B0604020202020204" pitchFamily="34" charset="0"/>
                        <a:buChar char="•"/>
                      </a:pPr>
                      <a:r>
                        <a:rPr lang="en-US" sz="1050" b="0" dirty="0" smtClean="0">
                          <a:latin typeface="+mn-lt"/>
                        </a:rPr>
                        <a:t>Enhancing Public Regulatory System Capacity to Improve Seed Quality</a:t>
                      </a:r>
                    </a:p>
                  </a:txBody>
                  <a:tcPr/>
                </a:tc>
                <a:tc>
                  <a:txBody>
                    <a:bodyPr/>
                    <a:lstStyle/>
                    <a:p>
                      <a:pPr marL="171450" indent="-171450">
                        <a:buFont typeface="Arial" panose="020B0604020202020204" pitchFamily="34" charset="0"/>
                        <a:buChar char="•"/>
                      </a:pPr>
                      <a:r>
                        <a:rPr lang="en-US" sz="1050" dirty="0" smtClean="0">
                          <a:latin typeface="+mn-lt"/>
                        </a:rPr>
                        <a:t>The seed system in Ethiopia is probably the most problematic. Adoption od improved varieties</a:t>
                      </a:r>
                      <a:r>
                        <a:rPr lang="en-US" sz="1050" baseline="0" dirty="0" smtClean="0">
                          <a:latin typeface="+mn-lt"/>
                        </a:rPr>
                        <a:t> of seed estimated at only 21%. Some of the key constraints identified are the shortage of early generation seed and poor quality of seed as a result of poor certification and quality regulatory system. Fixing these problems is expected to have a significant impact on adoption of technologies and productivity gains.</a:t>
                      </a:r>
                      <a:endParaRPr lang="en-US" sz="1050" dirty="0">
                        <a:latin typeface="+mn-lt"/>
                      </a:endParaRPr>
                    </a:p>
                  </a:txBody>
                  <a:tcPr/>
                </a:tc>
                <a:tc>
                  <a:txBody>
                    <a:bodyPr/>
                    <a:lstStyle/>
                    <a:p>
                      <a:r>
                        <a:rPr lang="en-US" sz="1000" dirty="0" smtClean="0">
                          <a:latin typeface="+mn-lt"/>
                        </a:rPr>
                        <a:t>National</a:t>
                      </a:r>
                      <a:endParaRPr lang="en-US" sz="1000" dirty="0">
                        <a:latin typeface="+mn-lt"/>
                      </a:endParaRPr>
                    </a:p>
                  </a:txBody>
                  <a:tcPr/>
                </a:tc>
                <a:extLst>
                  <a:ext uri="{0D108BD9-81ED-4DB2-BD59-A6C34878D82A}">
                    <a16:rowId xmlns:a16="http://schemas.microsoft.com/office/drawing/2014/main" val="10001"/>
                  </a:ext>
                </a:extLst>
              </a:tr>
              <a:tr h="1873806">
                <a:tc vMerge="1">
                  <a:txBody>
                    <a:bodyPr/>
                    <a:lstStyle/>
                    <a:p>
                      <a:endParaRPr lang="en-US" sz="1200" dirty="0">
                        <a:latin typeface="+mn-lt"/>
                      </a:endParaRPr>
                    </a:p>
                  </a:txBody>
                  <a:tcPr/>
                </a:tc>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1050" b="1" i="0" u="none" strike="noStrike" cap="none" dirty="0" smtClean="0">
                          <a:solidFill>
                            <a:schemeClr val="dk1"/>
                          </a:solidFill>
                          <a:latin typeface="+mn-lt"/>
                          <a:ea typeface="Calibri"/>
                          <a:cs typeface="Calibri"/>
                          <a:sym typeface="Arial"/>
                        </a:rPr>
                        <a:t>Integrated  Value Chain Development</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050" b="0" i="0" u="none" strike="noStrike" cap="none" dirty="0" err="1" smtClean="0">
                          <a:solidFill>
                            <a:schemeClr val="dk1"/>
                          </a:solidFill>
                          <a:latin typeface="+mn-lt"/>
                          <a:ea typeface="Calibri"/>
                          <a:cs typeface="Calibri"/>
                          <a:sym typeface="Arial"/>
                        </a:rPr>
                        <a:t>SNNPR</a:t>
                      </a:r>
                      <a:r>
                        <a:rPr lang="en-US" sz="1050" b="0" i="0" u="none" strike="noStrike" cap="none" dirty="0" smtClean="0">
                          <a:solidFill>
                            <a:schemeClr val="dk1"/>
                          </a:solidFill>
                          <a:latin typeface="+mn-lt"/>
                          <a:ea typeface="Calibri"/>
                          <a:cs typeface="Calibri"/>
                          <a:sym typeface="Arial"/>
                        </a:rPr>
                        <a:t> increased productivity and access to structured markets of four focus crops: wheat, maize, </a:t>
                      </a:r>
                      <a:r>
                        <a:rPr lang="en-US" sz="1050" b="0" i="0" u="none" strike="noStrike" cap="none" dirty="0" err="1" smtClean="0">
                          <a:solidFill>
                            <a:schemeClr val="dk1"/>
                          </a:solidFill>
                          <a:latin typeface="+mn-lt"/>
                          <a:ea typeface="Calibri"/>
                          <a:cs typeface="Calibri"/>
                          <a:sym typeface="Arial"/>
                        </a:rPr>
                        <a:t>teff</a:t>
                      </a:r>
                      <a:r>
                        <a:rPr lang="en-US" sz="1050" b="0" i="0" u="none" strike="noStrike" cap="none" dirty="0" smtClean="0">
                          <a:solidFill>
                            <a:schemeClr val="dk1"/>
                          </a:solidFill>
                          <a:latin typeface="+mn-lt"/>
                          <a:ea typeface="Calibri"/>
                          <a:cs typeface="Calibri"/>
                          <a:sym typeface="Arial"/>
                        </a:rPr>
                        <a:t> and haricot beans</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050" b="0" i="0" u="none" strike="noStrike" cap="none" dirty="0" smtClean="0">
                          <a:solidFill>
                            <a:schemeClr val="dk1"/>
                          </a:solidFill>
                          <a:latin typeface="+mn-lt"/>
                          <a:ea typeface="Calibri"/>
                          <a:cs typeface="Calibri"/>
                          <a:sym typeface="Arial"/>
                        </a:rPr>
                        <a:t>Alliance for Market-led Agricultural Growth in Tigray Region (</a:t>
                      </a:r>
                      <a:r>
                        <a:rPr lang="en-US" sz="1050" b="0" i="0" u="none" strike="noStrike" cap="none" dirty="0" err="1" smtClean="0">
                          <a:solidFill>
                            <a:schemeClr val="dk1"/>
                          </a:solidFill>
                          <a:latin typeface="+mn-lt"/>
                          <a:ea typeface="Calibri"/>
                          <a:cs typeface="Calibri"/>
                          <a:sym typeface="Arial"/>
                        </a:rPr>
                        <a:t>AMAGT</a:t>
                      </a:r>
                      <a:r>
                        <a:rPr lang="en-US" sz="1050" b="0" i="0" u="none" strike="noStrike" cap="none" dirty="0" smtClean="0">
                          <a:solidFill>
                            <a:schemeClr val="dk1"/>
                          </a:solidFill>
                          <a:latin typeface="+mn-lt"/>
                          <a:ea typeface="Calibri"/>
                          <a:cs typeface="Calibri"/>
                          <a:sym typeface="Arial"/>
                        </a:rPr>
                        <a:t>)</a:t>
                      </a:r>
                    </a:p>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050" b="0" i="0" u="none" strike="noStrike" cap="none" dirty="0" smtClean="0">
                          <a:solidFill>
                            <a:schemeClr val="dk1"/>
                          </a:solidFill>
                          <a:latin typeface="+mn-lt"/>
                          <a:ea typeface="Calibri"/>
                          <a:cs typeface="Calibri"/>
                          <a:sym typeface="Arial"/>
                        </a:rPr>
                        <a:t>Alliance for Market-led Agricultural Growth in Amhara Region (</a:t>
                      </a:r>
                      <a:r>
                        <a:rPr lang="en-US" sz="1050" b="0" i="0" u="none" strike="noStrike" cap="none" dirty="0" err="1" smtClean="0">
                          <a:solidFill>
                            <a:schemeClr val="dk1"/>
                          </a:solidFill>
                          <a:latin typeface="+mn-lt"/>
                          <a:ea typeface="Calibri"/>
                          <a:cs typeface="Calibri"/>
                          <a:sym typeface="Arial"/>
                        </a:rPr>
                        <a:t>AMAGA</a:t>
                      </a:r>
                      <a:r>
                        <a:rPr lang="en-US" sz="1050" b="0" i="0" u="none" strike="noStrike" cap="none" dirty="0" smtClean="0">
                          <a:solidFill>
                            <a:schemeClr val="dk1"/>
                          </a:solidFill>
                          <a:latin typeface="+mn-lt"/>
                          <a:ea typeface="Calibri"/>
                          <a:cs typeface="Calibri"/>
                          <a:sym typeface="Arial"/>
                        </a:rPr>
                        <a:t>)</a:t>
                      </a:r>
                    </a:p>
                  </a:txBody>
                  <a:tcPr/>
                </a:tc>
                <a:tc>
                  <a:txBody>
                    <a:bodyPr/>
                    <a:lstStyle/>
                    <a:p>
                      <a:pPr marL="171450" indent="-171450">
                        <a:buFont typeface="Arial" panose="020B0604020202020204" pitchFamily="34" charset="0"/>
                        <a:buChar char="•"/>
                      </a:pPr>
                      <a:r>
                        <a:rPr lang="en-US" sz="1050" dirty="0" smtClean="0">
                          <a:latin typeface="+mn-lt"/>
                        </a:rPr>
                        <a:t>This is a marked based integrated value chain development of key staple crops. The rationale is that market based solutions that provide guaranteed returns are the most</a:t>
                      </a:r>
                      <a:r>
                        <a:rPr lang="en-US" sz="1050" baseline="0" dirty="0" smtClean="0">
                          <a:latin typeface="+mn-lt"/>
                        </a:rPr>
                        <a:t> sustainable way of technology adoption and increasing productivity and incomes of smallholders. It provides the right incentives for farmers. The also creates market opportunities for  the private sector to provide inputs, other services and offtake of produce</a:t>
                      </a:r>
                      <a:endParaRPr lang="en-US" sz="1050" dirty="0">
                        <a:latin typeface="+mn-lt"/>
                      </a:endParaRPr>
                    </a:p>
                  </a:txBody>
                  <a:tcPr/>
                </a:tc>
                <a:tc>
                  <a:txBody>
                    <a:bodyPr/>
                    <a:lstStyle/>
                    <a:p>
                      <a:r>
                        <a:rPr lang="en-US" sz="1000" dirty="0" smtClean="0">
                          <a:latin typeface="+mn-lt"/>
                        </a:rPr>
                        <a:t>Geographic Specific</a:t>
                      </a:r>
                      <a:endParaRPr lang="en-US" sz="1000" dirty="0">
                        <a:latin typeface="+mn-lt"/>
                      </a:endParaRPr>
                    </a:p>
                  </a:txBody>
                  <a:tcPr/>
                </a:tc>
                <a:extLst>
                  <a:ext uri="{0D108BD9-81ED-4DB2-BD59-A6C34878D82A}">
                    <a16:rowId xmlns:a16="http://schemas.microsoft.com/office/drawing/2014/main" val="10002"/>
                  </a:ext>
                </a:extLst>
              </a:tr>
              <a:tr h="551119">
                <a:tc rowSpan="2">
                  <a:txBody>
                    <a:bodyPr/>
                    <a:lstStyle/>
                    <a:p>
                      <a:endParaRPr lang="en-US" sz="1050" b="1" dirty="0">
                        <a:latin typeface="+mn-lt"/>
                      </a:endParaRPr>
                    </a:p>
                  </a:txBody>
                  <a:tcPr/>
                </a:tc>
                <a:tc>
                  <a:txBody>
                    <a:bodyPr/>
                    <a:lstStyle/>
                    <a:p>
                      <a:r>
                        <a:rPr lang="en-US" sz="1050" b="1" i="0" u="none" strike="noStrike" cap="none" dirty="0" smtClean="0">
                          <a:solidFill>
                            <a:schemeClr val="dk1"/>
                          </a:solidFill>
                          <a:latin typeface="+mn-lt"/>
                          <a:ea typeface="Calibri"/>
                          <a:cs typeface="Calibri"/>
                          <a:sym typeface="Arial"/>
                        </a:rPr>
                        <a:t>Distribution Systems/ Agro Dealers</a:t>
                      </a:r>
                    </a:p>
                    <a:p>
                      <a:pPr marL="171450" indent="-171450">
                        <a:buFont typeface="Arial" panose="020B0604020202020204" pitchFamily="34" charset="0"/>
                        <a:buChar char="•"/>
                      </a:pPr>
                      <a:r>
                        <a:rPr lang="en-US" sz="1050" b="0" i="0" u="none" strike="noStrike" cap="none" dirty="0" smtClean="0">
                          <a:solidFill>
                            <a:schemeClr val="dk1"/>
                          </a:solidFill>
                          <a:latin typeface="+mn-lt"/>
                          <a:ea typeface="Calibri"/>
                          <a:cs typeface="Calibri"/>
                          <a:sym typeface="Arial"/>
                        </a:rPr>
                        <a:t>Scale up of an electronic voucher system</a:t>
                      </a:r>
                      <a:endParaRPr lang="en-US" sz="1050" b="0" i="0" u="none" strike="noStrike" cap="none" dirty="0">
                        <a:solidFill>
                          <a:schemeClr val="dk1"/>
                        </a:solidFill>
                        <a:latin typeface="+mn-lt"/>
                        <a:ea typeface="Calibri"/>
                        <a:cs typeface="Calibri"/>
                        <a:sym typeface="Arial"/>
                      </a:endParaRPr>
                    </a:p>
                  </a:txBody>
                  <a:tcPr/>
                </a:tc>
                <a:tc>
                  <a:txBody>
                    <a:bodyPr/>
                    <a:lstStyle/>
                    <a:p>
                      <a:pPr marL="171450" indent="-171450">
                        <a:buFont typeface="Arial" panose="020B0604020202020204" pitchFamily="34" charset="0"/>
                        <a:buChar char="•"/>
                      </a:pPr>
                      <a:r>
                        <a:rPr lang="en-US" sz="1050" dirty="0" smtClean="0">
                          <a:latin typeface="+mn-lt"/>
                        </a:rPr>
                        <a:t>Farm credit is a</a:t>
                      </a:r>
                      <a:r>
                        <a:rPr lang="en-US" sz="1050" baseline="0" dirty="0" smtClean="0">
                          <a:latin typeface="+mn-lt"/>
                        </a:rPr>
                        <a:t> key determinant of technology adoption. Ethiopia has established a farm input credit program that is a paper based voucher system. However, increased transactions have created mounting paper work, loss and attempted forgery of papers vouchers. The electronic voucher system is intended to create efficiency and transparency so that farmers get their credit on time and agro-dealers are also paid on time.</a:t>
                      </a:r>
                      <a:endParaRPr lang="en-US" sz="1050" dirty="0">
                        <a:latin typeface="+mn-lt"/>
                      </a:endParaRPr>
                    </a:p>
                  </a:txBody>
                  <a:tcPr/>
                </a:tc>
                <a:tc>
                  <a:txBody>
                    <a:bodyPr/>
                    <a:lstStyle/>
                    <a:p>
                      <a:r>
                        <a:rPr lang="en-US" sz="1000" dirty="0" smtClean="0">
                          <a:latin typeface="+mn-lt"/>
                        </a:rPr>
                        <a:t>National</a:t>
                      </a:r>
                      <a:endParaRPr lang="en-US" sz="1000" dirty="0">
                        <a:latin typeface="+mn-lt"/>
                      </a:endParaRPr>
                    </a:p>
                  </a:txBody>
                  <a:tcPr/>
                </a:tc>
                <a:extLst>
                  <a:ext uri="{0D108BD9-81ED-4DB2-BD59-A6C34878D82A}">
                    <a16:rowId xmlns:a16="http://schemas.microsoft.com/office/drawing/2014/main" val="10003"/>
                  </a:ext>
                </a:extLst>
              </a:tr>
              <a:tr h="330672">
                <a:tc vMerge="1">
                  <a:txBody>
                    <a:bodyPr/>
                    <a:lstStyle/>
                    <a:p>
                      <a:endParaRPr lang="en-US" sz="1200" dirty="0">
                        <a:latin typeface="+mn-lt"/>
                      </a:endParaRPr>
                    </a:p>
                  </a:txBody>
                  <a:tcPr/>
                </a:tc>
                <a:tc>
                  <a:txBody>
                    <a:bodyPr/>
                    <a:lstStyle/>
                    <a:p>
                      <a:pPr marL="171450" indent="-171450">
                        <a:buFont typeface="Arial" panose="020B0604020202020204" pitchFamily="34" charset="0"/>
                        <a:buChar char="•"/>
                      </a:pPr>
                      <a:endParaRPr lang="en-US" sz="1200" dirty="0">
                        <a:latin typeface="+mn-lt"/>
                      </a:endParaRPr>
                    </a:p>
                  </a:txBody>
                  <a:tcPr/>
                </a:tc>
                <a:tc>
                  <a:txBody>
                    <a:bodyPr/>
                    <a:lstStyle/>
                    <a:p>
                      <a:endParaRPr lang="en-US" sz="1200" dirty="0">
                        <a:latin typeface="+mn-lt"/>
                      </a:endParaRPr>
                    </a:p>
                  </a:txBody>
                  <a:tcPr/>
                </a:tc>
                <a:tc>
                  <a:txBody>
                    <a:bodyPr/>
                    <a:lstStyle/>
                    <a:p>
                      <a:endParaRPr lang="en-US" sz="1200" dirty="0">
                        <a:latin typeface="+mn-lt"/>
                      </a:endParaRPr>
                    </a:p>
                  </a:txBody>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082877862"/>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83113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7334"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200" b="1" dirty="0">
              <a:solidFill>
                <a:schemeClr val="accent6">
                  <a:lumMod val="50000"/>
                </a:schemeClr>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itle 2"/>
          <p:cNvSpPr>
            <a:spLocks noGrp="1"/>
          </p:cNvSpPr>
          <p:nvPr>
            <p:ph type="title"/>
          </p:nvPr>
        </p:nvSpPr>
        <p:spPr/>
        <p:txBody>
          <a:bodyPr lIns="0" tIns="0" rIns="0" bIns="0" anchor="b"/>
          <a:lstStyle/>
          <a:p>
            <a:r>
              <a:rPr lang="en-US" dirty="0"/>
              <a:t>Results from Investments in </a:t>
            </a:r>
            <a:r>
              <a:rPr lang="en-US" dirty="0" smtClean="0"/>
              <a:t>Ethiopia</a:t>
            </a: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639821277"/>
              </p:ext>
            </p:extLst>
          </p:nvPr>
        </p:nvGraphicFramePr>
        <p:xfrm>
          <a:off x="450740" y="1132781"/>
          <a:ext cx="8924487" cy="4689949"/>
        </p:xfrm>
        <a:graphic>
          <a:graphicData uri="http://schemas.openxmlformats.org/drawingml/2006/table">
            <a:tbl>
              <a:tblPr firstRow="1" bandRow="1">
                <a:tableStyleId>{5C22544A-7EE6-4342-B048-85BDC9FD1C3A}</a:tableStyleId>
              </a:tblPr>
              <a:tblGrid>
                <a:gridCol w="6630574">
                  <a:extLst>
                    <a:ext uri="{9D8B030D-6E8A-4147-A177-3AD203B41FA5}">
                      <a16:colId xmlns:a16="http://schemas.microsoft.com/office/drawing/2014/main" val="20000"/>
                    </a:ext>
                  </a:extLst>
                </a:gridCol>
                <a:gridCol w="2293913">
                  <a:extLst>
                    <a:ext uri="{9D8B030D-6E8A-4147-A177-3AD203B41FA5}">
                      <a16:colId xmlns:a16="http://schemas.microsoft.com/office/drawing/2014/main" val="3085491679"/>
                    </a:ext>
                  </a:extLst>
                </a:gridCol>
              </a:tblGrid>
              <a:tr h="462337">
                <a:tc>
                  <a:txBody>
                    <a:bodyPr/>
                    <a:lstStyle/>
                    <a:p>
                      <a:pPr marL="0" algn="l" defTabSz="914395" rtl="0" eaLnBrk="1" fontAlgn="t" latinLnBrk="0" hangingPunct="1"/>
                      <a:r>
                        <a:rPr lang="en-US" sz="1100" b="1" i="0" u="none" strike="noStrike" kern="1200" dirty="0">
                          <a:solidFill>
                            <a:schemeClr val="bg1"/>
                          </a:solidFill>
                          <a:effectLst/>
                          <a:latin typeface="Arial" panose="020B0604020202020204" pitchFamily="34" charset="0"/>
                          <a:ea typeface="+mn-ea"/>
                          <a:cs typeface="+mn-cs"/>
                        </a:rPr>
                        <a:t>Indicator</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6547"/>
                    </a:solidFill>
                  </a:tcPr>
                </a:tc>
                <a:tc>
                  <a:txBody>
                    <a:bodyPr/>
                    <a:lstStyle/>
                    <a:p>
                      <a:pPr marL="0" algn="ctr" defTabSz="914395" rtl="0" eaLnBrk="1" fontAlgn="t" latinLnBrk="0" hangingPunct="1"/>
                      <a:r>
                        <a:rPr lang="en-US" sz="1100" b="1" i="0" u="none" strike="noStrike" kern="1200" dirty="0">
                          <a:solidFill>
                            <a:schemeClr val="bg1"/>
                          </a:solidFill>
                          <a:effectLst/>
                          <a:latin typeface="Arial" panose="020B0604020202020204" pitchFamily="34" charset="0"/>
                          <a:ea typeface="+mn-ea"/>
                          <a:cs typeface="+mn-cs"/>
                        </a:rPr>
                        <a:t>Actual to date </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6547"/>
                    </a:solidFill>
                  </a:tcPr>
                </a:tc>
                <a:extLst>
                  <a:ext uri="{0D108BD9-81ED-4DB2-BD59-A6C34878D82A}">
                    <a16:rowId xmlns:a16="http://schemas.microsoft.com/office/drawing/2014/main" val="10000"/>
                  </a:ext>
                </a:extLst>
              </a:tr>
              <a:tr h="352301">
                <a:tc>
                  <a:txBody>
                    <a:bodyPr/>
                    <a:lstStyle/>
                    <a:p>
                      <a:pPr marL="0" algn="l" defTabSz="914395" rtl="0" eaLnBrk="1" fontAlgn="t" latinLnBrk="0" hangingPunct="1"/>
                      <a:r>
                        <a:rPr lang="en-US" sz="1100" b="0" i="0" u="none" strike="noStrike" kern="1200" dirty="0">
                          <a:solidFill>
                            <a:schemeClr val="tx1"/>
                          </a:solidFill>
                          <a:effectLst/>
                          <a:latin typeface="Arial" panose="020B0604020202020204" pitchFamily="34" charset="0"/>
                          <a:ea typeface="+mn-ea"/>
                          <a:cs typeface="+mn-cs"/>
                        </a:rPr>
                        <a:t>Number of farmers</a:t>
                      </a:r>
                      <a:r>
                        <a:rPr lang="en-US" sz="1100" b="0" i="0" u="none" strike="noStrike" kern="1200" baseline="0" dirty="0">
                          <a:solidFill>
                            <a:schemeClr val="tx1"/>
                          </a:solidFill>
                          <a:effectLst/>
                          <a:latin typeface="Arial" panose="020B0604020202020204" pitchFamily="34" charset="0"/>
                          <a:ea typeface="+mn-ea"/>
                          <a:cs typeface="+mn-cs"/>
                        </a:rPr>
                        <a:t> reached</a:t>
                      </a:r>
                      <a:endParaRPr lang="en-US" sz="800" b="0" i="1" u="none" strike="noStrike" kern="1200" dirty="0">
                        <a:solidFill>
                          <a:schemeClr val="tx1"/>
                        </a:solidFill>
                        <a:effectLst/>
                        <a:latin typeface="Arial" panose="020B0604020202020204" pitchFamily="34" charset="0"/>
                        <a:ea typeface="+mn-ea"/>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en-US" sz="1100" dirty="0">
                          <a:solidFill>
                            <a:schemeClr val="tx1"/>
                          </a:solidFill>
                          <a:latin typeface="Arial" panose="020B0604020202020204" pitchFamily="34" charset="0"/>
                          <a:cs typeface="Arial" panose="020B0604020202020204" pitchFamily="34" charset="0"/>
                        </a:rPr>
                        <a:t>232,730</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352301">
                <a:tc>
                  <a:txBody>
                    <a:bodyPr/>
                    <a:lstStyle/>
                    <a:p>
                      <a:pPr marL="0" algn="l" defTabSz="914395" rtl="0" eaLnBrk="1" fontAlgn="t" latinLnBrk="0" hangingPunct="1"/>
                      <a:r>
                        <a:rPr lang="en-US" sz="1100" b="0" i="0" u="none" strike="noStrike" kern="1200" dirty="0">
                          <a:solidFill>
                            <a:schemeClr val="tx1"/>
                          </a:solidFill>
                          <a:effectLst/>
                          <a:latin typeface="Arial" panose="020B0604020202020204" pitchFamily="34" charset="0"/>
                          <a:ea typeface="+mn-ea"/>
                          <a:cs typeface="+mn-cs"/>
                        </a:rPr>
                        <a:t>Number of farmers impacted</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algn="r" defTabSz="914395" rtl="0" eaLnBrk="1" fontAlgn="t" latinLnBrk="0" hangingPunct="1"/>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TBD</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352301">
                <a:tc>
                  <a:txBody>
                    <a:bodyPr/>
                    <a:lstStyle/>
                    <a:p>
                      <a:pPr marL="0" lvl="1" indent="0" algn="l" defTabSz="914395" rtl="0" eaLnBrk="1" fontAlgn="t" latinLnBrk="0" hangingPunct="1"/>
                      <a:r>
                        <a:rPr lang="en-US" sz="1100" b="0" i="0" u="none" strike="noStrike" kern="1200" dirty="0">
                          <a:solidFill>
                            <a:schemeClr val="tx1"/>
                          </a:solidFill>
                          <a:effectLst/>
                          <a:latin typeface="Arial" panose="020B0604020202020204" pitchFamily="34" charset="0"/>
                          <a:ea typeface="+mn-ea"/>
                          <a:cs typeface="+mn-cs"/>
                        </a:rPr>
                        <a:t>Value</a:t>
                      </a:r>
                      <a:r>
                        <a:rPr lang="en-US" sz="1100" b="0" i="0" u="none" strike="noStrike" kern="1200" baseline="0" dirty="0">
                          <a:solidFill>
                            <a:schemeClr val="tx1"/>
                          </a:solidFill>
                          <a:effectLst/>
                          <a:latin typeface="Arial" panose="020B0604020202020204" pitchFamily="34" charset="0"/>
                          <a:ea typeface="+mn-ea"/>
                          <a:cs typeface="+mn-cs"/>
                        </a:rPr>
                        <a:t> of loans leveraged ($US)</a:t>
                      </a:r>
                      <a:endParaRPr lang="en-US" sz="800" b="0" i="1" u="none" strike="noStrike" kern="1200" dirty="0">
                        <a:solidFill>
                          <a:schemeClr val="tx1"/>
                        </a:solidFill>
                        <a:effectLst/>
                        <a:latin typeface="Arial" panose="020B0604020202020204" pitchFamily="34" charset="0"/>
                        <a:ea typeface="+mn-ea"/>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fontAlgn="t"/>
                      <a:r>
                        <a:rPr lang="en-US" sz="1100" b="0" i="0" u="none" strike="noStrike" dirty="0">
                          <a:solidFill>
                            <a:schemeClr val="tx1"/>
                          </a:solidFill>
                          <a:effectLst/>
                          <a:latin typeface="Arial" panose="020B0604020202020204" pitchFamily="34" charset="0"/>
                          <a:cs typeface="Arial" panose="020B0604020202020204" pitchFamily="34" charset="0"/>
                        </a:rPr>
                        <a:t>  14,098,436 </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10842057"/>
                  </a:ext>
                </a:extLst>
              </a:tr>
              <a:tr h="352301">
                <a:tc>
                  <a:txBody>
                    <a:bodyPr/>
                    <a:lstStyle/>
                    <a:p>
                      <a:pPr marL="0" lvl="1" indent="0" algn="l" defTabSz="914395" rtl="0" eaLnBrk="1" fontAlgn="t" latinLnBrk="0" hangingPunct="1"/>
                      <a:r>
                        <a:rPr lang="en-US" sz="1100" b="0" i="0" u="none" strike="noStrike" kern="1200" dirty="0">
                          <a:solidFill>
                            <a:schemeClr val="tx1"/>
                          </a:solidFill>
                          <a:effectLst/>
                          <a:latin typeface="Arial" panose="020B0604020202020204" pitchFamily="34" charset="0"/>
                          <a:ea typeface="+mn-ea"/>
                          <a:cs typeface="+mn-cs"/>
                        </a:rPr>
                        <a:t>Number of agro-dealers/SMES</a:t>
                      </a:r>
                      <a:endParaRPr lang="en-US" sz="800" b="0" i="1" u="none" strike="noStrike" kern="1200" dirty="0">
                        <a:solidFill>
                          <a:schemeClr val="tx1"/>
                        </a:solidFill>
                        <a:effectLst/>
                        <a:latin typeface="Arial" panose="020B0604020202020204" pitchFamily="34" charset="0"/>
                        <a:ea typeface="+mn-ea"/>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algn="r" defTabSz="914395" rtl="0" eaLnBrk="1" fontAlgn="t" latinLnBrk="0" hangingPunct="1"/>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83</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03010964"/>
                  </a:ext>
                </a:extLst>
              </a:tr>
              <a:tr h="352301">
                <a:tc>
                  <a:txBody>
                    <a:bodyPr/>
                    <a:lstStyle/>
                    <a:p>
                      <a:pPr marL="0" lvl="1" indent="0" algn="l" defTabSz="914395" rtl="0" eaLnBrk="1" fontAlgn="t" latinLnBrk="0" hangingPunct="1"/>
                      <a:r>
                        <a:rPr lang="en-US" sz="1100" b="0" i="0" u="none" strike="noStrike" kern="1200" dirty="0">
                          <a:solidFill>
                            <a:schemeClr val="tx1"/>
                          </a:solidFill>
                          <a:effectLst/>
                          <a:latin typeface="Arial" panose="020B0604020202020204" pitchFamily="34" charset="0"/>
                          <a:ea typeface="+mn-ea"/>
                          <a:cs typeface="+mn-cs"/>
                        </a:rPr>
                        <a:t>Technologies commercialized</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algn="r" defTabSz="914395" rtl="0" eaLnBrk="1" fontAlgn="t" latinLnBrk="0" hangingPunct="1"/>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8</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352301">
                <a:tc>
                  <a:txBody>
                    <a:bodyPr/>
                    <a:lstStyle/>
                    <a:p>
                      <a:pPr marL="0" lvl="1" indent="0" algn="l" defTabSz="914395" rtl="0" eaLnBrk="1" fontAlgn="t" latinLnBrk="0" hangingPunct="1"/>
                      <a:r>
                        <a:rPr lang="en-US" sz="1100" b="0" i="0" u="none" strike="noStrike" kern="1200" dirty="0">
                          <a:solidFill>
                            <a:schemeClr val="tx1"/>
                          </a:solidFill>
                          <a:effectLst/>
                          <a:latin typeface="Arial" panose="020B0604020202020204" pitchFamily="34" charset="0"/>
                          <a:ea typeface="+mn-ea"/>
                          <a:cs typeface="+mn-cs"/>
                        </a:rPr>
                        <a:t>Quantity</a:t>
                      </a:r>
                      <a:r>
                        <a:rPr lang="en-US" sz="1100" b="0" i="0" u="none" strike="noStrike" kern="1200" baseline="0" dirty="0">
                          <a:solidFill>
                            <a:schemeClr val="tx1"/>
                          </a:solidFill>
                          <a:effectLst/>
                          <a:latin typeface="Arial" panose="020B0604020202020204" pitchFamily="34" charset="0"/>
                          <a:ea typeface="+mn-ea"/>
                          <a:cs typeface="+mn-cs"/>
                        </a:rPr>
                        <a:t> of improved seeds produced (MT)</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en-US" sz="1100" dirty="0">
                          <a:solidFill>
                            <a:schemeClr val="tx1"/>
                          </a:solidFill>
                          <a:latin typeface="Arial" panose="020B0604020202020204" pitchFamily="34" charset="0"/>
                          <a:cs typeface="Arial" panose="020B0604020202020204" pitchFamily="34" charset="0"/>
                        </a:rPr>
                        <a:t>3,580</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76896123"/>
                  </a:ext>
                </a:extLst>
              </a:tr>
              <a:tr h="352301">
                <a:tc>
                  <a:txBody>
                    <a:bodyPr/>
                    <a:lstStyle/>
                    <a:p>
                      <a:pPr marL="0" algn="l" defTabSz="914395" rtl="0" eaLnBrk="1" fontAlgn="t" latinLnBrk="0" hangingPunct="1"/>
                      <a:r>
                        <a:rPr lang="en-US" sz="1100" b="0" i="0" u="none" strike="noStrike" kern="1200" dirty="0">
                          <a:solidFill>
                            <a:schemeClr val="tx1"/>
                          </a:solidFill>
                          <a:effectLst/>
                          <a:latin typeface="Arial" panose="020B0604020202020204" pitchFamily="34" charset="0"/>
                          <a:ea typeface="+mn-ea"/>
                          <a:cs typeface="+mn-cs"/>
                        </a:rPr>
                        <a:t>Number of farmers trained</a:t>
                      </a:r>
                      <a:r>
                        <a:rPr lang="en-US" sz="1100" b="0" i="0" u="none" strike="noStrike" kern="1200" baseline="0" dirty="0">
                          <a:solidFill>
                            <a:schemeClr val="tx1"/>
                          </a:solidFill>
                          <a:effectLst/>
                          <a:latin typeface="Arial" panose="020B0604020202020204" pitchFamily="34" charset="0"/>
                          <a:ea typeface="+mn-ea"/>
                          <a:cs typeface="+mn-cs"/>
                        </a:rPr>
                        <a:t> on various technologie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algn="r" defTabSz="914395" rtl="0" eaLnBrk="1" fontAlgn="t" latinLnBrk="0" hangingPunct="1"/>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138,540</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352301">
                <a:tc>
                  <a:txBody>
                    <a:bodyPr/>
                    <a:lstStyle/>
                    <a:p>
                      <a:pPr marL="0" algn="l" defTabSz="914395" rtl="0" eaLnBrk="1" fontAlgn="t" latinLnBrk="0" hangingPunct="1"/>
                      <a:r>
                        <a:rPr lang="en-US" sz="1100" b="0" i="0" u="none" strike="noStrike" kern="1200" dirty="0">
                          <a:solidFill>
                            <a:schemeClr val="tx1"/>
                          </a:solidFill>
                          <a:effectLst/>
                          <a:latin typeface="Arial" panose="020B0604020202020204" pitchFamily="34" charset="0"/>
                          <a:ea typeface="+mn-ea"/>
                          <a:cs typeface="+mn-cs"/>
                        </a:rPr>
                        <a:t>Number of VBA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algn="r" defTabSz="914395" rtl="0" eaLnBrk="1" fontAlgn="t" latinLnBrk="0" hangingPunct="1"/>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TBD</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08111709"/>
                  </a:ext>
                </a:extLst>
              </a:tr>
              <a:tr h="352301">
                <a:tc>
                  <a:txBody>
                    <a:bodyPr/>
                    <a:lstStyle/>
                    <a:p>
                      <a:pPr marL="0" algn="l" defTabSz="914395" rtl="0" eaLnBrk="1" fontAlgn="t" latinLnBrk="0" hangingPunct="1"/>
                      <a:r>
                        <a:rPr lang="en-US" sz="1100" b="0" i="0" u="none" strike="noStrike" kern="1200" dirty="0">
                          <a:solidFill>
                            <a:schemeClr val="tx1"/>
                          </a:solidFill>
                          <a:effectLst/>
                          <a:latin typeface="Arial" panose="020B0604020202020204" pitchFamily="34" charset="0"/>
                          <a:ea typeface="+mn-ea"/>
                          <a:cs typeface="+mn-cs"/>
                        </a:rPr>
                        <a:t>Number of</a:t>
                      </a:r>
                      <a:r>
                        <a:rPr lang="en-US" sz="1100" b="0" i="0" u="none" strike="noStrike" kern="1200" baseline="0" dirty="0">
                          <a:solidFill>
                            <a:schemeClr val="tx1"/>
                          </a:solidFill>
                          <a:effectLst/>
                          <a:latin typeface="Arial" panose="020B0604020202020204" pitchFamily="34" charset="0"/>
                          <a:ea typeface="+mn-ea"/>
                          <a:cs typeface="+mn-cs"/>
                        </a:rPr>
                        <a:t> mother demos</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en-US" sz="1100" dirty="0">
                          <a:solidFill>
                            <a:schemeClr val="tx1"/>
                          </a:solidFill>
                          <a:latin typeface="Arial" panose="020B0604020202020204" pitchFamily="34" charset="0"/>
                          <a:cs typeface="Arial" panose="020B0604020202020204" pitchFamily="34" charset="0"/>
                        </a:rPr>
                        <a:t>47</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30782550"/>
                  </a:ext>
                </a:extLst>
              </a:tr>
              <a:tr h="352301">
                <a:tc>
                  <a:txBody>
                    <a:bodyPr/>
                    <a:lstStyle/>
                    <a:p>
                      <a:pPr marL="0" lvl="1" indent="0" algn="l" defTabSz="914395" rtl="0" eaLnBrk="1" fontAlgn="t" latinLnBrk="0" hangingPunct="1"/>
                      <a:r>
                        <a:rPr lang="en-US" sz="1100" b="0" i="0" u="none" strike="noStrike" kern="1200" dirty="0">
                          <a:solidFill>
                            <a:schemeClr val="tx1"/>
                          </a:solidFill>
                          <a:effectLst/>
                          <a:latin typeface="Arial" panose="020B0604020202020204" pitchFamily="34" charset="0"/>
                          <a:ea typeface="+mn-ea"/>
                          <a:cs typeface="+mn-cs"/>
                        </a:rPr>
                        <a:t>Quantity</a:t>
                      </a:r>
                      <a:r>
                        <a:rPr lang="en-US" sz="1100" b="0" i="0" u="none" strike="noStrike" kern="1200" baseline="0" dirty="0">
                          <a:solidFill>
                            <a:schemeClr val="tx1"/>
                          </a:solidFill>
                          <a:effectLst/>
                          <a:latin typeface="Arial" panose="020B0604020202020204" pitchFamily="34" charset="0"/>
                          <a:ea typeface="+mn-ea"/>
                          <a:cs typeface="+mn-cs"/>
                        </a:rPr>
                        <a:t> of produce sold (MT)</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algn="r" defTabSz="914395" rtl="0" eaLnBrk="1" fontAlgn="t" latinLnBrk="0" hangingPunct="1"/>
                      <a:r>
                        <a:rPr lang="en-US" sz="1100" b="0" i="0" u="none" strike="noStrike" kern="1200" dirty="0">
                          <a:solidFill>
                            <a:schemeClr val="tx1"/>
                          </a:solidFill>
                          <a:effectLst/>
                          <a:latin typeface="Arial" panose="020B0604020202020204" pitchFamily="34" charset="0"/>
                          <a:ea typeface="+mn-ea"/>
                          <a:cs typeface="Arial" panose="020B0604020202020204" pitchFamily="34" charset="0"/>
                        </a:rPr>
                        <a:t>17,274</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352301">
                <a:tc>
                  <a:txBody>
                    <a:bodyPr/>
                    <a:lstStyle/>
                    <a:p>
                      <a:pPr marL="0" lvl="1" indent="0" algn="l" defTabSz="914395" rtl="0" eaLnBrk="1" fontAlgn="t" latinLnBrk="0" hangingPunct="1"/>
                      <a:r>
                        <a:rPr lang="en-US" sz="1100" b="0" i="0" u="none" strike="noStrike" kern="1200" dirty="0">
                          <a:solidFill>
                            <a:schemeClr val="tx1"/>
                          </a:solidFill>
                          <a:effectLst/>
                          <a:latin typeface="Arial" panose="020B0604020202020204" pitchFamily="34" charset="0"/>
                          <a:ea typeface="+mn-ea"/>
                          <a:cs typeface="+mn-cs"/>
                        </a:rPr>
                        <a:t>Value of produce ($US) sold</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en-US" sz="1100" dirty="0">
                          <a:solidFill>
                            <a:schemeClr val="tx1"/>
                          </a:solidFill>
                          <a:latin typeface="Arial" panose="020B0604020202020204" pitchFamily="34" charset="0"/>
                          <a:cs typeface="Arial" panose="020B0604020202020204" pitchFamily="34" charset="0"/>
                        </a:rPr>
                        <a:t>5,938,021</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352301">
                <a:tc>
                  <a:txBody>
                    <a:bodyPr/>
                    <a:lstStyle/>
                    <a:p>
                      <a:pPr marL="0" algn="l" defTabSz="914395" rtl="0" eaLnBrk="1" fontAlgn="t" latinLnBrk="0" hangingPunct="1"/>
                      <a:r>
                        <a:rPr lang="en-US" sz="1100" b="0" i="0" u="none" strike="noStrike" kern="1200" dirty="0">
                          <a:solidFill>
                            <a:schemeClr val="tx1"/>
                          </a:solidFill>
                          <a:effectLst/>
                          <a:latin typeface="Arial" panose="020B0604020202020204" pitchFamily="34" charset="0"/>
                          <a:ea typeface="+mn-ea"/>
                          <a:cs typeface="+mn-cs"/>
                        </a:rPr>
                        <a:t>Number of policies</a:t>
                      </a:r>
                      <a:r>
                        <a:rPr lang="en-US" sz="1100" b="0" i="0" u="none" strike="noStrike" kern="1200" baseline="0" dirty="0">
                          <a:solidFill>
                            <a:schemeClr val="tx1"/>
                          </a:solidFill>
                          <a:effectLst/>
                          <a:latin typeface="Arial" panose="020B0604020202020204" pitchFamily="34" charset="0"/>
                          <a:ea typeface="+mn-ea"/>
                          <a:cs typeface="+mn-cs"/>
                        </a:rPr>
                        <a:t> reformed</a:t>
                      </a:r>
                      <a:endParaRPr lang="en-US" sz="1100" b="0" i="0" u="none" strike="noStrike" kern="1200" dirty="0">
                        <a:solidFill>
                          <a:schemeClr val="tx1"/>
                        </a:solidFill>
                        <a:effectLst/>
                        <a:latin typeface="Arial" panose="020B0604020202020204" pitchFamily="34" charset="0"/>
                        <a:ea typeface="+mn-ea"/>
                        <a:cs typeface="+mn-cs"/>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r"/>
                      <a:r>
                        <a:rPr lang="en-US" sz="1100" dirty="0">
                          <a:solidFill>
                            <a:schemeClr val="tx1"/>
                          </a:solidFill>
                          <a:latin typeface="Arial" panose="020B0604020202020204" pitchFamily="34" charset="0"/>
                          <a:cs typeface="Arial" panose="020B0604020202020204" pitchFamily="34" charset="0"/>
                        </a:rPr>
                        <a:t>2</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2386804155"/>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450740" y="134053"/>
            <a:ext cx="7245459" cy="582389"/>
          </a:xfrm>
          <a:prstGeom prst="rect">
            <a:avLst/>
          </a:prstGeom>
          <a:noFill/>
          <a:ln>
            <a:noFill/>
          </a:ln>
        </p:spPr>
        <p:txBody>
          <a:bodyPr spcFirstLastPara="1" wrap="square" lIns="0" tIns="0" rIns="0" bIns="0" anchor="b" anchorCtr="0"/>
          <a:lstStyle>
            <a:defPPr marR="0" lvl="0" algn="l" rtl="0">
              <a:lnSpc>
                <a:spcPct val="100000"/>
              </a:lnSpc>
              <a:spcBef>
                <a:spcPts val="0"/>
              </a:spcBef>
              <a:spcAft>
                <a:spcPts val="0"/>
              </a:spcAft>
            </a:defPPr>
            <a:lvl1pPr marL="0" indent="0" defTabSz="914395" eaLnBrk="1" fontAlgn="auto" latinLnBrk="0" hangingPunct="1">
              <a:lnSpc>
                <a:spcPct val="90000"/>
              </a:lnSpc>
              <a:buClr>
                <a:schemeClr val="dk1"/>
              </a:buClr>
              <a:buSzPts val="2200"/>
              <a:buNone/>
              <a:tabLst/>
              <a:defRPr lang="en-US" sz="2200" b="1" smtClean="0">
                <a:solidFill>
                  <a:schemeClr val="dk1"/>
                </a:solidFill>
              </a:defRPr>
            </a:lvl1pPr>
          </a:lstStyle>
          <a:p>
            <a:r>
              <a:rPr lang="en-US" dirty="0"/>
              <a:t>Details of Proposed Investments in </a:t>
            </a:r>
            <a:r>
              <a:rPr lang="en-US" dirty="0" smtClean="0"/>
              <a:t>Ethiopia</a:t>
            </a:r>
            <a:endParaRPr lang="en-US" dirty="0"/>
          </a:p>
        </p:txBody>
      </p:sp>
      <p:graphicFrame>
        <p:nvGraphicFramePr>
          <p:cNvPr id="4" name="Table 3"/>
          <p:cNvGraphicFramePr>
            <a:graphicFrameLocks noGrp="1"/>
          </p:cNvGraphicFramePr>
          <p:nvPr>
            <p:extLst/>
          </p:nvPr>
        </p:nvGraphicFramePr>
        <p:xfrm>
          <a:off x="63796" y="1576609"/>
          <a:ext cx="9662095" cy="5227320"/>
        </p:xfrm>
        <a:graphic>
          <a:graphicData uri="http://schemas.openxmlformats.org/drawingml/2006/table">
            <a:tbl>
              <a:tblPr firstRow="1" bandRow="1">
                <a:tableStyleId>{41E0FAD3-7C2D-4B5A-B7BA-DEB1A53D0DEB}</a:tableStyleId>
              </a:tblPr>
              <a:tblGrid>
                <a:gridCol w="786810">
                  <a:extLst>
                    <a:ext uri="{9D8B030D-6E8A-4147-A177-3AD203B41FA5}">
                      <a16:colId xmlns:a16="http://schemas.microsoft.com/office/drawing/2014/main" val="20000"/>
                    </a:ext>
                  </a:extLst>
                </a:gridCol>
                <a:gridCol w="2690037">
                  <a:extLst>
                    <a:ext uri="{9D8B030D-6E8A-4147-A177-3AD203B41FA5}">
                      <a16:colId xmlns:a16="http://schemas.microsoft.com/office/drawing/2014/main" val="20001"/>
                    </a:ext>
                  </a:extLst>
                </a:gridCol>
                <a:gridCol w="4387622">
                  <a:extLst>
                    <a:ext uri="{9D8B030D-6E8A-4147-A177-3AD203B41FA5}">
                      <a16:colId xmlns:a16="http://schemas.microsoft.com/office/drawing/2014/main" val="20003"/>
                    </a:ext>
                  </a:extLst>
                </a:gridCol>
                <a:gridCol w="945572">
                  <a:extLst>
                    <a:ext uri="{9D8B030D-6E8A-4147-A177-3AD203B41FA5}">
                      <a16:colId xmlns:a16="http://schemas.microsoft.com/office/drawing/2014/main" val="4101559693"/>
                    </a:ext>
                  </a:extLst>
                </a:gridCol>
                <a:gridCol w="852054">
                  <a:extLst>
                    <a:ext uri="{9D8B030D-6E8A-4147-A177-3AD203B41FA5}">
                      <a16:colId xmlns:a16="http://schemas.microsoft.com/office/drawing/2014/main" val="20004"/>
                    </a:ext>
                  </a:extLst>
                </a:gridCol>
              </a:tblGrid>
              <a:tr h="370840">
                <a:tc>
                  <a:txBody>
                    <a:bodyPr/>
                    <a:lstStyle/>
                    <a:p>
                      <a:r>
                        <a:rPr lang="en-US" sz="1100" dirty="0" smtClean="0">
                          <a:latin typeface="+mj-lt"/>
                        </a:rPr>
                        <a:t>Area of Work</a:t>
                      </a:r>
                      <a:endParaRPr lang="en-US" sz="1100" dirty="0">
                        <a:latin typeface="+mj-lt"/>
                      </a:endParaRPr>
                    </a:p>
                  </a:txBody>
                  <a:tcPr/>
                </a:tc>
                <a:tc>
                  <a:txBody>
                    <a:bodyPr/>
                    <a:lstStyle/>
                    <a:p>
                      <a:r>
                        <a:rPr lang="en-US" sz="1100" dirty="0" smtClean="0">
                          <a:latin typeface="+mj-lt"/>
                        </a:rPr>
                        <a:t>Description</a:t>
                      </a:r>
                      <a:endParaRPr lang="en-US" sz="1100" dirty="0">
                        <a:latin typeface="+mj-lt"/>
                      </a:endParaRPr>
                    </a:p>
                  </a:txBody>
                  <a:tcPr/>
                </a:tc>
                <a:tc>
                  <a:txBody>
                    <a:bodyPr/>
                    <a:lstStyle/>
                    <a:p>
                      <a:r>
                        <a:rPr lang="en-US" sz="1100" dirty="0" smtClean="0">
                          <a:latin typeface="+mj-lt"/>
                        </a:rPr>
                        <a:t>Rationale</a:t>
                      </a:r>
                      <a:endParaRPr lang="en-US" sz="1100" dirty="0">
                        <a:latin typeface="+mj-lt"/>
                      </a:endParaRPr>
                    </a:p>
                  </a:txBody>
                  <a:tcPr/>
                </a:tc>
                <a:tc>
                  <a:txBody>
                    <a:bodyPr/>
                    <a:lstStyle/>
                    <a:p>
                      <a:r>
                        <a:rPr lang="en-US" sz="1100" dirty="0" smtClean="0">
                          <a:latin typeface="+mj-lt"/>
                        </a:rPr>
                        <a:t>Target</a:t>
                      </a:r>
                      <a:r>
                        <a:rPr lang="en-US" sz="1100" baseline="0" dirty="0" smtClean="0">
                          <a:latin typeface="+mj-lt"/>
                        </a:rPr>
                        <a:t> Population</a:t>
                      </a:r>
                      <a:endParaRPr lang="en-US" sz="1100" dirty="0">
                        <a:latin typeface="+mj-lt"/>
                      </a:endParaRPr>
                    </a:p>
                  </a:txBody>
                  <a:tcPr/>
                </a:tc>
                <a:tc>
                  <a:txBody>
                    <a:bodyPr/>
                    <a:lstStyle/>
                    <a:p>
                      <a:r>
                        <a:rPr lang="en-US" sz="1100" dirty="0" smtClean="0">
                          <a:latin typeface="+mj-lt"/>
                        </a:rPr>
                        <a:t>Estimated cost</a:t>
                      </a:r>
                      <a:endParaRPr lang="en-US" sz="1100" dirty="0">
                        <a:latin typeface="+mj-lt"/>
                      </a:endParaRPr>
                    </a:p>
                  </a:txBody>
                  <a:tcPr/>
                </a:tc>
                <a:extLst>
                  <a:ext uri="{0D108BD9-81ED-4DB2-BD59-A6C34878D82A}">
                    <a16:rowId xmlns:a16="http://schemas.microsoft.com/office/drawing/2014/main" val="10000"/>
                  </a:ext>
                </a:extLst>
              </a:tr>
              <a:tr h="370840">
                <a:tc>
                  <a:txBody>
                    <a:bodyPr/>
                    <a:lstStyle/>
                    <a:p>
                      <a:r>
                        <a:rPr lang="en-US" sz="1100" b="1" dirty="0" smtClean="0">
                          <a:latin typeface="+mj-lt"/>
                        </a:rPr>
                        <a:t>Policy and State Capacity </a:t>
                      </a:r>
                      <a:endParaRPr lang="en-US" sz="1100" b="1" dirty="0">
                        <a:latin typeface="+mj-lt"/>
                      </a:endParaRPr>
                    </a:p>
                  </a:txBody>
                  <a:tcPr/>
                </a:tc>
                <a:tc>
                  <a:txBody>
                    <a:bodyPr/>
                    <a:lstStyle/>
                    <a:p>
                      <a:r>
                        <a:rPr lang="en-US" sz="1100" b="1" dirty="0" smtClean="0">
                          <a:latin typeface="+mj-lt"/>
                        </a:rPr>
                        <a:t>State capacity building / implementation support</a:t>
                      </a:r>
                    </a:p>
                    <a:p>
                      <a:pPr marL="171450" indent="-171450">
                        <a:buFont typeface="Arial" panose="020B0604020202020204" pitchFamily="34" charset="0"/>
                        <a:buChar char="•"/>
                      </a:pPr>
                      <a:r>
                        <a:rPr lang="en-US" sz="1100" dirty="0" smtClean="0">
                          <a:latin typeface="+mj-lt"/>
                        </a:rPr>
                        <a:t>Support to the Government of Ethiopia for NAIP development</a:t>
                      </a:r>
                    </a:p>
                    <a:p>
                      <a:pPr marL="171450" indent="-171450">
                        <a:buFont typeface="Arial" panose="020B0604020202020204" pitchFamily="34" charset="0"/>
                        <a:buChar char="•"/>
                      </a:pPr>
                      <a:r>
                        <a:rPr lang="en-US" sz="1100" dirty="0" smtClean="0">
                          <a:latin typeface="+mj-lt"/>
                        </a:rPr>
                        <a:t>Support in reforming policies</a:t>
                      </a:r>
                      <a:r>
                        <a:rPr lang="en-US" sz="1100" baseline="0" dirty="0" smtClean="0">
                          <a:latin typeface="+mj-lt"/>
                        </a:rPr>
                        <a:t> and regulation to spur private sector investment in agriculture</a:t>
                      </a:r>
                      <a:endParaRPr lang="en-US" sz="1100" dirty="0" smtClean="0">
                        <a:latin typeface="+mj-lt"/>
                      </a:endParaRPr>
                    </a:p>
                  </a:txBody>
                  <a:tcPr/>
                </a:tc>
                <a:tc>
                  <a:txBody>
                    <a:bodyPr/>
                    <a:lstStyle/>
                    <a:p>
                      <a:pPr marL="171450" indent="-171450">
                        <a:buFont typeface="Arial" panose="020B0604020202020204" pitchFamily="34" charset="0"/>
                        <a:buChar char="•"/>
                      </a:pPr>
                      <a:r>
                        <a:rPr lang="en-US" sz="1100" dirty="0" smtClean="0">
                          <a:latin typeface="+mj-lt"/>
                        </a:rPr>
                        <a:t>NAIP will help the government to prioritize investment for agricultural transformation and mobilize own</a:t>
                      </a:r>
                      <a:r>
                        <a:rPr lang="en-US" sz="1100" baseline="0" dirty="0" smtClean="0">
                          <a:latin typeface="+mj-lt"/>
                        </a:rPr>
                        <a:t> or development partners’ and private sector </a:t>
                      </a:r>
                      <a:r>
                        <a:rPr lang="en-US" sz="1100" dirty="0" smtClean="0">
                          <a:latin typeface="+mj-lt"/>
                        </a:rPr>
                        <a:t>resources</a:t>
                      </a:r>
                    </a:p>
                    <a:p>
                      <a:pPr marL="171450" indent="-171450">
                        <a:buFont typeface="Arial" panose="020B0604020202020204" pitchFamily="34" charset="0"/>
                        <a:buChar char="•"/>
                      </a:pPr>
                      <a:endParaRPr lang="en-US" sz="1100" dirty="0" smtClean="0">
                        <a:latin typeface="+mj-lt"/>
                      </a:endParaRPr>
                    </a:p>
                    <a:p>
                      <a:pPr marL="171450" indent="-171450">
                        <a:buFont typeface="Arial" panose="020B0604020202020204" pitchFamily="34" charset="0"/>
                        <a:buChar char="•"/>
                      </a:pPr>
                      <a:endParaRPr lang="en-US" sz="1100" dirty="0" smtClean="0">
                        <a:latin typeface="+mj-lt"/>
                      </a:endParaRPr>
                    </a:p>
                    <a:p>
                      <a:pPr marL="171450" indent="-171450">
                        <a:buFont typeface="Arial" panose="020B0604020202020204" pitchFamily="34" charset="0"/>
                        <a:buChar char="•"/>
                      </a:pPr>
                      <a:r>
                        <a:rPr lang="en-US" sz="1100" dirty="0" smtClean="0">
                          <a:latin typeface="+mj-lt"/>
                        </a:rPr>
                        <a:t>With the current</a:t>
                      </a:r>
                      <a:r>
                        <a:rPr lang="en-US" sz="1100" baseline="0" dirty="0" smtClean="0">
                          <a:latin typeface="+mj-lt"/>
                        </a:rPr>
                        <a:t> reform environment there are opportunities to reform policies that hider private sector investment and build on MIRA’s success in Ethiopia</a:t>
                      </a:r>
                      <a:endParaRPr lang="en-US" sz="1100" dirty="0">
                        <a:latin typeface="+mj-lt"/>
                      </a:endParaRPr>
                    </a:p>
                  </a:txBody>
                  <a:tcPr/>
                </a:tc>
                <a:tc>
                  <a:txBody>
                    <a:bodyPr/>
                    <a:lstStyle/>
                    <a:p>
                      <a:r>
                        <a:rPr lang="en-US" sz="1100" dirty="0" smtClean="0">
                          <a:latin typeface="+mj-lt"/>
                        </a:rPr>
                        <a:t>National</a:t>
                      </a:r>
                      <a:endParaRPr lang="en-US" sz="1100" dirty="0">
                        <a:latin typeface="+mj-lt"/>
                      </a:endParaRPr>
                    </a:p>
                  </a:txBody>
                  <a:tcPr/>
                </a:tc>
                <a:tc>
                  <a:txBody>
                    <a:bodyPr/>
                    <a:lstStyle/>
                    <a:p>
                      <a:r>
                        <a:rPr lang="en-US" sz="1100" dirty="0" smtClean="0">
                          <a:latin typeface="+mj-lt"/>
                        </a:rPr>
                        <a:t>1,000,000</a:t>
                      </a:r>
                    </a:p>
                    <a:p>
                      <a:endParaRPr lang="en-US" sz="1100" dirty="0" smtClean="0">
                        <a:latin typeface="+mj-lt"/>
                      </a:endParaRPr>
                    </a:p>
                    <a:p>
                      <a:endParaRPr lang="en-US" sz="1100" dirty="0" smtClean="0">
                        <a:latin typeface="+mj-lt"/>
                      </a:endParaRPr>
                    </a:p>
                    <a:p>
                      <a:endParaRPr lang="en-US" sz="1100" dirty="0" smtClean="0">
                        <a:latin typeface="+mj-lt"/>
                      </a:endParaRPr>
                    </a:p>
                    <a:p>
                      <a:r>
                        <a:rPr lang="en-US" sz="1100" dirty="0" smtClean="0">
                          <a:latin typeface="+mj-lt"/>
                        </a:rPr>
                        <a:t>1,000,000</a:t>
                      </a:r>
                      <a:endParaRPr lang="en-US" sz="1100" dirty="0">
                        <a:latin typeface="+mj-lt"/>
                      </a:endParaRPr>
                    </a:p>
                  </a:txBody>
                  <a:tcPr/>
                </a:tc>
                <a:extLst>
                  <a:ext uri="{0D108BD9-81ED-4DB2-BD59-A6C34878D82A}">
                    <a16:rowId xmlns:a16="http://schemas.microsoft.com/office/drawing/2014/main" val="10001"/>
                  </a:ext>
                </a:extLst>
              </a:tr>
              <a:tr h="370840">
                <a:tc rowSpan="2">
                  <a:txBody>
                    <a:bodyPr/>
                    <a:lstStyle/>
                    <a:p>
                      <a:r>
                        <a:rPr lang="en-US" sz="1100" b="1" dirty="0" smtClean="0">
                          <a:latin typeface="+mj-lt"/>
                        </a:rPr>
                        <a:t>Systems Develop-</a:t>
                      </a:r>
                      <a:r>
                        <a:rPr lang="en-US" sz="1100" b="1" dirty="0" err="1" smtClean="0">
                          <a:latin typeface="+mj-lt"/>
                        </a:rPr>
                        <a:t>ment</a:t>
                      </a:r>
                      <a:r>
                        <a:rPr lang="en-US" sz="1100" b="1" dirty="0" smtClean="0">
                          <a:latin typeface="+mj-lt"/>
                        </a:rPr>
                        <a:t> </a:t>
                      </a:r>
                      <a:endParaRPr lang="en-US" sz="1100" b="1" dirty="0">
                        <a:latin typeface="+mj-lt"/>
                      </a:endParaRPr>
                    </a:p>
                  </a:txBody>
                  <a:tcPr/>
                </a:tc>
                <a:tc>
                  <a:txBody>
                    <a:bodyPr/>
                    <a:lstStyle/>
                    <a:p>
                      <a:pPr marR="0" algn="l" rtl="0">
                        <a:lnSpc>
                          <a:spcPct val="100000"/>
                        </a:lnSpc>
                        <a:spcBef>
                          <a:spcPts val="0"/>
                        </a:spcBef>
                        <a:spcAft>
                          <a:spcPts val="0"/>
                        </a:spcAft>
                        <a:buClr>
                          <a:srgbClr val="000000"/>
                        </a:buClr>
                        <a:buFont typeface="Arial"/>
                      </a:pPr>
                      <a:r>
                        <a:rPr lang="en-US" sz="1100" b="1" i="0" u="none" strike="noStrike" cap="none" dirty="0" smtClean="0">
                          <a:solidFill>
                            <a:schemeClr val="dk1"/>
                          </a:solidFill>
                          <a:latin typeface="+mj-lt"/>
                          <a:ea typeface="Calibri"/>
                          <a:cs typeface="Calibri"/>
                          <a:sym typeface="Arial"/>
                        </a:rPr>
                        <a:t>Integrated  Value Chain Development in Oromia</a:t>
                      </a:r>
                    </a:p>
                    <a:p>
                      <a:pPr marL="171450" marR="0" indent="-171450" algn="l" rtl="0">
                        <a:lnSpc>
                          <a:spcPct val="100000"/>
                        </a:lnSpc>
                        <a:spcBef>
                          <a:spcPts val="0"/>
                        </a:spcBef>
                        <a:spcAft>
                          <a:spcPts val="0"/>
                        </a:spcAft>
                        <a:buClr>
                          <a:srgbClr val="000000"/>
                        </a:buClr>
                        <a:buFont typeface="Arial" panose="020B0604020202020204" pitchFamily="34" charset="0"/>
                        <a:buChar char="•"/>
                      </a:pPr>
                      <a:r>
                        <a:rPr lang="en-US" sz="1100" b="0" i="0" u="none" strike="noStrike" cap="none" dirty="0" smtClean="0">
                          <a:solidFill>
                            <a:schemeClr val="dk1"/>
                          </a:solidFill>
                          <a:latin typeface="+mj-lt"/>
                          <a:ea typeface="Calibri"/>
                          <a:cs typeface="Calibri"/>
                          <a:sym typeface="Arial"/>
                        </a:rPr>
                        <a:t>Strengthening Agricultural Extension, Inputs and Marketing Systems in Oromia</a:t>
                      </a:r>
                    </a:p>
                    <a:p>
                      <a:pPr marL="171450" marR="0" indent="-171450" algn="l" rtl="0">
                        <a:lnSpc>
                          <a:spcPct val="100000"/>
                        </a:lnSpc>
                        <a:spcBef>
                          <a:spcPts val="0"/>
                        </a:spcBef>
                        <a:spcAft>
                          <a:spcPts val="0"/>
                        </a:spcAft>
                        <a:buClr>
                          <a:srgbClr val="000000"/>
                        </a:buClr>
                        <a:buFont typeface="Arial" panose="020B0604020202020204" pitchFamily="34" charset="0"/>
                        <a:buChar char="•"/>
                      </a:pPr>
                      <a:endParaRPr lang="en-US" sz="1100" b="0" i="0" u="none" strike="noStrike" cap="none" dirty="0" smtClean="0">
                        <a:solidFill>
                          <a:schemeClr val="dk1"/>
                        </a:solidFill>
                        <a:latin typeface="+mj-lt"/>
                        <a:ea typeface="Calibri"/>
                        <a:cs typeface="Calibri"/>
                        <a:sym typeface="Arial"/>
                      </a:endParaRPr>
                    </a:p>
                    <a:p>
                      <a:pPr marL="171450" marR="0" indent="-171450" algn="l" rtl="0">
                        <a:lnSpc>
                          <a:spcPct val="100000"/>
                        </a:lnSpc>
                        <a:spcBef>
                          <a:spcPts val="0"/>
                        </a:spcBef>
                        <a:spcAft>
                          <a:spcPts val="0"/>
                        </a:spcAft>
                        <a:buClr>
                          <a:srgbClr val="000000"/>
                        </a:buClr>
                        <a:buFont typeface="Arial" panose="020B0604020202020204" pitchFamily="34" charset="0"/>
                        <a:buChar char="•"/>
                      </a:pPr>
                      <a:endParaRPr lang="en-US" sz="1100" b="0" i="0" u="none" strike="noStrike" cap="none" dirty="0" smtClean="0">
                        <a:solidFill>
                          <a:schemeClr val="dk1"/>
                        </a:solidFill>
                        <a:latin typeface="+mj-lt"/>
                        <a:ea typeface="Calibri"/>
                        <a:cs typeface="Calibri"/>
                        <a:sym typeface="Arial"/>
                      </a:endParaRPr>
                    </a:p>
                    <a:p>
                      <a:pPr marL="171450" marR="0" indent="-171450" algn="l" rtl="0">
                        <a:lnSpc>
                          <a:spcPct val="100000"/>
                        </a:lnSpc>
                        <a:spcBef>
                          <a:spcPts val="0"/>
                        </a:spcBef>
                        <a:spcAft>
                          <a:spcPts val="0"/>
                        </a:spcAft>
                        <a:buClr>
                          <a:srgbClr val="000000"/>
                        </a:buClr>
                        <a:buFont typeface="Arial" panose="020B0604020202020204" pitchFamily="34" charset="0"/>
                        <a:buChar char="•"/>
                      </a:pPr>
                      <a:endParaRPr lang="en-US" sz="1100" b="0" i="0" u="none" strike="noStrike" cap="none" dirty="0" smtClean="0">
                        <a:solidFill>
                          <a:schemeClr val="dk1"/>
                        </a:solidFill>
                        <a:latin typeface="+mj-lt"/>
                        <a:ea typeface="Calibri"/>
                        <a:cs typeface="Calibri"/>
                        <a:sym typeface="Arial"/>
                      </a:endParaRPr>
                    </a:p>
                    <a:p>
                      <a:pPr marL="171450" marR="0" indent="-171450" algn="l" rtl="0">
                        <a:lnSpc>
                          <a:spcPct val="100000"/>
                        </a:lnSpc>
                        <a:spcBef>
                          <a:spcPts val="0"/>
                        </a:spcBef>
                        <a:spcAft>
                          <a:spcPts val="0"/>
                        </a:spcAft>
                        <a:buClr>
                          <a:srgbClr val="000000"/>
                        </a:buClr>
                        <a:buFont typeface="Arial" panose="020B0604020202020204" pitchFamily="34" charset="0"/>
                        <a:buChar char="•"/>
                      </a:pPr>
                      <a:endParaRPr lang="en-US" sz="1100" b="0" i="0" u="none" strike="noStrike" cap="none" dirty="0" smtClean="0">
                        <a:solidFill>
                          <a:schemeClr val="dk1"/>
                        </a:solidFill>
                        <a:latin typeface="+mj-lt"/>
                        <a:ea typeface="Calibri"/>
                        <a:cs typeface="Calibri"/>
                        <a:sym typeface="Arial"/>
                      </a:endParaRPr>
                    </a:p>
                    <a:p>
                      <a:pPr marL="171450" marR="0" indent="-171450" algn="l" rtl="0">
                        <a:lnSpc>
                          <a:spcPct val="100000"/>
                        </a:lnSpc>
                        <a:spcBef>
                          <a:spcPts val="0"/>
                        </a:spcBef>
                        <a:spcAft>
                          <a:spcPts val="0"/>
                        </a:spcAft>
                        <a:buClr>
                          <a:srgbClr val="000000"/>
                        </a:buClr>
                        <a:buFont typeface="Arial" panose="020B0604020202020204" pitchFamily="34" charset="0"/>
                        <a:buChar char="•"/>
                      </a:pPr>
                      <a:r>
                        <a:rPr lang="en-US" sz="1100" b="0" i="0" u="none" strike="noStrike" cap="none" dirty="0" smtClean="0">
                          <a:solidFill>
                            <a:schemeClr val="dk1"/>
                          </a:solidFill>
                          <a:latin typeface="+mj-lt"/>
                          <a:ea typeface="Calibri"/>
                          <a:cs typeface="Calibri"/>
                          <a:sym typeface="Arial"/>
                        </a:rPr>
                        <a:t>Validation</a:t>
                      </a:r>
                      <a:r>
                        <a:rPr lang="en-US" sz="1100" b="0" i="0" u="none" strike="noStrike" cap="none" baseline="0" dirty="0" smtClean="0">
                          <a:solidFill>
                            <a:schemeClr val="dk1"/>
                          </a:solidFill>
                          <a:latin typeface="+mj-lt"/>
                          <a:ea typeface="Calibri"/>
                          <a:cs typeface="Calibri"/>
                          <a:sym typeface="Arial"/>
                        </a:rPr>
                        <a:t> of new fertilizer blends to develop agro-ecology and crop-specific fertilizer recommendation</a:t>
                      </a:r>
                      <a:endParaRPr lang="en-US" sz="1100" b="0" i="0" u="none" strike="noStrike" cap="none" dirty="0">
                        <a:solidFill>
                          <a:schemeClr val="dk1"/>
                        </a:solidFill>
                        <a:latin typeface="+mj-lt"/>
                        <a:ea typeface="Calibri"/>
                        <a:cs typeface="Calibri"/>
                        <a:sym typeface="Arial"/>
                      </a:endParaRPr>
                    </a:p>
                  </a:txBody>
                  <a:tcPr/>
                </a:tc>
                <a:tc>
                  <a:txBody>
                    <a:bodyPr/>
                    <a:lstStyle/>
                    <a:p>
                      <a:pPr marL="171450" indent="-171450">
                        <a:buFont typeface="Arial" panose="020B0604020202020204" pitchFamily="34" charset="0"/>
                        <a:buChar char="•"/>
                      </a:pPr>
                      <a:r>
                        <a:rPr lang="en-US" sz="1100" dirty="0" smtClean="0">
                          <a:latin typeface="+mj-lt"/>
                        </a:rPr>
                        <a:t>This project is designed to create a demand pull to spur technology adoption and hence productivity of wheat and maize crops, reduce wheat</a:t>
                      </a:r>
                      <a:r>
                        <a:rPr lang="en-US" sz="1100" baseline="0" dirty="0" smtClean="0">
                          <a:latin typeface="+mj-lt"/>
                        </a:rPr>
                        <a:t> imports </a:t>
                      </a:r>
                      <a:r>
                        <a:rPr lang="en-US" sz="1100" dirty="0" smtClean="0">
                          <a:latin typeface="+mj-lt"/>
                        </a:rPr>
                        <a:t>and income increases to smallholder farmers by creating sustainable market</a:t>
                      </a:r>
                      <a:r>
                        <a:rPr lang="en-US" sz="1100" baseline="0" dirty="0" smtClean="0">
                          <a:latin typeface="+mj-lt"/>
                        </a:rPr>
                        <a:t> linkages with </a:t>
                      </a:r>
                      <a:r>
                        <a:rPr lang="en-US" sz="1100" baseline="0" dirty="0" err="1" smtClean="0">
                          <a:latin typeface="+mj-lt"/>
                        </a:rPr>
                        <a:t>offtakers</a:t>
                      </a:r>
                      <a:r>
                        <a:rPr lang="en-US" sz="1100" baseline="0" dirty="0" smtClean="0">
                          <a:latin typeface="+mj-lt"/>
                        </a:rPr>
                        <a:t> and linking farmers to input and service providers and demonstration of technologies and improved farm practices. Currently Ethiopia faces severe forex crunches and imports about a million </a:t>
                      </a:r>
                      <a:r>
                        <a:rPr lang="en-US" sz="1100" baseline="0" dirty="0" err="1" smtClean="0">
                          <a:latin typeface="+mj-lt"/>
                        </a:rPr>
                        <a:t>mt</a:t>
                      </a:r>
                      <a:r>
                        <a:rPr lang="en-US" sz="1100" baseline="0" dirty="0" smtClean="0">
                          <a:latin typeface="+mj-lt"/>
                        </a:rPr>
                        <a:t> of wheat at a cost of $500 million.</a:t>
                      </a:r>
                    </a:p>
                    <a:p>
                      <a:pPr marL="171450" indent="-171450">
                        <a:buFont typeface="Arial" panose="020B0604020202020204" pitchFamily="34" charset="0"/>
                        <a:buChar char="•"/>
                      </a:pPr>
                      <a:endParaRPr lang="en-US" sz="1100" baseline="0" dirty="0" smtClean="0">
                        <a:latin typeface="+mj-lt"/>
                      </a:endParaRPr>
                    </a:p>
                    <a:p>
                      <a:pPr marL="171450" indent="-171450">
                        <a:buFont typeface="Arial" panose="020B0604020202020204" pitchFamily="34" charset="0"/>
                        <a:buChar char="•"/>
                      </a:pPr>
                      <a:r>
                        <a:rPr lang="en-US" sz="1100" dirty="0" smtClean="0">
                          <a:latin typeface="+mj-lt"/>
                        </a:rPr>
                        <a:t>This is a major gap in the integrated soil fertility management. There are currently contradicting recommendations. All other investments made in soil mapping and blending facilities will be ineffective without this important piece of work</a:t>
                      </a:r>
                      <a:endParaRPr lang="en-US" sz="1100" dirty="0">
                        <a:latin typeface="+mj-lt"/>
                      </a:endParaRPr>
                    </a:p>
                  </a:txBody>
                  <a:tcPr/>
                </a:tc>
                <a:tc>
                  <a:txBody>
                    <a:bodyPr/>
                    <a:lstStyle/>
                    <a:p>
                      <a:r>
                        <a:rPr lang="en-US" sz="1100" dirty="0" smtClean="0">
                          <a:latin typeface="+mj-lt"/>
                        </a:rPr>
                        <a:t>Geographic Specific</a:t>
                      </a:r>
                    </a:p>
                    <a:p>
                      <a:endParaRPr lang="en-US" sz="1100" dirty="0" smtClean="0">
                        <a:latin typeface="+mj-lt"/>
                      </a:endParaRPr>
                    </a:p>
                    <a:p>
                      <a:endParaRPr lang="en-US" sz="1100" dirty="0" smtClean="0">
                        <a:latin typeface="+mj-lt"/>
                      </a:endParaRPr>
                    </a:p>
                    <a:p>
                      <a:endParaRPr lang="en-US" sz="1100" dirty="0" smtClean="0">
                        <a:latin typeface="+mj-lt"/>
                      </a:endParaRPr>
                    </a:p>
                    <a:p>
                      <a:endParaRPr lang="en-US" sz="1100" dirty="0" smtClean="0">
                        <a:latin typeface="+mj-lt"/>
                      </a:endParaRPr>
                    </a:p>
                    <a:p>
                      <a:endParaRPr lang="en-US" sz="1100" dirty="0" smtClean="0">
                        <a:latin typeface="+mj-lt"/>
                      </a:endParaRPr>
                    </a:p>
                    <a:p>
                      <a:r>
                        <a:rPr lang="en-US" sz="1100" dirty="0" smtClean="0">
                          <a:latin typeface="+mj-lt"/>
                        </a:rPr>
                        <a:t>National</a:t>
                      </a:r>
                    </a:p>
                    <a:p>
                      <a:endParaRPr lang="en-US" sz="1100" dirty="0">
                        <a:latin typeface="+mj-lt"/>
                      </a:endParaRPr>
                    </a:p>
                  </a:txBody>
                  <a:tcPr/>
                </a:tc>
                <a:tc>
                  <a:txBody>
                    <a:bodyPr/>
                    <a:lstStyle/>
                    <a:p>
                      <a:r>
                        <a:rPr lang="en-US" sz="1100" dirty="0" smtClean="0">
                          <a:latin typeface="+mj-lt"/>
                        </a:rPr>
                        <a:t>3,000,000</a:t>
                      </a:r>
                    </a:p>
                    <a:p>
                      <a:endParaRPr lang="en-US" sz="1100" dirty="0" smtClean="0">
                        <a:latin typeface="+mj-lt"/>
                      </a:endParaRPr>
                    </a:p>
                    <a:p>
                      <a:endParaRPr lang="en-US" sz="1100" dirty="0" smtClean="0">
                        <a:latin typeface="+mj-lt"/>
                      </a:endParaRPr>
                    </a:p>
                    <a:p>
                      <a:endParaRPr lang="en-US" sz="1100" dirty="0" smtClean="0">
                        <a:latin typeface="+mj-lt"/>
                      </a:endParaRPr>
                    </a:p>
                    <a:p>
                      <a:endParaRPr lang="en-US" sz="1100" dirty="0" smtClean="0">
                        <a:latin typeface="+mj-lt"/>
                      </a:endParaRPr>
                    </a:p>
                    <a:p>
                      <a:endParaRPr lang="en-US" sz="1100" dirty="0" smtClean="0">
                        <a:latin typeface="+mj-lt"/>
                      </a:endParaRPr>
                    </a:p>
                    <a:p>
                      <a:endParaRPr lang="en-US" sz="1100" dirty="0" smtClean="0">
                        <a:latin typeface="+mj-lt"/>
                      </a:endParaRPr>
                    </a:p>
                    <a:p>
                      <a:r>
                        <a:rPr lang="en-US" sz="1100" dirty="0" smtClean="0">
                          <a:latin typeface="+mj-lt"/>
                        </a:rPr>
                        <a:t>1,200,000</a:t>
                      </a:r>
                      <a:endParaRPr lang="en-US" sz="1100" dirty="0">
                        <a:latin typeface="+mj-lt"/>
                      </a:endParaRPr>
                    </a:p>
                  </a:txBody>
                  <a:tcPr/>
                </a:tc>
                <a:extLst>
                  <a:ext uri="{0D108BD9-81ED-4DB2-BD59-A6C34878D82A}">
                    <a16:rowId xmlns:a16="http://schemas.microsoft.com/office/drawing/2014/main" val="10003"/>
                  </a:ext>
                </a:extLst>
              </a:tr>
              <a:tr h="370840">
                <a:tc vMerge="1">
                  <a:txBody>
                    <a:bodyPr/>
                    <a:lstStyle/>
                    <a:p>
                      <a:endParaRPr lang="en-US" sz="1200" dirty="0">
                        <a:latin typeface="+mn-lt"/>
                      </a:endParaRPr>
                    </a:p>
                  </a:txBody>
                  <a:tcPr/>
                </a:tc>
                <a:tc>
                  <a:txBody>
                    <a:bodyPr/>
                    <a:lstStyle/>
                    <a:p>
                      <a:pPr marL="0" marR="0" indent="0" algn="l" rtl="0">
                        <a:lnSpc>
                          <a:spcPct val="100000"/>
                        </a:lnSpc>
                        <a:spcBef>
                          <a:spcPts val="0"/>
                        </a:spcBef>
                        <a:spcAft>
                          <a:spcPts val="0"/>
                        </a:spcAft>
                        <a:buClr>
                          <a:srgbClr val="000000"/>
                        </a:buClr>
                        <a:buFont typeface="Arial"/>
                        <a:buNone/>
                      </a:pPr>
                      <a:r>
                        <a:rPr lang="en-US" sz="1100" b="1" i="0" u="none" strike="noStrike" cap="none" dirty="0" smtClean="0">
                          <a:solidFill>
                            <a:schemeClr val="dk1"/>
                          </a:solidFill>
                          <a:latin typeface="+mj-lt"/>
                          <a:ea typeface="Calibri"/>
                          <a:cs typeface="Calibri"/>
                          <a:sym typeface="Arial"/>
                        </a:rPr>
                        <a:t>Inclusive Finance</a:t>
                      </a:r>
                    </a:p>
                    <a:p>
                      <a:pPr marL="171450" marR="0" indent="-171450" algn="l" rtl="0">
                        <a:lnSpc>
                          <a:spcPct val="100000"/>
                        </a:lnSpc>
                        <a:spcBef>
                          <a:spcPts val="0"/>
                        </a:spcBef>
                        <a:spcAft>
                          <a:spcPts val="0"/>
                        </a:spcAft>
                        <a:buClr>
                          <a:srgbClr val="000000"/>
                        </a:buClr>
                        <a:buFont typeface="Arial" panose="020B0604020202020204" pitchFamily="34" charset="0"/>
                        <a:buChar char="•"/>
                      </a:pPr>
                      <a:r>
                        <a:rPr lang="en-US" sz="1100" b="0" i="0" u="none" strike="noStrike" cap="none" dirty="0" smtClean="0">
                          <a:solidFill>
                            <a:schemeClr val="dk1"/>
                          </a:solidFill>
                          <a:latin typeface="+mj-lt"/>
                          <a:ea typeface="Calibri"/>
                          <a:cs typeface="Calibri"/>
                          <a:sym typeface="Arial"/>
                        </a:rPr>
                        <a:t>Build capacity of financial institutions and SMEs to facilitate access to finance for SMEs</a:t>
                      </a:r>
                      <a:endParaRPr lang="en-US" sz="1100" b="0" i="0" u="none" strike="noStrike" cap="none" dirty="0">
                        <a:solidFill>
                          <a:schemeClr val="dk1"/>
                        </a:solidFill>
                        <a:latin typeface="+mj-lt"/>
                        <a:ea typeface="Calibri"/>
                        <a:cs typeface="Calibri"/>
                        <a:sym typeface="Arial"/>
                      </a:endParaRPr>
                    </a:p>
                  </a:txBody>
                  <a:tcPr/>
                </a:tc>
                <a:tc>
                  <a:txBody>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100" dirty="0" smtClean="0">
                          <a:latin typeface="+mj-lt"/>
                        </a:rPr>
                        <a:t>Access to finance to</a:t>
                      </a:r>
                      <a:r>
                        <a:rPr lang="en-US" sz="1100" baseline="0" dirty="0" smtClean="0">
                          <a:latin typeface="+mj-lt"/>
                        </a:rPr>
                        <a:t> smallholder farmers, agro-dealers and other agricultural value chain actors is a major constraint. AGRA, in partnership with IFAD, is designing a financial product that will create access to finance for SMEs by building the capacity of the SMEs to make them bankable and also build the capacity of financial institutions to better understand agribusinesses.</a:t>
                      </a:r>
                      <a:endParaRPr lang="en-US" sz="1100" dirty="0">
                        <a:latin typeface="+mj-lt"/>
                      </a:endParaRPr>
                    </a:p>
                  </a:txBody>
                  <a:tcPr/>
                </a:tc>
                <a:tc>
                  <a:txBody>
                    <a:bodyPr/>
                    <a:lstStyle/>
                    <a:p>
                      <a:r>
                        <a:rPr lang="en-US" sz="1100" b="0" i="0" u="none" strike="noStrike" cap="none" dirty="0" smtClean="0">
                          <a:solidFill>
                            <a:schemeClr val="dk1"/>
                          </a:solidFill>
                          <a:latin typeface="+mj-lt"/>
                          <a:ea typeface="Calibri"/>
                          <a:cs typeface="Calibri"/>
                          <a:sym typeface="Arial"/>
                        </a:rPr>
                        <a:t>National</a:t>
                      </a:r>
                      <a:endParaRPr lang="en-US" sz="1100" dirty="0">
                        <a:latin typeface="+mj-lt"/>
                      </a:endParaRPr>
                    </a:p>
                  </a:txBody>
                  <a:tcPr/>
                </a:tc>
                <a:tc>
                  <a:txBody>
                    <a:bodyPr/>
                    <a:lstStyle/>
                    <a:p>
                      <a:r>
                        <a:rPr lang="en-US" sz="1100" dirty="0" smtClean="0">
                          <a:latin typeface="+mj-lt"/>
                        </a:rPr>
                        <a:t>1,500,000</a:t>
                      </a:r>
                      <a:endParaRPr lang="en-US" sz="1100" dirty="0">
                        <a:latin typeface="+mj-lt"/>
                      </a:endParaRPr>
                    </a:p>
                  </a:txBody>
                  <a:tcPr/>
                </a:tc>
                <a:extLst>
                  <a:ext uri="{0D108BD9-81ED-4DB2-BD59-A6C34878D82A}">
                    <a16:rowId xmlns:a16="http://schemas.microsoft.com/office/drawing/2014/main" val="10004"/>
                  </a:ext>
                </a:extLst>
              </a:tr>
            </a:tbl>
          </a:graphicData>
        </a:graphic>
      </p:graphicFrame>
      <p:sp>
        <p:nvSpPr>
          <p:cNvPr id="7" name="Google Shape;335;p46"/>
          <p:cNvSpPr/>
          <p:nvPr/>
        </p:nvSpPr>
        <p:spPr>
          <a:xfrm>
            <a:off x="63796" y="869063"/>
            <a:ext cx="9662094" cy="707546"/>
          </a:xfrm>
          <a:prstGeom prst="rect">
            <a:avLst/>
          </a:prstGeom>
          <a:noFill/>
          <a:ln w="9525" cap="flat" cmpd="sng">
            <a:solidFill>
              <a:srgbClr val="00B050"/>
            </a:solidFill>
            <a:prstDash val="solid"/>
            <a:miter lim="800000"/>
            <a:headEnd type="none" w="sm" len="sm"/>
            <a:tailEnd type="none" w="sm" len="sm"/>
          </a:ln>
        </p:spPr>
        <p:txBody>
          <a:bodyPr spcFirstLastPara="1" wrap="square" lIns="91425" tIns="45700" rIns="91425" bIns="45700" anchor="ctr" anchorCtr="0">
            <a:noAutofit/>
          </a:bodyPr>
          <a:lstStyle/>
          <a:p>
            <a:r>
              <a:rPr lang="en-US" sz="1100" dirty="0" smtClean="0">
                <a:solidFill>
                  <a:schemeClr val="tx1"/>
                </a:solidFill>
                <a:latin typeface="+mn-lt"/>
                <a:ea typeface="Calibri"/>
                <a:cs typeface="Calibri"/>
                <a:sym typeface="Calibri"/>
              </a:rPr>
              <a:t>As outlined in </a:t>
            </a:r>
            <a:r>
              <a:rPr lang="en-US" sz="1100" dirty="0" err="1" smtClean="0">
                <a:solidFill>
                  <a:schemeClr val="tx1"/>
                </a:solidFill>
                <a:latin typeface="+mn-lt"/>
                <a:ea typeface="Calibri"/>
                <a:cs typeface="Calibri"/>
                <a:sym typeface="Calibri"/>
              </a:rPr>
              <a:t>AGRA’s</a:t>
            </a:r>
            <a:r>
              <a:rPr lang="en-US" sz="1100" dirty="0" smtClean="0">
                <a:solidFill>
                  <a:schemeClr val="tx1"/>
                </a:solidFill>
                <a:latin typeface="+mn-lt"/>
                <a:ea typeface="Calibri"/>
                <a:cs typeface="Calibri"/>
                <a:sym typeface="Calibri"/>
              </a:rPr>
              <a:t> Ethiopia strategy, the focus on Policy and State Capability investments will be on s</a:t>
            </a:r>
            <a:r>
              <a:rPr lang="en-US" sz="1100" b="1" dirty="0" smtClean="0">
                <a:solidFill>
                  <a:schemeClr val="tx1"/>
                </a:solidFill>
              </a:rPr>
              <a:t>upport </a:t>
            </a:r>
            <a:r>
              <a:rPr lang="en-US" sz="1100" b="1" dirty="0">
                <a:solidFill>
                  <a:schemeClr val="tx1"/>
                </a:solidFill>
              </a:rPr>
              <a:t>to </a:t>
            </a:r>
            <a:r>
              <a:rPr lang="en-US" sz="1100" b="1" dirty="0" err="1">
                <a:solidFill>
                  <a:schemeClr val="tx1"/>
                </a:solidFill>
              </a:rPr>
              <a:t>GoE</a:t>
            </a:r>
            <a:r>
              <a:rPr lang="en-US" sz="1100" b="1" dirty="0">
                <a:solidFill>
                  <a:schemeClr val="tx1"/>
                </a:solidFill>
              </a:rPr>
              <a:t> </a:t>
            </a:r>
            <a:r>
              <a:rPr lang="en-US" sz="1100" dirty="0">
                <a:solidFill>
                  <a:schemeClr val="tx1"/>
                </a:solidFill>
              </a:rPr>
              <a:t>to implement the </a:t>
            </a:r>
            <a:r>
              <a:rPr lang="en-US" sz="1100" dirty="0" err="1">
                <a:solidFill>
                  <a:schemeClr val="tx1"/>
                </a:solidFill>
              </a:rPr>
              <a:t>GTP</a:t>
            </a:r>
            <a:r>
              <a:rPr lang="en-US" sz="1100" dirty="0">
                <a:solidFill>
                  <a:schemeClr val="tx1"/>
                </a:solidFill>
              </a:rPr>
              <a:t> II; </a:t>
            </a:r>
            <a:r>
              <a:rPr lang="en-US" sz="1100" dirty="0">
                <a:solidFill>
                  <a:schemeClr val="tx1"/>
                </a:solidFill>
                <a:latin typeface="+mn-lt"/>
                <a:ea typeface="Calibri"/>
                <a:cs typeface="Calibri"/>
              </a:rPr>
              <a:t>provide advisory services to the Ministry of Agriculture; collaborate with the ATA in implementation of the Agriculture Commercialization Cluster (ACC) </a:t>
            </a:r>
            <a:r>
              <a:rPr lang="en-US" sz="1100" dirty="0" smtClean="0">
                <a:solidFill>
                  <a:schemeClr val="tx1"/>
                </a:solidFill>
                <a:latin typeface="+mn-lt"/>
                <a:ea typeface="Calibri"/>
                <a:cs typeface="Calibri"/>
              </a:rPr>
              <a:t>Strategy and s</a:t>
            </a:r>
            <a:r>
              <a:rPr lang="en-US" sz="1100" dirty="0" smtClean="0">
                <a:solidFill>
                  <a:schemeClr val="tx1"/>
                </a:solidFill>
              </a:rPr>
              <a:t>trengthening </a:t>
            </a:r>
            <a:r>
              <a:rPr lang="en-US" sz="1100" dirty="0">
                <a:solidFill>
                  <a:schemeClr val="tx1"/>
                </a:solidFill>
              </a:rPr>
              <a:t>agricultural </a:t>
            </a:r>
            <a:r>
              <a:rPr lang="en-US" sz="1100" b="1" dirty="0">
                <a:solidFill>
                  <a:schemeClr val="tx1"/>
                </a:solidFill>
              </a:rPr>
              <a:t>extension, inputs and marketing systems</a:t>
            </a:r>
            <a:r>
              <a:rPr lang="en-US" sz="1100" dirty="0" smtClean="0">
                <a:solidFill>
                  <a:schemeClr val="tx1"/>
                </a:solidFill>
                <a:latin typeface="+mn-lt"/>
                <a:ea typeface="Calibri"/>
                <a:cs typeface="Calibri"/>
              </a:rPr>
              <a:t>  </a:t>
            </a:r>
            <a:r>
              <a:rPr lang="en-US" sz="1100" dirty="0">
                <a:solidFill>
                  <a:schemeClr val="tx1"/>
                </a:solidFill>
                <a:latin typeface="+mn-lt"/>
                <a:ea typeface="Calibri"/>
                <a:cs typeface="Calibri"/>
              </a:rPr>
              <a:t>The proposed investment for this body of work in 2019 are outlined below: </a:t>
            </a:r>
            <a:endParaRPr sz="1100" dirty="0">
              <a:solidFill>
                <a:schemeClr val="tx1"/>
              </a:solidFill>
              <a:latin typeface="+mn-lt"/>
              <a:ea typeface="Calibri"/>
              <a:cs typeface="Calibri"/>
              <a:sym typeface="Calibri"/>
            </a:endParaRPr>
          </a:p>
        </p:txBody>
      </p:sp>
    </p:spTree>
    <p:extLst>
      <p:ext uri="{BB962C8B-B14F-4D97-AF65-F5344CB8AC3E}">
        <p14:creationId xmlns:p14="http://schemas.microsoft.com/office/powerpoint/2010/main" val="570726062"/>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450740" y="134053"/>
            <a:ext cx="7245459" cy="582389"/>
          </a:xfrm>
          <a:prstGeom prst="rect">
            <a:avLst/>
          </a:prstGeom>
        </p:spPr>
        <p:txBody>
          <a:bodyPr lIns="0" tIns="0" rIns="0" bIns="0" anchor="b"/>
          <a:lstStyle>
            <a:defPPr marR="0" lvl="0" algn="l" rtl="0">
              <a:lnSpc>
                <a:spcPct val="100000"/>
              </a:lnSpc>
              <a:spcBef>
                <a:spcPts val="0"/>
              </a:spcBef>
              <a:spcAft>
                <a:spcPts val="0"/>
              </a:spcAft>
            </a:defPPr>
            <a:lvl1pPr marL="0" marR="0" lvl="0" indent="0" algn="l" defTabSz="914395" rtl="0" eaLnBrk="1" fontAlgn="auto" latinLnBrk="0" hangingPunct="1">
              <a:lnSpc>
                <a:spcPct val="90000"/>
              </a:lnSpc>
              <a:spcBef>
                <a:spcPct val="0"/>
              </a:spcBef>
              <a:spcAft>
                <a:spcPts val="0"/>
              </a:spcAft>
              <a:buClrTx/>
              <a:buSzTx/>
              <a:buFontTx/>
              <a:buNone/>
              <a:tabLst/>
              <a:defRPr lang="en-US" sz="2200" b="1" i="0" u="none" strike="noStrike" cap="none" smtClean="0">
                <a:solidFill>
                  <a:schemeClr val="tx1"/>
                </a:solidFill>
                <a:latin typeface="Arial" panose="020B0604020202020204" pitchFamily="34" charset="0"/>
                <a:ea typeface="Arial"/>
                <a:cs typeface="Arial" panose="020B060402020202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dirty="0" smtClean="0"/>
              <a:t>Details of Proposed Investments in Ethiopia</a:t>
            </a:r>
            <a:endParaRPr lang="en-US" dirty="0"/>
          </a:p>
        </p:txBody>
      </p:sp>
      <p:sp>
        <p:nvSpPr>
          <p:cNvPr id="7" name="Google Shape;335;p46"/>
          <p:cNvSpPr/>
          <p:nvPr/>
        </p:nvSpPr>
        <p:spPr>
          <a:xfrm>
            <a:off x="376313" y="1021684"/>
            <a:ext cx="9132730" cy="607420"/>
          </a:xfrm>
          <a:prstGeom prst="rect">
            <a:avLst/>
          </a:prstGeom>
          <a:noFill/>
          <a:ln w="9525" cap="flat" cmpd="sng">
            <a:solidFill>
              <a:srgbClr val="00B050"/>
            </a:solidFill>
            <a:prstDash val="solid"/>
            <a:miter lim="800000"/>
            <a:headEnd type="none" w="sm" len="sm"/>
            <a:tailEnd type="none" w="sm" len="sm"/>
          </a:ln>
        </p:spPr>
        <p:txBody>
          <a:bodyPr spcFirstLastPara="1" wrap="square" lIns="91425" tIns="45700" rIns="91425" bIns="45700" anchor="ctr" anchorCtr="0">
            <a:noAutofit/>
          </a:bodyPr>
          <a:lstStyle/>
          <a:p>
            <a:r>
              <a:rPr lang="en-US" sz="1100" dirty="0" err="1" smtClean="0">
                <a:solidFill>
                  <a:schemeClr val="tx1"/>
                </a:solidFill>
                <a:latin typeface="+mn-lt"/>
                <a:ea typeface="Calibri"/>
                <a:cs typeface="Calibri"/>
                <a:sym typeface="Calibri"/>
              </a:rPr>
              <a:t>AGRA’s</a:t>
            </a:r>
            <a:r>
              <a:rPr lang="en-US" sz="1100" dirty="0" smtClean="0">
                <a:solidFill>
                  <a:schemeClr val="tx1"/>
                </a:solidFill>
                <a:latin typeface="+mn-lt"/>
                <a:ea typeface="Calibri"/>
                <a:cs typeface="Calibri"/>
                <a:sym typeface="Calibri"/>
              </a:rPr>
              <a:t> strategy for partnerships will focus on f</a:t>
            </a:r>
            <a:r>
              <a:rPr lang="en-US" sz="1100" dirty="0" smtClean="0">
                <a:solidFill>
                  <a:schemeClr val="tx1"/>
                </a:solidFill>
              </a:rPr>
              <a:t>ull </a:t>
            </a:r>
            <a:r>
              <a:rPr lang="en-US" sz="1100" dirty="0">
                <a:solidFill>
                  <a:schemeClr val="tx1"/>
                </a:solidFill>
              </a:rPr>
              <a:t>mapping of government, development partners, private sector actors and other partners </a:t>
            </a:r>
            <a:r>
              <a:rPr lang="en-US" sz="1100" dirty="0" smtClean="0">
                <a:solidFill>
                  <a:schemeClr val="tx1"/>
                </a:solidFill>
              </a:rPr>
              <a:t>and </a:t>
            </a:r>
            <a:endParaRPr lang="en-US" sz="1100" dirty="0">
              <a:solidFill>
                <a:schemeClr val="tx1"/>
              </a:solidFill>
            </a:endParaRPr>
          </a:p>
          <a:p>
            <a:r>
              <a:rPr lang="en-US" sz="1100" dirty="0" smtClean="0">
                <a:solidFill>
                  <a:schemeClr val="tx1"/>
                </a:solidFill>
              </a:rPr>
              <a:t>Facilitation of </a:t>
            </a:r>
            <a:r>
              <a:rPr lang="en-US" sz="1100" dirty="0">
                <a:solidFill>
                  <a:schemeClr val="tx1"/>
                </a:solidFill>
              </a:rPr>
              <a:t>the creation an enabling environment that attracts increased private sector investments</a:t>
            </a:r>
            <a:r>
              <a:rPr lang="en-US" sz="1100" dirty="0" smtClean="0">
                <a:solidFill>
                  <a:schemeClr val="tx1"/>
                </a:solidFill>
                <a:latin typeface="+mn-lt"/>
                <a:ea typeface="Calibri"/>
                <a:cs typeface="Calibri"/>
                <a:sym typeface="Calibri"/>
              </a:rPr>
              <a:t>. The proposed investments for 2019 include: </a:t>
            </a:r>
            <a:endParaRPr sz="1100" dirty="0">
              <a:solidFill>
                <a:schemeClr val="tx1"/>
              </a:solidFill>
              <a:latin typeface="+mn-lt"/>
              <a:ea typeface="Calibri"/>
              <a:cs typeface="Calibri"/>
              <a:sym typeface="Calibri"/>
            </a:endParaRPr>
          </a:p>
        </p:txBody>
      </p:sp>
      <p:graphicFrame>
        <p:nvGraphicFramePr>
          <p:cNvPr id="8" name="Table 7"/>
          <p:cNvGraphicFramePr>
            <a:graphicFrameLocks noGrp="1"/>
          </p:cNvGraphicFramePr>
          <p:nvPr>
            <p:extLst/>
          </p:nvPr>
        </p:nvGraphicFramePr>
        <p:xfrm>
          <a:off x="376313" y="1729231"/>
          <a:ext cx="9132730" cy="4067511"/>
        </p:xfrm>
        <a:graphic>
          <a:graphicData uri="http://schemas.openxmlformats.org/drawingml/2006/table">
            <a:tbl>
              <a:tblPr firstRow="1" bandRow="1">
                <a:tableStyleId>{41E0FAD3-7C2D-4B5A-B7BA-DEB1A53D0DEB}</a:tableStyleId>
              </a:tblPr>
              <a:tblGrid>
                <a:gridCol w="1177500">
                  <a:extLst>
                    <a:ext uri="{9D8B030D-6E8A-4147-A177-3AD203B41FA5}">
                      <a16:colId xmlns:a16="http://schemas.microsoft.com/office/drawing/2014/main" val="20000"/>
                    </a:ext>
                  </a:extLst>
                </a:gridCol>
                <a:gridCol w="3207373">
                  <a:extLst>
                    <a:ext uri="{9D8B030D-6E8A-4147-A177-3AD203B41FA5}">
                      <a16:colId xmlns:a16="http://schemas.microsoft.com/office/drawing/2014/main" val="20001"/>
                    </a:ext>
                  </a:extLst>
                </a:gridCol>
                <a:gridCol w="3237186">
                  <a:extLst>
                    <a:ext uri="{9D8B030D-6E8A-4147-A177-3AD203B41FA5}">
                      <a16:colId xmlns:a16="http://schemas.microsoft.com/office/drawing/2014/main" val="20003"/>
                    </a:ext>
                  </a:extLst>
                </a:gridCol>
                <a:gridCol w="1510671">
                  <a:extLst>
                    <a:ext uri="{9D8B030D-6E8A-4147-A177-3AD203B41FA5}">
                      <a16:colId xmlns:a16="http://schemas.microsoft.com/office/drawing/2014/main" val="4101559693"/>
                    </a:ext>
                  </a:extLst>
                </a:gridCol>
              </a:tblGrid>
              <a:tr h="301140">
                <a:tc>
                  <a:txBody>
                    <a:bodyPr/>
                    <a:lstStyle/>
                    <a:p>
                      <a:r>
                        <a:rPr lang="en-US" sz="1100" dirty="0" smtClean="0">
                          <a:latin typeface="+mn-lt"/>
                        </a:rPr>
                        <a:t>Area of Work</a:t>
                      </a:r>
                      <a:endParaRPr lang="en-US" sz="1100" dirty="0">
                        <a:latin typeface="+mn-lt"/>
                      </a:endParaRPr>
                    </a:p>
                  </a:txBody>
                  <a:tcPr/>
                </a:tc>
                <a:tc>
                  <a:txBody>
                    <a:bodyPr/>
                    <a:lstStyle/>
                    <a:p>
                      <a:r>
                        <a:rPr lang="en-US" sz="1100" dirty="0" smtClean="0">
                          <a:latin typeface="+mn-lt"/>
                        </a:rPr>
                        <a:t>Description</a:t>
                      </a:r>
                      <a:endParaRPr lang="en-US" sz="1100" dirty="0">
                        <a:latin typeface="+mn-lt"/>
                      </a:endParaRPr>
                    </a:p>
                  </a:txBody>
                  <a:tcPr/>
                </a:tc>
                <a:tc>
                  <a:txBody>
                    <a:bodyPr/>
                    <a:lstStyle/>
                    <a:p>
                      <a:r>
                        <a:rPr lang="en-US" sz="1100" dirty="0" smtClean="0">
                          <a:latin typeface="+mn-lt"/>
                        </a:rPr>
                        <a:t>Rationale</a:t>
                      </a:r>
                      <a:endParaRPr lang="en-US" sz="1100" dirty="0">
                        <a:latin typeface="+mn-lt"/>
                      </a:endParaRPr>
                    </a:p>
                  </a:txBody>
                  <a:tcPr/>
                </a:tc>
                <a:tc>
                  <a:txBody>
                    <a:bodyPr/>
                    <a:lstStyle/>
                    <a:p>
                      <a:r>
                        <a:rPr lang="en-US" sz="1100" dirty="0" smtClean="0">
                          <a:latin typeface="+mn-lt"/>
                        </a:rPr>
                        <a:t>Target</a:t>
                      </a:r>
                      <a:r>
                        <a:rPr lang="en-US" sz="1100" baseline="0" dirty="0" smtClean="0">
                          <a:latin typeface="+mn-lt"/>
                        </a:rPr>
                        <a:t> Population</a:t>
                      </a:r>
                      <a:endParaRPr lang="en-US" sz="1100" dirty="0">
                        <a:latin typeface="+mn-lt"/>
                      </a:endParaRPr>
                    </a:p>
                  </a:txBody>
                  <a:tcPr/>
                </a:tc>
                <a:extLst>
                  <a:ext uri="{0D108BD9-81ED-4DB2-BD59-A6C34878D82A}">
                    <a16:rowId xmlns:a16="http://schemas.microsoft.com/office/drawing/2014/main" val="10000"/>
                  </a:ext>
                </a:extLst>
              </a:tr>
              <a:tr h="2333811">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b="1" i="0" u="none" strike="noStrike" cap="none" dirty="0" smtClean="0">
                          <a:solidFill>
                            <a:schemeClr val="dk1"/>
                          </a:solidFill>
                          <a:latin typeface="+mn-lt"/>
                          <a:ea typeface="Calibri"/>
                          <a:cs typeface="Calibri"/>
                          <a:sym typeface="Arial"/>
                        </a:rPr>
                        <a:t>Country Delivery and Partnership </a:t>
                      </a:r>
                    </a:p>
                  </a:txBody>
                  <a:tcPr/>
                </a:tc>
                <a:tc>
                  <a:txBody>
                    <a:bodyPr/>
                    <a:lstStyle/>
                    <a:p>
                      <a:r>
                        <a:rPr lang="en-US" sz="1100" b="1" dirty="0" smtClean="0">
                          <a:latin typeface="+mn-lt"/>
                        </a:rPr>
                        <a:t>Partnerships</a:t>
                      </a:r>
                    </a:p>
                    <a:p>
                      <a:pPr marL="171450" indent="-171450">
                        <a:buFont typeface="Arial" panose="020B0604020202020204" pitchFamily="34" charset="0"/>
                        <a:buChar char="•"/>
                      </a:pPr>
                      <a:r>
                        <a:rPr lang="en-US" sz="1100" dirty="0" smtClean="0">
                          <a:latin typeface="+mn-lt"/>
                        </a:rPr>
                        <a:t>Development of the deal room</a:t>
                      </a:r>
                    </a:p>
                    <a:p>
                      <a:pPr marL="171450" indent="-171450">
                        <a:buFont typeface="Arial" panose="020B0604020202020204" pitchFamily="34" charset="0"/>
                        <a:buChar char="•"/>
                      </a:pPr>
                      <a:r>
                        <a:rPr lang="en-US" sz="1100" dirty="0" smtClean="0">
                          <a:latin typeface="+mn-lt"/>
                        </a:rPr>
                        <a:t>Co-sponsorship and contribution to key private sector related events</a:t>
                      </a:r>
                    </a:p>
                    <a:p>
                      <a:pPr marL="171450" indent="-171450">
                        <a:buFont typeface="Arial" panose="020B0604020202020204" pitchFamily="34" charset="0"/>
                        <a:buChar char="•"/>
                      </a:pPr>
                      <a:r>
                        <a:rPr lang="en-US" sz="1100" dirty="0" smtClean="0">
                          <a:latin typeface="+mn-lt"/>
                        </a:rPr>
                        <a:t>Work with ATA to develop a value proposition to link 15  off takers to integrate </a:t>
                      </a:r>
                      <a:r>
                        <a:rPr lang="en-US" sz="1100" dirty="0" err="1" smtClean="0">
                          <a:latin typeface="+mn-lt"/>
                        </a:rPr>
                        <a:t>SHFs</a:t>
                      </a:r>
                      <a:r>
                        <a:rPr lang="en-US" sz="1100" dirty="0" smtClean="0">
                          <a:latin typeface="+mn-lt"/>
                        </a:rPr>
                        <a:t> into national and regional crop value chains (markets)</a:t>
                      </a:r>
                    </a:p>
                    <a:p>
                      <a:pPr marL="171450" indent="-171450">
                        <a:buFont typeface="Arial" panose="020B0604020202020204" pitchFamily="34" charset="0"/>
                        <a:buChar char="•"/>
                      </a:pPr>
                      <a:r>
                        <a:rPr lang="en-US" sz="1100" dirty="0" smtClean="0">
                          <a:latin typeface="+mn-lt"/>
                        </a:rPr>
                        <a:t>Ethiopia- China -Partnership development with key Chinese stakeholders</a:t>
                      </a:r>
                    </a:p>
                    <a:p>
                      <a:pPr marL="171450" indent="-171450">
                        <a:buFont typeface="Arial" panose="020B0604020202020204" pitchFamily="34" charset="0"/>
                        <a:buChar char="•"/>
                      </a:pPr>
                      <a:r>
                        <a:rPr lang="en-US" sz="1100" dirty="0" smtClean="0">
                          <a:latin typeface="+mn-lt"/>
                        </a:rPr>
                        <a:t>China-Programmatic partnership priorities in countries to leverage more Chinese public and private resources</a:t>
                      </a:r>
                    </a:p>
                  </a:txBody>
                  <a:tcPr/>
                </a:tc>
                <a:tc>
                  <a:txBody>
                    <a:bodyPr/>
                    <a:lstStyle/>
                    <a:p>
                      <a:r>
                        <a:rPr lang="en-US" sz="1100" dirty="0" smtClean="0">
                          <a:latin typeface="+mn-lt"/>
                        </a:rPr>
                        <a:t>With the opening of the economy, the development</a:t>
                      </a:r>
                      <a:r>
                        <a:rPr lang="en-US" sz="1100" baseline="0" dirty="0" smtClean="0">
                          <a:latin typeface="+mn-lt"/>
                        </a:rPr>
                        <a:t> of the agro-food industrial parks, a large domestic market and potential for export Ethiopia offers a lot of opportunities for domestic and foreign private sector investment in supply of inputs and services and processing and export that can create jobs and increase the incomes of smallholder farmers</a:t>
                      </a:r>
                      <a:endParaRPr lang="en-US" sz="1100" dirty="0">
                        <a:latin typeface="+mn-lt"/>
                      </a:endParaRPr>
                    </a:p>
                  </a:txBody>
                  <a:tcPr/>
                </a:tc>
                <a:tc>
                  <a:txBody>
                    <a:bodyPr/>
                    <a:lstStyle/>
                    <a:p>
                      <a:r>
                        <a:rPr lang="en-US" sz="1100" dirty="0" smtClean="0">
                          <a:latin typeface="+mn-lt"/>
                        </a:rPr>
                        <a:t>Large foreign investors and multinationals </a:t>
                      </a:r>
                      <a:endParaRPr lang="en-US" sz="1100" dirty="0">
                        <a:latin typeface="+mn-lt"/>
                      </a:endParaRPr>
                    </a:p>
                  </a:txBody>
                  <a:tcPr/>
                </a:tc>
                <a:extLst>
                  <a:ext uri="{0D108BD9-81ED-4DB2-BD59-A6C34878D82A}">
                    <a16:rowId xmlns:a16="http://schemas.microsoft.com/office/drawing/2014/main" val="408998576"/>
                  </a:ext>
                </a:extLst>
              </a:tr>
              <a:tr h="903421">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1100" b="1" i="0" u="none" strike="noStrike" cap="none" dirty="0" smtClean="0">
                        <a:solidFill>
                          <a:schemeClr val="dk1"/>
                        </a:solidFill>
                        <a:latin typeface="+mn-lt"/>
                        <a:ea typeface="Calibri"/>
                        <a:cs typeface="Calibri"/>
                        <a:sym typeface="Arial"/>
                      </a:endParaRPr>
                    </a:p>
                  </a:txBody>
                  <a:tcPr/>
                </a:tc>
                <a:tc>
                  <a:txBody>
                    <a:bodyPr/>
                    <a:lstStyle/>
                    <a:p>
                      <a:r>
                        <a:rPr lang="en-US" sz="1100" b="1" dirty="0" smtClean="0">
                          <a:latin typeface="+mn-lt"/>
                        </a:rPr>
                        <a:t>Gender</a:t>
                      </a:r>
                    </a:p>
                    <a:p>
                      <a:pPr marL="171450" indent="-171450">
                        <a:buFont typeface="Arial" panose="020B0604020202020204" pitchFamily="34" charset="0"/>
                        <a:buChar char="•"/>
                      </a:pPr>
                      <a:r>
                        <a:rPr lang="en-US" sz="1100" b="0" i="0" u="none" strike="noStrike" cap="none" dirty="0" smtClean="0">
                          <a:solidFill>
                            <a:schemeClr val="dk1"/>
                          </a:solidFill>
                          <a:latin typeface="+mn-lt"/>
                          <a:ea typeface="Calibri"/>
                          <a:cs typeface="Calibri"/>
                          <a:sym typeface="Arial"/>
                        </a:rPr>
                        <a:t>Gender capacity building for consortia grantees to develop a gender action plan including </a:t>
                      </a:r>
                      <a:r>
                        <a:rPr lang="en-US" sz="1100" b="0" i="0" u="none" strike="noStrike" cap="none" dirty="0" err="1" smtClean="0">
                          <a:solidFill>
                            <a:schemeClr val="dk1"/>
                          </a:solidFill>
                          <a:latin typeface="+mn-lt"/>
                          <a:ea typeface="Calibri"/>
                          <a:cs typeface="Calibri"/>
                          <a:sym typeface="Arial"/>
                        </a:rPr>
                        <a:t>M&amp;E</a:t>
                      </a:r>
                      <a:r>
                        <a:rPr lang="en-US" sz="1100" b="0" i="0" u="none" strike="noStrike" cap="none" dirty="0" smtClean="0">
                          <a:solidFill>
                            <a:schemeClr val="dk1"/>
                          </a:solidFill>
                          <a:latin typeface="+mn-lt"/>
                          <a:ea typeface="Calibri"/>
                          <a:cs typeface="Calibri"/>
                          <a:sym typeface="Arial"/>
                        </a:rPr>
                        <a:t> plan indicators</a:t>
                      </a:r>
                      <a:endParaRPr lang="en-US" sz="1100" b="0" i="0" u="none" strike="noStrike" cap="none" dirty="0">
                        <a:solidFill>
                          <a:schemeClr val="dk1"/>
                        </a:solidFill>
                        <a:latin typeface="+mn-lt"/>
                        <a:ea typeface="Calibri"/>
                        <a:cs typeface="Calibri"/>
                        <a:sym typeface="Arial"/>
                      </a:endParaRPr>
                    </a:p>
                  </a:txBody>
                  <a:tcPr/>
                </a:tc>
                <a:tc>
                  <a:txBody>
                    <a:bodyPr/>
                    <a:lstStyle/>
                    <a:p>
                      <a:r>
                        <a:rPr lang="en-US" sz="1100" dirty="0" smtClean="0">
                          <a:latin typeface="+mn-lt"/>
                        </a:rPr>
                        <a:t>Women contribute to a larger</a:t>
                      </a:r>
                      <a:r>
                        <a:rPr lang="en-US" sz="1100" baseline="0" dirty="0" smtClean="0">
                          <a:latin typeface="+mn-lt"/>
                        </a:rPr>
                        <a:t> share of the agricultural labor but do not benefit as much. The AGRA team wants consortia grantees to have clear plans to include not only women headed households but women in all households to participate in the extension technology demonstration and market support activities and these are tracked properly</a:t>
                      </a:r>
                      <a:endParaRPr lang="en-US" sz="1100" dirty="0">
                        <a:latin typeface="+mn-lt"/>
                      </a:endParaRPr>
                    </a:p>
                  </a:txBody>
                  <a:tcPr/>
                </a:tc>
                <a:tc>
                  <a:txBody>
                    <a:bodyPr/>
                    <a:lstStyle/>
                    <a:p>
                      <a:r>
                        <a:rPr lang="en-US" sz="1100" dirty="0" smtClean="0">
                          <a:latin typeface="+mn-lt"/>
                        </a:rPr>
                        <a:t>Tigray, Amhara, Oromia and </a:t>
                      </a:r>
                      <a:r>
                        <a:rPr lang="en-US" sz="1100" dirty="0" err="1" smtClean="0">
                          <a:latin typeface="+mn-lt"/>
                        </a:rPr>
                        <a:t>SNNPR</a:t>
                      </a:r>
                      <a:endParaRPr lang="en-US" sz="1100" dirty="0">
                        <a:latin typeface="+mn-lt"/>
                      </a:endParaRPr>
                    </a:p>
                  </a:txBody>
                  <a:tcPr/>
                </a:tc>
                <a:extLst>
                  <a:ext uri="{0D108BD9-81ED-4DB2-BD59-A6C34878D82A}">
                    <a16:rowId xmlns:a16="http://schemas.microsoft.com/office/drawing/2014/main" val="3191608599"/>
                  </a:ext>
                </a:extLst>
              </a:tr>
            </a:tbl>
          </a:graphicData>
        </a:graphic>
      </p:graphicFrame>
    </p:spTree>
    <p:extLst>
      <p:ext uri="{BB962C8B-B14F-4D97-AF65-F5344CB8AC3E}">
        <p14:creationId xmlns:p14="http://schemas.microsoft.com/office/powerpoint/2010/main" val="3482198164"/>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lIns="0" tIns="0" rIns="0" bIns="0" anchor="b"/>
          <a:lstStyle/>
          <a:p>
            <a:pPr defTabSz="914395">
              <a:spcBef>
                <a:spcPct val="0"/>
              </a:spcBef>
              <a:buClrTx/>
              <a:buSzTx/>
              <a:buFontTx/>
            </a:pPr>
            <a:r>
              <a:rPr lang="en-US" dirty="0">
                <a:solidFill>
                  <a:schemeClr val="tx1"/>
                </a:solidFill>
                <a:latin typeface="Arial" panose="020B0604020202020204" pitchFamily="34" charset="0"/>
                <a:cs typeface="Arial" panose="020B0604020202020204" pitchFamily="34" charset="0"/>
              </a:rPr>
              <a:t>Emerging Lessons </a:t>
            </a:r>
          </a:p>
        </p:txBody>
      </p:sp>
      <p:graphicFrame>
        <p:nvGraphicFramePr>
          <p:cNvPr id="3" name="Table 2"/>
          <p:cNvGraphicFramePr>
            <a:graphicFrameLocks noGrp="1"/>
          </p:cNvGraphicFramePr>
          <p:nvPr>
            <p:extLst/>
          </p:nvPr>
        </p:nvGraphicFramePr>
        <p:xfrm>
          <a:off x="404655" y="1014248"/>
          <a:ext cx="8998524" cy="4302760"/>
        </p:xfrm>
        <a:graphic>
          <a:graphicData uri="http://schemas.openxmlformats.org/drawingml/2006/table">
            <a:tbl>
              <a:tblPr firstRow="1" bandRow="1">
                <a:tableStyleId>{912C8C85-51F0-491E-9774-3900AFEF0FD7}</a:tableStyleId>
              </a:tblPr>
              <a:tblGrid>
                <a:gridCol w="4208909">
                  <a:extLst>
                    <a:ext uri="{9D8B030D-6E8A-4147-A177-3AD203B41FA5}">
                      <a16:colId xmlns:a16="http://schemas.microsoft.com/office/drawing/2014/main" val="218853500"/>
                    </a:ext>
                  </a:extLst>
                </a:gridCol>
                <a:gridCol w="4789615">
                  <a:extLst>
                    <a:ext uri="{9D8B030D-6E8A-4147-A177-3AD203B41FA5}">
                      <a16:colId xmlns:a16="http://schemas.microsoft.com/office/drawing/2014/main" val="1070729646"/>
                    </a:ext>
                  </a:extLst>
                </a:gridCol>
              </a:tblGrid>
              <a:tr h="370840">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dirty="0" smtClean="0"/>
                        <a:t>Lesson</a:t>
                      </a:r>
                      <a:endParaRPr lang="en-US" sz="1100" b="1" dirty="0" smtClean="0">
                        <a:solidFill>
                          <a:schemeClr val="tx1"/>
                        </a:solidFill>
                        <a:latin typeface="+mn-lt"/>
                        <a:cs typeface="Arial" panose="020B0604020202020204" pitchFamily="34" charset="0"/>
                      </a:endParaRPr>
                    </a:p>
                  </a:txBody>
                  <a:tcPr/>
                </a:tc>
                <a:tc>
                  <a:txBody>
                    <a:bodyPr/>
                    <a:lstStyle/>
                    <a:p>
                      <a:pPr>
                        <a:lnSpc>
                          <a:spcPts val="1400"/>
                        </a:lnSpc>
                        <a:spcAft>
                          <a:spcPts val="600"/>
                        </a:spcAft>
                      </a:pPr>
                      <a:r>
                        <a:rPr lang="en-GB" sz="1100" u="none" strike="noStrike" cap="none" dirty="0" smtClean="0">
                          <a:sym typeface="Arial"/>
                        </a:rPr>
                        <a:t>Adaptive Response</a:t>
                      </a:r>
                      <a:endParaRPr lang="en-GB" sz="1100" b="1" dirty="0" smtClean="0">
                        <a:solidFill>
                          <a:schemeClr val="tx1"/>
                        </a:solidFill>
                        <a:latin typeface="+mn-lt"/>
                        <a:cs typeface="Arial" panose="020B0604020202020204" pitchFamily="34" charset="0"/>
                      </a:endParaRPr>
                    </a:p>
                  </a:txBody>
                  <a:tcPr/>
                </a:tc>
                <a:extLst>
                  <a:ext uri="{0D108BD9-81ED-4DB2-BD59-A6C34878D82A}">
                    <a16:rowId xmlns:a16="http://schemas.microsoft.com/office/drawing/2014/main" val="2806127866"/>
                  </a:ext>
                </a:extLst>
              </a:tr>
              <a:tr h="370840">
                <a:tc>
                  <a:txBody>
                    <a:bodyPr/>
                    <a:lstStyle/>
                    <a:p>
                      <a:pPr marL="0" marR="0" indent="0" algn="l" defTabSz="914400" rtl="0" eaLnBrk="1" fontAlgn="auto" latinLnBrk="0" hangingPunct="1">
                        <a:lnSpc>
                          <a:spcPts val="1400"/>
                        </a:lnSpc>
                        <a:spcBef>
                          <a:spcPts val="0"/>
                        </a:spcBef>
                        <a:spcAft>
                          <a:spcPts val="600"/>
                        </a:spcAft>
                        <a:buClr>
                          <a:srgbClr val="000000"/>
                        </a:buClr>
                        <a:buSzTx/>
                        <a:buFont typeface="Arial"/>
                        <a:buNone/>
                        <a:tabLst/>
                        <a:defRPr/>
                      </a:pPr>
                      <a:r>
                        <a:rPr lang="en-US" sz="1100" b="0" u="none" dirty="0" smtClean="0">
                          <a:solidFill>
                            <a:schemeClr val="tx1"/>
                          </a:solidFill>
                          <a:latin typeface="+mn-lt"/>
                          <a:cs typeface="Arial" panose="020B0604020202020204" pitchFamily="34" charset="0"/>
                        </a:rPr>
                        <a:t>The lessons from the systems and farmer level interventions demonstrates that instead</a:t>
                      </a:r>
                      <a:r>
                        <a:rPr lang="en-US" sz="1100" b="0" u="none" baseline="0" dirty="0" smtClean="0">
                          <a:solidFill>
                            <a:schemeClr val="tx1"/>
                          </a:solidFill>
                          <a:latin typeface="+mn-lt"/>
                          <a:cs typeface="Arial" panose="020B0604020202020204" pitchFamily="34" charset="0"/>
                        </a:rPr>
                        <a:t> of pushing all kinds of technologies and agronomic practices on farmers, a more effective approach will be to tackle the key bottlenecks that are specific to commodity value chains. E.g., the major bottlenecks in increasing </a:t>
                      </a:r>
                      <a:r>
                        <a:rPr lang="en-US" sz="1100" b="0" u="none" baseline="0" dirty="0" err="1" smtClean="0">
                          <a:solidFill>
                            <a:schemeClr val="tx1"/>
                          </a:solidFill>
                          <a:latin typeface="+mn-lt"/>
                          <a:cs typeface="Arial" panose="020B0604020202020204" pitchFamily="34" charset="0"/>
                        </a:rPr>
                        <a:t>teff</a:t>
                      </a:r>
                      <a:r>
                        <a:rPr lang="en-US" sz="1100" b="0" u="none" baseline="0" dirty="0" smtClean="0">
                          <a:solidFill>
                            <a:schemeClr val="tx1"/>
                          </a:solidFill>
                          <a:latin typeface="+mn-lt"/>
                          <a:cs typeface="Arial" panose="020B0604020202020204" pitchFamily="34" charset="0"/>
                        </a:rPr>
                        <a:t> productivity are lack of appropriate and cost-effective row planting equipment for farmers, weed control and post-harvest management technologies. Farmers already understand that row planting increasing yields. There are significant losses of produce during harvesting, threshing and transportation.</a:t>
                      </a:r>
                      <a:endParaRPr lang="en-US" sz="1100" b="0" u="none" dirty="0" smtClean="0">
                        <a:solidFill>
                          <a:schemeClr val="tx1"/>
                        </a:solidFill>
                        <a:latin typeface="+mn-lt"/>
                        <a:cs typeface="Arial" panose="020B0604020202020204" pitchFamily="34" charset="0"/>
                      </a:endParaRPr>
                    </a:p>
                  </a:txBody>
                  <a:tcPr/>
                </a:tc>
                <a:tc>
                  <a:txBody>
                    <a:bodyPr/>
                    <a:lstStyle/>
                    <a:p>
                      <a:pPr marL="171450" indent="-171450">
                        <a:lnSpc>
                          <a:spcPts val="1400"/>
                        </a:lnSpc>
                        <a:spcAft>
                          <a:spcPts val="600"/>
                        </a:spcAft>
                        <a:buFont typeface="Arial" panose="020B0604020202020204" pitchFamily="34" charset="0"/>
                        <a:buChar char="•"/>
                      </a:pPr>
                      <a:r>
                        <a:rPr lang="en-GB" sz="1100" b="0" dirty="0" smtClean="0">
                          <a:solidFill>
                            <a:schemeClr val="tx1"/>
                          </a:solidFill>
                          <a:latin typeface="+mn-lt"/>
                          <a:cs typeface="Arial" panose="020B0604020202020204" pitchFamily="34" charset="0"/>
                        </a:rPr>
                        <a:t>The AGRA team</a:t>
                      </a:r>
                      <a:r>
                        <a:rPr lang="en-GB" sz="1100" b="0" baseline="0" dirty="0" smtClean="0">
                          <a:solidFill>
                            <a:schemeClr val="tx1"/>
                          </a:solidFill>
                          <a:latin typeface="+mn-lt"/>
                          <a:cs typeface="Arial" panose="020B0604020202020204" pitchFamily="34" charset="0"/>
                        </a:rPr>
                        <a:t> is working with grantees and partners to target these key constraints by trying to identify appropriate (since land holdings are small) affordable technologies and building a private sector service delivery system (farmers do not need to invest in technologies that they use only once a year)</a:t>
                      </a:r>
                      <a:endParaRPr lang="en-GB" sz="1100" b="0" dirty="0" smtClean="0">
                        <a:solidFill>
                          <a:schemeClr val="tx1"/>
                        </a:solidFill>
                        <a:latin typeface="+mn-lt"/>
                        <a:cs typeface="Arial" panose="020B0604020202020204" pitchFamily="34" charset="0"/>
                      </a:endParaRPr>
                    </a:p>
                  </a:txBody>
                  <a:tcPr/>
                </a:tc>
                <a:extLst>
                  <a:ext uri="{0D108BD9-81ED-4DB2-BD59-A6C34878D82A}">
                    <a16:rowId xmlns:a16="http://schemas.microsoft.com/office/drawing/2014/main" val="2330181215"/>
                  </a:ext>
                </a:extLst>
              </a:tr>
              <a:tr h="370840">
                <a:tc>
                  <a:txBody>
                    <a:bodyPr/>
                    <a:lstStyle/>
                    <a:p>
                      <a:pPr>
                        <a:lnSpc>
                          <a:spcPts val="1400"/>
                        </a:lnSpc>
                        <a:spcAft>
                          <a:spcPts val="600"/>
                        </a:spcAft>
                      </a:pPr>
                      <a:r>
                        <a:rPr lang="en-US" sz="1100" b="0" dirty="0" smtClean="0">
                          <a:latin typeface="+mn-lt"/>
                        </a:rPr>
                        <a:t>While Ethiopia has made a lot of investments in improving soil fertility to increase farm productivity, including</a:t>
                      </a:r>
                      <a:r>
                        <a:rPr lang="en-US" sz="1100" b="0" baseline="0" dirty="0" smtClean="0">
                          <a:latin typeface="+mn-lt"/>
                        </a:rPr>
                        <a:t> extensive soil mapping, identification of blended fertilizers and setting up of blending factories. However, there is a major gap in the validating of the blends. As a result there is a lot confusion on the effectiveness of the new blends with contradicting recommendations. Unless the validation is completed it will dampen the effectiveness of all the investments made so far.</a:t>
                      </a:r>
                      <a:endParaRPr lang="en-US" sz="1100" b="0" dirty="0">
                        <a:latin typeface="+mn-lt"/>
                      </a:endParaRPr>
                    </a:p>
                  </a:txBody>
                  <a:tcPr/>
                </a:tc>
                <a:tc>
                  <a:txBody>
                    <a:bodyPr/>
                    <a:lstStyle/>
                    <a:p>
                      <a:pPr marL="171450" indent="-171450">
                        <a:lnSpc>
                          <a:spcPts val="1400"/>
                        </a:lnSpc>
                        <a:spcAft>
                          <a:spcPts val="600"/>
                        </a:spcAft>
                        <a:buFont typeface="Arial" panose="020B0604020202020204" pitchFamily="34" charset="0"/>
                        <a:buChar char="•"/>
                      </a:pPr>
                      <a:r>
                        <a:rPr lang="en-US" sz="1100" b="0" dirty="0" smtClean="0">
                          <a:solidFill>
                            <a:schemeClr val="dk1"/>
                          </a:solidFill>
                          <a:latin typeface="+mn-lt"/>
                          <a:cs typeface="Arial" panose="020B0604020202020204" pitchFamily="34" charset="0"/>
                        </a:rPr>
                        <a:t>AGRA should invest in the validation of the blends to determine agroecology</a:t>
                      </a:r>
                      <a:r>
                        <a:rPr lang="en-US" sz="1100" b="0" baseline="0" dirty="0" smtClean="0">
                          <a:solidFill>
                            <a:schemeClr val="dk1"/>
                          </a:solidFill>
                          <a:latin typeface="+mn-lt"/>
                          <a:cs typeface="Arial" panose="020B0604020202020204" pitchFamily="34" charset="0"/>
                        </a:rPr>
                        <a:t> and crop-specific recommendation of the blended fertilizers. The mapping also missed some key fertilizers such as potassium which should be included in the validation</a:t>
                      </a:r>
                      <a:endParaRPr lang="en-US" sz="1100" b="0" dirty="0" smtClean="0">
                        <a:solidFill>
                          <a:schemeClr val="dk1"/>
                        </a:solidFill>
                        <a:latin typeface="+mn-lt"/>
                        <a:cs typeface="Arial" panose="020B0604020202020204" pitchFamily="34" charset="0"/>
                      </a:endParaRPr>
                    </a:p>
                  </a:txBody>
                  <a:tcPr/>
                </a:tc>
                <a:extLst>
                  <a:ext uri="{0D108BD9-81ED-4DB2-BD59-A6C34878D82A}">
                    <a16:rowId xmlns:a16="http://schemas.microsoft.com/office/drawing/2014/main" val="900949916"/>
                  </a:ext>
                </a:extLst>
              </a:tr>
              <a:tr h="370840">
                <a:tc>
                  <a:txBody>
                    <a:bodyPr/>
                    <a:lstStyle/>
                    <a:p>
                      <a:pPr>
                        <a:lnSpc>
                          <a:spcPts val="1400"/>
                        </a:lnSpc>
                        <a:spcAft>
                          <a:spcPts val="600"/>
                        </a:spcAft>
                      </a:pPr>
                      <a:endParaRPr lang="en-US" sz="1100" b="1" dirty="0">
                        <a:latin typeface="+mn-lt"/>
                      </a:endParaRPr>
                    </a:p>
                  </a:txBody>
                  <a:tcPr/>
                </a:tc>
                <a:tc>
                  <a:txBody>
                    <a:bodyPr/>
                    <a:lstStyle/>
                    <a:p>
                      <a:pPr marL="171450" marR="0" indent="-171450" algn="l" defTabSz="914400" rtl="0" eaLnBrk="1" fontAlgn="auto" latinLnBrk="0" hangingPunct="1">
                        <a:lnSpc>
                          <a:spcPts val="1400"/>
                        </a:lnSpc>
                        <a:spcBef>
                          <a:spcPts val="0"/>
                        </a:spcBef>
                        <a:spcAft>
                          <a:spcPts val="600"/>
                        </a:spcAft>
                        <a:buClr>
                          <a:srgbClr val="000000"/>
                        </a:buClr>
                        <a:buSzTx/>
                        <a:buFont typeface="Arial" panose="020B0604020202020204" pitchFamily="34" charset="0"/>
                        <a:buChar char="•"/>
                        <a:tabLst/>
                        <a:defRPr/>
                      </a:pPr>
                      <a:endParaRPr lang="en-US" sz="1100" b="0" dirty="0" smtClean="0">
                        <a:solidFill>
                          <a:schemeClr val="dk1"/>
                        </a:solidFill>
                        <a:latin typeface="+mn-lt"/>
                        <a:cs typeface="Arial" panose="020B0604020202020204" pitchFamily="34" charset="0"/>
                      </a:endParaRPr>
                    </a:p>
                  </a:txBody>
                  <a:tcPr/>
                </a:tc>
                <a:extLst>
                  <a:ext uri="{0D108BD9-81ED-4DB2-BD59-A6C34878D82A}">
                    <a16:rowId xmlns:a16="http://schemas.microsoft.com/office/drawing/2014/main" val="1124045165"/>
                  </a:ext>
                </a:extLst>
              </a:tr>
            </a:tbl>
          </a:graphicData>
        </a:graphic>
      </p:graphicFrame>
    </p:spTree>
    <p:extLst>
      <p:ext uri="{BB962C8B-B14F-4D97-AF65-F5344CB8AC3E}">
        <p14:creationId xmlns:p14="http://schemas.microsoft.com/office/powerpoint/2010/main" val="2582447737"/>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439057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822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200" b="1" dirty="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lIns="0" tIns="0" rIns="0" bIns="0" anchor="b"/>
          <a:lstStyle/>
          <a:p>
            <a:pPr defTabSz="914395">
              <a:spcBef>
                <a:spcPct val="0"/>
              </a:spcBef>
              <a:buClrTx/>
              <a:buSzTx/>
              <a:buFontTx/>
            </a:pPr>
            <a:r>
              <a:rPr lang="en-US" dirty="0">
                <a:solidFill>
                  <a:schemeClr val="tx1"/>
                </a:solidFill>
                <a:latin typeface="Arial" panose="020B0604020202020204" pitchFamily="34" charset="0"/>
                <a:cs typeface="Arial" panose="020B0604020202020204" pitchFamily="34" charset="0"/>
              </a:rPr>
              <a:t>Emerging Opportunities for </a:t>
            </a:r>
            <a:r>
              <a:rPr lang="en-US" dirty="0" smtClean="0">
                <a:solidFill>
                  <a:schemeClr val="tx1"/>
                </a:solidFill>
                <a:latin typeface="Arial" panose="020B0604020202020204" pitchFamily="34" charset="0"/>
                <a:cs typeface="Arial" panose="020B0604020202020204" pitchFamily="34" charset="0"/>
              </a:rPr>
              <a:t>Ethiopia</a:t>
            </a:r>
            <a:endParaRPr lang="en-US" dirty="0">
              <a:solidFill>
                <a:schemeClr val="tx1"/>
              </a:solidFill>
              <a:latin typeface="Arial" panose="020B0604020202020204" pitchFamily="34" charset="0"/>
              <a:cs typeface="Arial" panose="020B0604020202020204" pitchFamily="34" charset="0"/>
            </a:endParaRPr>
          </a:p>
        </p:txBody>
      </p:sp>
      <p:graphicFrame>
        <p:nvGraphicFramePr>
          <p:cNvPr id="3" name="Table 2"/>
          <p:cNvGraphicFramePr>
            <a:graphicFrameLocks noGrp="1"/>
          </p:cNvGraphicFramePr>
          <p:nvPr>
            <p:extLst>
              <p:ext uri="{D42A27DB-BD31-4B8C-83A1-F6EECF244321}">
                <p14:modId xmlns:p14="http://schemas.microsoft.com/office/powerpoint/2010/main" val="1712270698"/>
              </p:ext>
            </p:extLst>
          </p:nvPr>
        </p:nvGraphicFramePr>
        <p:xfrm>
          <a:off x="404655" y="1014248"/>
          <a:ext cx="8998524" cy="4060618"/>
        </p:xfrm>
        <a:graphic>
          <a:graphicData uri="http://schemas.openxmlformats.org/drawingml/2006/table">
            <a:tbl>
              <a:tblPr firstRow="1" bandRow="1">
                <a:tableStyleId>{912C8C85-51F0-491E-9774-3900AFEF0FD7}</a:tableStyleId>
              </a:tblPr>
              <a:tblGrid>
                <a:gridCol w="5197359">
                  <a:extLst>
                    <a:ext uri="{9D8B030D-6E8A-4147-A177-3AD203B41FA5}">
                      <a16:colId xmlns:a16="http://schemas.microsoft.com/office/drawing/2014/main" val="218853500"/>
                    </a:ext>
                  </a:extLst>
                </a:gridCol>
                <a:gridCol w="3801165">
                  <a:extLst>
                    <a:ext uri="{9D8B030D-6E8A-4147-A177-3AD203B41FA5}">
                      <a16:colId xmlns:a16="http://schemas.microsoft.com/office/drawing/2014/main" val="1070729646"/>
                    </a:ext>
                  </a:extLst>
                </a:gridCol>
              </a:tblGrid>
              <a:tr h="359619">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100" dirty="0" smtClean="0">
                          <a:latin typeface="+mn-lt"/>
                        </a:rPr>
                        <a:t>Opportunity</a:t>
                      </a:r>
                      <a:endParaRPr lang="en-US" sz="1100" b="1" dirty="0" smtClean="0">
                        <a:solidFill>
                          <a:schemeClr val="tx1"/>
                        </a:solidFill>
                        <a:latin typeface="+mn-lt"/>
                        <a:cs typeface="Arial" panose="020B0604020202020204" pitchFamily="34" charset="0"/>
                      </a:endParaRPr>
                    </a:p>
                  </a:txBody>
                  <a:tcPr/>
                </a:tc>
                <a:tc>
                  <a:txBody>
                    <a:bodyPr/>
                    <a:lstStyle/>
                    <a:p>
                      <a:pPr>
                        <a:lnSpc>
                          <a:spcPts val="1400"/>
                        </a:lnSpc>
                        <a:spcAft>
                          <a:spcPts val="600"/>
                        </a:spcAft>
                      </a:pPr>
                      <a:r>
                        <a:rPr lang="en-GB" sz="1100" u="none" strike="noStrike" cap="none" dirty="0" smtClean="0">
                          <a:latin typeface="+mn-lt"/>
                          <a:sym typeface="Arial"/>
                        </a:rPr>
                        <a:t>Implication for Ethiopia</a:t>
                      </a:r>
                      <a:endParaRPr lang="en-GB" sz="1100" b="1" dirty="0" smtClean="0">
                        <a:solidFill>
                          <a:schemeClr val="tx1"/>
                        </a:solidFill>
                        <a:latin typeface="+mn-lt"/>
                        <a:cs typeface="Arial" panose="020B0604020202020204" pitchFamily="34" charset="0"/>
                      </a:endParaRPr>
                    </a:p>
                  </a:txBody>
                  <a:tcPr/>
                </a:tc>
                <a:extLst>
                  <a:ext uri="{0D108BD9-81ED-4DB2-BD59-A6C34878D82A}">
                    <a16:rowId xmlns:a16="http://schemas.microsoft.com/office/drawing/2014/main" val="2806127866"/>
                  </a:ext>
                </a:extLst>
              </a:tr>
              <a:tr h="1295761">
                <a:tc>
                  <a:txBody>
                    <a:bodyPr/>
                    <a:lstStyle/>
                    <a:p>
                      <a:pPr marL="228600" marR="0" indent="-228600" algn="l" defTabSz="914400" rtl="0" eaLnBrk="1" fontAlgn="auto" latinLnBrk="0" hangingPunct="1">
                        <a:lnSpc>
                          <a:spcPts val="1400"/>
                        </a:lnSpc>
                        <a:spcBef>
                          <a:spcPts val="0"/>
                        </a:spcBef>
                        <a:spcAft>
                          <a:spcPts val="600"/>
                        </a:spcAft>
                        <a:buClr>
                          <a:srgbClr val="000000"/>
                        </a:buClr>
                        <a:buSzTx/>
                        <a:buFont typeface="Arial" panose="020B0604020202020204" pitchFamily="34" charset="0"/>
                        <a:buChar char="•"/>
                        <a:tabLst/>
                        <a:defRPr/>
                      </a:pPr>
                      <a:r>
                        <a:rPr lang="en-US" sz="1100" b="0" i="0" u="none" strike="noStrike" cap="none" dirty="0" smtClean="0">
                          <a:solidFill>
                            <a:schemeClr val="tx1"/>
                          </a:solidFill>
                          <a:effectLst/>
                          <a:latin typeface="+mn-lt"/>
                          <a:ea typeface="+mn-ea"/>
                          <a:cs typeface="+mn-cs"/>
                          <a:sym typeface="Arial"/>
                        </a:rPr>
                        <a:t>Government policy shift</a:t>
                      </a:r>
                      <a:r>
                        <a:rPr lang="en-US" sz="1100" b="0" i="0" u="none" strike="noStrike" cap="none" baseline="0" dirty="0" smtClean="0">
                          <a:solidFill>
                            <a:schemeClr val="tx1"/>
                          </a:solidFill>
                          <a:effectLst/>
                          <a:latin typeface="+mn-lt"/>
                          <a:ea typeface="+mn-ea"/>
                          <a:cs typeface="+mn-cs"/>
                          <a:sym typeface="Arial"/>
                        </a:rPr>
                        <a:t> from a public sector dominated economic system into a private sector led economy and other political reforms including the role of civil societies</a:t>
                      </a:r>
                    </a:p>
                    <a:p>
                      <a:pPr marL="228600" marR="0" indent="-228600" algn="l" defTabSz="914400" rtl="0" eaLnBrk="1" fontAlgn="auto" latinLnBrk="0" hangingPunct="1">
                        <a:lnSpc>
                          <a:spcPts val="1400"/>
                        </a:lnSpc>
                        <a:spcBef>
                          <a:spcPts val="0"/>
                        </a:spcBef>
                        <a:spcAft>
                          <a:spcPts val="600"/>
                        </a:spcAft>
                        <a:buClr>
                          <a:srgbClr val="000000"/>
                        </a:buClr>
                        <a:buSzTx/>
                        <a:buFont typeface="Arial" panose="020B0604020202020204" pitchFamily="34" charset="0"/>
                        <a:buChar char="•"/>
                        <a:tabLst/>
                        <a:defRPr/>
                      </a:pPr>
                      <a:r>
                        <a:rPr lang="en-US" sz="1100" b="0" i="0" u="none" strike="noStrike" cap="none" baseline="0" dirty="0" smtClean="0">
                          <a:solidFill>
                            <a:schemeClr val="tx1"/>
                          </a:solidFill>
                          <a:effectLst/>
                          <a:latin typeface="+mn-lt"/>
                          <a:ea typeface="+mn-ea"/>
                          <a:cs typeface="+mn-cs"/>
                          <a:sym typeface="Arial"/>
                        </a:rPr>
                        <a:t>Increasing liberalization and privatization public enterprises such as the telecom sector</a:t>
                      </a:r>
                    </a:p>
                    <a:p>
                      <a:pPr marL="228600" marR="0" indent="-228600" algn="l" defTabSz="914400" rtl="0" eaLnBrk="1" fontAlgn="auto" latinLnBrk="0" hangingPunct="1">
                        <a:lnSpc>
                          <a:spcPts val="1400"/>
                        </a:lnSpc>
                        <a:spcBef>
                          <a:spcPts val="0"/>
                        </a:spcBef>
                        <a:spcAft>
                          <a:spcPts val="600"/>
                        </a:spcAft>
                        <a:buClr>
                          <a:srgbClr val="000000"/>
                        </a:buClr>
                        <a:buSzTx/>
                        <a:buFont typeface="Arial" panose="020B0604020202020204" pitchFamily="34" charset="0"/>
                        <a:buChar char="•"/>
                        <a:tabLst/>
                        <a:defRPr/>
                      </a:pPr>
                      <a:r>
                        <a:rPr lang="en-US" sz="1100" b="0" i="0" u="none" strike="noStrike" cap="none" baseline="0" dirty="0" smtClean="0">
                          <a:solidFill>
                            <a:schemeClr val="tx1"/>
                          </a:solidFill>
                          <a:effectLst/>
                          <a:latin typeface="+mn-lt"/>
                          <a:ea typeface="+mn-ea"/>
                          <a:cs typeface="+mn-cs"/>
                          <a:sym typeface="Arial"/>
                        </a:rPr>
                        <a:t>Recently enacted policy reforms to remove import duties and taxes on over 70 agricultural inputs technologies</a:t>
                      </a:r>
                      <a:endParaRPr lang="en-US" sz="1100" b="0" i="0" u="none" strike="noStrike" cap="none" dirty="0" smtClean="0">
                        <a:solidFill>
                          <a:schemeClr val="tx1"/>
                        </a:solidFill>
                        <a:effectLst/>
                        <a:latin typeface="+mn-lt"/>
                        <a:ea typeface="+mn-ea"/>
                        <a:cs typeface="+mn-cs"/>
                        <a:sym typeface="Arial"/>
                      </a:endParaRPr>
                    </a:p>
                  </a:txBody>
                  <a:tcPr/>
                </a:tc>
                <a:tc>
                  <a:txBody>
                    <a:bodyPr/>
                    <a:lstStyle/>
                    <a:p>
                      <a:pPr marL="171450" marR="0" indent="-171450" algn="l" defTabSz="914400" rtl="0" eaLnBrk="1" fontAlgn="auto" latinLnBrk="0" hangingPunct="1">
                        <a:lnSpc>
                          <a:spcPts val="1400"/>
                        </a:lnSpc>
                        <a:spcBef>
                          <a:spcPts val="0"/>
                        </a:spcBef>
                        <a:spcAft>
                          <a:spcPts val="600"/>
                        </a:spcAft>
                        <a:buClr>
                          <a:srgbClr val="000000"/>
                        </a:buClr>
                        <a:buSzTx/>
                        <a:buFont typeface="Arial" panose="020B0604020202020204" pitchFamily="34" charset="0"/>
                        <a:buChar char="•"/>
                        <a:tabLst/>
                        <a:defRPr/>
                      </a:pPr>
                      <a:r>
                        <a:rPr lang="en-US" sz="1100" baseline="0" dirty="0" smtClean="0">
                          <a:latin typeface="+mn-lt"/>
                          <a:cs typeface="Arial" panose="020B0604020202020204" pitchFamily="34" charset="0"/>
                        </a:rPr>
                        <a:t>The policy shift will enable the flourishing of an agro-dealer system and private sector in the production and input and output marketing system</a:t>
                      </a:r>
                    </a:p>
                    <a:p>
                      <a:pPr marL="171450" marR="0" indent="-171450" algn="l" defTabSz="914400" rtl="0" eaLnBrk="1" fontAlgn="auto" latinLnBrk="0" hangingPunct="1">
                        <a:lnSpc>
                          <a:spcPts val="1400"/>
                        </a:lnSpc>
                        <a:spcBef>
                          <a:spcPts val="0"/>
                        </a:spcBef>
                        <a:spcAft>
                          <a:spcPts val="600"/>
                        </a:spcAft>
                        <a:buClr>
                          <a:srgbClr val="000000"/>
                        </a:buClr>
                        <a:buSzTx/>
                        <a:buFont typeface="Arial" panose="020B0604020202020204" pitchFamily="34" charset="0"/>
                        <a:buChar char="•"/>
                        <a:tabLst/>
                        <a:defRPr/>
                      </a:pPr>
                      <a:r>
                        <a:rPr lang="en-US" sz="1100" baseline="0" dirty="0" smtClean="0">
                          <a:latin typeface="+mn-lt"/>
                          <a:cs typeface="Arial" panose="020B0604020202020204" pitchFamily="34" charset="0"/>
                        </a:rPr>
                        <a:t>Encourage improved services and innovation in application of digital services in agriculture</a:t>
                      </a:r>
                    </a:p>
                    <a:p>
                      <a:pPr marL="171450" marR="0" indent="-171450" algn="l" defTabSz="914400" rtl="0" eaLnBrk="1" fontAlgn="auto" latinLnBrk="0" hangingPunct="1">
                        <a:lnSpc>
                          <a:spcPts val="1400"/>
                        </a:lnSpc>
                        <a:spcBef>
                          <a:spcPts val="0"/>
                        </a:spcBef>
                        <a:spcAft>
                          <a:spcPts val="600"/>
                        </a:spcAft>
                        <a:buClr>
                          <a:srgbClr val="000000"/>
                        </a:buClr>
                        <a:buSzTx/>
                        <a:buFont typeface="Arial" panose="020B0604020202020204" pitchFamily="34" charset="0"/>
                        <a:buChar char="•"/>
                        <a:tabLst/>
                        <a:defRPr/>
                      </a:pPr>
                      <a:r>
                        <a:rPr lang="en-US" sz="1100" baseline="0" dirty="0" smtClean="0">
                          <a:latin typeface="+mn-lt"/>
                          <a:cs typeface="Arial" panose="020B0604020202020204" pitchFamily="34" charset="0"/>
                        </a:rPr>
                        <a:t>Increase private sector investment on mechanization, irrigation, animal feed production and poultry production</a:t>
                      </a:r>
                    </a:p>
                  </a:txBody>
                  <a:tcPr/>
                </a:tc>
                <a:extLst>
                  <a:ext uri="{0D108BD9-81ED-4DB2-BD59-A6C34878D82A}">
                    <a16:rowId xmlns:a16="http://schemas.microsoft.com/office/drawing/2014/main" val="2330181215"/>
                  </a:ext>
                </a:extLst>
              </a:tr>
              <a:tr h="680993">
                <a:tc>
                  <a:txBody>
                    <a:bodyPr/>
                    <a:lstStyle/>
                    <a:p>
                      <a:pPr marL="228600" marR="0" indent="-228600" algn="l" defTabSz="914400" rtl="0" eaLnBrk="1" fontAlgn="auto" latinLnBrk="0" hangingPunct="1">
                        <a:lnSpc>
                          <a:spcPts val="1400"/>
                        </a:lnSpc>
                        <a:spcBef>
                          <a:spcPts val="0"/>
                        </a:spcBef>
                        <a:spcAft>
                          <a:spcPts val="600"/>
                        </a:spcAft>
                        <a:buClr>
                          <a:srgbClr val="000000"/>
                        </a:buClr>
                        <a:buSzTx/>
                        <a:buFont typeface="Arial" panose="020B0604020202020204" pitchFamily="34" charset="0"/>
                        <a:buChar char="•"/>
                        <a:tabLst/>
                        <a:defRPr/>
                      </a:pPr>
                      <a:r>
                        <a:rPr lang="en-US" sz="1100" b="0" i="0" u="none" strike="noStrike" cap="none" dirty="0" smtClean="0">
                          <a:solidFill>
                            <a:schemeClr val="tx1"/>
                          </a:solidFill>
                          <a:latin typeface="+mn-lt"/>
                          <a:ea typeface="+mn-ea"/>
                          <a:cs typeface="Arial" panose="020B0604020202020204" pitchFamily="34" charset="0"/>
                          <a:sym typeface="Calibri"/>
                        </a:rPr>
                        <a:t>The building of agro-food industrial parks and the development of the agricultural commercialization clusters</a:t>
                      </a:r>
                    </a:p>
                  </a:txBody>
                  <a:tcPr/>
                </a:tc>
                <a:tc>
                  <a:txBody>
                    <a:bodyPr/>
                    <a:lstStyle/>
                    <a:p>
                      <a:pPr marL="171450" marR="0" indent="-171450" algn="l" defTabSz="914400" rtl="0" eaLnBrk="1" fontAlgn="auto" latinLnBrk="0" hangingPunct="1">
                        <a:lnSpc>
                          <a:spcPts val="1400"/>
                        </a:lnSpc>
                        <a:spcBef>
                          <a:spcPts val="0"/>
                        </a:spcBef>
                        <a:spcAft>
                          <a:spcPts val="600"/>
                        </a:spcAft>
                        <a:buClr>
                          <a:srgbClr val="000000"/>
                        </a:buClr>
                        <a:buSzTx/>
                        <a:buFont typeface="Arial" panose="020B0604020202020204" pitchFamily="34" charset="0"/>
                        <a:buChar char="•"/>
                        <a:tabLst/>
                        <a:defRPr/>
                      </a:pPr>
                      <a:r>
                        <a:rPr lang="en-US" sz="1100" dirty="0" smtClean="0">
                          <a:latin typeface="+mn-lt"/>
                          <a:cs typeface="Arial" panose="020B0604020202020204" pitchFamily="34" charset="0"/>
                        </a:rPr>
                        <a:t>Attract private</a:t>
                      </a:r>
                      <a:r>
                        <a:rPr lang="en-US" sz="1100" baseline="0" dirty="0" smtClean="0">
                          <a:latin typeface="+mn-lt"/>
                          <a:cs typeface="Arial" panose="020B0604020202020204" pitchFamily="34" charset="0"/>
                        </a:rPr>
                        <a:t> sector investment to grow the manufacturing sector, increase exports and create jobs</a:t>
                      </a:r>
                      <a:endParaRPr lang="en-US" sz="1100" dirty="0" smtClean="0">
                        <a:latin typeface="+mn-lt"/>
                        <a:cs typeface="Arial" panose="020B0604020202020204" pitchFamily="34" charset="0"/>
                      </a:endParaRPr>
                    </a:p>
                  </a:txBody>
                  <a:tcPr/>
                </a:tc>
                <a:extLst>
                  <a:ext uri="{0D108BD9-81ED-4DB2-BD59-A6C34878D82A}">
                    <a16:rowId xmlns:a16="http://schemas.microsoft.com/office/drawing/2014/main" val="2937987614"/>
                  </a:ext>
                </a:extLst>
              </a:tr>
              <a:tr h="1531566">
                <a:tc>
                  <a:txBody>
                    <a:bodyPr/>
                    <a:lstStyle/>
                    <a:p>
                      <a:pPr marL="171450" marR="0" indent="-171450" algn="l" defTabSz="914400" rtl="0" eaLnBrk="1" fontAlgn="auto" latinLnBrk="0" hangingPunct="1">
                        <a:lnSpc>
                          <a:spcPts val="1400"/>
                        </a:lnSpc>
                        <a:spcBef>
                          <a:spcPts val="0"/>
                        </a:spcBef>
                        <a:spcAft>
                          <a:spcPts val="600"/>
                        </a:spcAft>
                        <a:buClr>
                          <a:srgbClr val="000000"/>
                        </a:buClr>
                        <a:buSzTx/>
                        <a:buFont typeface="Arial" panose="020B0604020202020204" pitchFamily="34" charset="0"/>
                        <a:buChar char="•"/>
                        <a:tabLst/>
                        <a:defRPr/>
                      </a:pPr>
                      <a:r>
                        <a:rPr lang="en-US" sz="1100" b="0" i="0" u="none" strike="noStrike" cap="none" baseline="0" dirty="0" smtClean="0">
                          <a:solidFill>
                            <a:schemeClr val="tx1"/>
                          </a:solidFill>
                          <a:latin typeface="+mn-lt"/>
                          <a:ea typeface="+mn-ea"/>
                          <a:cs typeface="Arial" panose="020B0604020202020204" pitchFamily="34" charset="0"/>
                          <a:sym typeface="Calibri"/>
                        </a:rPr>
                        <a:t>For the last three years there has been continuous political unrest in major parts of the country. This has severely impacted the implementation of the GTP II program. In many of the targets, even some of the GTP I targets have not been achieved. This is an opportunity to refresh the GTP II plan for the next 7-10 years with a well articulated agricultural transformation plan.</a:t>
                      </a:r>
                    </a:p>
                  </a:txBody>
                  <a:tcPr/>
                </a:tc>
                <a:tc>
                  <a:txBody>
                    <a:bodyPr/>
                    <a:lstStyle/>
                    <a:p>
                      <a:pPr marL="171450" marR="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100" b="0" i="0" u="none" strike="noStrike" cap="none" baseline="0" dirty="0" smtClean="0">
                          <a:solidFill>
                            <a:schemeClr val="tx1"/>
                          </a:solidFill>
                          <a:latin typeface="+mn-lt"/>
                          <a:ea typeface="+mn-ea"/>
                          <a:cs typeface="Arial" panose="020B0604020202020204" pitchFamily="34" charset="0"/>
                          <a:sym typeface="Arial"/>
                        </a:rPr>
                        <a:t>Support the government in developing a NAIP an flagships development</a:t>
                      </a:r>
                    </a:p>
                  </a:txBody>
                  <a:tcPr/>
                </a:tc>
                <a:extLst>
                  <a:ext uri="{0D108BD9-81ED-4DB2-BD59-A6C34878D82A}">
                    <a16:rowId xmlns:a16="http://schemas.microsoft.com/office/drawing/2014/main" val="3925673634"/>
                  </a:ext>
                </a:extLst>
              </a:tr>
            </a:tbl>
          </a:graphicData>
        </a:graphic>
      </p:graphicFrame>
    </p:spTree>
    <p:extLst>
      <p:ext uri="{BB962C8B-B14F-4D97-AF65-F5344CB8AC3E}">
        <p14:creationId xmlns:p14="http://schemas.microsoft.com/office/powerpoint/2010/main" val="3885961791"/>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The Team</a:t>
            </a:r>
            <a:endParaRPr lang="en-US" dirty="0"/>
          </a:p>
        </p:txBody>
      </p:sp>
    </p:spTree>
    <p:extLst>
      <p:ext uri="{BB962C8B-B14F-4D97-AF65-F5344CB8AC3E}">
        <p14:creationId xmlns:p14="http://schemas.microsoft.com/office/powerpoint/2010/main" val="856027623"/>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918006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2087" name="think-cell Slide" r:id="rId31" imgW="270" imgH="270" progId="TCLayout.ActiveDocument.1">
                  <p:embed/>
                </p:oleObj>
              </mc:Choice>
              <mc:Fallback>
                <p:oleObj name="think-cell Slide" r:id="rId31" imgW="270" imgH="270" progId="TCLayout.ActiveDocument.1">
                  <p:embed/>
                  <p:pic>
                    <p:nvPicPr>
                      <p:cNvPr id="5" name="Object 4" hidden="1"/>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031" b="1" dirty="0">
              <a:latin typeface="Arial" panose="020B0604020202020204" pitchFamily="34" charset="0"/>
              <a:cs typeface="Arial" panose="020B0604020202020204" pitchFamily="34" charset="0"/>
              <a:sym typeface="Arial" panose="020B0604020202020204" pitchFamily="34" charset="0"/>
            </a:endParaRPr>
          </a:p>
        </p:txBody>
      </p:sp>
      <p:sp>
        <p:nvSpPr>
          <p:cNvPr id="4" name="Title 3"/>
          <p:cNvSpPr>
            <a:spLocks noGrp="1"/>
          </p:cNvSpPr>
          <p:nvPr>
            <p:ph type="title"/>
          </p:nvPr>
        </p:nvSpPr>
        <p:spPr/>
        <p:txBody>
          <a:bodyPr/>
          <a:lstStyle/>
          <a:p>
            <a:r>
              <a:rPr lang="en-US" dirty="0" smtClean="0"/>
              <a:t>Country organogram and support structure</a:t>
            </a:r>
            <a:endParaRPr lang="en-US" dirty="0"/>
          </a:p>
        </p:txBody>
      </p:sp>
      <p:sp>
        <p:nvSpPr>
          <p:cNvPr id="8" name="Rectangle 7"/>
          <p:cNvSpPr/>
          <p:nvPr/>
        </p:nvSpPr>
        <p:spPr>
          <a:xfrm>
            <a:off x="154946" y="1423736"/>
            <a:ext cx="5161513" cy="5002891"/>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0" name="Rectangle 9"/>
          <p:cNvSpPr/>
          <p:nvPr/>
        </p:nvSpPr>
        <p:spPr>
          <a:xfrm>
            <a:off x="1428587" y="2488426"/>
            <a:ext cx="1828800" cy="457200"/>
          </a:xfrm>
          <a:prstGeom prst="rect">
            <a:avLst/>
          </a:prstGeom>
          <a:solidFill>
            <a:schemeClr val="accent3">
              <a:lumMod val="50000"/>
            </a:schemeClr>
          </a:solidFill>
          <a:ln>
            <a:noFill/>
          </a:ln>
          <a:effectLst/>
        </p:spPr>
        <p:txBody>
          <a:bodyPr vert="horz" wrap="square" lIns="45720" tIns="45720" rIns="45720" bIns="45720" numCol="1" anchor="ctr" anchorCtr="0" compatLnSpc="1">
            <a:prstTxWarp prst="textNoShape">
              <a:avLst/>
            </a:prstTxWarp>
            <a:noAutofit/>
          </a:bodyPr>
          <a:lstStyle/>
          <a:p>
            <a:pPr algn="ctr" defTabSz="895350">
              <a:buClr>
                <a:schemeClr val="tx2"/>
              </a:buClr>
            </a:pPr>
            <a:r>
              <a:rPr lang="en-US" sz="1100" dirty="0">
                <a:solidFill>
                  <a:schemeClr val="bg1"/>
                </a:solidFill>
                <a:ea typeface="Arial"/>
                <a:cs typeface="Arial"/>
              </a:rPr>
              <a:t>Country Manager</a:t>
            </a:r>
          </a:p>
        </p:txBody>
      </p:sp>
      <p:sp>
        <p:nvSpPr>
          <p:cNvPr id="12" name="Rectangle 11"/>
          <p:cNvSpPr/>
          <p:nvPr/>
        </p:nvSpPr>
        <p:spPr>
          <a:xfrm>
            <a:off x="3242269" y="3119042"/>
            <a:ext cx="1828800" cy="457200"/>
          </a:xfrm>
          <a:prstGeom prst="rect">
            <a:avLst/>
          </a:prstGeom>
          <a:solidFill>
            <a:schemeClr val="accent3">
              <a:lumMod val="50000"/>
            </a:schemeClr>
          </a:solidFill>
          <a:ln>
            <a:noFill/>
          </a:ln>
          <a:effectLst/>
        </p:spPr>
        <p:txBody>
          <a:bodyPr vert="horz" wrap="square" lIns="45720" tIns="45720" rIns="45720" bIns="45720" numCol="1" anchor="ctr" anchorCtr="0" compatLnSpc="1">
            <a:prstTxWarp prst="textNoShape">
              <a:avLst/>
            </a:prstTxWarp>
            <a:noAutofit/>
          </a:bodyPr>
          <a:lstStyle/>
          <a:p>
            <a:pPr lvl="0" algn="ctr"/>
            <a:r>
              <a:rPr lang="en-US" sz="1000" b="1" dirty="0">
                <a:solidFill>
                  <a:schemeClr val="bg1"/>
                </a:solidFill>
                <a:latin typeface="+mn-lt"/>
              </a:rPr>
              <a:t>Office Administrator</a:t>
            </a:r>
          </a:p>
        </p:txBody>
      </p:sp>
      <p:sp>
        <p:nvSpPr>
          <p:cNvPr id="13" name="Rectangle 12"/>
          <p:cNvSpPr/>
          <p:nvPr/>
        </p:nvSpPr>
        <p:spPr>
          <a:xfrm>
            <a:off x="3244733" y="3783742"/>
            <a:ext cx="1828800" cy="457200"/>
          </a:xfrm>
          <a:prstGeom prst="rect">
            <a:avLst/>
          </a:prstGeom>
          <a:solidFill>
            <a:schemeClr val="accent3">
              <a:lumMod val="50000"/>
            </a:schemeClr>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lvl="0" algn="ctr"/>
            <a:r>
              <a:rPr lang="en-US" sz="1000" b="1" dirty="0">
                <a:solidFill>
                  <a:schemeClr val="bg1"/>
                </a:solidFill>
              </a:rPr>
              <a:t>Driver/Admin Assistant</a:t>
            </a:r>
          </a:p>
        </p:txBody>
      </p:sp>
      <p:sp>
        <p:nvSpPr>
          <p:cNvPr id="15" name="Rectangle 14"/>
          <p:cNvSpPr/>
          <p:nvPr/>
        </p:nvSpPr>
        <p:spPr>
          <a:xfrm>
            <a:off x="289327" y="5379387"/>
            <a:ext cx="1828800" cy="457200"/>
          </a:xfrm>
          <a:prstGeom prst="rect">
            <a:avLst/>
          </a:prstGeom>
          <a:solidFill>
            <a:schemeClr val="accent3">
              <a:lumMod val="50000"/>
            </a:schemeClr>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lvl="0" algn="ctr"/>
            <a:r>
              <a:rPr lang="en-US" sz="1000" b="1" dirty="0">
                <a:solidFill>
                  <a:schemeClr val="bg1"/>
                </a:solidFill>
              </a:rPr>
              <a:t>Associate Program Officer</a:t>
            </a:r>
          </a:p>
          <a:p>
            <a:pPr lvl="0" algn="ctr"/>
            <a:r>
              <a:rPr lang="en-US" sz="1000" b="1" dirty="0">
                <a:solidFill>
                  <a:schemeClr val="bg1"/>
                </a:solidFill>
              </a:rPr>
              <a:t>Bisrat Ermias</a:t>
            </a:r>
          </a:p>
        </p:txBody>
      </p:sp>
      <p:sp>
        <p:nvSpPr>
          <p:cNvPr id="16" name="Rectangle 15"/>
          <p:cNvSpPr/>
          <p:nvPr/>
        </p:nvSpPr>
        <p:spPr>
          <a:xfrm>
            <a:off x="1428587" y="4494065"/>
            <a:ext cx="1828800" cy="457200"/>
          </a:xfrm>
          <a:prstGeom prst="rect">
            <a:avLst/>
          </a:prstGeom>
          <a:solidFill>
            <a:schemeClr val="accent3">
              <a:lumMod val="50000"/>
            </a:schemeClr>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lvl="0" algn="ctr"/>
            <a:r>
              <a:rPr lang="en-US" sz="1000" b="1" dirty="0">
                <a:solidFill>
                  <a:schemeClr val="bg1"/>
                </a:solidFill>
              </a:rPr>
              <a:t>Program Officer</a:t>
            </a:r>
          </a:p>
        </p:txBody>
      </p:sp>
      <p:sp>
        <p:nvSpPr>
          <p:cNvPr id="21" name="Rectangle 20"/>
          <p:cNvSpPr/>
          <p:nvPr/>
        </p:nvSpPr>
        <p:spPr>
          <a:xfrm>
            <a:off x="2616449" y="5379387"/>
            <a:ext cx="1828800" cy="457200"/>
          </a:xfrm>
          <a:prstGeom prst="rect">
            <a:avLst/>
          </a:prstGeom>
          <a:solidFill>
            <a:schemeClr val="accent3">
              <a:lumMod val="50000"/>
            </a:schemeClr>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lvl="0" algn="ctr"/>
            <a:r>
              <a:rPr lang="en-US" sz="1000" b="1" dirty="0">
                <a:solidFill>
                  <a:schemeClr val="bg1"/>
                </a:solidFill>
              </a:rPr>
              <a:t>Associate Program Officer</a:t>
            </a:r>
          </a:p>
        </p:txBody>
      </p:sp>
      <p:sp>
        <p:nvSpPr>
          <p:cNvPr id="37" name="TextBox 36"/>
          <p:cNvSpPr txBox="1">
            <a:spLocks/>
          </p:cNvSpPr>
          <p:nvPr>
            <p:custDataLst>
              <p:tags r:id="rId4"/>
            </p:custDataLst>
          </p:nvPr>
        </p:nvSpPr>
        <p:spPr>
          <a:xfrm>
            <a:off x="5397757" y="2048126"/>
            <a:ext cx="1371600" cy="457200"/>
          </a:xfrm>
          <a:prstGeom prst="rect">
            <a:avLst/>
          </a:prstGeom>
          <a:solidFill>
            <a:srgbClr val="FFC000"/>
          </a:solidFill>
          <a:ln w="9525">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algn="ctr">
              <a:defRPr sz="900">
                <a:solidFill>
                  <a:schemeClr val="tx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lvl="1"/>
            <a:r>
              <a:rPr lang="en-GB" dirty="0"/>
              <a:t>Regional </a:t>
            </a:r>
            <a:r>
              <a:rPr lang="en-GB" dirty="0" err="1"/>
              <a:t>M&amp;E</a:t>
            </a:r>
            <a:r>
              <a:rPr lang="en-GB" dirty="0"/>
              <a:t> Officer</a:t>
            </a:r>
            <a:endParaRPr lang="en-US" dirty="0"/>
          </a:p>
        </p:txBody>
      </p:sp>
      <p:sp>
        <p:nvSpPr>
          <p:cNvPr id="44" name="Down Arrow Callout 43"/>
          <p:cNvSpPr/>
          <p:nvPr/>
        </p:nvSpPr>
        <p:spPr>
          <a:xfrm>
            <a:off x="5477204" y="1016361"/>
            <a:ext cx="1371600" cy="817800"/>
          </a:xfrm>
          <a:prstGeom prst="downArrowCallout">
            <a:avLst/>
          </a:prstGeom>
          <a:solidFill>
            <a:schemeClr val="accent3">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bg1"/>
                </a:solidFill>
              </a:rPr>
              <a:t>East Africa-based Technical Support</a:t>
            </a:r>
          </a:p>
        </p:txBody>
      </p:sp>
      <p:cxnSp>
        <p:nvCxnSpPr>
          <p:cNvPr id="47" name="Straight Connector 46"/>
          <p:cNvCxnSpPr/>
          <p:nvPr/>
        </p:nvCxnSpPr>
        <p:spPr>
          <a:xfrm>
            <a:off x="6058468" y="1228368"/>
            <a:ext cx="1371600" cy="457200"/>
          </a:xfrm>
          <a:prstGeom prst="line">
            <a:avLst/>
          </a:prstGeom>
          <a:ln>
            <a:noFill/>
          </a:ln>
        </p:spPr>
        <p:style>
          <a:lnRef idx="1">
            <a:schemeClr val="accent1"/>
          </a:lnRef>
          <a:fillRef idx="0">
            <a:schemeClr val="accent1"/>
          </a:fillRef>
          <a:effectRef idx="0">
            <a:schemeClr val="accent1"/>
          </a:effectRef>
          <a:fontRef idx="minor">
            <a:schemeClr val="tx1"/>
          </a:fontRef>
        </p:style>
      </p:cxnSp>
      <p:sp>
        <p:nvSpPr>
          <p:cNvPr id="56" name="TextBox 55"/>
          <p:cNvSpPr txBox="1">
            <a:spLocks/>
          </p:cNvSpPr>
          <p:nvPr>
            <p:custDataLst>
              <p:tags r:id="rId5"/>
            </p:custDataLst>
          </p:nvPr>
        </p:nvSpPr>
        <p:spPr>
          <a:xfrm>
            <a:off x="5431594" y="2613863"/>
            <a:ext cx="1371600" cy="457200"/>
          </a:xfrm>
          <a:prstGeom prst="rect">
            <a:avLst/>
          </a:prstGeom>
          <a:solidFill>
            <a:srgbClr val="00B0F0"/>
          </a:solidFill>
          <a:ln>
            <a:noFill/>
          </a:ln>
          <a:effectLst/>
          <a:ex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587" lvl="1" indent="0" algn="ctr">
              <a:lnSpc>
                <a:spcPct val="90000"/>
              </a:lnSpc>
              <a:buNone/>
            </a:pPr>
            <a:r>
              <a:rPr lang="en-US" sz="1000" dirty="0" smtClean="0">
                <a:solidFill>
                  <a:schemeClr val="bg1"/>
                </a:solidFill>
                <a:cs typeface="Times New Roman" panose="02020603050405020304" pitchFamily="18" charset="0"/>
              </a:rPr>
              <a:t>Program</a:t>
            </a:r>
            <a:r>
              <a:rPr lang="en-US" sz="1000" b="1" dirty="0" smtClean="0">
                <a:solidFill>
                  <a:schemeClr val="bg1"/>
                </a:solidFill>
                <a:cs typeface="Times New Roman" panose="02020603050405020304" pitchFamily="18" charset="0"/>
              </a:rPr>
              <a:t> </a:t>
            </a:r>
            <a:r>
              <a:rPr lang="en-US" sz="1000" dirty="0" smtClean="0">
                <a:solidFill>
                  <a:schemeClr val="bg1"/>
                </a:solidFill>
                <a:cs typeface="Times New Roman" panose="02020603050405020304" pitchFamily="18" charset="0"/>
              </a:rPr>
              <a:t>Officer, Partnerships</a:t>
            </a:r>
            <a:endParaRPr lang="en-US" sz="1000" b="1" dirty="0">
              <a:solidFill>
                <a:schemeClr val="bg1"/>
              </a:solidFill>
              <a:cs typeface="Times New Roman" panose="02020603050405020304" pitchFamily="18" charset="0"/>
            </a:endParaRPr>
          </a:p>
        </p:txBody>
      </p:sp>
      <p:sp>
        <p:nvSpPr>
          <p:cNvPr id="57" name="TextBox 56"/>
          <p:cNvSpPr txBox="1">
            <a:spLocks/>
          </p:cNvSpPr>
          <p:nvPr>
            <p:custDataLst>
              <p:tags r:id="rId6"/>
            </p:custDataLst>
          </p:nvPr>
        </p:nvSpPr>
        <p:spPr>
          <a:xfrm>
            <a:off x="7019699" y="2024585"/>
            <a:ext cx="1371600" cy="320040"/>
          </a:xfrm>
          <a:prstGeom prst="rect">
            <a:avLst/>
          </a:prstGeom>
          <a:solidFill>
            <a:srgbClr val="FFC000"/>
          </a:solidFill>
          <a:ln>
            <a:noFill/>
          </a:ln>
          <a:effectLst/>
          <a:ex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587" lvl="1" indent="0" defTabSz="895350" eaLnBrk="1" hangingPunct="1">
              <a:buClr>
                <a:schemeClr val="tx2"/>
              </a:buClr>
              <a:buSzPct val="125000"/>
              <a:buFont typeface="Arial" charset="0"/>
              <a:buNone/>
              <a:defRPr sz="850">
                <a:latin typeface="Times New Roman" panose="02020603050405020304" pitchFamily="18" charset="0"/>
                <a:cs typeface="Times New Roman" panose="02020603050405020304" pitchFamily="18" charset="0"/>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lvl="1" algn="ctr"/>
            <a:r>
              <a:rPr lang="en-GB" sz="900" dirty="0">
                <a:latin typeface="+mn-lt"/>
              </a:rPr>
              <a:t>PIATA Chief of Party </a:t>
            </a:r>
          </a:p>
        </p:txBody>
      </p:sp>
      <p:sp>
        <p:nvSpPr>
          <p:cNvPr id="58" name="TextBox 57"/>
          <p:cNvSpPr txBox="1">
            <a:spLocks/>
          </p:cNvSpPr>
          <p:nvPr>
            <p:custDataLst>
              <p:tags r:id="rId7"/>
            </p:custDataLst>
          </p:nvPr>
        </p:nvSpPr>
        <p:spPr>
          <a:xfrm>
            <a:off x="7019699" y="3477461"/>
            <a:ext cx="1371600" cy="320040"/>
          </a:xfrm>
          <a:prstGeom prst="rect">
            <a:avLst/>
          </a:prstGeom>
          <a:solidFill>
            <a:srgbClr val="FFC000"/>
          </a:solidFill>
          <a:ln>
            <a:noFill/>
          </a:ln>
          <a:effectLst/>
          <a:ex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587" lvl="1" indent="0" algn="ctr">
              <a:lnSpc>
                <a:spcPct val="90000"/>
              </a:lnSpc>
              <a:buNone/>
            </a:pPr>
            <a:r>
              <a:rPr lang="en-GB" sz="900" dirty="0" smtClean="0">
                <a:cs typeface="Times New Roman" panose="02020603050405020304" pitchFamily="18" charset="0"/>
              </a:rPr>
              <a:t>Head of Seed Research &amp; Systems Development</a:t>
            </a:r>
            <a:endParaRPr lang="en-ZA" sz="900" b="1" dirty="0">
              <a:solidFill>
                <a:srgbClr val="FF0000"/>
              </a:solidFill>
              <a:cs typeface="Times New Roman" panose="02020603050405020304" pitchFamily="18" charset="0"/>
            </a:endParaRPr>
          </a:p>
        </p:txBody>
      </p:sp>
      <p:sp>
        <p:nvSpPr>
          <p:cNvPr id="59" name="TextBox 58"/>
          <p:cNvSpPr txBox="1">
            <a:spLocks/>
          </p:cNvSpPr>
          <p:nvPr>
            <p:custDataLst>
              <p:tags r:id="rId8"/>
            </p:custDataLst>
          </p:nvPr>
        </p:nvSpPr>
        <p:spPr>
          <a:xfrm>
            <a:off x="7019699" y="3114242"/>
            <a:ext cx="1371600" cy="320040"/>
          </a:xfrm>
          <a:prstGeom prst="rect">
            <a:avLst/>
          </a:prstGeom>
          <a:solidFill>
            <a:srgbClr val="FFC000"/>
          </a:solidFill>
          <a:ln>
            <a:noFill/>
          </a:ln>
          <a:effectLst/>
          <a:ex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587" lvl="1" indent="0" algn="ctr">
              <a:buNone/>
            </a:pPr>
            <a:r>
              <a:rPr lang="en-US" sz="900" dirty="0" smtClean="0">
                <a:cs typeface="Times New Roman" panose="02020603050405020304" pitchFamily="18" charset="0"/>
              </a:rPr>
              <a:t>Head of Policy and Advocacy</a:t>
            </a:r>
            <a:endParaRPr lang="en-US" sz="900" dirty="0">
              <a:cs typeface="Times New Roman" panose="02020603050405020304" pitchFamily="18" charset="0"/>
            </a:endParaRPr>
          </a:p>
        </p:txBody>
      </p:sp>
      <p:sp>
        <p:nvSpPr>
          <p:cNvPr id="60" name="TextBox 59"/>
          <p:cNvSpPr txBox="1">
            <a:spLocks/>
          </p:cNvSpPr>
          <p:nvPr>
            <p:custDataLst>
              <p:tags r:id="rId9"/>
            </p:custDataLst>
          </p:nvPr>
        </p:nvSpPr>
        <p:spPr>
          <a:xfrm>
            <a:off x="7019699" y="3840680"/>
            <a:ext cx="1371600" cy="320040"/>
          </a:xfrm>
          <a:prstGeom prst="rect">
            <a:avLst/>
          </a:prstGeom>
          <a:solidFill>
            <a:srgbClr val="FFC000"/>
          </a:solidFill>
          <a:ln>
            <a:noFill/>
          </a:ln>
          <a:effectLst/>
          <a:ex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587" lvl="1" indent="0" algn="ctr">
              <a:buNone/>
            </a:pPr>
            <a:r>
              <a:rPr lang="en-GB" sz="900" dirty="0" smtClean="0">
                <a:cs typeface="Times New Roman" panose="02020603050405020304" pitchFamily="18" charset="0"/>
              </a:rPr>
              <a:t>Head of Inclusive Finance </a:t>
            </a:r>
          </a:p>
        </p:txBody>
      </p:sp>
      <p:sp>
        <p:nvSpPr>
          <p:cNvPr id="61" name="TextBox 60"/>
          <p:cNvSpPr txBox="1">
            <a:spLocks/>
          </p:cNvSpPr>
          <p:nvPr>
            <p:custDataLst>
              <p:tags r:id="rId10"/>
            </p:custDataLst>
          </p:nvPr>
        </p:nvSpPr>
        <p:spPr>
          <a:xfrm>
            <a:off x="7019699" y="4930337"/>
            <a:ext cx="1371600" cy="320040"/>
          </a:xfrm>
          <a:prstGeom prst="rect">
            <a:avLst/>
          </a:prstGeom>
          <a:solidFill>
            <a:srgbClr val="FFC000"/>
          </a:solidFill>
          <a:ln>
            <a:noFill/>
          </a:ln>
          <a:effectLst/>
          <a:ex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587" lvl="1" indent="0" algn="ctr">
              <a:buNone/>
            </a:pPr>
            <a:endParaRPr lang="en-US" sz="900" dirty="0" smtClean="0">
              <a:cs typeface="Times New Roman" panose="02020603050405020304" pitchFamily="18" charset="0"/>
            </a:endParaRPr>
          </a:p>
          <a:p>
            <a:pPr marL="1587" lvl="1" indent="0" algn="ctr">
              <a:buNone/>
            </a:pPr>
            <a:r>
              <a:rPr lang="en-US" sz="900" dirty="0" smtClean="0">
                <a:cs typeface="Times New Roman" panose="02020603050405020304" pitchFamily="18" charset="0"/>
              </a:rPr>
              <a:t>Head of Gender</a:t>
            </a:r>
          </a:p>
          <a:p>
            <a:pPr marL="1587" lvl="1" indent="0" algn="ctr">
              <a:buNone/>
            </a:pPr>
            <a:endParaRPr lang="en-US" sz="900" dirty="0">
              <a:cs typeface="Times New Roman" panose="02020603050405020304" pitchFamily="18" charset="0"/>
            </a:endParaRPr>
          </a:p>
        </p:txBody>
      </p:sp>
      <p:sp>
        <p:nvSpPr>
          <p:cNvPr id="62" name="TextBox 61"/>
          <p:cNvSpPr txBox="1">
            <a:spLocks/>
          </p:cNvSpPr>
          <p:nvPr>
            <p:custDataLst>
              <p:tags r:id="rId11"/>
            </p:custDataLst>
          </p:nvPr>
        </p:nvSpPr>
        <p:spPr>
          <a:xfrm>
            <a:off x="7019699" y="2751023"/>
            <a:ext cx="1371600" cy="320040"/>
          </a:xfrm>
          <a:prstGeom prst="rect">
            <a:avLst/>
          </a:prstGeom>
          <a:solidFill>
            <a:srgbClr val="FFC000"/>
          </a:solidFill>
          <a:ln>
            <a:noFill/>
          </a:ln>
          <a:effectLst/>
          <a:ex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587" lvl="1" indent="0" defTabSz="895350" eaLnBrk="1" hangingPunct="1">
              <a:buClr>
                <a:schemeClr val="tx2"/>
              </a:buClr>
              <a:buSzPct val="125000"/>
              <a:buFont typeface="Arial" charset="0"/>
              <a:buNone/>
              <a:defRPr sz="850">
                <a:latin typeface="Times New Roman" panose="02020603050405020304" pitchFamily="18" charset="0"/>
                <a:cs typeface="Times New Roman" panose="02020603050405020304" pitchFamily="18" charset="0"/>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lvl="1" algn="ctr"/>
            <a:r>
              <a:rPr lang="en-GB" sz="900" dirty="0">
                <a:latin typeface="+mn-lt"/>
              </a:rPr>
              <a:t>Head of Country </a:t>
            </a:r>
            <a:r>
              <a:rPr lang="en-GB" sz="900" dirty="0" smtClean="0">
                <a:latin typeface="+mn-lt"/>
              </a:rPr>
              <a:t>Support</a:t>
            </a:r>
            <a:endParaRPr lang="en-GB" sz="900" dirty="0">
              <a:latin typeface="+mn-lt"/>
            </a:endParaRPr>
          </a:p>
        </p:txBody>
      </p:sp>
      <p:sp>
        <p:nvSpPr>
          <p:cNvPr id="63" name="TextBox 62"/>
          <p:cNvSpPr txBox="1">
            <a:spLocks/>
          </p:cNvSpPr>
          <p:nvPr>
            <p:custDataLst>
              <p:tags r:id="rId12"/>
            </p:custDataLst>
          </p:nvPr>
        </p:nvSpPr>
        <p:spPr>
          <a:xfrm>
            <a:off x="8454041" y="2030512"/>
            <a:ext cx="1371600" cy="372840"/>
          </a:xfrm>
          <a:prstGeom prst="rect">
            <a:avLst/>
          </a:prstGeom>
          <a:solidFill>
            <a:srgbClr val="FFC000"/>
          </a:solidFill>
          <a:ln>
            <a:noFill/>
          </a:ln>
          <a:effectLst/>
          <a:ex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587" lvl="1" indent="0" algn="ctr">
              <a:buNone/>
            </a:pPr>
            <a:r>
              <a:rPr lang="en-US" sz="1000" dirty="0" smtClean="0">
                <a:cs typeface="Times New Roman" panose="02020603050405020304" pitchFamily="18" charset="0"/>
              </a:rPr>
              <a:t>Head of Grants Management</a:t>
            </a:r>
          </a:p>
        </p:txBody>
      </p:sp>
      <p:sp>
        <p:nvSpPr>
          <p:cNvPr id="64" name="TextBox 63"/>
          <p:cNvSpPr txBox="1">
            <a:spLocks/>
          </p:cNvSpPr>
          <p:nvPr>
            <p:custDataLst>
              <p:tags r:id="rId13"/>
            </p:custDataLst>
          </p:nvPr>
        </p:nvSpPr>
        <p:spPr>
          <a:xfrm>
            <a:off x="7019699" y="4203899"/>
            <a:ext cx="1371600" cy="320040"/>
          </a:xfrm>
          <a:prstGeom prst="rect">
            <a:avLst/>
          </a:prstGeom>
          <a:solidFill>
            <a:srgbClr val="FFC000"/>
          </a:solidFill>
          <a:ln>
            <a:noFill/>
          </a:ln>
          <a:effectLst/>
          <a:ex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587" lvl="1" indent="0" algn="ctr">
              <a:lnSpc>
                <a:spcPct val="90000"/>
              </a:lnSpc>
              <a:buNone/>
            </a:pPr>
            <a:r>
              <a:rPr lang="en-GB" sz="900" dirty="0" smtClean="0">
                <a:cs typeface="Times New Roman" panose="02020603050405020304" pitchFamily="18" charset="0"/>
              </a:rPr>
              <a:t>Head of Soil Fertility &amp; Fertilizer Systems </a:t>
            </a:r>
          </a:p>
        </p:txBody>
      </p:sp>
      <p:sp>
        <p:nvSpPr>
          <p:cNvPr id="65" name="TextBox 64"/>
          <p:cNvSpPr txBox="1">
            <a:spLocks/>
          </p:cNvSpPr>
          <p:nvPr>
            <p:custDataLst>
              <p:tags r:id="rId14"/>
            </p:custDataLst>
          </p:nvPr>
        </p:nvSpPr>
        <p:spPr>
          <a:xfrm>
            <a:off x="7019699" y="4567118"/>
            <a:ext cx="1371600" cy="320040"/>
          </a:xfrm>
          <a:prstGeom prst="rect">
            <a:avLst/>
          </a:prstGeom>
          <a:solidFill>
            <a:srgbClr val="FFC000"/>
          </a:solidFill>
          <a:ln>
            <a:noFill/>
          </a:ln>
          <a:effectLst/>
          <a:ex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587" lvl="1" indent="0" algn="ctr">
              <a:lnSpc>
                <a:spcPct val="90000"/>
              </a:lnSpc>
              <a:buNone/>
            </a:pPr>
            <a:r>
              <a:rPr lang="en-GB" sz="900" dirty="0" smtClean="0">
                <a:cs typeface="Times New Roman" panose="02020603050405020304" pitchFamily="18" charset="0"/>
              </a:rPr>
              <a:t>Head of Extension &amp; Capacity Building</a:t>
            </a:r>
          </a:p>
        </p:txBody>
      </p:sp>
      <p:sp>
        <p:nvSpPr>
          <p:cNvPr id="66" name="TextBox 65"/>
          <p:cNvSpPr txBox="1">
            <a:spLocks/>
          </p:cNvSpPr>
          <p:nvPr>
            <p:custDataLst>
              <p:tags r:id="rId15"/>
            </p:custDataLst>
          </p:nvPr>
        </p:nvSpPr>
        <p:spPr>
          <a:xfrm>
            <a:off x="7019699" y="6383208"/>
            <a:ext cx="1371600" cy="320040"/>
          </a:xfrm>
          <a:prstGeom prst="rect">
            <a:avLst/>
          </a:prstGeom>
          <a:solidFill>
            <a:srgbClr val="FFC000"/>
          </a:solidFill>
          <a:ln>
            <a:noFill/>
          </a:ln>
          <a:effectLst/>
          <a:ex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587" lvl="1" indent="0" algn="ctr">
              <a:buNone/>
            </a:pPr>
            <a:r>
              <a:rPr lang="en-US" sz="900" dirty="0" smtClean="0">
                <a:cs typeface="Times New Roman" panose="02020603050405020304" pitchFamily="18" charset="0"/>
              </a:rPr>
              <a:t>Compliance Officer</a:t>
            </a:r>
          </a:p>
        </p:txBody>
      </p:sp>
      <p:sp>
        <p:nvSpPr>
          <p:cNvPr id="67" name="TextBox 66"/>
          <p:cNvSpPr txBox="1">
            <a:spLocks/>
          </p:cNvSpPr>
          <p:nvPr>
            <p:custDataLst>
              <p:tags r:id="rId16"/>
            </p:custDataLst>
          </p:nvPr>
        </p:nvSpPr>
        <p:spPr>
          <a:xfrm>
            <a:off x="8442705" y="2827420"/>
            <a:ext cx="1371600" cy="372840"/>
          </a:xfrm>
          <a:prstGeom prst="rect">
            <a:avLst/>
          </a:prstGeom>
          <a:solidFill>
            <a:srgbClr val="FFC000"/>
          </a:solidFill>
          <a:ln>
            <a:noFill/>
          </a:ln>
          <a:effectLst/>
          <a:ex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587" lvl="1" indent="0" algn="ctr">
              <a:buNone/>
            </a:pPr>
            <a:r>
              <a:rPr lang="en-US" sz="1000" dirty="0" smtClean="0">
                <a:cs typeface="Times New Roman" panose="02020603050405020304" pitchFamily="18" charset="0"/>
              </a:rPr>
              <a:t>Head of Procurement</a:t>
            </a:r>
          </a:p>
        </p:txBody>
      </p:sp>
      <p:sp>
        <p:nvSpPr>
          <p:cNvPr id="68" name="TextBox 67"/>
          <p:cNvSpPr txBox="1">
            <a:spLocks/>
          </p:cNvSpPr>
          <p:nvPr>
            <p:custDataLst>
              <p:tags r:id="rId17"/>
            </p:custDataLst>
          </p:nvPr>
        </p:nvSpPr>
        <p:spPr>
          <a:xfrm>
            <a:off x="7019699" y="5656775"/>
            <a:ext cx="1371600" cy="320040"/>
          </a:xfrm>
          <a:prstGeom prst="rect">
            <a:avLst/>
          </a:prstGeom>
          <a:solidFill>
            <a:srgbClr val="FFC000"/>
          </a:solidFill>
          <a:ln>
            <a:noFill/>
          </a:ln>
          <a:effectLst/>
          <a:ex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587" lvl="1" indent="0" algn="ctr">
              <a:buNone/>
            </a:pPr>
            <a:r>
              <a:rPr lang="en-US" sz="900" dirty="0" smtClean="0">
                <a:cs typeface="Times New Roman" panose="02020603050405020304" pitchFamily="18" charset="0"/>
              </a:rPr>
              <a:t>Head of M&amp;E and Knowledge Management </a:t>
            </a:r>
            <a:endParaRPr lang="en-US" sz="900" b="1" dirty="0" smtClean="0">
              <a:solidFill>
                <a:srgbClr val="FF0000"/>
              </a:solidFill>
              <a:cs typeface="Times New Roman" panose="02020603050405020304" pitchFamily="18" charset="0"/>
            </a:endParaRPr>
          </a:p>
        </p:txBody>
      </p:sp>
      <p:sp>
        <p:nvSpPr>
          <p:cNvPr id="69" name="TextBox 68"/>
          <p:cNvSpPr txBox="1">
            <a:spLocks/>
          </p:cNvSpPr>
          <p:nvPr>
            <p:custDataLst>
              <p:tags r:id="rId18"/>
            </p:custDataLst>
          </p:nvPr>
        </p:nvSpPr>
        <p:spPr>
          <a:xfrm>
            <a:off x="8454041" y="3225874"/>
            <a:ext cx="1371600" cy="372840"/>
          </a:xfrm>
          <a:prstGeom prst="rect">
            <a:avLst/>
          </a:prstGeom>
          <a:solidFill>
            <a:srgbClr val="FFC000"/>
          </a:solidFill>
          <a:ln>
            <a:noFill/>
          </a:ln>
          <a:effectLst/>
          <a:ex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587" lvl="1" indent="0" defTabSz="895350" eaLnBrk="1" hangingPunct="1">
              <a:lnSpc>
                <a:spcPct val="89000"/>
              </a:lnSpc>
              <a:buClr>
                <a:schemeClr val="tx2"/>
              </a:buClr>
              <a:buSzPct val="125000"/>
              <a:buFont typeface="Arial" charset="0"/>
              <a:buNone/>
              <a:defRPr sz="800">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lvl="1" algn="ctr">
              <a:lnSpc>
                <a:spcPct val="100000"/>
              </a:lnSpc>
            </a:pPr>
            <a:r>
              <a:rPr lang="en-US" sz="1000" dirty="0" smtClean="0">
                <a:cs typeface="Times New Roman" panose="02020603050405020304" pitchFamily="18" charset="0"/>
              </a:rPr>
              <a:t>Head of Communications</a:t>
            </a:r>
          </a:p>
        </p:txBody>
      </p:sp>
      <p:sp>
        <p:nvSpPr>
          <p:cNvPr id="70" name="TextBox 69"/>
          <p:cNvSpPr txBox="1">
            <a:spLocks/>
          </p:cNvSpPr>
          <p:nvPr>
            <p:custDataLst>
              <p:tags r:id="rId19"/>
            </p:custDataLst>
          </p:nvPr>
        </p:nvSpPr>
        <p:spPr>
          <a:xfrm>
            <a:off x="8454041" y="2428966"/>
            <a:ext cx="1371600" cy="372840"/>
          </a:xfrm>
          <a:prstGeom prst="rect">
            <a:avLst/>
          </a:prstGeom>
          <a:solidFill>
            <a:srgbClr val="FFC000"/>
          </a:solidFill>
          <a:ln>
            <a:noFill/>
          </a:ln>
          <a:effectLst/>
          <a:ex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587" lvl="1" indent="0" algn="ctr">
              <a:buNone/>
            </a:pPr>
            <a:r>
              <a:rPr lang="en-US" sz="1000" dirty="0" smtClean="0">
                <a:cs typeface="Times New Roman" panose="02020603050405020304" pitchFamily="18" charset="0"/>
              </a:rPr>
              <a:t>Chief Finance Officer</a:t>
            </a:r>
          </a:p>
        </p:txBody>
      </p:sp>
      <p:sp>
        <p:nvSpPr>
          <p:cNvPr id="71" name="TextBox 70"/>
          <p:cNvSpPr txBox="1">
            <a:spLocks/>
          </p:cNvSpPr>
          <p:nvPr>
            <p:custDataLst>
              <p:tags r:id="rId20"/>
            </p:custDataLst>
          </p:nvPr>
        </p:nvSpPr>
        <p:spPr>
          <a:xfrm>
            <a:off x="7203474" y="2387804"/>
            <a:ext cx="1187825" cy="320040"/>
          </a:xfrm>
          <a:prstGeom prst="rect">
            <a:avLst/>
          </a:prstGeom>
          <a:solidFill>
            <a:srgbClr val="FFC000"/>
          </a:solidFill>
          <a:ln>
            <a:noFill/>
          </a:ln>
          <a:effectLst/>
          <a:ex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587" lvl="1" indent="0" defTabSz="895350" eaLnBrk="1" hangingPunct="1">
              <a:buClr>
                <a:schemeClr val="tx2"/>
              </a:buClr>
              <a:buSzPct val="125000"/>
              <a:buFont typeface="Arial" charset="0"/>
              <a:buNone/>
              <a:defRPr sz="850">
                <a:latin typeface="Times New Roman" panose="02020603050405020304" pitchFamily="18" charset="0"/>
                <a:cs typeface="Times New Roman" panose="02020603050405020304" pitchFamily="18" charset="0"/>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lvl="1" algn="ctr"/>
            <a:r>
              <a:rPr lang="en-GB" sz="900" dirty="0">
                <a:latin typeface="+mn-lt"/>
              </a:rPr>
              <a:t>PIATA </a:t>
            </a:r>
            <a:r>
              <a:rPr lang="en-GB" sz="900" dirty="0" smtClean="0">
                <a:latin typeface="+mn-lt"/>
              </a:rPr>
              <a:t>Deputy Chief </a:t>
            </a:r>
            <a:r>
              <a:rPr lang="en-GB" sz="900" dirty="0">
                <a:latin typeface="+mn-lt"/>
              </a:rPr>
              <a:t>of </a:t>
            </a:r>
            <a:r>
              <a:rPr lang="en-GB" sz="900" dirty="0" smtClean="0">
                <a:latin typeface="+mn-lt"/>
              </a:rPr>
              <a:t>Party</a:t>
            </a:r>
            <a:endParaRPr lang="en-US" sz="900" b="1" dirty="0">
              <a:latin typeface="+mn-lt"/>
            </a:endParaRPr>
          </a:p>
        </p:txBody>
      </p:sp>
      <p:cxnSp>
        <p:nvCxnSpPr>
          <p:cNvPr id="72" name="Straight Connector 71"/>
          <p:cNvCxnSpPr/>
          <p:nvPr/>
        </p:nvCxnSpPr>
        <p:spPr>
          <a:xfrm>
            <a:off x="7633397" y="1955771"/>
            <a:ext cx="1371600" cy="365760"/>
          </a:xfrm>
          <a:prstGeom prst="line">
            <a:avLst/>
          </a:prstGeom>
          <a:ln>
            <a:noFill/>
          </a:ln>
        </p:spPr>
        <p:style>
          <a:lnRef idx="1">
            <a:schemeClr val="accent1"/>
          </a:lnRef>
          <a:fillRef idx="0">
            <a:schemeClr val="accent1"/>
          </a:fillRef>
          <a:effectRef idx="0">
            <a:schemeClr val="accent1"/>
          </a:effectRef>
          <a:fontRef idx="minor">
            <a:schemeClr val="tx1"/>
          </a:fontRef>
        </p:style>
      </p:cxnSp>
      <p:sp>
        <p:nvSpPr>
          <p:cNvPr id="73" name="Down Arrow Callout 72"/>
          <p:cNvSpPr/>
          <p:nvPr/>
        </p:nvSpPr>
        <p:spPr>
          <a:xfrm>
            <a:off x="6930102" y="996073"/>
            <a:ext cx="1371600" cy="860405"/>
          </a:xfrm>
          <a:prstGeom prst="downArrowCallou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solidFill>
                  <a:schemeClr val="tx1"/>
                </a:solidFill>
              </a:rPr>
              <a:t>HQ- based Technical Support</a:t>
            </a:r>
          </a:p>
        </p:txBody>
      </p:sp>
      <p:sp>
        <p:nvSpPr>
          <p:cNvPr id="74" name="Down Arrow Callout 73"/>
          <p:cNvSpPr/>
          <p:nvPr/>
        </p:nvSpPr>
        <p:spPr>
          <a:xfrm>
            <a:off x="8454041" y="996073"/>
            <a:ext cx="1371600" cy="838088"/>
          </a:xfrm>
          <a:prstGeom prst="downArrowCallou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tx1"/>
                </a:solidFill>
              </a:rPr>
              <a:t>HQ Administrative</a:t>
            </a:r>
          </a:p>
        </p:txBody>
      </p:sp>
      <p:sp>
        <p:nvSpPr>
          <p:cNvPr id="75" name="TextBox 74"/>
          <p:cNvSpPr txBox="1">
            <a:spLocks/>
          </p:cNvSpPr>
          <p:nvPr>
            <p:custDataLst>
              <p:tags r:id="rId21"/>
            </p:custDataLst>
          </p:nvPr>
        </p:nvSpPr>
        <p:spPr>
          <a:xfrm>
            <a:off x="8636041" y="5178829"/>
            <a:ext cx="1179576" cy="365760"/>
          </a:xfrm>
          <a:prstGeom prst="rect">
            <a:avLst/>
          </a:prstGeom>
          <a:solidFill>
            <a:schemeClr val="accent3">
              <a:lumMod val="60000"/>
              <a:lumOff val="40000"/>
            </a:schemeClr>
          </a:solidFill>
          <a:ln>
            <a:noFill/>
          </a:ln>
          <a:effectLst/>
          <a:ex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587" lvl="1" indent="0" algn="ctr">
              <a:buNone/>
            </a:pPr>
            <a:r>
              <a:rPr lang="en-US" sz="1000" b="1" dirty="0" smtClean="0">
                <a:cs typeface="Times New Roman" panose="02020603050405020304" pitchFamily="18" charset="0"/>
              </a:rPr>
              <a:t>Key</a:t>
            </a:r>
            <a:endParaRPr lang="en-US" sz="1000" b="1" dirty="0">
              <a:cs typeface="Times New Roman" panose="02020603050405020304" pitchFamily="18" charset="0"/>
            </a:endParaRPr>
          </a:p>
        </p:txBody>
      </p:sp>
      <p:sp>
        <p:nvSpPr>
          <p:cNvPr id="76" name="TextBox 75"/>
          <p:cNvSpPr txBox="1">
            <a:spLocks/>
          </p:cNvSpPr>
          <p:nvPr>
            <p:custDataLst>
              <p:tags r:id="rId22"/>
            </p:custDataLst>
          </p:nvPr>
        </p:nvSpPr>
        <p:spPr>
          <a:xfrm>
            <a:off x="8636042" y="5976815"/>
            <a:ext cx="1179576" cy="365760"/>
          </a:xfrm>
          <a:prstGeom prst="rect">
            <a:avLst/>
          </a:prstGeom>
          <a:solidFill>
            <a:srgbClr val="FFC000"/>
          </a:solidFill>
          <a:ln>
            <a:noFill/>
          </a:ln>
          <a:effectLst/>
          <a:ex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587" lvl="1" indent="0" algn="ctr">
              <a:buNone/>
            </a:pPr>
            <a:r>
              <a:rPr lang="en-US" sz="1000" dirty="0" smtClean="0">
                <a:cs typeface="Times New Roman" panose="02020603050405020304" pitchFamily="18" charset="0"/>
              </a:rPr>
              <a:t>Based in Nairobi</a:t>
            </a:r>
            <a:endParaRPr lang="en-US" sz="1000" b="1" dirty="0">
              <a:cs typeface="Times New Roman" panose="02020603050405020304" pitchFamily="18" charset="0"/>
            </a:endParaRPr>
          </a:p>
        </p:txBody>
      </p:sp>
      <p:sp>
        <p:nvSpPr>
          <p:cNvPr id="77" name="TextBox 76"/>
          <p:cNvSpPr txBox="1">
            <a:spLocks/>
          </p:cNvSpPr>
          <p:nvPr>
            <p:custDataLst>
              <p:tags r:id="rId23"/>
            </p:custDataLst>
          </p:nvPr>
        </p:nvSpPr>
        <p:spPr>
          <a:xfrm>
            <a:off x="8636042" y="5577822"/>
            <a:ext cx="1179576" cy="365760"/>
          </a:xfrm>
          <a:prstGeom prst="rect">
            <a:avLst/>
          </a:prstGeom>
          <a:solidFill>
            <a:schemeClr val="accent3">
              <a:lumMod val="50000"/>
            </a:schemeClr>
          </a:solidFill>
          <a:ln>
            <a:noFill/>
          </a:ln>
          <a:effectLst/>
          <a:ex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587" lvl="1" indent="0" algn="ctr">
              <a:buNone/>
            </a:pPr>
            <a:r>
              <a:rPr lang="en-US" sz="1000" dirty="0" smtClean="0">
                <a:solidFill>
                  <a:schemeClr val="bg1"/>
                </a:solidFill>
                <a:cs typeface="Times New Roman" panose="02020603050405020304" pitchFamily="18" charset="0"/>
              </a:rPr>
              <a:t>Based in country and Hired</a:t>
            </a:r>
            <a:endParaRPr lang="en-US" sz="1000" b="1" dirty="0">
              <a:solidFill>
                <a:schemeClr val="bg1"/>
              </a:solidFill>
              <a:cs typeface="Times New Roman" panose="02020603050405020304" pitchFamily="18" charset="0"/>
            </a:endParaRPr>
          </a:p>
        </p:txBody>
      </p:sp>
      <p:sp>
        <p:nvSpPr>
          <p:cNvPr id="78" name="TextBox 77"/>
          <p:cNvSpPr txBox="1">
            <a:spLocks/>
          </p:cNvSpPr>
          <p:nvPr>
            <p:custDataLst>
              <p:tags r:id="rId24"/>
            </p:custDataLst>
          </p:nvPr>
        </p:nvSpPr>
        <p:spPr>
          <a:xfrm>
            <a:off x="8636042" y="6375809"/>
            <a:ext cx="1179576" cy="365760"/>
          </a:xfrm>
          <a:prstGeom prst="rect">
            <a:avLst/>
          </a:prstGeom>
          <a:solidFill>
            <a:srgbClr val="00B0F0"/>
          </a:solidFill>
          <a:ln>
            <a:noFill/>
          </a:ln>
          <a:effectLst/>
          <a:ex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587" lvl="1" indent="0" algn="ctr">
              <a:buNone/>
            </a:pPr>
            <a:r>
              <a:rPr lang="en-US" sz="1000" dirty="0" smtClean="0">
                <a:solidFill>
                  <a:schemeClr val="bg1"/>
                </a:solidFill>
                <a:cs typeface="Times New Roman" panose="02020603050405020304" pitchFamily="18" charset="0"/>
              </a:rPr>
              <a:t>Based in country and Yet to be hired</a:t>
            </a:r>
            <a:endParaRPr lang="en-US" sz="1000" b="1" dirty="0">
              <a:solidFill>
                <a:schemeClr val="bg1"/>
              </a:solidFill>
              <a:cs typeface="Times New Roman" panose="02020603050405020304" pitchFamily="18" charset="0"/>
            </a:endParaRPr>
          </a:p>
        </p:txBody>
      </p:sp>
      <p:sp>
        <p:nvSpPr>
          <p:cNvPr id="79" name="TextBox 78"/>
          <p:cNvSpPr txBox="1">
            <a:spLocks/>
          </p:cNvSpPr>
          <p:nvPr>
            <p:custDataLst>
              <p:tags r:id="rId25"/>
            </p:custDataLst>
          </p:nvPr>
        </p:nvSpPr>
        <p:spPr>
          <a:xfrm>
            <a:off x="7019699" y="6019994"/>
            <a:ext cx="1371600" cy="320040"/>
          </a:xfrm>
          <a:prstGeom prst="rect">
            <a:avLst/>
          </a:prstGeom>
          <a:solidFill>
            <a:srgbClr val="FFC000"/>
          </a:solidFill>
          <a:ln>
            <a:noFill/>
          </a:ln>
          <a:effectLst/>
          <a:ex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587" lvl="1" indent="0" algn="ctr">
              <a:buNone/>
            </a:pPr>
            <a:r>
              <a:rPr lang="en-US" sz="900" dirty="0" smtClean="0">
                <a:cs typeface="Times New Roman" panose="02020603050405020304" pitchFamily="18" charset="0"/>
              </a:rPr>
              <a:t>Head of Strategy and Analytics</a:t>
            </a:r>
            <a:endParaRPr lang="en-US" sz="900" b="1" dirty="0" smtClean="0">
              <a:solidFill>
                <a:srgbClr val="FF0000"/>
              </a:solidFill>
              <a:cs typeface="Times New Roman" panose="02020603050405020304" pitchFamily="18" charset="0"/>
            </a:endParaRPr>
          </a:p>
        </p:txBody>
      </p:sp>
      <p:cxnSp>
        <p:nvCxnSpPr>
          <p:cNvPr id="82" name="Elbow Connector 81"/>
          <p:cNvCxnSpPr>
            <a:stCxn id="16" idx="0"/>
            <a:endCxn id="10" idx="2"/>
          </p:cNvCxnSpPr>
          <p:nvPr/>
        </p:nvCxnSpPr>
        <p:spPr>
          <a:xfrm flipV="1">
            <a:off x="2342987" y="2945626"/>
            <a:ext cx="0" cy="1548439"/>
          </a:xfrm>
          <a:prstGeom prst="straightConnector1">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a:stCxn id="16" idx="2"/>
            <a:endCxn id="15" idx="0"/>
          </p:cNvCxnSpPr>
          <p:nvPr/>
        </p:nvCxnSpPr>
        <p:spPr>
          <a:xfrm rot="5400000">
            <a:off x="1559296" y="4595696"/>
            <a:ext cx="428122" cy="1139260"/>
          </a:xfrm>
          <a:prstGeom prst="bentConnector3">
            <a:avLst>
              <a:gd name="adj1" fmla="val 50000"/>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a:stCxn id="16" idx="2"/>
            <a:endCxn id="21" idx="0"/>
          </p:cNvCxnSpPr>
          <p:nvPr/>
        </p:nvCxnSpPr>
        <p:spPr>
          <a:xfrm rot="16200000" flipH="1">
            <a:off x="2722857" y="4571395"/>
            <a:ext cx="428122" cy="1187862"/>
          </a:xfrm>
          <a:prstGeom prst="bentConnector3">
            <a:avLst>
              <a:gd name="adj1" fmla="val 50000"/>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5" name="Elbow Connector 104"/>
          <p:cNvCxnSpPr>
            <a:stCxn id="12" idx="0"/>
            <a:endCxn id="10" idx="3"/>
          </p:cNvCxnSpPr>
          <p:nvPr/>
        </p:nvCxnSpPr>
        <p:spPr>
          <a:xfrm rot="16200000" flipV="1">
            <a:off x="3506020" y="2468393"/>
            <a:ext cx="402016" cy="899282"/>
          </a:xfrm>
          <a:prstGeom prst="bentConnector2">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a:stCxn id="13" idx="0"/>
            <a:endCxn id="12" idx="2"/>
          </p:cNvCxnSpPr>
          <p:nvPr/>
        </p:nvCxnSpPr>
        <p:spPr>
          <a:xfrm flipH="1" flipV="1">
            <a:off x="4156669" y="3576242"/>
            <a:ext cx="2464" cy="2075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0" name="Elbow Connector 119"/>
          <p:cNvCxnSpPr>
            <a:stCxn id="71" idx="1"/>
            <a:endCxn id="57" idx="1"/>
          </p:cNvCxnSpPr>
          <p:nvPr/>
        </p:nvCxnSpPr>
        <p:spPr>
          <a:xfrm rot="10800000">
            <a:off x="7019700" y="2184606"/>
            <a:ext cx="183775" cy="363219"/>
          </a:xfrm>
          <a:prstGeom prst="bentConnector3">
            <a:avLst>
              <a:gd name="adj1" fmla="val 224391"/>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1" name="TextBox 120"/>
          <p:cNvSpPr txBox="1">
            <a:spLocks/>
          </p:cNvSpPr>
          <p:nvPr>
            <p:custDataLst>
              <p:tags r:id="rId26"/>
            </p:custDataLst>
          </p:nvPr>
        </p:nvSpPr>
        <p:spPr>
          <a:xfrm>
            <a:off x="7019699" y="5293556"/>
            <a:ext cx="1371600" cy="320040"/>
          </a:xfrm>
          <a:prstGeom prst="rect">
            <a:avLst/>
          </a:prstGeom>
          <a:solidFill>
            <a:srgbClr val="FFC000"/>
          </a:solidFill>
          <a:ln>
            <a:noFill/>
          </a:ln>
          <a:effectLst/>
          <a:ex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587" lvl="1" indent="0" algn="ctr">
              <a:buNone/>
            </a:pPr>
            <a:endParaRPr lang="en-US" sz="900" dirty="0" smtClean="0">
              <a:cs typeface="Times New Roman" panose="02020603050405020304" pitchFamily="18" charset="0"/>
            </a:endParaRPr>
          </a:p>
          <a:p>
            <a:pPr marL="1587" lvl="1" indent="0" algn="ctr">
              <a:buNone/>
            </a:pPr>
            <a:r>
              <a:rPr lang="en-US" sz="900" dirty="0" smtClean="0">
                <a:cs typeface="Times New Roman" panose="02020603050405020304" pitchFamily="18" charset="0"/>
              </a:rPr>
              <a:t>Head of Partnerships</a:t>
            </a:r>
          </a:p>
          <a:p>
            <a:pPr marL="1587" lvl="1" indent="0" algn="ctr">
              <a:buNone/>
            </a:pPr>
            <a:endParaRPr lang="en-US" sz="900" dirty="0">
              <a:cs typeface="Times New Roman" panose="02020603050405020304" pitchFamily="18" charset="0"/>
            </a:endParaRPr>
          </a:p>
        </p:txBody>
      </p:sp>
      <p:sp>
        <p:nvSpPr>
          <p:cNvPr id="122" name="TextBox 121"/>
          <p:cNvSpPr txBox="1">
            <a:spLocks/>
          </p:cNvSpPr>
          <p:nvPr>
            <p:custDataLst>
              <p:tags r:id="rId27"/>
            </p:custDataLst>
          </p:nvPr>
        </p:nvSpPr>
        <p:spPr>
          <a:xfrm>
            <a:off x="8454041" y="3624328"/>
            <a:ext cx="1371600" cy="372840"/>
          </a:xfrm>
          <a:prstGeom prst="rect">
            <a:avLst/>
          </a:prstGeom>
          <a:solidFill>
            <a:srgbClr val="FFC000"/>
          </a:solidFill>
          <a:ln>
            <a:noFill/>
          </a:ln>
          <a:effectLst/>
          <a:ex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587" lvl="1" indent="0" defTabSz="895350" eaLnBrk="1" hangingPunct="1">
              <a:lnSpc>
                <a:spcPct val="89000"/>
              </a:lnSpc>
              <a:buClr>
                <a:schemeClr val="tx2"/>
              </a:buClr>
              <a:buSzPct val="125000"/>
              <a:buFont typeface="Arial" charset="0"/>
              <a:buNone/>
              <a:defRPr sz="800">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lvl="1" algn="ctr">
              <a:lnSpc>
                <a:spcPct val="100000"/>
              </a:lnSpc>
            </a:pPr>
            <a:r>
              <a:rPr lang="en-US" sz="1000" dirty="0" smtClean="0">
                <a:cs typeface="Times New Roman" panose="02020603050405020304" pitchFamily="18" charset="0"/>
              </a:rPr>
              <a:t>Human Resources Director</a:t>
            </a:r>
          </a:p>
        </p:txBody>
      </p:sp>
      <p:sp>
        <p:nvSpPr>
          <p:cNvPr id="123" name="TextBox 122"/>
          <p:cNvSpPr txBox="1">
            <a:spLocks/>
          </p:cNvSpPr>
          <p:nvPr>
            <p:custDataLst>
              <p:tags r:id="rId28"/>
            </p:custDataLst>
          </p:nvPr>
        </p:nvSpPr>
        <p:spPr>
          <a:xfrm>
            <a:off x="8454041" y="4022782"/>
            <a:ext cx="1371600" cy="372840"/>
          </a:xfrm>
          <a:prstGeom prst="rect">
            <a:avLst/>
          </a:prstGeom>
          <a:solidFill>
            <a:srgbClr val="FFC000"/>
          </a:solidFill>
          <a:ln>
            <a:noFill/>
          </a:ln>
          <a:effectLst/>
          <a:ex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587" lvl="1" indent="0" defTabSz="895350" eaLnBrk="1" hangingPunct="1">
              <a:lnSpc>
                <a:spcPct val="89000"/>
              </a:lnSpc>
              <a:buClr>
                <a:schemeClr val="tx2"/>
              </a:buClr>
              <a:buSzPct val="125000"/>
              <a:buFont typeface="Arial" charset="0"/>
              <a:buNone/>
              <a:defRPr sz="800">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lvl="1" algn="ctr">
              <a:lnSpc>
                <a:spcPct val="100000"/>
              </a:lnSpc>
            </a:pPr>
            <a:r>
              <a:rPr lang="en-US" sz="1000" dirty="0" smtClean="0">
                <a:cs typeface="Times New Roman" panose="02020603050405020304" pitchFamily="18" charset="0"/>
              </a:rPr>
              <a:t>Head of Development Cooperation</a:t>
            </a:r>
          </a:p>
        </p:txBody>
      </p:sp>
      <p:sp>
        <p:nvSpPr>
          <p:cNvPr id="124" name="TextBox 123"/>
          <p:cNvSpPr txBox="1">
            <a:spLocks/>
          </p:cNvSpPr>
          <p:nvPr>
            <p:custDataLst>
              <p:tags r:id="rId29"/>
            </p:custDataLst>
          </p:nvPr>
        </p:nvSpPr>
        <p:spPr>
          <a:xfrm>
            <a:off x="8454041" y="4421235"/>
            <a:ext cx="1371600" cy="372840"/>
          </a:xfrm>
          <a:prstGeom prst="rect">
            <a:avLst/>
          </a:prstGeom>
          <a:solidFill>
            <a:srgbClr val="FFC000"/>
          </a:solidFill>
          <a:ln>
            <a:noFill/>
          </a:ln>
          <a:effectLst/>
          <a:ex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587" lvl="1" indent="0" defTabSz="895350" eaLnBrk="1" hangingPunct="1">
              <a:lnSpc>
                <a:spcPct val="89000"/>
              </a:lnSpc>
              <a:buClr>
                <a:schemeClr val="tx2"/>
              </a:buClr>
              <a:buSzPct val="125000"/>
              <a:buFont typeface="Arial" charset="0"/>
              <a:buNone/>
              <a:defRPr sz="800">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lvl="1" algn="ctr">
              <a:lnSpc>
                <a:spcPct val="100000"/>
              </a:lnSpc>
            </a:pPr>
            <a:r>
              <a:rPr lang="en-US" sz="1000" dirty="0" smtClean="0">
                <a:cs typeface="Times New Roman" panose="02020603050405020304" pitchFamily="18" charset="0"/>
              </a:rPr>
              <a:t>General Counsel</a:t>
            </a:r>
          </a:p>
        </p:txBody>
      </p:sp>
      <p:cxnSp>
        <p:nvCxnSpPr>
          <p:cNvPr id="126" name="Elbow Connector 125"/>
          <p:cNvCxnSpPr>
            <a:stCxn id="10" idx="0"/>
            <a:endCxn id="7" idx="2"/>
          </p:cNvCxnSpPr>
          <p:nvPr/>
        </p:nvCxnSpPr>
        <p:spPr>
          <a:xfrm flipH="1" flipV="1">
            <a:off x="2335428" y="1957974"/>
            <a:ext cx="7559" cy="530452"/>
          </a:xfrm>
          <a:prstGeom prst="straightConnector1">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1428587" y="1500774"/>
            <a:ext cx="1813682" cy="457200"/>
          </a:xfrm>
          <a:prstGeom prst="rect">
            <a:avLst/>
          </a:prstGeom>
          <a:solidFill>
            <a:schemeClr val="accent3">
              <a:lumMod val="50000"/>
            </a:schemeClr>
          </a:solidFill>
          <a:ln>
            <a:noFill/>
          </a:ln>
          <a:effectLst/>
        </p:spPr>
        <p:txBody>
          <a:bodyPr vert="horz" wrap="square" lIns="45720" tIns="45720" rIns="45720" bIns="45720" numCol="1" anchor="ctr" anchorCtr="0" compatLnSpc="1">
            <a:prstTxWarp prst="textNoShape">
              <a:avLst/>
            </a:prstTxWarp>
            <a:noAutofit/>
          </a:bodyPr>
          <a:lstStyle/>
          <a:p>
            <a:pPr algn="ctr" defTabSz="895350">
              <a:buClr>
                <a:schemeClr val="tx2"/>
              </a:buClr>
            </a:pPr>
            <a:r>
              <a:rPr lang="en-US" sz="1000" dirty="0" smtClean="0">
                <a:solidFill>
                  <a:schemeClr val="bg1"/>
                </a:solidFill>
                <a:latin typeface="+mn-lt"/>
                <a:ea typeface="Arial"/>
                <a:cs typeface="Arial"/>
              </a:rPr>
              <a:t>VP Country Support</a:t>
            </a:r>
            <a:endParaRPr lang="en-US" sz="1000" dirty="0">
              <a:solidFill>
                <a:schemeClr val="bg1"/>
              </a:solidFill>
              <a:latin typeface="+mn-lt"/>
              <a:ea typeface="Arial"/>
              <a:cs typeface="Arial"/>
            </a:endParaRPr>
          </a:p>
        </p:txBody>
      </p:sp>
    </p:spTree>
    <p:extLst>
      <p:ext uri="{BB962C8B-B14F-4D97-AF65-F5344CB8AC3E}">
        <p14:creationId xmlns:p14="http://schemas.microsoft.com/office/powerpoint/2010/main" val="1963136739"/>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541"/>
        <p:cNvGrpSpPr/>
        <p:nvPr/>
      </p:nvGrpSpPr>
      <p:grpSpPr>
        <a:xfrm>
          <a:off x="0" y="0"/>
          <a:ext cx="0" cy="0"/>
          <a:chOff x="0" y="0"/>
          <a:chExt cx="0" cy="0"/>
        </a:xfrm>
      </p:grpSpPr>
      <p:pic>
        <p:nvPicPr>
          <p:cNvPr id="542" name="Google Shape;542;p62"/>
          <p:cNvPicPr preferRelativeResize="0"/>
          <p:nvPr/>
        </p:nvPicPr>
        <p:blipFill rotWithShape="1">
          <a:blip r:embed="rId3">
            <a:alphaModFix/>
          </a:blip>
          <a:srcRect/>
          <a:stretch/>
        </p:blipFill>
        <p:spPr>
          <a:xfrm>
            <a:off x="1588" y="1588"/>
            <a:ext cx="1588" cy="1588"/>
          </a:xfrm>
          <a:prstGeom prst="rect">
            <a:avLst/>
          </a:prstGeom>
          <a:noFill/>
          <a:ln>
            <a:noFill/>
          </a:ln>
        </p:spPr>
      </p:pic>
      <p:sp>
        <p:nvSpPr>
          <p:cNvPr id="543" name="Google Shape;543;p62"/>
          <p:cNvSpPr txBox="1">
            <a:spLocks noGrp="1"/>
          </p:cNvSpPr>
          <p:nvPr>
            <p:ph type="title"/>
          </p:nvPr>
        </p:nvSpPr>
        <p:spPr>
          <a:xfrm>
            <a:off x="577850" y="2514600"/>
            <a:ext cx="8915400" cy="1143000"/>
          </a:xfrm>
          <a:prstGeom prst="rect">
            <a:avLst/>
          </a:prstGeom>
          <a:noFill/>
          <a:ln>
            <a:noFill/>
          </a:ln>
        </p:spPr>
        <p:txBody>
          <a:bodyPr spcFirstLastPara="1" wrap="square" lIns="91425" tIns="45700" rIns="91425" bIns="45700" anchor="t" anchorCtr="0">
            <a:noAutofit/>
          </a:bodyPr>
          <a:lstStyle/>
          <a:p>
            <a:pPr marL="0" marR="0" lvl="0" indent="0" algn="ctr" rtl="0">
              <a:lnSpc>
                <a:spcPct val="90000"/>
              </a:lnSpc>
              <a:spcBef>
                <a:spcPts val="0"/>
              </a:spcBef>
              <a:spcAft>
                <a:spcPts val="0"/>
              </a:spcAft>
              <a:buClr>
                <a:srgbClr val="385623"/>
              </a:buClr>
              <a:buSzPts val="4400"/>
              <a:buFont typeface="Arial"/>
              <a:buNone/>
            </a:pPr>
            <a:r>
              <a:rPr lang="en-US" dirty="0" smtClean="0"/>
              <a:t>Annexes</a:t>
            </a:r>
            <a:endParaRPr dirty="0"/>
          </a:p>
        </p:txBody>
      </p: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lIns="0" tIns="0" rIns="0" bIns="0" anchor="b"/>
          <a:lstStyle/>
          <a:p>
            <a:pPr defTabSz="914395">
              <a:spcBef>
                <a:spcPct val="0"/>
              </a:spcBef>
              <a:buClrTx/>
              <a:buSzTx/>
              <a:buFontTx/>
            </a:pPr>
            <a:r>
              <a:rPr lang="en-US" dirty="0">
                <a:solidFill>
                  <a:schemeClr val="tx1"/>
                </a:solidFill>
                <a:latin typeface="Arial" panose="020B0604020202020204" pitchFamily="34" charset="0"/>
                <a:cs typeface="Arial" panose="020B0604020202020204" pitchFamily="34" charset="0"/>
              </a:rPr>
              <a:t>List of AGRA Implementing Partners</a:t>
            </a:r>
          </a:p>
        </p:txBody>
      </p:sp>
      <p:graphicFrame>
        <p:nvGraphicFramePr>
          <p:cNvPr id="4" name="Table 3"/>
          <p:cNvGraphicFramePr>
            <a:graphicFrameLocks noGrp="1"/>
          </p:cNvGraphicFramePr>
          <p:nvPr>
            <p:extLst>
              <p:ext uri="{D42A27DB-BD31-4B8C-83A1-F6EECF244321}">
                <p14:modId xmlns:p14="http://schemas.microsoft.com/office/powerpoint/2010/main" val="559039770"/>
              </p:ext>
            </p:extLst>
          </p:nvPr>
        </p:nvGraphicFramePr>
        <p:xfrm>
          <a:off x="301336" y="965680"/>
          <a:ext cx="9362209" cy="5242531"/>
        </p:xfrm>
        <a:graphic>
          <a:graphicData uri="http://schemas.openxmlformats.org/drawingml/2006/table">
            <a:tbl>
              <a:tblPr firstRow="1" bandRow="1">
                <a:tableStyleId>{41E0FAD3-7C2D-4B5A-B7BA-DEB1A53D0DEB}</a:tableStyleId>
              </a:tblPr>
              <a:tblGrid>
                <a:gridCol w="2770982">
                  <a:extLst>
                    <a:ext uri="{9D8B030D-6E8A-4147-A177-3AD203B41FA5}">
                      <a16:colId xmlns:a16="http://schemas.microsoft.com/office/drawing/2014/main" val="20000"/>
                    </a:ext>
                  </a:extLst>
                </a:gridCol>
                <a:gridCol w="2197159">
                  <a:extLst>
                    <a:ext uri="{9D8B030D-6E8A-4147-A177-3AD203B41FA5}">
                      <a16:colId xmlns:a16="http://schemas.microsoft.com/office/drawing/2014/main" val="20001"/>
                    </a:ext>
                  </a:extLst>
                </a:gridCol>
                <a:gridCol w="4394068">
                  <a:extLst>
                    <a:ext uri="{9D8B030D-6E8A-4147-A177-3AD203B41FA5}">
                      <a16:colId xmlns:a16="http://schemas.microsoft.com/office/drawing/2014/main" val="20002"/>
                    </a:ext>
                  </a:extLst>
                </a:gridCol>
              </a:tblGrid>
              <a:tr h="363009">
                <a:tc>
                  <a:txBody>
                    <a:bodyPr/>
                    <a:lstStyle/>
                    <a:p>
                      <a:r>
                        <a:rPr lang="en-US" sz="1000" dirty="0" smtClean="0">
                          <a:latin typeface="Arial" panose="020B0604020202020204" pitchFamily="34" charset="0"/>
                          <a:cs typeface="Arial" panose="020B0604020202020204" pitchFamily="34" charset="0"/>
                        </a:rPr>
                        <a:t>Grantee</a:t>
                      </a:r>
                      <a:endParaRPr lang="en-US" sz="1000" dirty="0">
                        <a:latin typeface="Arial" panose="020B0604020202020204" pitchFamily="34" charset="0"/>
                        <a:cs typeface="Arial" panose="020B0604020202020204" pitchFamily="34" charset="0"/>
                      </a:endParaRPr>
                    </a:p>
                  </a:txBody>
                  <a:tcPr/>
                </a:tc>
                <a:tc>
                  <a:txBody>
                    <a:bodyPr/>
                    <a:lstStyle/>
                    <a:p>
                      <a:r>
                        <a:rPr lang="en-US" sz="1000" dirty="0" smtClean="0">
                          <a:latin typeface="Arial" panose="020B0604020202020204" pitchFamily="34" charset="0"/>
                          <a:cs typeface="Arial" panose="020B0604020202020204" pitchFamily="34" charset="0"/>
                        </a:rPr>
                        <a:t>Region</a:t>
                      </a:r>
                      <a:r>
                        <a:rPr lang="en-US" sz="1000" baseline="0" dirty="0" smtClean="0">
                          <a:latin typeface="Arial" panose="020B0604020202020204" pitchFamily="34" charset="0"/>
                          <a:cs typeface="Arial" panose="020B0604020202020204" pitchFamily="34" charset="0"/>
                        </a:rPr>
                        <a:t> covered</a:t>
                      </a:r>
                      <a:endParaRPr lang="en-US" sz="1000" dirty="0">
                        <a:latin typeface="Arial" panose="020B0604020202020204" pitchFamily="34" charset="0"/>
                        <a:cs typeface="Arial" panose="020B0604020202020204" pitchFamily="34" charset="0"/>
                      </a:endParaRPr>
                    </a:p>
                  </a:txBody>
                  <a:tcPr/>
                </a:tc>
                <a:tc>
                  <a:txBody>
                    <a:bodyPr/>
                    <a:lstStyle/>
                    <a:p>
                      <a:r>
                        <a:rPr lang="en-US" sz="1000" dirty="0" smtClean="0">
                          <a:latin typeface="Arial" panose="020B0604020202020204" pitchFamily="34" charset="0"/>
                          <a:cs typeface="Arial" panose="020B0604020202020204" pitchFamily="34" charset="0"/>
                        </a:rPr>
                        <a:t>Area</a:t>
                      </a:r>
                      <a:r>
                        <a:rPr lang="en-US" sz="1000" baseline="0" dirty="0" smtClean="0">
                          <a:latin typeface="Arial" panose="020B0604020202020204" pitchFamily="34" charset="0"/>
                          <a:cs typeface="Arial" panose="020B0604020202020204" pitchFamily="34" charset="0"/>
                        </a:rPr>
                        <a:t> of work</a:t>
                      </a:r>
                      <a:endParaRPr lang="en-US" sz="10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0"/>
                  </a:ext>
                </a:extLst>
              </a:tr>
              <a:tr h="416984">
                <a:tc>
                  <a:txBody>
                    <a:bodyPr/>
                    <a:lstStyle/>
                    <a:p>
                      <a:pPr marR="0" algn="l" rtl="0" fontAlgn="b">
                        <a:lnSpc>
                          <a:spcPct val="100000"/>
                        </a:lnSpc>
                        <a:spcBef>
                          <a:spcPts val="0"/>
                        </a:spcBef>
                        <a:spcAft>
                          <a:spcPts val="0"/>
                        </a:spcAft>
                        <a:buClr>
                          <a:srgbClr val="000000"/>
                        </a:buClr>
                        <a:buFont typeface="Arial"/>
                      </a:pPr>
                      <a:r>
                        <a:rPr lang="en-US" sz="1000" b="0" i="0" u="none" strike="noStrike" cap="none" dirty="0" err="1">
                          <a:solidFill>
                            <a:schemeClr val="dk1"/>
                          </a:solidFill>
                          <a:latin typeface="Arial" panose="020B0604020202020204" pitchFamily="34" charset="0"/>
                          <a:ea typeface="Calibri"/>
                          <a:cs typeface="Arial" panose="020B0604020202020204" pitchFamily="34" charset="0"/>
                          <a:sym typeface="Arial"/>
                        </a:rPr>
                        <a:t>Sasakawa</a:t>
                      </a:r>
                      <a:r>
                        <a:rPr lang="en-US" sz="1000" b="0" i="0" u="none" strike="noStrike" cap="none" dirty="0">
                          <a:solidFill>
                            <a:schemeClr val="dk1"/>
                          </a:solidFill>
                          <a:latin typeface="Arial" panose="020B0604020202020204" pitchFamily="34" charset="0"/>
                          <a:ea typeface="Calibri"/>
                          <a:cs typeface="Arial" panose="020B0604020202020204" pitchFamily="34" charset="0"/>
                          <a:sym typeface="Arial"/>
                        </a:rPr>
                        <a:t> Global 2000</a:t>
                      </a:r>
                    </a:p>
                  </a:txBody>
                  <a:tcPr marL="9525" marR="9525" marT="9525" marB="0"/>
                </a:tc>
                <a:tc>
                  <a:txBody>
                    <a:bodyPr/>
                    <a:lstStyle/>
                    <a:p>
                      <a:r>
                        <a:rPr lang="en-US" sz="1000" dirty="0" smtClean="0">
                          <a:latin typeface="Arial" panose="020B0604020202020204" pitchFamily="34" charset="0"/>
                          <a:cs typeface="Arial" panose="020B0604020202020204" pitchFamily="34" charset="0"/>
                        </a:rPr>
                        <a:t>Amhara and Tigray Regions</a:t>
                      </a:r>
                      <a:endParaRPr lang="en-US" sz="1000" dirty="0">
                        <a:latin typeface="Arial" panose="020B0604020202020204" pitchFamily="34" charset="0"/>
                        <a:cs typeface="Arial" panose="020B0604020202020204" pitchFamily="34" charset="0"/>
                      </a:endParaRPr>
                    </a:p>
                  </a:txBody>
                  <a:tcPr/>
                </a:tc>
                <a:tc>
                  <a:txBody>
                    <a:bodyPr/>
                    <a:lstStyle/>
                    <a:p>
                      <a:r>
                        <a:rPr lang="en-US" sz="1000" dirty="0" smtClean="0">
                          <a:latin typeface="Arial" panose="020B0604020202020204" pitchFamily="34" charset="0"/>
                          <a:cs typeface="Arial" panose="020B0604020202020204" pitchFamily="34" charset="0"/>
                        </a:rPr>
                        <a:t>Farmer and systems development (</a:t>
                      </a:r>
                      <a:r>
                        <a:rPr lang="en-US" sz="1000" dirty="0" err="1" smtClean="0">
                          <a:latin typeface="Arial" panose="020B0604020202020204" pitchFamily="34" charset="0"/>
                          <a:cs typeface="Arial" panose="020B0604020202020204" pitchFamily="34" charset="0"/>
                        </a:rPr>
                        <a:t>Teff</a:t>
                      </a:r>
                      <a:r>
                        <a:rPr lang="en-US" sz="1000" dirty="0" smtClean="0">
                          <a:latin typeface="Arial" panose="020B0604020202020204" pitchFamily="34" charset="0"/>
                          <a:cs typeface="Arial" panose="020B0604020202020204" pitchFamily="34" charset="0"/>
                        </a:rPr>
                        <a:t>, Maize, Wheat);demonstration</a:t>
                      </a:r>
                      <a:r>
                        <a:rPr lang="en-US" sz="1000" baseline="0" dirty="0" smtClean="0">
                          <a:latin typeface="Arial" panose="020B0604020202020204" pitchFamily="34" charset="0"/>
                          <a:cs typeface="Arial" panose="020B0604020202020204" pitchFamily="34" charset="0"/>
                        </a:rPr>
                        <a:t> of production and post harvest technologies</a:t>
                      </a:r>
                      <a:endParaRPr lang="en-US" sz="10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1"/>
                  </a:ext>
                </a:extLst>
              </a:tr>
              <a:tr h="417709">
                <a:tc>
                  <a:txBody>
                    <a:bodyPr/>
                    <a:lstStyle/>
                    <a:p>
                      <a:pPr marR="0" algn="l" rtl="0" fontAlgn="b">
                        <a:lnSpc>
                          <a:spcPct val="100000"/>
                        </a:lnSpc>
                        <a:spcBef>
                          <a:spcPts val="0"/>
                        </a:spcBef>
                        <a:spcAft>
                          <a:spcPts val="0"/>
                        </a:spcAft>
                        <a:buClr>
                          <a:srgbClr val="000000"/>
                        </a:buClr>
                        <a:buFont typeface="Arial"/>
                      </a:pPr>
                      <a:r>
                        <a:rPr lang="en-US" sz="1000" b="0" i="0" u="none" strike="noStrike" cap="none" dirty="0" err="1" smtClean="0">
                          <a:solidFill>
                            <a:schemeClr val="dk1"/>
                          </a:solidFill>
                          <a:latin typeface="Arial" panose="020B0604020202020204" pitchFamily="34" charset="0"/>
                          <a:ea typeface="Calibri"/>
                          <a:cs typeface="Arial" panose="020B0604020202020204" pitchFamily="34" charset="0"/>
                          <a:sym typeface="Arial"/>
                        </a:rPr>
                        <a:t>TechnoServe</a:t>
                      </a:r>
                      <a:endParaRPr lang="en-US" sz="1000" b="0" i="0" u="none" strike="noStrike" cap="none" dirty="0">
                        <a:solidFill>
                          <a:schemeClr val="dk1"/>
                        </a:solidFill>
                        <a:latin typeface="Arial" panose="020B0604020202020204" pitchFamily="34" charset="0"/>
                        <a:ea typeface="Calibri"/>
                        <a:cs typeface="Arial" panose="020B0604020202020204" pitchFamily="34" charset="0"/>
                        <a:sym typeface="Arial"/>
                      </a:endParaRPr>
                    </a:p>
                  </a:txBody>
                  <a:tcPr marL="9525" marR="9525" marT="9525" marB="0"/>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000" dirty="0" smtClean="0">
                          <a:latin typeface="Arial" panose="020B0604020202020204" pitchFamily="34" charset="0"/>
                          <a:cs typeface="Arial" panose="020B0604020202020204" pitchFamily="34" charset="0"/>
                        </a:rPr>
                        <a:t>Amhara and Tigray Regions</a:t>
                      </a:r>
                    </a:p>
                    <a:p>
                      <a:endParaRPr lang="en-US" sz="1000" dirty="0">
                        <a:latin typeface="Arial" panose="020B0604020202020204" pitchFamily="34" charset="0"/>
                        <a:cs typeface="Arial" panose="020B0604020202020204" pitchFamily="34" charset="0"/>
                      </a:endParaRPr>
                    </a:p>
                  </a:txBody>
                  <a:tcPr/>
                </a:tc>
                <a:tc>
                  <a:txBody>
                    <a:bodyPr/>
                    <a:lstStyle/>
                    <a:p>
                      <a:r>
                        <a:rPr lang="en-US" sz="1000" dirty="0" smtClean="0">
                          <a:latin typeface="Arial" panose="020B0604020202020204" pitchFamily="34" charset="0"/>
                          <a:cs typeface="Arial" panose="020B0604020202020204" pitchFamily="34" charset="0"/>
                        </a:rPr>
                        <a:t>Farmer and systems development (</a:t>
                      </a:r>
                      <a:r>
                        <a:rPr lang="en-US" sz="1000" dirty="0" err="1" smtClean="0">
                          <a:latin typeface="Arial" panose="020B0604020202020204" pitchFamily="34" charset="0"/>
                          <a:cs typeface="Arial" panose="020B0604020202020204" pitchFamily="34" charset="0"/>
                        </a:rPr>
                        <a:t>Teff</a:t>
                      </a:r>
                      <a:r>
                        <a:rPr lang="en-US" sz="1000" dirty="0" smtClean="0">
                          <a:latin typeface="Arial" panose="020B0604020202020204" pitchFamily="34" charset="0"/>
                          <a:cs typeface="Arial" panose="020B0604020202020204" pitchFamily="34" charset="0"/>
                        </a:rPr>
                        <a:t>, Maize, Wheat); training of farmers, farmers cooperatives, linking to output markets</a:t>
                      </a:r>
                      <a:endParaRPr lang="en-US" sz="10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2"/>
                  </a:ext>
                </a:extLst>
              </a:tr>
              <a:tr h="417709">
                <a:tc>
                  <a:txBody>
                    <a:bodyPr/>
                    <a:lstStyle/>
                    <a:p>
                      <a:pPr marR="0" algn="l" rtl="0" fontAlgn="b">
                        <a:lnSpc>
                          <a:spcPct val="100000"/>
                        </a:lnSpc>
                        <a:spcBef>
                          <a:spcPts val="0"/>
                        </a:spcBef>
                        <a:spcAft>
                          <a:spcPts val="0"/>
                        </a:spcAft>
                        <a:buClr>
                          <a:srgbClr val="000000"/>
                        </a:buClr>
                        <a:buFont typeface="Arial"/>
                      </a:pPr>
                      <a:r>
                        <a:rPr lang="en-US" sz="1000" b="0" i="0" u="none" strike="noStrike" cap="none" dirty="0">
                          <a:solidFill>
                            <a:schemeClr val="dk1"/>
                          </a:solidFill>
                          <a:latin typeface="Arial" panose="020B0604020202020204" pitchFamily="34" charset="0"/>
                          <a:ea typeface="Calibri"/>
                          <a:cs typeface="Arial" panose="020B0604020202020204" pitchFamily="34" charset="0"/>
                          <a:sym typeface="Arial"/>
                        </a:rPr>
                        <a:t>Farm Radio International</a:t>
                      </a:r>
                    </a:p>
                  </a:txBody>
                  <a:tcPr marL="9525" marR="9525" marT="9525" marB="0"/>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000" dirty="0" smtClean="0">
                          <a:latin typeface="Arial" panose="020B0604020202020204" pitchFamily="34" charset="0"/>
                          <a:cs typeface="Arial" panose="020B0604020202020204" pitchFamily="34" charset="0"/>
                        </a:rPr>
                        <a:t>Amhara and Tigray Regions</a:t>
                      </a:r>
                    </a:p>
                    <a:p>
                      <a:endParaRPr lang="en-US" sz="1000" dirty="0">
                        <a:latin typeface="Arial" panose="020B0604020202020204" pitchFamily="34" charset="0"/>
                        <a:cs typeface="Arial" panose="020B0604020202020204" pitchFamily="34" charset="0"/>
                      </a:endParaRPr>
                    </a:p>
                  </a:txBody>
                  <a:tcPr/>
                </a:tc>
                <a:tc>
                  <a:txBody>
                    <a:bodyPr/>
                    <a:lstStyle/>
                    <a:p>
                      <a:r>
                        <a:rPr lang="en-US" sz="1000" dirty="0" smtClean="0">
                          <a:latin typeface="Arial" panose="020B0604020202020204" pitchFamily="34" charset="0"/>
                          <a:cs typeface="Arial" panose="020B0604020202020204" pitchFamily="34" charset="0"/>
                        </a:rPr>
                        <a:t>Farmer and systems development (</a:t>
                      </a:r>
                      <a:r>
                        <a:rPr lang="en-US" sz="1000" dirty="0" err="1" smtClean="0">
                          <a:latin typeface="Arial" panose="020B0604020202020204" pitchFamily="34" charset="0"/>
                          <a:cs typeface="Arial" panose="020B0604020202020204" pitchFamily="34" charset="0"/>
                        </a:rPr>
                        <a:t>Teff</a:t>
                      </a:r>
                      <a:r>
                        <a:rPr lang="en-US" sz="1000" dirty="0" smtClean="0">
                          <a:latin typeface="Arial" panose="020B0604020202020204" pitchFamily="34" charset="0"/>
                          <a:cs typeface="Arial" panose="020B0604020202020204" pitchFamily="34" charset="0"/>
                        </a:rPr>
                        <a:t>, Maize, Wheat); awareness creation through radio programs</a:t>
                      </a:r>
                      <a:endParaRPr lang="en-US" sz="10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3"/>
                  </a:ext>
                </a:extLst>
              </a:tr>
              <a:tr h="363009">
                <a:tc>
                  <a:txBody>
                    <a:bodyPr/>
                    <a:lstStyle/>
                    <a:p>
                      <a:pPr marR="0" algn="l" rtl="0" fontAlgn="b">
                        <a:lnSpc>
                          <a:spcPct val="100000"/>
                        </a:lnSpc>
                        <a:spcBef>
                          <a:spcPts val="0"/>
                        </a:spcBef>
                        <a:spcAft>
                          <a:spcPts val="0"/>
                        </a:spcAft>
                        <a:buClr>
                          <a:srgbClr val="000000"/>
                        </a:buClr>
                        <a:buFont typeface="Arial"/>
                      </a:pPr>
                      <a:r>
                        <a:rPr lang="en-US" sz="1000" b="0" i="0" u="none" strike="noStrike" cap="none" dirty="0">
                          <a:solidFill>
                            <a:schemeClr val="dk1"/>
                          </a:solidFill>
                          <a:latin typeface="Arial" panose="020B0604020202020204" pitchFamily="34" charset="0"/>
                          <a:ea typeface="Calibri"/>
                          <a:cs typeface="Arial" panose="020B0604020202020204" pitchFamily="34" charset="0"/>
                          <a:sym typeface="Arial"/>
                        </a:rPr>
                        <a:t>Oxfam </a:t>
                      </a:r>
                    </a:p>
                  </a:txBody>
                  <a:tcPr marL="9525" marR="9525" marT="9525" marB="0"/>
                </a:tc>
                <a:tc>
                  <a:txBody>
                    <a:bodyPr/>
                    <a:lstStyle/>
                    <a:p>
                      <a:r>
                        <a:rPr lang="en-US" sz="1000" dirty="0" smtClean="0">
                          <a:latin typeface="Arial" panose="020B0604020202020204" pitchFamily="34" charset="0"/>
                          <a:cs typeface="Arial" panose="020B0604020202020204" pitchFamily="34" charset="0"/>
                        </a:rPr>
                        <a:t>SNNP</a:t>
                      </a:r>
                      <a:r>
                        <a:rPr lang="en-US" sz="1000" baseline="0" dirty="0" smtClean="0">
                          <a:latin typeface="Arial" panose="020B0604020202020204" pitchFamily="34" charset="0"/>
                          <a:cs typeface="Arial" panose="020B0604020202020204" pitchFamily="34" charset="0"/>
                        </a:rPr>
                        <a:t> Region </a:t>
                      </a:r>
                      <a:endParaRPr lang="en-US" sz="1000" dirty="0">
                        <a:latin typeface="Arial" panose="020B0604020202020204" pitchFamily="34" charset="0"/>
                        <a:cs typeface="Arial" panose="020B0604020202020204" pitchFamily="34" charset="0"/>
                      </a:endParaRPr>
                    </a:p>
                  </a:txBody>
                  <a:tcPr/>
                </a:tc>
                <a:tc>
                  <a:txBody>
                    <a:bodyPr/>
                    <a:lstStyle/>
                    <a:p>
                      <a:r>
                        <a:rPr lang="en-US" sz="1000" dirty="0" smtClean="0">
                          <a:latin typeface="Arial" panose="020B0604020202020204" pitchFamily="34" charset="0"/>
                          <a:cs typeface="Arial" panose="020B0604020202020204" pitchFamily="34" charset="0"/>
                        </a:rPr>
                        <a:t>Farmer and systems development (Maize, Wheat; Haricot Beans); Coordination of the SNNPR Consortia</a:t>
                      </a:r>
                      <a:endParaRPr lang="en-US" sz="10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4"/>
                  </a:ext>
                </a:extLst>
              </a:tr>
              <a:tr h="363009">
                <a:tc>
                  <a:txBody>
                    <a:bodyPr/>
                    <a:lstStyle/>
                    <a:p>
                      <a:pPr marR="0" algn="l" rtl="0" fontAlgn="b">
                        <a:lnSpc>
                          <a:spcPct val="100000"/>
                        </a:lnSpc>
                        <a:spcBef>
                          <a:spcPts val="0"/>
                        </a:spcBef>
                        <a:spcAft>
                          <a:spcPts val="0"/>
                        </a:spcAft>
                        <a:buClr>
                          <a:srgbClr val="000000"/>
                        </a:buClr>
                        <a:buFont typeface="Arial"/>
                      </a:pPr>
                      <a:r>
                        <a:rPr lang="en-US" sz="1000" b="0" i="0" u="none" strike="noStrike" cap="none" dirty="0" smtClean="0">
                          <a:solidFill>
                            <a:schemeClr val="dk1"/>
                          </a:solidFill>
                          <a:latin typeface="Arial" panose="020B0604020202020204" pitchFamily="34" charset="0"/>
                          <a:ea typeface="Calibri"/>
                          <a:cs typeface="Arial" panose="020B0604020202020204" pitchFamily="34" charset="0"/>
                          <a:sym typeface="Arial"/>
                        </a:rPr>
                        <a:t>SEPDA</a:t>
                      </a:r>
                      <a:endParaRPr lang="en-US" sz="1000" b="0" i="0" u="none" strike="noStrike" cap="none" dirty="0">
                        <a:solidFill>
                          <a:schemeClr val="dk1"/>
                        </a:solidFill>
                        <a:latin typeface="Arial" panose="020B0604020202020204" pitchFamily="34" charset="0"/>
                        <a:ea typeface="Calibri"/>
                        <a:cs typeface="Arial" panose="020B0604020202020204" pitchFamily="34" charset="0"/>
                        <a:sym typeface="Arial"/>
                      </a:endParaRPr>
                    </a:p>
                  </a:txBody>
                  <a:tcPr marL="9525" marR="9525" marT="9525" marB="0"/>
                </a:tc>
                <a:tc>
                  <a:txBody>
                    <a:bodyPr/>
                    <a:lstStyle/>
                    <a:p>
                      <a:r>
                        <a:rPr lang="en-US" sz="1000" smtClean="0">
                          <a:latin typeface="Arial" panose="020B0604020202020204" pitchFamily="34" charset="0"/>
                          <a:cs typeface="Arial" panose="020B0604020202020204" pitchFamily="34" charset="0"/>
                        </a:rPr>
                        <a:t>SNNP</a:t>
                      </a:r>
                      <a:r>
                        <a:rPr lang="en-US" sz="1000" baseline="0" smtClean="0">
                          <a:latin typeface="Arial" panose="020B0604020202020204" pitchFamily="34" charset="0"/>
                          <a:cs typeface="Arial" panose="020B0604020202020204" pitchFamily="34" charset="0"/>
                        </a:rPr>
                        <a:t> Region </a:t>
                      </a:r>
                      <a:endParaRPr lang="en-US" sz="1000" dirty="0">
                        <a:latin typeface="Arial" panose="020B0604020202020204" pitchFamily="34" charset="0"/>
                        <a:cs typeface="Arial" panose="020B0604020202020204" pitchFamily="34" charset="0"/>
                      </a:endParaRPr>
                    </a:p>
                  </a:txBody>
                  <a:tcPr/>
                </a:tc>
                <a:tc>
                  <a:txBody>
                    <a:bodyPr/>
                    <a:lstStyle/>
                    <a:p>
                      <a:r>
                        <a:rPr lang="en-US" sz="1000" dirty="0" smtClean="0">
                          <a:latin typeface="Arial" panose="020B0604020202020204" pitchFamily="34" charset="0"/>
                          <a:cs typeface="Arial" panose="020B0604020202020204" pitchFamily="34" charset="0"/>
                        </a:rPr>
                        <a:t>Farmer and systems development (Maize, Wheat; Haricot Beans); Farm demonstration of agricultural inputs and technologies</a:t>
                      </a:r>
                      <a:endParaRPr lang="en-US" sz="10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5"/>
                  </a:ext>
                </a:extLst>
              </a:tr>
              <a:tr h="363009">
                <a:tc>
                  <a:txBody>
                    <a:bodyPr/>
                    <a:lstStyle/>
                    <a:p>
                      <a:pPr marR="0" algn="l" rtl="0" fontAlgn="b">
                        <a:lnSpc>
                          <a:spcPct val="100000"/>
                        </a:lnSpc>
                        <a:spcBef>
                          <a:spcPts val="0"/>
                        </a:spcBef>
                        <a:spcAft>
                          <a:spcPts val="0"/>
                        </a:spcAft>
                        <a:buClr>
                          <a:srgbClr val="000000"/>
                        </a:buClr>
                        <a:buFont typeface="Arial"/>
                      </a:pPr>
                      <a:r>
                        <a:rPr lang="en-US" sz="1000" b="0" i="0" u="none" strike="noStrike" cap="none" dirty="0" err="1" smtClean="0">
                          <a:solidFill>
                            <a:schemeClr val="dk1"/>
                          </a:solidFill>
                          <a:latin typeface="Arial" panose="020B0604020202020204" pitchFamily="34" charset="0"/>
                          <a:ea typeface="Calibri"/>
                          <a:cs typeface="Arial" panose="020B0604020202020204" pitchFamily="34" charset="0"/>
                          <a:sym typeface="Arial"/>
                        </a:rPr>
                        <a:t>Agri</a:t>
                      </a:r>
                      <a:r>
                        <a:rPr lang="en-US" sz="1000" b="0" i="0" u="none" strike="noStrike" cap="none" dirty="0" smtClean="0">
                          <a:solidFill>
                            <a:schemeClr val="dk1"/>
                          </a:solidFill>
                          <a:latin typeface="Arial" panose="020B0604020202020204" pitchFamily="34" charset="0"/>
                          <a:ea typeface="Calibri"/>
                          <a:cs typeface="Arial" panose="020B0604020202020204" pitchFamily="34" charset="0"/>
                          <a:sym typeface="Arial"/>
                        </a:rPr>
                        <a:t> Service Ethiopia</a:t>
                      </a:r>
                      <a:endParaRPr lang="en-US" sz="1000" b="0" i="0" u="none" strike="noStrike" cap="none" dirty="0">
                        <a:solidFill>
                          <a:schemeClr val="dk1"/>
                        </a:solidFill>
                        <a:latin typeface="Arial" panose="020B0604020202020204" pitchFamily="34" charset="0"/>
                        <a:ea typeface="Calibri"/>
                        <a:cs typeface="Arial" panose="020B0604020202020204" pitchFamily="34" charset="0"/>
                        <a:sym typeface="Arial"/>
                      </a:endParaRPr>
                    </a:p>
                  </a:txBody>
                  <a:tcPr marL="9525" marR="9525" marT="9525" marB="0"/>
                </a:tc>
                <a:tc>
                  <a:txBody>
                    <a:bodyPr/>
                    <a:lstStyle/>
                    <a:p>
                      <a:r>
                        <a:rPr lang="en-US" sz="1000" dirty="0" smtClean="0">
                          <a:latin typeface="Arial" panose="020B0604020202020204" pitchFamily="34" charset="0"/>
                          <a:cs typeface="Arial" panose="020B0604020202020204" pitchFamily="34" charset="0"/>
                        </a:rPr>
                        <a:t>SNNP</a:t>
                      </a:r>
                      <a:r>
                        <a:rPr lang="en-US" sz="1000" baseline="0" dirty="0" smtClean="0">
                          <a:latin typeface="Arial" panose="020B0604020202020204" pitchFamily="34" charset="0"/>
                          <a:cs typeface="Arial" panose="020B0604020202020204" pitchFamily="34" charset="0"/>
                        </a:rPr>
                        <a:t> Region </a:t>
                      </a:r>
                      <a:endParaRPr lang="en-US" sz="1000" dirty="0">
                        <a:latin typeface="Arial" panose="020B0604020202020204" pitchFamily="34" charset="0"/>
                        <a:cs typeface="Arial" panose="020B0604020202020204" pitchFamily="34" charset="0"/>
                      </a:endParaRPr>
                    </a:p>
                  </a:txBody>
                  <a:tcPr/>
                </a:tc>
                <a:tc>
                  <a:txBody>
                    <a:bodyPr/>
                    <a:lstStyle/>
                    <a:p>
                      <a:r>
                        <a:rPr lang="en-US" sz="1000" dirty="0" smtClean="0">
                          <a:latin typeface="Arial" panose="020B0604020202020204" pitchFamily="34" charset="0"/>
                          <a:cs typeface="Arial" panose="020B0604020202020204" pitchFamily="34" charset="0"/>
                        </a:rPr>
                        <a:t>Farmer and systems development (Maize, Wheat; Haricot Beans); market development and linking with private</a:t>
                      </a:r>
                      <a:r>
                        <a:rPr lang="en-US" sz="1000" baseline="0" dirty="0" smtClean="0">
                          <a:latin typeface="Arial" panose="020B0604020202020204" pitchFamily="34" charset="0"/>
                          <a:cs typeface="Arial" panose="020B0604020202020204" pitchFamily="34" charset="0"/>
                        </a:rPr>
                        <a:t> sector </a:t>
                      </a:r>
                      <a:r>
                        <a:rPr lang="en-US" sz="1000" baseline="0" dirty="0" err="1" smtClean="0">
                          <a:latin typeface="Arial" panose="020B0604020202020204" pitchFamily="34" charset="0"/>
                          <a:cs typeface="Arial" panose="020B0604020202020204" pitchFamily="34" charset="0"/>
                        </a:rPr>
                        <a:t>offtakers</a:t>
                      </a:r>
                      <a:endParaRPr lang="en-US" sz="10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6"/>
                  </a:ext>
                </a:extLst>
              </a:tr>
              <a:tr h="417709">
                <a:tc>
                  <a:txBody>
                    <a:bodyPr/>
                    <a:lstStyle/>
                    <a:p>
                      <a:pPr marR="0" algn="l" rtl="0" fontAlgn="b">
                        <a:lnSpc>
                          <a:spcPct val="100000"/>
                        </a:lnSpc>
                        <a:spcBef>
                          <a:spcPts val="0"/>
                        </a:spcBef>
                        <a:spcAft>
                          <a:spcPts val="0"/>
                        </a:spcAft>
                        <a:buClr>
                          <a:srgbClr val="000000"/>
                        </a:buClr>
                        <a:buFont typeface="Arial"/>
                      </a:pPr>
                      <a:r>
                        <a:rPr lang="en-US" sz="1000" b="0" i="0" u="none" strike="noStrike" cap="none" dirty="0">
                          <a:solidFill>
                            <a:schemeClr val="dk1"/>
                          </a:solidFill>
                          <a:latin typeface="Arial" panose="020B0604020202020204" pitchFamily="34" charset="0"/>
                          <a:ea typeface="Calibri"/>
                          <a:cs typeface="Arial" panose="020B0604020202020204" pitchFamily="34" charset="0"/>
                          <a:sym typeface="Arial"/>
                        </a:rPr>
                        <a:t>Self Help </a:t>
                      </a:r>
                      <a:r>
                        <a:rPr lang="en-US" sz="1000" b="0" i="0" u="none" strike="noStrike" cap="none" dirty="0" smtClean="0">
                          <a:solidFill>
                            <a:schemeClr val="dk1"/>
                          </a:solidFill>
                          <a:latin typeface="Arial" panose="020B0604020202020204" pitchFamily="34" charset="0"/>
                          <a:ea typeface="Calibri"/>
                          <a:cs typeface="Arial" panose="020B0604020202020204" pitchFamily="34" charset="0"/>
                          <a:sym typeface="Arial"/>
                        </a:rPr>
                        <a:t>Africa</a:t>
                      </a:r>
                      <a:endParaRPr lang="en-US" sz="1000" b="0" i="0" u="none" strike="noStrike" cap="none" dirty="0">
                        <a:solidFill>
                          <a:schemeClr val="dk1"/>
                        </a:solidFill>
                        <a:latin typeface="Arial" panose="020B0604020202020204" pitchFamily="34" charset="0"/>
                        <a:ea typeface="Calibri"/>
                        <a:cs typeface="Arial" panose="020B0604020202020204" pitchFamily="34" charset="0"/>
                        <a:sym typeface="Arial"/>
                      </a:endParaRPr>
                    </a:p>
                  </a:txBody>
                  <a:tcPr marL="9525" marR="9525" marT="9525" marB="0"/>
                </a:tc>
                <a:tc>
                  <a:txBody>
                    <a:bodyPr/>
                    <a:lstStyle/>
                    <a:p>
                      <a:r>
                        <a:rPr lang="en-US" sz="1000" dirty="0" smtClean="0">
                          <a:latin typeface="Arial" panose="020B0604020202020204" pitchFamily="34" charset="0"/>
                          <a:cs typeface="Arial" panose="020B0604020202020204" pitchFamily="34" charset="0"/>
                        </a:rPr>
                        <a:t>Amhara, Tigray, SNNPR and Oromia</a:t>
                      </a:r>
                      <a:endParaRPr lang="en-US" sz="1000" dirty="0">
                        <a:latin typeface="Arial" panose="020B0604020202020204" pitchFamily="34" charset="0"/>
                        <a:cs typeface="Arial" panose="020B0604020202020204" pitchFamily="34" charset="0"/>
                      </a:endParaRPr>
                    </a:p>
                  </a:txBody>
                  <a:tcPr/>
                </a:tc>
                <a:tc>
                  <a:txBody>
                    <a:bodyPr/>
                    <a:lstStyle/>
                    <a:p>
                      <a:pPr marR="0" algn="l" rtl="0">
                        <a:lnSpc>
                          <a:spcPct val="100000"/>
                        </a:lnSpc>
                        <a:spcBef>
                          <a:spcPts val="0"/>
                        </a:spcBef>
                        <a:spcAft>
                          <a:spcPts val="0"/>
                        </a:spcAft>
                        <a:buClr>
                          <a:srgbClr val="000000"/>
                        </a:buClr>
                        <a:buFont typeface="Arial"/>
                      </a:pPr>
                      <a:r>
                        <a:rPr lang="en-GB" sz="1000" b="0" i="0" u="none" strike="noStrike" cap="none" dirty="0" smtClean="0">
                          <a:solidFill>
                            <a:schemeClr val="dk1"/>
                          </a:solidFill>
                          <a:latin typeface="Arial" panose="020B0604020202020204" pitchFamily="34" charset="0"/>
                          <a:ea typeface="Calibri"/>
                          <a:cs typeface="Arial" panose="020B0604020202020204" pitchFamily="34" charset="0"/>
                          <a:sym typeface="Arial"/>
                        </a:rPr>
                        <a:t>Promoting soil fertility technologies through capacity building of Farmer Training Centres in areas where</a:t>
                      </a:r>
                      <a:r>
                        <a:rPr lang="en-GB" sz="1000" b="0" i="0" u="none" strike="noStrike" cap="none" baseline="0" dirty="0" smtClean="0">
                          <a:solidFill>
                            <a:schemeClr val="dk1"/>
                          </a:solidFill>
                          <a:latin typeface="Arial" panose="020B0604020202020204" pitchFamily="34" charset="0"/>
                          <a:ea typeface="Calibri"/>
                          <a:cs typeface="Arial" panose="020B0604020202020204" pitchFamily="34" charset="0"/>
                          <a:sym typeface="Arial"/>
                        </a:rPr>
                        <a:t> irrigation has expanded through IFAD funded programs</a:t>
                      </a:r>
                      <a:endParaRPr lang="en-US" sz="1000" b="0" i="0" u="none" strike="noStrike" cap="none" dirty="0">
                        <a:solidFill>
                          <a:schemeClr val="dk1"/>
                        </a:solidFill>
                        <a:latin typeface="Arial" panose="020B0604020202020204" pitchFamily="34" charset="0"/>
                        <a:ea typeface="Calibri"/>
                        <a:cs typeface="Arial" panose="020B0604020202020204" pitchFamily="34" charset="0"/>
                        <a:sym typeface="Arial"/>
                      </a:endParaRPr>
                    </a:p>
                  </a:txBody>
                  <a:tcPr/>
                </a:tc>
                <a:extLst>
                  <a:ext uri="{0D108BD9-81ED-4DB2-BD59-A6C34878D82A}">
                    <a16:rowId xmlns:a16="http://schemas.microsoft.com/office/drawing/2014/main" val="10007"/>
                  </a:ext>
                </a:extLst>
              </a:tr>
              <a:tr h="581809">
                <a:tc>
                  <a:txBody>
                    <a:bodyPr/>
                    <a:lstStyle/>
                    <a:p>
                      <a:pPr marR="0" algn="l" rtl="0" fontAlgn="b">
                        <a:lnSpc>
                          <a:spcPct val="100000"/>
                        </a:lnSpc>
                        <a:spcBef>
                          <a:spcPts val="0"/>
                        </a:spcBef>
                        <a:spcAft>
                          <a:spcPts val="0"/>
                        </a:spcAft>
                        <a:buClr>
                          <a:srgbClr val="000000"/>
                        </a:buClr>
                        <a:buFont typeface="Arial"/>
                      </a:pPr>
                      <a:r>
                        <a:rPr lang="en-US" sz="1000" b="0" i="0" u="none" strike="noStrike" cap="none" dirty="0">
                          <a:solidFill>
                            <a:schemeClr val="dk1"/>
                          </a:solidFill>
                          <a:latin typeface="Arial" panose="020B0604020202020204" pitchFamily="34" charset="0"/>
                          <a:ea typeface="Calibri"/>
                          <a:cs typeface="Arial" panose="020B0604020202020204" pitchFamily="34" charset="0"/>
                          <a:sym typeface="Arial"/>
                        </a:rPr>
                        <a:t>Ministry of Agriculture</a:t>
                      </a:r>
                    </a:p>
                  </a:txBody>
                  <a:tcPr marL="9525" marR="9525" marT="9525" marB="0"/>
                </a:tc>
                <a:tc>
                  <a:txBody>
                    <a:bodyPr/>
                    <a:lstStyle/>
                    <a:p>
                      <a:r>
                        <a:rPr lang="en-US" sz="1000" dirty="0" smtClean="0">
                          <a:latin typeface="Arial" panose="020B0604020202020204" pitchFamily="34" charset="0"/>
                          <a:cs typeface="Arial" panose="020B0604020202020204" pitchFamily="34" charset="0"/>
                        </a:rPr>
                        <a:t>National</a:t>
                      </a:r>
                      <a:endParaRPr lang="en-US" sz="1000" dirty="0">
                        <a:latin typeface="Arial" panose="020B0604020202020204" pitchFamily="34" charset="0"/>
                        <a:cs typeface="Arial" panose="020B0604020202020204" pitchFamily="34" charset="0"/>
                      </a:endParaRPr>
                    </a:p>
                  </a:txBody>
                  <a:tcPr/>
                </a:tc>
                <a:tc>
                  <a:txBody>
                    <a:bodyPr/>
                    <a:lstStyle/>
                    <a:p>
                      <a:r>
                        <a:rPr lang="en-US" sz="1000" dirty="0" smtClean="0">
                          <a:latin typeface="Arial" panose="020B0604020202020204" pitchFamily="34" charset="0"/>
                          <a:cs typeface="Arial" panose="020B0604020202020204" pitchFamily="34" charset="0"/>
                        </a:rPr>
                        <a:t>State</a:t>
                      </a:r>
                      <a:r>
                        <a:rPr lang="en-US" sz="1000" baseline="0" dirty="0" smtClean="0">
                          <a:latin typeface="Arial" panose="020B0604020202020204" pitchFamily="34" charset="0"/>
                          <a:cs typeface="Arial" panose="020B0604020202020204" pitchFamily="34" charset="0"/>
                        </a:rPr>
                        <a:t> Capacity: enhancing the capacity of the Ministry in program management and execution; building of the seed certification and quality regulatory systems; linking farmers into input and output markets in areas where new irrigation facilities have been built</a:t>
                      </a:r>
                      <a:endParaRPr lang="en-US" sz="10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8"/>
                  </a:ext>
                </a:extLst>
              </a:tr>
              <a:tr h="363009">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lang="en-US" sz="1000" b="0" i="0" u="none" strike="noStrike" cap="none" dirty="0" smtClean="0">
                          <a:solidFill>
                            <a:schemeClr val="dk1"/>
                          </a:solidFill>
                          <a:latin typeface="Arial" panose="020B0604020202020204" pitchFamily="34" charset="0"/>
                          <a:ea typeface="Calibri"/>
                          <a:cs typeface="Arial" panose="020B0604020202020204" pitchFamily="34" charset="0"/>
                          <a:sym typeface="Arial"/>
                        </a:rPr>
                        <a:t>Agricultural Transformation Agency (ATA)</a:t>
                      </a:r>
                    </a:p>
                    <a:p>
                      <a:pPr marR="0" algn="l" rtl="0" fontAlgn="b">
                        <a:lnSpc>
                          <a:spcPct val="100000"/>
                        </a:lnSpc>
                        <a:spcBef>
                          <a:spcPts val="0"/>
                        </a:spcBef>
                        <a:spcAft>
                          <a:spcPts val="0"/>
                        </a:spcAft>
                        <a:buClr>
                          <a:srgbClr val="000000"/>
                        </a:buClr>
                        <a:buFont typeface="Arial"/>
                      </a:pPr>
                      <a:endParaRPr lang="en-US" sz="1000" b="0" i="0" u="none" strike="noStrike" cap="none" dirty="0">
                        <a:solidFill>
                          <a:schemeClr val="dk1"/>
                        </a:solidFill>
                        <a:latin typeface="Arial" panose="020B0604020202020204" pitchFamily="34" charset="0"/>
                        <a:ea typeface="Calibri"/>
                        <a:cs typeface="Arial" panose="020B0604020202020204" pitchFamily="34" charset="0"/>
                        <a:sym typeface="Arial"/>
                      </a:endParaRPr>
                    </a:p>
                  </a:txBody>
                  <a:tcPr marL="9525" marR="9525" marT="9525" marB="0"/>
                </a:tc>
                <a:tc>
                  <a:txBody>
                    <a:bodyPr/>
                    <a:lstStyle/>
                    <a:p>
                      <a:r>
                        <a:rPr lang="en-US" sz="1000" dirty="0" smtClean="0">
                          <a:latin typeface="Arial" panose="020B0604020202020204" pitchFamily="34" charset="0"/>
                          <a:cs typeface="Arial" panose="020B0604020202020204" pitchFamily="34" charset="0"/>
                        </a:rPr>
                        <a:t>National</a:t>
                      </a:r>
                      <a:endParaRPr lang="en-US" sz="1000" dirty="0">
                        <a:latin typeface="Arial" panose="020B0604020202020204" pitchFamily="34" charset="0"/>
                        <a:cs typeface="Arial" panose="020B0604020202020204" pitchFamily="34" charset="0"/>
                      </a:endParaRPr>
                    </a:p>
                  </a:txBody>
                  <a:tcPr/>
                </a:tc>
                <a:tc>
                  <a:txBody>
                    <a:bodyPr/>
                    <a:lstStyle/>
                    <a:p>
                      <a:r>
                        <a:rPr lang="en-US" sz="1000" dirty="0" smtClean="0">
                          <a:latin typeface="Arial" panose="020B0604020202020204" pitchFamily="34" charset="0"/>
                          <a:cs typeface="Arial" panose="020B0604020202020204" pitchFamily="34" charset="0"/>
                        </a:rPr>
                        <a:t>Policy and systems development: Development of agricultural trade policy, plant breeders’ rights; implementation of Electronic Voucher System</a:t>
                      </a:r>
                      <a:endParaRPr lang="en-US" sz="10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9"/>
                  </a:ext>
                </a:extLst>
              </a:tr>
              <a:tr h="363009">
                <a:tc>
                  <a:txBody>
                    <a:bodyPr/>
                    <a:lstStyle/>
                    <a:p>
                      <a:pPr marR="0" algn="l" rtl="0" fontAlgn="b">
                        <a:lnSpc>
                          <a:spcPct val="100000"/>
                        </a:lnSpc>
                        <a:spcBef>
                          <a:spcPts val="0"/>
                        </a:spcBef>
                        <a:spcAft>
                          <a:spcPts val="0"/>
                        </a:spcAft>
                        <a:buClr>
                          <a:srgbClr val="000000"/>
                        </a:buClr>
                        <a:buFont typeface="Arial"/>
                      </a:pPr>
                      <a:r>
                        <a:rPr lang="en-US" sz="1000" b="0" i="0" u="none" strike="noStrike" cap="none" dirty="0">
                          <a:solidFill>
                            <a:schemeClr val="dk1"/>
                          </a:solidFill>
                          <a:latin typeface="Arial" panose="020B0604020202020204" pitchFamily="34" charset="0"/>
                          <a:ea typeface="Calibri"/>
                          <a:cs typeface="Arial" panose="020B0604020202020204" pitchFamily="34" charset="0"/>
                          <a:sym typeface="Arial"/>
                        </a:rPr>
                        <a:t>Federal Cooperative Agency </a:t>
                      </a:r>
                      <a:r>
                        <a:rPr lang="en-US" sz="1000" b="0" i="0" u="none" strike="noStrike" cap="none" dirty="0" smtClean="0">
                          <a:solidFill>
                            <a:schemeClr val="dk1"/>
                          </a:solidFill>
                          <a:latin typeface="Arial" panose="020B0604020202020204" pitchFamily="34" charset="0"/>
                          <a:ea typeface="Calibri"/>
                          <a:cs typeface="Arial" panose="020B0604020202020204" pitchFamily="34" charset="0"/>
                          <a:sym typeface="Arial"/>
                        </a:rPr>
                        <a:t>(FCA)</a:t>
                      </a:r>
                      <a:endParaRPr lang="en-US" sz="1000" b="0" i="0" u="none" strike="noStrike" cap="none" dirty="0">
                        <a:solidFill>
                          <a:schemeClr val="dk1"/>
                        </a:solidFill>
                        <a:latin typeface="Arial" panose="020B0604020202020204" pitchFamily="34" charset="0"/>
                        <a:ea typeface="Calibri"/>
                        <a:cs typeface="Arial" panose="020B0604020202020204" pitchFamily="34" charset="0"/>
                        <a:sym typeface="Arial"/>
                      </a:endParaRPr>
                    </a:p>
                  </a:txBody>
                  <a:tcPr marL="9525" marR="9525" marT="9525" marB="0"/>
                </a:tc>
                <a:tc>
                  <a:txBody>
                    <a:bodyPr/>
                    <a:lstStyle/>
                    <a:p>
                      <a:endParaRPr lang="en-US" sz="1000" dirty="0">
                        <a:latin typeface="Arial" panose="020B0604020202020204" pitchFamily="34" charset="0"/>
                        <a:cs typeface="Arial" panose="020B0604020202020204" pitchFamily="34" charset="0"/>
                      </a:endParaRPr>
                    </a:p>
                  </a:txBody>
                  <a:tcPr/>
                </a:tc>
                <a:tc>
                  <a:txBody>
                    <a:bodyPr/>
                    <a:lstStyle/>
                    <a:p>
                      <a:r>
                        <a:rPr lang="en-US" sz="1000" dirty="0" smtClean="0">
                          <a:latin typeface="Arial" panose="020B0604020202020204" pitchFamily="34" charset="0"/>
                          <a:cs typeface="Arial" panose="020B0604020202020204" pitchFamily="34" charset="0"/>
                        </a:rPr>
                        <a:t>Farmer and systems development; capacity building of f farmers, farmers cooperatives through skill training and building of storage warehouses</a:t>
                      </a:r>
                      <a:endParaRPr lang="en-US" sz="10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10"/>
                  </a:ext>
                </a:extLst>
              </a:tr>
              <a:tr h="363009">
                <a:tc>
                  <a:txBody>
                    <a:bodyPr/>
                    <a:lstStyle/>
                    <a:p>
                      <a:pPr marR="0" algn="l" rtl="0" fontAlgn="b">
                        <a:lnSpc>
                          <a:spcPct val="100000"/>
                        </a:lnSpc>
                        <a:spcBef>
                          <a:spcPts val="0"/>
                        </a:spcBef>
                        <a:spcAft>
                          <a:spcPts val="0"/>
                        </a:spcAft>
                        <a:buClr>
                          <a:srgbClr val="000000"/>
                        </a:buClr>
                        <a:buFont typeface="Arial"/>
                      </a:pPr>
                      <a:r>
                        <a:rPr lang="en-US" sz="1000" b="0" i="0" u="none" strike="noStrike" cap="none" dirty="0" smtClean="0">
                          <a:solidFill>
                            <a:schemeClr val="dk1"/>
                          </a:solidFill>
                          <a:latin typeface="Arial" panose="020B0604020202020204" pitchFamily="34" charset="0"/>
                          <a:ea typeface="Calibri"/>
                          <a:cs typeface="Arial" panose="020B0604020202020204" pitchFamily="34" charset="0"/>
                          <a:sym typeface="Arial"/>
                        </a:rPr>
                        <a:t>Ethiopian Institute of Agricultural Research</a:t>
                      </a:r>
                      <a:endParaRPr lang="en-US" sz="1000" b="0" i="0" u="none" strike="noStrike" cap="none" dirty="0">
                        <a:solidFill>
                          <a:schemeClr val="dk1"/>
                        </a:solidFill>
                        <a:latin typeface="Arial" panose="020B0604020202020204" pitchFamily="34" charset="0"/>
                        <a:ea typeface="Calibri"/>
                        <a:cs typeface="Arial" panose="020B0604020202020204" pitchFamily="34" charset="0"/>
                        <a:sym typeface="Arial"/>
                      </a:endParaRPr>
                    </a:p>
                  </a:txBody>
                  <a:tcPr marL="9525" marR="9525" marT="9525" marB="0"/>
                </a:tc>
                <a:tc>
                  <a:txBody>
                    <a:bodyPr/>
                    <a:lstStyle/>
                    <a:p>
                      <a:r>
                        <a:rPr lang="en-US" sz="1000" dirty="0" smtClean="0">
                          <a:latin typeface="Arial" panose="020B0604020202020204" pitchFamily="34" charset="0"/>
                          <a:cs typeface="Arial" panose="020B0604020202020204" pitchFamily="34" charset="0"/>
                        </a:rPr>
                        <a:t>National</a:t>
                      </a:r>
                      <a:endParaRPr lang="en-US" sz="1000" dirty="0">
                        <a:latin typeface="Arial" panose="020B0604020202020204" pitchFamily="34" charset="0"/>
                        <a:cs typeface="Arial" panose="020B0604020202020204" pitchFamily="34" charset="0"/>
                      </a:endParaRPr>
                    </a:p>
                  </a:txBody>
                  <a:tcPr/>
                </a:tc>
                <a:tc>
                  <a:txBody>
                    <a:bodyPr/>
                    <a:lstStyle/>
                    <a:p>
                      <a:r>
                        <a:rPr lang="en-US" sz="1000" dirty="0" smtClean="0">
                          <a:latin typeface="Arial" panose="020B0604020202020204" pitchFamily="34" charset="0"/>
                          <a:cs typeface="Arial" panose="020B0604020202020204" pitchFamily="34" charset="0"/>
                        </a:rPr>
                        <a:t>Systems: Increasing the supply of Early Generation Seed; Validation of</a:t>
                      </a:r>
                      <a:r>
                        <a:rPr lang="en-US" sz="1000" baseline="0" dirty="0" smtClean="0">
                          <a:latin typeface="Arial" panose="020B0604020202020204" pitchFamily="34" charset="0"/>
                          <a:cs typeface="Arial" panose="020B0604020202020204" pitchFamily="34" charset="0"/>
                        </a:rPr>
                        <a:t> blended fertilizers and treatment of acidic soils through lime application</a:t>
                      </a:r>
                      <a:endParaRPr lang="en-US" sz="10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297327285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1795374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3657" name="think-cell Slide" r:id="rId5" imgW="327" imgH="327" progId="TCLayout.ActiveDocument.1">
                  <p:embed/>
                </p:oleObj>
              </mc:Choice>
              <mc:Fallback>
                <p:oleObj name="think-cell Slide" r:id="rId5" imgW="327" imgH="32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2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Executive Summary </a:t>
            </a:r>
          </a:p>
        </p:txBody>
      </p:sp>
      <p:sp>
        <p:nvSpPr>
          <p:cNvPr id="5" name="Text Placeholder 4"/>
          <p:cNvSpPr>
            <a:spLocks noGrp="1"/>
          </p:cNvSpPr>
          <p:nvPr>
            <p:ph type="body" idx="1"/>
          </p:nvPr>
        </p:nvSpPr>
        <p:spPr>
          <a:xfrm>
            <a:off x="450276" y="903891"/>
            <a:ext cx="9005453" cy="5234150"/>
          </a:xfrm>
        </p:spPr>
        <p:txBody>
          <a:bodyPr/>
          <a:lstStyle/>
          <a:p>
            <a:pPr marL="0" indent="0">
              <a:lnSpc>
                <a:spcPts val="1400"/>
              </a:lnSpc>
              <a:spcBef>
                <a:spcPts val="600"/>
              </a:spcBef>
              <a:buNone/>
            </a:pPr>
            <a:r>
              <a:rPr lang="en-US" sz="1200" dirty="0">
                <a:solidFill>
                  <a:srgbClr val="000000"/>
                </a:solidFill>
              </a:rPr>
              <a:t>Ethiopia is one of the fastest growing economies in the world registering an average growth rate of 11 percent over the last couple of years. The economy is largely driven by Agriculture and agricultural exports. Coffee is Ethiopia highest forex earner. Other agricultural exported produce include oil seeds, dried pulses, hide and skin. Projections by the Ethiopian Government and the World Bank indicate continued and impressive growth rates over the period of FAO </a:t>
            </a:r>
            <a:r>
              <a:rPr lang="en-US" sz="1200" dirty="0" err="1">
                <a:solidFill>
                  <a:srgbClr val="000000"/>
                </a:solidFill>
              </a:rPr>
              <a:t>CPF</a:t>
            </a:r>
            <a:r>
              <a:rPr lang="en-US" sz="1200" dirty="0">
                <a:solidFill>
                  <a:srgbClr val="000000"/>
                </a:solidFill>
              </a:rPr>
              <a:t> (2016 – 2020)</a:t>
            </a:r>
            <a:r>
              <a:rPr lang="en-US" sz="1200" baseline="30000" dirty="0">
                <a:solidFill>
                  <a:srgbClr val="000000"/>
                </a:solidFill>
              </a:rPr>
              <a:t>1</a:t>
            </a:r>
            <a:r>
              <a:rPr lang="en-US" sz="1200" dirty="0">
                <a:solidFill>
                  <a:srgbClr val="000000"/>
                </a:solidFill>
              </a:rPr>
              <a:t>. The agriculture sector is a big part of the lives of majority of Ethiopians. About 12 million smallholder farmers produce about 95% of all agricultural production. </a:t>
            </a:r>
            <a:r>
              <a:rPr lang="en-ZA" sz="1200" dirty="0">
                <a:solidFill>
                  <a:srgbClr val="000000"/>
                </a:solidFill>
              </a:rPr>
              <a:t>Agriculture is the second largest sector in the economy with a GDP contribution of 34% after services whose contribution is 37%. 68% of the employed population are in agriculture, of which 59% are women. With a population of 104 million, </a:t>
            </a:r>
            <a:r>
              <a:rPr lang="en-US" sz="1200" dirty="0">
                <a:solidFill>
                  <a:srgbClr val="000000"/>
                </a:solidFill>
              </a:rPr>
              <a:t>Ethiopia is a major success in agricultural growth with 25 years of exceeding the </a:t>
            </a:r>
            <a:r>
              <a:rPr lang="en-US" sz="1200" dirty="0" err="1">
                <a:solidFill>
                  <a:srgbClr val="000000"/>
                </a:solidFill>
              </a:rPr>
              <a:t>CAADP</a:t>
            </a:r>
            <a:r>
              <a:rPr lang="en-US" sz="1200" dirty="0">
                <a:solidFill>
                  <a:srgbClr val="000000"/>
                </a:solidFill>
              </a:rPr>
              <a:t> target of a 6% growth rate; consequently, </a:t>
            </a:r>
            <a:r>
              <a:rPr lang="en-ZA" sz="1200" dirty="0">
                <a:solidFill>
                  <a:srgbClr val="000000"/>
                </a:solidFill>
              </a:rPr>
              <a:t>the poverty levels in Ethiopia have been declining from 33.6% in 2010 to 26.7% as of 2015</a:t>
            </a:r>
            <a:r>
              <a:rPr lang="en-ZA" sz="1200" baseline="30000" dirty="0">
                <a:solidFill>
                  <a:srgbClr val="000000"/>
                </a:solidFill>
              </a:rPr>
              <a:t> 2. </a:t>
            </a:r>
          </a:p>
          <a:p>
            <a:pPr marL="0" indent="0">
              <a:lnSpc>
                <a:spcPts val="1400"/>
              </a:lnSpc>
              <a:spcBef>
                <a:spcPts val="600"/>
              </a:spcBef>
              <a:buNone/>
            </a:pPr>
            <a:r>
              <a:rPr lang="en-US" sz="1200" dirty="0">
                <a:solidFill>
                  <a:srgbClr val="000000"/>
                </a:solidFill>
              </a:rPr>
              <a:t>The country, however, still struggles with several issues, including: 1. </a:t>
            </a:r>
            <a:r>
              <a:rPr lang="en-US" sz="1200" dirty="0" smtClean="0">
                <a:solidFill>
                  <a:srgbClr val="000000"/>
                </a:solidFill>
              </a:rPr>
              <a:t>Large and growing population; 2. Low productivity </a:t>
            </a:r>
            <a:r>
              <a:rPr lang="en-US" sz="1200" dirty="0">
                <a:solidFill>
                  <a:srgbClr val="000000"/>
                </a:solidFill>
              </a:rPr>
              <a:t>due to </a:t>
            </a:r>
            <a:r>
              <a:rPr lang="en-US" sz="1200" dirty="0" smtClean="0">
                <a:solidFill>
                  <a:srgbClr val="000000"/>
                </a:solidFill>
              </a:rPr>
              <a:t>low adoption </a:t>
            </a:r>
            <a:r>
              <a:rPr lang="en-US" sz="1200" dirty="0">
                <a:solidFill>
                  <a:srgbClr val="000000"/>
                </a:solidFill>
              </a:rPr>
              <a:t>of improved seed varieties and poor agronomic </a:t>
            </a:r>
            <a:r>
              <a:rPr lang="en-US" sz="1200" dirty="0" smtClean="0">
                <a:solidFill>
                  <a:srgbClr val="000000"/>
                </a:solidFill>
              </a:rPr>
              <a:t>practices as a result of shortage of early generation seed, poor capacity for seed certification and regulation of seed quality and </a:t>
            </a:r>
            <a:r>
              <a:rPr lang="en-US" sz="1200" dirty="0">
                <a:solidFill>
                  <a:srgbClr val="000000"/>
                </a:solidFill>
              </a:rPr>
              <a:t>distribution challenges</a:t>
            </a:r>
            <a:r>
              <a:rPr lang="en-US" sz="1200" dirty="0" smtClean="0">
                <a:solidFill>
                  <a:srgbClr val="000000"/>
                </a:solidFill>
              </a:rPr>
              <a:t>; 3. Weak </a:t>
            </a:r>
            <a:r>
              <a:rPr lang="en-US" sz="1200" dirty="0">
                <a:solidFill>
                  <a:srgbClr val="000000"/>
                </a:solidFill>
              </a:rPr>
              <a:t>links between </a:t>
            </a:r>
            <a:r>
              <a:rPr lang="en-US" sz="1200" dirty="0" smtClean="0">
                <a:solidFill>
                  <a:srgbClr val="000000"/>
                </a:solidFill>
              </a:rPr>
              <a:t>farmers’ </a:t>
            </a:r>
            <a:r>
              <a:rPr lang="en-US" sz="1200" dirty="0">
                <a:solidFill>
                  <a:srgbClr val="000000"/>
                </a:solidFill>
              </a:rPr>
              <a:t>organizations and private </a:t>
            </a:r>
            <a:r>
              <a:rPr lang="en-US" sz="1200" dirty="0" smtClean="0">
                <a:solidFill>
                  <a:srgbClr val="000000"/>
                </a:solidFill>
              </a:rPr>
              <a:t>market actors </a:t>
            </a:r>
            <a:r>
              <a:rPr lang="en-US" sz="1200" dirty="0">
                <a:solidFill>
                  <a:srgbClr val="000000"/>
                </a:solidFill>
              </a:rPr>
              <a:t>and the overall weakness of the private </a:t>
            </a:r>
            <a:r>
              <a:rPr lang="en-US" sz="1200" dirty="0" smtClean="0">
                <a:solidFill>
                  <a:srgbClr val="000000"/>
                </a:solidFill>
              </a:rPr>
              <a:t>sector. </a:t>
            </a:r>
            <a:r>
              <a:rPr lang="en-US" sz="1200" dirty="0">
                <a:solidFill>
                  <a:srgbClr val="000000"/>
                </a:solidFill>
              </a:rPr>
              <a:t>Ethiopia has a strong </a:t>
            </a:r>
            <a:r>
              <a:rPr lang="en-US" sz="1200" dirty="0" smtClean="0">
                <a:solidFill>
                  <a:srgbClr val="000000"/>
                </a:solidFill>
              </a:rPr>
              <a:t>farmers’ </a:t>
            </a:r>
            <a:r>
              <a:rPr lang="en-US" sz="1200" dirty="0">
                <a:solidFill>
                  <a:srgbClr val="000000"/>
                </a:solidFill>
              </a:rPr>
              <a:t>organization network with 212 cooperative unions and over nearly 30,000 primary cooperatives, with a total of 8 million members, yet the impact is often limited by </a:t>
            </a:r>
            <a:r>
              <a:rPr lang="en-US" sz="1200" dirty="0" smtClean="0">
                <a:solidFill>
                  <a:srgbClr val="000000"/>
                </a:solidFill>
              </a:rPr>
              <a:t>lack of access to working capital, warehouse storages and poor </a:t>
            </a:r>
            <a:r>
              <a:rPr lang="en-US" sz="1200" dirty="0">
                <a:solidFill>
                  <a:srgbClr val="000000"/>
                </a:solidFill>
              </a:rPr>
              <a:t>understanding of the requirements of larger buyers </a:t>
            </a:r>
            <a:r>
              <a:rPr lang="en-US" sz="1200" baseline="30000" dirty="0" smtClean="0">
                <a:solidFill>
                  <a:srgbClr val="000000"/>
                </a:solidFill>
              </a:rPr>
              <a:t>2</a:t>
            </a:r>
            <a:r>
              <a:rPr lang="en-US" sz="1200" dirty="0" smtClean="0">
                <a:solidFill>
                  <a:srgbClr val="000000"/>
                </a:solidFill>
              </a:rPr>
              <a:t>; 4. F</a:t>
            </a:r>
            <a:r>
              <a:rPr lang="en-ZA" sz="1200" dirty="0" smtClean="0">
                <a:solidFill>
                  <a:srgbClr val="000000"/>
                </a:solidFill>
              </a:rPr>
              <a:t>arming </a:t>
            </a:r>
            <a:r>
              <a:rPr lang="en-ZA" sz="1200" dirty="0">
                <a:solidFill>
                  <a:srgbClr val="000000"/>
                </a:solidFill>
              </a:rPr>
              <a:t>is </a:t>
            </a:r>
            <a:r>
              <a:rPr lang="en-ZA" sz="1200" dirty="0" smtClean="0">
                <a:solidFill>
                  <a:srgbClr val="000000"/>
                </a:solidFill>
              </a:rPr>
              <a:t>predominantly subsistence, </a:t>
            </a:r>
            <a:r>
              <a:rPr lang="en-ZA" sz="1200" dirty="0">
                <a:solidFill>
                  <a:srgbClr val="000000"/>
                </a:solidFill>
              </a:rPr>
              <a:t>leaving little marketable surplus </a:t>
            </a:r>
            <a:r>
              <a:rPr lang="en-ZA" sz="1200" dirty="0" smtClean="0">
                <a:solidFill>
                  <a:srgbClr val="000000"/>
                </a:solidFill>
              </a:rPr>
              <a:t>5. </a:t>
            </a:r>
            <a:r>
              <a:rPr lang="en-ZA" sz="1200" dirty="0">
                <a:solidFill>
                  <a:srgbClr val="000000"/>
                </a:solidFill>
              </a:rPr>
              <a:t>The increasing livestock population which demands for more grazing, </a:t>
            </a:r>
            <a:r>
              <a:rPr lang="en-ZA" sz="1200" dirty="0" smtClean="0">
                <a:solidFill>
                  <a:srgbClr val="000000"/>
                </a:solidFill>
              </a:rPr>
              <a:t>poses </a:t>
            </a:r>
            <a:r>
              <a:rPr lang="en-ZA" sz="1200" dirty="0">
                <a:solidFill>
                  <a:srgbClr val="000000"/>
                </a:solidFill>
              </a:rPr>
              <a:t>the risk of degraded vegetation and natural </a:t>
            </a:r>
            <a:r>
              <a:rPr lang="en-ZA" sz="1200" dirty="0" smtClean="0">
                <a:solidFill>
                  <a:srgbClr val="000000"/>
                </a:solidFill>
              </a:rPr>
              <a:t>resources</a:t>
            </a:r>
            <a:r>
              <a:rPr lang="en-US" sz="1200" baseline="30000" dirty="0" smtClean="0">
                <a:solidFill>
                  <a:srgbClr val="000000"/>
                </a:solidFill>
              </a:rPr>
              <a:t>2.</a:t>
            </a:r>
            <a:r>
              <a:rPr lang="en-US" sz="1200" dirty="0" smtClean="0">
                <a:solidFill>
                  <a:srgbClr val="000000"/>
                </a:solidFill>
              </a:rPr>
              <a:t>. </a:t>
            </a:r>
            <a:r>
              <a:rPr lang="en-US" sz="1200" dirty="0">
                <a:solidFill>
                  <a:srgbClr val="000000"/>
                </a:solidFill>
              </a:rPr>
              <a:t>Access to finance by private sector and </a:t>
            </a:r>
            <a:r>
              <a:rPr lang="en-US" sz="1200" dirty="0" smtClean="0">
                <a:solidFill>
                  <a:srgbClr val="000000"/>
                </a:solidFill>
              </a:rPr>
              <a:t>ineffective extension </a:t>
            </a:r>
            <a:r>
              <a:rPr lang="en-US" sz="1200" dirty="0">
                <a:solidFill>
                  <a:srgbClr val="000000"/>
                </a:solidFill>
              </a:rPr>
              <a:t>are other challenges facing the sector. The </a:t>
            </a:r>
            <a:r>
              <a:rPr lang="en-US" sz="1200" dirty="0" err="1">
                <a:solidFill>
                  <a:srgbClr val="000000"/>
                </a:solidFill>
              </a:rPr>
              <a:t>GoE</a:t>
            </a:r>
            <a:r>
              <a:rPr lang="en-US" sz="1200" dirty="0">
                <a:solidFill>
                  <a:srgbClr val="000000"/>
                </a:solidFill>
              </a:rPr>
              <a:t> </a:t>
            </a:r>
            <a:r>
              <a:rPr lang="en-US" sz="1200" dirty="0" smtClean="0">
                <a:solidFill>
                  <a:srgbClr val="000000"/>
                </a:solidFill>
              </a:rPr>
              <a:t>needs </a:t>
            </a:r>
            <a:r>
              <a:rPr lang="en-US" sz="1200" dirty="0">
                <a:solidFill>
                  <a:srgbClr val="000000"/>
                </a:solidFill>
              </a:rPr>
              <a:t>to enhance an enabling policy environment for agricultural transformation by enacting policies that allow and encourage private sector participation in the sector particular to enhance, particularly, distribution and hence access to </a:t>
            </a:r>
            <a:r>
              <a:rPr lang="en-US" sz="1200" dirty="0" smtClean="0">
                <a:solidFill>
                  <a:srgbClr val="000000"/>
                </a:solidFill>
              </a:rPr>
              <a:t>inputs</a:t>
            </a:r>
            <a:r>
              <a:rPr lang="en-US" sz="1200" baseline="30000" dirty="0" smtClean="0">
                <a:solidFill>
                  <a:srgbClr val="000000"/>
                </a:solidFill>
              </a:rPr>
              <a:t>2.</a:t>
            </a:r>
            <a:endParaRPr lang="en-US" sz="1200" baseline="30000" dirty="0">
              <a:solidFill>
                <a:srgbClr val="000000"/>
              </a:solidFill>
            </a:endParaRPr>
          </a:p>
          <a:p>
            <a:pPr marL="0" indent="0">
              <a:lnSpc>
                <a:spcPts val="1400"/>
              </a:lnSpc>
              <a:spcBef>
                <a:spcPts val="600"/>
              </a:spcBef>
              <a:buNone/>
            </a:pPr>
            <a:r>
              <a:rPr lang="en-US" sz="1200" dirty="0"/>
              <a:t>AGRA’s 2017 – 2021 strategy seeks to catalyze and sustain an inclusive agriculture transformation in 11 priority countries including </a:t>
            </a:r>
            <a:r>
              <a:rPr lang="en-US" sz="1200" dirty="0" smtClean="0"/>
              <a:t>Ethiopia. The theory </a:t>
            </a:r>
            <a:r>
              <a:rPr lang="en-US" sz="1200" dirty="0"/>
              <a:t>of change is that unlocking sustainable transformation will </a:t>
            </a:r>
            <a:r>
              <a:rPr lang="en-US" sz="1200" dirty="0" smtClean="0"/>
              <a:t>require </a:t>
            </a:r>
            <a:r>
              <a:rPr lang="en-US" sz="1200" dirty="0"/>
              <a:t>a combination of </a:t>
            </a:r>
            <a:r>
              <a:rPr lang="en-US" sz="1200" dirty="0">
                <a:solidFill>
                  <a:schemeClr val="tx1"/>
                </a:solidFill>
              </a:rPr>
              <a:t>{</a:t>
            </a:r>
            <a:r>
              <a:rPr lang="en-US" sz="1200" dirty="0" err="1">
                <a:solidFill>
                  <a:schemeClr val="tx1"/>
                </a:solidFill>
              </a:rPr>
              <a:t>i</a:t>
            </a:r>
            <a:r>
              <a:rPr lang="en-US" sz="1200" dirty="0">
                <a:solidFill>
                  <a:schemeClr val="tx1"/>
                </a:solidFill>
              </a:rPr>
              <a:t>} </a:t>
            </a:r>
            <a:r>
              <a:rPr lang="en-US" sz="1200" b="1" dirty="0">
                <a:solidFill>
                  <a:schemeClr val="tx1"/>
                </a:solidFill>
              </a:rPr>
              <a:t>Policy and State Capability: </a:t>
            </a:r>
            <a:r>
              <a:rPr lang="en-US" sz="1200" dirty="0">
                <a:solidFill>
                  <a:schemeClr val="tx1"/>
                </a:solidFill>
              </a:rPr>
              <a:t>w</a:t>
            </a:r>
            <a:r>
              <a:rPr lang="en-US" sz="1200" kern="1200" dirty="0">
                <a:solidFill>
                  <a:schemeClr val="tx1"/>
                </a:solidFill>
              </a:rPr>
              <a:t>orking with government to strengthen execution capacity while enhancing the transparency, accountability systems and policy environment for increased public and private sector investment in agriculture; </a:t>
            </a:r>
            <a:r>
              <a:rPr lang="en-US" sz="1200" b="1" dirty="0">
                <a:solidFill>
                  <a:schemeClr val="tx1"/>
                </a:solidFill>
              </a:rPr>
              <a:t>{ii} Systems Development: </a:t>
            </a:r>
            <a:r>
              <a:rPr lang="en-US" sz="1200" dirty="0">
                <a:solidFill>
                  <a:schemeClr val="tx1"/>
                </a:solidFill>
              </a:rPr>
              <a:t>investments to bu</a:t>
            </a:r>
            <a:r>
              <a:rPr lang="en-US" sz="1200" kern="1200" dirty="0">
                <a:solidFill>
                  <a:schemeClr val="tx1"/>
                </a:solidFill>
              </a:rPr>
              <a:t>ild downstream delivery systems closer to smallholder farmers while providing support to local private sector to scale technologies and services which deliver better productivity and incomes; </a:t>
            </a:r>
            <a:r>
              <a:rPr lang="en-US" sz="1200" b="1" dirty="0">
                <a:solidFill>
                  <a:schemeClr val="tx1"/>
                </a:solidFill>
              </a:rPr>
              <a:t>and Partnerships: </a:t>
            </a:r>
            <a:r>
              <a:rPr lang="en-US" sz="1200" dirty="0">
                <a:solidFill>
                  <a:schemeClr val="tx1"/>
                </a:solidFill>
              </a:rPr>
              <a:t>investments to </a:t>
            </a:r>
            <a:r>
              <a:rPr lang="en-US" sz="1200" kern="1200" dirty="0">
                <a:solidFill>
                  <a:schemeClr val="tx1"/>
                </a:solidFill>
              </a:rPr>
              <a:t>facilitate the alignment between government priorities and private sector interests; improving integration and coordination which lead to investments beneficial to smallholder </a:t>
            </a:r>
            <a:r>
              <a:rPr lang="en-US" sz="1200" kern="1200" dirty="0" smtClean="0">
                <a:solidFill>
                  <a:schemeClr val="tx1"/>
                </a:solidFill>
              </a:rPr>
              <a:t>farmers.</a:t>
            </a:r>
            <a:endParaRPr lang="en-US" sz="1200" kern="1200" dirty="0">
              <a:solidFill>
                <a:schemeClr val="tx1"/>
              </a:solidFill>
            </a:endParaRPr>
          </a:p>
        </p:txBody>
      </p:sp>
      <p:sp>
        <p:nvSpPr>
          <p:cNvPr id="6" name="Text Placeholder 5"/>
          <p:cNvSpPr>
            <a:spLocks noGrp="1"/>
          </p:cNvSpPr>
          <p:nvPr>
            <p:ph type="body" idx="2"/>
          </p:nvPr>
        </p:nvSpPr>
        <p:spPr/>
        <p:txBody>
          <a:bodyPr/>
          <a:lstStyle/>
          <a:p>
            <a:r>
              <a:rPr lang="en-US" sz="900" dirty="0">
                <a:solidFill>
                  <a:schemeClr val="tx1"/>
                </a:solidFill>
              </a:rPr>
              <a:t>Sources: 1. </a:t>
            </a:r>
            <a:r>
              <a:rPr lang="en-US" sz="900" dirty="0"/>
              <a:t>FAO: Ethiopia at a glance: </a:t>
            </a:r>
            <a:r>
              <a:rPr lang="en-US" sz="900" b="1" u="sng" dirty="0">
                <a:hlinkClick r:id="rId7"/>
              </a:rPr>
              <a:t>http://www.fao.org/ethiopia/fao-in-ethiopia/ethiopia-at-a-glance/en/</a:t>
            </a:r>
            <a:r>
              <a:rPr lang="en-US" sz="900" dirty="0">
                <a:solidFill>
                  <a:schemeClr val="tx1"/>
                </a:solidFill>
              </a:rPr>
              <a:t> |  2. </a:t>
            </a:r>
            <a:r>
              <a:rPr lang="en-US" sz="900" dirty="0"/>
              <a:t>Previous Agra business plan 2016 and </a:t>
            </a:r>
            <a:r>
              <a:rPr lang="en-US" sz="900" dirty="0" smtClean="0"/>
              <a:t>2018</a:t>
            </a:r>
            <a:endParaRPr lang="en-US" sz="900" b="1" dirty="0"/>
          </a:p>
        </p:txBody>
      </p:sp>
    </p:spTree>
    <p:extLst>
      <p:ext uri="{BB962C8B-B14F-4D97-AF65-F5344CB8AC3E}">
        <p14:creationId xmlns:p14="http://schemas.microsoft.com/office/powerpoint/2010/main" val="1924705159"/>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541"/>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311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42" name="Google Shape;542;p62"/>
          <p:cNvPicPr preferRelativeResize="0"/>
          <p:nvPr/>
        </p:nvPicPr>
        <p:blipFill rotWithShape="1">
          <a:blip r:embed="rId7">
            <a:alphaModFix/>
          </a:blip>
          <a:srcRect/>
          <a:stretch/>
        </p:blipFill>
        <p:spPr>
          <a:xfrm>
            <a:off x="1588" y="1588"/>
            <a:ext cx="1588" cy="1588"/>
          </a:xfrm>
          <a:prstGeom prst="rect">
            <a:avLst/>
          </a:prstGeom>
          <a:noFill/>
          <a:ln>
            <a:noFill/>
          </a:ln>
        </p:spPr>
      </p:pic>
      <p:sp>
        <p:nvSpPr>
          <p:cNvPr id="543" name="Google Shape;543;p62"/>
          <p:cNvSpPr txBox="1">
            <a:spLocks noGrp="1"/>
          </p:cNvSpPr>
          <p:nvPr>
            <p:ph type="title"/>
          </p:nvPr>
        </p:nvSpPr>
        <p:spPr>
          <a:xfrm>
            <a:off x="577850" y="2514600"/>
            <a:ext cx="8915400" cy="1143000"/>
          </a:xfrm>
          <a:prstGeom prst="rect">
            <a:avLst/>
          </a:prstGeom>
          <a:noFill/>
          <a:ln>
            <a:noFill/>
          </a:ln>
        </p:spPr>
        <p:txBody>
          <a:bodyPr spcFirstLastPara="1" wrap="square" lIns="91425" tIns="45700" rIns="91425" bIns="45700" anchor="t" anchorCtr="0">
            <a:noAutofit/>
          </a:bodyPr>
          <a:lstStyle/>
          <a:p>
            <a:pPr marL="0" marR="0" lvl="0" indent="0" algn="ctr" rtl="0">
              <a:lnSpc>
                <a:spcPct val="90000"/>
              </a:lnSpc>
              <a:spcBef>
                <a:spcPts val="0"/>
              </a:spcBef>
              <a:spcAft>
                <a:spcPts val="0"/>
              </a:spcAft>
              <a:buClr>
                <a:srgbClr val="385623"/>
              </a:buClr>
              <a:buSzPts val="4400"/>
              <a:buFont typeface="Arial"/>
              <a:buNone/>
            </a:pPr>
            <a:r>
              <a:rPr lang="en-US" dirty="0" smtClean="0"/>
              <a:t>AGRA Institutional Results Framework and theory of change</a:t>
            </a:r>
            <a:endParaRPr dirty="0"/>
          </a:p>
        </p:txBody>
      </p:sp>
    </p:spTree>
    <p:extLst>
      <p:ext uri="{BB962C8B-B14F-4D97-AF65-F5344CB8AC3E}">
        <p14:creationId xmlns:p14="http://schemas.microsoft.com/office/powerpoint/2010/main" val="4100547339"/>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4133"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031" b="1" dirty="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304801" y="103413"/>
            <a:ext cx="7356332" cy="505120"/>
          </a:xfrm>
        </p:spPr>
        <p:txBody>
          <a:bodyPr/>
          <a:lstStyle/>
          <a:p>
            <a:r>
              <a:rPr lang="en-US" dirty="0" smtClean="0"/>
              <a:t>AGRA Strategy Results Framework </a:t>
            </a:r>
            <a:endParaRPr lang="en-US" dirty="0"/>
          </a:p>
        </p:txBody>
      </p:sp>
      <p:graphicFrame>
        <p:nvGraphicFramePr>
          <p:cNvPr id="5" name="Table 4"/>
          <p:cNvGraphicFramePr>
            <a:graphicFrameLocks noGrp="1"/>
          </p:cNvGraphicFramePr>
          <p:nvPr>
            <p:extLst/>
          </p:nvPr>
        </p:nvGraphicFramePr>
        <p:xfrm>
          <a:off x="2668832" y="1069649"/>
          <a:ext cx="4366846" cy="190500"/>
        </p:xfrm>
        <a:graphic>
          <a:graphicData uri="http://schemas.openxmlformats.org/drawingml/2006/table">
            <a:tbl>
              <a:tblPr firstRow="1" firstCol="1" bandRow="1"/>
              <a:tblGrid>
                <a:gridCol w="2271451">
                  <a:extLst>
                    <a:ext uri="{9D8B030D-6E8A-4147-A177-3AD203B41FA5}">
                      <a16:colId xmlns:a16="http://schemas.microsoft.com/office/drawing/2014/main" val="20000"/>
                    </a:ext>
                  </a:extLst>
                </a:gridCol>
                <a:gridCol w="2095395">
                  <a:extLst>
                    <a:ext uri="{9D8B030D-6E8A-4147-A177-3AD203B41FA5}">
                      <a16:colId xmlns:a16="http://schemas.microsoft.com/office/drawing/2014/main" val="20001"/>
                    </a:ext>
                  </a:extLst>
                </a:gridCol>
              </a:tblGrid>
              <a:tr h="190500">
                <a:tc>
                  <a:txBody>
                    <a:bodyPr/>
                    <a:lstStyle>
                      <a:lvl1pPr marL="0" algn="l" defTabSz="932863" rtl="0" eaLnBrk="1" latinLnBrk="0" hangingPunct="1">
                        <a:defRPr sz="1800" kern="1200">
                          <a:solidFill>
                            <a:schemeClr val="tx1"/>
                          </a:solidFill>
                          <a:latin typeface="Calibri"/>
                        </a:defRPr>
                      </a:lvl1pPr>
                      <a:lvl2pPr marL="466431" algn="l" defTabSz="932863" rtl="0" eaLnBrk="1" latinLnBrk="0" hangingPunct="1">
                        <a:defRPr sz="1800" kern="1200">
                          <a:solidFill>
                            <a:schemeClr val="tx1"/>
                          </a:solidFill>
                          <a:latin typeface="Calibri"/>
                        </a:defRPr>
                      </a:lvl2pPr>
                      <a:lvl3pPr marL="932863" algn="l" defTabSz="932863" rtl="0" eaLnBrk="1" latinLnBrk="0" hangingPunct="1">
                        <a:defRPr sz="1800" kern="1200">
                          <a:solidFill>
                            <a:schemeClr val="tx1"/>
                          </a:solidFill>
                          <a:latin typeface="Calibri"/>
                        </a:defRPr>
                      </a:lvl3pPr>
                      <a:lvl4pPr marL="1399295" algn="l" defTabSz="932863" rtl="0" eaLnBrk="1" latinLnBrk="0" hangingPunct="1">
                        <a:defRPr sz="1800" kern="1200">
                          <a:solidFill>
                            <a:schemeClr val="tx1"/>
                          </a:solidFill>
                          <a:latin typeface="Calibri"/>
                        </a:defRPr>
                      </a:lvl4pPr>
                      <a:lvl5pPr marL="1865728" algn="l" defTabSz="932863" rtl="0" eaLnBrk="1" latinLnBrk="0" hangingPunct="1">
                        <a:defRPr sz="1800" kern="1200">
                          <a:solidFill>
                            <a:schemeClr val="tx1"/>
                          </a:solidFill>
                          <a:latin typeface="Calibri"/>
                        </a:defRPr>
                      </a:lvl5pPr>
                      <a:lvl6pPr marL="2332159" algn="l" defTabSz="932863" rtl="0" eaLnBrk="1" latinLnBrk="0" hangingPunct="1">
                        <a:defRPr sz="1800" kern="1200">
                          <a:solidFill>
                            <a:schemeClr val="tx1"/>
                          </a:solidFill>
                          <a:latin typeface="Calibri"/>
                        </a:defRPr>
                      </a:lvl6pPr>
                      <a:lvl7pPr marL="2798590" algn="l" defTabSz="932863" rtl="0" eaLnBrk="1" latinLnBrk="0" hangingPunct="1">
                        <a:defRPr sz="1800" kern="1200">
                          <a:solidFill>
                            <a:schemeClr val="tx1"/>
                          </a:solidFill>
                          <a:latin typeface="Calibri"/>
                        </a:defRPr>
                      </a:lvl7pPr>
                      <a:lvl8pPr marL="3265022" algn="l" defTabSz="932863" rtl="0" eaLnBrk="1" latinLnBrk="0" hangingPunct="1">
                        <a:defRPr sz="1800" kern="1200">
                          <a:solidFill>
                            <a:schemeClr val="tx1"/>
                          </a:solidFill>
                          <a:latin typeface="Calibri"/>
                        </a:defRPr>
                      </a:lvl8pPr>
                      <a:lvl9pPr marL="3731453" algn="l" defTabSz="932863" rtl="0" eaLnBrk="1" latinLnBrk="0" hangingPunct="1">
                        <a:defRPr sz="1800" kern="1200">
                          <a:solidFill>
                            <a:schemeClr val="tx1"/>
                          </a:solidFill>
                          <a:latin typeface="Calibri"/>
                        </a:defRPr>
                      </a:lvl9pPr>
                    </a:lstStyle>
                    <a:p>
                      <a:pPr marL="0" marR="0">
                        <a:lnSpc>
                          <a:spcPct val="115000"/>
                        </a:lnSpc>
                        <a:spcBef>
                          <a:spcPts val="0"/>
                        </a:spcBef>
                        <a:spcAft>
                          <a:spcPts val="0"/>
                        </a:spcAft>
                      </a:pPr>
                      <a:r>
                        <a:rPr lang="en-US" sz="1000" b="1" dirty="0" smtClean="0">
                          <a:effectLst/>
                          <a:latin typeface="Calibri"/>
                          <a:ea typeface="Calibri"/>
                          <a:cs typeface="Times New Roman"/>
                        </a:rPr>
                        <a:t>CAADP Framework</a:t>
                      </a:r>
                      <a:endParaRPr lang="en-US" sz="1000" dirty="0">
                        <a:effectLst/>
                        <a:latin typeface="Calibri"/>
                        <a:ea typeface="Calibri"/>
                        <a:cs typeface="Times New Roman"/>
                      </a:endParaRPr>
                    </a:p>
                  </a:txBody>
                  <a:tcPr marL="63302" marR="63302" marT="0" marB="0">
                    <a:lnL w="19050" cap="flat" cmpd="sng" algn="ctr">
                      <a:solidFill>
                        <a:srgbClr val="A6A6A6"/>
                      </a:solidFill>
                      <a:prstDash val="dot"/>
                      <a:round/>
                      <a:headEnd type="none" w="med" len="med"/>
                      <a:tailEnd type="none" w="med" len="med"/>
                    </a:lnL>
                    <a:lnR>
                      <a:noFill/>
                    </a:lnR>
                    <a:lnT w="19050" cap="flat" cmpd="sng" algn="ctr">
                      <a:solidFill>
                        <a:srgbClr val="A6A6A6"/>
                      </a:solidFill>
                      <a:prstDash val="dot"/>
                      <a:round/>
                      <a:headEnd type="none" w="med" len="med"/>
                      <a:tailEnd type="none" w="med" len="med"/>
                    </a:lnT>
                    <a:lnB w="19050" cap="flat" cmpd="sng" algn="ctr">
                      <a:solidFill>
                        <a:srgbClr val="A6A6A6"/>
                      </a:solidFill>
                      <a:prstDash val="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32863" rtl="0" eaLnBrk="1" latinLnBrk="0" hangingPunct="1">
                        <a:defRPr sz="1800" kern="1200">
                          <a:solidFill>
                            <a:schemeClr val="tx1"/>
                          </a:solidFill>
                          <a:latin typeface="Calibri"/>
                        </a:defRPr>
                      </a:lvl1pPr>
                      <a:lvl2pPr marL="466431" algn="l" defTabSz="932863" rtl="0" eaLnBrk="1" latinLnBrk="0" hangingPunct="1">
                        <a:defRPr sz="1800" kern="1200">
                          <a:solidFill>
                            <a:schemeClr val="tx1"/>
                          </a:solidFill>
                          <a:latin typeface="Calibri"/>
                        </a:defRPr>
                      </a:lvl2pPr>
                      <a:lvl3pPr marL="932863" algn="l" defTabSz="932863" rtl="0" eaLnBrk="1" latinLnBrk="0" hangingPunct="1">
                        <a:defRPr sz="1800" kern="1200">
                          <a:solidFill>
                            <a:schemeClr val="tx1"/>
                          </a:solidFill>
                          <a:latin typeface="Calibri"/>
                        </a:defRPr>
                      </a:lvl3pPr>
                      <a:lvl4pPr marL="1399295" algn="l" defTabSz="932863" rtl="0" eaLnBrk="1" latinLnBrk="0" hangingPunct="1">
                        <a:defRPr sz="1800" kern="1200">
                          <a:solidFill>
                            <a:schemeClr val="tx1"/>
                          </a:solidFill>
                          <a:latin typeface="Calibri"/>
                        </a:defRPr>
                      </a:lvl4pPr>
                      <a:lvl5pPr marL="1865728" algn="l" defTabSz="932863" rtl="0" eaLnBrk="1" latinLnBrk="0" hangingPunct="1">
                        <a:defRPr sz="1800" kern="1200">
                          <a:solidFill>
                            <a:schemeClr val="tx1"/>
                          </a:solidFill>
                          <a:latin typeface="Calibri"/>
                        </a:defRPr>
                      </a:lvl5pPr>
                      <a:lvl6pPr marL="2332159" algn="l" defTabSz="932863" rtl="0" eaLnBrk="1" latinLnBrk="0" hangingPunct="1">
                        <a:defRPr sz="1800" kern="1200">
                          <a:solidFill>
                            <a:schemeClr val="tx1"/>
                          </a:solidFill>
                          <a:latin typeface="Calibri"/>
                        </a:defRPr>
                      </a:lvl6pPr>
                      <a:lvl7pPr marL="2798590" algn="l" defTabSz="932863" rtl="0" eaLnBrk="1" latinLnBrk="0" hangingPunct="1">
                        <a:defRPr sz="1800" kern="1200">
                          <a:solidFill>
                            <a:schemeClr val="tx1"/>
                          </a:solidFill>
                          <a:latin typeface="Calibri"/>
                        </a:defRPr>
                      </a:lvl7pPr>
                      <a:lvl8pPr marL="3265022" algn="l" defTabSz="932863" rtl="0" eaLnBrk="1" latinLnBrk="0" hangingPunct="1">
                        <a:defRPr sz="1800" kern="1200">
                          <a:solidFill>
                            <a:schemeClr val="tx1"/>
                          </a:solidFill>
                          <a:latin typeface="Calibri"/>
                        </a:defRPr>
                      </a:lvl8pPr>
                      <a:lvl9pPr marL="3731453" algn="l" defTabSz="932863" rtl="0" eaLnBrk="1" latinLnBrk="0" hangingPunct="1">
                        <a:defRPr sz="1800" kern="1200">
                          <a:solidFill>
                            <a:schemeClr val="tx1"/>
                          </a:solidFill>
                          <a:latin typeface="Calibri"/>
                        </a:defRPr>
                      </a:lvl9pPr>
                    </a:lstStyle>
                    <a:p>
                      <a:pPr marL="0" marR="0" algn="ctr">
                        <a:lnSpc>
                          <a:spcPct val="115000"/>
                        </a:lnSpc>
                        <a:spcBef>
                          <a:spcPts val="0"/>
                        </a:spcBef>
                        <a:spcAft>
                          <a:spcPts val="0"/>
                        </a:spcAft>
                      </a:pPr>
                      <a:r>
                        <a:rPr lang="en-US" sz="1000" b="1" dirty="0">
                          <a:effectLst/>
                          <a:latin typeface="Calibri"/>
                          <a:ea typeface="Calibri"/>
                          <a:cs typeface="Times New Roman"/>
                        </a:rPr>
                        <a:t>Sustainable Development </a:t>
                      </a:r>
                      <a:r>
                        <a:rPr lang="en-US" sz="1000" b="1" dirty="0" smtClean="0">
                          <a:effectLst/>
                          <a:latin typeface="Calibri"/>
                          <a:ea typeface="Calibri"/>
                          <a:cs typeface="Times New Roman"/>
                        </a:rPr>
                        <a:t>Goals</a:t>
                      </a:r>
                      <a:endParaRPr lang="en-US" sz="1000" dirty="0">
                        <a:effectLst/>
                        <a:latin typeface="Calibri"/>
                        <a:ea typeface="Calibri"/>
                        <a:cs typeface="Times New Roman"/>
                      </a:endParaRPr>
                    </a:p>
                  </a:txBody>
                  <a:tcPr marL="63302" marR="63302" marT="0" marB="0">
                    <a:lnL>
                      <a:noFill/>
                    </a:lnL>
                    <a:lnR w="19050" cap="flat" cmpd="sng" algn="ctr">
                      <a:solidFill>
                        <a:srgbClr val="A6A6A6"/>
                      </a:solidFill>
                      <a:prstDash val="dot"/>
                      <a:round/>
                      <a:headEnd type="none" w="med" len="med"/>
                      <a:tailEnd type="none" w="med" len="med"/>
                    </a:lnR>
                    <a:lnT w="19050" cap="flat" cmpd="sng" algn="ctr">
                      <a:solidFill>
                        <a:srgbClr val="A6A6A6"/>
                      </a:solidFill>
                      <a:prstDash val="dot"/>
                      <a:round/>
                      <a:headEnd type="none" w="med" len="med"/>
                      <a:tailEnd type="none" w="med" len="med"/>
                    </a:lnT>
                    <a:lnB w="19050" cap="flat" cmpd="sng" algn="ctr">
                      <a:solidFill>
                        <a:srgbClr val="A6A6A6"/>
                      </a:solidFill>
                      <a:prstDash val="dot"/>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bl>
          </a:graphicData>
        </a:graphic>
      </p:graphicFrame>
      <p:sp>
        <p:nvSpPr>
          <p:cNvPr id="6" name="Striped Right Arrow 5"/>
          <p:cNvSpPr/>
          <p:nvPr/>
        </p:nvSpPr>
        <p:spPr>
          <a:xfrm rot="16200000">
            <a:off x="4987992" y="-2094868"/>
            <a:ext cx="99647" cy="7835446"/>
          </a:xfrm>
          <a:prstGeom prst="stripedRightArrow">
            <a:avLst/>
          </a:prstGeom>
          <a:solidFill>
            <a:srgbClr val="BBBBBF">
              <a:lumMod val="75000"/>
            </a:srgbClr>
          </a:solidFill>
          <a:ln w="9525" cap="flat" cmpd="sng" algn="ctr">
            <a:noFill/>
            <a:prstDash val="soli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lstStyle/>
          <a:p>
            <a:pPr defTabSz="843984">
              <a:defRPr/>
            </a:pPr>
            <a:endParaRPr lang="en-US" sz="1662" kern="0">
              <a:solidFill>
                <a:prstClr val="black"/>
              </a:solidFill>
              <a:latin typeface="Calibri"/>
            </a:endParaRPr>
          </a:p>
        </p:txBody>
      </p:sp>
      <p:sp>
        <p:nvSpPr>
          <p:cNvPr id="7" name="Rectangle 6"/>
          <p:cNvSpPr/>
          <p:nvPr/>
        </p:nvSpPr>
        <p:spPr>
          <a:xfrm>
            <a:off x="1519970" y="1396431"/>
            <a:ext cx="6986954" cy="301869"/>
          </a:xfrm>
          <a:prstGeom prst="rect">
            <a:avLst/>
          </a:prstGeom>
          <a:solidFill>
            <a:srgbClr val="FFFFFF"/>
          </a:solidFill>
          <a:ln w="25400" cap="flat" cmpd="sng" algn="ctr">
            <a:solidFill>
              <a:srgbClr val="BBBBBF">
                <a:lumMod val="75000"/>
              </a:srgbClr>
            </a:solidFill>
            <a:prstDash val="solid"/>
          </a:ln>
          <a:effectLst/>
        </p:spPr>
        <p:txBody>
          <a:bodyPr anchor="ctr"/>
          <a:lstStyle/>
          <a:p>
            <a:pPr algn="ctr" defTabSz="843984">
              <a:lnSpc>
                <a:spcPct val="115000"/>
              </a:lnSpc>
              <a:defRPr/>
            </a:pPr>
            <a:r>
              <a:rPr lang="en-US" sz="923" b="1" kern="0" dirty="0">
                <a:solidFill>
                  <a:sysClr val="windowText" lastClr="000000"/>
                </a:solidFill>
                <a:latin typeface="Calibri"/>
                <a:ea typeface="Calibri"/>
                <a:cs typeface="Times New Roman"/>
              </a:rPr>
              <a:t>Goal: Catalyze and Sustain an Inclusive Agricultural Transformation in Africa to increase incomes and improve food security </a:t>
            </a:r>
            <a:endParaRPr lang="en-US" sz="1015" kern="0" dirty="0">
              <a:solidFill>
                <a:sysClr val="windowText" lastClr="000000"/>
              </a:solidFill>
              <a:latin typeface="Calibri"/>
              <a:ea typeface="Calibri"/>
              <a:cs typeface="Times New Roman"/>
            </a:endParaRPr>
          </a:p>
        </p:txBody>
      </p:sp>
      <p:sp>
        <p:nvSpPr>
          <p:cNvPr id="8" name="Rectangle 7"/>
          <p:cNvSpPr/>
          <p:nvPr/>
        </p:nvSpPr>
        <p:spPr>
          <a:xfrm>
            <a:off x="3074744" y="1800877"/>
            <a:ext cx="1843454" cy="1044894"/>
          </a:xfrm>
          <a:prstGeom prst="rect">
            <a:avLst/>
          </a:prstGeom>
          <a:solidFill>
            <a:srgbClr val="FFFFFF"/>
          </a:solidFill>
          <a:ln w="19050" cap="flat" cmpd="sng" algn="ctr">
            <a:solidFill>
              <a:srgbClr val="0C6A4B"/>
            </a:solidFill>
            <a:prstDash val="solid"/>
          </a:ln>
          <a:effectLst/>
        </p:spPr>
        <p:txBody>
          <a:bodyPr anchor="ctr"/>
          <a:lstStyle/>
          <a:p>
            <a:pPr algn="ctr" defTabSz="843984">
              <a:lnSpc>
                <a:spcPct val="115000"/>
              </a:lnSpc>
              <a:defRPr/>
            </a:pPr>
            <a:r>
              <a:rPr lang="en-US" sz="923" b="1" kern="0" dirty="0">
                <a:solidFill>
                  <a:sysClr val="windowText" lastClr="000000"/>
                </a:solidFill>
                <a:latin typeface="Calibri"/>
                <a:ea typeface="Calibri"/>
                <a:cs typeface="Times New Roman"/>
              </a:rPr>
              <a:t>Objective 2:</a:t>
            </a:r>
            <a:endParaRPr lang="en-US" sz="923" kern="0" dirty="0">
              <a:solidFill>
                <a:sysClr val="windowText" lastClr="000000"/>
              </a:solidFill>
              <a:latin typeface="Calibri"/>
              <a:ea typeface="Calibri"/>
              <a:cs typeface="Times New Roman"/>
            </a:endParaRPr>
          </a:p>
          <a:p>
            <a:pPr algn="ctr" defTabSz="843984">
              <a:lnSpc>
                <a:spcPct val="115000"/>
              </a:lnSpc>
              <a:defRPr/>
            </a:pPr>
            <a:r>
              <a:rPr lang="en-US" sz="923" b="1" kern="0" dirty="0">
                <a:solidFill>
                  <a:sysClr val="windowText" lastClr="000000"/>
                </a:solidFill>
                <a:latin typeface="Calibri"/>
                <a:ea typeface="Calibri"/>
                <a:cs typeface="Times New Roman"/>
              </a:rPr>
              <a:t>Strengthened and expanded access to output markets</a:t>
            </a:r>
            <a:endParaRPr lang="en-US" sz="923" kern="0" dirty="0">
              <a:solidFill>
                <a:sysClr val="windowText" lastClr="000000"/>
              </a:solidFill>
              <a:latin typeface="Calibri"/>
              <a:ea typeface="Calibri"/>
              <a:cs typeface="Times New Roman"/>
            </a:endParaRPr>
          </a:p>
        </p:txBody>
      </p:sp>
      <p:sp>
        <p:nvSpPr>
          <p:cNvPr id="9" name="Rectangle 8"/>
          <p:cNvSpPr/>
          <p:nvPr/>
        </p:nvSpPr>
        <p:spPr>
          <a:xfrm>
            <a:off x="5020775" y="1800877"/>
            <a:ext cx="1992923" cy="1044894"/>
          </a:xfrm>
          <a:prstGeom prst="rect">
            <a:avLst/>
          </a:prstGeom>
          <a:solidFill>
            <a:srgbClr val="FFFFFF"/>
          </a:solidFill>
          <a:ln w="19050" cap="flat" cmpd="sng" algn="ctr">
            <a:solidFill>
              <a:srgbClr val="00B0F0"/>
            </a:solidFill>
            <a:prstDash val="solid"/>
          </a:ln>
          <a:effectLst/>
        </p:spPr>
        <p:txBody>
          <a:bodyPr anchor="ctr"/>
          <a:lstStyle/>
          <a:p>
            <a:pPr algn="ctr" defTabSz="843984">
              <a:lnSpc>
                <a:spcPct val="115000"/>
              </a:lnSpc>
              <a:defRPr/>
            </a:pPr>
            <a:r>
              <a:rPr lang="en-US" sz="923" b="1" kern="0" dirty="0">
                <a:solidFill>
                  <a:sysClr val="windowText" lastClr="000000"/>
                </a:solidFill>
                <a:latin typeface="Calibri"/>
                <a:ea typeface="Calibri"/>
                <a:cs typeface="Times New Roman"/>
              </a:rPr>
              <a:t>Objective 3:</a:t>
            </a:r>
            <a:endParaRPr lang="en-US" sz="923" kern="0" dirty="0">
              <a:solidFill>
                <a:sysClr val="windowText" lastClr="000000"/>
              </a:solidFill>
              <a:latin typeface="Calibri"/>
              <a:ea typeface="Calibri"/>
              <a:cs typeface="Times New Roman"/>
            </a:endParaRPr>
          </a:p>
          <a:p>
            <a:pPr algn="ctr" defTabSz="843984">
              <a:lnSpc>
                <a:spcPct val="115000"/>
              </a:lnSpc>
              <a:defRPr/>
            </a:pPr>
            <a:r>
              <a:rPr lang="en-US" sz="923" b="1" kern="0" dirty="0">
                <a:solidFill>
                  <a:sysClr val="windowText" lastClr="000000"/>
                </a:solidFill>
                <a:latin typeface="Calibri"/>
                <a:ea typeface="Calibri"/>
                <a:cs typeface="Times New Roman"/>
              </a:rPr>
              <a:t>Increased capacity of small holder farming households and agricultural systems to better prepare for and adapt to shocks and stresses</a:t>
            </a:r>
            <a:endParaRPr lang="en-US" sz="923" kern="0" dirty="0">
              <a:solidFill>
                <a:sysClr val="windowText" lastClr="000000"/>
              </a:solidFill>
              <a:latin typeface="Calibri"/>
              <a:ea typeface="Calibri"/>
              <a:cs typeface="Times New Roman"/>
            </a:endParaRPr>
          </a:p>
        </p:txBody>
      </p:sp>
      <p:sp>
        <p:nvSpPr>
          <p:cNvPr id="10" name="Rectangle 9"/>
          <p:cNvSpPr/>
          <p:nvPr/>
        </p:nvSpPr>
        <p:spPr>
          <a:xfrm>
            <a:off x="7122136" y="1800877"/>
            <a:ext cx="1790700" cy="1044894"/>
          </a:xfrm>
          <a:prstGeom prst="rect">
            <a:avLst/>
          </a:prstGeom>
          <a:solidFill>
            <a:srgbClr val="FFFFFF"/>
          </a:solidFill>
          <a:ln w="19050" cap="flat" cmpd="sng" algn="ctr">
            <a:solidFill>
              <a:srgbClr val="88B6A7"/>
            </a:solidFill>
            <a:prstDash val="solid"/>
          </a:ln>
          <a:effectLst/>
        </p:spPr>
        <p:txBody>
          <a:bodyPr anchor="ctr"/>
          <a:lstStyle/>
          <a:p>
            <a:pPr algn="ctr" defTabSz="843984">
              <a:lnSpc>
                <a:spcPct val="115000"/>
              </a:lnSpc>
              <a:defRPr/>
            </a:pPr>
            <a:r>
              <a:rPr lang="en-US" sz="923" b="1" kern="0" dirty="0">
                <a:solidFill>
                  <a:sysClr val="windowText" lastClr="000000"/>
                </a:solidFill>
                <a:latin typeface="Calibri"/>
                <a:ea typeface="Calibri"/>
                <a:cs typeface="Times New Roman"/>
              </a:rPr>
              <a:t>Objective 4:</a:t>
            </a:r>
            <a:endParaRPr lang="en-US" sz="923" kern="0" dirty="0">
              <a:solidFill>
                <a:sysClr val="windowText" lastClr="000000"/>
              </a:solidFill>
              <a:latin typeface="Calibri"/>
              <a:ea typeface="Calibri"/>
              <a:cs typeface="Times New Roman"/>
            </a:endParaRPr>
          </a:p>
          <a:p>
            <a:pPr algn="ctr" defTabSz="843984">
              <a:lnSpc>
                <a:spcPct val="115000"/>
              </a:lnSpc>
              <a:defRPr/>
            </a:pPr>
            <a:r>
              <a:rPr lang="en-US" sz="923" b="1" kern="0" dirty="0">
                <a:solidFill>
                  <a:sysClr val="windowText" lastClr="000000"/>
                </a:solidFill>
                <a:latin typeface="Calibri"/>
                <a:ea typeface="Calibri"/>
                <a:cs typeface="Times New Roman"/>
              </a:rPr>
              <a:t>Strengthened continental, regional and government multi-sectoral coordination, and mutual accountability in the agricultural sector</a:t>
            </a:r>
            <a:endParaRPr lang="en-US" sz="923" kern="0" dirty="0">
              <a:solidFill>
                <a:sysClr val="windowText" lastClr="000000"/>
              </a:solidFill>
              <a:latin typeface="Calibri"/>
              <a:ea typeface="Calibri"/>
              <a:cs typeface="Times New Roman"/>
            </a:endParaRPr>
          </a:p>
        </p:txBody>
      </p:sp>
      <p:sp>
        <p:nvSpPr>
          <p:cNvPr id="11" name="Rectangle 10"/>
          <p:cNvSpPr/>
          <p:nvPr/>
        </p:nvSpPr>
        <p:spPr>
          <a:xfrm>
            <a:off x="1210775" y="1801643"/>
            <a:ext cx="1735015" cy="1042662"/>
          </a:xfrm>
          <a:prstGeom prst="rect">
            <a:avLst/>
          </a:prstGeom>
          <a:solidFill>
            <a:srgbClr val="FFFFFF"/>
          </a:solidFill>
          <a:ln w="19050" cap="flat" cmpd="sng" algn="ctr">
            <a:solidFill>
              <a:srgbClr val="3A669C"/>
            </a:solidFill>
            <a:prstDash val="solid"/>
          </a:ln>
          <a:effectLst/>
        </p:spPr>
        <p:txBody>
          <a:bodyPr anchor="ctr"/>
          <a:lstStyle/>
          <a:p>
            <a:pPr algn="ctr" defTabSz="843984">
              <a:lnSpc>
                <a:spcPct val="115000"/>
              </a:lnSpc>
              <a:defRPr/>
            </a:pPr>
            <a:r>
              <a:rPr lang="en-US" sz="923" b="1" kern="0" dirty="0">
                <a:solidFill>
                  <a:sysClr val="windowText" lastClr="000000"/>
                </a:solidFill>
                <a:latin typeface="Calibri"/>
                <a:ea typeface="Calibri"/>
                <a:cs typeface="Times New Roman"/>
              </a:rPr>
              <a:t>Objective 1: </a:t>
            </a:r>
            <a:endParaRPr lang="en-US" sz="923" kern="0" dirty="0">
              <a:solidFill>
                <a:sysClr val="windowText" lastClr="000000"/>
              </a:solidFill>
              <a:latin typeface="Calibri"/>
              <a:ea typeface="Calibri"/>
              <a:cs typeface="Times New Roman"/>
            </a:endParaRPr>
          </a:p>
          <a:p>
            <a:pPr algn="ctr" defTabSz="843984">
              <a:lnSpc>
                <a:spcPct val="115000"/>
              </a:lnSpc>
              <a:defRPr/>
            </a:pPr>
            <a:r>
              <a:rPr lang="en-US" sz="923" b="1" kern="0" dirty="0">
                <a:solidFill>
                  <a:sysClr val="windowText" lastClr="000000"/>
                </a:solidFill>
                <a:latin typeface="Calibri"/>
                <a:ea typeface="Calibri"/>
                <a:cs typeface="Times New Roman"/>
              </a:rPr>
              <a:t>Increased staple crop productivity for smallholder farmers</a:t>
            </a:r>
            <a:endParaRPr lang="en-US" sz="923" kern="0" dirty="0">
              <a:solidFill>
                <a:sysClr val="windowText" lastClr="000000"/>
              </a:solidFill>
              <a:latin typeface="Calibri"/>
              <a:ea typeface="Calibri"/>
              <a:cs typeface="Times New Roman"/>
            </a:endParaRPr>
          </a:p>
        </p:txBody>
      </p:sp>
      <p:sp>
        <p:nvSpPr>
          <p:cNvPr id="12" name="Rectangle 11"/>
          <p:cNvSpPr/>
          <p:nvPr/>
        </p:nvSpPr>
        <p:spPr>
          <a:xfrm>
            <a:off x="2078281" y="3091955"/>
            <a:ext cx="785446" cy="1885717"/>
          </a:xfrm>
          <a:prstGeom prst="rect">
            <a:avLst/>
          </a:prstGeom>
          <a:solidFill>
            <a:srgbClr val="FFFFFF"/>
          </a:solidFill>
          <a:ln w="19050" cap="flat" cmpd="sng" algn="ctr">
            <a:solidFill>
              <a:srgbClr val="3A669C"/>
            </a:solidFill>
            <a:prstDash val="solid"/>
          </a:ln>
          <a:effectLst/>
        </p:spPr>
        <p:txBody>
          <a:bodyPr anchor="ctr"/>
          <a:lstStyle/>
          <a:p>
            <a:pPr algn="ctr" defTabSz="843984">
              <a:lnSpc>
                <a:spcPct val="115000"/>
              </a:lnSpc>
              <a:defRPr/>
            </a:pPr>
            <a:r>
              <a:rPr lang="en-US" sz="923" b="1" kern="0" dirty="0">
                <a:solidFill>
                  <a:sysClr val="windowText" lastClr="000000"/>
                </a:solidFill>
                <a:latin typeface="Calibri"/>
                <a:ea typeface="Calibri"/>
                <a:cs typeface="Times New Roman"/>
              </a:rPr>
              <a:t>Outcome 2: Increased adoption of Agriculture productivity enhancing technologies</a:t>
            </a:r>
            <a:endParaRPr lang="en-US" sz="923" kern="0" dirty="0">
              <a:solidFill>
                <a:sysClr val="windowText" lastClr="000000"/>
              </a:solidFill>
              <a:latin typeface="Calibri"/>
              <a:ea typeface="Calibri"/>
              <a:cs typeface="Times New Roman"/>
            </a:endParaRPr>
          </a:p>
        </p:txBody>
      </p:sp>
      <p:sp>
        <p:nvSpPr>
          <p:cNvPr id="13" name="Rectangle 12"/>
          <p:cNvSpPr/>
          <p:nvPr/>
        </p:nvSpPr>
        <p:spPr>
          <a:xfrm>
            <a:off x="8159629" y="3084630"/>
            <a:ext cx="823546" cy="1931047"/>
          </a:xfrm>
          <a:prstGeom prst="rect">
            <a:avLst/>
          </a:prstGeom>
          <a:solidFill>
            <a:srgbClr val="FFFFFF"/>
          </a:solidFill>
          <a:ln w="19050" cap="flat" cmpd="sng" algn="ctr">
            <a:solidFill>
              <a:srgbClr val="88B6A7"/>
            </a:solidFill>
            <a:prstDash val="solid"/>
          </a:ln>
          <a:effectLst/>
        </p:spPr>
        <p:txBody>
          <a:bodyPr anchor="ctr"/>
          <a:lstStyle/>
          <a:p>
            <a:pPr algn="ctr" defTabSz="843984">
              <a:lnSpc>
                <a:spcPct val="115000"/>
              </a:lnSpc>
              <a:defRPr/>
            </a:pPr>
            <a:r>
              <a:rPr lang="en-US" sz="923" b="1" kern="0" dirty="0">
                <a:solidFill>
                  <a:prstClr val="black"/>
                </a:solidFill>
                <a:latin typeface="Calibri"/>
                <a:ea typeface="Calibri"/>
                <a:cs typeface="Times New Roman"/>
              </a:rPr>
              <a:t>Outcome 8: Strengthened national and regional level agriculture sector system functioning</a:t>
            </a:r>
            <a:endParaRPr lang="en-US" sz="923" kern="0" dirty="0">
              <a:solidFill>
                <a:prstClr val="black"/>
              </a:solidFill>
              <a:latin typeface="Calibri"/>
              <a:ea typeface="Calibri"/>
              <a:cs typeface="Times New Roman"/>
            </a:endParaRPr>
          </a:p>
        </p:txBody>
      </p:sp>
      <p:sp>
        <p:nvSpPr>
          <p:cNvPr id="14" name="Rectangle 18"/>
          <p:cNvSpPr>
            <a:spLocks noChangeArrowheads="1"/>
          </p:cNvSpPr>
          <p:nvPr/>
        </p:nvSpPr>
        <p:spPr bwMode="auto">
          <a:xfrm>
            <a:off x="6017235" y="3100747"/>
            <a:ext cx="996462" cy="1885717"/>
          </a:xfrm>
          <a:prstGeom prst="rect">
            <a:avLst/>
          </a:prstGeom>
          <a:solidFill>
            <a:srgbClr val="FFFFFF"/>
          </a:solidFill>
          <a:ln w="12700" algn="ctr">
            <a:solidFill>
              <a:srgbClr val="FFC000"/>
            </a:solidFill>
            <a:prstDash val="sysDot"/>
            <a:miter lim="800000"/>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defTabSz="843984">
              <a:lnSpc>
                <a:spcPct val="115000"/>
              </a:lnSpc>
              <a:spcBef>
                <a:spcPct val="0"/>
              </a:spcBef>
              <a:buNone/>
              <a:defRPr/>
            </a:pPr>
            <a:r>
              <a:rPr lang="en-US" altLang="en-US" sz="923" b="1" kern="0">
                <a:solidFill>
                  <a:srgbClr val="000000"/>
                </a:solidFill>
                <a:ea typeface="Calibri" panose="020F0502020204030204" pitchFamily="34" charset="0"/>
                <a:cs typeface="Times New Roman" panose="02020603050405020304" pitchFamily="18" charset="0"/>
              </a:rPr>
              <a:t>Outcome 6: Strengthened and expanded business development, financial and risk management services in agriculture value chain</a:t>
            </a:r>
            <a:endParaRPr lang="en-US" altLang="en-US" sz="923" kern="0">
              <a:solidFill>
                <a:srgbClr val="000000"/>
              </a:solidFill>
              <a:ea typeface="Calibri" panose="020F0502020204030204" pitchFamily="34" charset="0"/>
              <a:cs typeface="Times New Roman" panose="02020603050405020304" pitchFamily="18" charset="0"/>
            </a:endParaRPr>
          </a:p>
        </p:txBody>
      </p:sp>
      <p:sp>
        <p:nvSpPr>
          <p:cNvPr id="15" name="Rectangle 14"/>
          <p:cNvSpPr/>
          <p:nvPr/>
        </p:nvSpPr>
        <p:spPr>
          <a:xfrm>
            <a:off x="4918198" y="3100747"/>
            <a:ext cx="1005254" cy="1885717"/>
          </a:xfrm>
          <a:prstGeom prst="rect">
            <a:avLst/>
          </a:prstGeom>
          <a:solidFill>
            <a:srgbClr val="FFFFFF"/>
          </a:solidFill>
          <a:ln w="19050" cap="flat" cmpd="sng" algn="ctr">
            <a:solidFill>
              <a:srgbClr val="0C6A4B"/>
            </a:solidFill>
            <a:prstDash val="solid"/>
          </a:ln>
          <a:effectLst/>
        </p:spPr>
        <p:txBody>
          <a:bodyPr anchor="ctr"/>
          <a:lstStyle/>
          <a:p>
            <a:pPr algn="ctr" defTabSz="843984">
              <a:lnSpc>
                <a:spcPct val="115000"/>
              </a:lnSpc>
              <a:defRPr/>
            </a:pPr>
            <a:r>
              <a:rPr lang="en-US" sz="923" b="1" kern="0" dirty="0">
                <a:solidFill>
                  <a:prstClr val="black"/>
                </a:solidFill>
                <a:latin typeface="Calibri"/>
                <a:ea typeface="Calibri"/>
                <a:cs typeface="Times New Roman"/>
              </a:rPr>
              <a:t>Outcome 5: </a:t>
            </a:r>
          </a:p>
          <a:p>
            <a:pPr algn="ctr" defTabSz="843984">
              <a:lnSpc>
                <a:spcPct val="115000"/>
              </a:lnSpc>
              <a:defRPr/>
            </a:pPr>
            <a:r>
              <a:rPr lang="en-US" sz="923" b="1" kern="0" dirty="0">
                <a:solidFill>
                  <a:prstClr val="black"/>
                </a:solidFill>
                <a:latin typeface="Calibri"/>
                <a:ea typeface="Calibri"/>
                <a:cs typeface="Times New Roman"/>
              </a:rPr>
              <a:t>Increased use of structured markets</a:t>
            </a:r>
            <a:endParaRPr lang="en-US" sz="923" kern="0" dirty="0">
              <a:solidFill>
                <a:prstClr val="black"/>
              </a:solidFill>
              <a:latin typeface="Calibri"/>
              <a:ea typeface="Calibri"/>
              <a:cs typeface="Times New Roman"/>
            </a:endParaRPr>
          </a:p>
        </p:txBody>
      </p:sp>
      <p:sp>
        <p:nvSpPr>
          <p:cNvPr id="16" name="Rectangle 24"/>
          <p:cNvSpPr>
            <a:spLocks noChangeArrowheads="1"/>
          </p:cNvSpPr>
          <p:nvPr/>
        </p:nvSpPr>
        <p:spPr bwMode="auto">
          <a:xfrm>
            <a:off x="2945789" y="3100748"/>
            <a:ext cx="867508" cy="1852474"/>
          </a:xfrm>
          <a:prstGeom prst="rect">
            <a:avLst/>
          </a:prstGeom>
          <a:solidFill>
            <a:srgbClr val="FFFFFF"/>
          </a:solidFill>
          <a:ln w="12700" algn="ctr">
            <a:solidFill>
              <a:srgbClr val="FFC000"/>
            </a:solidFill>
            <a:prstDash val="sysDot"/>
            <a:miter lim="800000"/>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defTabSz="843984">
              <a:lnSpc>
                <a:spcPct val="115000"/>
              </a:lnSpc>
              <a:spcBef>
                <a:spcPct val="0"/>
              </a:spcBef>
              <a:buNone/>
              <a:defRPr/>
            </a:pPr>
            <a:r>
              <a:rPr lang="en-US" altLang="en-US" sz="923" b="1" kern="0">
                <a:solidFill>
                  <a:srgbClr val="000000"/>
                </a:solidFill>
                <a:ea typeface="Calibri" panose="020F0502020204030204" pitchFamily="34" charset="0"/>
                <a:cs typeface="Times New Roman" panose="02020603050405020304" pitchFamily="18" charset="0"/>
              </a:rPr>
              <a:t>Outcome 3: Reduced post-harvest losses</a:t>
            </a:r>
            <a:endParaRPr lang="en-US" altLang="en-US" sz="923" kern="0">
              <a:solidFill>
                <a:srgbClr val="000000"/>
              </a:solidFill>
              <a:ea typeface="Calibri" panose="020F0502020204030204" pitchFamily="34" charset="0"/>
              <a:cs typeface="Times New Roman" panose="02020603050405020304" pitchFamily="18" charset="0"/>
            </a:endParaRPr>
          </a:p>
        </p:txBody>
      </p:sp>
      <p:sp>
        <p:nvSpPr>
          <p:cNvPr id="17" name="Rectangle 16"/>
          <p:cNvSpPr/>
          <p:nvPr/>
        </p:nvSpPr>
        <p:spPr>
          <a:xfrm>
            <a:off x="1125782" y="3091957"/>
            <a:ext cx="851389" cy="1867585"/>
          </a:xfrm>
          <a:prstGeom prst="rect">
            <a:avLst/>
          </a:prstGeom>
          <a:solidFill>
            <a:srgbClr val="FFFFFF"/>
          </a:solidFill>
          <a:ln w="19050" cap="flat" cmpd="sng" algn="ctr">
            <a:solidFill>
              <a:srgbClr val="3A669C"/>
            </a:solidFill>
            <a:prstDash val="solid"/>
          </a:ln>
          <a:effectLst/>
        </p:spPr>
        <p:txBody>
          <a:bodyPr anchor="ctr"/>
          <a:lstStyle/>
          <a:p>
            <a:pPr algn="ctr" defTabSz="843984">
              <a:lnSpc>
                <a:spcPct val="115000"/>
              </a:lnSpc>
              <a:defRPr/>
            </a:pPr>
            <a:r>
              <a:rPr lang="en-US" sz="923" b="1" kern="0" dirty="0">
                <a:solidFill>
                  <a:prstClr val="black"/>
                </a:solidFill>
                <a:latin typeface="Calibri"/>
                <a:ea typeface="Calibri"/>
                <a:cs typeface="Times New Roman"/>
              </a:rPr>
              <a:t>Outcome 1: Strengthened agricultural input systems, technology development and supply chain</a:t>
            </a:r>
            <a:endParaRPr lang="en-US" sz="923" kern="0" dirty="0">
              <a:solidFill>
                <a:prstClr val="black"/>
              </a:solidFill>
              <a:latin typeface="Calibri"/>
              <a:ea typeface="Calibri"/>
              <a:cs typeface="Times New Roman"/>
            </a:endParaRPr>
          </a:p>
        </p:txBody>
      </p:sp>
      <p:sp>
        <p:nvSpPr>
          <p:cNvPr id="18" name="Rectangle 28"/>
          <p:cNvSpPr>
            <a:spLocks noChangeArrowheads="1"/>
          </p:cNvSpPr>
          <p:nvPr/>
        </p:nvSpPr>
        <p:spPr bwMode="auto">
          <a:xfrm>
            <a:off x="3907081" y="3091955"/>
            <a:ext cx="945174" cy="1885717"/>
          </a:xfrm>
          <a:prstGeom prst="rect">
            <a:avLst/>
          </a:prstGeom>
          <a:solidFill>
            <a:srgbClr val="FFFFFF"/>
          </a:solidFill>
          <a:ln w="12700" algn="ctr">
            <a:solidFill>
              <a:srgbClr val="FFC000"/>
            </a:solidFill>
            <a:prstDash val="sysDot"/>
            <a:miter lim="800000"/>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defTabSz="843984">
              <a:lnSpc>
                <a:spcPct val="115000"/>
              </a:lnSpc>
              <a:spcBef>
                <a:spcPct val="0"/>
              </a:spcBef>
              <a:buNone/>
              <a:defRPr/>
            </a:pPr>
            <a:r>
              <a:rPr lang="en-US" altLang="en-US" sz="923" b="1" kern="0" dirty="0">
                <a:solidFill>
                  <a:srgbClr val="000000"/>
                </a:solidFill>
                <a:ea typeface="Calibri" panose="020F0502020204030204" pitchFamily="34" charset="0"/>
                <a:cs typeface="Times New Roman" panose="02020603050405020304" pitchFamily="18" charset="0"/>
              </a:rPr>
              <a:t>Outcome 4: </a:t>
            </a:r>
          </a:p>
          <a:p>
            <a:pPr algn="ctr" defTabSz="843984">
              <a:lnSpc>
                <a:spcPct val="115000"/>
              </a:lnSpc>
              <a:spcBef>
                <a:spcPct val="0"/>
              </a:spcBef>
              <a:buNone/>
              <a:defRPr/>
            </a:pPr>
            <a:r>
              <a:rPr lang="en-US" altLang="en-US" sz="923" b="1" kern="0" dirty="0">
                <a:solidFill>
                  <a:srgbClr val="000000"/>
                </a:solidFill>
                <a:ea typeface="Calibri" panose="020F0502020204030204" pitchFamily="34" charset="0"/>
                <a:cs typeface="Times New Roman" panose="02020603050405020304" pitchFamily="18" charset="0"/>
              </a:rPr>
              <a:t>Increased agricultural employment and entrepreneurship</a:t>
            </a:r>
            <a:endParaRPr lang="en-US" altLang="en-US" sz="923" kern="0" dirty="0">
              <a:solidFill>
                <a:srgbClr val="000000"/>
              </a:solidFill>
              <a:ea typeface="Calibri" panose="020F0502020204030204" pitchFamily="34" charset="0"/>
              <a:cs typeface="Times New Roman" panose="02020603050405020304" pitchFamily="18" charset="0"/>
            </a:endParaRPr>
          </a:p>
        </p:txBody>
      </p:sp>
      <p:sp>
        <p:nvSpPr>
          <p:cNvPr id="19" name="Rectangle 18"/>
          <p:cNvSpPr/>
          <p:nvPr/>
        </p:nvSpPr>
        <p:spPr>
          <a:xfrm>
            <a:off x="1119920" y="5068869"/>
            <a:ext cx="1547446" cy="1172504"/>
          </a:xfrm>
          <a:prstGeom prst="rect">
            <a:avLst/>
          </a:prstGeom>
          <a:solidFill>
            <a:srgbClr val="FFFFFF"/>
          </a:solidFill>
          <a:ln w="12700" cap="flat" cmpd="sng" algn="ctr">
            <a:solidFill>
              <a:sysClr val="window" lastClr="FFFFFF">
                <a:lumMod val="75000"/>
              </a:sysClr>
            </a:solidFill>
            <a:prstDash val="solid"/>
          </a:ln>
          <a:effectLst/>
        </p:spPr>
        <p:txBody>
          <a:bodyPr anchor="ctr"/>
          <a:lstStyle/>
          <a:p>
            <a:pPr algn="ctr" defTabSz="843984">
              <a:lnSpc>
                <a:spcPct val="115000"/>
              </a:lnSpc>
              <a:defRPr/>
            </a:pPr>
            <a:r>
              <a:rPr lang="en-US" sz="1108" b="1" kern="0" dirty="0">
                <a:solidFill>
                  <a:sysClr val="windowText" lastClr="000000"/>
                </a:solidFill>
                <a:latin typeface="Calibri"/>
                <a:ea typeface="Calibri"/>
                <a:cs typeface="Times New Roman"/>
              </a:rPr>
              <a:t>9. Strengthened regional and national agricultural enabling policy environment</a:t>
            </a:r>
            <a:endParaRPr lang="en-US" sz="1108" kern="0" dirty="0">
              <a:solidFill>
                <a:sysClr val="windowText" lastClr="000000"/>
              </a:solidFill>
              <a:latin typeface="Calibri"/>
              <a:ea typeface="Calibri"/>
              <a:cs typeface="Times New Roman"/>
            </a:endParaRPr>
          </a:p>
        </p:txBody>
      </p:sp>
      <p:sp>
        <p:nvSpPr>
          <p:cNvPr id="20" name="Rectangle 19"/>
          <p:cNvSpPr/>
          <p:nvPr/>
        </p:nvSpPr>
        <p:spPr>
          <a:xfrm>
            <a:off x="2667366" y="5068869"/>
            <a:ext cx="1547446" cy="1172504"/>
          </a:xfrm>
          <a:prstGeom prst="rect">
            <a:avLst/>
          </a:prstGeom>
          <a:solidFill>
            <a:srgbClr val="FFFFFF"/>
          </a:solidFill>
          <a:ln w="12700" cap="flat" cmpd="sng" algn="ctr">
            <a:solidFill>
              <a:sysClr val="window" lastClr="FFFFFF">
                <a:lumMod val="75000"/>
              </a:sysClr>
            </a:solidFill>
            <a:prstDash val="solid"/>
          </a:ln>
          <a:effectLst/>
        </p:spPr>
        <p:txBody>
          <a:bodyPr anchor="ctr"/>
          <a:lstStyle/>
          <a:p>
            <a:pPr algn="ctr" defTabSz="843984">
              <a:lnSpc>
                <a:spcPct val="115000"/>
              </a:lnSpc>
              <a:defRPr/>
            </a:pPr>
            <a:r>
              <a:rPr lang="en-US" sz="1108" b="1" kern="0" dirty="0">
                <a:solidFill>
                  <a:sysClr val="windowText" lastClr="000000"/>
                </a:solidFill>
                <a:latin typeface="Calibri"/>
                <a:ea typeface="Calibri"/>
                <a:cs typeface="Times New Roman"/>
              </a:rPr>
              <a:t>10. Increased women empowerment and livelihoods in agriculture</a:t>
            </a:r>
            <a:endParaRPr lang="en-US" sz="1108" kern="0" dirty="0">
              <a:solidFill>
                <a:sysClr val="windowText" lastClr="000000"/>
              </a:solidFill>
              <a:latin typeface="Calibri"/>
              <a:ea typeface="Calibri"/>
              <a:cs typeface="Times New Roman"/>
            </a:endParaRPr>
          </a:p>
        </p:txBody>
      </p:sp>
      <p:sp>
        <p:nvSpPr>
          <p:cNvPr id="21" name="Rectangle 20"/>
          <p:cNvSpPr/>
          <p:nvPr/>
        </p:nvSpPr>
        <p:spPr>
          <a:xfrm>
            <a:off x="4214815" y="5068869"/>
            <a:ext cx="1545981" cy="1172504"/>
          </a:xfrm>
          <a:prstGeom prst="rect">
            <a:avLst/>
          </a:prstGeom>
          <a:solidFill>
            <a:srgbClr val="FFFFFF"/>
          </a:solidFill>
          <a:ln w="12700" cap="flat" cmpd="sng" algn="ctr">
            <a:solidFill>
              <a:sysClr val="window" lastClr="FFFFFF">
                <a:lumMod val="75000"/>
              </a:sysClr>
            </a:solidFill>
            <a:prstDash val="solid"/>
          </a:ln>
          <a:effectLst/>
        </p:spPr>
        <p:txBody>
          <a:bodyPr anchor="ctr"/>
          <a:lstStyle/>
          <a:p>
            <a:pPr algn="ctr" defTabSz="843984">
              <a:lnSpc>
                <a:spcPct val="115000"/>
              </a:lnSpc>
              <a:defRPr/>
            </a:pPr>
            <a:r>
              <a:rPr lang="en-US" sz="1108" b="1" kern="0" dirty="0">
                <a:solidFill>
                  <a:sysClr val="windowText" lastClr="000000"/>
                </a:solidFill>
                <a:latin typeface="Calibri"/>
                <a:ea typeface="Calibri"/>
                <a:cs typeface="Times New Roman"/>
              </a:rPr>
              <a:t>11. Increased youth empowerment and livelihoods in agriculture</a:t>
            </a:r>
            <a:endParaRPr lang="en-US" sz="1108" kern="0" dirty="0">
              <a:solidFill>
                <a:sysClr val="windowText" lastClr="000000"/>
              </a:solidFill>
              <a:latin typeface="Calibri"/>
              <a:ea typeface="Calibri"/>
              <a:cs typeface="Times New Roman"/>
            </a:endParaRPr>
          </a:p>
        </p:txBody>
      </p:sp>
      <p:sp>
        <p:nvSpPr>
          <p:cNvPr id="22" name="Rectangle 21"/>
          <p:cNvSpPr/>
          <p:nvPr/>
        </p:nvSpPr>
        <p:spPr>
          <a:xfrm>
            <a:off x="5760793" y="5068869"/>
            <a:ext cx="1575288" cy="1172504"/>
          </a:xfrm>
          <a:prstGeom prst="rect">
            <a:avLst/>
          </a:prstGeom>
          <a:solidFill>
            <a:srgbClr val="FFFFFF"/>
          </a:solidFill>
          <a:ln w="12700" cap="flat" cmpd="sng" algn="ctr">
            <a:solidFill>
              <a:sysClr val="window" lastClr="FFFFFF">
                <a:lumMod val="75000"/>
              </a:sysClr>
            </a:solidFill>
            <a:prstDash val="solid"/>
          </a:ln>
          <a:effectLst/>
        </p:spPr>
        <p:txBody>
          <a:bodyPr anchor="ctr"/>
          <a:lstStyle/>
          <a:p>
            <a:pPr algn="ctr" defTabSz="843984">
              <a:lnSpc>
                <a:spcPct val="115000"/>
              </a:lnSpc>
              <a:defRPr/>
            </a:pPr>
            <a:r>
              <a:rPr lang="en-US" sz="1108" b="1" kern="0" dirty="0">
                <a:solidFill>
                  <a:sysClr val="windowText" lastClr="000000"/>
                </a:solidFill>
                <a:latin typeface="Calibri"/>
                <a:ea typeface="Calibri"/>
                <a:cs typeface="Times New Roman"/>
              </a:rPr>
              <a:t>12. Strengthened capacity for farmers and other focus agricultural value chain actors</a:t>
            </a:r>
            <a:endParaRPr lang="en-US" sz="1108" kern="0" dirty="0">
              <a:solidFill>
                <a:sysClr val="windowText" lastClr="000000"/>
              </a:solidFill>
              <a:latin typeface="Calibri"/>
              <a:ea typeface="Calibri"/>
              <a:cs typeface="Times New Roman"/>
            </a:endParaRPr>
          </a:p>
        </p:txBody>
      </p:sp>
      <p:cxnSp>
        <p:nvCxnSpPr>
          <p:cNvPr id="23" name="Straight Connector 22"/>
          <p:cNvCxnSpPr/>
          <p:nvPr/>
        </p:nvCxnSpPr>
        <p:spPr>
          <a:xfrm>
            <a:off x="1519973" y="2945416"/>
            <a:ext cx="7060223" cy="4396"/>
          </a:xfrm>
          <a:prstGeom prst="line">
            <a:avLst/>
          </a:prstGeom>
          <a:noFill/>
          <a:ln w="25400" cap="flat" cmpd="sng" algn="ctr">
            <a:solidFill>
              <a:srgbClr val="BBBBBF">
                <a:lumMod val="75000"/>
              </a:srgbClr>
            </a:solidFill>
            <a:prstDash val="solid"/>
          </a:ln>
          <a:effectLst>
            <a:outerShdw blurRad="40000" dist="20000" dir="5400000" rotWithShape="0">
              <a:srgbClr val="000000">
                <a:alpha val="38000"/>
              </a:srgbClr>
            </a:outerShdw>
          </a:effectLst>
        </p:spPr>
      </p:cxnSp>
      <p:cxnSp>
        <p:nvCxnSpPr>
          <p:cNvPr id="24" name="Straight Connector 23"/>
          <p:cNvCxnSpPr/>
          <p:nvPr/>
        </p:nvCxnSpPr>
        <p:spPr>
          <a:xfrm>
            <a:off x="1531693" y="2946884"/>
            <a:ext cx="0" cy="271979"/>
          </a:xfrm>
          <a:prstGeom prst="line">
            <a:avLst/>
          </a:prstGeom>
          <a:noFill/>
          <a:ln w="25400" cap="flat" cmpd="sng" algn="ctr">
            <a:solidFill>
              <a:srgbClr val="BBBBBF">
                <a:lumMod val="75000"/>
              </a:srgbClr>
            </a:solidFill>
            <a:prstDash val="solid"/>
          </a:ln>
          <a:effectLst>
            <a:outerShdw blurRad="40000" dist="20000" dir="5400000" rotWithShape="0">
              <a:srgbClr val="000000">
                <a:alpha val="38000"/>
              </a:srgbClr>
            </a:outerShdw>
          </a:effectLst>
        </p:spPr>
      </p:cxnSp>
      <p:cxnSp>
        <p:nvCxnSpPr>
          <p:cNvPr id="25" name="Straight Connector 24"/>
          <p:cNvCxnSpPr/>
          <p:nvPr/>
        </p:nvCxnSpPr>
        <p:spPr>
          <a:xfrm>
            <a:off x="2465143" y="2961535"/>
            <a:ext cx="0" cy="256870"/>
          </a:xfrm>
          <a:prstGeom prst="line">
            <a:avLst/>
          </a:prstGeom>
          <a:noFill/>
          <a:ln w="25400" cap="flat" cmpd="sng" algn="ctr">
            <a:solidFill>
              <a:srgbClr val="BBBBBF">
                <a:lumMod val="75000"/>
              </a:srgbClr>
            </a:solidFill>
            <a:prstDash val="solid"/>
          </a:ln>
          <a:effectLst>
            <a:outerShdw blurRad="40000" dist="20000" dir="5400000" rotWithShape="0">
              <a:srgbClr val="000000">
                <a:alpha val="38000"/>
              </a:srgbClr>
            </a:outerShdw>
          </a:effectLst>
        </p:spPr>
      </p:cxnSp>
      <p:cxnSp>
        <p:nvCxnSpPr>
          <p:cNvPr id="26" name="Straight Connector 25"/>
          <p:cNvCxnSpPr>
            <a:endCxn id="16" idx="0"/>
          </p:cNvCxnSpPr>
          <p:nvPr/>
        </p:nvCxnSpPr>
        <p:spPr>
          <a:xfrm>
            <a:off x="3379543" y="2946881"/>
            <a:ext cx="0" cy="153866"/>
          </a:xfrm>
          <a:prstGeom prst="line">
            <a:avLst/>
          </a:prstGeom>
          <a:noFill/>
          <a:ln w="25400" cap="flat" cmpd="sng" algn="ctr">
            <a:solidFill>
              <a:srgbClr val="BBBBBF">
                <a:lumMod val="75000"/>
              </a:srgbClr>
            </a:solidFill>
            <a:prstDash val="solid"/>
          </a:ln>
          <a:effectLst>
            <a:outerShdw blurRad="40000" dist="20000" dir="5400000" rotWithShape="0">
              <a:srgbClr val="000000">
                <a:alpha val="38000"/>
              </a:srgbClr>
            </a:outerShdw>
          </a:effectLst>
        </p:spPr>
      </p:cxnSp>
      <p:cxnSp>
        <p:nvCxnSpPr>
          <p:cNvPr id="27" name="Straight Connector 26"/>
          <p:cNvCxnSpPr/>
          <p:nvPr/>
        </p:nvCxnSpPr>
        <p:spPr>
          <a:xfrm>
            <a:off x="4359886" y="2952745"/>
            <a:ext cx="0" cy="253847"/>
          </a:xfrm>
          <a:prstGeom prst="line">
            <a:avLst/>
          </a:prstGeom>
          <a:noFill/>
          <a:ln w="25400" cap="flat" cmpd="sng" algn="ctr">
            <a:solidFill>
              <a:srgbClr val="BBBBBF">
                <a:lumMod val="75000"/>
              </a:srgbClr>
            </a:solidFill>
            <a:prstDash val="solid"/>
          </a:ln>
          <a:effectLst>
            <a:outerShdw blurRad="40000" dist="20000" dir="5400000" rotWithShape="0">
              <a:srgbClr val="000000">
                <a:alpha val="38000"/>
              </a:srgbClr>
            </a:outerShdw>
          </a:effectLst>
        </p:spPr>
      </p:cxnSp>
      <p:cxnSp>
        <p:nvCxnSpPr>
          <p:cNvPr id="28" name="Straight Connector 27"/>
          <p:cNvCxnSpPr/>
          <p:nvPr/>
        </p:nvCxnSpPr>
        <p:spPr>
          <a:xfrm>
            <a:off x="7613039" y="2946883"/>
            <a:ext cx="0" cy="268957"/>
          </a:xfrm>
          <a:prstGeom prst="line">
            <a:avLst/>
          </a:prstGeom>
          <a:noFill/>
          <a:ln w="25400" cap="flat" cmpd="sng" algn="ctr">
            <a:solidFill>
              <a:srgbClr val="BBBBBF">
                <a:lumMod val="75000"/>
              </a:srgbClr>
            </a:solidFill>
            <a:prstDash val="solid"/>
          </a:ln>
          <a:effectLst>
            <a:outerShdw blurRad="40000" dist="20000" dir="5400000" rotWithShape="0">
              <a:srgbClr val="000000">
                <a:alpha val="38000"/>
              </a:srgbClr>
            </a:outerShdw>
          </a:effectLst>
        </p:spPr>
      </p:cxnSp>
      <p:cxnSp>
        <p:nvCxnSpPr>
          <p:cNvPr id="29" name="Straight Connector 28"/>
          <p:cNvCxnSpPr/>
          <p:nvPr/>
        </p:nvCxnSpPr>
        <p:spPr>
          <a:xfrm>
            <a:off x="5420824" y="2961537"/>
            <a:ext cx="0" cy="271979"/>
          </a:xfrm>
          <a:prstGeom prst="line">
            <a:avLst/>
          </a:prstGeom>
          <a:noFill/>
          <a:ln w="25400" cap="flat" cmpd="sng" algn="ctr">
            <a:solidFill>
              <a:srgbClr val="BBBBBF">
                <a:lumMod val="75000"/>
              </a:srgbClr>
            </a:solidFill>
            <a:prstDash val="solid"/>
          </a:ln>
          <a:effectLst>
            <a:outerShdw blurRad="40000" dist="20000" dir="5400000" rotWithShape="0">
              <a:srgbClr val="000000">
                <a:alpha val="38000"/>
              </a:srgbClr>
            </a:outerShdw>
          </a:effectLst>
        </p:spPr>
      </p:cxnSp>
      <p:cxnSp>
        <p:nvCxnSpPr>
          <p:cNvPr id="30" name="Straight Connector 29"/>
          <p:cNvCxnSpPr/>
          <p:nvPr/>
        </p:nvCxnSpPr>
        <p:spPr>
          <a:xfrm>
            <a:off x="6500812" y="2945419"/>
            <a:ext cx="0" cy="305219"/>
          </a:xfrm>
          <a:prstGeom prst="line">
            <a:avLst/>
          </a:prstGeom>
          <a:noFill/>
          <a:ln w="25400" cap="flat" cmpd="sng" algn="ctr">
            <a:solidFill>
              <a:srgbClr val="BBBBBF">
                <a:lumMod val="75000"/>
              </a:srgbClr>
            </a:solidFill>
            <a:prstDash val="solid"/>
          </a:ln>
          <a:effectLst>
            <a:outerShdw blurRad="40000" dist="20000" dir="5400000" rotWithShape="0">
              <a:srgbClr val="000000">
                <a:alpha val="38000"/>
              </a:srgbClr>
            </a:outerShdw>
          </a:effectLst>
        </p:spPr>
      </p:cxnSp>
      <p:cxnSp>
        <p:nvCxnSpPr>
          <p:cNvPr id="31" name="Straight Connector 30"/>
          <p:cNvCxnSpPr>
            <a:endCxn id="13" idx="0"/>
          </p:cNvCxnSpPr>
          <p:nvPr/>
        </p:nvCxnSpPr>
        <p:spPr>
          <a:xfrm>
            <a:off x="8571402" y="2945417"/>
            <a:ext cx="1" cy="139212"/>
          </a:xfrm>
          <a:prstGeom prst="line">
            <a:avLst/>
          </a:prstGeom>
          <a:noFill/>
          <a:ln w="25400" cap="flat" cmpd="sng" algn="ctr">
            <a:solidFill>
              <a:srgbClr val="BBBBBF">
                <a:lumMod val="75000"/>
              </a:srgbClr>
            </a:solidFill>
            <a:prstDash val="solid"/>
          </a:ln>
          <a:effectLst>
            <a:outerShdw blurRad="40000" dist="20000" dir="5400000" rotWithShape="0">
              <a:srgbClr val="000000">
                <a:alpha val="38000"/>
              </a:srgbClr>
            </a:outerShdw>
          </a:effectLst>
        </p:spPr>
      </p:cxnSp>
      <p:sp>
        <p:nvSpPr>
          <p:cNvPr id="32" name="Up Arrow 31"/>
          <p:cNvSpPr/>
          <p:nvPr/>
        </p:nvSpPr>
        <p:spPr>
          <a:xfrm>
            <a:off x="1993290" y="2851634"/>
            <a:ext cx="93785" cy="101111"/>
          </a:xfrm>
          <a:prstGeom prst="upArrow">
            <a:avLst/>
          </a:prstGeom>
          <a:solidFill>
            <a:sysClr val="window" lastClr="FFFFFF">
              <a:lumMod val="85000"/>
            </a:sysClr>
          </a:solidFill>
          <a:ln w="25400" cap="flat" cmpd="sng" algn="ctr">
            <a:solidFill>
              <a:srgbClr val="BBBBBF">
                <a:lumMod val="75000"/>
              </a:srgbClr>
            </a:solidFill>
            <a:prstDash val="solid"/>
          </a:ln>
          <a:effectLst/>
        </p:spPr>
        <p:txBody>
          <a:bodyPr anchor="ctr"/>
          <a:lstStyle/>
          <a:p>
            <a:pPr defTabSz="843984">
              <a:defRPr/>
            </a:pPr>
            <a:endParaRPr lang="en-US" sz="1662" kern="0">
              <a:solidFill>
                <a:sysClr val="window" lastClr="FFFFFF"/>
              </a:solidFill>
              <a:latin typeface="Calibri"/>
            </a:endParaRPr>
          </a:p>
        </p:txBody>
      </p:sp>
      <p:sp>
        <p:nvSpPr>
          <p:cNvPr id="33" name="Up Arrow 32"/>
          <p:cNvSpPr/>
          <p:nvPr/>
        </p:nvSpPr>
        <p:spPr>
          <a:xfrm>
            <a:off x="3907082" y="2848704"/>
            <a:ext cx="93785" cy="101111"/>
          </a:xfrm>
          <a:prstGeom prst="upArrow">
            <a:avLst/>
          </a:prstGeom>
          <a:solidFill>
            <a:sysClr val="window" lastClr="FFFFFF">
              <a:lumMod val="85000"/>
            </a:sysClr>
          </a:solidFill>
          <a:ln w="25400" cap="flat" cmpd="sng" algn="ctr">
            <a:solidFill>
              <a:srgbClr val="BBBBBF">
                <a:lumMod val="75000"/>
              </a:srgbClr>
            </a:solidFill>
            <a:prstDash val="solid"/>
          </a:ln>
          <a:effectLst/>
        </p:spPr>
        <p:txBody>
          <a:bodyPr anchor="ctr"/>
          <a:lstStyle/>
          <a:p>
            <a:pPr defTabSz="843984">
              <a:defRPr/>
            </a:pPr>
            <a:endParaRPr lang="en-US" sz="1662" kern="0">
              <a:solidFill>
                <a:sysClr val="windowText" lastClr="000000"/>
              </a:solidFill>
              <a:latin typeface="Calibri"/>
            </a:endParaRPr>
          </a:p>
        </p:txBody>
      </p:sp>
      <p:sp>
        <p:nvSpPr>
          <p:cNvPr id="34" name="Up Arrow 33"/>
          <p:cNvSpPr/>
          <p:nvPr/>
        </p:nvSpPr>
        <p:spPr>
          <a:xfrm>
            <a:off x="5923451" y="2845773"/>
            <a:ext cx="93785" cy="101111"/>
          </a:xfrm>
          <a:prstGeom prst="upArrow">
            <a:avLst/>
          </a:prstGeom>
          <a:solidFill>
            <a:sysClr val="window" lastClr="FFFFFF">
              <a:lumMod val="85000"/>
            </a:sysClr>
          </a:solidFill>
          <a:ln w="25400" cap="flat" cmpd="sng" algn="ctr">
            <a:solidFill>
              <a:srgbClr val="BBBBBF">
                <a:lumMod val="75000"/>
              </a:srgbClr>
            </a:solidFill>
            <a:prstDash val="solid"/>
          </a:ln>
          <a:effectLst/>
        </p:spPr>
        <p:txBody>
          <a:bodyPr anchor="ctr"/>
          <a:lstStyle/>
          <a:p>
            <a:pPr defTabSz="843984">
              <a:defRPr/>
            </a:pPr>
            <a:endParaRPr lang="en-US" sz="1662" kern="0">
              <a:solidFill>
                <a:sysClr val="windowText" lastClr="000000"/>
              </a:solidFill>
              <a:latin typeface="Calibri"/>
            </a:endParaRPr>
          </a:p>
        </p:txBody>
      </p:sp>
      <p:sp>
        <p:nvSpPr>
          <p:cNvPr id="35" name="Up Arrow 34"/>
          <p:cNvSpPr/>
          <p:nvPr/>
        </p:nvSpPr>
        <p:spPr>
          <a:xfrm>
            <a:off x="8103944" y="2853097"/>
            <a:ext cx="93785" cy="101112"/>
          </a:xfrm>
          <a:prstGeom prst="upArrow">
            <a:avLst/>
          </a:prstGeom>
          <a:solidFill>
            <a:sysClr val="window" lastClr="FFFFFF">
              <a:lumMod val="85000"/>
            </a:sysClr>
          </a:solidFill>
          <a:ln w="25400" cap="flat" cmpd="sng" algn="ctr">
            <a:solidFill>
              <a:srgbClr val="BBBBBF">
                <a:lumMod val="75000"/>
              </a:srgbClr>
            </a:solidFill>
            <a:prstDash val="solid"/>
          </a:ln>
          <a:effectLst/>
        </p:spPr>
        <p:txBody>
          <a:bodyPr anchor="ctr"/>
          <a:lstStyle/>
          <a:p>
            <a:pPr defTabSz="843984">
              <a:defRPr/>
            </a:pPr>
            <a:endParaRPr lang="en-US" sz="1662" kern="0">
              <a:solidFill>
                <a:sysClr val="windowText" lastClr="000000"/>
              </a:solidFill>
              <a:latin typeface="Calibri"/>
            </a:endParaRPr>
          </a:p>
        </p:txBody>
      </p:sp>
      <p:sp>
        <p:nvSpPr>
          <p:cNvPr id="36" name="Rectangle 35"/>
          <p:cNvSpPr/>
          <p:nvPr/>
        </p:nvSpPr>
        <p:spPr>
          <a:xfrm>
            <a:off x="738292" y="5015676"/>
            <a:ext cx="331806" cy="1266092"/>
          </a:xfrm>
          <a:prstGeom prst="rect">
            <a:avLst/>
          </a:prstGeom>
          <a:solidFill>
            <a:sysClr val="window" lastClr="FFFFFF"/>
          </a:solidFill>
          <a:ln w="9525" cap="flat" cmpd="sng" algn="ctr">
            <a:solidFill>
              <a:sysClr val="window" lastClr="FFFFFF">
                <a:lumMod val="75000"/>
              </a:sysClr>
            </a:solidFill>
            <a:prstDash val="sysDot"/>
          </a:ln>
          <a:effectLst/>
        </p:spPr>
        <p:txBody>
          <a:bodyPr vert="vert270" anchor="ctr"/>
          <a:lstStyle/>
          <a:p>
            <a:pPr algn="ctr" defTabSz="843984">
              <a:lnSpc>
                <a:spcPct val="115000"/>
              </a:lnSpc>
              <a:defRPr/>
            </a:pPr>
            <a:r>
              <a:rPr lang="en-US" sz="1108" b="1" dirty="0">
                <a:solidFill>
                  <a:srgbClr val="404040"/>
                </a:solidFill>
                <a:latin typeface="Calibri"/>
                <a:ea typeface="Calibri"/>
                <a:cs typeface="Times New Roman"/>
              </a:rPr>
              <a:t>Cross-cutting outcomes</a:t>
            </a:r>
            <a:endParaRPr lang="en-US" sz="1108" dirty="0">
              <a:solidFill>
                <a:prstClr val="black"/>
              </a:solidFill>
              <a:latin typeface="Calibri"/>
              <a:ea typeface="Calibri"/>
              <a:cs typeface="Times New Roman"/>
            </a:endParaRPr>
          </a:p>
        </p:txBody>
      </p:sp>
      <p:sp>
        <p:nvSpPr>
          <p:cNvPr id="37" name="Rectangle 36"/>
          <p:cNvSpPr/>
          <p:nvPr/>
        </p:nvSpPr>
        <p:spPr>
          <a:xfrm>
            <a:off x="738292" y="2945068"/>
            <a:ext cx="331806" cy="2172201"/>
          </a:xfrm>
          <a:prstGeom prst="rect">
            <a:avLst/>
          </a:prstGeom>
          <a:solidFill>
            <a:sysClr val="window" lastClr="FFFFFF"/>
          </a:solidFill>
          <a:ln w="9525" cap="flat" cmpd="sng" algn="ctr">
            <a:solidFill>
              <a:sysClr val="window" lastClr="FFFFFF">
                <a:lumMod val="75000"/>
              </a:sysClr>
            </a:solidFill>
            <a:prstDash val="sysDot"/>
          </a:ln>
          <a:effectLst/>
        </p:spPr>
        <p:txBody>
          <a:bodyPr vert="vert270" anchor="ctr"/>
          <a:lstStyle/>
          <a:p>
            <a:pPr algn="ctr" defTabSz="843984">
              <a:lnSpc>
                <a:spcPct val="115000"/>
              </a:lnSpc>
              <a:defRPr/>
            </a:pPr>
            <a:r>
              <a:rPr lang="en-US" sz="1015" b="1" dirty="0">
                <a:solidFill>
                  <a:srgbClr val="404040"/>
                </a:solidFill>
                <a:latin typeface="Calibri"/>
                <a:ea typeface="Calibri"/>
                <a:cs typeface="Times New Roman"/>
              </a:rPr>
              <a:t>Primary Outcomes</a:t>
            </a:r>
            <a:endParaRPr lang="en-US" sz="1015" dirty="0">
              <a:solidFill>
                <a:prstClr val="black"/>
              </a:solidFill>
              <a:latin typeface="Calibri"/>
              <a:ea typeface="Calibri"/>
              <a:cs typeface="Times New Roman"/>
            </a:endParaRPr>
          </a:p>
        </p:txBody>
      </p:sp>
      <p:sp>
        <p:nvSpPr>
          <p:cNvPr id="38" name="Rectangle 37"/>
          <p:cNvSpPr/>
          <p:nvPr/>
        </p:nvSpPr>
        <p:spPr>
          <a:xfrm>
            <a:off x="738292" y="2020761"/>
            <a:ext cx="331806" cy="924306"/>
          </a:xfrm>
          <a:prstGeom prst="rect">
            <a:avLst/>
          </a:prstGeom>
          <a:solidFill>
            <a:sysClr val="window" lastClr="FFFFFF"/>
          </a:solidFill>
          <a:ln w="9525" cap="flat" cmpd="sng" algn="ctr">
            <a:solidFill>
              <a:sysClr val="window" lastClr="FFFFFF">
                <a:lumMod val="75000"/>
              </a:sysClr>
            </a:solidFill>
            <a:prstDash val="sysDot"/>
          </a:ln>
          <a:effectLst/>
        </p:spPr>
        <p:txBody>
          <a:bodyPr vert="vert270" anchor="ctr"/>
          <a:lstStyle/>
          <a:p>
            <a:pPr algn="ctr" defTabSz="843984">
              <a:lnSpc>
                <a:spcPct val="115000"/>
              </a:lnSpc>
              <a:defRPr/>
            </a:pPr>
            <a:r>
              <a:rPr lang="en-US" sz="1108" b="1" dirty="0">
                <a:solidFill>
                  <a:srgbClr val="404040"/>
                </a:solidFill>
                <a:latin typeface="Calibri"/>
                <a:ea typeface="Calibri"/>
                <a:cs typeface="Times New Roman"/>
              </a:rPr>
              <a:t>Objectives </a:t>
            </a:r>
            <a:endParaRPr lang="en-US" sz="1108" dirty="0">
              <a:solidFill>
                <a:prstClr val="black"/>
              </a:solidFill>
              <a:latin typeface="Calibri"/>
              <a:ea typeface="Calibri"/>
              <a:cs typeface="Times New Roman"/>
            </a:endParaRPr>
          </a:p>
        </p:txBody>
      </p:sp>
      <p:cxnSp>
        <p:nvCxnSpPr>
          <p:cNvPr id="39" name="Straight Connector 38"/>
          <p:cNvCxnSpPr/>
          <p:nvPr/>
        </p:nvCxnSpPr>
        <p:spPr>
          <a:xfrm>
            <a:off x="3312135" y="1293854"/>
            <a:ext cx="0" cy="102577"/>
          </a:xfrm>
          <a:prstGeom prst="line">
            <a:avLst/>
          </a:prstGeom>
          <a:noFill/>
          <a:ln w="19050" cap="flat" cmpd="sng" algn="ctr">
            <a:solidFill>
              <a:srgbClr val="000000">
                <a:lumMod val="65000"/>
                <a:lumOff val="35000"/>
              </a:srgbClr>
            </a:solidFill>
            <a:prstDash val="sysDot"/>
          </a:ln>
          <a:effectLst/>
        </p:spPr>
      </p:cxnSp>
      <p:cxnSp>
        <p:nvCxnSpPr>
          <p:cNvPr id="40" name="Straight Connector 39"/>
          <p:cNvCxnSpPr/>
          <p:nvPr/>
        </p:nvCxnSpPr>
        <p:spPr>
          <a:xfrm>
            <a:off x="6184289" y="1293854"/>
            <a:ext cx="0" cy="102577"/>
          </a:xfrm>
          <a:prstGeom prst="line">
            <a:avLst/>
          </a:prstGeom>
          <a:noFill/>
          <a:ln w="19050" cap="flat" cmpd="sng" algn="ctr">
            <a:solidFill>
              <a:srgbClr val="000000">
                <a:lumMod val="65000"/>
                <a:lumOff val="35000"/>
              </a:srgbClr>
            </a:solidFill>
            <a:prstDash val="sysDot"/>
          </a:ln>
          <a:effectLst/>
        </p:spPr>
      </p:cxnSp>
      <p:sp>
        <p:nvSpPr>
          <p:cNvPr id="41" name="Rectangle 40"/>
          <p:cNvSpPr/>
          <p:nvPr/>
        </p:nvSpPr>
        <p:spPr>
          <a:xfrm>
            <a:off x="7122136" y="3091957"/>
            <a:ext cx="981808" cy="1903849"/>
          </a:xfrm>
          <a:prstGeom prst="rect">
            <a:avLst/>
          </a:prstGeom>
          <a:solidFill>
            <a:srgbClr val="FFFFFF"/>
          </a:solidFill>
          <a:ln w="19050" cap="flat" cmpd="sng" algn="ctr">
            <a:solidFill>
              <a:srgbClr val="00B0F0"/>
            </a:solidFill>
            <a:prstDash val="solid"/>
          </a:ln>
          <a:effectLst/>
        </p:spPr>
        <p:txBody>
          <a:bodyPr anchor="ctr"/>
          <a:lstStyle/>
          <a:p>
            <a:pPr algn="ctr" defTabSz="843984">
              <a:lnSpc>
                <a:spcPct val="115000"/>
              </a:lnSpc>
              <a:defRPr/>
            </a:pPr>
            <a:r>
              <a:rPr lang="en-US" sz="923" b="1" kern="0" dirty="0">
                <a:solidFill>
                  <a:prstClr val="black"/>
                </a:solidFill>
                <a:latin typeface="Calibri"/>
                <a:ea typeface="Calibri"/>
                <a:cs typeface="Times New Roman"/>
              </a:rPr>
              <a:t>Outcome 7: </a:t>
            </a:r>
          </a:p>
          <a:p>
            <a:pPr algn="ctr" defTabSz="843984">
              <a:lnSpc>
                <a:spcPct val="115000"/>
              </a:lnSpc>
              <a:defRPr/>
            </a:pPr>
            <a:r>
              <a:rPr lang="en-US" sz="923" b="1" kern="0" dirty="0">
                <a:solidFill>
                  <a:prstClr val="black"/>
                </a:solidFill>
                <a:latin typeface="Calibri"/>
                <a:ea typeface="Calibri"/>
                <a:cs typeface="Times New Roman"/>
              </a:rPr>
              <a:t>Reduced impact of agricultural volatility</a:t>
            </a:r>
            <a:endParaRPr lang="en-US" sz="923" kern="0" dirty="0">
              <a:solidFill>
                <a:prstClr val="black"/>
              </a:solidFill>
              <a:latin typeface="Calibri"/>
              <a:ea typeface="Calibri"/>
              <a:cs typeface="Times New Roman"/>
            </a:endParaRPr>
          </a:p>
        </p:txBody>
      </p:sp>
      <p:cxnSp>
        <p:nvCxnSpPr>
          <p:cNvPr id="42" name="Straight Connector 41"/>
          <p:cNvCxnSpPr>
            <a:stCxn id="16" idx="0"/>
          </p:cNvCxnSpPr>
          <p:nvPr/>
        </p:nvCxnSpPr>
        <p:spPr>
          <a:xfrm flipH="1">
            <a:off x="2945789" y="3100749"/>
            <a:ext cx="433754" cy="1"/>
          </a:xfrm>
          <a:prstGeom prst="line">
            <a:avLst/>
          </a:prstGeom>
          <a:noFill/>
          <a:ln w="19050" cap="flat" cmpd="sng" algn="ctr">
            <a:solidFill>
              <a:srgbClr val="92D050"/>
            </a:solidFill>
            <a:prstDash val="solid"/>
          </a:ln>
          <a:effectLst/>
        </p:spPr>
      </p:cxnSp>
      <p:cxnSp>
        <p:nvCxnSpPr>
          <p:cNvPr id="43" name="Straight Connector 42"/>
          <p:cNvCxnSpPr/>
          <p:nvPr/>
        </p:nvCxnSpPr>
        <p:spPr>
          <a:xfrm>
            <a:off x="2945789" y="3083165"/>
            <a:ext cx="0" cy="1867585"/>
          </a:xfrm>
          <a:prstGeom prst="line">
            <a:avLst/>
          </a:prstGeom>
          <a:noFill/>
          <a:ln w="19050" cap="flat" cmpd="sng" algn="ctr">
            <a:solidFill>
              <a:srgbClr val="92D050"/>
            </a:solidFill>
            <a:prstDash val="solid"/>
          </a:ln>
          <a:effectLst/>
        </p:spPr>
      </p:cxnSp>
      <p:cxnSp>
        <p:nvCxnSpPr>
          <p:cNvPr id="44" name="Straight Connector 43"/>
          <p:cNvCxnSpPr>
            <a:stCxn id="16" idx="0"/>
          </p:cNvCxnSpPr>
          <p:nvPr/>
        </p:nvCxnSpPr>
        <p:spPr>
          <a:xfrm>
            <a:off x="3379543" y="3100749"/>
            <a:ext cx="433754" cy="1"/>
          </a:xfrm>
          <a:prstGeom prst="line">
            <a:avLst/>
          </a:prstGeom>
          <a:noFill/>
          <a:ln w="19050" cap="flat" cmpd="sng" algn="ctr">
            <a:solidFill>
              <a:srgbClr val="7030A0"/>
            </a:solidFill>
            <a:prstDash val="solid"/>
          </a:ln>
          <a:effectLst/>
        </p:spPr>
      </p:cxnSp>
      <p:cxnSp>
        <p:nvCxnSpPr>
          <p:cNvPr id="45" name="Straight Connector 44"/>
          <p:cNvCxnSpPr/>
          <p:nvPr/>
        </p:nvCxnSpPr>
        <p:spPr>
          <a:xfrm>
            <a:off x="3813297" y="3091956"/>
            <a:ext cx="0" cy="1885717"/>
          </a:xfrm>
          <a:prstGeom prst="line">
            <a:avLst/>
          </a:prstGeom>
          <a:noFill/>
          <a:ln w="19050" cap="flat" cmpd="sng" algn="ctr">
            <a:solidFill>
              <a:srgbClr val="7030A0"/>
            </a:solidFill>
            <a:prstDash val="solid"/>
          </a:ln>
          <a:effectLst/>
        </p:spPr>
      </p:cxnSp>
      <p:cxnSp>
        <p:nvCxnSpPr>
          <p:cNvPr id="46" name="Straight Connector 45"/>
          <p:cNvCxnSpPr/>
          <p:nvPr/>
        </p:nvCxnSpPr>
        <p:spPr>
          <a:xfrm flipH="1" flipV="1">
            <a:off x="3907081" y="3090489"/>
            <a:ext cx="463062" cy="1466"/>
          </a:xfrm>
          <a:prstGeom prst="line">
            <a:avLst/>
          </a:prstGeom>
          <a:noFill/>
          <a:ln w="19050" cap="flat" cmpd="sng" algn="ctr">
            <a:solidFill>
              <a:srgbClr val="92D050"/>
            </a:solidFill>
            <a:prstDash val="solid"/>
          </a:ln>
          <a:effectLst/>
        </p:spPr>
      </p:cxnSp>
      <p:cxnSp>
        <p:nvCxnSpPr>
          <p:cNvPr id="47" name="Straight Connector 46"/>
          <p:cNvCxnSpPr/>
          <p:nvPr/>
        </p:nvCxnSpPr>
        <p:spPr>
          <a:xfrm>
            <a:off x="3902687" y="3074371"/>
            <a:ext cx="10561" cy="1885717"/>
          </a:xfrm>
          <a:prstGeom prst="line">
            <a:avLst/>
          </a:prstGeom>
          <a:noFill/>
          <a:ln w="19050" cap="flat" cmpd="sng" algn="ctr">
            <a:solidFill>
              <a:srgbClr val="92D050"/>
            </a:solidFill>
            <a:prstDash val="solid"/>
          </a:ln>
          <a:effectLst/>
        </p:spPr>
      </p:cxnSp>
      <p:cxnSp>
        <p:nvCxnSpPr>
          <p:cNvPr id="48" name="Straight Connector 47"/>
          <p:cNvCxnSpPr>
            <a:stCxn id="18" idx="0"/>
          </p:cNvCxnSpPr>
          <p:nvPr/>
        </p:nvCxnSpPr>
        <p:spPr>
          <a:xfrm flipV="1">
            <a:off x="4379668" y="3090490"/>
            <a:ext cx="472588" cy="1464"/>
          </a:xfrm>
          <a:prstGeom prst="line">
            <a:avLst/>
          </a:prstGeom>
          <a:noFill/>
          <a:ln w="19050" cap="flat" cmpd="sng" algn="ctr">
            <a:solidFill>
              <a:srgbClr val="7030A0"/>
            </a:solidFill>
            <a:prstDash val="solid"/>
          </a:ln>
          <a:effectLst/>
        </p:spPr>
      </p:cxnSp>
      <p:cxnSp>
        <p:nvCxnSpPr>
          <p:cNvPr id="49" name="Straight Connector 48"/>
          <p:cNvCxnSpPr/>
          <p:nvPr/>
        </p:nvCxnSpPr>
        <p:spPr>
          <a:xfrm>
            <a:off x="4852255" y="3090492"/>
            <a:ext cx="0" cy="1906871"/>
          </a:xfrm>
          <a:prstGeom prst="line">
            <a:avLst/>
          </a:prstGeom>
          <a:noFill/>
          <a:ln w="19050" cap="flat" cmpd="sng" algn="ctr">
            <a:solidFill>
              <a:srgbClr val="7030A0"/>
            </a:solidFill>
            <a:prstDash val="solid"/>
          </a:ln>
          <a:effectLst/>
        </p:spPr>
      </p:cxnSp>
      <p:cxnSp>
        <p:nvCxnSpPr>
          <p:cNvPr id="50" name="Straight Connector 49"/>
          <p:cNvCxnSpPr>
            <a:stCxn id="14" idx="0"/>
          </p:cNvCxnSpPr>
          <p:nvPr/>
        </p:nvCxnSpPr>
        <p:spPr>
          <a:xfrm flipH="1">
            <a:off x="6017236" y="3100748"/>
            <a:ext cx="498231" cy="1"/>
          </a:xfrm>
          <a:prstGeom prst="line">
            <a:avLst/>
          </a:prstGeom>
          <a:noFill/>
          <a:ln w="19050" cap="flat" cmpd="sng" algn="ctr">
            <a:solidFill>
              <a:srgbClr val="7030A0"/>
            </a:solidFill>
            <a:prstDash val="solid"/>
          </a:ln>
          <a:effectLst/>
        </p:spPr>
      </p:cxnSp>
      <p:cxnSp>
        <p:nvCxnSpPr>
          <p:cNvPr id="51" name="Straight Connector 50"/>
          <p:cNvCxnSpPr/>
          <p:nvPr/>
        </p:nvCxnSpPr>
        <p:spPr>
          <a:xfrm>
            <a:off x="6017235" y="3090490"/>
            <a:ext cx="0" cy="1888740"/>
          </a:xfrm>
          <a:prstGeom prst="line">
            <a:avLst/>
          </a:prstGeom>
          <a:noFill/>
          <a:ln w="19050" cap="flat" cmpd="sng" algn="ctr">
            <a:solidFill>
              <a:srgbClr val="7030A0"/>
            </a:solidFill>
            <a:prstDash val="solid"/>
          </a:ln>
          <a:effectLst/>
        </p:spPr>
      </p:cxnSp>
      <p:cxnSp>
        <p:nvCxnSpPr>
          <p:cNvPr id="52" name="Straight Connector 51"/>
          <p:cNvCxnSpPr>
            <a:stCxn id="14" idx="0"/>
          </p:cNvCxnSpPr>
          <p:nvPr/>
        </p:nvCxnSpPr>
        <p:spPr>
          <a:xfrm>
            <a:off x="6515467" y="3100748"/>
            <a:ext cx="498231" cy="1"/>
          </a:xfrm>
          <a:prstGeom prst="line">
            <a:avLst/>
          </a:prstGeom>
          <a:noFill/>
          <a:ln w="19050" cap="flat" cmpd="sng" algn="ctr">
            <a:solidFill>
              <a:srgbClr val="00B0F0"/>
            </a:solidFill>
            <a:prstDash val="solid"/>
          </a:ln>
          <a:effectLst/>
        </p:spPr>
      </p:cxnSp>
      <p:cxnSp>
        <p:nvCxnSpPr>
          <p:cNvPr id="53" name="Straight Connector 52"/>
          <p:cNvCxnSpPr/>
          <p:nvPr/>
        </p:nvCxnSpPr>
        <p:spPr>
          <a:xfrm>
            <a:off x="7013697" y="3100748"/>
            <a:ext cx="0" cy="1885717"/>
          </a:xfrm>
          <a:prstGeom prst="line">
            <a:avLst/>
          </a:prstGeom>
          <a:noFill/>
          <a:ln w="19050" cap="flat" cmpd="sng" algn="ctr">
            <a:solidFill>
              <a:srgbClr val="00B0F0"/>
            </a:solidFill>
            <a:prstDash val="solid"/>
          </a:ln>
          <a:effectLst/>
        </p:spPr>
      </p:cxnSp>
      <p:sp>
        <p:nvSpPr>
          <p:cNvPr id="54" name="Rectangle 53"/>
          <p:cNvSpPr/>
          <p:nvPr/>
        </p:nvSpPr>
        <p:spPr>
          <a:xfrm>
            <a:off x="7336081" y="5068869"/>
            <a:ext cx="1647092" cy="1172504"/>
          </a:xfrm>
          <a:prstGeom prst="rect">
            <a:avLst/>
          </a:prstGeom>
          <a:solidFill>
            <a:srgbClr val="FFFFFF"/>
          </a:solidFill>
          <a:ln w="12700" cap="flat" cmpd="sng" algn="ctr">
            <a:solidFill>
              <a:sysClr val="window" lastClr="FFFFFF">
                <a:lumMod val="75000"/>
              </a:sysClr>
            </a:solidFill>
            <a:prstDash val="solid"/>
          </a:ln>
          <a:effectLst/>
        </p:spPr>
        <p:txBody>
          <a:bodyPr anchor="ctr"/>
          <a:lstStyle/>
          <a:p>
            <a:pPr algn="ctr" defTabSz="843984">
              <a:lnSpc>
                <a:spcPct val="115000"/>
              </a:lnSpc>
              <a:defRPr/>
            </a:pPr>
            <a:r>
              <a:rPr lang="en-US" sz="1108" b="1" kern="0" dirty="0">
                <a:solidFill>
                  <a:sysClr val="windowText" lastClr="000000"/>
                </a:solidFill>
                <a:latin typeface="Calibri"/>
                <a:ea typeface="Calibri"/>
                <a:cs typeface="Times New Roman"/>
              </a:rPr>
              <a:t>13. </a:t>
            </a:r>
            <a:r>
              <a:rPr lang="en-US" sz="1108" b="1" kern="0" dirty="0">
                <a:solidFill>
                  <a:prstClr val="black"/>
                </a:solidFill>
                <a:latin typeface="Calibri"/>
                <a:ea typeface="Calibri"/>
                <a:cs typeface="Times New Roman"/>
              </a:rPr>
              <a:t>Strengthened Public and Private Partnerships in agriculture</a:t>
            </a:r>
            <a:endParaRPr lang="en-US" sz="1108" kern="0" dirty="0">
              <a:solidFill>
                <a:prstClr val="black"/>
              </a:solidFill>
              <a:latin typeface="Calibri"/>
              <a:ea typeface="Calibri"/>
              <a:cs typeface="Times New Roman"/>
            </a:endParaRPr>
          </a:p>
        </p:txBody>
      </p:sp>
    </p:spTree>
    <p:extLst>
      <p:ext uri="{BB962C8B-B14F-4D97-AF65-F5344CB8AC3E}">
        <p14:creationId xmlns:p14="http://schemas.microsoft.com/office/powerpoint/2010/main" val="1614337814"/>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p:cNvGraphicFramePr>
            <a:graphicFrameLocks noChangeAspect="1"/>
          </p:cNvGraphicFramePr>
          <p:nvPr>
            <p:custDataLst>
              <p:tags r:id="rId2"/>
            </p:custDataLst>
            <p:ext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spid="_x0000_s215157" name="think-cell Slide" r:id="rId5" imgW="470" imgH="469" progId="TCLayout.ActiveDocument.1">
                  <p:embed/>
                </p:oleObj>
              </mc:Choice>
              <mc:Fallback>
                <p:oleObj name="think-cell Slide" r:id="rId5" imgW="470" imgH="469" progId="TCLayout.ActiveDocument.1">
                  <p:embed/>
                  <p:pic>
                    <p:nvPicPr>
                      <p:cNvPr id="42" name="Object 41" hidden="1"/>
                      <p:cNvPicPr/>
                      <p:nvPr/>
                    </p:nvPicPr>
                    <p:blipFill>
                      <a:blip r:embed="rId6"/>
                      <a:stretch>
                        <a:fillRect/>
                      </a:stretch>
                    </p:blipFill>
                    <p:spPr>
                      <a:xfrm>
                        <a:off x="929978" y="644228"/>
                        <a:ext cx="1290" cy="1290"/>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031" b="1" dirty="0">
              <a:latin typeface="Arial" panose="020B0604020202020204" pitchFamily="34" charset="0"/>
              <a:cs typeface="Arial" panose="020B0604020202020204" pitchFamily="34" charset="0"/>
              <a:sym typeface="Arial" panose="020B0604020202020204" pitchFamily="34" charset="0"/>
            </a:endParaRPr>
          </a:p>
        </p:txBody>
      </p:sp>
      <p:sp>
        <p:nvSpPr>
          <p:cNvPr id="6" name="Rectangle 5"/>
          <p:cNvSpPr/>
          <p:nvPr/>
        </p:nvSpPr>
        <p:spPr>
          <a:xfrm>
            <a:off x="1279440" y="1710000"/>
            <a:ext cx="4118924" cy="1485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en-US" sz="975" b="1" dirty="0">
              <a:solidFill>
                <a:schemeClr val="accent6">
                  <a:lumMod val="50000"/>
                </a:schemeClr>
              </a:solidFill>
              <a:latin typeface="Arial" panose="020B0604020202020204" pitchFamily="34" charset="0"/>
              <a:cs typeface="Arial" panose="020B0604020202020204" pitchFamily="34" charset="0"/>
            </a:endParaRPr>
          </a:p>
        </p:txBody>
      </p:sp>
      <p:grpSp>
        <p:nvGrpSpPr>
          <p:cNvPr id="7" name="Group 6"/>
          <p:cNvGrpSpPr/>
          <p:nvPr/>
        </p:nvGrpSpPr>
        <p:grpSpPr>
          <a:xfrm>
            <a:off x="1134175" y="2253287"/>
            <a:ext cx="6264886" cy="2883889"/>
            <a:chOff x="314424" y="2562513"/>
            <a:chExt cx="6185754" cy="2569379"/>
          </a:xfrm>
        </p:grpSpPr>
        <p:sp>
          <p:nvSpPr>
            <p:cNvPr id="8" name="Rectangle 7"/>
            <p:cNvSpPr/>
            <p:nvPr/>
          </p:nvSpPr>
          <p:spPr>
            <a:xfrm>
              <a:off x="314424" y="2562513"/>
              <a:ext cx="6185754" cy="2569379"/>
            </a:xfrm>
            <a:prstGeom prst="rect">
              <a:avLst/>
            </a:prstGeom>
            <a:solidFill>
              <a:schemeClr val="tx2">
                <a:lumMod val="40000"/>
                <a:lumOff val="6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t" anchorCtr="0" forceAA="0" compatLnSpc="1">
              <a:prstTxWarp prst="textNoShape">
                <a:avLst/>
              </a:prstTxWarp>
              <a:noAutofit/>
            </a:bodyPr>
            <a:lstStyle/>
            <a:p>
              <a:pPr algn="ctr"/>
              <a:r>
                <a:rPr lang="en-US" sz="853" b="1" dirty="0">
                  <a:solidFill>
                    <a:schemeClr val="tx1"/>
                  </a:solidFill>
                  <a:latin typeface="Arial" panose="020B0604020202020204" pitchFamily="34" charset="0"/>
                  <a:cs typeface="Arial" panose="020B0604020202020204" pitchFamily="34" charset="0"/>
                </a:rPr>
                <a:t>Outcomes </a:t>
              </a:r>
            </a:p>
          </p:txBody>
        </p:sp>
        <p:sp>
          <p:nvSpPr>
            <p:cNvPr id="9" name="Rectangle 8"/>
            <p:cNvSpPr/>
            <p:nvPr/>
          </p:nvSpPr>
          <p:spPr>
            <a:xfrm>
              <a:off x="379032" y="4179623"/>
              <a:ext cx="5856833" cy="782978"/>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en-US" sz="731" b="1" dirty="0">
                <a:solidFill>
                  <a:schemeClr val="tx1"/>
                </a:solidFill>
                <a:latin typeface="Arial" panose="020B0604020202020204" pitchFamily="34" charset="0"/>
                <a:cs typeface="Arial" panose="020B0604020202020204" pitchFamily="34" charset="0"/>
              </a:endParaRPr>
            </a:p>
            <a:p>
              <a:r>
                <a:rPr lang="en-US" sz="731" b="1" dirty="0">
                  <a:solidFill>
                    <a:schemeClr val="tx1"/>
                  </a:solidFill>
                  <a:latin typeface="Arial" panose="020B0604020202020204" pitchFamily="34" charset="0"/>
                  <a:cs typeface="Arial" panose="020B0604020202020204" pitchFamily="34" charset="0"/>
                </a:rPr>
                <a:t>Public Sector / governments have </a:t>
              </a:r>
            </a:p>
            <a:p>
              <a:pPr marL="139303" indent="-139303">
                <a:buFont typeface="Arial" panose="020B0604020202020204" pitchFamily="34" charset="0"/>
                <a:buChar char="•"/>
              </a:pPr>
              <a:r>
                <a:rPr lang="en-US" sz="731" dirty="0">
                  <a:solidFill>
                    <a:schemeClr val="tx1"/>
                  </a:solidFill>
                  <a:latin typeface="Arial" panose="020B0604020202020204" pitchFamily="34" charset="0"/>
                  <a:cs typeface="Arial" panose="020B0604020202020204" pitchFamily="34" charset="0"/>
                </a:rPr>
                <a:t>Sector strategies defining priority areas for investment and policy reform</a:t>
              </a:r>
            </a:p>
            <a:p>
              <a:pPr marL="139303" indent="-139303">
                <a:buFont typeface="Arial" panose="020B0604020202020204" pitchFamily="34" charset="0"/>
                <a:buChar char="•"/>
              </a:pPr>
              <a:r>
                <a:rPr lang="en-US" sz="731" dirty="0">
                  <a:solidFill>
                    <a:schemeClr val="tx1"/>
                  </a:solidFill>
                  <a:latin typeface="Arial" panose="020B0604020202020204" pitchFamily="34" charset="0"/>
                  <a:cs typeface="Arial" panose="020B0604020202020204" pitchFamily="34" charset="0"/>
                </a:rPr>
                <a:t>Mobilized public sector, development partners and non-state actors to invest in /implement priority programs  that drive agricultural transformation and facilitate regional trade</a:t>
              </a:r>
            </a:p>
            <a:p>
              <a:pPr marL="139303" indent="-139303">
                <a:buFont typeface="Arial" panose="020B0604020202020204" pitchFamily="34" charset="0"/>
                <a:buChar char="•"/>
              </a:pPr>
              <a:r>
                <a:rPr lang="en-US" sz="731" dirty="0">
                  <a:solidFill>
                    <a:schemeClr val="tx1"/>
                  </a:solidFill>
                  <a:latin typeface="Arial" panose="020B0604020202020204" pitchFamily="34" charset="0"/>
                  <a:cs typeface="Arial" panose="020B0604020202020204" pitchFamily="34" charset="0"/>
                </a:rPr>
                <a:t>Better coordinated sector investment programs</a:t>
              </a:r>
            </a:p>
            <a:p>
              <a:pPr marL="139303" indent="-139303">
                <a:buFont typeface="Arial" panose="020B0604020202020204" pitchFamily="34" charset="0"/>
                <a:buChar char="•"/>
              </a:pPr>
              <a:r>
                <a:rPr lang="en-US" sz="731" dirty="0">
                  <a:solidFill>
                    <a:schemeClr val="tx1"/>
                  </a:solidFill>
                  <a:latin typeface="Arial" panose="020B0604020202020204" pitchFamily="34" charset="0"/>
                  <a:cs typeface="Arial" panose="020B0604020202020204" pitchFamily="34" charset="0"/>
                </a:rPr>
                <a:t>Is championing the necessary policy reforms to drive agricultural transformation and facilitate  regional trade</a:t>
              </a:r>
            </a:p>
            <a:p>
              <a:pPr marL="139303" indent="-139303">
                <a:buFont typeface="Arial" panose="020B0604020202020204" pitchFamily="34" charset="0"/>
                <a:buChar char="•"/>
              </a:pPr>
              <a:r>
                <a:rPr lang="en-US" sz="731" dirty="0">
                  <a:solidFill>
                    <a:schemeClr val="tx1"/>
                  </a:solidFill>
                  <a:latin typeface="Arial" panose="020B0604020202020204" pitchFamily="34" charset="0"/>
                  <a:cs typeface="Arial" panose="020B0604020202020204" pitchFamily="34" charset="0"/>
                </a:rPr>
                <a:t>Accountability systems that sustain commitment, encourage results focus and ensure delivery</a:t>
              </a:r>
            </a:p>
            <a:p>
              <a:endParaRPr lang="en-US" sz="731" dirty="0">
                <a:solidFill>
                  <a:schemeClr val="tx1"/>
                </a:solidFill>
                <a:latin typeface="Arial" panose="020B0604020202020204" pitchFamily="34" charset="0"/>
                <a:cs typeface="Arial" panose="020B0604020202020204" pitchFamily="34" charset="0"/>
              </a:endParaRPr>
            </a:p>
          </p:txBody>
        </p:sp>
        <p:sp>
          <p:nvSpPr>
            <p:cNvPr id="11" name="Rectangle 10"/>
            <p:cNvSpPr/>
            <p:nvPr/>
          </p:nvSpPr>
          <p:spPr>
            <a:xfrm>
              <a:off x="376676" y="2722661"/>
              <a:ext cx="2226428" cy="1357926"/>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en-US" sz="731" b="1" dirty="0">
                <a:solidFill>
                  <a:schemeClr val="tx1"/>
                </a:solidFill>
                <a:latin typeface="Arial" panose="020B0604020202020204" pitchFamily="34" charset="0"/>
                <a:cs typeface="Arial" panose="020B0604020202020204" pitchFamily="34" charset="0"/>
              </a:endParaRPr>
            </a:p>
            <a:p>
              <a:endParaRPr lang="en-US" sz="731" b="1" dirty="0">
                <a:solidFill>
                  <a:schemeClr val="tx1"/>
                </a:solidFill>
                <a:latin typeface="Arial" panose="020B0604020202020204" pitchFamily="34" charset="0"/>
                <a:cs typeface="Arial" panose="020B0604020202020204" pitchFamily="34" charset="0"/>
              </a:endParaRPr>
            </a:p>
            <a:p>
              <a:endParaRPr lang="en-US" sz="731" b="1" dirty="0">
                <a:solidFill>
                  <a:schemeClr val="tx1"/>
                </a:solidFill>
                <a:latin typeface="Arial" panose="020B0604020202020204" pitchFamily="34" charset="0"/>
                <a:cs typeface="Arial" panose="020B0604020202020204" pitchFamily="34" charset="0"/>
              </a:endParaRPr>
            </a:p>
            <a:p>
              <a:r>
                <a:rPr lang="en-US" sz="731" b="1" dirty="0">
                  <a:solidFill>
                    <a:schemeClr val="tx1"/>
                  </a:solidFill>
                  <a:latin typeface="Arial" panose="020B0604020202020204" pitchFamily="34" charset="0"/>
                  <a:cs typeface="Arial" panose="020B0604020202020204" pitchFamily="34" charset="0"/>
                </a:rPr>
                <a:t>The public sector </a:t>
              </a:r>
            </a:p>
            <a:p>
              <a:pPr marL="139303" indent="-139303">
                <a:buFont typeface="Arial" panose="020B0604020202020204" pitchFamily="34" charset="0"/>
                <a:buChar char="•"/>
              </a:pPr>
              <a:r>
                <a:rPr lang="en-US" sz="731" dirty="0">
                  <a:solidFill>
                    <a:schemeClr val="tx1"/>
                  </a:solidFill>
                  <a:latin typeface="Arial" panose="020B0604020202020204" pitchFamily="34" charset="0"/>
                  <a:cs typeface="Arial" panose="020B0604020202020204" pitchFamily="34" charset="0"/>
                </a:rPr>
                <a:t>Increased public sector investments in agriculture</a:t>
              </a:r>
            </a:p>
            <a:p>
              <a:pPr marL="139303" indent="-139303">
                <a:buFont typeface="Arial" panose="020B0604020202020204" pitchFamily="34" charset="0"/>
                <a:buChar char="•"/>
              </a:pPr>
              <a:r>
                <a:rPr lang="en-US" sz="731" dirty="0">
                  <a:solidFill>
                    <a:schemeClr val="tx1"/>
                  </a:solidFill>
                  <a:latin typeface="Arial" panose="020B0604020202020204" pitchFamily="34" charset="0"/>
                  <a:cs typeface="Arial" panose="020B0604020202020204" pitchFamily="34" charset="0"/>
                </a:rPr>
                <a:t>Public sector investments are generating priority and sufficient public goods that de-risk the sector</a:t>
              </a:r>
            </a:p>
            <a:p>
              <a:pPr marL="139303" indent="-139303">
                <a:buFont typeface="Arial" panose="020B0604020202020204" pitchFamily="34" charset="0"/>
                <a:buChar char="•"/>
              </a:pPr>
              <a:r>
                <a:rPr lang="en-US" sz="731" dirty="0">
                  <a:solidFill>
                    <a:schemeClr val="tx1"/>
                  </a:solidFill>
                  <a:latin typeface="Arial" panose="020B0604020202020204" pitchFamily="34" charset="0"/>
                  <a:cs typeface="Arial" panose="020B0604020202020204" pitchFamily="34" charset="0"/>
                </a:rPr>
                <a:t>Appropriate policies providing incentives for private sector investments including public private partnerships in place and operational</a:t>
              </a:r>
            </a:p>
            <a:p>
              <a:pPr marL="139303" indent="-139303">
                <a:buFont typeface="Arial" panose="020B0604020202020204" pitchFamily="34" charset="0"/>
                <a:buChar char="•"/>
              </a:pPr>
              <a:r>
                <a:rPr lang="en-US" sz="731" dirty="0">
                  <a:solidFill>
                    <a:schemeClr val="tx1"/>
                  </a:solidFill>
                  <a:latin typeface="Arial" panose="020B0604020202020204" pitchFamily="34" charset="0"/>
                  <a:cs typeface="Arial" panose="020B0604020202020204" pitchFamily="34" charset="0"/>
                </a:rPr>
                <a:t>Mutual accountability systems and platforms that are aligned to the continental scorecard in place and operational</a:t>
              </a:r>
            </a:p>
            <a:p>
              <a:endParaRPr lang="en-US" sz="731" dirty="0">
                <a:solidFill>
                  <a:schemeClr val="tx1"/>
                </a:solidFill>
                <a:latin typeface="Arial" panose="020B0604020202020204" pitchFamily="34" charset="0"/>
                <a:cs typeface="Arial" panose="020B0604020202020204" pitchFamily="34" charset="0"/>
              </a:endParaRPr>
            </a:p>
            <a:p>
              <a:endParaRPr lang="en-US" sz="731" dirty="0">
                <a:solidFill>
                  <a:schemeClr val="tx1"/>
                </a:solidFill>
                <a:latin typeface="Arial" panose="020B0604020202020204" pitchFamily="34" charset="0"/>
                <a:cs typeface="Arial" panose="020B0604020202020204" pitchFamily="34" charset="0"/>
              </a:endParaRPr>
            </a:p>
          </p:txBody>
        </p:sp>
      </p:grpSp>
      <p:grpSp>
        <p:nvGrpSpPr>
          <p:cNvPr id="19" name="Group 18"/>
          <p:cNvGrpSpPr/>
          <p:nvPr/>
        </p:nvGrpSpPr>
        <p:grpSpPr>
          <a:xfrm>
            <a:off x="1134175" y="1292602"/>
            <a:ext cx="6240997" cy="912879"/>
            <a:chOff x="314813" y="1316708"/>
            <a:chExt cx="5113471" cy="838389"/>
          </a:xfrm>
        </p:grpSpPr>
        <p:sp>
          <p:nvSpPr>
            <p:cNvPr id="21" name="Rectangle 20"/>
            <p:cNvSpPr/>
            <p:nvPr/>
          </p:nvSpPr>
          <p:spPr>
            <a:xfrm>
              <a:off x="314813" y="1316708"/>
              <a:ext cx="5113471" cy="838389"/>
            </a:xfrm>
            <a:prstGeom prst="rect">
              <a:avLst/>
            </a:prstGeom>
            <a:solidFill>
              <a:schemeClr val="accent2">
                <a:lumMod val="20000"/>
                <a:lumOff val="8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t" anchorCtr="0" forceAA="0" compatLnSpc="1">
              <a:prstTxWarp prst="textNoShape">
                <a:avLst/>
              </a:prstTxWarp>
              <a:noAutofit/>
            </a:bodyPr>
            <a:lstStyle/>
            <a:p>
              <a:pPr algn="ctr"/>
              <a:endParaRPr lang="en-US" sz="650" b="1" dirty="0">
                <a:solidFill>
                  <a:schemeClr val="tx1"/>
                </a:solidFill>
                <a:latin typeface="Arial" panose="020B0604020202020204" pitchFamily="34" charset="0"/>
                <a:cs typeface="Arial" panose="020B0604020202020204" pitchFamily="34" charset="0"/>
              </a:endParaRPr>
            </a:p>
            <a:p>
              <a:pPr algn="ctr"/>
              <a:endParaRPr lang="en-US" sz="650" b="1" dirty="0">
                <a:solidFill>
                  <a:schemeClr val="tx1"/>
                </a:solidFill>
                <a:latin typeface="Arial" panose="020B0604020202020204" pitchFamily="34" charset="0"/>
                <a:cs typeface="Arial" panose="020B0604020202020204" pitchFamily="34" charset="0"/>
              </a:endParaRPr>
            </a:p>
            <a:p>
              <a:pPr algn="ctr"/>
              <a:endParaRPr lang="en-US" sz="650" b="1" dirty="0">
                <a:solidFill>
                  <a:schemeClr val="tx1"/>
                </a:solidFill>
                <a:latin typeface="Arial" panose="020B0604020202020204" pitchFamily="34" charset="0"/>
                <a:cs typeface="Arial" panose="020B0604020202020204" pitchFamily="34" charset="0"/>
              </a:endParaRPr>
            </a:p>
            <a:p>
              <a:pPr algn="ctr"/>
              <a:endParaRPr lang="en-US" sz="650" b="1" dirty="0">
                <a:solidFill>
                  <a:schemeClr val="tx1"/>
                </a:solidFill>
                <a:latin typeface="Arial" panose="020B0604020202020204" pitchFamily="34" charset="0"/>
                <a:cs typeface="Arial" panose="020B0604020202020204" pitchFamily="34" charset="0"/>
              </a:endParaRPr>
            </a:p>
            <a:p>
              <a:pPr algn="ctr"/>
              <a:endParaRPr lang="en-US" sz="650" b="1" dirty="0">
                <a:solidFill>
                  <a:schemeClr val="tx1"/>
                </a:solidFill>
                <a:latin typeface="Arial" panose="020B0604020202020204" pitchFamily="34" charset="0"/>
                <a:cs typeface="Arial" panose="020B0604020202020204" pitchFamily="34" charset="0"/>
              </a:endParaRPr>
            </a:p>
            <a:p>
              <a:pPr algn="ctr"/>
              <a:endParaRPr lang="en-US" sz="650" b="1" dirty="0">
                <a:solidFill>
                  <a:schemeClr val="tx1"/>
                </a:solidFill>
                <a:latin typeface="Arial" panose="020B0604020202020204" pitchFamily="34" charset="0"/>
                <a:cs typeface="Arial" panose="020B0604020202020204" pitchFamily="34" charset="0"/>
              </a:endParaRPr>
            </a:p>
            <a:p>
              <a:pPr algn="ctr"/>
              <a:endParaRPr lang="en-US" sz="975" dirty="0">
                <a:solidFill>
                  <a:schemeClr val="accent6">
                    <a:lumMod val="50000"/>
                  </a:schemeClr>
                </a:solidFill>
                <a:latin typeface="Arial" panose="020B0604020202020204" pitchFamily="34" charset="0"/>
                <a:cs typeface="Arial" panose="020B0604020202020204" pitchFamily="34" charset="0"/>
              </a:endParaRPr>
            </a:p>
          </p:txBody>
        </p:sp>
        <p:sp>
          <p:nvSpPr>
            <p:cNvPr id="22" name="Rectangle 21"/>
            <p:cNvSpPr/>
            <p:nvPr/>
          </p:nvSpPr>
          <p:spPr>
            <a:xfrm>
              <a:off x="388756" y="1657221"/>
              <a:ext cx="1505486" cy="428100"/>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r>
                <a:rPr lang="en-US" sz="813" dirty="0">
                  <a:solidFill>
                    <a:schemeClr val="tx1"/>
                  </a:solidFill>
                  <a:latin typeface="Arial" panose="020B0604020202020204" pitchFamily="34" charset="0"/>
                  <a:cs typeface="Arial" panose="020B0604020202020204" pitchFamily="34" charset="0"/>
                </a:rPr>
                <a:t>Increased productivity </a:t>
              </a:r>
              <a:r>
                <a:rPr lang="en-US" sz="813" i="1" dirty="0">
                  <a:solidFill>
                    <a:schemeClr val="tx1"/>
                  </a:solidFill>
                  <a:latin typeface="Arial" panose="020B0604020202020204" pitchFamily="34" charset="0"/>
                  <a:cs typeface="Arial" panose="020B0604020202020204" pitchFamily="34" charset="0"/>
                </a:rPr>
                <a:t>(more productive small holder farming units and SMEs )</a:t>
              </a:r>
            </a:p>
          </p:txBody>
        </p:sp>
        <p:sp>
          <p:nvSpPr>
            <p:cNvPr id="24" name="Rectangle 23"/>
            <p:cNvSpPr/>
            <p:nvPr/>
          </p:nvSpPr>
          <p:spPr>
            <a:xfrm>
              <a:off x="368426" y="1335250"/>
              <a:ext cx="4246825" cy="285689"/>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r>
                <a:rPr lang="en-US" sz="894" b="1" dirty="0" smtClean="0">
                  <a:solidFill>
                    <a:schemeClr val="tx1"/>
                  </a:solidFill>
                  <a:latin typeface="Arial" panose="020B0604020202020204" pitchFamily="34" charset="0"/>
                  <a:cs typeface="Arial" panose="020B0604020202020204" pitchFamily="34" charset="0"/>
                </a:rPr>
                <a:t>Increased incomes and improved food security</a:t>
              </a:r>
              <a:endParaRPr lang="en-US" sz="894" b="1" dirty="0">
                <a:solidFill>
                  <a:schemeClr val="tx1"/>
                </a:solidFill>
                <a:latin typeface="Arial" panose="020B0604020202020204" pitchFamily="34" charset="0"/>
                <a:cs typeface="Arial" panose="020B0604020202020204" pitchFamily="34" charset="0"/>
              </a:endParaRPr>
            </a:p>
          </p:txBody>
        </p:sp>
      </p:grpSp>
      <p:sp>
        <p:nvSpPr>
          <p:cNvPr id="28" name="Rectangle 27"/>
          <p:cNvSpPr/>
          <p:nvPr/>
        </p:nvSpPr>
        <p:spPr>
          <a:xfrm>
            <a:off x="7636060" y="2461759"/>
            <a:ext cx="1694003" cy="2345818"/>
          </a:xfrm>
          <a:prstGeom prst="rect">
            <a:avLst/>
          </a:prstGeom>
          <a:ln>
            <a:solidFill>
              <a:schemeClr val="tx1"/>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r>
              <a:rPr lang="en-GB" sz="813" b="1" dirty="0">
                <a:solidFill>
                  <a:schemeClr val="tx1"/>
                </a:solidFill>
                <a:latin typeface="Arial" panose="020B0604020202020204" pitchFamily="34" charset="0"/>
                <a:cs typeface="Arial" panose="020B0604020202020204" pitchFamily="34" charset="0"/>
              </a:rPr>
              <a:t>Partnerships</a:t>
            </a:r>
          </a:p>
          <a:p>
            <a:r>
              <a:rPr lang="en-GB" sz="813" dirty="0">
                <a:solidFill>
                  <a:schemeClr val="tx1"/>
                </a:solidFill>
                <a:latin typeface="Arial" panose="020B0604020202020204" pitchFamily="34" charset="0"/>
                <a:cs typeface="Arial" panose="020B0604020202020204" pitchFamily="34" charset="0"/>
              </a:rPr>
              <a:t>Work with partners at all levels to:</a:t>
            </a:r>
          </a:p>
          <a:p>
            <a:pPr marL="232172" indent="-232172">
              <a:buFont typeface="Arial" panose="020B0604020202020204" pitchFamily="34" charset="0"/>
              <a:buChar char="•"/>
            </a:pPr>
            <a:r>
              <a:rPr lang="en-GB" sz="813" dirty="0">
                <a:solidFill>
                  <a:schemeClr val="tx1"/>
                </a:solidFill>
                <a:latin typeface="Arial" panose="020B0604020202020204" pitchFamily="34" charset="0"/>
                <a:cs typeface="Arial" panose="020B0604020202020204" pitchFamily="34" charset="0"/>
              </a:rPr>
              <a:t>Crowd in private capital in  support of small-holder agricultural development </a:t>
            </a:r>
          </a:p>
          <a:p>
            <a:pPr marL="232172" indent="-232172">
              <a:buFont typeface="Arial" panose="020B0604020202020204" pitchFamily="34" charset="0"/>
              <a:buChar char="•"/>
            </a:pPr>
            <a:r>
              <a:rPr lang="en-GB" sz="813" dirty="0">
                <a:solidFill>
                  <a:schemeClr val="tx1"/>
                </a:solidFill>
                <a:latin typeface="Arial" panose="020B0604020202020204" pitchFamily="34" charset="0"/>
                <a:cs typeface="Arial" panose="020B0604020202020204" pitchFamily="34" charset="0"/>
              </a:rPr>
              <a:t>Derive synergies and reduce duplication of effort likelihood of transformation within </a:t>
            </a:r>
          </a:p>
          <a:p>
            <a:pPr marL="232172" indent="-232172">
              <a:buFont typeface="Arial" panose="020B0604020202020204" pitchFamily="34" charset="0"/>
              <a:buChar char="•"/>
            </a:pPr>
            <a:r>
              <a:rPr lang="en-GB" sz="813" dirty="0">
                <a:solidFill>
                  <a:schemeClr val="tx1"/>
                </a:solidFill>
                <a:latin typeface="Arial" panose="020B0604020202020204" pitchFamily="34" charset="0"/>
                <a:cs typeface="Arial" panose="020B0604020202020204" pitchFamily="34" charset="0"/>
              </a:rPr>
              <a:t>Derive synergies in order to increase the reach of AGRA’s investments (impact at scale)</a:t>
            </a:r>
          </a:p>
        </p:txBody>
      </p:sp>
      <p:sp>
        <p:nvSpPr>
          <p:cNvPr id="34" name="Up Arrow 33"/>
          <p:cNvSpPr/>
          <p:nvPr/>
        </p:nvSpPr>
        <p:spPr>
          <a:xfrm>
            <a:off x="509033" y="1292602"/>
            <a:ext cx="207040" cy="4611392"/>
          </a:xfrm>
          <a:prstGeom prst="upArrow">
            <a:avLst/>
          </a:prstGeom>
          <a:solidFill>
            <a:schemeClr val="tx1">
              <a:lumMod val="65000"/>
              <a:lumOff val="3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38" dirty="0">
              <a:solidFill>
                <a:schemeClr val="accent6">
                  <a:lumMod val="50000"/>
                </a:schemeClr>
              </a:solidFill>
              <a:latin typeface="Arial" panose="020B0604020202020204" pitchFamily="34" charset="0"/>
              <a:cs typeface="Arial" panose="020B0604020202020204" pitchFamily="34" charset="0"/>
            </a:endParaRPr>
          </a:p>
        </p:txBody>
      </p:sp>
      <p:grpSp>
        <p:nvGrpSpPr>
          <p:cNvPr id="36" name="Group 35"/>
          <p:cNvGrpSpPr/>
          <p:nvPr/>
        </p:nvGrpSpPr>
        <p:grpSpPr>
          <a:xfrm>
            <a:off x="670062" y="1143686"/>
            <a:ext cx="410331" cy="4919723"/>
            <a:chOff x="9026706" y="127976"/>
            <a:chExt cx="458874" cy="6055043"/>
          </a:xfrm>
        </p:grpSpPr>
        <p:sp>
          <p:nvSpPr>
            <p:cNvPr id="37" name="TextBox 36"/>
            <p:cNvSpPr txBox="1"/>
            <p:nvPr/>
          </p:nvSpPr>
          <p:spPr>
            <a:xfrm rot="16200000" flipH="1">
              <a:off x="8451695" y="5274676"/>
              <a:ext cx="1545639" cy="271047"/>
            </a:xfrm>
            <a:prstGeom prst="rect">
              <a:avLst/>
            </a:prstGeom>
            <a:noFill/>
          </p:spPr>
          <p:txBody>
            <a:bodyPr wrap="square" rtlCol="0">
              <a:spAutoFit/>
            </a:bodyPr>
            <a:lstStyle/>
            <a:p>
              <a:pPr algn="ctr"/>
              <a:r>
                <a:rPr lang="en-US" sz="813" b="1" dirty="0">
                  <a:latin typeface="Arial" panose="020B0604020202020204" pitchFamily="34" charset="0"/>
                  <a:cs typeface="Arial" panose="020B0604020202020204" pitchFamily="34" charset="0"/>
                </a:rPr>
                <a:t>What AGRA </a:t>
              </a:r>
              <a:r>
                <a:rPr lang="en-US" sz="975" b="1" dirty="0">
                  <a:latin typeface="Arial" panose="020B0604020202020204" pitchFamily="34" charset="0"/>
                  <a:cs typeface="Arial" panose="020B0604020202020204" pitchFamily="34" charset="0"/>
                </a:rPr>
                <a:t>does</a:t>
              </a:r>
            </a:p>
          </p:txBody>
        </p:sp>
        <p:sp>
          <p:nvSpPr>
            <p:cNvPr id="38" name="TextBox 37"/>
            <p:cNvSpPr txBox="1"/>
            <p:nvPr/>
          </p:nvSpPr>
          <p:spPr>
            <a:xfrm rot="16200000" flipH="1">
              <a:off x="8471278" y="683404"/>
              <a:ext cx="1493908" cy="383052"/>
            </a:xfrm>
            <a:prstGeom prst="rect">
              <a:avLst/>
            </a:prstGeom>
            <a:noFill/>
          </p:spPr>
          <p:txBody>
            <a:bodyPr wrap="square" rtlCol="0">
              <a:spAutoFit/>
            </a:bodyPr>
            <a:lstStyle/>
            <a:p>
              <a:pPr algn="ctr"/>
              <a:r>
                <a:rPr lang="en-US" sz="813" b="1" dirty="0">
                  <a:latin typeface="Arial" panose="020B0604020202020204" pitchFamily="34" charset="0"/>
                  <a:cs typeface="Arial" panose="020B0604020202020204" pitchFamily="34" charset="0"/>
                </a:rPr>
                <a:t>AGRA’s Strategic Goals</a:t>
              </a:r>
            </a:p>
          </p:txBody>
        </p:sp>
        <p:sp>
          <p:nvSpPr>
            <p:cNvPr id="39" name="TextBox 38"/>
            <p:cNvSpPr txBox="1"/>
            <p:nvPr/>
          </p:nvSpPr>
          <p:spPr>
            <a:xfrm rot="16200000" flipH="1">
              <a:off x="7751602" y="2844567"/>
              <a:ext cx="3084903" cy="383052"/>
            </a:xfrm>
            <a:prstGeom prst="rect">
              <a:avLst/>
            </a:prstGeom>
            <a:noFill/>
          </p:spPr>
          <p:txBody>
            <a:bodyPr wrap="square" rtlCol="0">
              <a:spAutoFit/>
            </a:bodyPr>
            <a:lstStyle/>
            <a:p>
              <a:pPr algn="ctr"/>
              <a:r>
                <a:rPr lang="en-US" sz="813" b="1" dirty="0">
                  <a:latin typeface="Arial" panose="020B0604020202020204" pitchFamily="34" charset="0"/>
                  <a:cs typeface="Arial" panose="020B0604020202020204" pitchFamily="34" charset="0"/>
                </a:rPr>
                <a:t>So that the target population, institution or resource change </a:t>
              </a:r>
            </a:p>
          </p:txBody>
        </p:sp>
      </p:grpSp>
      <p:sp>
        <p:nvSpPr>
          <p:cNvPr id="40" name="Rectangle 39"/>
          <p:cNvSpPr/>
          <p:nvPr/>
        </p:nvSpPr>
        <p:spPr>
          <a:xfrm>
            <a:off x="1202851" y="5039682"/>
            <a:ext cx="6172321" cy="864312"/>
          </a:xfrm>
          <a:prstGeom prst="rect">
            <a:avLst/>
          </a:prstGeom>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r>
              <a:rPr lang="en-GB" sz="813" b="1" dirty="0">
                <a:solidFill>
                  <a:schemeClr val="tx1"/>
                </a:solidFill>
                <a:latin typeface="Arial" panose="020B0604020202020204" pitchFamily="34" charset="0"/>
                <a:cs typeface="Arial" panose="020B0604020202020204" pitchFamily="34" charset="0"/>
              </a:rPr>
              <a:t>Investment areas </a:t>
            </a:r>
          </a:p>
          <a:p>
            <a:pPr marL="232172" indent="-232172">
              <a:buFont typeface="Arial" panose="020B0604020202020204" pitchFamily="34" charset="0"/>
              <a:buChar char="•"/>
            </a:pPr>
            <a:r>
              <a:rPr lang="en-US" sz="813" dirty="0">
                <a:solidFill>
                  <a:schemeClr val="tx1"/>
                </a:solidFill>
                <a:latin typeface="Arial" panose="020B0604020202020204" pitchFamily="34" charset="0"/>
                <a:cs typeface="Arial" panose="020B0604020202020204" pitchFamily="34" charset="0"/>
              </a:rPr>
              <a:t>Develop appropriate sector strategies and investment plans for agricultural transformation</a:t>
            </a:r>
          </a:p>
          <a:p>
            <a:pPr marL="232172" indent="-232172">
              <a:buFont typeface="Arial" panose="020B0604020202020204" pitchFamily="34" charset="0"/>
              <a:buChar char="•"/>
            </a:pPr>
            <a:r>
              <a:rPr lang="en-US" sz="813" dirty="0">
                <a:solidFill>
                  <a:schemeClr val="tx1"/>
                </a:solidFill>
                <a:latin typeface="Arial" panose="020B0604020202020204" pitchFamily="34" charset="0"/>
                <a:cs typeface="Arial" panose="020B0604020202020204" pitchFamily="34" charset="0"/>
              </a:rPr>
              <a:t>Formulate appropriate policies that catalyze and sustain agricultural transformation and promote regional trade</a:t>
            </a:r>
          </a:p>
          <a:p>
            <a:pPr marL="232172" indent="-232172">
              <a:buFont typeface="Arial" panose="020B0604020202020204" pitchFamily="34" charset="0"/>
              <a:buChar char="•"/>
            </a:pPr>
            <a:r>
              <a:rPr lang="en-US" sz="813" dirty="0">
                <a:solidFill>
                  <a:schemeClr val="tx1"/>
                </a:solidFill>
                <a:latin typeface="Arial" panose="020B0604020202020204" pitchFamily="34" charset="0"/>
                <a:cs typeface="Arial" panose="020B0604020202020204" pitchFamily="34" charset="0"/>
              </a:rPr>
              <a:t>Implement sector plans and policies in order to  generate sufficient public goods that de-risk the sector, attract   private capital   investment and facilitate regional trade </a:t>
            </a:r>
          </a:p>
          <a:p>
            <a:pPr marL="139303" indent="-139303">
              <a:buFont typeface="Arial" panose="020B0604020202020204" pitchFamily="34" charset="0"/>
              <a:buChar char="•"/>
            </a:pPr>
            <a:endParaRPr lang="en-US" sz="813" dirty="0">
              <a:latin typeface="Arial" panose="020B0604020202020204" pitchFamily="34" charset="0"/>
              <a:cs typeface="Arial" panose="020B0604020202020204" pitchFamily="34" charset="0"/>
            </a:endParaRPr>
          </a:p>
        </p:txBody>
      </p:sp>
      <p:sp>
        <p:nvSpPr>
          <p:cNvPr id="50" name="Rectangle 49">
            <a:extLst>
              <a:ext uri="{FF2B5EF4-FFF2-40B4-BE49-F238E27FC236}">
                <a16:creationId xmlns:a16="http://schemas.microsoft.com/office/drawing/2014/main" id="{DF0A37FE-9961-7446-A9D2-C6C2F70CDB9E}"/>
              </a:ext>
            </a:extLst>
          </p:cNvPr>
          <p:cNvSpPr/>
          <p:nvPr/>
        </p:nvSpPr>
        <p:spPr>
          <a:xfrm>
            <a:off x="5512512" y="1663370"/>
            <a:ext cx="1418683" cy="430921"/>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r>
              <a:rPr lang="en-US" sz="813" dirty="0">
                <a:solidFill>
                  <a:schemeClr val="tx1"/>
                </a:solidFill>
                <a:latin typeface="Arial" panose="020B0604020202020204" pitchFamily="34" charset="0"/>
                <a:cs typeface="Arial" panose="020B0604020202020204" pitchFamily="34" charset="0"/>
              </a:rPr>
              <a:t>Increased resilience (more adaptive and  resilient households  to shocks)</a:t>
            </a:r>
          </a:p>
        </p:txBody>
      </p:sp>
      <p:sp>
        <p:nvSpPr>
          <p:cNvPr id="27" name="Rectangle 26">
            <a:extLst>
              <a:ext uri="{FF2B5EF4-FFF2-40B4-BE49-F238E27FC236}">
                <a16:creationId xmlns:a16="http://schemas.microsoft.com/office/drawing/2014/main" id="{A3D5872F-A552-8D4A-8F87-345FFF590BB9}"/>
              </a:ext>
            </a:extLst>
          </p:cNvPr>
          <p:cNvSpPr/>
          <p:nvPr/>
        </p:nvSpPr>
        <p:spPr>
          <a:xfrm>
            <a:off x="3539489" y="2433038"/>
            <a:ext cx="1801232" cy="1542786"/>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en-US" sz="731" b="1" dirty="0">
              <a:solidFill>
                <a:schemeClr val="tx1"/>
              </a:solidFill>
              <a:latin typeface="Franklin Gothic Medium" panose="020B0603020102020204" pitchFamily="34" charset="0"/>
              <a:cs typeface="Arial" panose="020B0604020202020204" pitchFamily="34" charset="0"/>
            </a:endParaRPr>
          </a:p>
          <a:p>
            <a:r>
              <a:rPr lang="en-US" sz="731" b="1" dirty="0">
                <a:solidFill>
                  <a:schemeClr val="tx1"/>
                </a:solidFill>
                <a:latin typeface="Arial" panose="020B0604020202020204" pitchFamily="34" charset="0"/>
                <a:cs typeface="Arial" panose="020B0604020202020204" pitchFamily="34" charset="0"/>
              </a:rPr>
              <a:t>Non-state actors</a:t>
            </a:r>
          </a:p>
          <a:p>
            <a:pPr marL="139303" indent="-139303">
              <a:buFont typeface="Arial" panose="020B0604020202020204" pitchFamily="34" charset="0"/>
              <a:buChar char="•"/>
            </a:pPr>
            <a:r>
              <a:rPr lang="en-US" sz="731" dirty="0">
                <a:solidFill>
                  <a:schemeClr val="tx1"/>
                </a:solidFill>
                <a:latin typeface="Arial" panose="020B0604020202020204" pitchFamily="34" charset="0"/>
                <a:cs typeface="Arial" panose="020B0604020202020204" pitchFamily="34" charset="0"/>
              </a:rPr>
              <a:t>Increased private sector investment along the value chain (input production and delivery, farm  production, distribution, processing  and retail)</a:t>
            </a:r>
          </a:p>
          <a:p>
            <a:pPr marL="139303" indent="-139303">
              <a:buFont typeface="Arial" panose="020B0604020202020204" pitchFamily="34" charset="0"/>
              <a:buChar char="•"/>
            </a:pPr>
            <a:r>
              <a:rPr lang="en-US" sz="731" dirty="0">
                <a:solidFill>
                  <a:schemeClr val="tx1"/>
                </a:solidFill>
                <a:latin typeface="Arial" panose="020B0604020202020204" pitchFamily="34" charset="0"/>
                <a:cs typeface="Arial" panose="020B0604020202020204" pitchFamily="34" charset="0"/>
              </a:rPr>
              <a:t>Increased private sector participation in cross-border and domestic trade </a:t>
            </a:r>
          </a:p>
          <a:p>
            <a:pPr marL="139303" indent="-139303">
              <a:buFont typeface="Arial" panose="020B0604020202020204" pitchFamily="34" charset="0"/>
              <a:buChar char="•"/>
            </a:pPr>
            <a:r>
              <a:rPr lang="en-US" sz="731" dirty="0">
                <a:solidFill>
                  <a:schemeClr val="tx1"/>
                </a:solidFill>
                <a:latin typeface="Arial" panose="020B0604020202020204" pitchFamily="34" charset="0"/>
                <a:cs typeface="Arial" panose="020B0604020202020204" pitchFamily="34" charset="0"/>
              </a:rPr>
              <a:t>Non-state actors actively engaged in the accountability processes</a:t>
            </a:r>
          </a:p>
          <a:p>
            <a:endParaRPr lang="en-US" sz="731" dirty="0">
              <a:solidFill>
                <a:schemeClr val="tx1"/>
              </a:solidFill>
              <a:latin typeface="Franklin Gothic Medium" panose="020B0603020102020204" pitchFamily="34" charset="0"/>
              <a:cs typeface="Arial" panose="020B0604020202020204" pitchFamily="34" charset="0"/>
            </a:endParaRPr>
          </a:p>
        </p:txBody>
      </p:sp>
      <p:sp>
        <p:nvSpPr>
          <p:cNvPr id="30" name="Rectangle 29">
            <a:extLst>
              <a:ext uri="{FF2B5EF4-FFF2-40B4-BE49-F238E27FC236}">
                <a16:creationId xmlns:a16="http://schemas.microsoft.com/office/drawing/2014/main" id="{1D452AD5-4EF1-BA43-8931-4EE0B7926A9A}"/>
              </a:ext>
            </a:extLst>
          </p:cNvPr>
          <p:cNvSpPr/>
          <p:nvPr/>
        </p:nvSpPr>
        <p:spPr>
          <a:xfrm>
            <a:off x="5398364" y="2410007"/>
            <a:ext cx="1733002" cy="1565816"/>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en-US" sz="731" b="1" dirty="0">
              <a:solidFill>
                <a:schemeClr val="tx1"/>
              </a:solidFill>
              <a:latin typeface="Franklin Gothic Medium" panose="020B0603020102020204" pitchFamily="34" charset="0"/>
              <a:cs typeface="Arial" panose="020B0604020202020204" pitchFamily="34" charset="0"/>
            </a:endParaRPr>
          </a:p>
          <a:p>
            <a:endParaRPr lang="en-US" sz="731" b="1" dirty="0">
              <a:solidFill>
                <a:schemeClr val="tx1"/>
              </a:solidFill>
              <a:latin typeface="Franklin Gothic Medium" panose="020B0603020102020204" pitchFamily="34" charset="0"/>
              <a:cs typeface="Arial" panose="020B0604020202020204" pitchFamily="34" charset="0"/>
            </a:endParaRPr>
          </a:p>
          <a:p>
            <a:r>
              <a:rPr lang="en-US" sz="731" b="1" dirty="0">
                <a:solidFill>
                  <a:schemeClr val="tx1"/>
                </a:solidFill>
                <a:latin typeface="Arial" panose="020B0604020202020204" pitchFamily="34" charset="0"/>
                <a:cs typeface="Arial" panose="020B0604020202020204" pitchFamily="34" charset="0"/>
              </a:rPr>
              <a:t>Functioning systems</a:t>
            </a:r>
          </a:p>
          <a:p>
            <a:pPr marL="139303" indent="-139303">
              <a:buFont typeface="Arial" panose="020B0604020202020204" pitchFamily="34" charset="0"/>
              <a:buChar char="•"/>
            </a:pPr>
            <a:r>
              <a:rPr lang="en-US" sz="731" dirty="0">
                <a:solidFill>
                  <a:schemeClr val="tx1"/>
                </a:solidFill>
                <a:latin typeface="Arial" panose="020B0604020202020204" pitchFamily="34" charset="0"/>
                <a:cs typeface="Arial" panose="020B0604020202020204" pitchFamily="34" charset="0"/>
              </a:rPr>
              <a:t>Increased private sector investment along the value chain (input production and delivery, farm  production, distribution, processing  and retail)</a:t>
            </a:r>
          </a:p>
          <a:p>
            <a:pPr marL="139303" indent="-139303">
              <a:buFont typeface="Arial" panose="020B0604020202020204" pitchFamily="34" charset="0"/>
              <a:buChar char="•"/>
            </a:pPr>
            <a:r>
              <a:rPr lang="en-US" sz="731" dirty="0">
                <a:solidFill>
                  <a:schemeClr val="tx1"/>
                </a:solidFill>
                <a:latin typeface="Arial" panose="020B0604020202020204" pitchFamily="34" charset="0"/>
                <a:cs typeface="Arial" panose="020B0604020202020204" pitchFamily="34" charset="0"/>
              </a:rPr>
              <a:t>Appropriate regulatory framework for the agricultural sector in place and operational</a:t>
            </a:r>
          </a:p>
          <a:p>
            <a:pPr marL="139303" indent="-139303">
              <a:buFont typeface="Arial" panose="020B0604020202020204" pitchFamily="34" charset="0"/>
              <a:buChar char="•"/>
            </a:pPr>
            <a:r>
              <a:rPr lang="en-US" sz="731" dirty="0">
                <a:solidFill>
                  <a:schemeClr val="tx1"/>
                </a:solidFill>
                <a:latin typeface="Arial" panose="020B0604020202020204" pitchFamily="34" charset="0"/>
                <a:cs typeface="Arial" panose="020B0604020202020204" pitchFamily="34" charset="0"/>
              </a:rPr>
              <a:t>Reduction and elimination of barriers to domestic and regional trade </a:t>
            </a:r>
          </a:p>
          <a:p>
            <a:r>
              <a:rPr lang="en-US" sz="731" dirty="0">
                <a:solidFill>
                  <a:schemeClr val="tx1"/>
                </a:solidFill>
                <a:latin typeface="Franklin Gothic Medium" panose="020B0603020102020204" pitchFamily="34" charset="0"/>
                <a:cs typeface="Arial" panose="020B0604020202020204" pitchFamily="34" charset="0"/>
              </a:rPr>
              <a:t> </a:t>
            </a:r>
          </a:p>
          <a:p>
            <a:endParaRPr lang="en-US" sz="731" dirty="0">
              <a:solidFill>
                <a:schemeClr val="tx1"/>
              </a:solidFill>
              <a:latin typeface="Franklin Gothic Medium" panose="020B0603020102020204" pitchFamily="34" charset="0"/>
              <a:cs typeface="Arial" panose="020B0604020202020204" pitchFamily="34" charset="0"/>
            </a:endParaRPr>
          </a:p>
        </p:txBody>
      </p:sp>
      <p:sp>
        <p:nvSpPr>
          <p:cNvPr id="31" name="Rectangle 30">
            <a:extLst>
              <a:ext uri="{FF2B5EF4-FFF2-40B4-BE49-F238E27FC236}">
                <a16:creationId xmlns:a16="http://schemas.microsoft.com/office/drawing/2014/main" id="{779CB063-1254-244C-8F4B-A7CC5C1362DC}"/>
              </a:ext>
            </a:extLst>
          </p:cNvPr>
          <p:cNvSpPr/>
          <p:nvPr/>
        </p:nvSpPr>
        <p:spPr>
          <a:xfrm>
            <a:off x="3414755" y="1671670"/>
            <a:ext cx="2029198" cy="457836"/>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r>
              <a:rPr lang="en-US" sz="813" dirty="0">
                <a:solidFill>
                  <a:schemeClr val="tx1"/>
                </a:solidFill>
                <a:latin typeface="Arial" panose="020B0604020202020204" pitchFamily="34" charset="0"/>
                <a:cs typeface="Arial" panose="020B0604020202020204" pitchFamily="34" charset="0"/>
              </a:rPr>
              <a:t>Increased regional trade </a:t>
            </a:r>
            <a:r>
              <a:rPr lang="en-US" sz="813" i="1" dirty="0">
                <a:solidFill>
                  <a:schemeClr val="tx1"/>
                </a:solidFill>
                <a:latin typeface="Arial" panose="020B0604020202020204" pitchFamily="34" charset="0"/>
                <a:cs typeface="Arial" panose="020B0604020202020204" pitchFamily="34" charset="0"/>
              </a:rPr>
              <a:t>(intra-Africa trade) in agricultural commodities and </a:t>
            </a:r>
            <a:r>
              <a:rPr lang="en-US" sz="813" i="1" dirty="0" smtClean="0">
                <a:solidFill>
                  <a:schemeClr val="tx1"/>
                </a:solidFill>
                <a:latin typeface="Arial" panose="020B0604020202020204" pitchFamily="34" charset="0"/>
                <a:cs typeface="Arial" panose="020B0604020202020204" pitchFamily="34" charset="0"/>
              </a:rPr>
              <a:t>inputs</a:t>
            </a:r>
            <a:endParaRPr lang="en-US" sz="813" i="1" dirty="0">
              <a:solidFill>
                <a:schemeClr val="tx1"/>
              </a:solidFill>
              <a:latin typeface="Arial" panose="020B0604020202020204" pitchFamily="34" charset="0"/>
              <a:cs typeface="Arial" panose="020B0604020202020204" pitchFamily="34" charset="0"/>
            </a:endParaRPr>
          </a:p>
        </p:txBody>
      </p:sp>
      <p:sp>
        <p:nvSpPr>
          <p:cNvPr id="32" name="Isosceles Triangle 32">
            <a:extLst>
              <a:ext uri="{FF2B5EF4-FFF2-40B4-BE49-F238E27FC236}">
                <a16:creationId xmlns:a16="http://schemas.microsoft.com/office/drawing/2014/main" id="{3515A01F-68F0-EB46-92DF-90FAD1177975}"/>
              </a:ext>
            </a:extLst>
          </p:cNvPr>
          <p:cNvSpPr/>
          <p:nvPr/>
        </p:nvSpPr>
        <p:spPr>
          <a:xfrm rot="16200000">
            <a:off x="6333755" y="3626015"/>
            <a:ext cx="2413173" cy="84660"/>
          </a:xfrm>
          <a:prstGeom prst="triangle">
            <a:avLst/>
          </a:prstGeom>
          <a:solidFill>
            <a:schemeClr val="bg2">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38" dirty="0">
              <a:solidFill>
                <a:schemeClr val="accent6">
                  <a:lumMod val="50000"/>
                </a:schemeClr>
              </a:solidFill>
              <a:latin typeface="Arial" panose="020B0604020202020204" pitchFamily="34" charset="0"/>
              <a:cs typeface="Arial" panose="020B0604020202020204" pitchFamily="34" charset="0"/>
            </a:endParaRPr>
          </a:p>
        </p:txBody>
      </p:sp>
      <p:sp>
        <p:nvSpPr>
          <p:cNvPr id="2" name="Title 1"/>
          <p:cNvSpPr>
            <a:spLocks noGrp="1"/>
          </p:cNvSpPr>
          <p:nvPr>
            <p:ph type="title"/>
          </p:nvPr>
        </p:nvSpPr>
        <p:spPr/>
        <p:txBody>
          <a:bodyPr/>
          <a:lstStyle/>
          <a:p>
            <a:r>
              <a:rPr lang="en-US" dirty="0" smtClean="0"/>
              <a:t>Policy and </a:t>
            </a:r>
            <a:r>
              <a:rPr lang="en-US" dirty="0"/>
              <a:t>State Capability </a:t>
            </a:r>
            <a:r>
              <a:rPr lang="en-US" dirty="0" smtClean="0"/>
              <a:t>Theory of Change</a:t>
            </a:r>
            <a:endParaRPr lang="en-US" dirty="0"/>
          </a:p>
        </p:txBody>
      </p:sp>
    </p:spTree>
    <p:extLst>
      <p:ext uri="{BB962C8B-B14F-4D97-AF65-F5344CB8AC3E}">
        <p14:creationId xmlns:p14="http://schemas.microsoft.com/office/powerpoint/2010/main" val="45247296"/>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p:cNvGraphicFramePr>
            <a:graphicFrameLocks noChangeAspect="1"/>
          </p:cNvGraphicFramePr>
          <p:nvPr>
            <p:custDataLst>
              <p:tags r:id="rId2"/>
            </p:custDataLst>
            <p:ext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spid="_x0000_s216181" name="think-cell Slide" r:id="rId5" imgW="470" imgH="469" progId="TCLayout.ActiveDocument.1">
                  <p:embed/>
                </p:oleObj>
              </mc:Choice>
              <mc:Fallback>
                <p:oleObj name="think-cell Slide" r:id="rId5" imgW="470" imgH="469" progId="TCLayout.ActiveDocument.1">
                  <p:embed/>
                  <p:pic>
                    <p:nvPicPr>
                      <p:cNvPr id="42" name="Object 41" hidden="1"/>
                      <p:cNvPicPr/>
                      <p:nvPr/>
                    </p:nvPicPr>
                    <p:blipFill>
                      <a:blip r:embed="rId6"/>
                      <a:stretch>
                        <a:fillRect/>
                      </a:stretch>
                    </p:blipFill>
                    <p:spPr>
                      <a:xfrm>
                        <a:off x="929978" y="644228"/>
                        <a:ext cx="1290" cy="1290"/>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031" b="1" dirty="0">
              <a:latin typeface="Arial" panose="020B0604020202020204" pitchFamily="34" charset="0"/>
              <a:cs typeface="Arial" panose="020B0604020202020204" pitchFamily="34" charset="0"/>
              <a:sym typeface="Arial" panose="020B0604020202020204" pitchFamily="34" charset="0"/>
            </a:endParaRPr>
          </a:p>
        </p:txBody>
      </p:sp>
      <p:sp>
        <p:nvSpPr>
          <p:cNvPr id="6" name="Rectangle 5"/>
          <p:cNvSpPr/>
          <p:nvPr/>
        </p:nvSpPr>
        <p:spPr>
          <a:xfrm>
            <a:off x="1279440" y="1710000"/>
            <a:ext cx="4118924" cy="1485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en-US" sz="975" b="1" dirty="0">
              <a:solidFill>
                <a:schemeClr val="accent6">
                  <a:lumMod val="50000"/>
                </a:schemeClr>
              </a:solidFill>
              <a:latin typeface="Arial" panose="020B0604020202020204" pitchFamily="34" charset="0"/>
              <a:cs typeface="Arial" panose="020B0604020202020204" pitchFamily="34" charset="0"/>
            </a:endParaRPr>
          </a:p>
        </p:txBody>
      </p:sp>
      <p:grpSp>
        <p:nvGrpSpPr>
          <p:cNvPr id="7" name="Group 6"/>
          <p:cNvGrpSpPr/>
          <p:nvPr/>
        </p:nvGrpSpPr>
        <p:grpSpPr>
          <a:xfrm>
            <a:off x="1142369" y="2232732"/>
            <a:ext cx="5105719" cy="1788338"/>
            <a:chOff x="314812" y="2552146"/>
            <a:chExt cx="5680818" cy="2201031"/>
          </a:xfrm>
        </p:grpSpPr>
        <p:sp>
          <p:nvSpPr>
            <p:cNvPr id="8" name="Rectangle 7"/>
            <p:cNvSpPr/>
            <p:nvPr/>
          </p:nvSpPr>
          <p:spPr>
            <a:xfrm>
              <a:off x="314812" y="2552146"/>
              <a:ext cx="5680818" cy="2201031"/>
            </a:xfrm>
            <a:prstGeom prst="rect">
              <a:avLst/>
            </a:prstGeom>
            <a:solidFill>
              <a:schemeClr val="tx2">
                <a:lumMod val="40000"/>
                <a:lumOff val="6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t" anchorCtr="0" forceAA="0" compatLnSpc="1">
              <a:prstTxWarp prst="textNoShape">
                <a:avLst/>
              </a:prstTxWarp>
              <a:noAutofit/>
            </a:bodyPr>
            <a:lstStyle/>
            <a:p>
              <a:pPr algn="ctr"/>
              <a:r>
                <a:rPr lang="en-US" sz="853" b="1" dirty="0">
                  <a:solidFill>
                    <a:schemeClr val="tx1"/>
                  </a:solidFill>
                  <a:latin typeface="Arial" panose="020B0604020202020204" pitchFamily="34" charset="0"/>
                  <a:cs typeface="Arial" panose="020B0604020202020204" pitchFamily="34" charset="0"/>
                </a:rPr>
                <a:t>Outcomes </a:t>
              </a:r>
            </a:p>
          </p:txBody>
        </p:sp>
        <p:sp>
          <p:nvSpPr>
            <p:cNvPr id="9" name="Rectangle 8"/>
            <p:cNvSpPr/>
            <p:nvPr/>
          </p:nvSpPr>
          <p:spPr>
            <a:xfrm>
              <a:off x="364928" y="2788667"/>
              <a:ext cx="2444852" cy="1223532"/>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en-US" sz="731" b="1" dirty="0">
                <a:solidFill>
                  <a:schemeClr val="tx1"/>
                </a:solidFill>
                <a:latin typeface="Arial" panose="020B0604020202020204" pitchFamily="34" charset="0"/>
                <a:cs typeface="Arial" panose="020B0604020202020204" pitchFamily="34" charset="0"/>
              </a:endParaRPr>
            </a:p>
            <a:p>
              <a:r>
                <a:rPr lang="en-US" sz="731" b="1" dirty="0">
                  <a:solidFill>
                    <a:schemeClr val="tx1"/>
                  </a:solidFill>
                  <a:latin typeface="Arial" panose="020B0604020202020204" pitchFamily="34" charset="0"/>
                  <a:cs typeface="Arial" panose="020B0604020202020204" pitchFamily="34" charset="0"/>
                </a:rPr>
                <a:t>Farmers using</a:t>
              </a:r>
            </a:p>
            <a:p>
              <a:pPr marL="139303" indent="-139303">
                <a:buFont typeface="Arial" panose="020B0604020202020204" pitchFamily="34" charset="0"/>
                <a:buChar char="•"/>
              </a:pPr>
              <a:r>
                <a:rPr lang="en-US" sz="731" dirty="0">
                  <a:solidFill>
                    <a:schemeClr val="tx1"/>
                  </a:solidFill>
                  <a:latin typeface="Arial" panose="020B0604020202020204" pitchFamily="34" charset="0"/>
                  <a:cs typeface="Arial" panose="020B0604020202020204" pitchFamily="34" charset="0"/>
                </a:rPr>
                <a:t> Improved production,  management  technologies and practices </a:t>
              </a:r>
            </a:p>
            <a:p>
              <a:pPr marL="139303" indent="-139303">
                <a:buFont typeface="Arial" panose="020B0604020202020204" pitchFamily="34" charset="0"/>
                <a:buChar char="•"/>
              </a:pPr>
              <a:r>
                <a:rPr lang="en-US" sz="731" dirty="0">
                  <a:solidFill>
                    <a:schemeClr val="tx1"/>
                  </a:solidFill>
                  <a:latin typeface="Arial" panose="020B0604020202020204" pitchFamily="34" charset="0"/>
                  <a:cs typeface="Arial" panose="020B0604020202020204" pitchFamily="34" charset="0"/>
                </a:rPr>
                <a:t>Agricultural credit and financial services </a:t>
              </a:r>
            </a:p>
            <a:p>
              <a:pPr marL="139303" indent="-139303">
                <a:buFont typeface="Arial" panose="020B0604020202020204" pitchFamily="34" charset="0"/>
                <a:buChar char="•"/>
              </a:pPr>
              <a:r>
                <a:rPr lang="en-US" sz="731" dirty="0">
                  <a:solidFill>
                    <a:schemeClr val="tx1"/>
                  </a:solidFill>
                  <a:latin typeface="Arial" panose="020B0604020202020204" pitchFamily="34" charset="0"/>
                  <a:cs typeface="Arial" panose="020B0604020202020204" pitchFamily="34" charset="0"/>
                </a:rPr>
                <a:t>Improved post harvest management technologies and practices</a:t>
              </a:r>
            </a:p>
            <a:p>
              <a:pPr marL="139303" indent="-139303">
                <a:buFont typeface="Arial" panose="020B0604020202020204" pitchFamily="34" charset="0"/>
                <a:buChar char="•"/>
              </a:pPr>
              <a:r>
                <a:rPr lang="en-US" sz="731" dirty="0">
                  <a:solidFill>
                    <a:schemeClr val="tx1"/>
                  </a:solidFill>
                  <a:latin typeface="Arial" panose="020B0604020202020204" pitchFamily="34" charset="0"/>
                  <a:cs typeface="Arial" panose="020B0604020202020204" pitchFamily="34" charset="0"/>
                </a:rPr>
                <a:t>Early warning weather and market intelligence information</a:t>
              </a:r>
            </a:p>
            <a:p>
              <a:endParaRPr lang="en-US" sz="731" dirty="0">
                <a:solidFill>
                  <a:schemeClr val="tx1"/>
                </a:solidFill>
                <a:latin typeface="Arial" panose="020B0604020202020204" pitchFamily="34" charset="0"/>
                <a:cs typeface="Arial" panose="020B0604020202020204" pitchFamily="34" charset="0"/>
              </a:endParaRPr>
            </a:p>
          </p:txBody>
        </p:sp>
        <p:sp>
          <p:nvSpPr>
            <p:cNvPr id="11" name="Rectangle 10"/>
            <p:cNvSpPr/>
            <p:nvPr/>
          </p:nvSpPr>
          <p:spPr>
            <a:xfrm>
              <a:off x="3003467" y="2800072"/>
              <a:ext cx="2798476" cy="1212128"/>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en-US" sz="731" b="1" dirty="0">
                <a:solidFill>
                  <a:schemeClr val="tx1"/>
                </a:solidFill>
                <a:latin typeface="Arial" panose="020B0604020202020204" pitchFamily="34" charset="0"/>
                <a:cs typeface="Arial" panose="020B0604020202020204" pitchFamily="34" charset="0"/>
              </a:endParaRPr>
            </a:p>
            <a:p>
              <a:r>
                <a:rPr lang="en-US" sz="731" b="1" dirty="0">
                  <a:solidFill>
                    <a:schemeClr val="tx1"/>
                  </a:solidFill>
                  <a:latin typeface="Arial" panose="020B0604020202020204" pitchFamily="34" charset="0"/>
                  <a:cs typeface="Arial" panose="020B0604020202020204" pitchFamily="34" charset="0"/>
                </a:rPr>
                <a:t>Non-state actors</a:t>
              </a:r>
            </a:p>
            <a:p>
              <a:pPr marL="139303" indent="-139303">
                <a:buFont typeface="Arial" panose="020B0604020202020204" pitchFamily="34" charset="0"/>
                <a:buChar char="•"/>
              </a:pPr>
              <a:r>
                <a:rPr lang="en-US" sz="731" dirty="0">
                  <a:solidFill>
                    <a:schemeClr val="tx1"/>
                  </a:solidFill>
                  <a:latin typeface="Arial" panose="020B0604020202020204" pitchFamily="34" charset="0"/>
                  <a:cs typeface="Arial" panose="020B0604020202020204" pitchFamily="34" charset="0"/>
                </a:rPr>
                <a:t>Large, MSMEs  producing and  delivering inputs, extension, services to farmers in response to demand from farmers</a:t>
              </a:r>
            </a:p>
            <a:p>
              <a:pPr marL="139303" indent="-139303">
                <a:buFont typeface="Arial" panose="020B0604020202020204" pitchFamily="34" charset="0"/>
                <a:buChar char="•"/>
              </a:pPr>
              <a:r>
                <a:rPr lang="en-US" sz="731" dirty="0">
                  <a:solidFill>
                    <a:schemeClr val="tx1"/>
                  </a:solidFill>
                  <a:latin typeface="Arial" panose="020B0604020202020204" pitchFamily="34" charset="0"/>
                  <a:cs typeface="Arial" panose="020B0604020202020204" pitchFamily="34" charset="0"/>
                </a:rPr>
                <a:t>  Bank and non-bank institutions providing financial and credit services to MSMEs and farmers </a:t>
              </a:r>
            </a:p>
            <a:p>
              <a:pPr marL="139303" indent="-139303">
                <a:buFont typeface="Arial" panose="020B0604020202020204" pitchFamily="34" charset="0"/>
                <a:buChar char="•"/>
              </a:pPr>
              <a:r>
                <a:rPr lang="en-US" sz="731" dirty="0">
                  <a:solidFill>
                    <a:schemeClr val="tx1"/>
                  </a:solidFill>
                  <a:latin typeface="Arial" panose="020B0604020202020204" pitchFamily="34" charset="0"/>
                  <a:cs typeface="Arial" panose="020B0604020202020204" pitchFamily="34" charset="0"/>
                </a:rPr>
                <a:t>Large, MSMEs providing off-taking,  warehousing and processing services  </a:t>
              </a:r>
            </a:p>
            <a:p>
              <a:endParaRPr lang="en-US" sz="731" dirty="0">
                <a:solidFill>
                  <a:schemeClr val="tx1"/>
                </a:solidFill>
                <a:latin typeface="Arial" panose="020B0604020202020204" pitchFamily="34" charset="0"/>
                <a:cs typeface="Arial" panose="020B0604020202020204" pitchFamily="34" charset="0"/>
              </a:endParaRPr>
            </a:p>
          </p:txBody>
        </p:sp>
        <p:sp>
          <p:nvSpPr>
            <p:cNvPr id="17" name="Rectangle 16"/>
            <p:cNvSpPr/>
            <p:nvPr/>
          </p:nvSpPr>
          <p:spPr>
            <a:xfrm>
              <a:off x="364927" y="4129032"/>
              <a:ext cx="5571713" cy="519168"/>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r>
                <a:rPr lang="en-US" sz="813" b="1" dirty="0">
                  <a:solidFill>
                    <a:schemeClr val="tx1"/>
                  </a:solidFill>
                  <a:latin typeface="Arial" panose="020B0604020202020204" pitchFamily="34" charset="0"/>
                  <a:cs typeface="Arial" panose="020B0604020202020204" pitchFamily="34" charset="0"/>
                </a:rPr>
                <a:t>Farmers and other value chain actors have improved access to </a:t>
              </a:r>
            </a:p>
            <a:p>
              <a:r>
                <a:rPr lang="en-US" sz="813" dirty="0">
                  <a:solidFill>
                    <a:schemeClr val="tx1"/>
                  </a:solidFill>
                  <a:latin typeface="Arial" panose="020B0604020202020204" pitchFamily="34" charset="0"/>
                  <a:cs typeface="Arial" panose="020B0604020202020204" pitchFamily="34" charset="0"/>
                </a:rPr>
                <a:t>Inputs (fertilizer, seeds); Extension services (knowledge and information); Credit and financial services, stable and remunerative markets, early warning and market intelligence information</a:t>
              </a:r>
            </a:p>
          </p:txBody>
        </p:sp>
      </p:grpSp>
      <p:grpSp>
        <p:nvGrpSpPr>
          <p:cNvPr id="19" name="Group 18"/>
          <p:cNvGrpSpPr/>
          <p:nvPr/>
        </p:nvGrpSpPr>
        <p:grpSpPr>
          <a:xfrm>
            <a:off x="1169841" y="1292602"/>
            <a:ext cx="5038538" cy="912879"/>
            <a:chOff x="314813" y="1316708"/>
            <a:chExt cx="5113471" cy="838389"/>
          </a:xfrm>
        </p:grpSpPr>
        <p:sp>
          <p:nvSpPr>
            <p:cNvPr id="21" name="Rectangle 20"/>
            <p:cNvSpPr/>
            <p:nvPr/>
          </p:nvSpPr>
          <p:spPr>
            <a:xfrm>
              <a:off x="314813" y="1316708"/>
              <a:ext cx="5113471" cy="838389"/>
            </a:xfrm>
            <a:prstGeom prst="rect">
              <a:avLst/>
            </a:prstGeom>
            <a:solidFill>
              <a:schemeClr val="accent2">
                <a:lumMod val="20000"/>
                <a:lumOff val="8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t" anchorCtr="0" forceAA="0" compatLnSpc="1">
              <a:prstTxWarp prst="textNoShape">
                <a:avLst/>
              </a:prstTxWarp>
              <a:noAutofit/>
            </a:bodyPr>
            <a:lstStyle/>
            <a:p>
              <a:pPr algn="ctr"/>
              <a:endParaRPr lang="en-US" sz="650" b="1" dirty="0">
                <a:solidFill>
                  <a:schemeClr val="tx1"/>
                </a:solidFill>
                <a:latin typeface="Arial" panose="020B0604020202020204" pitchFamily="34" charset="0"/>
                <a:cs typeface="Arial" panose="020B0604020202020204" pitchFamily="34" charset="0"/>
              </a:endParaRPr>
            </a:p>
            <a:p>
              <a:pPr algn="ctr"/>
              <a:endParaRPr lang="en-US" sz="650" b="1" dirty="0">
                <a:solidFill>
                  <a:schemeClr val="tx1"/>
                </a:solidFill>
                <a:latin typeface="Arial" panose="020B0604020202020204" pitchFamily="34" charset="0"/>
                <a:cs typeface="Arial" panose="020B0604020202020204" pitchFamily="34" charset="0"/>
              </a:endParaRPr>
            </a:p>
            <a:p>
              <a:pPr algn="ctr"/>
              <a:endParaRPr lang="en-US" sz="650" b="1" dirty="0">
                <a:solidFill>
                  <a:schemeClr val="tx1"/>
                </a:solidFill>
                <a:latin typeface="Arial" panose="020B0604020202020204" pitchFamily="34" charset="0"/>
                <a:cs typeface="Arial" panose="020B0604020202020204" pitchFamily="34" charset="0"/>
              </a:endParaRPr>
            </a:p>
            <a:p>
              <a:pPr algn="ctr"/>
              <a:endParaRPr lang="en-US" sz="650" b="1" dirty="0">
                <a:solidFill>
                  <a:schemeClr val="tx1"/>
                </a:solidFill>
                <a:latin typeface="Arial" panose="020B0604020202020204" pitchFamily="34" charset="0"/>
                <a:cs typeface="Arial" panose="020B0604020202020204" pitchFamily="34" charset="0"/>
              </a:endParaRPr>
            </a:p>
            <a:p>
              <a:pPr algn="ctr"/>
              <a:endParaRPr lang="en-US" sz="650" b="1" dirty="0">
                <a:solidFill>
                  <a:schemeClr val="tx1"/>
                </a:solidFill>
                <a:latin typeface="Arial" panose="020B0604020202020204" pitchFamily="34" charset="0"/>
                <a:cs typeface="Arial" panose="020B0604020202020204" pitchFamily="34" charset="0"/>
              </a:endParaRPr>
            </a:p>
            <a:p>
              <a:pPr algn="ctr"/>
              <a:endParaRPr lang="en-US" sz="650" b="1" dirty="0">
                <a:solidFill>
                  <a:schemeClr val="tx1"/>
                </a:solidFill>
                <a:latin typeface="Arial" panose="020B0604020202020204" pitchFamily="34" charset="0"/>
                <a:cs typeface="Arial" panose="020B0604020202020204" pitchFamily="34" charset="0"/>
              </a:endParaRPr>
            </a:p>
            <a:p>
              <a:pPr algn="ctr"/>
              <a:endParaRPr lang="en-US" sz="975" dirty="0">
                <a:solidFill>
                  <a:schemeClr val="accent6">
                    <a:lumMod val="50000"/>
                  </a:schemeClr>
                </a:solidFill>
                <a:latin typeface="Arial" panose="020B0604020202020204" pitchFamily="34" charset="0"/>
                <a:cs typeface="Arial" panose="020B0604020202020204" pitchFamily="34" charset="0"/>
              </a:endParaRPr>
            </a:p>
          </p:txBody>
        </p:sp>
        <p:sp>
          <p:nvSpPr>
            <p:cNvPr id="22" name="Rectangle 21"/>
            <p:cNvSpPr/>
            <p:nvPr/>
          </p:nvSpPr>
          <p:spPr>
            <a:xfrm>
              <a:off x="1230201" y="1664844"/>
              <a:ext cx="1565862" cy="428100"/>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r>
                <a:rPr lang="en-US" sz="813" dirty="0">
                  <a:solidFill>
                    <a:schemeClr val="tx1"/>
                  </a:solidFill>
                  <a:latin typeface="Arial" panose="020B0604020202020204" pitchFamily="34" charset="0"/>
                  <a:cs typeface="Arial" panose="020B0604020202020204" pitchFamily="34" charset="0"/>
                </a:rPr>
                <a:t>Increased productivity </a:t>
              </a:r>
              <a:r>
                <a:rPr lang="en-US" sz="813" i="1" dirty="0">
                  <a:solidFill>
                    <a:schemeClr val="tx1"/>
                  </a:solidFill>
                  <a:latin typeface="Arial" panose="020B0604020202020204" pitchFamily="34" charset="0"/>
                  <a:cs typeface="Arial" panose="020B0604020202020204" pitchFamily="34" charset="0"/>
                </a:rPr>
                <a:t>(More productive small holder farming units and SMEs)</a:t>
              </a:r>
            </a:p>
          </p:txBody>
        </p:sp>
        <p:sp>
          <p:nvSpPr>
            <p:cNvPr id="24" name="Rectangle 23"/>
            <p:cNvSpPr/>
            <p:nvPr/>
          </p:nvSpPr>
          <p:spPr>
            <a:xfrm>
              <a:off x="981671" y="1327177"/>
              <a:ext cx="4085069" cy="285689"/>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r>
                <a:rPr lang="en-US" sz="894" b="1" dirty="0">
                  <a:solidFill>
                    <a:schemeClr val="tx1"/>
                  </a:solidFill>
                  <a:latin typeface="Arial" panose="020B0604020202020204" pitchFamily="34" charset="0"/>
                  <a:cs typeface="Arial" panose="020B0604020202020204" pitchFamily="34" charset="0"/>
                </a:rPr>
                <a:t>Increased incomes and improved food security</a:t>
              </a:r>
            </a:p>
          </p:txBody>
        </p:sp>
      </p:grpSp>
      <p:grpSp>
        <p:nvGrpSpPr>
          <p:cNvPr id="26" name="Group 25"/>
          <p:cNvGrpSpPr/>
          <p:nvPr/>
        </p:nvGrpSpPr>
        <p:grpSpPr>
          <a:xfrm>
            <a:off x="6495613" y="2232731"/>
            <a:ext cx="2835543" cy="3598993"/>
            <a:chOff x="5493255" y="1537542"/>
            <a:chExt cx="3574546" cy="2389931"/>
          </a:xfrm>
        </p:grpSpPr>
        <p:sp>
          <p:nvSpPr>
            <p:cNvPr id="28" name="Rectangle 27"/>
            <p:cNvSpPr/>
            <p:nvPr/>
          </p:nvSpPr>
          <p:spPr>
            <a:xfrm>
              <a:off x="5493256" y="2788134"/>
              <a:ext cx="3566662" cy="1139339"/>
            </a:xfrm>
            <a:prstGeom prst="rect">
              <a:avLst/>
            </a:prstGeom>
            <a:ln>
              <a:solidFill>
                <a:schemeClr val="tx1"/>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r>
                <a:rPr lang="en-GB" sz="975" b="1" dirty="0">
                  <a:solidFill>
                    <a:schemeClr val="tx1"/>
                  </a:solidFill>
                  <a:latin typeface="Arial" panose="020B0604020202020204" pitchFamily="34" charset="0"/>
                  <a:cs typeface="Arial" panose="020B0604020202020204" pitchFamily="34" charset="0"/>
                </a:rPr>
                <a:t>Partnerships</a:t>
              </a:r>
            </a:p>
            <a:p>
              <a:r>
                <a:rPr lang="en-GB" sz="894" dirty="0">
                  <a:solidFill>
                    <a:schemeClr val="tx1"/>
                  </a:solidFill>
                  <a:latin typeface="Arial" panose="020B0604020202020204" pitchFamily="34" charset="0"/>
                  <a:cs typeface="Arial" panose="020B0604020202020204" pitchFamily="34" charset="0"/>
                </a:rPr>
                <a:t>Work with partners at all levels to:</a:t>
              </a:r>
            </a:p>
            <a:p>
              <a:pPr marL="232172" indent="-232172">
                <a:buFont typeface="Arial" panose="020B0604020202020204" pitchFamily="34" charset="0"/>
                <a:buChar char="•"/>
              </a:pPr>
              <a:r>
                <a:rPr lang="en-GB" sz="894" dirty="0">
                  <a:solidFill>
                    <a:schemeClr val="tx1"/>
                  </a:solidFill>
                  <a:latin typeface="Arial" panose="020B0604020202020204" pitchFamily="34" charset="0"/>
                  <a:cs typeface="Arial" panose="020B0604020202020204" pitchFamily="34" charset="0"/>
                </a:rPr>
                <a:t>Crowd in private capital in  support of small-holder agricultural development </a:t>
              </a:r>
            </a:p>
            <a:p>
              <a:pPr marL="232172" indent="-232172">
                <a:buFont typeface="Arial" panose="020B0604020202020204" pitchFamily="34" charset="0"/>
                <a:buChar char="•"/>
              </a:pPr>
              <a:r>
                <a:rPr lang="en-GB" sz="894" dirty="0">
                  <a:solidFill>
                    <a:schemeClr val="tx1"/>
                  </a:solidFill>
                  <a:latin typeface="Arial" panose="020B0604020202020204" pitchFamily="34" charset="0"/>
                  <a:cs typeface="Arial" panose="020B0604020202020204" pitchFamily="34" charset="0"/>
                </a:rPr>
                <a:t>Derive synergies and reduce duplication of effort likelihood of transformation within </a:t>
              </a:r>
            </a:p>
            <a:p>
              <a:pPr marL="232172" indent="-232172">
                <a:buFont typeface="Arial" panose="020B0604020202020204" pitchFamily="34" charset="0"/>
                <a:buChar char="•"/>
              </a:pPr>
              <a:r>
                <a:rPr lang="en-GB" sz="894" dirty="0">
                  <a:solidFill>
                    <a:schemeClr val="tx1"/>
                  </a:solidFill>
                  <a:latin typeface="Arial" panose="020B0604020202020204" pitchFamily="34" charset="0"/>
                  <a:cs typeface="Arial" panose="020B0604020202020204" pitchFamily="34" charset="0"/>
                </a:rPr>
                <a:t>Derive synergies in order to increase the reach of AGRA’s investments (impact at scale)</a:t>
              </a:r>
            </a:p>
          </p:txBody>
        </p:sp>
        <p:sp>
          <p:nvSpPr>
            <p:cNvPr id="29" name="Rectangle 28"/>
            <p:cNvSpPr/>
            <p:nvPr/>
          </p:nvSpPr>
          <p:spPr>
            <a:xfrm>
              <a:off x="5493255" y="1537542"/>
              <a:ext cx="3574546" cy="1187554"/>
            </a:xfrm>
            <a:prstGeom prst="rect">
              <a:avLst/>
            </a:prstGeom>
            <a:ln>
              <a:solidFill>
                <a:schemeClr val="tx1"/>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r>
                <a:rPr lang="en-US" sz="975" b="1" dirty="0">
                  <a:solidFill>
                    <a:schemeClr val="tx1"/>
                  </a:solidFill>
                  <a:latin typeface="Arial" panose="020B0604020202020204" pitchFamily="34" charset="0"/>
                  <a:cs typeface="Arial" panose="020B0604020202020204" pitchFamily="34" charset="0"/>
                </a:rPr>
                <a:t>State capacity and policy </a:t>
              </a:r>
            </a:p>
            <a:p>
              <a:r>
                <a:rPr lang="en-US" sz="894" dirty="0">
                  <a:solidFill>
                    <a:schemeClr val="tx1"/>
                  </a:solidFill>
                  <a:latin typeface="Arial" panose="020B0604020202020204" pitchFamily="34" charset="0"/>
                  <a:cs typeface="Arial" panose="020B0604020202020204" pitchFamily="34" charset="0"/>
                </a:rPr>
                <a:t>Develop state capability to:</a:t>
              </a:r>
            </a:p>
            <a:p>
              <a:pPr marL="232172" indent="-232172">
                <a:buFont typeface="Arial" panose="020B0604020202020204" pitchFamily="34" charset="0"/>
                <a:buChar char="•"/>
              </a:pPr>
              <a:r>
                <a:rPr lang="en-US" sz="894" dirty="0">
                  <a:solidFill>
                    <a:schemeClr val="tx1"/>
                  </a:solidFill>
                  <a:latin typeface="Arial" panose="020B0604020202020204" pitchFamily="34" charset="0"/>
                  <a:cs typeface="Arial" panose="020B0604020202020204" pitchFamily="34" charset="0"/>
                </a:rPr>
                <a:t>Develop appropriate sector strategies and investment plans for agricultural transformation</a:t>
              </a:r>
            </a:p>
            <a:p>
              <a:pPr marL="232172" indent="-232172">
                <a:buFont typeface="Arial" panose="020B0604020202020204" pitchFamily="34" charset="0"/>
                <a:buChar char="•"/>
              </a:pPr>
              <a:r>
                <a:rPr lang="en-US" sz="894" dirty="0">
                  <a:solidFill>
                    <a:schemeClr val="tx1"/>
                  </a:solidFill>
                  <a:latin typeface="Arial" panose="020B0604020202020204" pitchFamily="34" charset="0"/>
                  <a:cs typeface="Arial" panose="020B0604020202020204" pitchFamily="34" charset="0"/>
                </a:rPr>
                <a:t>Formulate appropriate policies that catalyze and sustain agricultural transformation and promote regional trade</a:t>
              </a:r>
            </a:p>
            <a:p>
              <a:pPr marL="232172" indent="-232172">
                <a:buFont typeface="Arial" panose="020B0604020202020204" pitchFamily="34" charset="0"/>
                <a:buChar char="•"/>
              </a:pPr>
              <a:r>
                <a:rPr lang="en-US" sz="894" dirty="0">
                  <a:solidFill>
                    <a:schemeClr val="tx1"/>
                  </a:solidFill>
                  <a:latin typeface="Arial" panose="020B0604020202020204" pitchFamily="34" charset="0"/>
                  <a:cs typeface="Arial" panose="020B0604020202020204" pitchFamily="34" charset="0"/>
                </a:rPr>
                <a:t>Implement sector plans and policies in order to  generate sufficient public goods that de-risk the sector, attract   private capital   investment and facilitate regional trade </a:t>
              </a:r>
            </a:p>
          </p:txBody>
        </p:sp>
      </p:grpSp>
      <p:sp>
        <p:nvSpPr>
          <p:cNvPr id="33" name="Isosceles Triangle 32"/>
          <p:cNvSpPr/>
          <p:nvPr/>
        </p:nvSpPr>
        <p:spPr>
          <a:xfrm rot="16200000">
            <a:off x="4513784" y="3900403"/>
            <a:ext cx="3670981" cy="145784"/>
          </a:xfrm>
          <a:prstGeom prst="triangle">
            <a:avLst/>
          </a:prstGeom>
          <a:solidFill>
            <a:schemeClr val="bg2">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38" dirty="0">
              <a:solidFill>
                <a:schemeClr val="accent6">
                  <a:lumMod val="50000"/>
                </a:schemeClr>
              </a:solidFill>
              <a:latin typeface="Arial" panose="020B0604020202020204" pitchFamily="34" charset="0"/>
              <a:cs typeface="Arial" panose="020B0604020202020204" pitchFamily="34" charset="0"/>
            </a:endParaRPr>
          </a:p>
        </p:txBody>
      </p:sp>
      <p:sp>
        <p:nvSpPr>
          <p:cNvPr id="34" name="Up Arrow 33"/>
          <p:cNvSpPr/>
          <p:nvPr/>
        </p:nvSpPr>
        <p:spPr>
          <a:xfrm>
            <a:off x="509033" y="1292602"/>
            <a:ext cx="207040" cy="4611392"/>
          </a:xfrm>
          <a:prstGeom prst="upArrow">
            <a:avLst/>
          </a:prstGeom>
          <a:solidFill>
            <a:schemeClr val="tx1">
              <a:lumMod val="65000"/>
              <a:lumOff val="3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38" dirty="0">
              <a:solidFill>
                <a:schemeClr val="accent6">
                  <a:lumMod val="50000"/>
                </a:schemeClr>
              </a:solidFill>
              <a:latin typeface="Arial" panose="020B0604020202020204" pitchFamily="34" charset="0"/>
              <a:cs typeface="Arial" panose="020B0604020202020204" pitchFamily="34" charset="0"/>
            </a:endParaRPr>
          </a:p>
        </p:txBody>
      </p:sp>
      <p:grpSp>
        <p:nvGrpSpPr>
          <p:cNvPr id="36" name="Group 35"/>
          <p:cNvGrpSpPr/>
          <p:nvPr/>
        </p:nvGrpSpPr>
        <p:grpSpPr>
          <a:xfrm>
            <a:off x="670051" y="1143687"/>
            <a:ext cx="472880" cy="4291807"/>
            <a:chOff x="9026706" y="127976"/>
            <a:chExt cx="528823" cy="5282224"/>
          </a:xfrm>
        </p:grpSpPr>
        <p:sp>
          <p:nvSpPr>
            <p:cNvPr id="37" name="TextBox 36"/>
            <p:cNvSpPr txBox="1"/>
            <p:nvPr/>
          </p:nvSpPr>
          <p:spPr>
            <a:xfrm rot="16200000" flipH="1">
              <a:off x="8504357" y="4501857"/>
              <a:ext cx="1545639" cy="271047"/>
            </a:xfrm>
            <a:prstGeom prst="rect">
              <a:avLst/>
            </a:prstGeom>
            <a:noFill/>
          </p:spPr>
          <p:txBody>
            <a:bodyPr wrap="square" rtlCol="0">
              <a:spAutoFit/>
            </a:bodyPr>
            <a:lstStyle/>
            <a:p>
              <a:pPr algn="ctr"/>
              <a:r>
                <a:rPr lang="en-US" sz="813" b="1" dirty="0">
                  <a:latin typeface="Arial" panose="020B0604020202020204" pitchFamily="34" charset="0"/>
                  <a:cs typeface="Arial" panose="020B0604020202020204" pitchFamily="34" charset="0"/>
                </a:rPr>
                <a:t>What AGRA </a:t>
              </a:r>
              <a:r>
                <a:rPr lang="en-US" sz="975" b="1" dirty="0">
                  <a:latin typeface="Arial" panose="020B0604020202020204" pitchFamily="34" charset="0"/>
                  <a:cs typeface="Arial" panose="020B0604020202020204" pitchFamily="34" charset="0"/>
                </a:rPr>
                <a:t>does</a:t>
              </a:r>
            </a:p>
          </p:txBody>
        </p:sp>
        <p:sp>
          <p:nvSpPr>
            <p:cNvPr id="38" name="TextBox 37"/>
            <p:cNvSpPr txBox="1"/>
            <p:nvPr/>
          </p:nvSpPr>
          <p:spPr>
            <a:xfrm rot="16200000" flipH="1">
              <a:off x="8471278" y="683404"/>
              <a:ext cx="1493908" cy="383052"/>
            </a:xfrm>
            <a:prstGeom prst="rect">
              <a:avLst/>
            </a:prstGeom>
            <a:noFill/>
          </p:spPr>
          <p:txBody>
            <a:bodyPr wrap="square" rtlCol="0">
              <a:spAutoFit/>
            </a:bodyPr>
            <a:lstStyle/>
            <a:p>
              <a:pPr algn="ctr"/>
              <a:r>
                <a:rPr lang="en-US" sz="813" b="1" dirty="0">
                  <a:latin typeface="Arial" panose="020B0604020202020204" pitchFamily="34" charset="0"/>
                  <a:cs typeface="Arial" panose="020B0604020202020204" pitchFamily="34" charset="0"/>
                </a:rPr>
                <a:t>AGRA’s Strategic Goals</a:t>
              </a:r>
            </a:p>
          </p:txBody>
        </p:sp>
        <p:sp>
          <p:nvSpPr>
            <p:cNvPr id="39" name="TextBox 38"/>
            <p:cNvSpPr txBox="1"/>
            <p:nvPr/>
          </p:nvSpPr>
          <p:spPr>
            <a:xfrm rot="16200000" flipH="1">
              <a:off x="8296678" y="2410522"/>
              <a:ext cx="1994751" cy="522950"/>
            </a:xfrm>
            <a:prstGeom prst="rect">
              <a:avLst/>
            </a:prstGeom>
            <a:noFill/>
          </p:spPr>
          <p:txBody>
            <a:bodyPr wrap="square" rtlCol="0">
              <a:spAutoFit/>
            </a:bodyPr>
            <a:lstStyle/>
            <a:p>
              <a:pPr algn="ctr"/>
              <a:r>
                <a:rPr lang="en-US" sz="813" b="1" dirty="0">
                  <a:latin typeface="Arial" panose="020B0604020202020204" pitchFamily="34" charset="0"/>
                  <a:cs typeface="Arial" panose="020B0604020202020204" pitchFamily="34" charset="0"/>
                </a:rPr>
                <a:t>So that the target population, institution or resource change </a:t>
              </a:r>
            </a:p>
          </p:txBody>
        </p:sp>
      </p:grpSp>
      <p:sp>
        <p:nvSpPr>
          <p:cNvPr id="40" name="Rectangle 39"/>
          <p:cNvSpPr/>
          <p:nvPr/>
        </p:nvSpPr>
        <p:spPr>
          <a:xfrm>
            <a:off x="1157052" y="4115997"/>
            <a:ext cx="5038018" cy="1819851"/>
          </a:xfrm>
          <a:prstGeom prst="rect">
            <a:avLst/>
          </a:prstGeom>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r>
              <a:rPr lang="en-GB" sz="813" b="1" dirty="0">
                <a:solidFill>
                  <a:schemeClr val="tx1"/>
                </a:solidFill>
                <a:latin typeface="Arial" panose="020B0604020202020204" pitchFamily="34" charset="0"/>
                <a:cs typeface="Arial" panose="020B0604020202020204" pitchFamily="34" charset="0"/>
              </a:rPr>
              <a:t>Investment areas </a:t>
            </a:r>
          </a:p>
          <a:p>
            <a:pPr marL="139303" indent="-139303">
              <a:buFont typeface="Arial" panose="020B0604020202020204" pitchFamily="34" charset="0"/>
              <a:buChar char="•"/>
            </a:pPr>
            <a:r>
              <a:rPr lang="en-US" sz="975" dirty="0">
                <a:latin typeface="Arial" panose="020B0604020202020204" pitchFamily="34" charset="0"/>
                <a:cs typeface="Arial" panose="020B0604020202020204" pitchFamily="34" charset="0"/>
              </a:rPr>
              <a:t>Strengthening agricultural input systems, technology development and supply chain</a:t>
            </a:r>
          </a:p>
          <a:p>
            <a:pPr marL="139303" indent="-139303">
              <a:buFont typeface="Arial" panose="020B0604020202020204" pitchFamily="34" charset="0"/>
              <a:buChar char="•"/>
            </a:pPr>
            <a:r>
              <a:rPr lang="en-US" sz="975" dirty="0">
                <a:solidFill>
                  <a:schemeClr val="tx1"/>
                </a:solidFill>
                <a:latin typeface="Arial" panose="020B0604020202020204" pitchFamily="34" charset="0"/>
                <a:cs typeface="Arial" panose="020B0604020202020204" pitchFamily="34" charset="0"/>
              </a:rPr>
              <a:t>Developing and strengthening extension and advisory  services </a:t>
            </a:r>
          </a:p>
          <a:p>
            <a:pPr marL="139303" indent="-139303">
              <a:buFont typeface="Arial" panose="020B0604020202020204" pitchFamily="34" charset="0"/>
              <a:buChar char="•"/>
            </a:pPr>
            <a:r>
              <a:rPr lang="en-US" sz="975" dirty="0">
                <a:solidFill>
                  <a:schemeClr val="tx1"/>
                </a:solidFill>
                <a:latin typeface="Arial" panose="020B0604020202020204" pitchFamily="34" charset="0"/>
                <a:cs typeface="Arial" panose="020B0604020202020204" pitchFamily="34" charset="0"/>
              </a:rPr>
              <a:t>Developing and strengthening early warning weather and market information systems</a:t>
            </a:r>
          </a:p>
          <a:p>
            <a:pPr marL="139303" indent="-139303">
              <a:buFont typeface="Arial" panose="020B0604020202020204" pitchFamily="34" charset="0"/>
              <a:buChar char="•"/>
            </a:pPr>
            <a:r>
              <a:rPr lang="en-US" sz="975" dirty="0">
                <a:solidFill>
                  <a:schemeClr val="tx1"/>
                </a:solidFill>
                <a:latin typeface="Arial" panose="020B0604020202020204" pitchFamily="34" charset="0"/>
                <a:cs typeface="Arial" panose="020B0604020202020204" pitchFamily="34" charset="0"/>
              </a:rPr>
              <a:t>Developing and strengthening  responsive agricultural finance and credit systems </a:t>
            </a:r>
          </a:p>
          <a:p>
            <a:pPr marL="139303" indent="-139303">
              <a:buFont typeface="Arial" panose="020B0604020202020204" pitchFamily="34" charset="0"/>
              <a:buChar char="•"/>
            </a:pPr>
            <a:r>
              <a:rPr lang="en-US" sz="975" dirty="0">
                <a:solidFill>
                  <a:schemeClr val="tx1"/>
                </a:solidFill>
                <a:latin typeface="Arial" panose="020B0604020202020204" pitchFamily="34" charset="0"/>
                <a:cs typeface="Arial" panose="020B0604020202020204" pitchFamily="34" charset="0"/>
              </a:rPr>
              <a:t>Developing and strengthening stable reliable and remunerative output markets</a:t>
            </a:r>
            <a:endParaRPr lang="en-US" sz="813" dirty="0">
              <a:latin typeface="Arial" panose="020B0604020202020204" pitchFamily="34" charset="0"/>
              <a:cs typeface="Arial" panose="020B0604020202020204" pitchFamily="34" charset="0"/>
            </a:endParaRPr>
          </a:p>
        </p:txBody>
      </p:sp>
      <p:sp>
        <p:nvSpPr>
          <p:cNvPr id="50" name="Rectangle 49">
            <a:extLst>
              <a:ext uri="{FF2B5EF4-FFF2-40B4-BE49-F238E27FC236}">
                <a16:creationId xmlns:a16="http://schemas.microsoft.com/office/drawing/2014/main" id="{DF0A37FE-9961-7446-A9D2-C6C2F70CDB9E}"/>
              </a:ext>
            </a:extLst>
          </p:cNvPr>
          <p:cNvSpPr/>
          <p:nvPr/>
        </p:nvSpPr>
        <p:spPr>
          <a:xfrm>
            <a:off x="3909622" y="1656518"/>
            <a:ext cx="1654725" cy="452961"/>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r>
              <a:rPr lang="en-US" sz="813" dirty="0">
                <a:solidFill>
                  <a:schemeClr val="tx1"/>
                </a:solidFill>
                <a:latin typeface="Arial" panose="020B0604020202020204" pitchFamily="34" charset="0"/>
                <a:cs typeface="Arial" panose="020B0604020202020204" pitchFamily="34" charset="0"/>
              </a:rPr>
              <a:t>Increased resilience (more adaptive and  resilient households  to shocks)</a:t>
            </a:r>
          </a:p>
        </p:txBody>
      </p:sp>
      <p:sp>
        <p:nvSpPr>
          <p:cNvPr id="2" name="Title 1"/>
          <p:cNvSpPr>
            <a:spLocks noGrp="1"/>
          </p:cNvSpPr>
          <p:nvPr>
            <p:ph type="title"/>
          </p:nvPr>
        </p:nvSpPr>
        <p:spPr/>
        <p:txBody>
          <a:bodyPr/>
          <a:lstStyle/>
          <a:p>
            <a:r>
              <a:rPr lang="en-US" dirty="0" smtClean="0"/>
              <a:t>Farmer and Systems development Theory of Change</a:t>
            </a:r>
            <a:endParaRPr lang="en-US" dirty="0"/>
          </a:p>
        </p:txBody>
      </p:sp>
    </p:spTree>
    <p:extLst>
      <p:ext uri="{BB962C8B-B14F-4D97-AF65-F5344CB8AC3E}">
        <p14:creationId xmlns:p14="http://schemas.microsoft.com/office/powerpoint/2010/main" val="3308409038"/>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p:cNvGraphicFramePr>
            <a:graphicFrameLocks noChangeAspect="1"/>
          </p:cNvGraphicFramePr>
          <p:nvPr>
            <p:custDataLst>
              <p:tags r:id="rId2"/>
            </p:custDataLst>
            <p:ext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spid="_x0000_s217205" name="think-cell Slide" r:id="rId5" imgW="470" imgH="469" progId="TCLayout.ActiveDocument.1">
                  <p:embed/>
                </p:oleObj>
              </mc:Choice>
              <mc:Fallback>
                <p:oleObj name="think-cell Slide" r:id="rId5" imgW="470" imgH="469" progId="TCLayout.ActiveDocument.1">
                  <p:embed/>
                  <p:pic>
                    <p:nvPicPr>
                      <p:cNvPr id="42" name="Object 41" hidden="1"/>
                      <p:cNvPicPr/>
                      <p:nvPr/>
                    </p:nvPicPr>
                    <p:blipFill>
                      <a:blip r:embed="rId6"/>
                      <a:stretch>
                        <a:fillRect/>
                      </a:stretch>
                    </p:blipFill>
                    <p:spPr>
                      <a:xfrm>
                        <a:off x="929978" y="644228"/>
                        <a:ext cx="1290" cy="1290"/>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031" b="1" dirty="0">
              <a:latin typeface="Arial" panose="020B0604020202020204" pitchFamily="34" charset="0"/>
              <a:cs typeface="Arial" panose="020B0604020202020204" pitchFamily="34" charset="0"/>
              <a:sym typeface="Arial" panose="020B0604020202020204" pitchFamily="34" charset="0"/>
            </a:endParaRPr>
          </a:p>
        </p:txBody>
      </p:sp>
      <p:sp>
        <p:nvSpPr>
          <p:cNvPr id="6" name="Rectangle 5"/>
          <p:cNvSpPr/>
          <p:nvPr/>
        </p:nvSpPr>
        <p:spPr>
          <a:xfrm>
            <a:off x="1279440" y="1710000"/>
            <a:ext cx="4118924" cy="1485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en-US" sz="975" b="1" dirty="0">
              <a:solidFill>
                <a:schemeClr val="accent6">
                  <a:lumMod val="50000"/>
                </a:schemeClr>
              </a:solidFill>
              <a:latin typeface="Arial" panose="020B0604020202020204" pitchFamily="34" charset="0"/>
              <a:cs typeface="Arial" panose="020B0604020202020204" pitchFamily="34" charset="0"/>
            </a:endParaRPr>
          </a:p>
        </p:txBody>
      </p:sp>
      <p:grpSp>
        <p:nvGrpSpPr>
          <p:cNvPr id="7" name="Group 6"/>
          <p:cNvGrpSpPr/>
          <p:nvPr/>
        </p:nvGrpSpPr>
        <p:grpSpPr>
          <a:xfrm>
            <a:off x="1142368" y="2189504"/>
            <a:ext cx="5818534" cy="2429528"/>
            <a:chOff x="314812" y="2552146"/>
            <a:chExt cx="5680818" cy="2201031"/>
          </a:xfrm>
        </p:grpSpPr>
        <p:sp>
          <p:nvSpPr>
            <p:cNvPr id="8" name="Rectangle 7"/>
            <p:cNvSpPr/>
            <p:nvPr/>
          </p:nvSpPr>
          <p:spPr>
            <a:xfrm>
              <a:off x="314812" y="2552146"/>
              <a:ext cx="5680818" cy="2201031"/>
            </a:xfrm>
            <a:prstGeom prst="rect">
              <a:avLst/>
            </a:prstGeom>
            <a:solidFill>
              <a:schemeClr val="tx2">
                <a:lumMod val="40000"/>
                <a:lumOff val="6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t" anchorCtr="0" forceAA="0" compatLnSpc="1">
              <a:prstTxWarp prst="textNoShape">
                <a:avLst/>
              </a:prstTxWarp>
              <a:noAutofit/>
            </a:bodyPr>
            <a:lstStyle/>
            <a:p>
              <a:pPr algn="ctr"/>
              <a:r>
                <a:rPr lang="en-US" sz="853" b="1" dirty="0">
                  <a:solidFill>
                    <a:schemeClr val="tx1"/>
                  </a:solidFill>
                  <a:latin typeface="Arial" panose="020B0604020202020204" pitchFamily="34" charset="0"/>
                  <a:cs typeface="Arial" panose="020B0604020202020204" pitchFamily="34" charset="0"/>
                </a:rPr>
                <a:t>Outcomes </a:t>
              </a:r>
            </a:p>
          </p:txBody>
        </p:sp>
        <p:sp>
          <p:nvSpPr>
            <p:cNvPr id="9" name="Rectangle 8"/>
            <p:cNvSpPr/>
            <p:nvPr/>
          </p:nvSpPr>
          <p:spPr>
            <a:xfrm>
              <a:off x="387518" y="2725761"/>
              <a:ext cx="2628874" cy="905139"/>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en-US" sz="731" b="1" dirty="0">
                <a:solidFill>
                  <a:schemeClr val="tx1"/>
                </a:solidFill>
                <a:latin typeface="Arial" panose="020B0604020202020204" pitchFamily="34" charset="0"/>
                <a:cs typeface="Arial" panose="020B0604020202020204" pitchFamily="34" charset="0"/>
              </a:endParaRPr>
            </a:p>
            <a:p>
              <a:r>
                <a:rPr lang="en-US" sz="731" b="1" dirty="0">
                  <a:solidFill>
                    <a:schemeClr val="tx1"/>
                  </a:solidFill>
                  <a:latin typeface="Arial" panose="020B0604020202020204" pitchFamily="34" charset="0"/>
                  <a:cs typeface="Arial" panose="020B0604020202020204" pitchFamily="34" charset="0"/>
                </a:rPr>
                <a:t>Partnerships for implementation</a:t>
              </a:r>
            </a:p>
            <a:p>
              <a:pPr marL="139303" indent="-139303">
                <a:buFont typeface="Arial" panose="020B0604020202020204" pitchFamily="34" charset="0"/>
                <a:buChar char="•"/>
              </a:pPr>
              <a:r>
                <a:rPr lang="en-US" sz="731" dirty="0">
                  <a:solidFill>
                    <a:schemeClr val="tx1"/>
                  </a:solidFill>
                  <a:latin typeface="Arial" panose="020B0604020202020204" pitchFamily="34" charset="0"/>
                  <a:cs typeface="Arial" panose="020B0604020202020204" pitchFamily="34" charset="0"/>
                </a:rPr>
                <a:t>Increased reach of AGRA systems grants</a:t>
              </a:r>
            </a:p>
            <a:p>
              <a:pPr marL="139303" indent="-139303">
                <a:buFont typeface="Arial" panose="020B0604020202020204" pitchFamily="34" charset="0"/>
                <a:buChar char="•"/>
              </a:pPr>
              <a:r>
                <a:rPr lang="en-US" sz="731" dirty="0">
                  <a:solidFill>
                    <a:schemeClr val="tx1"/>
                  </a:solidFill>
                  <a:latin typeface="Arial" panose="020B0604020202020204" pitchFamily="34" charset="0"/>
                  <a:cs typeface="Arial" panose="020B0604020202020204" pitchFamily="34" charset="0"/>
                </a:rPr>
                <a:t>Reduced /elimination of duplication of efforts and wastage </a:t>
              </a:r>
            </a:p>
            <a:p>
              <a:pPr marL="139303" indent="-139303">
                <a:buFont typeface="Arial" panose="020B0604020202020204" pitchFamily="34" charset="0"/>
                <a:buChar char="•"/>
              </a:pPr>
              <a:r>
                <a:rPr lang="en-US" sz="731" dirty="0">
                  <a:solidFill>
                    <a:schemeClr val="tx1"/>
                  </a:solidFill>
                  <a:latin typeface="Arial" panose="020B0604020202020204" pitchFamily="34" charset="0"/>
                  <a:cs typeface="Arial" panose="020B0604020202020204" pitchFamily="34" charset="0"/>
                </a:rPr>
                <a:t>Faster progress towards and achievement of intended outcomes and impacts</a:t>
              </a:r>
            </a:p>
            <a:p>
              <a:pPr marL="139303" indent="-139303">
                <a:buFont typeface="Arial" panose="020B0604020202020204" pitchFamily="34" charset="0"/>
                <a:buChar char="•"/>
              </a:pPr>
              <a:r>
                <a:rPr lang="en-US" sz="731" dirty="0">
                  <a:solidFill>
                    <a:schemeClr val="tx1"/>
                  </a:solidFill>
                  <a:latin typeface="Arial" panose="020B0604020202020204" pitchFamily="34" charset="0"/>
                  <a:cs typeface="Arial" panose="020B0604020202020204" pitchFamily="34" charset="0"/>
                </a:rPr>
                <a:t>Increased likelihood of achieving the desired outcomes and impacts</a:t>
              </a:r>
            </a:p>
          </p:txBody>
        </p:sp>
        <p:sp>
          <p:nvSpPr>
            <p:cNvPr id="11" name="Rectangle 10"/>
            <p:cNvSpPr/>
            <p:nvPr/>
          </p:nvSpPr>
          <p:spPr>
            <a:xfrm>
              <a:off x="3248575" y="2731463"/>
              <a:ext cx="2514872" cy="893734"/>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r>
                <a:rPr lang="en-US" sz="731" b="1" dirty="0">
                  <a:solidFill>
                    <a:schemeClr val="tx1"/>
                  </a:solidFill>
                  <a:latin typeface="Arial" panose="020B0604020202020204" pitchFamily="34" charset="0"/>
                  <a:cs typeface="Arial" panose="020B0604020202020204" pitchFamily="34" charset="0"/>
                </a:rPr>
                <a:t>Partnerships  for scaling up </a:t>
              </a:r>
            </a:p>
            <a:p>
              <a:pPr marL="139303" indent="-139303">
                <a:buFont typeface="Arial" panose="020B0604020202020204" pitchFamily="34" charset="0"/>
                <a:buChar char="•"/>
              </a:pPr>
              <a:r>
                <a:rPr lang="en-US" sz="731" dirty="0">
                  <a:solidFill>
                    <a:schemeClr val="tx1"/>
                  </a:solidFill>
                  <a:latin typeface="Arial" panose="020B0604020202020204" pitchFamily="34" charset="0"/>
                  <a:cs typeface="Arial" panose="020B0604020202020204" pitchFamily="34" charset="0"/>
                </a:rPr>
                <a:t>Increased public private partnerships</a:t>
              </a:r>
            </a:p>
            <a:p>
              <a:pPr marL="139303" indent="-139303">
                <a:buFont typeface="Arial" panose="020B0604020202020204" pitchFamily="34" charset="0"/>
                <a:buChar char="•"/>
              </a:pPr>
              <a:r>
                <a:rPr lang="en-US" sz="731" dirty="0">
                  <a:solidFill>
                    <a:schemeClr val="tx1"/>
                  </a:solidFill>
                  <a:latin typeface="Arial" panose="020B0604020202020204" pitchFamily="34" charset="0"/>
                  <a:cs typeface="Arial" panose="020B0604020202020204" pitchFamily="34" charset="0"/>
                </a:rPr>
                <a:t>Increased access to technologies knowledge and information </a:t>
              </a:r>
            </a:p>
            <a:p>
              <a:pPr marL="139303" indent="-139303">
                <a:buFont typeface="Arial" panose="020B0604020202020204" pitchFamily="34" charset="0"/>
                <a:buChar char="•"/>
              </a:pPr>
              <a:r>
                <a:rPr lang="en-US" sz="731" dirty="0">
                  <a:solidFill>
                    <a:schemeClr val="tx1"/>
                  </a:solidFill>
                  <a:latin typeface="Arial" panose="020B0604020202020204" pitchFamily="34" charset="0"/>
                  <a:cs typeface="Arial" panose="020B0604020202020204" pitchFamily="34" charset="0"/>
                </a:rPr>
                <a:t>Increased private sector investments at scale</a:t>
              </a:r>
            </a:p>
            <a:p>
              <a:pPr marL="139303" indent="-139303">
                <a:buFont typeface="Arial" panose="020B0604020202020204" pitchFamily="34" charset="0"/>
                <a:buChar char="•"/>
              </a:pPr>
              <a:r>
                <a:rPr lang="en-US" sz="731" dirty="0">
                  <a:solidFill>
                    <a:schemeClr val="tx1"/>
                  </a:solidFill>
                  <a:latin typeface="Arial" panose="020B0604020202020204" pitchFamily="34" charset="0"/>
                  <a:cs typeface="Arial" panose="020B0604020202020204" pitchFamily="34" charset="0"/>
                </a:rPr>
                <a:t>Increased transboundary trade</a:t>
              </a:r>
            </a:p>
          </p:txBody>
        </p:sp>
        <p:sp>
          <p:nvSpPr>
            <p:cNvPr id="17" name="Rectangle 16"/>
            <p:cNvSpPr/>
            <p:nvPr/>
          </p:nvSpPr>
          <p:spPr>
            <a:xfrm>
              <a:off x="357641" y="3686580"/>
              <a:ext cx="5571713" cy="834182"/>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r>
                <a:rPr lang="en-US" sz="813" b="1" dirty="0">
                  <a:solidFill>
                    <a:schemeClr val="tx1"/>
                  </a:solidFill>
                  <a:latin typeface="Arial" panose="020B0604020202020204" pitchFamily="34" charset="0"/>
                  <a:cs typeface="Arial" panose="020B0604020202020204" pitchFamily="34" charset="0"/>
                </a:rPr>
                <a:t>Partnerships have then following catalytic effect</a:t>
              </a:r>
            </a:p>
            <a:p>
              <a:pPr marL="139303" indent="-139303">
                <a:buFont typeface="Arial" panose="020B0604020202020204" pitchFamily="34" charset="0"/>
                <a:buChar char="•"/>
              </a:pPr>
              <a:r>
                <a:rPr lang="en-US" sz="813" dirty="0">
                  <a:solidFill>
                    <a:schemeClr val="tx1"/>
                  </a:solidFill>
                  <a:latin typeface="Arial" panose="020B0604020202020204" pitchFamily="34" charset="0"/>
                  <a:cs typeface="Arial" panose="020B0604020202020204" pitchFamily="34" charset="0"/>
                </a:rPr>
                <a:t>Systems grants consortia addressing priority bottlenecks in specific geographies</a:t>
              </a:r>
            </a:p>
            <a:p>
              <a:pPr marL="139303" indent="-139303">
                <a:buFont typeface="Arial" panose="020B0604020202020204" pitchFamily="34" charset="0"/>
                <a:buChar char="•"/>
              </a:pPr>
              <a:r>
                <a:rPr lang="en-US" sz="813" dirty="0">
                  <a:solidFill>
                    <a:schemeClr val="tx1"/>
                  </a:solidFill>
                  <a:latin typeface="Arial" panose="020B0604020202020204" pitchFamily="34" charset="0"/>
                  <a:cs typeface="Arial" panose="020B0604020202020204" pitchFamily="34" charset="0"/>
                </a:rPr>
                <a:t>Partnerships for policy advocacy influencing policy formulation and implementation</a:t>
              </a:r>
            </a:p>
            <a:p>
              <a:pPr marL="139303" indent="-139303">
                <a:buFont typeface="Arial" panose="020B0604020202020204" pitchFamily="34" charset="0"/>
                <a:buChar char="•"/>
              </a:pPr>
              <a:r>
                <a:rPr lang="en-US" sz="813" dirty="0">
                  <a:solidFill>
                    <a:schemeClr val="tx1"/>
                  </a:solidFill>
                  <a:latin typeface="Arial" panose="020B0604020202020204" pitchFamily="34" charset="0"/>
                  <a:cs typeface="Arial" panose="020B0604020202020204" pitchFamily="34" charset="0"/>
                </a:rPr>
                <a:t>Development partners investment programs and projects are aligned to derive synergies and avoid duplication</a:t>
              </a:r>
            </a:p>
            <a:p>
              <a:pPr marL="139303" indent="-139303">
                <a:buFont typeface="Arial" panose="020B0604020202020204" pitchFamily="34" charset="0"/>
                <a:buChar char="•"/>
              </a:pPr>
              <a:r>
                <a:rPr lang="en-US" sz="813" dirty="0">
                  <a:solidFill>
                    <a:schemeClr val="tx1"/>
                  </a:solidFill>
                  <a:latin typeface="Arial" panose="020B0604020202020204" pitchFamily="34" charset="0"/>
                  <a:cs typeface="Arial" panose="020B0604020202020204" pitchFamily="34" charset="0"/>
                </a:rPr>
                <a:t>Mutual accountability platforms and processes are defined by partnership objectives</a:t>
              </a:r>
            </a:p>
            <a:p>
              <a:pPr marL="139303" indent="-139303">
                <a:buFont typeface="Arial" panose="020B0604020202020204" pitchFamily="34" charset="0"/>
                <a:buChar char="•"/>
              </a:pPr>
              <a:r>
                <a:rPr lang="en-US" sz="813" dirty="0">
                  <a:solidFill>
                    <a:schemeClr val="tx1"/>
                  </a:solidFill>
                  <a:latin typeface="Arial" panose="020B0604020202020204" pitchFamily="34" charset="0"/>
                  <a:cs typeface="Arial" panose="020B0604020202020204" pitchFamily="34" charset="0"/>
                </a:rPr>
                <a:t>AGRF serving as the premier partnership platform for shaping agricultural development agenda in Africa </a:t>
              </a:r>
            </a:p>
          </p:txBody>
        </p:sp>
      </p:grpSp>
      <p:grpSp>
        <p:nvGrpSpPr>
          <p:cNvPr id="19" name="Group 18"/>
          <p:cNvGrpSpPr/>
          <p:nvPr/>
        </p:nvGrpSpPr>
        <p:grpSpPr>
          <a:xfrm>
            <a:off x="1186234" y="1211443"/>
            <a:ext cx="5799255" cy="916603"/>
            <a:chOff x="314813" y="1407191"/>
            <a:chExt cx="5113471" cy="817408"/>
          </a:xfrm>
        </p:grpSpPr>
        <p:sp>
          <p:nvSpPr>
            <p:cNvPr id="21" name="Rectangle 20"/>
            <p:cNvSpPr/>
            <p:nvPr/>
          </p:nvSpPr>
          <p:spPr>
            <a:xfrm>
              <a:off x="314813" y="1407191"/>
              <a:ext cx="5113471" cy="817408"/>
            </a:xfrm>
            <a:prstGeom prst="rect">
              <a:avLst/>
            </a:prstGeom>
            <a:solidFill>
              <a:schemeClr val="accent2">
                <a:lumMod val="20000"/>
                <a:lumOff val="8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t" anchorCtr="0" forceAA="0" compatLnSpc="1">
              <a:prstTxWarp prst="textNoShape">
                <a:avLst/>
              </a:prstTxWarp>
              <a:noAutofit/>
            </a:bodyPr>
            <a:lstStyle/>
            <a:p>
              <a:pPr algn="ctr"/>
              <a:endParaRPr lang="en-US" sz="650" b="1" dirty="0">
                <a:solidFill>
                  <a:schemeClr val="tx1"/>
                </a:solidFill>
                <a:latin typeface="Arial" panose="020B0604020202020204" pitchFamily="34" charset="0"/>
                <a:cs typeface="Arial" panose="020B0604020202020204" pitchFamily="34" charset="0"/>
              </a:endParaRPr>
            </a:p>
            <a:p>
              <a:pPr algn="ctr"/>
              <a:endParaRPr lang="en-US" sz="650" b="1" dirty="0">
                <a:solidFill>
                  <a:schemeClr val="tx1"/>
                </a:solidFill>
                <a:latin typeface="Arial" panose="020B0604020202020204" pitchFamily="34" charset="0"/>
                <a:cs typeface="Arial" panose="020B0604020202020204" pitchFamily="34" charset="0"/>
              </a:endParaRPr>
            </a:p>
            <a:p>
              <a:pPr algn="ctr"/>
              <a:endParaRPr lang="en-US" sz="650" b="1" dirty="0">
                <a:solidFill>
                  <a:schemeClr val="tx1"/>
                </a:solidFill>
                <a:latin typeface="Arial" panose="020B0604020202020204" pitchFamily="34" charset="0"/>
                <a:cs typeface="Arial" panose="020B0604020202020204" pitchFamily="34" charset="0"/>
              </a:endParaRPr>
            </a:p>
            <a:p>
              <a:pPr algn="ctr"/>
              <a:endParaRPr lang="en-US" sz="650" b="1" dirty="0">
                <a:solidFill>
                  <a:schemeClr val="tx1"/>
                </a:solidFill>
                <a:latin typeface="Arial" panose="020B0604020202020204" pitchFamily="34" charset="0"/>
                <a:cs typeface="Arial" panose="020B0604020202020204" pitchFamily="34" charset="0"/>
              </a:endParaRPr>
            </a:p>
            <a:p>
              <a:pPr algn="ctr"/>
              <a:endParaRPr lang="en-US" sz="650" b="1" dirty="0">
                <a:solidFill>
                  <a:schemeClr val="tx1"/>
                </a:solidFill>
                <a:latin typeface="Arial" panose="020B0604020202020204" pitchFamily="34" charset="0"/>
                <a:cs typeface="Arial" panose="020B0604020202020204" pitchFamily="34" charset="0"/>
              </a:endParaRPr>
            </a:p>
            <a:p>
              <a:pPr algn="ctr"/>
              <a:endParaRPr lang="en-US" sz="650" b="1" dirty="0">
                <a:solidFill>
                  <a:schemeClr val="tx1"/>
                </a:solidFill>
                <a:latin typeface="Arial" panose="020B0604020202020204" pitchFamily="34" charset="0"/>
                <a:cs typeface="Arial" panose="020B0604020202020204" pitchFamily="34" charset="0"/>
              </a:endParaRPr>
            </a:p>
            <a:p>
              <a:pPr algn="ctr"/>
              <a:endParaRPr lang="en-US" sz="975" dirty="0">
                <a:solidFill>
                  <a:schemeClr val="accent6">
                    <a:lumMod val="50000"/>
                  </a:schemeClr>
                </a:solidFill>
                <a:latin typeface="Arial" panose="020B0604020202020204" pitchFamily="34" charset="0"/>
                <a:cs typeface="Arial" panose="020B0604020202020204" pitchFamily="34" charset="0"/>
              </a:endParaRPr>
            </a:p>
          </p:txBody>
        </p:sp>
        <p:sp>
          <p:nvSpPr>
            <p:cNvPr id="22" name="Rectangle 21"/>
            <p:cNvSpPr/>
            <p:nvPr/>
          </p:nvSpPr>
          <p:spPr>
            <a:xfrm>
              <a:off x="1054209" y="1765856"/>
              <a:ext cx="1565862" cy="428100"/>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r>
                <a:rPr lang="en-US" sz="813" dirty="0">
                  <a:solidFill>
                    <a:schemeClr val="tx1"/>
                  </a:solidFill>
                  <a:latin typeface="Arial" panose="020B0604020202020204" pitchFamily="34" charset="0"/>
                  <a:cs typeface="Arial" panose="020B0604020202020204" pitchFamily="34" charset="0"/>
                </a:rPr>
                <a:t>Increased productivity </a:t>
              </a:r>
              <a:r>
                <a:rPr lang="en-US" sz="813" i="1" dirty="0">
                  <a:solidFill>
                    <a:schemeClr val="tx1"/>
                  </a:solidFill>
                  <a:latin typeface="Arial" panose="020B0604020202020204" pitchFamily="34" charset="0"/>
                  <a:cs typeface="Arial" panose="020B0604020202020204" pitchFamily="34" charset="0"/>
                </a:rPr>
                <a:t>(More productive small holder farming units and SMEs)</a:t>
              </a:r>
            </a:p>
          </p:txBody>
        </p:sp>
        <p:sp>
          <p:nvSpPr>
            <p:cNvPr id="24" name="Rectangle 23"/>
            <p:cNvSpPr/>
            <p:nvPr/>
          </p:nvSpPr>
          <p:spPr>
            <a:xfrm>
              <a:off x="1054209" y="1435373"/>
              <a:ext cx="4085069" cy="285689"/>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r>
                <a:rPr lang="en-US" sz="894" b="1" dirty="0">
                  <a:solidFill>
                    <a:schemeClr val="tx1"/>
                  </a:solidFill>
                  <a:latin typeface="Arial" panose="020B0604020202020204" pitchFamily="34" charset="0"/>
                  <a:cs typeface="Arial" panose="020B0604020202020204" pitchFamily="34" charset="0"/>
                </a:rPr>
                <a:t> Increased incomes and improved food security</a:t>
              </a:r>
            </a:p>
          </p:txBody>
        </p:sp>
      </p:grpSp>
      <p:sp>
        <p:nvSpPr>
          <p:cNvPr id="29" name="Rectangle 28"/>
          <p:cNvSpPr/>
          <p:nvPr/>
        </p:nvSpPr>
        <p:spPr>
          <a:xfrm>
            <a:off x="7163738" y="2381143"/>
            <a:ext cx="2067856" cy="2218696"/>
          </a:xfrm>
          <a:prstGeom prst="rect">
            <a:avLst/>
          </a:prstGeom>
          <a:ln>
            <a:solidFill>
              <a:schemeClr val="tx1"/>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r>
              <a:rPr lang="en-US" sz="975" b="1" dirty="0">
                <a:solidFill>
                  <a:schemeClr val="tx1"/>
                </a:solidFill>
                <a:latin typeface="Arial" panose="020B0604020202020204" pitchFamily="34" charset="0"/>
                <a:cs typeface="Arial" panose="020B0604020202020204" pitchFamily="34" charset="0"/>
              </a:rPr>
              <a:t>State capacity and policy </a:t>
            </a:r>
          </a:p>
          <a:p>
            <a:r>
              <a:rPr lang="en-US" sz="894" dirty="0">
                <a:solidFill>
                  <a:schemeClr val="tx1"/>
                </a:solidFill>
                <a:latin typeface="Arial" panose="020B0604020202020204" pitchFamily="34" charset="0"/>
                <a:cs typeface="Arial" panose="020B0604020202020204" pitchFamily="34" charset="0"/>
              </a:rPr>
              <a:t>Develop state capability to:</a:t>
            </a:r>
          </a:p>
          <a:p>
            <a:pPr marL="232172" indent="-232172">
              <a:buFont typeface="Arial" panose="020B0604020202020204" pitchFamily="34" charset="0"/>
              <a:buChar char="•"/>
            </a:pPr>
            <a:r>
              <a:rPr lang="en-US" sz="894" dirty="0">
                <a:solidFill>
                  <a:schemeClr val="tx1"/>
                </a:solidFill>
                <a:latin typeface="Arial" panose="020B0604020202020204" pitchFamily="34" charset="0"/>
                <a:cs typeface="Arial" panose="020B0604020202020204" pitchFamily="34" charset="0"/>
              </a:rPr>
              <a:t>Develop appropriate sector strategies and investment plans for agricultural transformation</a:t>
            </a:r>
          </a:p>
          <a:p>
            <a:pPr marL="232172" indent="-232172">
              <a:buFont typeface="Arial" panose="020B0604020202020204" pitchFamily="34" charset="0"/>
              <a:buChar char="•"/>
            </a:pPr>
            <a:r>
              <a:rPr lang="en-US" sz="894" dirty="0">
                <a:solidFill>
                  <a:schemeClr val="tx1"/>
                </a:solidFill>
                <a:latin typeface="Arial" panose="020B0604020202020204" pitchFamily="34" charset="0"/>
                <a:cs typeface="Arial" panose="020B0604020202020204" pitchFamily="34" charset="0"/>
              </a:rPr>
              <a:t>Formulate appropriate policies that catalyze and sustain agricultural transformation and promote regional trade</a:t>
            </a:r>
          </a:p>
          <a:p>
            <a:pPr marL="232172" indent="-232172">
              <a:buFont typeface="Arial" panose="020B0604020202020204" pitchFamily="34" charset="0"/>
              <a:buChar char="•"/>
            </a:pPr>
            <a:r>
              <a:rPr lang="en-US" sz="894" dirty="0">
                <a:solidFill>
                  <a:schemeClr val="tx1"/>
                </a:solidFill>
                <a:latin typeface="Arial" panose="020B0604020202020204" pitchFamily="34" charset="0"/>
                <a:cs typeface="Arial" panose="020B0604020202020204" pitchFamily="34" charset="0"/>
              </a:rPr>
              <a:t>Implement sector plans and policies in order to  generate sufficient public goods that de-risk the sector, attract   private capital   investment and facilitate regional trade </a:t>
            </a:r>
          </a:p>
        </p:txBody>
      </p:sp>
      <p:sp>
        <p:nvSpPr>
          <p:cNvPr id="33" name="Isosceles Triangle 32"/>
          <p:cNvSpPr/>
          <p:nvPr/>
        </p:nvSpPr>
        <p:spPr>
          <a:xfrm rot="16200000">
            <a:off x="5930776" y="3460067"/>
            <a:ext cx="2261545" cy="56384"/>
          </a:xfrm>
          <a:prstGeom prst="triangle">
            <a:avLst/>
          </a:prstGeom>
          <a:solidFill>
            <a:schemeClr val="bg2">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38" dirty="0">
              <a:solidFill>
                <a:schemeClr val="accent6">
                  <a:lumMod val="50000"/>
                </a:schemeClr>
              </a:solidFill>
              <a:latin typeface="Arial" panose="020B0604020202020204" pitchFamily="34" charset="0"/>
              <a:cs typeface="Arial" panose="020B0604020202020204" pitchFamily="34" charset="0"/>
            </a:endParaRPr>
          </a:p>
        </p:txBody>
      </p:sp>
      <p:sp>
        <p:nvSpPr>
          <p:cNvPr id="34" name="Up Arrow 33"/>
          <p:cNvSpPr/>
          <p:nvPr/>
        </p:nvSpPr>
        <p:spPr>
          <a:xfrm>
            <a:off x="509033" y="1292602"/>
            <a:ext cx="207040" cy="4611392"/>
          </a:xfrm>
          <a:prstGeom prst="upArrow">
            <a:avLst/>
          </a:prstGeom>
          <a:solidFill>
            <a:schemeClr val="bg2">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38" dirty="0">
              <a:solidFill>
                <a:schemeClr val="accent6">
                  <a:lumMod val="50000"/>
                </a:schemeClr>
              </a:solidFill>
              <a:latin typeface="Arial" panose="020B0604020202020204" pitchFamily="34" charset="0"/>
              <a:cs typeface="Arial" panose="020B0604020202020204" pitchFamily="34" charset="0"/>
            </a:endParaRPr>
          </a:p>
        </p:txBody>
      </p:sp>
      <p:grpSp>
        <p:nvGrpSpPr>
          <p:cNvPr id="36" name="Group 35"/>
          <p:cNvGrpSpPr/>
          <p:nvPr/>
        </p:nvGrpSpPr>
        <p:grpSpPr>
          <a:xfrm>
            <a:off x="670041" y="1143687"/>
            <a:ext cx="410330" cy="4792163"/>
            <a:chOff x="9026707" y="127977"/>
            <a:chExt cx="458873" cy="5282224"/>
          </a:xfrm>
        </p:grpSpPr>
        <p:sp>
          <p:nvSpPr>
            <p:cNvPr id="37" name="TextBox 36"/>
            <p:cNvSpPr txBox="1"/>
            <p:nvPr/>
          </p:nvSpPr>
          <p:spPr>
            <a:xfrm rot="16200000" flipH="1">
              <a:off x="8504357" y="4501857"/>
              <a:ext cx="1545640" cy="271047"/>
            </a:xfrm>
            <a:prstGeom prst="rect">
              <a:avLst/>
            </a:prstGeom>
            <a:noFill/>
          </p:spPr>
          <p:txBody>
            <a:bodyPr wrap="square" rtlCol="0">
              <a:spAutoFit/>
            </a:bodyPr>
            <a:lstStyle/>
            <a:p>
              <a:pPr algn="ctr"/>
              <a:r>
                <a:rPr lang="en-US" sz="813" b="1" dirty="0">
                  <a:latin typeface="Arial" panose="020B0604020202020204" pitchFamily="34" charset="0"/>
                  <a:cs typeface="Arial" panose="020B0604020202020204" pitchFamily="34" charset="0"/>
                </a:rPr>
                <a:t>What AGRA </a:t>
              </a:r>
              <a:r>
                <a:rPr lang="en-US" sz="975" b="1" dirty="0">
                  <a:latin typeface="Arial" panose="020B0604020202020204" pitchFamily="34" charset="0"/>
                  <a:cs typeface="Arial" panose="020B0604020202020204" pitchFamily="34" charset="0"/>
                </a:rPr>
                <a:t>does</a:t>
              </a:r>
            </a:p>
          </p:txBody>
        </p:sp>
        <p:sp>
          <p:nvSpPr>
            <p:cNvPr id="38" name="TextBox 37"/>
            <p:cNvSpPr txBox="1"/>
            <p:nvPr/>
          </p:nvSpPr>
          <p:spPr>
            <a:xfrm rot="16200000" flipH="1">
              <a:off x="8685471" y="469213"/>
              <a:ext cx="1065523" cy="383052"/>
            </a:xfrm>
            <a:prstGeom prst="rect">
              <a:avLst/>
            </a:prstGeom>
            <a:noFill/>
          </p:spPr>
          <p:txBody>
            <a:bodyPr wrap="square" rtlCol="0">
              <a:spAutoFit/>
            </a:bodyPr>
            <a:lstStyle/>
            <a:p>
              <a:pPr algn="ctr"/>
              <a:r>
                <a:rPr lang="en-US" sz="813" b="1" dirty="0">
                  <a:latin typeface="Arial" panose="020B0604020202020204" pitchFamily="34" charset="0"/>
                  <a:cs typeface="Arial" panose="020B0604020202020204" pitchFamily="34" charset="0"/>
                </a:rPr>
                <a:t>AGRA’s Strategic Goals</a:t>
              </a:r>
            </a:p>
          </p:txBody>
        </p:sp>
        <p:sp>
          <p:nvSpPr>
            <p:cNvPr id="39" name="TextBox 38"/>
            <p:cNvSpPr txBox="1"/>
            <p:nvPr/>
          </p:nvSpPr>
          <p:spPr>
            <a:xfrm rot="16200000" flipH="1">
              <a:off x="8152004" y="2625146"/>
              <a:ext cx="2284099" cy="383052"/>
            </a:xfrm>
            <a:prstGeom prst="rect">
              <a:avLst/>
            </a:prstGeom>
            <a:noFill/>
          </p:spPr>
          <p:txBody>
            <a:bodyPr wrap="square" rtlCol="0">
              <a:spAutoFit/>
            </a:bodyPr>
            <a:lstStyle/>
            <a:p>
              <a:pPr algn="ctr"/>
              <a:r>
                <a:rPr lang="en-US" sz="813" b="1" dirty="0">
                  <a:latin typeface="Arial" panose="020B0604020202020204" pitchFamily="34" charset="0"/>
                  <a:cs typeface="Arial" panose="020B0604020202020204" pitchFamily="34" charset="0"/>
                </a:rPr>
                <a:t>So that the target population, institution or resource change </a:t>
              </a:r>
            </a:p>
          </p:txBody>
        </p:sp>
      </p:grpSp>
      <p:sp>
        <p:nvSpPr>
          <p:cNvPr id="40" name="Rectangle 39"/>
          <p:cNvSpPr/>
          <p:nvPr/>
        </p:nvSpPr>
        <p:spPr>
          <a:xfrm>
            <a:off x="1157052" y="4773736"/>
            <a:ext cx="5038018" cy="1162112"/>
          </a:xfrm>
          <a:prstGeom prst="rect">
            <a:avLst/>
          </a:prstGeom>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r>
              <a:rPr lang="en-GB" sz="813" b="1" dirty="0">
                <a:solidFill>
                  <a:schemeClr val="tx1"/>
                </a:solidFill>
                <a:latin typeface="Arial" panose="020B0604020202020204" pitchFamily="34" charset="0"/>
                <a:cs typeface="Arial" panose="020B0604020202020204" pitchFamily="34" charset="0"/>
              </a:rPr>
              <a:t>Investment areas</a:t>
            </a:r>
          </a:p>
          <a:p>
            <a:pPr marL="139303" indent="-139303">
              <a:lnSpc>
                <a:spcPts val="975"/>
              </a:lnSpc>
              <a:spcAft>
                <a:spcPts val="244"/>
              </a:spcAft>
              <a:buFont typeface="Arial" panose="020B0604020202020204" pitchFamily="34" charset="0"/>
              <a:buChar char="•"/>
            </a:pPr>
            <a:r>
              <a:rPr lang="en-US" sz="813" dirty="0">
                <a:solidFill>
                  <a:schemeClr val="tx1"/>
                </a:solidFill>
                <a:latin typeface="Arial" panose="020B0604020202020204" pitchFamily="34" charset="0"/>
                <a:cs typeface="Arial" panose="020B0604020202020204" pitchFamily="34" charset="0"/>
              </a:rPr>
              <a:t>Mobilizing inclusive investments in Agriculture</a:t>
            </a:r>
          </a:p>
          <a:p>
            <a:pPr marL="139303" indent="-139303">
              <a:lnSpc>
                <a:spcPts val="975"/>
              </a:lnSpc>
              <a:spcAft>
                <a:spcPts val="244"/>
              </a:spcAft>
              <a:buFont typeface="Arial" panose="020B0604020202020204" pitchFamily="34" charset="0"/>
              <a:buChar char="•"/>
            </a:pPr>
            <a:r>
              <a:rPr lang="en-US" sz="813" dirty="0">
                <a:solidFill>
                  <a:schemeClr val="tx1"/>
                </a:solidFill>
                <a:latin typeface="Arial" panose="020B0604020202020204" pitchFamily="34" charset="0"/>
                <a:cs typeface="Arial" panose="020B0604020202020204" pitchFamily="34" charset="0"/>
              </a:rPr>
              <a:t>Creating a private-sector led leadership agenda</a:t>
            </a:r>
          </a:p>
          <a:p>
            <a:pPr marL="139303" indent="-139303">
              <a:lnSpc>
                <a:spcPts val="975"/>
              </a:lnSpc>
              <a:spcAft>
                <a:spcPts val="244"/>
              </a:spcAft>
              <a:buFont typeface="Arial" panose="020B0604020202020204" pitchFamily="34" charset="0"/>
              <a:buChar char="•"/>
            </a:pPr>
            <a:r>
              <a:rPr lang="en-US" sz="813" dirty="0">
                <a:solidFill>
                  <a:schemeClr val="tx1"/>
                </a:solidFill>
                <a:latin typeface="Arial" panose="020B0604020202020204" pitchFamily="34" charset="0"/>
                <a:cs typeface="Arial" panose="020B0604020202020204" pitchFamily="34" charset="0"/>
              </a:rPr>
              <a:t>Build partnerships with leading private sector champions to leverage entire ecosystem and build partnerships around knowledge and intelligence sharing</a:t>
            </a:r>
          </a:p>
          <a:p>
            <a:pPr algn="ctr"/>
            <a:r>
              <a:rPr lang="en-GB" sz="813" b="1" dirty="0">
                <a:solidFill>
                  <a:schemeClr val="tx1"/>
                </a:solidFill>
                <a:latin typeface="Arial" panose="020B0604020202020204" pitchFamily="34" charset="0"/>
                <a:cs typeface="Arial" panose="020B0604020202020204" pitchFamily="34" charset="0"/>
              </a:rPr>
              <a:t> </a:t>
            </a:r>
          </a:p>
        </p:txBody>
      </p:sp>
      <p:sp>
        <p:nvSpPr>
          <p:cNvPr id="50" name="Rectangle 49">
            <a:extLst>
              <a:ext uri="{FF2B5EF4-FFF2-40B4-BE49-F238E27FC236}">
                <a16:creationId xmlns:a16="http://schemas.microsoft.com/office/drawing/2014/main" id="{DF0A37FE-9961-7446-A9D2-C6C2F70CDB9E}"/>
              </a:ext>
            </a:extLst>
          </p:cNvPr>
          <p:cNvSpPr/>
          <p:nvPr/>
        </p:nvSpPr>
        <p:spPr>
          <a:xfrm>
            <a:off x="4488992" y="1632454"/>
            <a:ext cx="1654725" cy="452961"/>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r>
              <a:rPr lang="en-US" sz="813" dirty="0">
                <a:solidFill>
                  <a:schemeClr val="tx1"/>
                </a:solidFill>
                <a:latin typeface="Arial" panose="020B0604020202020204" pitchFamily="34" charset="0"/>
                <a:cs typeface="Arial" panose="020B0604020202020204" pitchFamily="34" charset="0"/>
              </a:rPr>
              <a:t>Increased resilience (more adaptive and  resilient households  to shocks)</a:t>
            </a:r>
          </a:p>
        </p:txBody>
      </p:sp>
      <p:sp>
        <p:nvSpPr>
          <p:cNvPr id="2" name="Title 1"/>
          <p:cNvSpPr>
            <a:spLocks noGrp="1"/>
          </p:cNvSpPr>
          <p:nvPr>
            <p:ph type="title"/>
          </p:nvPr>
        </p:nvSpPr>
        <p:spPr/>
        <p:txBody>
          <a:bodyPr/>
          <a:lstStyle/>
          <a:p>
            <a:r>
              <a:rPr lang="en-US" dirty="0" smtClean="0"/>
              <a:t>Partnerships development Theory of Change</a:t>
            </a:r>
            <a:endParaRPr lang="en-US" dirty="0"/>
          </a:p>
        </p:txBody>
      </p:sp>
    </p:spTree>
    <p:extLst>
      <p:ext uri="{BB962C8B-B14F-4D97-AF65-F5344CB8AC3E}">
        <p14:creationId xmlns:p14="http://schemas.microsoft.com/office/powerpoint/2010/main" val="892167649"/>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Shape 547"/>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637791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1610" name="think-cell Slide" r:id="rId5" imgW="327" imgH="327" progId="TCLayout.ActiveDocument.1">
                  <p:embed/>
                </p:oleObj>
              </mc:Choice>
              <mc:Fallback>
                <p:oleObj name="think-cell Slide" r:id="rId5" imgW="327" imgH="32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48" name="Google Shape;548;p63"/>
          <p:cNvPicPr preferRelativeResize="0"/>
          <p:nvPr/>
        </p:nvPicPr>
        <p:blipFill rotWithShape="1">
          <a:blip r:embed="rId7">
            <a:alphaModFix/>
          </a:blip>
          <a:srcRect/>
          <a:stretch/>
        </p:blipFill>
        <p:spPr>
          <a:xfrm>
            <a:off x="1588" y="1588"/>
            <a:ext cx="1588" cy="1588"/>
          </a:xfrm>
          <a:prstGeom prst="rect">
            <a:avLst/>
          </a:prstGeom>
          <a:noFill/>
          <a:ln>
            <a:noFill/>
          </a:ln>
        </p:spPr>
      </p:pic>
      <p:sp>
        <p:nvSpPr>
          <p:cNvPr id="549" name="Google Shape;549;p63"/>
          <p:cNvSpPr txBox="1">
            <a:spLocks noGrp="1"/>
          </p:cNvSpPr>
          <p:nvPr>
            <p:ph type="title"/>
          </p:nvPr>
        </p:nvSpPr>
        <p:spPr>
          <a:xfrm>
            <a:off x="450741" y="134054"/>
            <a:ext cx="7245459" cy="582389"/>
          </a:xfrm>
          <a:prstGeom prst="rect">
            <a:avLst/>
          </a:prstGeom>
        </p:spPr>
        <p:txBody>
          <a:bodyPr lIns="0" tIns="0" rIns="0" bIns="0" anchor="b"/>
          <a:lstStyle/>
          <a:p>
            <a:pPr defTabSz="914395">
              <a:spcBef>
                <a:spcPct val="0"/>
              </a:spcBef>
              <a:buClrTx/>
              <a:buSzTx/>
              <a:buFontTx/>
            </a:pPr>
            <a:r>
              <a:rPr lang="en-US" dirty="0">
                <a:solidFill>
                  <a:schemeClr val="tx1"/>
                </a:solidFill>
                <a:latin typeface="Arial" panose="020B0604020202020204" pitchFamily="34" charset="0"/>
                <a:cs typeface="Arial" panose="020B0604020202020204" pitchFamily="34" charset="0"/>
              </a:rPr>
              <a:t>References</a:t>
            </a:r>
          </a:p>
        </p:txBody>
      </p:sp>
      <p:sp>
        <p:nvSpPr>
          <p:cNvPr id="550" name="Google Shape;550;p63"/>
          <p:cNvSpPr txBox="1">
            <a:spLocks noGrp="1"/>
          </p:cNvSpPr>
          <p:nvPr>
            <p:ph type="body" idx="1"/>
          </p:nvPr>
        </p:nvSpPr>
        <p:spPr>
          <a:xfrm>
            <a:off x="450276" y="1066801"/>
            <a:ext cx="9005453" cy="5181599"/>
          </a:xfrm>
          <a:prstGeom prst="rect">
            <a:avLst/>
          </a:prstGeom>
          <a:noFill/>
          <a:ln>
            <a:noFill/>
          </a:ln>
        </p:spPr>
        <p:txBody>
          <a:bodyPr spcFirstLastPara="1" wrap="square" lIns="0" tIns="0" rIns="0" bIns="0" anchor="t" anchorCtr="0">
            <a:noAutofit/>
          </a:bodyPr>
          <a:lstStyle/>
          <a:p>
            <a:r>
              <a:rPr lang="en-US" sz="1400" dirty="0" smtClean="0">
                <a:latin typeface="Arial" panose="020B0604020202020204" pitchFamily="34" charset="0"/>
                <a:cs typeface="Arial" panose="020B0604020202020204" pitchFamily="34" charset="0"/>
              </a:rPr>
              <a:t>The </a:t>
            </a:r>
            <a:r>
              <a:rPr lang="en-US" sz="1400" dirty="0">
                <a:latin typeface="Arial" panose="020B0604020202020204" pitchFamily="34" charset="0"/>
                <a:cs typeface="Arial" panose="020B0604020202020204" pitchFamily="34" charset="0"/>
              </a:rPr>
              <a:t>State of </a:t>
            </a:r>
            <a:r>
              <a:rPr lang="en-US" sz="1400" dirty="0" smtClean="0">
                <a:latin typeface="Arial" panose="020B0604020202020204" pitchFamily="34" charset="0"/>
                <a:cs typeface="Arial" panose="020B0604020202020204" pitchFamily="34" charset="0"/>
              </a:rPr>
              <a:t>Ethiopia’s </a:t>
            </a:r>
            <a:r>
              <a:rPr lang="en-US" sz="1400" dirty="0">
                <a:latin typeface="Arial" panose="020B0604020202020204" pitchFamily="34" charset="0"/>
                <a:cs typeface="Arial" panose="020B0604020202020204" pitchFamily="34" charset="0"/>
              </a:rPr>
              <a:t>Private Sector: </a:t>
            </a:r>
            <a:r>
              <a:rPr lang="en-US" sz="1400" dirty="0">
                <a:latin typeface="Arial" panose="020B0604020202020204" pitchFamily="34" charset="0"/>
                <a:cs typeface="Arial" panose="020B0604020202020204" pitchFamily="34" charset="0"/>
                <a:hlinkClick r:id="rId8"/>
              </a:rPr>
              <a:t>https://</a:t>
            </a:r>
            <a:r>
              <a:rPr lang="en-US" sz="1400" dirty="0" smtClean="0">
                <a:latin typeface="Arial" panose="020B0604020202020204" pitchFamily="34" charset="0"/>
                <a:cs typeface="Arial" panose="020B0604020202020204" pitchFamily="34" charset="0"/>
                <a:hlinkClick r:id="rId8"/>
              </a:rPr>
              <a:t>www.afdb.org/fileadmin/uploads/afdb/Documents/Project-and-Operations/The_State_of_Ethiopia_s_Private_Sector</a:t>
            </a:r>
            <a:r>
              <a:rPr lang="en-US" sz="1400" dirty="0">
                <a:latin typeface="Arial" panose="020B0604020202020204" pitchFamily="34" charset="0"/>
                <a:cs typeface="Arial" panose="020B0604020202020204" pitchFamily="34" charset="0"/>
                <a:hlinkClick r:id="rId8"/>
              </a:rPr>
              <a:t>_-_Recommendations_for_Government-Development_Partners_and_the_Private_Sector.pdf</a:t>
            </a:r>
            <a:r>
              <a:rPr lang="en-US" sz="1400" dirty="0">
                <a:latin typeface="Arial" panose="020B0604020202020204" pitchFamily="34" charset="0"/>
                <a:cs typeface="Arial" panose="020B0604020202020204" pitchFamily="34" charset="0"/>
              </a:rPr>
              <a:t> </a:t>
            </a:r>
          </a:p>
          <a:p>
            <a:r>
              <a:rPr lang="en-ZA" sz="1400" dirty="0" smtClean="0">
                <a:latin typeface="Arial" panose="020B0604020202020204" pitchFamily="34" charset="0"/>
                <a:cs typeface="Arial" panose="020B0604020202020204" pitchFamily="34" charset="0"/>
              </a:rPr>
              <a:t>Ethiopia </a:t>
            </a:r>
            <a:r>
              <a:rPr lang="en-ZA" sz="1400" dirty="0">
                <a:latin typeface="Arial" panose="020B0604020202020204" pitchFamily="34" charset="0"/>
                <a:cs typeface="Arial" panose="020B0604020202020204" pitchFamily="34" charset="0"/>
              </a:rPr>
              <a:t>Economic Survey </a:t>
            </a:r>
            <a:r>
              <a:rPr lang="en-ZA" sz="1400" dirty="0" smtClean="0">
                <a:latin typeface="Arial" panose="020B0604020202020204" pitchFamily="34" charset="0"/>
                <a:cs typeface="Arial" panose="020B0604020202020204" pitchFamily="34" charset="0"/>
              </a:rPr>
              <a:t>2017</a:t>
            </a:r>
          </a:p>
          <a:p>
            <a:r>
              <a:rPr lang="en-ZA" sz="1400" dirty="0" smtClean="0">
                <a:latin typeface="Arial" panose="020B0604020202020204" pitchFamily="34" charset="0"/>
                <a:cs typeface="Arial" panose="020B0604020202020204" pitchFamily="34" charset="0"/>
              </a:rPr>
              <a:t>Ethiopia National EGS Study Final Report</a:t>
            </a:r>
          </a:p>
          <a:p>
            <a:r>
              <a:rPr lang="en-ZA" sz="1400" dirty="0" smtClean="0">
                <a:latin typeface="Arial" panose="020B0604020202020204" pitchFamily="34" charset="0"/>
                <a:cs typeface="Arial" panose="020B0604020202020204" pitchFamily="34" charset="0"/>
              </a:rPr>
              <a:t>Ethiopia national Seed Strategy</a:t>
            </a:r>
            <a:r>
              <a:rPr lang="en-US" sz="1400" dirty="0" smtClean="0">
                <a:latin typeface="Arial" panose="020B0604020202020204" pitchFamily="34" charset="0"/>
                <a:cs typeface="Arial" panose="020B0604020202020204" pitchFamily="34" charset="0"/>
              </a:rPr>
              <a:t> </a:t>
            </a:r>
            <a:endParaRPr lang="en-US" sz="1400" dirty="0">
              <a:latin typeface="Arial" panose="020B0604020202020204" pitchFamily="34" charset="0"/>
              <a:cs typeface="Arial" panose="020B0604020202020204" pitchFamily="34" charset="0"/>
            </a:endParaRPr>
          </a:p>
          <a:p>
            <a:r>
              <a:rPr lang="en-US" sz="1400" dirty="0">
                <a:latin typeface="Arial" panose="020B0604020202020204" pitchFamily="34" charset="0"/>
                <a:cs typeface="Arial" panose="020B0604020202020204" pitchFamily="34" charset="0"/>
              </a:rPr>
              <a:t>The economic lives of smallholder farmers: </a:t>
            </a:r>
            <a:r>
              <a:rPr lang="en-US" sz="1400" dirty="0">
                <a:latin typeface="Arial" panose="020B0604020202020204" pitchFamily="34" charset="0"/>
                <a:cs typeface="Arial" panose="020B0604020202020204" pitchFamily="34" charset="0"/>
                <a:hlinkClick r:id="rId9"/>
              </a:rPr>
              <a:t>http://www.fao.org/3/a-i5251e.pdf</a:t>
            </a:r>
            <a:r>
              <a:rPr lang="en-US" sz="1400" dirty="0">
                <a:latin typeface="Arial" panose="020B0604020202020204" pitchFamily="34" charset="0"/>
                <a:cs typeface="Arial" panose="020B0604020202020204" pitchFamily="34" charset="0"/>
              </a:rPr>
              <a:t> </a:t>
            </a:r>
            <a:endParaRPr lang="en-US" sz="1400" dirty="0" smtClean="0">
              <a:latin typeface="Arial" panose="020B0604020202020204" pitchFamily="34" charset="0"/>
              <a:cs typeface="Arial" panose="020B0604020202020204" pitchFamily="34" charset="0"/>
            </a:endParaRPr>
          </a:p>
          <a:p>
            <a:r>
              <a:rPr lang="en-US" sz="1400" dirty="0">
                <a:latin typeface="Arial" panose="020B0604020202020204" pitchFamily="34" charset="0"/>
                <a:cs typeface="Arial" panose="020B0604020202020204" pitchFamily="34" charset="0"/>
                <a:hlinkClick r:id="rId10"/>
              </a:rPr>
              <a:t>https://datacatalog.worldbank.org</a:t>
            </a:r>
            <a:r>
              <a:rPr lang="en-US" sz="1400" dirty="0">
                <a:latin typeface="Arial" panose="020B0604020202020204" pitchFamily="34" charset="0"/>
                <a:cs typeface="Arial" panose="020B0604020202020204" pitchFamily="34" charset="0"/>
              </a:rPr>
              <a:t> </a:t>
            </a:r>
          </a:p>
          <a:p>
            <a:r>
              <a:rPr lang="en-US" sz="1400" dirty="0">
                <a:latin typeface="Arial" panose="020B0604020202020204" pitchFamily="34" charset="0"/>
                <a:cs typeface="Arial" panose="020B0604020202020204" pitchFamily="34" charset="0"/>
                <a:hlinkClick r:id="rId11"/>
              </a:rPr>
              <a:t>www.fao.org/faostat</a:t>
            </a:r>
            <a:r>
              <a:rPr lang="en-US" sz="1400" dirty="0">
                <a:latin typeface="Arial" panose="020B0604020202020204" pitchFamily="34" charset="0"/>
                <a:cs typeface="Arial" panose="020B0604020202020204" pitchFamily="34" charset="0"/>
              </a:rPr>
              <a:t>  </a:t>
            </a:r>
          </a:p>
          <a:p>
            <a:r>
              <a:rPr lang="en-US" sz="1400" dirty="0">
                <a:latin typeface="Arial" panose="020B0604020202020204" pitchFamily="34" charset="0"/>
                <a:cs typeface="Arial" panose="020B0604020202020204" pitchFamily="34" charset="0"/>
                <a:hlinkClick r:id="rId12"/>
              </a:rPr>
              <a:t>www.resakss.org</a:t>
            </a:r>
            <a:r>
              <a:rPr lang="en-US" sz="1400" dirty="0">
                <a:latin typeface="Arial" panose="020B0604020202020204" pitchFamily="34" charset="0"/>
                <a:cs typeface="Arial" panose="020B0604020202020204" pitchFamily="34" charset="0"/>
              </a:rPr>
              <a:t>  </a:t>
            </a:r>
          </a:p>
          <a:p>
            <a:r>
              <a:rPr lang="en-US" sz="1400" dirty="0">
                <a:latin typeface="Arial" panose="020B0604020202020204" pitchFamily="34" charset="0"/>
                <a:cs typeface="Arial" panose="020B0604020202020204" pitchFamily="34" charset="0"/>
                <a:hlinkClick r:id="rId13"/>
              </a:rPr>
              <a:t>http://</a:t>
            </a:r>
            <a:r>
              <a:rPr lang="en-US" sz="1400" dirty="0" smtClean="0">
                <a:latin typeface="Arial" panose="020B0604020202020204" pitchFamily="34" charset="0"/>
                <a:cs typeface="Arial" panose="020B0604020202020204" pitchFamily="34" charset="0"/>
                <a:hlinkClick r:id="rId13"/>
              </a:rPr>
              <a:t>www.fao.org/Ethiopia/fao-in-Ethiopia/Ethiopia-at-a-glance/en</a:t>
            </a:r>
            <a:r>
              <a:rPr lang="en-US" sz="1400" dirty="0">
                <a:latin typeface="Arial" panose="020B0604020202020204" pitchFamily="34" charset="0"/>
                <a:cs typeface="Arial" panose="020B0604020202020204" pitchFamily="34" charset="0"/>
                <a:hlinkClick r:id="rId13"/>
              </a:rPr>
              <a:t>/</a:t>
            </a:r>
            <a:r>
              <a:rPr lang="en-US" sz="1400" dirty="0">
                <a:latin typeface="Arial" panose="020B0604020202020204" pitchFamily="34" charset="0"/>
                <a:cs typeface="Arial" panose="020B0604020202020204" pitchFamily="34" charset="0"/>
                <a:hlinkClick r:id="rId14">
                  <a:extLst>
                    <a:ext uri="{A12FA001-AC4F-418D-AE19-62706E023703}">
                      <ahyp:hlinkClr xmlns:lc="http://schemas.openxmlformats.org/drawingml/2006/lockedCanvas" xmlns:ahyp="http://schemas.microsoft.com/office/drawing/2018/hyperlinkcolor" xmlns="" val="tx"/>
                    </a:ext>
                  </a:extLst>
                </a:hlinkClick>
              </a:rPr>
              <a:t> </a:t>
            </a:r>
            <a:endParaRPr lang="en-US" sz="1400" dirty="0">
              <a:latin typeface="Arial" panose="020B0604020202020204" pitchFamily="34" charset="0"/>
              <a:cs typeface="Arial" panose="020B0604020202020204" pitchFamily="34" charset="0"/>
            </a:endParaRPr>
          </a:p>
          <a:p>
            <a:r>
              <a:rPr lang="en-US" sz="1400" dirty="0">
                <a:latin typeface="Arial" panose="020B0604020202020204" pitchFamily="34" charset="0"/>
                <a:cs typeface="Arial" panose="020B0604020202020204" pitchFamily="34" charset="0"/>
                <a:hlinkClick r:id="rId15"/>
              </a:rPr>
              <a:t>http://www.farmbizafrica.com</a:t>
            </a:r>
            <a:r>
              <a:rPr lang="en-US" sz="1400" dirty="0">
                <a:latin typeface="Arial" panose="020B0604020202020204" pitchFamily="34" charset="0"/>
                <a:cs typeface="Arial" panose="020B0604020202020204" pitchFamily="34" charset="0"/>
              </a:rPr>
              <a:t> </a:t>
            </a:r>
          </a:p>
          <a:p>
            <a:r>
              <a:rPr lang="en-US" sz="1400" dirty="0">
                <a:latin typeface="Arial" panose="020B0604020202020204" pitchFamily="34" charset="0"/>
                <a:cs typeface="Arial" panose="020B0604020202020204" pitchFamily="34" charset="0"/>
                <a:hlinkClick r:id="rId16"/>
              </a:rPr>
              <a:t>https://</a:t>
            </a:r>
            <a:r>
              <a:rPr lang="en-US" sz="1400" dirty="0" smtClean="0">
                <a:latin typeface="Arial" panose="020B0604020202020204" pitchFamily="34" charset="0"/>
                <a:cs typeface="Arial" panose="020B0604020202020204" pitchFamily="34" charset="0"/>
                <a:hlinkClick r:id="rId16"/>
              </a:rPr>
              <a:t>fsdEthiopia.org</a:t>
            </a:r>
            <a:r>
              <a:rPr lang="en-US" sz="1400" dirty="0" smtClean="0">
                <a:latin typeface="Arial" panose="020B0604020202020204" pitchFamily="34" charset="0"/>
                <a:cs typeface="Arial" panose="020B0604020202020204" pitchFamily="34" charset="0"/>
              </a:rPr>
              <a:t>  </a:t>
            </a:r>
            <a:r>
              <a:rPr lang="en-US" sz="1400" dirty="0" smtClean="0">
                <a:latin typeface="Arial" panose="020B0604020202020204" pitchFamily="34" charset="0"/>
                <a:cs typeface="Arial" panose="020B0604020202020204" pitchFamily="34" charset="0"/>
                <a:hlinkClick r:id="rId14">
                  <a:extLst>
                    <a:ext uri="{A12FA001-AC4F-418D-AE19-62706E023703}">
                      <ahyp:hlinkClr xmlns:lc="http://schemas.openxmlformats.org/drawingml/2006/lockedCanvas" xmlns="" xmlns:ahyp="http://schemas.microsoft.com/office/drawing/2018/hyperlinkcolor" val="tx"/>
                    </a:ext>
                  </a:extLst>
                </a:hlinkClick>
              </a:rPr>
              <a:t> </a:t>
            </a:r>
            <a:endParaRPr lang="en-US" sz="1400" dirty="0">
              <a:latin typeface="Arial" panose="020B0604020202020204" pitchFamily="34" charset="0"/>
              <a:cs typeface="Arial" panose="020B0604020202020204" pitchFamily="34" charset="0"/>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1795374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83" name="think-cell Slide" r:id="rId5" imgW="327" imgH="327" progId="TCLayout.ActiveDocument.1">
                  <p:embed/>
                </p:oleObj>
              </mc:Choice>
              <mc:Fallback>
                <p:oleObj name="think-cell Slide" r:id="rId5" imgW="327" imgH="327"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2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Executive Summary </a:t>
            </a:r>
          </a:p>
        </p:txBody>
      </p:sp>
      <p:sp>
        <p:nvSpPr>
          <p:cNvPr id="5" name="Text Placeholder 4"/>
          <p:cNvSpPr>
            <a:spLocks noGrp="1"/>
          </p:cNvSpPr>
          <p:nvPr>
            <p:ph type="body" idx="1"/>
          </p:nvPr>
        </p:nvSpPr>
        <p:spPr>
          <a:xfrm>
            <a:off x="450276" y="903891"/>
            <a:ext cx="9005453" cy="5234150"/>
          </a:xfrm>
        </p:spPr>
        <p:txBody>
          <a:bodyPr/>
          <a:lstStyle/>
          <a:p>
            <a:pPr marL="0" indent="0">
              <a:lnSpc>
                <a:spcPts val="1400"/>
              </a:lnSpc>
              <a:spcBef>
                <a:spcPts val="600"/>
              </a:spcBef>
              <a:buNone/>
            </a:pPr>
            <a:r>
              <a:rPr lang="en-US" sz="1200" dirty="0">
                <a:solidFill>
                  <a:srgbClr val="000000"/>
                </a:solidFill>
              </a:rPr>
              <a:t>In Ethiopia, AGRA will focus on:</a:t>
            </a:r>
          </a:p>
          <a:p>
            <a:pPr marL="171450" indent="-171450">
              <a:lnSpc>
                <a:spcPts val="1400"/>
              </a:lnSpc>
              <a:spcBef>
                <a:spcPts val="600"/>
              </a:spcBef>
            </a:pPr>
            <a:r>
              <a:rPr lang="en-ZA" sz="1200" dirty="0">
                <a:solidFill>
                  <a:srgbClr val="000000"/>
                </a:solidFill>
              </a:rPr>
              <a:t>Supporting the </a:t>
            </a:r>
            <a:r>
              <a:rPr lang="en-ZA" sz="1200" dirty="0" err="1">
                <a:solidFill>
                  <a:srgbClr val="000000"/>
                </a:solidFill>
              </a:rPr>
              <a:t>GoE</a:t>
            </a:r>
            <a:r>
              <a:rPr lang="en-ZA" sz="1200" dirty="0">
                <a:solidFill>
                  <a:srgbClr val="000000"/>
                </a:solidFill>
              </a:rPr>
              <a:t> to implement the </a:t>
            </a:r>
            <a:r>
              <a:rPr lang="en-ZA" sz="1200" dirty="0" err="1">
                <a:solidFill>
                  <a:srgbClr val="000000"/>
                </a:solidFill>
              </a:rPr>
              <a:t>GTP</a:t>
            </a:r>
            <a:r>
              <a:rPr lang="en-ZA" sz="1200" dirty="0">
                <a:solidFill>
                  <a:srgbClr val="000000"/>
                </a:solidFill>
              </a:rPr>
              <a:t> II; </a:t>
            </a:r>
          </a:p>
          <a:p>
            <a:pPr marL="171450" indent="-171450">
              <a:lnSpc>
                <a:spcPts val="1400"/>
              </a:lnSpc>
              <a:spcBef>
                <a:spcPts val="600"/>
              </a:spcBef>
            </a:pPr>
            <a:r>
              <a:rPr lang="en-ZA" sz="1200" dirty="0" smtClean="0">
                <a:solidFill>
                  <a:srgbClr val="000000"/>
                </a:solidFill>
              </a:rPr>
              <a:t>Supporting ATA in implementation of the electronic Voucher System and policy reforms;</a:t>
            </a:r>
          </a:p>
          <a:p>
            <a:pPr marL="171450" indent="-171450">
              <a:lnSpc>
                <a:spcPts val="1400"/>
              </a:lnSpc>
              <a:spcBef>
                <a:spcPts val="600"/>
              </a:spcBef>
            </a:pPr>
            <a:r>
              <a:rPr lang="en-ZA" sz="1200" dirty="0" smtClean="0">
                <a:solidFill>
                  <a:srgbClr val="000000"/>
                </a:solidFill>
              </a:rPr>
              <a:t>Supporting </a:t>
            </a:r>
            <a:r>
              <a:rPr lang="en-ZA" sz="1200" dirty="0">
                <a:solidFill>
                  <a:srgbClr val="000000"/>
                </a:solidFill>
              </a:rPr>
              <a:t>the Ministry of Trade and Industry in developing the Agricultural Trade Policy;</a:t>
            </a:r>
          </a:p>
          <a:p>
            <a:pPr marL="171450" indent="-171450">
              <a:lnSpc>
                <a:spcPts val="1400"/>
              </a:lnSpc>
              <a:spcBef>
                <a:spcPts val="600"/>
              </a:spcBef>
            </a:pPr>
            <a:r>
              <a:rPr lang="en-ZA" sz="1200" dirty="0">
                <a:solidFill>
                  <a:srgbClr val="000000"/>
                </a:solidFill>
              </a:rPr>
              <a:t> Facilitating creation of an enabling environment that fosters private sector investment and support to the government in developing a 7-10-year National Agricultural Investment Plan (</a:t>
            </a:r>
            <a:r>
              <a:rPr lang="en-ZA" sz="1200" dirty="0" err="1">
                <a:solidFill>
                  <a:srgbClr val="000000"/>
                </a:solidFill>
              </a:rPr>
              <a:t>NAIP</a:t>
            </a:r>
            <a:r>
              <a:rPr lang="en-ZA" sz="1200" dirty="0">
                <a:solidFill>
                  <a:srgbClr val="000000"/>
                </a:solidFill>
              </a:rPr>
              <a:t>);</a:t>
            </a:r>
            <a:endParaRPr lang="en-US" sz="1200" dirty="0">
              <a:solidFill>
                <a:srgbClr val="000000"/>
              </a:solidFill>
            </a:endParaRPr>
          </a:p>
          <a:p>
            <a:pPr marL="171450" indent="-171450">
              <a:lnSpc>
                <a:spcPts val="1400"/>
              </a:lnSpc>
              <a:spcBef>
                <a:spcPts val="600"/>
              </a:spcBef>
            </a:pPr>
            <a:r>
              <a:rPr lang="en-ZA" sz="1200" dirty="0">
                <a:solidFill>
                  <a:srgbClr val="000000"/>
                </a:solidFill>
              </a:rPr>
              <a:t>Strengthening agricultural extension, inputs and marketing systems in </a:t>
            </a:r>
            <a:r>
              <a:rPr lang="en-ZA" sz="1200" dirty="0" smtClean="0">
                <a:solidFill>
                  <a:srgbClr val="000000"/>
                </a:solidFill>
              </a:rPr>
              <a:t>Oromia, </a:t>
            </a:r>
            <a:r>
              <a:rPr lang="en-US" sz="1200" dirty="0">
                <a:solidFill>
                  <a:srgbClr val="000000"/>
                </a:solidFill>
              </a:rPr>
              <a:t>Amhara, Tigray and </a:t>
            </a:r>
            <a:r>
              <a:rPr lang="en-US" sz="1200" dirty="0" err="1">
                <a:solidFill>
                  <a:srgbClr val="000000"/>
                </a:solidFill>
              </a:rPr>
              <a:t>SNNPR</a:t>
            </a:r>
            <a:r>
              <a:rPr lang="en-US" sz="1200" dirty="0">
                <a:solidFill>
                  <a:srgbClr val="000000"/>
                </a:solidFill>
              </a:rPr>
              <a:t> regions </a:t>
            </a:r>
            <a:r>
              <a:rPr lang="en-ZA" sz="1200" dirty="0" smtClean="0">
                <a:solidFill>
                  <a:srgbClr val="000000"/>
                </a:solidFill>
              </a:rPr>
              <a:t>and </a:t>
            </a:r>
            <a:r>
              <a:rPr lang="en-ZA" sz="1200" dirty="0">
                <a:solidFill>
                  <a:srgbClr val="000000"/>
                </a:solidFill>
              </a:rPr>
              <a:t>building capacity of financial institutions and SMEs to facilitate access to finance for SMEs; and </a:t>
            </a:r>
            <a:endParaRPr lang="en-US" sz="1200" dirty="0">
              <a:solidFill>
                <a:srgbClr val="000000"/>
              </a:solidFill>
            </a:endParaRPr>
          </a:p>
          <a:p>
            <a:pPr marL="171450" indent="-171450">
              <a:lnSpc>
                <a:spcPts val="1400"/>
              </a:lnSpc>
              <a:spcBef>
                <a:spcPts val="600"/>
              </a:spcBef>
            </a:pPr>
            <a:r>
              <a:rPr lang="en-US" sz="1200" dirty="0">
                <a:solidFill>
                  <a:srgbClr val="000000"/>
                </a:solidFill>
              </a:rPr>
              <a:t>Facilitating alignment between government priorities and private sector interests; improve integration and coordination that lead to investments beneficial to smallholder farmers</a:t>
            </a:r>
            <a:r>
              <a:rPr lang="en-US" sz="1200" dirty="0" smtClean="0">
                <a:solidFill>
                  <a:srgbClr val="000000"/>
                </a:solidFill>
              </a:rPr>
              <a:t>.</a:t>
            </a:r>
          </a:p>
          <a:p>
            <a:pPr marL="0" indent="0">
              <a:lnSpc>
                <a:spcPts val="1400"/>
              </a:lnSpc>
              <a:spcBef>
                <a:spcPts val="600"/>
              </a:spcBef>
              <a:buNone/>
            </a:pPr>
            <a:r>
              <a:rPr lang="en-US" sz="1200" dirty="0">
                <a:solidFill>
                  <a:srgbClr val="000000"/>
                </a:solidFill>
              </a:rPr>
              <a:t>By executing this strategy, </a:t>
            </a:r>
            <a:r>
              <a:rPr lang="en-US" sz="1200" dirty="0" smtClean="0">
                <a:solidFill>
                  <a:srgbClr val="000000"/>
                </a:solidFill>
              </a:rPr>
              <a:t>we hope </a:t>
            </a:r>
            <a:r>
              <a:rPr lang="en-US" sz="1200" dirty="0">
                <a:solidFill>
                  <a:srgbClr val="000000"/>
                </a:solidFill>
              </a:rPr>
              <a:t>inclusive agriculture transformation in Ethiopia by contributing to </a:t>
            </a:r>
            <a:r>
              <a:rPr lang="en-US" sz="1200" dirty="0" smtClean="0">
                <a:solidFill>
                  <a:srgbClr val="000000"/>
                </a:solidFill>
              </a:rPr>
              <a:t>increasing </a:t>
            </a:r>
            <a:r>
              <a:rPr lang="en-US" sz="1200" dirty="0">
                <a:solidFill>
                  <a:srgbClr val="000000"/>
                </a:solidFill>
              </a:rPr>
              <a:t>incomes and improving food security for 4.7 million smallholder households in Ethiopia and to support Ethiopia on a pathway to attain and sustain an agriculture transformation. By focusing on inclusive Agriculture Transformation in Ethiopia, AGRA is seeking to contribute to </a:t>
            </a:r>
            <a:r>
              <a:rPr lang="en-US" sz="1200" dirty="0" smtClean="0">
                <a:solidFill>
                  <a:srgbClr val="000000"/>
                </a:solidFill>
              </a:rPr>
              <a:t>increased </a:t>
            </a:r>
            <a:r>
              <a:rPr lang="en-US" sz="1200" dirty="0">
                <a:solidFill>
                  <a:srgbClr val="000000"/>
                </a:solidFill>
              </a:rPr>
              <a:t>commercialization and incomes of small holders and support investments leading to modern agriculture. </a:t>
            </a:r>
            <a:endParaRPr lang="en-US" sz="1200" dirty="0" smtClean="0">
              <a:solidFill>
                <a:srgbClr val="000000"/>
              </a:solidFill>
            </a:endParaRPr>
          </a:p>
          <a:p>
            <a:pPr marL="0" indent="0">
              <a:lnSpc>
                <a:spcPts val="1400"/>
              </a:lnSpc>
              <a:spcBef>
                <a:spcPts val="600"/>
              </a:spcBef>
              <a:buNone/>
            </a:pPr>
            <a:r>
              <a:rPr lang="en-US" sz="1200" dirty="0">
                <a:solidFill>
                  <a:schemeClr val="tx1"/>
                </a:solidFill>
              </a:rPr>
              <a:t>Implementation begun in Q4 of </a:t>
            </a:r>
            <a:r>
              <a:rPr lang="en-US" sz="1200" dirty="0" smtClean="0">
                <a:solidFill>
                  <a:schemeClr val="tx1"/>
                </a:solidFill>
              </a:rPr>
              <a:t>2018 </a:t>
            </a:r>
            <a:r>
              <a:rPr lang="en-US" sz="1200" dirty="0">
                <a:solidFill>
                  <a:schemeClr val="tx1"/>
                </a:solidFill>
              </a:rPr>
              <a:t>and to date AGRA has invested </a:t>
            </a:r>
            <a:r>
              <a:rPr lang="en-US" sz="1200" dirty="0" smtClean="0">
                <a:solidFill>
                  <a:schemeClr val="tx1"/>
                </a:solidFill>
              </a:rPr>
              <a:t>~$15.3m</a:t>
            </a:r>
            <a:r>
              <a:rPr lang="en-US" sz="1200" dirty="0">
                <a:solidFill>
                  <a:schemeClr val="tx1"/>
                </a:solidFill>
              </a:rPr>
              <a:t>. With these funds, AGRA has made substantial investments within each body of work:</a:t>
            </a:r>
          </a:p>
          <a:p>
            <a:pPr marL="171450" indent="-171450">
              <a:lnSpc>
                <a:spcPts val="1400"/>
              </a:lnSpc>
              <a:spcBef>
                <a:spcPts val="600"/>
              </a:spcBef>
            </a:pPr>
            <a:r>
              <a:rPr lang="en-US" sz="1200" dirty="0">
                <a:solidFill>
                  <a:schemeClr val="tx1"/>
                </a:solidFill>
              </a:rPr>
              <a:t>In policy and state capability, </a:t>
            </a:r>
            <a:r>
              <a:rPr lang="en-US" sz="1200" dirty="0" smtClean="0">
                <a:solidFill>
                  <a:schemeClr val="tx1"/>
                </a:solidFill>
              </a:rPr>
              <a:t>$2,446,923.  </a:t>
            </a:r>
            <a:endParaRPr lang="en-US" sz="1200" dirty="0">
              <a:solidFill>
                <a:schemeClr val="tx1"/>
              </a:solidFill>
            </a:endParaRPr>
          </a:p>
          <a:p>
            <a:pPr marL="171450" indent="-171450">
              <a:lnSpc>
                <a:spcPts val="1400"/>
              </a:lnSpc>
              <a:spcBef>
                <a:spcPts val="600"/>
              </a:spcBef>
            </a:pPr>
            <a:r>
              <a:rPr lang="en-US" sz="1200" dirty="0">
                <a:solidFill>
                  <a:schemeClr val="tx1"/>
                </a:solidFill>
              </a:rPr>
              <a:t>In farmer and systems development: </a:t>
            </a:r>
            <a:r>
              <a:rPr lang="en-US" sz="1200" dirty="0" smtClean="0">
                <a:solidFill>
                  <a:schemeClr val="tx1"/>
                </a:solidFill>
              </a:rPr>
              <a:t>three consortia projects are implemented on Wheat, </a:t>
            </a:r>
            <a:r>
              <a:rPr lang="en-US" sz="1200" dirty="0" err="1" smtClean="0">
                <a:solidFill>
                  <a:schemeClr val="tx1"/>
                </a:solidFill>
              </a:rPr>
              <a:t>teff</a:t>
            </a:r>
            <a:r>
              <a:rPr lang="en-US" sz="1200" dirty="0" smtClean="0">
                <a:solidFill>
                  <a:schemeClr val="tx1"/>
                </a:solidFill>
              </a:rPr>
              <a:t>, maize and haricot bean. $12,858,544</a:t>
            </a:r>
          </a:p>
          <a:p>
            <a:pPr marL="171450" indent="-171450">
              <a:lnSpc>
                <a:spcPts val="1400"/>
              </a:lnSpc>
              <a:spcBef>
                <a:spcPts val="600"/>
              </a:spcBef>
            </a:pPr>
            <a:r>
              <a:rPr lang="en-US" sz="1200" dirty="0" smtClean="0">
                <a:solidFill>
                  <a:schemeClr val="tx1"/>
                </a:solidFill>
              </a:rPr>
              <a:t>AGRA’s key private sector partners in Ethiopia include CORTEVA, ETG, </a:t>
            </a:r>
            <a:r>
              <a:rPr lang="en-US" sz="1200" dirty="0" err="1" smtClean="0">
                <a:solidFill>
                  <a:schemeClr val="tx1"/>
                </a:solidFill>
              </a:rPr>
              <a:t>Seedco</a:t>
            </a:r>
            <a:r>
              <a:rPr lang="en-US" sz="1200" dirty="0" smtClean="0">
                <a:solidFill>
                  <a:schemeClr val="tx1"/>
                </a:solidFill>
              </a:rPr>
              <a:t>, </a:t>
            </a:r>
            <a:r>
              <a:rPr lang="en-US" sz="1200" dirty="0" err="1" smtClean="0">
                <a:solidFill>
                  <a:schemeClr val="tx1"/>
                </a:solidFill>
              </a:rPr>
              <a:t>etc</a:t>
            </a:r>
            <a:r>
              <a:rPr lang="en-US" sz="1200" dirty="0" smtClean="0">
                <a:solidFill>
                  <a:schemeClr val="tx1"/>
                </a:solidFill>
              </a:rPr>
              <a:t> and local private companies</a:t>
            </a:r>
            <a:endParaRPr lang="en-US" sz="1200" dirty="0">
              <a:solidFill>
                <a:schemeClr val="tx1"/>
              </a:solidFill>
            </a:endParaRPr>
          </a:p>
          <a:p>
            <a:pPr marL="171450" indent="-171450">
              <a:lnSpc>
                <a:spcPts val="1400"/>
              </a:lnSpc>
              <a:spcBef>
                <a:spcPts val="600"/>
              </a:spcBef>
            </a:pPr>
            <a:r>
              <a:rPr lang="en-US" sz="1200" dirty="0" smtClean="0">
                <a:solidFill>
                  <a:schemeClr val="tx1"/>
                </a:solidFill>
              </a:rPr>
              <a:t>(</a:t>
            </a:r>
            <a:r>
              <a:rPr lang="en-US" sz="1200" dirty="0">
                <a:solidFill>
                  <a:schemeClr val="tx1"/>
                </a:solidFill>
              </a:rPr>
              <a:t>see portfolio summary on next page)</a:t>
            </a:r>
          </a:p>
          <a:p>
            <a:pPr marL="0" indent="0">
              <a:lnSpc>
                <a:spcPts val="1400"/>
              </a:lnSpc>
              <a:spcBef>
                <a:spcPts val="600"/>
              </a:spcBef>
              <a:buNone/>
            </a:pPr>
            <a:r>
              <a:rPr lang="en-US" sz="1200" dirty="0">
                <a:solidFill>
                  <a:schemeClr val="tx1"/>
                </a:solidFill>
              </a:rPr>
              <a:t>The strategy is well aligned with the government’s priorities and contributes to the need for a strong sector with effective coordination and implementation capabilities, and strengthening delivery systems for improved productivity and marketing of produce. </a:t>
            </a:r>
            <a:r>
              <a:rPr lang="en-US" sz="1200" dirty="0" smtClean="0">
                <a:solidFill>
                  <a:schemeClr val="tx1"/>
                </a:solidFill>
              </a:rPr>
              <a:t>resilience.</a:t>
            </a:r>
            <a:endParaRPr lang="en-US" sz="1200" dirty="0">
              <a:solidFill>
                <a:schemeClr val="tx1"/>
              </a:solidFill>
            </a:endParaRPr>
          </a:p>
        </p:txBody>
      </p:sp>
      <p:sp>
        <p:nvSpPr>
          <p:cNvPr id="6" name="Text Placeholder 5"/>
          <p:cNvSpPr>
            <a:spLocks noGrp="1"/>
          </p:cNvSpPr>
          <p:nvPr>
            <p:ph type="body" idx="2"/>
          </p:nvPr>
        </p:nvSpPr>
        <p:spPr/>
        <p:txBody>
          <a:bodyPr/>
          <a:lstStyle/>
          <a:p>
            <a:r>
              <a:rPr lang="en-US" sz="900" dirty="0">
                <a:solidFill>
                  <a:schemeClr val="tx1"/>
                </a:solidFill>
              </a:rPr>
              <a:t>Sources: 1. </a:t>
            </a:r>
            <a:r>
              <a:rPr lang="en-US" sz="900" dirty="0"/>
              <a:t>FAO: Ethiopia at a glance: </a:t>
            </a:r>
            <a:r>
              <a:rPr lang="en-US" sz="900" b="1" u="sng" dirty="0">
                <a:hlinkClick r:id="rId7"/>
              </a:rPr>
              <a:t>http://www.fao.org/ethiopia/fao-in-ethiopia/ethiopia-at-a-glance/en/</a:t>
            </a:r>
            <a:r>
              <a:rPr lang="en-US" sz="900" dirty="0">
                <a:solidFill>
                  <a:schemeClr val="tx1"/>
                </a:solidFill>
              </a:rPr>
              <a:t> |  2. </a:t>
            </a:r>
            <a:r>
              <a:rPr lang="en-US" sz="900" dirty="0"/>
              <a:t>Previous Agra business plan 2016 and </a:t>
            </a:r>
            <a:r>
              <a:rPr lang="en-US" sz="900" dirty="0" smtClean="0"/>
              <a:t>2018</a:t>
            </a:r>
            <a:endParaRPr lang="en-US" sz="900" b="1" dirty="0"/>
          </a:p>
        </p:txBody>
      </p:sp>
    </p:spTree>
    <p:extLst>
      <p:ext uri="{BB962C8B-B14F-4D97-AF65-F5344CB8AC3E}">
        <p14:creationId xmlns:p14="http://schemas.microsoft.com/office/powerpoint/2010/main" val="167490129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0185"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031" b="1" dirty="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smtClean="0"/>
              <a:t>AGRA’s Current Portfolio summary (2017 - 2019)</a:t>
            </a:r>
            <a:endParaRPr lang="en-US" dirty="0"/>
          </a:p>
        </p:txBody>
      </p:sp>
      <p:sp>
        <p:nvSpPr>
          <p:cNvPr id="46" name="Rectangle 45">
            <a:hlinkClick r:id="" action="ppaction://noaction"/>
          </p:cNvPr>
          <p:cNvSpPr/>
          <p:nvPr/>
        </p:nvSpPr>
        <p:spPr bwMode="gray">
          <a:xfrm>
            <a:off x="3449297" y="906112"/>
            <a:ext cx="3125822" cy="548640"/>
          </a:xfrm>
          <a:prstGeom prst="rect">
            <a:avLst/>
          </a:prstGeom>
          <a:solidFill>
            <a:srgbClr val="B5D474">
              <a:lumMod val="75000"/>
            </a:srgbClr>
          </a:solidFill>
          <a:ln w="19050" algn="ctr">
            <a:solidFill>
              <a:srgbClr val="FFFFFF"/>
            </a:solidFill>
            <a:miter lim="800000"/>
            <a:headEnd/>
            <a:tailEnd/>
          </a:ln>
        </p:spPr>
        <p:txBody>
          <a:bodyPr wrap="square" lIns="88900" tIns="88900" rIns="88900" bIns="88900" rtlCol="0" anchor="ctr"/>
          <a:lstStyle/>
          <a:p>
            <a:pPr marL="457200" marR="0" lvl="1" indent="0"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dirty="0" smtClean="0">
                <a:ln>
                  <a:noFill/>
                </a:ln>
                <a:solidFill>
                  <a:srgbClr val="FFFFFF"/>
                </a:solidFill>
                <a:effectLst/>
                <a:uLnTx/>
                <a:uFillTx/>
                <a:ea typeface="+mn-ea"/>
                <a:cs typeface="+mn-cs"/>
              </a:rPr>
              <a:t>    Farmer and Systems</a:t>
            </a:r>
          </a:p>
        </p:txBody>
      </p:sp>
      <p:sp>
        <p:nvSpPr>
          <p:cNvPr id="47" name="Freeform 46"/>
          <p:cNvSpPr>
            <a:spLocks noChangeAspect="1" noEditPoints="1"/>
          </p:cNvSpPr>
          <p:nvPr/>
        </p:nvSpPr>
        <p:spPr bwMode="auto">
          <a:xfrm>
            <a:off x="7722233" y="1619648"/>
            <a:ext cx="534664" cy="365760"/>
          </a:xfrm>
          <a:custGeom>
            <a:avLst/>
            <a:gdLst>
              <a:gd name="T0" fmla="*/ 252 w 438"/>
              <a:gd name="T1" fmla="*/ 65 h 279"/>
              <a:gd name="T2" fmla="*/ 193 w 438"/>
              <a:gd name="T3" fmla="*/ 89 h 279"/>
              <a:gd name="T4" fmla="*/ 207 w 438"/>
              <a:gd name="T5" fmla="*/ 146 h 279"/>
              <a:gd name="T6" fmla="*/ 222 w 438"/>
              <a:gd name="T7" fmla="*/ 119 h 279"/>
              <a:gd name="T8" fmla="*/ 273 w 438"/>
              <a:gd name="T9" fmla="*/ 150 h 279"/>
              <a:gd name="T10" fmla="*/ 329 w 438"/>
              <a:gd name="T11" fmla="*/ 205 h 279"/>
              <a:gd name="T12" fmla="*/ 325 w 438"/>
              <a:gd name="T13" fmla="*/ 220 h 279"/>
              <a:gd name="T14" fmla="*/ 277 w 438"/>
              <a:gd name="T15" fmla="*/ 183 h 279"/>
              <a:gd name="T16" fmla="*/ 271 w 438"/>
              <a:gd name="T17" fmla="*/ 190 h 279"/>
              <a:gd name="T18" fmla="*/ 298 w 438"/>
              <a:gd name="T19" fmla="*/ 241 h 279"/>
              <a:gd name="T20" fmla="*/ 241 w 438"/>
              <a:gd name="T21" fmla="*/ 199 h 279"/>
              <a:gd name="T22" fmla="*/ 289 w 438"/>
              <a:gd name="T23" fmla="*/ 246 h 279"/>
              <a:gd name="T24" fmla="*/ 228 w 438"/>
              <a:gd name="T25" fmla="*/ 219 h 279"/>
              <a:gd name="T26" fmla="*/ 222 w 438"/>
              <a:gd name="T27" fmla="*/ 226 h 279"/>
              <a:gd name="T28" fmla="*/ 233 w 438"/>
              <a:gd name="T29" fmla="*/ 257 h 279"/>
              <a:gd name="T30" fmla="*/ 235 w 438"/>
              <a:gd name="T31" fmla="*/ 268 h 279"/>
              <a:gd name="T32" fmla="*/ 293 w 438"/>
              <a:gd name="T33" fmla="*/ 256 h 279"/>
              <a:gd name="T34" fmla="*/ 336 w 438"/>
              <a:gd name="T35" fmla="*/ 196 h 279"/>
              <a:gd name="T36" fmla="*/ 308 w 438"/>
              <a:gd name="T37" fmla="*/ 85 h 279"/>
              <a:gd name="T38" fmla="*/ 191 w 438"/>
              <a:gd name="T39" fmla="*/ 210 h 279"/>
              <a:gd name="T40" fmla="*/ 230 w 438"/>
              <a:gd name="T41" fmla="*/ 265 h 279"/>
              <a:gd name="T42" fmla="*/ 137 w 438"/>
              <a:gd name="T43" fmla="*/ 220 h 279"/>
              <a:gd name="T44" fmla="*/ 157 w 438"/>
              <a:gd name="T45" fmla="*/ 196 h 279"/>
              <a:gd name="T46" fmla="*/ 362 w 438"/>
              <a:gd name="T47" fmla="*/ 204 h 279"/>
              <a:gd name="T48" fmla="*/ 438 w 438"/>
              <a:gd name="T49" fmla="*/ 0 h 279"/>
              <a:gd name="T50" fmla="*/ 112 w 438"/>
              <a:gd name="T51" fmla="*/ 72 h 279"/>
              <a:gd name="T52" fmla="*/ 0 w 438"/>
              <a:gd name="T53" fmla="*/ 182 h 279"/>
              <a:gd name="T54" fmla="*/ 112 w 438"/>
              <a:gd name="T55" fmla="*/ 72 h 279"/>
              <a:gd name="T56" fmla="*/ 89 w 438"/>
              <a:gd name="T57" fmla="*/ 173 h 279"/>
              <a:gd name="T58" fmla="*/ 198 w 438"/>
              <a:gd name="T59" fmla="*/ 77 h 279"/>
              <a:gd name="T60" fmla="*/ 187 w 438"/>
              <a:gd name="T61" fmla="*/ 85 h 279"/>
              <a:gd name="T62" fmla="*/ 125 w 438"/>
              <a:gd name="T63" fmla="*/ 88 h 279"/>
              <a:gd name="T64" fmla="*/ 136 w 438"/>
              <a:gd name="T65" fmla="*/ 190 h 279"/>
              <a:gd name="T66" fmla="*/ 129 w 438"/>
              <a:gd name="T67" fmla="*/ 198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38" h="279">
                <a:moveTo>
                  <a:pt x="308" y="85"/>
                </a:moveTo>
                <a:cubicBezTo>
                  <a:pt x="308" y="85"/>
                  <a:pt x="270" y="70"/>
                  <a:pt x="252" y="65"/>
                </a:cubicBezTo>
                <a:cubicBezTo>
                  <a:pt x="239" y="62"/>
                  <a:pt x="237" y="64"/>
                  <a:pt x="226" y="70"/>
                </a:cubicBezTo>
                <a:cubicBezTo>
                  <a:pt x="217" y="75"/>
                  <a:pt x="201" y="82"/>
                  <a:pt x="193" y="89"/>
                </a:cubicBezTo>
                <a:cubicBezTo>
                  <a:pt x="188" y="94"/>
                  <a:pt x="181" y="142"/>
                  <a:pt x="181" y="143"/>
                </a:cubicBezTo>
                <a:cubicBezTo>
                  <a:pt x="180" y="156"/>
                  <a:pt x="198" y="156"/>
                  <a:pt x="207" y="146"/>
                </a:cubicBezTo>
                <a:cubicBezTo>
                  <a:pt x="212" y="139"/>
                  <a:pt x="217" y="129"/>
                  <a:pt x="220" y="122"/>
                </a:cubicBezTo>
                <a:cubicBezTo>
                  <a:pt x="223" y="117"/>
                  <a:pt x="222" y="119"/>
                  <a:pt x="222" y="119"/>
                </a:cubicBezTo>
                <a:cubicBezTo>
                  <a:pt x="236" y="115"/>
                  <a:pt x="236" y="115"/>
                  <a:pt x="236" y="115"/>
                </a:cubicBezTo>
                <a:cubicBezTo>
                  <a:pt x="246" y="125"/>
                  <a:pt x="259" y="137"/>
                  <a:pt x="273" y="150"/>
                </a:cubicBezTo>
                <a:cubicBezTo>
                  <a:pt x="294" y="171"/>
                  <a:pt x="315" y="191"/>
                  <a:pt x="324" y="199"/>
                </a:cubicBezTo>
                <a:cubicBezTo>
                  <a:pt x="327" y="201"/>
                  <a:pt x="328" y="203"/>
                  <a:pt x="329" y="205"/>
                </a:cubicBezTo>
                <a:cubicBezTo>
                  <a:pt x="330" y="207"/>
                  <a:pt x="330" y="209"/>
                  <a:pt x="329" y="212"/>
                </a:cubicBezTo>
                <a:cubicBezTo>
                  <a:pt x="328" y="214"/>
                  <a:pt x="327" y="217"/>
                  <a:pt x="325" y="220"/>
                </a:cubicBezTo>
                <a:cubicBezTo>
                  <a:pt x="324" y="221"/>
                  <a:pt x="323" y="222"/>
                  <a:pt x="323" y="222"/>
                </a:cubicBezTo>
                <a:cubicBezTo>
                  <a:pt x="277" y="183"/>
                  <a:pt x="277" y="183"/>
                  <a:pt x="277" y="183"/>
                </a:cubicBezTo>
                <a:cubicBezTo>
                  <a:pt x="275" y="182"/>
                  <a:pt x="272" y="182"/>
                  <a:pt x="271" y="184"/>
                </a:cubicBezTo>
                <a:cubicBezTo>
                  <a:pt x="269" y="186"/>
                  <a:pt x="269" y="188"/>
                  <a:pt x="271" y="190"/>
                </a:cubicBezTo>
                <a:cubicBezTo>
                  <a:pt x="316" y="228"/>
                  <a:pt x="316" y="228"/>
                  <a:pt x="316" y="228"/>
                </a:cubicBezTo>
                <a:cubicBezTo>
                  <a:pt x="310" y="233"/>
                  <a:pt x="304" y="238"/>
                  <a:pt x="298" y="241"/>
                </a:cubicBezTo>
                <a:cubicBezTo>
                  <a:pt x="248" y="198"/>
                  <a:pt x="248" y="198"/>
                  <a:pt x="248" y="198"/>
                </a:cubicBezTo>
                <a:cubicBezTo>
                  <a:pt x="246" y="197"/>
                  <a:pt x="243" y="197"/>
                  <a:pt x="241" y="199"/>
                </a:cubicBezTo>
                <a:cubicBezTo>
                  <a:pt x="240" y="201"/>
                  <a:pt x="240" y="204"/>
                  <a:pt x="242" y="205"/>
                </a:cubicBezTo>
                <a:cubicBezTo>
                  <a:pt x="289" y="246"/>
                  <a:pt x="289" y="246"/>
                  <a:pt x="289" y="246"/>
                </a:cubicBezTo>
                <a:cubicBezTo>
                  <a:pt x="282" y="249"/>
                  <a:pt x="273" y="250"/>
                  <a:pt x="265" y="252"/>
                </a:cubicBezTo>
                <a:cubicBezTo>
                  <a:pt x="228" y="219"/>
                  <a:pt x="228" y="219"/>
                  <a:pt x="228" y="219"/>
                </a:cubicBezTo>
                <a:cubicBezTo>
                  <a:pt x="226" y="217"/>
                  <a:pt x="223" y="217"/>
                  <a:pt x="222" y="219"/>
                </a:cubicBezTo>
                <a:cubicBezTo>
                  <a:pt x="220" y="221"/>
                  <a:pt x="220" y="224"/>
                  <a:pt x="222" y="226"/>
                </a:cubicBezTo>
                <a:cubicBezTo>
                  <a:pt x="254" y="254"/>
                  <a:pt x="254" y="254"/>
                  <a:pt x="254" y="254"/>
                </a:cubicBezTo>
                <a:cubicBezTo>
                  <a:pt x="248" y="255"/>
                  <a:pt x="240" y="257"/>
                  <a:pt x="233" y="257"/>
                </a:cubicBezTo>
                <a:cubicBezTo>
                  <a:pt x="234" y="260"/>
                  <a:pt x="235" y="263"/>
                  <a:pt x="235" y="266"/>
                </a:cubicBezTo>
                <a:cubicBezTo>
                  <a:pt x="235" y="267"/>
                  <a:pt x="236" y="267"/>
                  <a:pt x="235" y="268"/>
                </a:cubicBezTo>
                <a:cubicBezTo>
                  <a:pt x="243" y="267"/>
                  <a:pt x="257" y="265"/>
                  <a:pt x="270" y="262"/>
                </a:cubicBezTo>
                <a:cubicBezTo>
                  <a:pt x="280" y="260"/>
                  <a:pt x="288" y="258"/>
                  <a:pt x="293" y="256"/>
                </a:cubicBezTo>
                <a:cubicBezTo>
                  <a:pt x="303" y="251"/>
                  <a:pt x="322" y="240"/>
                  <a:pt x="333" y="227"/>
                </a:cubicBezTo>
                <a:cubicBezTo>
                  <a:pt x="340" y="218"/>
                  <a:pt x="343" y="207"/>
                  <a:pt x="336" y="196"/>
                </a:cubicBezTo>
                <a:cubicBezTo>
                  <a:pt x="360" y="183"/>
                  <a:pt x="360" y="183"/>
                  <a:pt x="360" y="183"/>
                </a:cubicBezTo>
                <a:cubicBezTo>
                  <a:pt x="356" y="138"/>
                  <a:pt x="323" y="90"/>
                  <a:pt x="308" y="85"/>
                </a:cubicBezTo>
                <a:close/>
                <a:moveTo>
                  <a:pt x="157" y="196"/>
                </a:moveTo>
                <a:cubicBezTo>
                  <a:pt x="167" y="198"/>
                  <a:pt x="180" y="202"/>
                  <a:pt x="191" y="210"/>
                </a:cubicBezTo>
                <a:cubicBezTo>
                  <a:pt x="213" y="226"/>
                  <a:pt x="222" y="242"/>
                  <a:pt x="226" y="252"/>
                </a:cubicBezTo>
                <a:cubicBezTo>
                  <a:pt x="228" y="256"/>
                  <a:pt x="230" y="261"/>
                  <a:pt x="230" y="265"/>
                </a:cubicBezTo>
                <a:cubicBezTo>
                  <a:pt x="230" y="268"/>
                  <a:pt x="231" y="268"/>
                  <a:pt x="229" y="269"/>
                </a:cubicBezTo>
                <a:cubicBezTo>
                  <a:pt x="205" y="279"/>
                  <a:pt x="154" y="247"/>
                  <a:pt x="137" y="220"/>
                </a:cubicBezTo>
                <a:cubicBezTo>
                  <a:pt x="134" y="215"/>
                  <a:pt x="128" y="202"/>
                  <a:pt x="133" y="197"/>
                </a:cubicBezTo>
                <a:cubicBezTo>
                  <a:pt x="139" y="193"/>
                  <a:pt x="155" y="196"/>
                  <a:pt x="157" y="196"/>
                </a:cubicBezTo>
                <a:close/>
                <a:moveTo>
                  <a:pt x="321" y="77"/>
                </a:moveTo>
                <a:cubicBezTo>
                  <a:pt x="341" y="91"/>
                  <a:pt x="399" y="185"/>
                  <a:pt x="362" y="204"/>
                </a:cubicBezTo>
                <a:cubicBezTo>
                  <a:pt x="356" y="219"/>
                  <a:pt x="434" y="187"/>
                  <a:pt x="438" y="186"/>
                </a:cubicBezTo>
                <a:cubicBezTo>
                  <a:pt x="438" y="0"/>
                  <a:pt x="438" y="0"/>
                  <a:pt x="438" y="0"/>
                </a:cubicBezTo>
                <a:cubicBezTo>
                  <a:pt x="321" y="77"/>
                  <a:pt x="321" y="77"/>
                  <a:pt x="321" y="77"/>
                </a:cubicBezTo>
                <a:close/>
                <a:moveTo>
                  <a:pt x="112" y="72"/>
                </a:moveTo>
                <a:cubicBezTo>
                  <a:pt x="91" y="97"/>
                  <a:pt x="59" y="188"/>
                  <a:pt x="97" y="208"/>
                </a:cubicBezTo>
                <a:cubicBezTo>
                  <a:pt x="106" y="226"/>
                  <a:pt x="2" y="183"/>
                  <a:pt x="0" y="182"/>
                </a:cubicBezTo>
                <a:cubicBezTo>
                  <a:pt x="0" y="3"/>
                  <a:pt x="0" y="3"/>
                  <a:pt x="0" y="3"/>
                </a:cubicBezTo>
                <a:cubicBezTo>
                  <a:pt x="112" y="72"/>
                  <a:pt x="112" y="72"/>
                  <a:pt x="112" y="72"/>
                </a:cubicBezTo>
                <a:close/>
                <a:moveTo>
                  <a:pt x="129" y="198"/>
                </a:moveTo>
                <a:cubicBezTo>
                  <a:pt x="89" y="173"/>
                  <a:pt x="89" y="173"/>
                  <a:pt x="89" y="173"/>
                </a:cubicBezTo>
                <a:cubicBezTo>
                  <a:pt x="90" y="136"/>
                  <a:pt x="100" y="108"/>
                  <a:pt x="119" y="76"/>
                </a:cubicBezTo>
                <a:cubicBezTo>
                  <a:pt x="198" y="77"/>
                  <a:pt x="198" y="77"/>
                  <a:pt x="198" y="77"/>
                </a:cubicBezTo>
                <a:cubicBezTo>
                  <a:pt x="199" y="77"/>
                  <a:pt x="200" y="77"/>
                  <a:pt x="201" y="77"/>
                </a:cubicBezTo>
                <a:cubicBezTo>
                  <a:pt x="194" y="81"/>
                  <a:pt x="189" y="84"/>
                  <a:pt x="187" y="85"/>
                </a:cubicBezTo>
                <a:cubicBezTo>
                  <a:pt x="187" y="86"/>
                  <a:pt x="186" y="87"/>
                  <a:pt x="186" y="88"/>
                </a:cubicBezTo>
                <a:cubicBezTo>
                  <a:pt x="165" y="88"/>
                  <a:pt x="145" y="88"/>
                  <a:pt x="125" y="88"/>
                </a:cubicBezTo>
                <a:cubicBezTo>
                  <a:pt x="110" y="112"/>
                  <a:pt x="101" y="139"/>
                  <a:pt x="100" y="167"/>
                </a:cubicBezTo>
                <a:cubicBezTo>
                  <a:pt x="136" y="190"/>
                  <a:pt x="136" y="190"/>
                  <a:pt x="136" y="190"/>
                </a:cubicBezTo>
                <a:cubicBezTo>
                  <a:pt x="137" y="191"/>
                  <a:pt x="138" y="191"/>
                  <a:pt x="139" y="192"/>
                </a:cubicBezTo>
                <a:cubicBezTo>
                  <a:pt x="135" y="192"/>
                  <a:pt x="130" y="193"/>
                  <a:pt x="129" y="198"/>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8" name="Rectangle 47"/>
          <p:cNvSpPr>
            <a:spLocks/>
          </p:cNvSpPr>
          <p:nvPr/>
        </p:nvSpPr>
        <p:spPr>
          <a:xfrm>
            <a:off x="3483085" y="1493944"/>
            <a:ext cx="3098192" cy="4927878"/>
          </a:xfrm>
          <a:prstGeom prst="rect">
            <a:avLst/>
          </a:prstGeom>
          <a:solidFill>
            <a:srgbClr val="F0F6E3">
              <a:alpha val="80000"/>
            </a:srgbClr>
          </a:solidFill>
          <a:ln w="19050" cap="flat" cmpd="sng" algn="ctr">
            <a:solidFill>
              <a:srgbClr val="01632F"/>
            </a:solidFill>
            <a:prstDash val="solid"/>
          </a:ln>
          <a:effectLst/>
        </p:spPr>
        <p:txBody>
          <a:bodyPr rtlCol="0" anchor="t"/>
          <a:lstStyle/>
          <a:p>
            <a:pPr defTabSz="913429" fontAlgn="t">
              <a:defRPr/>
            </a:pPr>
            <a:r>
              <a:rPr lang="en-US" sz="1000" b="1" u="sng" kern="1200" dirty="0">
                <a:solidFill>
                  <a:srgbClr val="01632F"/>
                </a:solidFill>
              </a:rPr>
              <a:t>Farmer and Systems Development: </a:t>
            </a:r>
            <a:r>
              <a:rPr lang="en-US" sz="1000" b="1" u="sng" kern="1200" dirty="0" smtClean="0">
                <a:solidFill>
                  <a:srgbClr val="01632F"/>
                </a:solidFill>
              </a:rPr>
              <a:t>$</a:t>
            </a:r>
            <a:r>
              <a:rPr lang="en-US" sz="1000" b="1" dirty="0" smtClean="0">
                <a:solidFill>
                  <a:schemeClr val="tx1"/>
                </a:solidFill>
              </a:rPr>
              <a:t>12,858,544</a:t>
            </a:r>
            <a:endParaRPr lang="en-US" sz="1000" b="1" dirty="0">
              <a:solidFill>
                <a:schemeClr val="tx1"/>
              </a:solidFill>
            </a:endParaRPr>
          </a:p>
          <a:p>
            <a:pPr marL="171450" lvl="0" indent="-171450">
              <a:buFont typeface="Arial" panose="020B0604020202020204" pitchFamily="34" charset="0"/>
              <a:buChar char="•"/>
            </a:pPr>
            <a:r>
              <a:rPr lang="en-US" sz="1000" dirty="0" smtClean="0"/>
              <a:t>Scaling </a:t>
            </a:r>
            <a:r>
              <a:rPr lang="en-US" sz="1000" dirty="0"/>
              <a:t>up of an electronic voucher system to improve the efficiency of the paper-based farm input voucher system. The project is implemented by the Agricultural Transformation Agency (ATA);</a:t>
            </a:r>
          </a:p>
          <a:p>
            <a:pPr marL="171450" lvl="0" indent="-171450">
              <a:buFont typeface="Arial" panose="020B0604020202020204" pitchFamily="34" charset="0"/>
              <a:buChar char="•"/>
            </a:pPr>
            <a:r>
              <a:rPr lang="en-US" sz="1000" dirty="0"/>
              <a:t>Validation and popularizing of the new fertilizer blends and the treatment of acidic soils through liming. So this project is meant to fill a critical gap in the soil fertility/fertilizer system by developing crop and agroecology specific fertilizer recommendations through scientific validation;</a:t>
            </a:r>
          </a:p>
          <a:p>
            <a:pPr marL="171450" lvl="0" indent="-171450">
              <a:buFont typeface="Arial" panose="020B0604020202020204" pitchFamily="34" charset="0"/>
              <a:buChar char="•"/>
            </a:pPr>
            <a:r>
              <a:rPr lang="en-US" sz="1000" dirty="0"/>
              <a:t>Support to the EIAR and other public and private seed companies increase the production of early generations seed, which remains a major bottleneck for certified seed supply; and</a:t>
            </a:r>
          </a:p>
          <a:p>
            <a:pPr marL="171450" lvl="0" indent="-171450">
              <a:buFont typeface="Arial" panose="020B0604020202020204" pitchFamily="34" charset="0"/>
              <a:buChar char="•"/>
            </a:pPr>
            <a:r>
              <a:rPr lang="en-US" sz="1000" dirty="0"/>
              <a:t>Enhancing the regulatory capacity for seed quality. This grant also brings a major shift from the traditional public sector </a:t>
            </a:r>
            <a:r>
              <a:rPr lang="en-US" sz="1000" dirty="0" smtClean="0"/>
              <a:t>dominated approach </a:t>
            </a:r>
            <a:r>
              <a:rPr lang="en-US" sz="1000" dirty="0"/>
              <a:t>in allowing private sector actors to do seed quality certification and also the application of an ICT based tracking system</a:t>
            </a:r>
            <a:r>
              <a:rPr lang="en-US" sz="1000" dirty="0" smtClean="0"/>
              <a:t>.</a:t>
            </a:r>
          </a:p>
          <a:p>
            <a:pPr marL="171450" lvl="0" indent="-171450">
              <a:buFont typeface="Arial" panose="020B0604020202020204" pitchFamily="34" charset="0"/>
              <a:buChar char="•"/>
            </a:pPr>
            <a:r>
              <a:rPr lang="en-US" sz="1000" dirty="0" smtClean="0"/>
              <a:t>Three market-led integrated value chain development projects in Amhara, Tigray and SNNPR regions focusing on Maize, wheat, </a:t>
            </a:r>
            <a:r>
              <a:rPr lang="en-US" sz="1000" dirty="0" err="1" smtClean="0"/>
              <a:t>Teff</a:t>
            </a:r>
            <a:r>
              <a:rPr lang="en-US" sz="1000" dirty="0" smtClean="0"/>
              <a:t>, and Haricot beans</a:t>
            </a:r>
            <a:endParaRPr lang="en-US" sz="1000" dirty="0"/>
          </a:p>
          <a:p>
            <a:pPr lvl="0" fontAlgn="base">
              <a:spcBef>
                <a:spcPct val="0"/>
              </a:spcBef>
              <a:spcAft>
                <a:spcPct val="0"/>
              </a:spcAft>
              <a:buClrTx/>
              <a:defRPr/>
            </a:pPr>
            <a:endParaRPr lang="en-US" sz="1000" b="1" u="sng" kern="1200" dirty="0">
              <a:solidFill>
                <a:srgbClr val="FF0000"/>
              </a:solidFill>
            </a:endParaRPr>
          </a:p>
        </p:txBody>
      </p:sp>
      <p:sp>
        <p:nvSpPr>
          <p:cNvPr id="50" name="Rectangle 49"/>
          <p:cNvSpPr>
            <a:spLocks/>
          </p:cNvSpPr>
          <p:nvPr/>
        </p:nvSpPr>
        <p:spPr>
          <a:xfrm>
            <a:off x="6605721" y="1487296"/>
            <a:ext cx="3099023" cy="4934001"/>
          </a:xfrm>
          <a:prstGeom prst="rect">
            <a:avLst/>
          </a:prstGeom>
          <a:solidFill>
            <a:srgbClr val="F0F6E3">
              <a:alpha val="80000"/>
            </a:srgbClr>
          </a:solidFill>
          <a:ln w="19050" cap="flat" cmpd="sng" algn="ctr">
            <a:solidFill>
              <a:srgbClr val="01632F"/>
            </a:solidFill>
            <a:prstDash val="solid"/>
          </a:ln>
          <a:effectLst/>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smtClean="0">
              <a:ln>
                <a:noFill/>
              </a:ln>
              <a:solidFill>
                <a:srgbClr val="000000"/>
              </a:solidFill>
              <a:effectLst/>
              <a:uLnTx/>
              <a:uFillTx/>
              <a:latin typeface="Arial"/>
              <a:ea typeface="+mn-ea"/>
              <a:cs typeface="+mn-cs"/>
            </a:endParaRPr>
          </a:p>
        </p:txBody>
      </p:sp>
      <p:sp>
        <p:nvSpPr>
          <p:cNvPr id="55" name="TextBox 54"/>
          <p:cNvSpPr txBox="1"/>
          <p:nvPr/>
        </p:nvSpPr>
        <p:spPr>
          <a:xfrm>
            <a:off x="7893517" y="2470084"/>
            <a:ext cx="1861438" cy="830997"/>
          </a:xfrm>
          <a:prstGeom prst="rect">
            <a:avLst/>
          </a:prstGeom>
          <a:noFill/>
        </p:spPr>
        <p:txBody>
          <a:bodyPr wrap="square" rtlCol="0">
            <a:spAutoFit/>
          </a:bodyPr>
          <a:lstStyle/>
          <a:p>
            <a:pPr marL="0" marR="0" lvl="0" indent="0" defTabSz="932863"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ysClr val="windowText" lastClr="000000"/>
                </a:solidFill>
                <a:effectLst/>
                <a:uLnTx/>
                <a:uFillTx/>
                <a:ea typeface="+mn-ea"/>
                <a:cs typeface="+mn-cs"/>
              </a:rPr>
              <a:t>AGRA is supporting the Export Trade Group to establish a seed company in Ethiopia through partnership with the regional</a:t>
            </a:r>
            <a:r>
              <a:rPr kumimoji="0" lang="en-US" sz="800" b="0" i="0" u="none" strike="noStrike" kern="1200" cap="none" spc="0" normalizeH="0" noProof="0" dirty="0" smtClean="0">
                <a:ln>
                  <a:noFill/>
                </a:ln>
                <a:solidFill>
                  <a:sysClr val="windowText" lastClr="000000"/>
                </a:solidFill>
                <a:effectLst/>
                <a:uLnTx/>
                <a:uFillTx/>
                <a:ea typeface="+mn-ea"/>
                <a:cs typeface="+mn-cs"/>
              </a:rPr>
              <a:t> public seed companies or a private sector partner</a:t>
            </a:r>
            <a:endParaRPr kumimoji="0" lang="en-US" sz="800" b="0" i="0" u="none" strike="noStrike" kern="1200" cap="none" spc="0" normalizeH="0" baseline="0" noProof="0" dirty="0" smtClean="0">
              <a:ln>
                <a:noFill/>
              </a:ln>
              <a:solidFill>
                <a:sysClr val="windowText" lastClr="000000"/>
              </a:solidFill>
              <a:effectLst/>
              <a:uLnTx/>
              <a:uFillTx/>
              <a:ea typeface="+mn-ea"/>
              <a:cs typeface="+mn-cs"/>
            </a:endParaRPr>
          </a:p>
        </p:txBody>
      </p:sp>
      <p:sp>
        <p:nvSpPr>
          <p:cNvPr id="56" name="TextBox 55"/>
          <p:cNvSpPr txBox="1"/>
          <p:nvPr/>
        </p:nvSpPr>
        <p:spPr>
          <a:xfrm>
            <a:off x="7921198" y="4742081"/>
            <a:ext cx="1861438" cy="707886"/>
          </a:xfrm>
          <a:prstGeom prst="rect">
            <a:avLst/>
          </a:prstGeom>
          <a:noFill/>
        </p:spPr>
        <p:txBody>
          <a:bodyPr wrap="square" rtlCol="0">
            <a:spAutoFit/>
          </a:bodyPr>
          <a:lstStyle/>
          <a:p>
            <a:pPr lvl="0">
              <a:buClrTx/>
              <a:defRPr/>
            </a:pPr>
            <a:r>
              <a:rPr kumimoji="0" lang="en-US" sz="800" b="0" i="0" u="none" strike="noStrike" kern="1200" cap="none" spc="0" normalizeH="0" baseline="0" noProof="0" dirty="0" smtClean="0">
                <a:ln>
                  <a:noFill/>
                </a:ln>
                <a:solidFill>
                  <a:sysClr val="windowText" lastClr="000000"/>
                </a:solidFill>
                <a:effectLst/>
                <a:uLnTx/>
                <a:uFillTx/>
                <a:ea typeface="+mn-ea"/>
                <a:cs typeface="+mn-cs"/>
              </a:rPr>
              <a:t>AGRA has signed a partnership with CORTEVA </a:t>
            </a:r>
            <a:r>
              <a:rPr kumimoji="0" lang="en-US" sz="800" b="0" i="0" u="none" strike="noStrike" kern="1200" cap="none" spc="0" normalizeH="0" baseline="0" noProof="0" dirty="0" err="1" smtClean="0">
                <a:ln>
                  <a:noFill/>
                </a:ln>
                <a:solidFill>
                  <a:sysClr val="windowText" lastClr="000000"/>
                </a:solidFill>
                <a:effectLst/>
                <a:uLnTx/>
                <a:uFillTx/>
                <a:ea typeface="+mn-ea"/>
                <a:cs typeface="+mn-cs"/>
              </a:rPr>
              <a:t>Agriscience</a:t>
            </a:r>
            <a:r>
              <a:rPr kumimoji="0" lang="en-US" sz="800" b="0" i="0" u="none" strike="noStrike" kern="1200" cap="none" spc="0" normalizeH="0" baseline="0" noProof="0" dirty="0" smtClean="0">
                <a:ln>
                  <a:noFill/>
                </a:ln>
                <a:solidFill>
                  <a:sysClr val="windowText" lastClr="000000"/>
                </a:solidFill>
                <a:effectLst/>
                <a:uLnTx/>
                <a:uFillTx/>
                <a:ea typeface="+mn-ea"/>
                <a:cs typeface="+mn-cs"/>
              </a:rPr>
              <a:t> </a:t>
            </a:r>
            <a:r>
              <a:rPr lang="en-US" sz="800" dirty="0" smtClean="0"/>
              <a:t>to </a:t>
            </a:r>
            <a:r>
              <a:rPr lang="en-US" sz="800" dirty="0"/>
              <a:t>enable Ethiopia’s cereals, fruit and vegetable farmers get better solutions that boost productivity</a:t>
            </a:r>
            <a:endParaRPr kumimoji="0" lang="en-US" sz="800" b="0" i="0" u="none" strike="noStrike" kern="1200" cap="none" spc="0" normalizeH="0" baseline="0" noProof="0" dirty="0" smtClean="0">
              <a:ln>
                <a:noFill/>
              </a:ln>
              <a:solidFill>
                <a:sysClr val="windowText" lastClr="000000"/>
              </a:solidFill>
              <a:effectLst/>
              <a:uLnTx/>
              <a:uFillTx/>
              <a:ea typeface="+mn-ea"/>
              <a:cs typeface="+mn-cs"/>
            </a:endParaRPr>
          </a:p>
        </p:txBody>
      </p:sp>
      <p:sp>
        <p:nvSpPr>
          <p:cNvPr id="57" name="TextBox 56"/>
          <p:cNvSpPr txBox="1"/>
          <p:nvPr/>
        </p:nvSpPr>
        <p:spPr>
          <a:xfrm>
            <a:off x="7836719" y="3520281"/>
            <a:ext cx="1876043" cy="95410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ysClr val="windowText" lastClr="000000"/>
                </a:solidFill>
                <a:effectLst/>
                <a:uLnTx/>
                <a:uFillTx/>
                <a:ea typeface="+mn-ea"/>
                <a:cs typeface="+mn-cs"/>
              </a:rPr>
              <a:t>AGRA is leveraging IFAD’s $50 million Rural Financial</a:t>
            </a:r>
            <a:r>
              <a:rPr kumimoji="0" lang="en-US" sz="800" b="0" i="0" u="none" strike="noStrike" kern="1200" cap="none" spc="0" normalizeH="0" noProof="0" dirty="0" smtClean="0">
                <a:ln>
                  <a:noFill/>
                </a:ln>
                <a:solidFill>
                  <a:sysClr val="windowText" lastClr="000000"/>
                </a:solidFill>
                <a:effectLst/>
                <a:uLnTx/>
                <a:uFillTx/>
                <a:ea typeface="+mn-ea"/>
                <a:cs typeface="+mn-cs"/>
              </a:rPr>
              <a:t> Intermediation Project in Ethiopia using a $1.5 million. The AGRA team participated in and influenced the design of the project to make finance access to SMEs</a:t>
            </a:r>
            <a:endParaRPr kumimoji="0" lang="en-US" sz="800" b="0" i="0" u="none" strike="noStrike" kern="1200" cap="none" spc="0" normalizeH="0" baseline="0" noProof="0" dirty="0">
              <a:ln>
                <a:noFill/>
              </a:ln>
              <a:solidFill>
                <a:sysClr val="windowText" lastClr="000000"/>
              </a:solidFill>
              <a:effectLst/>
              <a:uLnTx/>
              <a:uFillTx/>
              <a:ea typeface="+mn-ea"/>
              <a:cs typeface="+mn-cs"/>
            </a:endParaRPr>
          </a:p>
        </p:txBody>
      </p:sp>
      <p:sp>
        <p:nvSpPr>
          <p:cNvPr id="58" name="TextBox 57"/>
          <p:cNvSpPr txBox="1"/>
          <p:nvPr/>
        </p:nvSpPr>
        <p:spPr>
          <a:xfrm>
            <a:off x="7828701" y="1599401"/>
            <a:ext cx="1884061" cy="33855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ysClr val="windowText" lastClr="000000"/>
                </a:solidFill>
                <a:effectLst/>
                <a:uLnTx/>
                <a:uFillTx/>
                <a:ea typeface="+mn-ea"/>
                <a:cs typeface="+mn-cs"/>
              </a:rPr>
              <a:t>Supporting </a:t>
            </a:r>
            <a:r>
              <a:rPr kumimoji="0" lang="en-US" sz="800" b="0" i="0" u="none" strike="noStrike" kern="1200" cap="none" spc="0" normalizeH="0" baseline="0" noProof="0" dirty="0" err="1" smtClean="0">
                <a:ln>
                  <a:noFill/>
                </a:ln>
                <a:solidFill>
                  <a:sysClr val="windowText" lastClr="000000"/>
                </a:solidFill>
                <a:effectLst/>
                <a:uLnTx/>
                <a:uFillTx/>
                <a:ea typeface="+mn-ea"/>
                <a:cs typeface="+mn-cs"/>
              </a:rPr>
              <a:t>SeedCo</a:t>
            </a:r>
            <a:r>
              <a:rPr kumimoji="0" lang="en-US" sz="800" b="0" i="0" u="none" strike="noStrike" kern="1200" cap="none" spc="0" normalizeH="0" baseline="0" noProof="0" dirty="0" smtClean="0">
                <a:ln>
                  <a:noFill/>
                </a:ln>
                <a:solidFill>
                  <a:sysClr val="windowText" lastClr="000000"/>
                </a:solidFill>
                <a:effectLst/>
                <a:uLnTx/>
                <a:uFillTx/>
                <a:ea typeface="+mn-ea"/>
                <a:cs typeface="+mn-cs"/>
              </a:rPr>
              <a:t> to Establish a seed company in Ethiopia</a:t>
            </a:r>
            <a:endParaRPr kumimoji="0" lang="en-US" sz="800" b="0" i="0" u="none" strike="noStrike" kern="1200" cap="none" spc="0" normalizeH="0" baseline="0" noProof="0" dirty="0">
              <a:ln>
                <a:noFill/>
              </a:ln>
              <a:solidFill>
                <a:sysClr val="windowText" lastClr="000000"/>
              </a:solidFill>
              <a:effectLst/>
              <a:uLnTx/>
              <a:uFillTx/>
              <a:ea typeface="+mn-ea"/>
              <a:cs typeface="+mn-cs"/>
            </a:endParaRPr>
          </a:p>
        </p:txBody>
      </p:sp>
      <p:cxnSp>
        <p:nvCxnSpPr>
          <p:cNvPr id="59" name="Straight Connector 58"/>
          <p:cNvCxnSpPr/>
          <p:nvPr/>
        </p:nvCxnSpPr>
        <p:spPr>
          <a:xfrm>
            <a:off x="6841226" y="2353579"/>
            <a:ext cx="2743200" cy="10605"/>
          </a:xfrm>
          <a:prstGeom prst="line">
            <a:avLst/>
          </a:prstGeom>
          <a:noFill/>
          <a:ln w="19050" cap="flat" cmpd="sng" algn="ctr">
            <a:solidFill>
              <a:srgbClr val="808080"/>
            </a:solidFill>
            <a:prstDash val="dash"/>
          </a:ln>
          <a:effectLst/>
        </p:spPr>
      </p:cxnSp>
      <p:cxnSp>
        <p:nvCxnSpPr>
          <p:cNvPr id="60" name="Straight Connector 59"/>
          <p:cNvCxnSpPr/>
          <p:nvPr/>
        </p:nvCxnSpPr>
        <p:spPr>
          <a:xfrm>
            <a:off x="6841226" y="3454101"/>
            <a:ext cx="2743200" cy="15908"/>
          </a:xfrm>
          <a:prstGeom prst="line">
            <a:avLst/>
          </a:prstGeom>
          <a:noFill/>
          <a:ln w="19050" cap="flat" cmpd="sng" algn="ctr">
            <a:solidFill>
              <a:srgbClr val="808080"/>
            </a:solidFill>
            <a:prstDash val="dash"/>
          </a:ln>
          <a:effectLst/>
        </p:spPr>
      </p:cxnSp>
      <p:cxnSp>
        <p:nvCxnSpPr>
          <p:cNvPr id="61" name="Straight Connector 60"/>
          <p:cNvCxnSpPr/>
          <p:nvPr/>
        </p:nvCxnSpPr>
        <p:spPr>
          <a:xfrm>
            <a:off x="6841226" y="4615561"/>
            <a:ext cx="2743200" cy="10605"/>
          </a:xfrm>
          <a:prstGeom prst="line">
            <a:avLst/>
          </a:prstGeom>
          <a:noFill/>
          <a:ln w="19050" cap="flat" cmpd="sng" algn="ctr">
            <a:solidFill>
              <a:srgbClr val="808080"/>
            </a:solidFill>
            <a:prstDash val="dash"/>
          </a:ln>
          <a:effectLst/>
        </p:spPr>
      </p:cxnSp>
      <p:sp>
        <p:nvSpPr>
          <p:cNvPr id="66" name="Rectangle 65"/>
          <p:cNvSpPr>
            <a:spLocks/>
          </p:cNvSpPr>
          <p:nvPr/>
        </p:nvSpPr>
        <p:spPr>
          <a:xfrm>
            <a:off x="201451" y="1505882"/>
            <a:ext cx="3099816" cy="4927878"/>
          </a:xfrm>
          <a:prstGeom prst="rect">
            <a:avLst/>
          </a:prstGeom>
          <a:solidFill>
            <a:srgbClr val="F0F6E3">
              <a:alpha val="80000"/>
            </a:srgbClr>
          </a:solidFill>
          <a:ln w="19050" cap="flat" cmpd="sng" algn="ctr">
            <a:solidFill>
              <a:srgbClr val="01632F"/>
            </a:solidFill>
            <a:prstDash val="solid"/>
          </a:ln>
          <a:effectLst/>
        </p:spPr>
        <p:txBody>
          <a:bodyPr rtlCol="0" anchor="t"/>
          <a:lstStyle/>
          <a:p>
            <a:r>
              <a:rPr lang="en-US" sz="1000" b="1" u="sng" kern="1200" dirty="0">
                <a:solidFill>
                  <a:srgbClr val="01632F"/>
                </a:solidFill>
              </a:rPr>
              <a:t>Policy and State Capacity: </a:t>
            </a:r>
            <a:r>
              <a:rPr lang="en-US" sz="1000" b="1" dirty="0">
                <a:solidFill>
                  <a:schemeClr val="tx1"/>
                </a:solidFill>
              </a:rPr>
              <a:t>$2,446,923</a:t>
            </a:r>
            <a:endParaRPr lang="en-US" sz="1000" b="1" u="sng" kern="1200" dirty="0">
              <a:solidFill>
                <a:srgbClr val="01632F"/>
              </a:solidFill>
            </a:endParaRPr>
          </a:p>
          <a:p>
            <a:pPr marL="171450" lvl="0" indent="-171450">
              <a:buFont typeface="Arial" panose="020B0604020202020204" pitchFamily="34" charset="0"/>
              <a:buChar char="•"/>
            </a:pPr>
            <a:r>
              <a:rPr lang="en-US" sz="1000" dirty="0" smtClean="0"/>
              <a:t>Supporting </a:t>
            </a:r>
            <a:r>
              <a:rPr lang="en-US" sz="1000" dirty="0"/>
              <a:t>the Ministry of Agriculture in operationalizing the Plant Breeders’ Rights Proclamation by developing Ministerial Directives;</a:t>
            </a:r>
          </a:p>
          <a:p>
            <a:pPr marL="171450" lvl="0" indent="-171450">
              <a:buFont typeface="Arial" panose="020B0604020202020204" pitchFamily="34" charset="0"/>
              <a:buChar char="•"/>
            </a:pPr>
            <a:r>
              <a:rPr lang="en-US" sz="1000" dirty="0"/>
              <a:t>Supporting the Ministry of Trade and Industry to develop an agricultural trade policy;</a:t>
            </a:r>
          </a:p>
          <a:p>
            <a:pPr marL="171450" lvl="0" indent="-171450">
              <a:buFont typeface="Arial" panose="020B0604020202020204" pitchFamily="34" charset="0"/>
              <a:buChar char="•"/>
            </a:pPr>
            <a:r>
              <a:rPr lang="en-US" sz="1000" dirty="0"/>
              <a:t>A technical assistance to enhance the capacity of the Ministry of Agriculture (</a:t>
            </a:r>
            <a:r>
              <a:rPr lang="en-US" sz="1000" dirty="0" err="1"/>
              <a:t>MoA</a:t>
            </a:r>
            <a:r>
              <a:rPr lang="en-US" sz="1000" dirty="0"/>
              <a:t>) in project management and execution. AGRA has hired and seconded three highly qualified professionals in Monitoring and Evaluation, ICT and Policy Advisory. They are working for the Ministry as of November 2018; </a:t>
            </a:r>
          </a:p>
          <a:p>
            <a:pPr marL="171450" lvl="1" indent="-171450">
              <a:buFont typeface="Arial" panose="020B0604020202020204" pitchFamily="34" charset="0"/>
              <a:buChar char="•"/>
            </a:pPr>
            <a:r>
              <a:rPr lang="en-US" sz="1000" dirty="0"/>
              <a:t>The M&amp;E </a:t>
            </a:r>
            <a:r>
              <a:rPr lang="en-US" sz="1000" dirty="0" smtClean="0"/>
              <a:t>officer seconded has developed </a:t>
            </a:r>
            <a:r>
              <a:rPr lang="en-US" sz="1000" dirty="0"/>
              <a:t>an M&amp;E </a:t>
            </a:r>
            <a:r>
              <a:rPr lang="en-US" sz="1000" dirty="0" smtClean="0"/>
              <a:t>framework and reporting template for the GTP II to track </a:t>
            </a:r>
            <a:r>
              <a:rPr lang="en-US" sz="1000" dirty="0"/>
              <a:t>the progress for the reminder of the implementation period, </a:t>
            </a:r>
            <a:r>
              <a:rPr lang="en-US" sz="1000" dirty="0" smtClean="0"/>
              <a:t>He will lead the </a:t>
            </a:r>
            <a:r>
              <a:rPr lang="en-US" sz="1000" dirty="0"/>
              <a:t>end-term evaluation and support the </a:t>
            </a:r>
            <a:r>
              <a:rPr lang="en-US" sz="1000" dirty="0" smtClean="0"/>
              <a:t>Ministry in </a:t>
            </a:r>
            <a:r>
              <a:rPr lang="en-US" sz="1000" dirty="0"/>
              <a:t>the design of the next 5-year plan </a:t>
            </a:r>
            <a:r>
              <a:rPr lang="en-US" sz="1000" dirty="0" smtClean="0"/>
              <a:t>GTP III. </a:t>
            </a:r>
            <a:endParaRPr lang="en-US" sz="1000" dirty="0"/>
          </a:p>
          <a:p>
            <a:pPr marL="171450" lvl="1" indent="-171450">
              <a:buFont typeface="Arial" panose="020B0604020202020204" pitchFamily="34" charset="0"/>
              <a:buChar char="•"/>
            </a:pPr>
            <a:r>
              <a:rPr lang="en-US" sz="1000" dirty="0"/>
              <a:t>The ICT professional will closely work with the M&amp;E person in the design and implementation of an online reporting system and improve internal processes. </a:t>
            </a:r>
          </a:p>
          <a:p>
            <a:pPr marL="171450" lvl="1" indent="-171450">
              <a:buFont typeface="Arial" panose="020B0604020202020204" pitchFamily="34" charset="0"/>
              <a:buChar char="•"/>
            </a:pPr>
            <a:r>
              <a:rPr lang="en-US" sz="1000" dirty="0"/>
              <a:t>The Senior Policy Advisor will support the State Ministers in providing data and analysis for decision making, synthesize documents and develop key policy recommendation and support the Ministry in other activities</a:t>
            </a:r>
            <a:r>
              <a:rPr lang="en-US" sz="1000" dirty="0" smtClean="0"/>
              <a:t>;</a:t>
            </a:r>
          </a:p>
          <a:p>
            <a:pPr marL="171450" lvl="1" indent="-171450">
              <a:buFont typeface="Arial" panose="020B0604020202020204" pitchFamily="34" charset="0"/>
              <a:buChar char="•"/>
            </a:pPr>
            <a:r>
              <a:rPr lang="en-US" sz="1000" dirty="0" smtClean="0"/>
              <a:t>Until 2021 AGRA will train 240 officers of </a:t>
            </a:r>
            <a:r>
              <a:rPr lang="en-US" sz="1000" dirty="0" err="1" smtClean="0"/>
              <a:t>MoA</a:t>
            </a:r>
            <a:r>
              <a:rPr lang="en-US" sz="1000" dirty="0" smtClean="0"/>
              <a:t> and affiliated institutions in Project Management, M&amp;E and procurement</a:t>
            </a:r>
            <a:endParaRPr lang="en-US" sz="1000" dirty="0"/>
          </a:p>
        </p:txBody>
      </p:sp>
      <p:sp>
        <p:nvSpPr>
          <p:cNvPr id="67" name="Rectangle 66">
            <a:hlinkClick r:id="" action="ppaction://noaction"/>
          </p:cNvPr>
          <p:cNvSpPr/>
          <p:nvPr/>
        </p:nvSpPr>
        <p:spPr bwMode="gray">
          <a:xfrm>
            <a:off x="201451" y="906112"/>
            <a:ext cx="3099816" cy="548640"/>
          </a:xfrm>
          <a:prstGeom prst="rect">
            <a:avLst/>
          </a:prstGeom>
          <a:solidFill>
            <a:srgbClr val="B5D474">
              <a:lumMod val="75000"/>
            </a:srgbClr>
          </a:solidFill>
          <a:ln w="19050" algn="ctr">
            <a:solidFill>
              <a:srgbClr val="FFFFFF"/>
            </a:solidFill>
            <a:miter lim="800000"/>
            <a:headEnd/>
            <a:tailEnd/>
          </a:ln>
        </p:spPr>
        <p:txBody>
          <a:bodyPr wrap="square" lIns="88900" tIns="88900" rIns="88900" bIns="88900" rtlCol="0" anchor="ctr"/>
          <a:lstStyle/>
          <a:p>
            <a:pPr marL="457200" marR="0" lvl="1" indent="0" defTabSz="914400" eaLnBrk="1" fontAlgn="auto" latinLnBrk="0" hangingPunct="1">
              <a:lnSpc>
                <a:spcPct val="106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FFFFFF"/>
                </a:solidFill>
                <a:effectLst/>
                <a:uLnTx/>
                <a:uFillTx/>
                <a:ea typeface="+mn-ea"/>
                <a:cs typeface="+mn-cs"/>
              </a:rPr>
              <a:t>  Policy and</a:t>
            </a:r>
            <a:r>
              <a:rPr kumimoji="0" lang="en-US" sz="1200" b="1" i="0" u="none" strike="noStrike" kern="1200" cap="none" spc="0" normalizeH="0" noProof="0" dirty="0" smtClean="0">
                <a:ln>
                  <a:noFill/>
                </a:ln>
                <a:solidFill>
                  <a:srgbClr val="FFFFFF"/>
                </a:solidFill>
                <a:effectLst/>
                <a:uLnTx/>
                <a:uFillTx/>
                <a:ea typeface="+mn-ea"/>
                <a:cs typeface="+mn-cs"/>
              </a:rPr>
              <a:t> State Capability</a:t>
            </a:r>
            <a:endParaRPr kumimoji="0" lang="en-US" sz="1200" b="1" i="0" u="none" strike="noStrike" kern="1200" cap="none" spc="0" normalizeH="0" baseline="0" noProof="0" dirty="0" smtClean="0">
              <a:ln>
                <a:noFill/>
              </a:ln>
              <a:solidFill>
                <a:srgbClr val="FFFFFF"/>
              </a:solidFill>
              <a:effectLst/>
              <a:uLnTx/>
              <a:uFillTx/>
              <a:ea typeface="+mn-ea"/>
              <a:cs typeface="+mn-cs"/>
            </a:endParaRPr>
          </a:p>
        </p:txBody>
      </p:sp>
      <p:sp>
        <p:nvSpPr>
          <p:cNvPr id="68" name="Rectangle 67">
            <a:hlinkClick r:id="" action="ppaction://noaction"/>
          </p:cNvPr>
          <p:cNvSpPr/>
          <p:nvPr/>
        </p:nvSpPr>
        <p:spPr bwMode="gray">
          <a:xfrm>
            <a:off x="6660225" y="906112"/>
            <a:ext cx="3122411" cy="548640"/>
          </a:xfrm>
          <a:prstGeom prst="rect">
            <a:avLst/>
          </a:prstGeom>
          <a:solidFill>
            <a:srgbClr val="B5D474">
              <a:lumMod val="75000"/>
            </a:srgbClr>
          </a:solidFill>
          <a:ln w="19050" algn="ctr">
            <a:solidFill>
              <a:srgbClr val="FFFFFF"/>
            </a:solidFill>
            <a:miter lim="800000"/>
            <a:headEnd/>
            <a:tailEnd/>
          </a:ln>
        </p:spPr>
        <p:txBody>
          <a:bodyPr wrap="square" lIns="88900" tIns="88900" rIns="88900" bIns="88900" rtlCol="0" anchor="ctr"/>
          <a:lstStyle/>
          <a:p>
            <a:pPr marL="457200" marR="0" lvl="1" indent="0" defTabSz="914400" eaLnBrk="1" fontAlgn="auto" latinLnBrk="0" hangingPunct="1">
              <a:lnSpc>
                <a:spcPct val="106000"/>
              </a:lnSpc>
              <a:spcBef>
                <a:spcPts val="0"/>
              </a:spcBef>
              <a:spcAft>
                <a:spcPts val="0"/>
              </a:spcAft>
              <a:buClrTx/>
              <a:buSzTx/>
              <a:buFont typeface="Wingdings 2" pitchFamily="18" charset="2"/>
              <a:buNone/>
              <a:tabLst/>
              <a:defRPr/>
            </a:pPr>
            <a:r>
              <a:rPr kumimoji="0" lang="en-US" sz="1200" b="1" i="0" u="none" strike="noStrike" kern="1200" cap="none" spc="0" normalizeH="0" baseline="0" noProof="0" dirty="0" smtClean="0">
                <a:ln>
                  <a:noFill/>
                </a:ln>
                <a:solidFill>
                  <a:srgbClr val="FFFFFF"/>
                </a:solidFill>
                <a:effectLst/>
                <a:uLnTx/>
                <a:uFillTx/>
                <a:ea typeface="+mn-ea"/>
                <a:cs typeface="+mn-cs"/>
              </a:rPr>
              <a:t>  Strategic Partnerships</a:t>
            </a:r>
          </a:p>
        </p:txBody>
      </p:sp>
      <p:sp>
        <p:nvSpPr>
          <p:cNvPr id="69" name="Freeform 68"/>
          <p:cNvSpPr>
            <a:spLocks noChangeAspect="1" noEditPoints="1"/>
          </p:cNvSpPr>
          <p:nvPr/>
        </p:nvSpPr>
        <p:spPr bwMode="auto">
          <a:xfrm>
            <a:off x="6687201" y="1046609"/>
            <a:ext cx="534664" cy="365760"/>
          </a:xfrm>
          <a:custGeom>
            <a:avLst/>
            <a:gdLst>
              <a:gd name="T0" fmla="*/ 252 w 438"/>
              <a:gd name="T1" fmla="*/ 65 h 279"/>
              <a:gd name="T2" fmla="*/ 193 w 438"/>
              <a:gd name="T3" fmla="*/ 89 h 279"/>
              <a:gd name="T4" fmla="*/ 207 w 438"/>
              <a:gd name="T5" fmla="*/ 146 h 279"/>
              <a:gd name="T6" fmla="*/ 222 w 438"/>
              <a:gd name="T7" fmla="*/ 119 h 279"/>
              <a:gd name="T8" fmla="*/ 273 w 438"/>
              <a:gd name="T9" fmla="*/ 150 h 279"/>
              <a:gd name="T10" fmla="*/ 329 w 438"/>
              <a:gd name="T11" fmla="*/ 205 h 279"/>
              <a:gd name="T12" fmla="*/ 325 w 438"/>
              <a:gd name="T13" fmla="*/ 220 h 279"/>
              <a:gd name="T14" fmla="*/ 277 w 438"/>
              <a:gd name="T15" fmla="*/ 183 h 279"/>
              <a:gd name="T16" fmla="*/ 271 w 438"/>
              <a:gd name="T17" fmla="*/ 190 h 279"/>
              <a:gd name="T18" fmla="*/ 298 w 438"/>
              <a:gd name="T19" fmla="*/ 241 h 279"/>
              <a:gd name="T20" fmla="*/ 241 w 438"/>
              <a:gd name="T21" fmla="*/ 199 h 279"/>
              <a:gd name="T22" fmla="*/ 289 w 438"/>
              <a:gd name="T23" fmla="*/ 246 h 279"/>
              <a:gd name="T24" fmla="*/ 228 w 438"/>
              <a:gd name="T25" fmla="*/ 219 h 279"/>
              <a:gd name="T26" fmla="*/ 222 w 438"/>
              <a:gd name="T27" fmla="*/ 226 h 279"/>
              <a:gd name="T28" fmla="*/ 233 w 438"/>
              <a:gd name="T29" fmla="*/ 257 h 279"/>
              <a:gd name="T30" fmla="*/ 235 w 438"/>
              <a:gd name="T31" fmla="*/ 268 h 279"/>
              <a:gd name="T32" fmla="*/ 293 w 438"/>
              <a:gd name="T33" fmla="*/ 256 h 279"/>
              <a:gd name="T34" fmla="*/ 336 w 438"/>
              <a:gd name="T35" fmla="*/ 196 h 279"/>
              <a:gd name="T36" fmla="*/ 308 w 438"/>
              <a:gd name="T37" fmla="*/ 85 h 279"/>
              <a:gd name="T38" fmla="*/ 191 w 438"/>
              <a:gd name="T39" fmla="*/ 210 h 279"/>
              <a:gd name="T40" fmla="*/ 230 w 438"/>
              <a:gd name="T41" fmla="*/ 265 h 279"/>
              <a:gd name="T42" fmla="*/ 137 w 438"/>
              <a:gd name="T43" fmla="*/ 220 h 279"/>
              <a:gd name="T44" fmla="*/ 157 w 438"/>
              <a:gd name="T45" fmla="*/ 196 h 279"/>
              <a:gd name="T46" fmla="*/ 362 w 438"/>
              <a:gd name="T47" fmla="*/ 204 h 279"/>
              <a:gd name="T48" fmla="*/ 438 w 438"/>
              <a:gd name="T49" fmla="*/ 0 h 279"/>
              <a:gd name="T50" fmla="*/ 112 w 438"/>
              <a:gd name="T51" fmla="*/ 72 h 279"/>
              <a:gd name="T52" fmla="*/ 0 w 438"/>
              <a:gd name="T53" fmla="*/ 182 h 279"/>
              <a:gd name="T54" fmla="*/ 112 w 438"/>
              <a:gd name="T55" fmla="*/ 72 h 279"/>
              <a:gd name="T56" fmla="*/ 89 w 438"/>
              <a:gd name="T57" fmla="*/ 173 h 279"/>
              <a:gd name="T58" fmla="*/ 198 w 438"/>
              <a:gd name="T59" fmla="*/ 77 h 279"/>
              <a:gd name="T60" fmla="*/ 187 w 438"/>
              <a:gd name="T61" fmla="*/ 85 h 279"/>
              <a:gd name="T62" fmla="*/ 125 w 438"/>
              <a:gd name="T63" fmla="*/ 88 h 279"/>
              <a:gd name="T64" fmla="*/ 136 w 438"/>
              <a:gd name="T65" fmla="*/ 190 h 279"/>
              <a:gd name="T66" fmla="*/ 129 w 438"/>
              <a:gd name="T67" fmla="*/ 198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38" h="279">
                <a:moveTo>
                  <a:pt x="308" y="85"/>
                </a:moveTo>
                <a:cubicBezTo>
                  <a:pt x="308" y="85"/>
                  <a:pt x="270" y="70"/>
                  <a:pt x="252" y="65"/>
                </a:cubicBezTo>
                <a:cubicBezTo>
                  <a:pt x="239" y="62"/>
                  <a:pt x="237" y="64"/>
                  <a:pt x="226" y="70"/>
                </a:cubicBezTo>
                <a:cubicBezTo>
                  <a:pt x="217" y="75"/>
                  <a:pt x="201" y="82"/>
                  <a:pt x="193" y="89"/>
                </a:cubicBezTo>
                <a:cubicBezTo>
                  <a:pt x="188" y="94"/>
                  <a:pt x="181" y="142"/>
                  <a:pt x="181" y="143"/>
                </a:cubicBezTo>
                <a:cubicBezTo>
                  <a:pt x="180" y="156"/>
                  <a:pt x="198" y="156"/>
                  <a:pt x="207" y="146"/>
                </a:cubicBezTo>
                <a:cubicBezTo>
                  <a:pt x="212" y="139"/>
                  <a:pt x="217" y="129"/>
                  <a:pt x="220" y="122"/>
                </a:cubicBezTo>
                <a:cubicBezTo>
                  <a:pt x="223" y="117"/>
                  <a:pt x="222" y="119"/>
                  <a:pt x="222" y="119"/>
                </a:cubicBezTo>
                <a:cubicBezTo>
                  <a:pt x="236" y="115"/>
                  <a:pt x="236" y="115"/>
                  <a:pt x="236" y="115"/>
                </a:cubicBezTo>
                <a:cubicBezTo>
                  <a:pt x="246" y="125"/>
                  <a:pt x="259" y="137"/>
                  <a:pt x="273" y="150"/>
                </a:cubicBezTo>
                <a:cubicBezTo>
                  <a:pt x="294" y="171"/>
                  <a:pt x="315" y="191"/>
                  <a:pt x="324" y="199"/>
                </a:cubicBezTo>
                <a:cubicBezTo>
                  <a:pt x="327" y="201"/>
                  <a:pt x="328" y="203"/>
                  <a:pt x="329" y="205"/>
                </a:cubicBezTo>
                <a:cubicBezTo>
                  <a:pt x="330" y="207"/>
                  <a:pt x="330" y="209"/>
                  <a:pt x="329" y="212"/>
                </a:cubicBezTo>
                <a:cubicBezTo>
                  <a:pt x="328" y="214"/>
                  <a:pt x="327" y="217"/>
                  <a:pt x="325" y="220"/>
                </a:cubicBezTo>
                <a:cubicBezTo>
                  <a:pt x="324" y="221"/>
                  <a:pt x="323" y="222"/>
                  <a:pt x="323" y="222"/>
                </a:cubicBezTo>
                <a:cubicBezTo>
                  <a:pt x="277" y="183"/>
                  <a:pt x="277" y="183"/>
                  <a:pt x="277" y="183"/>
                </a:cubicBezTo>
                <a:cubicBezTo>
                  <a:pt x="275" y="182"/>
                  <a:pt x="272" y="182"/>
                  <a:pt x="271" y="184"/>
                </a:cubicBezTo>
                <a:cubicBezTo>
                  <a:pt x="269" y="186"/>
                  <a:pt x="269" y="188"/>
                  <a:pt x="271" y="190"/>
                </a:cubicBezTo>
                <a:cubicBezTo>
                  <a:pt x="316" y="228"/>
                  <a:pt x="316" y="228"/>
                  <a:pt x="316" y="228"/>
                </a:cubicBezTo>
                <a:cubicBezTo>
                  <a:pt x="310" y="233"/>
                  <a:pt x="304" y="238"/>
                  <a:pt x="298" y="241"/>
                </a:cubicBezTo>
                <a:cubicBezTo>
                  <a:pt x="248" y="198"/>
                  <a:pt x="248" y="198"/>
                  <a:pt x="248" y="198"/>
                </a:cubicBezTo>
                <a:cubicBezTo>
                  <a:pt x="246" y="197"/>
                  <a:pt x="243" y="197"/>
                  <a:pt x="241" y="199"/>
                </a:cubicBezTo>
                <a:cubicBezTo>
                  <a:pt x="240" y="201"/>
                  <a:pt x="240" y="204"/>
                  <a:pt x="242" y="205"/>
                </a:cubicBezTo>
                <a:cubicBezTo>
                  <a:pt x="289" y="246"/>
                  <a:pt x="289" y="246"/>
                  <a:pt x="289" y="246"/>
                </a:cubicBezTo>
                <a:cubicBezTo>
                  <a:pt x="282" y="249"/>
                  <a:pt x="273" y="250"/>
                  <a:pt x="265" y="252"/>
                </a:cubicBezTo>
                <a:cubicBezTo>
                  <a:pt x="228" y="219"/>
                  <a:pt x="228" y="219"/>
                  <a:pt x="228" y="219"/>
                </a:cubicBezTo>
                <a:cubicBezTo>
                  <a:pt x="226" y="217"/>
                  <a:pt x="223" y="217"/>
                  <a:pt x="222" y="219"/>
                </a:cubicBezTo>
                <a:cubicBezTo>
                  <a:pt x="220" y="221"/>
                  <a:pt x="220" y="224"/>
                  <a:pt x="222" y="226"/>
                </a:cubicBezTo>
                <a:cubicBezTo>
                  <a:pt x="254" y="254"/>
                  <a:pt x="254" y="254"/>
                  <a:pt x="254" y="254"/>
                </a:cubicBezTo>
                <a:cubicBezTo>
                  <a:pt x="248" y="255"/>
                  <a:pt x="240" y="257"/>
                  <a:pt x="233" y="257"/>
                </a:cubicBezTo>
                <a:cubicBezTo>
                  <a:pt x="234" y="260"/>
                  <a:pt x="235" y="263"/>
                  <a:pt x="235" y="266"/>
                </a:cubicBezTo>
                <a:cubicBezTo>
                  <a:pt x="235" y="267"/>
                  <a:pt x="236" y="267"/>
                  <a:pt x="235" y="268"/>
                </a:cubicBezTo>
                <a:cubicBezTo>
                  <a:pt x="243" y="267"/>
                  <a:pt x="257" y="265"/>
                  <a:pt x="270" y="262"/>
                </a:cubicBezTo>
                <a:cubicBezTo>
                  <a:pt x="280" y="260"/>
                  <a:pt x="288" y="258"/>
                  <a:pt x="293" y="256"/>
                </a:cubicBezTo>
                <a:cubicBezTo>
                  <a:pt x="303" y="251"/>
                  <a:pt x="322" y="240"/>
                  <a:pt x="333" y="227"/>
                </a:cubicBezTo>
                <a:cubicBezTo>
                  <a:pt x="340" y="218"/>
                  <a:pt x="343" y="207"/>
                  <a:pt x="336" y="196"/>
                </a:cubicBezTo>
                <a:cubicBezTo>
                  <a:pt x="360" y="183"/>
                  <a:pt x="360" y="183"/>
                  <a:pt x="360" y="183"/>
                </a:cubicBezTo>
                <a:cubicBezTo>
                  <a:pt x="356" y="138"/>
                  <a:pt x="323" y="90"/>
                  <a:pt x="308" y="85"/>
                </a:cubicBezTo>
                <a:close/>
                <a:moveTo>
                  <a:pt x="157" y="196"/>
                </a:moveTo>
                <a:cubicBezTo>
                  <a:pt x="167" y="198"/>
                  <a:pt x="180" y="202"/>
                  <a:pt x="191" y="210"/>
                </a:cubicBezTo>
                <a:cubicBezTo>
                  <a:pt x="213" y="226"/>
                  <a:pt x="222" y="242"/>
                  <a:pt x="226" y="252"/>
                </a:cubicBezTo>
                <a:cubicBezTo>
                  <a:pt x="228" y="256"/>
                  <a:pt x="230" y="261"/>
                  <a:pt x="230" y="265"/>
                </a:cubicBezTo>
                <a:cubicBezTo>
                  <a:pt x="230" y="268"/>
                  <a:pt x="231" y="268"/>
                  <a:pt x="229" y="269"/>
                </a:cubicBezTo>
                <a:cubicBezTo>
                  <a:pt x="205" y="279"/>
                  <a:pt x="154" y="247"/>
                  <a:pt x="137" y="220"/>
                </a:cubicBezTo>
                <a:cubicBezTo>
                  <a:pt x="134" y="215"/>
                  <a:pt x="128" y="202"/>
                  <a:pt x="133" y="197"/>
                </a:cubicBezTo>
                <a:cubicBezTo>
                  <a:pt x="139" y="193"/>
                  <a:pt x="155" y="196"/>
                  <a:pt x="157" y="196"/>
                </a:cubicBezTo>
                <a:close/>
                <a:moveTo>
                  <a:pt x="321" y="77"/>
                </a:moveTo>
                <a:cubicBezTo>
                  <a:pt x="341" y="91"/>
                  <a:pt x="399" y="185"/>
                  <a:pt x="362" y="204"/>
                </a:cubicBezTo>
                <a:cubicBezTo>
                  <a:pt x="356" y="219"/>
                  <a:pt x="434" y="187"/>
                  <a:pt x="438" y="186"/>
                </a:cubicBezTo>
                <a:cubicBezTo>
                  <a:pt x="438" y="0"/>
                  <a:pt x="438" y="0"/>
                  <a:pt x="438" y="0"/>
                </a:cubicBezTo>
                <a:cubicBezTo>
                  <a:pt x="321" y="77"/>
                  <a:pt x="321" y="77"/>
                  <a:pt x="321" y="77"/>
                </a:cubicBezTo>
                <a:close/>
                <a:moveTo>
                  <a:pt x="112" y="72"/>
                </a:moveTo>
                <a:cubicBezTo>
                  <a:pt x="91" y="97"/>
                  <a:pt x="59" y="188"/>
                  <a:pt x="97" y="208"/>
                </a:cubicBezTo>
                <a:cubicBezTo>
                  <a:pt x="106" y="226"/>
                  <a:pt x="2" y="183"/>
                  <a:pt x="0" y="182"/>
                </a:cubicBezTo>
                <a:cubicBezTo>
                  <a:pt x="0" y="3"/>
                  <a:pt x="0" y="3"/>
                  <a:pt x="0" y="3"/>
                </a:cubicBezTo>
                <a:cubicBezTo>
                  <a:pt x="112" y="72"/>
                  <a:pt x="112" y="72"/>
                  <a:pt x="112" y="72"/>
                </a:cubicBezTo>
                <a:close/>
                <a:moveTo>
                  <a:pt x="129" y="198"/>
                </a:moveTo>
                <a:cubicBezTo>
                  <a:pt x="89" y="173"/>
                  <a:pt x="89" y="173"/>
                  <a:pt x="89" y="173"/>
                </a:cubicBezTo>
                <a:cubicBezTo>
                  <a:pt x="90" y="136"/>
                  <a:pt x="100" y="108"/>
                  <a:pt x="119" y="76"/>
                </a:cubicBezTo>
                <a:cubicBezTo>
                  <a:pt x="198" y="77"/>
                  <a:pt x="198" y="77"/>
                  <a:pt x="198" y="77"/>
                </a:cubicBezTo>
                <a:cubicBezTo>
                  <a:pt x="199" y="77"/>
                  <a:pt x="200" y="77"/>
                  <a:pt x="201" y="77"/>
                </a:cubicBezTo>
                <a:cubicBezTo>
                  <a:pt x="194" y="81"/>
                  <a:pt x="189" y="84"/>
                  <a:pt x="187" y="85"/>
                </a:cubicBezTo>
                <a:cubicBezTo>
                  <a:pt x="187" y="86"/>
                  <a:pt x="186" y="87"/>
                  <a:pt x="186" y="88"/>
                </a:cubicBezTo>
                <a:cubicBezTo>
                  <a:pt x="165" y="88"/>
                  <a:pt x="145" y="88"/>
                  <a:pt x="125" y="88"/>
                </a:cubicBezTo>
                <a:cubicBezTo>
                  <a:pt x="110" y="112"/>
                  <a:pt x="101" y="139"/>
                  <a:pt x="100" y="167"/>
                </a:cubicBezTo>
                <a:cubicBezTo>
                  <a:pt x="136" y="190"/>
                  <a:pt x="136" y="190"/>
                  <a:pt x="136" y="190"/>
                </a:cubicBezTo>
                <a:cubicBezTo>
                  <a:pt x="137" y="191"/>
                  <a:pt x="138" y="191"/>
                  <a:pt x="139" y="192"/>
                </a:cubicBezTo>
                <a:cubicBezTo>
                  <a:pt x="135" y="192"/>
                  <a:pt x="130" y="193"/>
                  <a:pt x="129" y="198"/>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0" name="Freeform 271"/>
          <p:cNvSpPr>
            <a:spLocks noEditPoints="1"/>
          </p:cNvSpPr>
          <p:nvPr/>
        </p:nvSpPr>
        <p:spPr bwMode="auto">
          <a:xfrm>
            <a:off x="201451" y="963578"/>
            <a:ext cx="593904" cy="433707"/>
          </a:xfrm>
          <a:custGeom>
            <a:avLst/>
            <a:gdLst>
              <a:gd name="T0" fmla="*/ 666 w 803"/>
              <a:gd name="T1" fmla="*/ 521 h 691"/>
              <a:gd name="T2" fmla="*/ 703 w 803"/>
              <a:gd name="T3" fmla="*/ 521 h 691"/>
              <a:gd name="T4" fmla="*/ 666 w 803"/>
              <a:gd name="T5" fmla="*/ 622 h 691"/>
              <a:gd name="T6" fmla="*/ 703 w 803"/>
              <a:gd name="T7" fmla="*/ 622 h 691"/>
              <a:gd name="T8" fmla="*/ 591 w 803"/>
              <a:gd name="T9" fmla="*/ 521 h 691"/>
              <a:gd name="T10" fmla="*/ 628 w 803"/>
              <a:gd name="T11" fmla="*/ 521 h 691"/>
              <a:gd name="T12" fmla="*/ 591 w 803"/>
              <a:gd name="T13" fmla="*/ 622 h 691"/>
              <a:gd name="T14" fmla="*/ 628 w 803"/>
              <a:gd name="T15" fmla="*/ 622 h 691"/>
              <a:gd name="T16" fmla="*/ 526 w 803"/>
              <a:gd name="T17" fmla="*/ 490 h 691"/>
              <a:gd name="T18" fmla="*/ 491 w 803"/>
              <a:gd name="T19" fmla="*/ 490 h 691"/>
              <a:gd name="T20" fmla="*/ 420 w 803"/>
              <a:gd name="T21" fmla="*/ 648 h 691"/>
              <a:gd name="T22" fmla="*/ 383 w 803"/>
              <a:gd name="T23" fmla="*/ 648 h 691"/>
              <a:gd name="T24" fmla="*/ 311 w 803"/>
              <a:gd name="T25" fmla="*/ 490 h 691"/>
              <a:gd name="T26" fmla="*/ 276 w 803"/>
              <a:gd name="T27" fmla="*/ 490 h 691"/>
              <a:gd name="T28" fmla="*/ 401 w 803"/>
              <a:gd name="T29" fmla="*/ 408 h 691"/>
              <a:gd name="T30" fmla="*/ 212 w 803"/>
              <a:gd name="T31" fmla="*/ 521 h 691"/>
              <a:gd name="T32" fmla="*/ 174 w 803"/>
              <a:gd name="T33" fmla="*/ 468 h 691"/>
              <a:gd name="T34" fmla="*/ 212 w 803"/>
              <a:gd name="T35" fmla="*/ 622 h 691"/>
              <a:gd name="T36" fmla="*/ 174 w 803"/>
              <a:gd name="T37" fmla="*/ 569 h 691"/>
              <a:gd name="T38" fmla="*/ 137 w 803"/>
              <a:gd name="T39" fmla="*/ 521 h 691"/>
              <a:gd name="T40" fmla="*/ 100 w 803"/>
              <a:gd name="T41" fmla="*/ 468 h 691"/>
              <a:gd name="T42" fmla="*/ 137 w 803"/>
              <a:gd name="T43" fmla="*/ 622 h 691"/>
              <a:gd name="T44" fmla="*/ 100 w 803"/>
              <a:gd name="T45" fmla="*/ 569 h 691"/>
              <a:gd name="T46" fmla="*/ 308 w 803"/>
              <a:gd name="T47" fmla="*/ 309 h 691"/>
              <a:gd name="T48" fmla="*/ 345 w 803"/>
              <a:gd name="T49" fmla="*/ 362 h 691"/>
              <a:gd name="T50" fmla="*/ 385 w 803"/>
              <a:gd name="T51" fmla="*/ 309 h 691"/>
              <a:gd name="T52" fmla="*/ 422 w 803"/>
              <a:gd name="T53" fmla="*/ 362 h 691"/>
              <a:gd name="T54" fmla="*/ 458 w 803"/>
              <a:gd name="T55" fmla="*/ 309 h 691"/>
              <a:gd name="T56" fmla="*/ 495 w 803"/>
              <a:gd name="T57" fmla="*/ 362 h 691"/>
              <a:gd name="T58" fmla="*/ 781 w 803"/>
              <a:gd name="T59" fmla="*/ 648 h 691"/>
              <a:gd name="T60" fmla="*/ 756 w 803"/>
              <a:gd name="T61" fmla="*/ 610 h 691"/>
              <a:gd name="T62" fmla="*/ 767 w 803"/>
              <a:gd name="T63" fmla="*/ 413 h 691"/>
              <a:gd name="T64" fmla="*/ 553 w 803"/>
              <a:gd name="T65" fmla="*/ 375 h 691"/>
              <a:gd name="T66" fmla="*/ 563 w 803"/>
              <a:gd name="T67" fmla="*/ 269 h 691"/>
              <a:gd name="T68" fmla="*/ 425 w 803"/>
              <a:gd name="T69" fmla="*/ 134 h 691"/>
              <a:gd name="T70" fmla="*/ 391 w 803"/>
              <a:gd name="T71" fmla="*/ 113 h 691"/>
              <a:gd name="T72" fmla="*/ 258 w 803"/>
              <a:gd name="T73" fmla="*/ 255 h 691"/>
              <a:gd name="T74" fmla="*/ 355 w 803"/>
              <a:gd name="T75" fmla="*/ 269 h 691"/>
              <a:gd name="T76" fmla="*/ 250 w 803"/>
              <a:gd name="T77" fmla="*/ 301 h 691"/>
              <a:gd name="T78" fmla="*/ 36 w 803"/>
              <a:gd name="T79" fmla="*/ 413 h 691"/>
              <a:gd name="T80" fmla="*/ 46 w 803"/>
              <a:gd name="T81" fmla="*/ 610 h 691"/>
              <a:gd name="T82" fmla="*/ 0 w 803"/>
              <a:gd name="T83" fmla="*/ 648 h 691"/>
              <a:gd name="T84" fmla="*/ 803 w 803"/>
              <a:gd name="T85" fmla="*/ 648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03" h="691">
                <a:moveTo>
                  <a:pt x="703" y="521"/>
                </a:moveTo>
                <a:lnTo>
                  <a:pt x="703" y="521"/>
                </a:lnTo>
                <a:lnTo>
                  <a:pt x="666" y="521"/>
                </a:lnTo>
                <a:lnTo>
                  <a:pt x="666" y="468"/>
                </a:lnTo>
                <a:lnTo>
                  <a:pt x="703" y="468"/>
                </a:lnTo>
                <a:lnTo>
                  <a:pt x="703" y="521"/>
                </a:lnTo>
                <a:close/>
                <a:moveTo>
                  <a:pt x="703" y="622"/>
                </a:moveTo>
                <a:lnTo>
                  <a:pt x="703" y="622"/>
                </a:lnTo>
                <a:lnTo>
                  <a:pt x="666" y="622"/>
                </a:lnTo>
                <a:lnTo>
                  <a:pt x="666" y="569"/>
                </a:lnTo>
                <a:lnTo>
                  <a:pt x="703" y="569"/>
                </a:lnTo>
                <a:lnTo>
                  <a:pt x="703" y="622"/>
                </a:lnTo>
                <a:close/>
                <a:moveTo>
                  <a:pt x="628" y="521"/>
                </a:moveTo>
                <a:lnTo>
                  <a:pt x="628" y="521"/>
                </a:lnTo>
                <a:lnTo>
                  <a:pt x="591" y="521"/>
                </a:lnTo>
                <a:lnTo>
                  <a:pt x="591" y="468"/>
                </a:lnTo>
                <a:lnTo>
                  <a:pt x="628" y="468"/>
                </a:lnTo>
                <a:lnTo>
                  <a:pt x="628" y="521"/>
                </a:lnTo>
                <a:close/>
                <a:moveTo>
                  <a:pt x="628" y="622"/>
                </a:moveTo>
                <a:lnTo>
                  <a:pt x="628" y="622"/>
                </a:lnTo>
                <a:lnTo>
                  <a:pt x="591" y="622"/>
                </a:lnTo>
                <a:lnTo>
                  <a:pt x="591" y="569"/>
                </a:lnTo>
                <a:lnTo>
                  <a:pt x="628" y="569"/>
                </a:lnTo>
                <a:lnTo>
                  <a:pt x="628" y="622"/>
                </a:lnTo>
                <a:close/>
                <a:moveTo>
                  <a:pt x="553" y="490"/>
                </a:moveTo>
                <a:lnTo>
                  <a:pt x="553" y="490"/>
                </a:lnTo>
                <a:lnTo>
                  <a:pt x="526" y="490"/>
                </a:lnTo>
                <a:lnTo>
                  <a:pt x="526" y="648"/>
                </a:lnTo>
                <a:lnTo>
                  <a:pt x="491" y="648"/>
                </a:lnTo>
                <a:lnTo>
                  <a:pt x="491" y="490"/>
                </a:lnTo>
                <a:lnTo>
                  <a:pt x="454" y="490"/>
                </a:lnTo>
                <a:lnTo>
                  <a:pt x="454" y="648"/>
                </a:lnTo>
                <a:lnTo>
                  <a:pt x="420" y="648"/>
                </a:lnTo>
                <a:lnTo>
                  <a:pt x="420" y="490"/>
                </a:lnTo>
                <a:lnTo>
                  <a:pt x="383" y="490"/>
                </a:lnTo>
                <a:lnTo>
                  <a:pt x="383" y="648"/>
                </a:lnTo>
                <a:lnTo>
                  <a:pt x="349" y="648"/>
                </a:lnTo>
                <a:lnTo>
                  <a:pt x="349" y="490"/>
                </a:lnTo>
                <a:lnTo>
                  <a:pt x="311" y="490"/>
                </a:lnTo>
                <a:lnTo>
                  <a:pt x="311" y="648"/>
                </a:lnTo>
                <a:lnTo>
                  <a:pt x="276" y="648"/>
                </a:lnTo>
                <a:lnTo>
                  <a:pt x="276" y="490"/>
                </a:lnTo>
                <a:lnTo>
                  <a:pt x="250" y="490"/>
                </a:lnTo>
                <a:lnTo>
                  <a:pt x="250" y="459"/>
                </a:lnTo>
                <a:lnTo>
                  <a:pt x="401" y="408"/>
                </a:lnTo>
                <a:lnTo>
                  <a:pt x="553" y="459"/>
                </a:lnTo>
                <a:lnTo>
                  <a:pt x="553" y="490"/>
                </a:lnTo>
                <a:close/>
                <a:moveTo>
                  <a:pt x="212" y="521"/>
                </a:moveTo>
                <a:lnTo>
                  <a:pt x="212" y="521"/>
                </a:lnTo>
                <a:lnTo>
                  <a:pt x="174" y="521"/>
                </a:lnTo>
                <a:lnTo>
                  <a:pt x="174" y="468"/>
                </a:lnTo>
                <a:lnTo>
                  <a:pt x="212" y="468"/>
                </a:lnTo>
                <a:lnTo>
                  <a:pt x="212" y="521"/>
                </a:lnTo>
                <a:close/>
                <a:moveTo>
                  <a:pt x="212" y="622"/>
                </a:moveTo>
                <a:lnTo>
                  <a:pt x="212" y="622"/>
                </a:lnTo>
                <a:lnTo>
                  <a:pt x="174" y="622"/>
                </a:lnTo>
                <a:lnTo>
                  <a:pt x="174" y="569"/>
                </a:lnTo>
                <a:lnTo>
                  <a:pt x="212" y="569"/>
                </a:lnTo>
                <a:lnTo>
                  <a:pt x="212" y="622"/>
                </a:lnTo>
                <a:close/>
                <a:moveTo>
                  <a:pt x="137" y="521"/>
                </a:moveTo>
                <a:lnTo>
                  <a:pt x="137" y="521"/>
                </a:lnTo>
                <a:lnTo>
                  <a:pt x="100" y="521"/>
                </a:lnTo>
                <a:lnTo>
                  <a:pt x="100" y="468"/>
                </a:lnTo>
                <a:lnTo>
                  <a:pt x="137" y="468"/>
                </a:lnTo>
                <a:lnTo>
                  <a:pt x="137" y="521"/>
                </a:lnTo>
                <a:close/>
                <a:moveTo>
                  <a:pt x="137" y="622"/>
                </a:moveTo>
                <a:lnTo>
                  <a:pt x="137" y="622"/>
                </a:lnTo>
                <a:lnTo>
                  <a:pt x="100" y="622"/>
                </a:lnTo>
                <a:lnTo>
                  <a:pt x="100" y="569"/>
                </a:lnTo>
                <a:lnTo>
                  <a:pt x="137" y="569"/>
                </a:lnTo>
                <a:lnTo>
                  <a:pt x="137" y="622"/>
                </a:lnTo>
                <a:close/>
                <a:moveTo>
                  <a:pt x="308" y="309"/>
                </a:moveTo>
                <a:lnTo>
                  <a:pt x="308" y="309"/>
                </a:lnTo>
                <a:lnTo>
                  <a:pt x="345" y="309"/>
                </a:lnTo>
                <a:lnTo>
                  <a:pt x="345" y="362"/>
                </a:lnTo>
                <a:lnTo>
                  <a:pt x="308" y="362"/>
                </a:lnTo>
                <a:lnTo>
                  <a:pt x="308" y="309"/>
                </a:lnTo>
                <a:close/>
                <a:moveTo>
                  <a:pt x="385" y="309"/>
                </a:moveTo>
                <a:lnTo>
                  <a:pt x="385" y="309"/>
                </a:lnTo>
                <a:lnTo>
                  <a:pt x="422" y="309"/>
                </a:lnTo>
                <a:lnTo>
                  <a:pt x="422" y="362"/>
                </a:lnTo>
                <a:lnTo>
                  <a:pt x="385" y="362"/>
                </a:lnTo>
                <a:lnTo>
                  <a:pt x="385" y="309"/>
                </a:lnTo>
                <a:close/>
                <a:moveTo>
                  <a:pt x="458" y="309"/>
                </a:moveTo>
                <a:lnTo>
                  <a:pt x="458" y="309"/>
                </a:lnTo>
                <a:lnTo>
                  <a:pt x="495" y="309"/>
                </a:lnTo>
                <a:lnTo>
                  <a:pt x="495" y="362"/>
                </a:lnTo>
                <a:lnTo>
                  <a:pt x="458" y="362"/>
                </a:lnTo>
                <a:lnTo>
                  <a:pt x="458" y="309"/>
                </a:lnTo>
                <a:close/>
                <a:moveTo>
                  <a:pt x="781" y="648"/>
                </a:moveTo>
                <a:lnTo>
                  <a:pt x="781" y="648"/>
                </a:lnTo>
                <a:lnTo>
                  <a:pt x="781" y="610"/>
                </a:lnTo>
                <a:lnTo>
                  <a:pt x="756" y="610"/>
                </a:lnTo>
                <a:lnTo>
                  <a:pt x="756" y="445"/>
                </a:lnTo>
                <a:lnTo>
                  <a:pt x="767" y="445"/>
                </a:lnTo>
                <a:lnTo>
                  <a:pt x="767" y="413"/>
                </a:lnTo>
                <a:lnTo>
                  <a:pt x="756" y="413"/>
                </a:lnTo>
                <a:lnTo>
                  <a:pt x="756" y="413"/>
                </a:lnTo>
                <a:lnTo>
                  <a:pt x="553" y="375"/>
                </a:lnTo>
                <a:lnTo>
                  <a:pt x="553" y="301"/>
                </a:lnTo>
                <a:lnTo>
                  <a:pt x="563" y="301"/>
                </a:lnTo>
                <a:lnTo>
                  <a:pt x="563" y="269"/>
                </a:lnTo>
                <a:lnTo>
                  <a:pt x="546" y="269"/>
                </a:lnTo>
                <a:cubicBezTo>
                  <a:pt x="541" y="202"/>
                  <a:pt x="491" y="147"/>
                  <a:pt x="425" y="136"/>
                </a:cubicBezTo>
                <a:cubicBezTo>
                  <a:pt x="425" y="136"/>
                  <a:pt x="425" y="135"/>
                  <a:pt x="425" y="134"/>
                </a:cubicBezTo>
                <a:cubicBezTo>
                  <a:pt x="425" y="125"/>
                  <a:pt x="420" y="117"/>
                  <a:pt x="412" y="113"/>
                </a:cubicBezTo>
                <a:cubicBezTo>
                  <a:pt x="410" y="88"/>
                  <a:pt x="401" y="0"/>
                  <a:pt x="401" y="0"/>
                </a:cubicBezTo>
                <a:cubicBezTo>
                  <a:pt x="401" y="0"/>
                  <a:pt x="392" y="88"/>
                  <a:pt x="391" y="113"/>
                </a:cubicBezTo>
                <a:cubicBezTo>
                  <a:pt x="383" y="117"/>
                  <a:pt x="377" y="125"/>
                  <a:pt x="377" y="134"/>
                </a:cubicBezTo>
                <a:cubicBezTo>
                  <a:pt x="377" y="135"/>
                  <a:pt x="377" y="136"/>
                  <a:pt x="377" y="136"/>
                </a:cubicBezTo>
                <a:cubicBezTo>
                  <a:pt x="317" y="146"/>
                  <a:pt x="269" y="194"/>
                  <a:pt x="258" y="255"/>
                </a:cubicBezTo>
                <a:lnTo>
                  <a:pt x="355" y="255"/>
                </a:lnTo>
                <a:cubicBezTo>
                  <a:pt x="359" y="255"/>
                  <a:pt x="362" y="258"/>
                  <a:pt x="362" y="262"/>
                </a:cubicBezTo>
                <a:cubicBezTo>
                  <a:pt x="362" y="266"/>
                  <a:pt x="359" y="269"/>
                  <a:pt x="355" y="269"/>
                </a:cubicBezTo>
                <a:lnTo>
                  <a:pt x="239" y="269"/>
                </a:lnTo>
                <a:lnTo>
                  <a:pt x="239" y="301"/>
                </a:lnTo>
                <a:lnTo>
                  <a:pt x="250" y="301"/>
                </a:lnTo>
                <a:lnTo>
                  <a:pt x="250" y="375"/>
                </a:lnTo>
                <a:lnTo>
                  <a:pt x="48" y="413"/>
                </a:lnTo>
                <a:lnTo>
                  <a:pt x="36" y="413"/>
                </a:lnTo>
                <a:lnTo>
                  <a:pt x="36" y="445"/>
                </a:lnTo>
                <a:lnTo>
                  <a:pt x="46" y="445"/>
                </a:lnTo>
                <a:lnTo>
                  <a:pt x="46" y="610"/>
                </a:lnTo>
                <a:lnTo>
                  <a:pt x="22" y="610"/>
                </a:lnTo>
                <a:lnTo>
                  <a:pt x="22" y="648"/>
                </a:lnTo>
                <a:lnTo>
                  <a:pt x="0" y="648"/>
                </a:lnTo>
                <a:lnTo>
                  <a:pt x="0" y="691"/>
                </a:lnTo>
                <a:lnTo>
                  <a:pt x="803" y="691"/>
                </a:lnTo>
                <a:lnTo>
                  <a:pt x="803" y="648"/>
                </a:lnTo>
                <a:lnTo>
                  <a:pt x="781" y="64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53079" eaLnBrk="1" fontAlgn="auto" latinLnBrk="0" hangingPunct="1">
              <a:lnSpc>
                <a:spcPct val="100000"/>
              </a:lnSpc>
              <a:spcBef>
                <a:spcPts val="0"/>
              </a:spcBef>
              <a:spcAft>
                <a:spcPts val="0"/>
              </a:spcAft>
              <a:buClrTx/>
              <a:buSzTx/>
              <a:buFontTx/>
              <a:buNone/>
              <a:tabLst/>
              <a:defRPr/>
            </a:pPr>
            <a:endParaRPr kumimoji="0" lang="en-US" sz="1900" b="0" i="0" u="none" strike="noStrike" kern="0" cap="none" spc="0" normalizeH="0" baseline="0" noProof="0" smtClean="0">
              <a:ln>
                <a:noFill/>
              </a:ln>
              <a:solidFill>
                <a:sysClr val="windowText" lastClr="000000"/>
              </a:solidFill>
              <a:effectLst/>
              <a:uLnTx/>
              <a:uFillTx/>
              <a:ea typeface="+mn-ea"/>
              <a:cs typeface="+mn-cs"/>
            </a:endParaRPr>
          </a:p>
        </p:txBody>
      </p:sp>
      <p:sp>
        <p:nvSpPr>
          <p:cNvPr id="71" name="Freeform 85"/>
          <p:cNvSpPr>
            <a:spLocks noChangeAspect="1" noEditPoints="1"/>
          </p:cNvSpPr>
          <p:nvPr/>
        </p:nvSpPr>
        <p:spPr bwMode="auto">
          <a:xfrm>
            <a:off x="3615436" y="1012424"/>
            <a:ext cx="392202" cy="336014"/>
          </a:xfrm>
          <a:custGeom>
            <a:avLst/>
            <a:gdLst>
              <a:gd name="T0" fmla="*/ 0 w 523"/>
              <a:gd name="T1" fmla="*/ 75 h 524"/>
              <a:gd name="T2" fmla="*/ 34 w 523"/>
              <a:gd name="T3" fmla="*/ 524 h 524"/>
              <a:gd name="T4" fmla="*/ 523 w 523"/>
              <a:gd name="T5" fmla="*/ 491 h 524"/>
              <a:gd name="T6" fmla="*/ 490 w 523"/>
              <a:gd name="T7" fmla="*/ 42 h 524"/>
              <a:gd name="T8" fmla="*/ 401 w 523"/>
              <a:gd name="T9" fmla="*/ 14 h 524"/>
              <a:gd name="T10" fmla="*/ 374 w 523"/>
              <a:gd name="T11" fmla="*/ 14 h 524"/>
              <a:gd name="T12" fmla="*/ 148 w 523"/>
              <a:gd name="T13" fmla="*/ 42 h 524"/>
              <a:gd name="T14" fmla="*/ 135 w 523"/>
              <a:gd name="T15" fmla="*/ 0 h 524"/>
              <a:gd name="T16" fmla="*/ 121 w 523"/>
              <a:gd name="T17" fmla="*/ 42 h 524"/>
              <a:gd name="T18" fmla="*/ 401 w 523"/>
              <a:gd name="T19" fmla="*/ 69 h 524"/>
              <a:gd name="T20" fmla="*/ 495 w 523"/>
              <a:gd name="T21" fmla="*/ 497 h 524"/>
              <a:gd name="T22" fmla="*/ 27 w 523"/>
              <a:gd name="T23" fmla="*/ 69 h 524"/>
              <a:gd name="T24" fmla="*/ 121 w 523"/>
              <a:gd name="T25" fmla="*/ 91 h 524"/>
              <a:gd name="T26" fmla="*/ 112 w 523"/>
              <a:gd name="T27" fmla="*/ 110 h 524"/>
              <a:gd name="T28" fmla="*/ 158 w 523"/>
              <a:gd name="T29" fmla="*/ 110 h 524"/>
              <a:gd name="T30" fmla="*/ 148 w 523"/>
              <a:gd name="T31" fmla="*/ 91 h 524"/>
              <a:gd name="T32" fmla="*/ 374 w 523"/>
              <a:gd name="T33" fmla="*/ 69 h 524"/>
              <a:gd name="T34" fmla="*/ 372 w 523"/>
              <a:gd name="T35" fmla="*/ 93 h 524"/>
              <a:gd name="T36" fmla="*/ 387 w 523"/>
              <a:gd name="T37" fmla="*/ 133 h 524"/>
              <a:gd name="T38" fmla="*/ 402 w 523"/>
              <a:gd name="T39" fmla="*/ 93 h 524"/>
              <a:gd name="T40" fmla="*/ 401 w 523"/>
              <a:gd name="T41" fmla="*/ 69 h 524"/>
              <a:gd name="T42" fmla="*/ 446 w 523"/>
              <a:gd name="T43" fmla="*/ 315 h 524"/>
              <a:gd name="T44" fmla="*/ 450 w 523"/>
              <a:gd name="T45" fmla="*/ 423 h 524"/>
              <a:gd name="T46" fmla="*/ 444 w 523"/>
              <a:gd name="T47" fmla="*/ 426 h 524"/>
              <a:gd name="T48" fmla="*/ 412 w 523"/>
              <a:gd name="T49" fmla="*/ 399 h 524"/>
              <a:gd name="T50" fmla="*/ 215 w 523"/>
              <a:gd name="T51" fmla="*/ 459 h 524"/>
              <a:gd name="T52" fmla="*/ 367 w 523"/>
              <a:gd name="T53" fmla="*/ 355 h 524"/>
              <a:gd name="T54" fmla="*/ 334 w 523"/>
              <a:gd name="T55" fmla="*/ 315 h 524"/>
              <a:gd name="T56" fmla="*/ 63 w 523"/>
              <a:gd name="T57" fmla="*/ 422 h 524"/>
              <a:gd name="T58" fmla="*/ 146 w 523"/>
              <a:gd name="T59" fmla="*/ 257 h 524"/>
              <a:gd name="T60" fmla="*/ 211 w 523"/>
              <a:gd name="T61" fmla="*/ 251 h 524"/>
              <a:gd name="T62" fmla="*/ 220 w 523"/>
              <a:gd name="T63" fmla="*/ 257 h 524"/>
              <a:gd name="T64" fmla="*/ 321 w 523"/>
              <a:gd name="T65" fmla="*/ 229 h 524"/>
              <a:gd name="T66" fmla="*/ 398 w 523"/>
              <a:gd name="T67" fmla="*/ 224 h 524"/>
              <a:gd name="T68" fmla="*/ 460 w 523"/>
              <a:gd name="T69" fmla="*/ 137 h 524"/>
              <a:gd name="T70" fmla="*/ 413 w 523"/>
              <a:gd name="T71" fmla="*/ 238 h 524"/>
              <a:gd name="T72" fmla="*/ 404 w 523"/>
              <a:gd name="T73" fmla="*/ 245 h 524"/>
              <a:gd name="T74" fmla="*/ 272 w 523"/>
              <a:gd name="T75" fmla="*/ 356 h 524"/>
              <a:gd name="T76" fmla="*/ 254 w 523"/>
              <a:gd name="T77" fmla="*/ 357 h 524"/>
              <a:gd name="T78" fmla="*/ 161 w 523"/>
              <a:gd name="T79" fmla="*/ 272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23" h="524">
                <a:moveTo>
                  <a:pt x="34" y="42"/>
                </a:moveTo>
                <a:cubicBezTo>
                  <a:pt x="14" y="42"/>
                  <a:pt x="0" y="56"/>
                  <a:pt x="0" y="75"/>
                </a:cubicBezTo>
                <a:cubicBezTo>
                  <a:pt x="0" y="492"/>
                  <a:pt x="0" y="492"/>
                  <a:pt x="0" y="492"/>
                </a:cubicBezTo>
                <a:cubicBezTo>
                  <a:pt x="0" y="511"/>
                  <a:pt x="15" y="524"/>
                  <a:pt x="34" y="524"/>
                </a:cubicBezTo>
                <a:cubicBezTo>
                  <a:pt x="490" y="524"/>
                  <a:pt x="490" y="524"/>
                  <a:pt x="490" y="524"/>
                </a:cubicBezTo>
                <a:cubicBezTo>
                  <a:pt x="509" y="524"/>
                  <a:pt x="523" y="510"/>
                  <a:pt x="523" y="491"/>
                </a:cubicBezTo>
                <a:cubicBezTo>
                  <a:pt x="523" y="74"/>
                  <a:pt x="523" y="74"/>
                  <a:pt x="523" y="74"/>
                </a:cubicBezTo>
                <a:cubicBezTo>
                  <a:pt x="523" y="56"/>
                  <a:pt x="508" y="42"/>
                  <a:pt x="490" y="42"/>
                </a:cubicBezTo>
                <a:cubicBezTo>
                  <a:pt x="401" y="42"/>
                  <a:pt x="401" y="42"/>
                  <a:pt x="401" y="42"/>
                </a:cubicBezTo>
                <a:cubicBezTo>
                  <a:pt x="401" y="14"/>
                  <a:pt x="401" y="14"/>
                  <a:pt x="401" y="14"/>
                </a:cubicBezTo>
                <a:cubicBezTo>
                  <a:pt x="401" y="6"/>
                  <a:pt x="395" y="0"/>
                  <a:pt x="387" y="0"/>
                </a:cubicBezTo>
                <a:cubicBezTo>
                  <a:pt x="380" y="0"/>
                  <a:pt x="374" y="6"/>
                  <a:pt x="374" y="14"/>
                </a:cubicBezTo>
                <a:cubicBezTo>
                  <a:pt x="374" y="42"/>
                  <a:pt x="374" y="42"/>
                  <a:pt x="374" y="42"/>
                </a:cubicBezTo>
                <a:cubicBezTo>
                  <a:pt x="148" y="42"/>
                  <a:pt x="148" y="42"/>
                  <a:pt x="148" y="42"/>
                </a:cubicBezTo>
                <a:cubicBezTo>
                  <a:pt x="148" y="14"/>
                  <a:pt x="148" y="14"/>
                  <a:pt x="148" y="14"/>
                </a:cubicBezTo>
                <a:cubicBezTo>
                  <a:pt x="148" y="6"/>
                  <a:pt x="142" y="0"/>
                  <a:pt x="135" y="0"/>
                </a:cubicBezTo>
                <a:cubicBezTo>
                  <a:pt x="127" y="0"/>
                  <a:pt x="121" y="6"/>
                  <a:pt x="121" y="14"/>
                </a:cubicBezTo>
                <a:cubicBezTo>
                  <a:pt x="121" y="42"/>
                  <a:pt x="121" y="42"/>
                  <a:pt x="121" y="42"/>
                </a:cubicBezTo>
                <a:cubicBezTo>
                  <a:pt x="34" y="42"/>
                  <a:pt x="34" y="42"/>
                  <a:pt x="34" y="42"/>
                </a:cubicBezTo>
                <a:close/>
                <a:moveTo>
                  <a:pt x="401" y="69"/>
                </a:moveTo>
                <a:cubicBezTo>
                  <a:pt x="495" y="69"/>
                  <a:pt x="495" y="69"/>
                  <a:pt x="495" y="69"/>
                </a:cubicBezTo>
                <a:cubicBezTo>
                  <a:pt x="495" y="497"/>
                  <a:pt x="495" y="497"/>
                  <a:pt x="495" y="497"/>
                </a:cubicBezTo>
                <a:cubicBezTo>
                  <a:pt x="27" y="497"/>
                  <a:pt x="27" y="497"/>
                  <a:pt x="27" y="497"/>
                </a:cubicBezTo>
                <a:cubicBezTo>
                  <a:pt x="27" y="69"/>
                  <a:pt x="27" y="69"/>
                  <a:pt x="27" y="69"/>
                </a:cubicBezTo>
                <a:cubicBezTo>
                  <a:pt x="121" y="69"/>
                  <a:pt x="121" y="69"/>
                  <a:pt x="121" y="69"/>
                </a:cubicBezTo>
                <a:cubicBezTo>
                  <a:pt x="121" y="91"/>
                  <a:pt x="121" y="91"/>
                  <a:pt x="121" y="91"/>
                </a:cubicBezTo>
                <a:cubicBezTo>
                  <a:pt x="120" y="93"/>
                  <a:pt x="120" y="93"/>
                  <a:pt x="120" y="93"/>
                </a:cubicBezTo>
                <a:cubicBezTo>
                  <a:pt x="115" y="97"/>
                  <a:pt x="112" y="103"/>
                  <a:pt x="112" y="110"/>
                </a:cubicBezTo>
                <a:cubicBezTo>
                  <a:pt x="112" y="123"/>
                  <a:pt x="122" y="133"/>
                  <a:pt x="135" y="133"/>
                </a:cubicBezTo>
                <a:cubicBezTo>
                  <a:pt x="148" y="133"/>
                  <a:pt x="158" y="123"/>
                  <a:pt x="158" y="110"/>
                </a:cubicBezTo>
                <a:cubicBezTo>
                  <a:pt x="158" y="103"/>
                  <a:pt x="155" y="97"/>
                  <a:pt x="150" y="93"/>
                </a:cubicBezTo>
                <a:cubicBezTo>
                  <a:pt x="148" y="91"/>
                  <a:pt x="148" y="91"/>
                  <a:pt x="148" y="91"/>
                </a:cubicBezTo>
                <a:cubicBezTo>
                  <a:pt x="148" y="69"/>
                  <a:pt x="148" y="69"/>
                  <a:pt x="148" y="69"/>
                </a:cubicBezTo>
                <a:cubicBezTo>
                  <a:pt x="374" y="69"/>
                  <a:pt x="374" y="69"/>
                  <a:pt x="374" y="69"/>
                </a:cubicBezTo>
                <a:cubicBezTo>
                  <a:pt x="374" y="91"/>
                  <a:pt x="374" y="91"/>
                  <a:pt x="374" y="91"/>
                </a:cubicBezTo>
                <a:cubicBezTo>
                  <a:pt x="372" y="93"/>
                  <a:pt x="372" y="93"/>
                  <a:pt x="372" y="93"/>
                </a:cubicBezTo>
                <a:cubicBezTo>
                  <a:pt x="367" y="97"/>
                  <a:pt x="364" y="103"/>
                  <a:pt x="364" y="110"/>
                </a:cubicBezTo>
                <a:cubicBezTo>
                  <a:pt x="364" y="123"/>
                  <a:pt x="375" y="133"/>
                  <a:pt x="387" y="133"/>
                </a:cubicBezTo>
                <a:cubicBezTo>
                  <a:pt x="400" y="133"/>
                  <a:pt x="410" y="123"/>
                  <a:pt x="410" y="110"/>
                </a:cubicBezTo>
                <a:cubicBezTo>
                  <a:pt x="410" y="103"/>
                  <a:pt x="407" y="97"/>
                  <a:pt x="402" y="93"/>
                </a:cubicBezTo>
                <a:cubicBezTo>
                  <a:pt x="401" y="91"/>
                  <a:pt x="401" y="91"/>
                  <a:pt x="401" y="91"/>
                </a:cubicBezTo>
                <a:cubicBezTo>
                  <a:pt x="401" y="69"/>
                  <a:pt x="401" y="69"/>
                  <a:pt x="401" y="69"/>
                </a:cubicBezTo>
                <a:close/>
                <a:moveTo>
                  <a:pt x="334" y="315"/>
                </a:moveTo>
                <a:cubicBezTo>
                  <a:pt x="446" y="315"/>
                  <a:pt x="446" y="315"/>
                  <a:pt x="446" y="315"/>
                </a:cubicBezTo>
                <a:cubicBezTo>
                  <a:pt x="449" y="315"/>
                  <a:pt x="450" y="315"/>
                  <a:pt x="450" y="318"/>
                </a:cubicBezTo>
                <a:cubicBezTo>
                  <a:pt x="450" y="353"/>
                  <a:pt x="450" y="388"/>
                  <a:pt x="450" y="423"/>
                </a:cubicBezTo>
                <a:cubicBezTo>
                  <a:pt x="450" y="424"/>
                  <a:pt x="450" y="428"/>
                  <a:pt x="450" y="431"/>
                </a:cubicBezTo>
                <a:cubicBezTo>
                  <a:pt x="447" y="429"/>
                  <a:pt x="445" y="427"/>
                  <a:pt x="444" y="426"/>
                </a:cubicBezTo>
                <a:cubicBezTo>
                  <a:pt x="415" y="396"/>
                  <a:pt x="415" y="396"/>
                  <a:pt x="415" y="396"/>
                </a:cubicBezTo>
                <a:cubicBezTo>
                  <a:pt x="412" y="399"/>
                  <a:pt x="412" y="399"/>
                  <a:pt x="412" y="399"/>
                </a:cubicBezTo>
                <a:cubicBezTo>
                  <a:pt x="358" y="453"/>
                  <a:pt x="292" y="464"/>
                  <a:pt x="220" y="460"/>
                </a:cubicBezTo>
                <a:cubicBezTo>
                  <a:pt x="219" y="459"/>
                  <a:pt x="217" y="459"/>
                  <a:pt x="215" y="459"/>
                </a:cubicBezTo>
                <a:cubicBezTo>
                  <a:pt x="218" y="457"/>
                  <a:pt x="222" y="456"/>
                  <a:pt x="223" y="455"/>
                </a:cubicBezTo>
                <a:cubicBezTo>
                  <a:pt x="278" y="440"/>
                  <a:pt x="331" y="398"/>
                  <a:pt x="367" y="355"/>
                </a:cubicBezTo>
                <a:cubicBezTo>
                  <a:pt x="370" y="351"/>
                  <a:pt x="370" y="351"/>
                  <a:pt x="370" y="351"/>
                </a:cubicBezTo>
                <a:cubicBezTo>
                  <a:pt x="334" y="315"/>
                  <a:pt x="334" y="315"/>
                  <a:pt x="334" y="315"/>
                </a:cubicBezTo>
                <a:close/>
                <a:moveTo>
                  <a:pt x="77" y="418"/>
                </a:moveTo>
                <a:cubicBezTo>
                  <a:pt x="74" y="423"/>
                  <a:pt x="68" y="425"/>
                  <a:pt x="63" y="422"/>
                </a:cubicBezTo>
                <a:cubicBezTo>
                  <a:pt x="58" y="419"/>
                  <a:pt x="56" y="413"/>
                  <a:pt x="59" y="408"/>
                </a:cubicBezTo>
                <a:cubicBezTo>
                  <a:pt x="146" y="257"/>
                  <a:pt x="146" y="257"/>
                  <a:pt x="146" y="257"/>
                </a:cubicBezTo>
                <a:cubicBezTo>
                  <a:pt x="148" y="253"/>
                  <a:pt x="152" y="251"/>
                  <a:pt x="155" y="251"/>
                </a:cubicBezTo>
                <a:cubicBezTo>
                  <a:pt x="211" y="251"/>
                  <a:pt x="211" y="251"/>
                  <a:pt x="211" y="251"/>
                </a:cubicBezTo>
                <a:cubicBezTo>
                  <a:pt x="215" y="251"/>
                  <a:pt x="219" y="254"/>
                  <a:pt x="220" y="257"/>
                </a:cubicBezTo>
                <a:cubicBezTo>
                  <a:pt x="220" y="257"/>
                  <a:pt x="220" y="257"/>
                  <a:pt x="220" y="257"/>
                </a:cubicBezTo>
                <a:cubicBezTo>
                  <a:pt x="263" y="331"/>
                  <a:pt x="263" y="331"/>
                  <a:pt x="263" y="331"/>
                </a:cubicBezTo>
                <a:cubicBezTo>
                  <a:pt x="321" y="229"/>
                  <a:pt x="321" y="229"/>
                  <a:pt x="321" y="229"/>
                </a:cubicBezTo>
                <a:cubicBezTo>
                  <a:pt x="324" y="225"/>
                  <a:pt x="327" y="224"/>
                  <a:pt x="331" y="224"/>
                </a:cubicBezTo>
                <a:cubicBezTo>
                  <a:pt x="398" y="224"/>
                  <a:pt x="398" y="224"/>
                  <a:pt x="398" y="224"/>
                </a:cubicBezTo>
                <a:cubicBezTo>
                  <a:pt x="446" y="141"/>
                  <a:pt x="446" y="141"/>
                  <a:pt x="446" y="141"/>
                </a:cubicBezTo>
                <a:cubicBezTo>
                  <a:pt x="448" y="136"/>
                  <a:pt x="455" y="134"/>
                  <a:pt x="460" y="137"/>
                </a:cubicBezTo>
                <a:cubicBezTo>
                  <a:pt x="465" y="140"/>
                  <a:pt x="467" y="146"/>
                  <a:pt x="464" y="151"/>
                </a:cubicBezTo>
                <a:cubicBezTo>
                  <a:pt x="413" y="238"/>
                  <a:pt x="413" y="238"/>
                  <a:pt x="413" y="238"/>
                </a:cubicBezTo>
                <a:cubicBezTo>
                  <a:pt x="413" y="238"/>
                  <a:pt x="413" y="238"/>
                  <a:pt x="413" y="238"/>
                </a:cubicBezTo>
                <a:cubicBezTo>
                  <a:pt x="412" y="242"/>
                  <a:pt x="408" y="245"/>
                  <a:pt x="404" y="245"/>
                </a:cubicBezTo>
                <a:cubicBezTo>
                  <a:pt x="337" y="245"/>
                  <a:pt x="337" y="245"/>
                  <a:pt x="337" y="245"/>
                </a:cubicBezTo>
                <a:cubicBezTo>
                  <a:pt x="272" y="356"/>
                  <a:pt x="272" y="356"/>
                  <a:pt x="272" y="356"/>
                </a:cubicBezTo>
                <a:cubicBezTo>
                  <a:pt x="272" y="356"/>
                  <a:pt x="272" y="356"/>
                  <a:pt x="272" y="356"/>
                </a:cubicBezTo>
                <a:cubicBezTo>
                  <a:pt x="269" y="364"/>
                  <a:pt x="258" y="364"/>
                  <a:pt x="254" y="357"/>
                </a:cubicBezTo>
                <a:cubicBezTo>
                  <a:pt x="205" y="272"/>
                  <a:pt x="205" y="272"/>
                  <a:pt x="205" y="272"/>
                </a:cubicBezTo>
                <a:cubicBezTo>
                  <a:pt x="161" y="272"/>
                  <a:pt x="161" y="272"/>
                  <a:pt x="161" y="272"/>
                </a:cubicBezTo>
                <a:lnTo>
                  <a:pt x="77" y="418"/>
                </a:ln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smtClean="0">
              <a:ln>
                <a:noFill/>
              </a:ln>
              <a:solidFill>
                <a:sysClr val="windowText" lastClr="000000"/>
              </a:solidFill>
              <a:effectLst/>
              <a:uLnTx/>
              <a:uFillTx/>
              <a:ea typeface="+mn-ea"/>
              <a:cs typeface="+mn-cs"/>
            </a:endParaRPr>
          </a:p>
        </p:txBody>
      </p:sp>
      <p:pic>
        <p:nvPicPr>
          <p:cNvPr id="6"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763095" y="1585342"/>
            <a:ext cx="930020" cy="668237"/>
          </a:xfrm>
          <a:prstGeom prst="rect">
            <a:avLst/>
          </a:prstGeom>
        </p:spPr>
      </p:pic>
      <p:pic>
        <p:nvPicPr>
          <p:cNvPr id="7" name="Picture 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739049" y="2544669"/>
            <a:ext cx="983184" cy="562586"/>
          </a:xfrm>
          <a:prstGeom prst="rect">
            <a:avLst/>
          </a:prstGeom>
        </p:spPr>
      </p:pic>
      <p:pic>
        <p:nvPicPr>
          <p:cNvPr id="8" name="Picture 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760361" y="3694446"/>
            <a:ext cx="1068340" cy="660598"/>
          </a:xfrm>
          <a:prstGeom prst="rect">
            <a:avLst/>
          </a:prstGeom>
        </p:spPr>
      </p:pic>
      <p:pic>
        <p:nvPicPr>
          <p:cNvPr id="9" name="Picture 8"/>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675990" y="4804571"/>
            <a:ext cx="1194997" cy="620479"/>
          </a:xfrm>
          <a:prstGeom prst="rect">
            <a:avLst/>
          </a:prstGeom>
        </p:spPr>
      </p:pic>
      <p:cxnSp>
        <p:nvCxnSpPr>
          <p:cNvPr id="26" name="Straight Connector 25"/>
          <p:cNvCxnSpPr/>
          <p:nvPr/>
        </p:nvCxnSpPr>
        <p:spPr>
          <a:xfrm>
            <a:off x="6760361" y="5603456"/>
            <a:ext cx="2743200" cy="10605"/>
          </a:xfrm>
          <a:prstGeom prst="line">
            <a:avLst/>
          </a:prstGeom>
          <a:noFill/>
          <a:ln w="19050" cap="flat" cmpd="sng" algn="ctr">
            <a:solidFill>
              <a:srgbClr val="808080"/>
            </a:solidFill>
            <a:prstDash val="dash"/>
          </a:ln>
          <a:effectLst/>
        </p:spPr>
      </p:cxnSp>
      <p:pic>
        <p:nvPicPr>
          <p:cNvPr id="3" name="Picture 2"/>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675991" y="5668629"/>
            <a:ext cx="1126060" cy="347610"/>
          </a:xfrm>
          <a:prstGeom prst="rect">
            <a:avLst/>
          </a:prstGeom>
        </p:spPr>
      </p:pic>
      <p:sp>
        <p:nvSpPr>
          <p:cNvPr id="28" name="TextBox 27"/>
          <p:cNvSpPr txBox="1"/>
          <p:nvPr/>
        </p:nvSpPr>
        <p:spPr>
          <a:xfrm>
            <a:off x="7989565" y="5677684"/>
            <a:ext cx="1594861" cy="70788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ysClr val="windowText" lastClr="000000"/>
                </a:solidFill>
                <a:effectLst/>
                <a:uLnTx/>
                <a:uFillTx/>
                <a:ea typeface="+mn-ea"/>
                <a:cs typeface="+mn-cs"/>
              </a:rPr>
              <a:t>AGRA is partnering</a:t>
            </a:r>
            <a:r>
              <a:rPr kumimoji="0" lang="en-US" sz="800" b="0" i="0" u="none" strike="noStrike" kern="1200" cap="none" spc="0" normalizeH="0" noProof="0" dirty="0" smtClean="0">
                <a:ln>
                  <a:noFill/>
                </a:ln>
                <a:solidFill>
                  <a:sysClr val="windowText" lastClr="000000"/>
                </a:solidFill>
                <a:effectLst/>
                <a:uLnTx/>
                <a:uFillTx/>
                <a:ea typeface="+mn-ea"/>
                <a:cs typeface="+mn-cs"/>
              </a:rPr>
              <a:t> with CIAT in the climate risk profiling of the consortia areas to develop appropriate mitigation strategies for resilience</a:t>
            </a:r>
            <a:endParaRPr kumimoji="0" lang="en-US" sz="800" b="0" i="0" u="none" strike="noStrike" kern="1200" cap="none" spc="0" normalizeH="0" baseline="0" noProof="0" dirty="0">
              <a:ln>
                <a:noFill/>
              </a:ln>
              <a:solidFill>
                <a:sysClr val="windowText" lastClr="000000"/>
              </a:solidFill>
              <a:effectLst/>
              <a:uLnTx/>
              <a:uFillTx/>
              <a:ea typeface="+mn-ea"/>
              <a:cs typeface="+mn-cs"/>
            </a:endParaRPr>
          </a:p>
        </p:txBody>
      </p:sp>
    </p:spTree>
    <p:extLst>
      <p:ext uri="{BB962C8B-B14F-4D97-AF65-F5344CB8AC3E}">
        <p14:creationId xmlns:p14="http://schemas.microsoft.com/office/powerpoint/2010/main" val="99741088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427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400" b="1" dirty="0">
              <a:latin typeface="Arial" panose="020B0604020202020204" pitchFamily="34" charset="0"/>
              <a:cs typeface="Arial" panose="020B0604020202020204" pitchFamily="34" charset="0"/>
              <a:sym typeface="Arial" panose="020B0604020202020204" pitchFamily="34" charset="0"/>
            </a:endParaRPr>
          </a:p>
        </p:txBody>
      </p:sp>
      <p:sp>
        <p:nvSpPr>
          <p:cNvPr id="2" name="Text Placeholder 1"/>
          <p:cNvSpPr>
            <a:spLocks noGrp="1"/>
          </p:cNvSpPr>
          <p:nvPr>
            <p:ph type="body" idx="1"/>
          </p:nvPr>
        </p:nvSpPr>
        <p:spPr>
          <a:xfrm>
            <a:off x="450326" y="1008557"/>
            <a:ext cx="4319158" cy="539688"/>
          </a:xfrm>
        </p:spPr>
        <p:txBody>
          <a:bodyPr/>
          <a:lstStyle/>
          <a:p>
            <a:r>
              <a:rPr lang="en-US" dirty="0" smtClean="0"/>
              <a:t>Ministry of Agriculture</a:t>
            </a:r>
            <a:endParaRPr lang="en-US" dirty="0"/>
          </a:p>
        </p:txBody>
      </p:sp>
      <p:sp>
        <p:nvSpPr>
          <p:cNvPr id="3" name="Text Placeholder 2"/>
          <p:cNvSpPr>
            <a:spLocks noGrp="1"/>
          </p:cNvSpPr>
          <p:nvPr>
            <p:ph type="body" idx="2"/>
          </p:nvPr>
        </p:nvSpPr>
        <p:spPr/>
        <p:style>
          <a:lnRef idx="2">
            <a:schemeClr val="accent6"/>
          </a:lnRef>
          <a:fillRef idx="1">
            <a:schemeClr val="lt1"/>
          </a:fillRef>
          <a:effectRef idx="0">
            <a:schemeClr val="accent6"/>
          </a:effectRef>
          <a:fontRef idx="minor">
            <a:schemeClr val="dk1"/>
          </a:fontRef>
        </p:style>
        <p:txBody>
          <a:bodyPr/>
          <a:lstStyle/>
          <a:p>
            <a:pPr marL="139700" indent="0">
              <a:buNone/>
            </a:pPr>
            <a:r>
              <a:rPr lang="en-US" sz="1100" dirty="0" smtClean="0"/>
              <a:t>AGRA has become a trusted partner with the Ministry of Agriculture</a:t>
            </a:r>
          </a:p>
          <a:p>
            <a:r>
              <a:rPr lang="en-US" sz="1100" dirty="0" smtClean="0"/>
              <a:t>AGRA is regularly invited to technical and policy consultations</a:t>
            </a:r>
          </a:p>
          <a:p>
            <a:r>
              <a:rPr lang="en-US" sz="1100" dirty="0" smtClean="0"/>
              <a:t>AGRA has hired and seconded three well trained professionals to support the Ministry in M&amp;E, upgrading its ICT system and policy advisory</a:t>
            </a:r>
          </a:p>
          <a:p>
            <a:pPr lvl="1"/>
            <a:r>
              <a:rPr lang="en-US" sz="900" dirty="0" smtClean="0"/>
              <a:t>The M&amp;E consultant has developed an M&amp;E framework and reporting templates, trained staff in the regional agriculture bureaus and working with the ICT officer in building an online reporting system</a:t>
            </a:r>
          </a:p>
          <a:p>
            <a:pPr lvl="1"/>
            <a:r>
              <a:rPr lang="en-US" sz="900" dirty="0" smtClean="0"/>
              <a:t>The ICT officer is supporting the Ministry in automating manual processes and building a MIS system</a:t>
            </a:r>
          </a:p>
          <a:p>
            <a:pPr lvl="1"/>
            <a:r>
              <a:rPr lang="en-US" sz="900" dirty="0" smtClean="0"/>
              <a:t>The policy advisor is working closely with the Minister providing da</a:t>
            </a:r>
          </a:p>
          <a:p>
            <a:r>
              <a:rPr lang="en-US" sz="1100" dirty="0" smtClean="0"/>
              <a:t>AGRA is planning to train 80 personnel of the Ministry in 2019 in M&amp;E, data analysis and reporting, project management and procurement and another 160 in the coming two years. This will create a big pool of trained people and improve program execution capacity</a:t>
            </a:r>
          </a:p>
          <a:p>
            <a:r>
              <a:rPr lang="en-US" sz="1100" dirty="0" smtClean="0"/>
              <a:t>The AGRA country manager has been appointed by the Minister of Agriculture to the Board of Directors of the Ethiopian Agricultural Research Institute (EIAR)</a:t>
            </a:r>
            <a:endParaRPr lang="en-US" sz="1100" dirty="0"/>
          </a:p>
        </p:txBody>
      </p:sp>
      <p:sp>
        <p:nvSpPr>
          <p:cNvPr id="4" name="Text Placeholder 3"/>
          <p:cNvSpPr>
            <a:spLocks noGrp="1"/>
          </p:cNvSpPr>
          <p:nvPr>
            <p:ph type="body" idx="3"/>
          </p:nvPr>
        </p:nvSpPr>
        <p:spPr>
          <a:xfrm>
            <a:off x="5151120" y="1009149"/>
            <a:ext cx="4304296" cy="539096"/>
          </a:xfrm>
        </p:spPr>
        <p:txBody>
          <a:bodyPr/>
          <a:lstStyle/>
          <a:p>
            <a:r>
              <a:rPr lang="en-US" dirty="0" smtClean="0"/>
              <a:t>Agricultural Transformation Agency (ATA)</a:t>
            </a:r>
            <a:endParaRPr lang="en-US" dirty="0"/>
          </a:p>
        </p:txBody>
      </p:sp>
      <p:sp>
        <p:nvSpPr>
          <p:cNvPr id="5" name="Text Placeholder 4"/>
          <p:cNvSpPr>
            <a:spLocks noGrp="1"/>
          </p:cNvSpPr>
          <p:nvPr>
            <p:ph type="body" idx="4"/>
          </p:nvPr>
        </p:nvSpPr>
        <p:spPr/>
        <p:style>
          <a:lnRef idx="2">
            <a:schemeClr val="accent6"/>
          </a:lnRef>
          <a:fillRef idx="1">
            <a:schemeClr val="lt1"/>
          </a:fillRef>
          <a:effectRef idx="0">
            <a:schemeClr val="accent6"/>
          </a:effectRef>
          <a:fontRef idx="minor">
            <a:schemeClr val="dk1"/>
          </a:fontRef>
        </p:style>
        <p:txBody>
          <a:bodyPr/>
          <a:lstStyle/>
          <a:p>
            <a:pPr marL="146558" indent="0">
              <a:buNone/>
            </a:pPr>
            <a:r>
              <a:rPr lang="en-US" sz="1100" dirty="0" smtClean="0"/>
              <a:t>AGRA has also created a symbiotic relationship with the ATA</a:t>
            </a:r>
          </a:p>
          <a:p>
            <a:r>
              <a:rPr lang="en-US" sz="1100" dirty="0" smtClean="0"/>
              <a:t>A Policy officer seconded by AGRA is supporting ATA in advancing policy regulatory reforms. As a result most of the MIRA project reforms have been successful. The most notable ones are the passing of the contract farming proclamation and the removal of taxes and duties on mechanization and , irrigation equipment, animal feed additives and poultry equipment and technologies</a:t>
            </a:r>
          </a:p>
          <a:p>
            <a:r>
              <a:rPr lang="en-US" sz="1100" dirty="0" smtClean="0"/>
              <a:t>ATA is also implementing a three policy reforms:</a:t>
            </a:r>
          </a:p>
          <a:p>
            <a:pPr lvl="1"/>
            <a:r>
              <a:rPr lang="en-US" sz="916" dirty="0" smtClean="0"/>
              <a:t>Developing Agricultural Trade Policy</a:t>
            </a:r>
          </a:p>
          <a:p>
            <a:pPr lvl="1"/>
            <a:r>
              <a:rPr lang="en-US" sz="916" dirty="0" smtClean="0"/>
              <a:t>Operationalization of plant breeders’ rights</a:t>
            </a:r>
          </a:p>
          <a:p>
            <a:pPr lvl="1"/>
            <a:r>
              <a:rPr lang="en-US" sz="916" dirty="0" smtClean="0"/>
              <a:t>Exemption from import duties and taxes of various agricultural inputs including seed, fertilizers, crop protection inputs, veterinary drugs </a:t>
            </a:r>
          </a:p>
          <a:p>
            <a:r>
              <a:rPr lang="en-US" sz="1100" dirty="0" smtClean="0"/>
              <a:t>ATA is implementing the electronic voucher system</a:t>
            </a:r>
          </a:p>
          <a:p>
            <a:r>
              <a:rPr lang="en-US" sz="1100" dirty="0" smtClean="0"/>
              <a:t>The AGRA consortia projects are closely coordinating with the ATA Agricultural Commercialization Cluster (ACC) program</a:t>
            </a:r>
          </a:p>
          <a:p>
            <a:r>
              <a:rPr lang="en-US" sz="1100" dirty="0" smtClean="0"/>
              <a:t>AGRA partnership team has been discussing on how to attract investors into the agro-food industrial parks that are being built in the country</a:t>
            </a:r>
            <a:endParaRPr lang="en-US" sz="1100" dirty="0"/>
          </a:p>
        </p:txBody>
      </p:sp>
      <p:sp>
        <p:nvSpPr>
          <p:cNvPr id="7" name="Title 6"/>
          <p:cNvSpPr>
            <a:spLocks noGrp="1"/>
          </p:cNvSpPr>
          <p:nvPr>
            <p:ph type="title"/>
          </p:nvPr>
        </p:nvSpPr>
        <p:spPr/>
        <p:txBody>
          <a:bodyPr/>
          <a:lstStyle/>
          <a:p>
            <a:r>
              <a:rPr lang="en-US" sz="2400" kern="1200" dirty="0">
                <a:solidFill>
                  <a:schemeClr val="tx1"/>
                </a:solidFill>
              </a:rPr>
              <a:t> Strategic Partnerships</a:t>
            </a:r>
            <a:endParaRPr lang="en-US" sz="2400" dirty="0">
              <a:solidFill>
                <a:schemeClr val="tx1"/>
              </a:solidFill>
            </a:endParaRPr>
          </a:p>
        </p:txBody>
      </p:sp>
    </p:spTree>
    <p:extLst>
      <p:ext uri="{BB962C8B-B14F-4D97-AF65-F5344CB8AC3E}">
        <p14:creationId xmlns:p14="http://schemas.microsoft.com/office/powerpoint/2010/main" val="16258763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9162"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031" b="1" dirty="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smtClean="0"/>
              <a:t>AGRA’s Strategy continues to build off of past work done in Ethiopia to drive for scale and sustainability</a:t>
            </a:r>
            <a:endParaRPr lang="en-US" dirty="0"/>
          </a:p>
        </p:txBody>
      </p:sp>
      <p:sp>
        <p:nvSpPr>
          <p:cNvPr id="7" name="TextBox 6"/>
          <p:cNvSpPr txBox="1"/>
          <p:nvPr/>
        </p:nvSpPr>
        <p:spPr>
          <a:xfrm>
            <a:off x="186044" y="899397"/>
            <a:ext cx="5486400" cy="769441"/>
          </a:xfrm>
          <a:prstGeom prst="rect">
            <a:avLst/>
          </a:prstGeom>
          <a:noFill/>
        </p:spPr>
        <p:txBody>
          <a:bodyPr wrap="square" rtlCol="0">
            <a:spAutoFit/>
          </a:bodyPr>
          <a:lstStyle/>
          <a:p>
            <a:pPr>
              <a:spcAft>
                <a:spcPts val="600"/>
              </a:spcAft>
            </a:pPr>
            <a:r>
              <a:rPr lang="en-US" sz="1100" dirty="0" smtClean="0"/>
              <a:t>In the first ten years (2006 – 2016), AGRA’s work in Ethiopia was in the following programs: Seed systems, Soil Health, Policy, Market access and inclusive finance. Through these investments, AGRA made progress that we continue to build off of in the new strategy:</a:t>
            </a:r>
          </a:p>
        </p:txBody>
      </p:sp>
      <p:sp>
        <p:nvSpPr>
          <p:cNvPr id="17" name="Rectangle 16"/>
          <p:cNvSpPr/>
          <p:nvPr/>
        </p:nvSpPr>
        <p:spPr>
          <a:xfrm>
            <a:off x="654722" y="1849000"/>
            <a:ext cx="4937760" cy="261610"/>
          </a:xfrm>
          <a:prstGeom prst="rect">
            <a:avLst/>
          </a:prstGeom>
        </p:spPr>
        <p:txBody>
          <a:bodyPr>
            <a:spAutoFit/>
          </a:bodyPr>
          <a:lstStyle/>
          <a:p>
            <a:pPr>
              <a:spcAft>
                <a:spcPts val="600"/>
              </a:spcAft>
            </a:pPr>
            <a:r>
              <a:rPr lang="en-US" sz="1100" b="1" dirty="0" smtClean="0"/>
              <a:t>18</a:t>
            </a:r>
            <a:r>
              <a:rPr lang="en-US" sz="1100" dirty="0" smtClean="0"/>
              <a:t> PhDs and </a:t>
            </a:r>
            <a:r>
              <a:rPr lang="en-US" sz="1100" b="1" dirty="0" smtClean="0"/>
              <a:t>38</a:t>
            </a:r>
            <a:r>
              <a:rPr lang="en-US" sz="1100" dirty="0" smtClean="0"/>
              <a:t> MScs trained in crop breeding and soil science</a:t>
            </a:r>
          </a:p>
        </p:txBody>
      </p:sp>
      <p:grpSp>
        <p:nvGrpSpPr>
          <p:cNvPr id="18" name="Group 17"/>
          <p:cNvGrpSpPr>
            <a:grpSpLocks noChangeAspect="1"/>
          </p:cNvGrpSpPr>
          <p:nvPr/>
        </p:nvGrpSpPr>
        <p:grpSpPr>
          <a:xfrm>
            <a:off x="195771" y="1731899"/>
            <a:ext cx="411480" cy="409379"/>
            <a:chOff x="4179888" y="2610485"/>
            <a:chExt cx="311151" cy="309563"/>
          </a:xfrm>
          <a:solidFill>
            <a:schemeClr val="accent6">
              <a:lumMod val="75000"/>
            </a:schemeClr>
          </a:solidFill>
        </p:grpSpPr>
        <p:sp>
          <p:nvSpPr>
            <p:cNvPr id="19" name="Freeform 142"/>
            <p:cNvSpPr>
              <a:spLocks/>
            </p:cNvSpPr>
            <p:nvPr/>
          </p:nvSpPr>
          <p:spPr bwMode="auto">
            <a:xfrm>
              <a:off x="4179888" y="2661285"/>
              <a:ext cx="90488" cy="88900"/>
            </a:xfrm>
            <a:custGeom>
              <a:avLst/>
              <a:gdLst>
                <a:gd name="T0" fmla="*/ 45 w 114"/>
                <a:gd name="T1" fmla="*/ 87 h 113"/>
                <a:gd name="T2" fmla="*/ 45 w 114"/>
                <a:gd name="T3" fmla="*/ 87 h 113"/>
                <a:gd name="T4" fmla="*/ 53 w 114"/>
                <a:gd name="T5" fmla="*/ 87 h 113"/>
                <a:gd name="T6" fmla="*/ 59 w 114"/>
                <a:gd name="T7" fmla="*/ 85 h 113"/>
                <a:gd name="T8" fmla="*/ 66 w 114"/>
                <a:gd name="T9" fmla="*/ 82 h 113"/>
                <a:gd name="T10" fmla="*/ 71 w 114"/>
                <a:gd name="T11" fmla="*/ 79 h 113"/>
                <a:gd name="T12" fmla="*/ 104 w 114"/>
                <a:gd name="T13" fmla="*/ 111 h 113"/>
                <a:gd name="T14" fmla="*/ 104 w 114"/>
                <a:gd name="T15" fmla="*/ 111 h 113"/>
                <a:gd name="T16" fmla="*/ 105 w 114"/>
                <a:gd name="T17" fmla="*/ 113 h 113"/>
                <a:gd name="T18" fmla="*/ 108 w 114"/>
                <a:gd name="T19" fmla="*/ 113 h 113"/>
                <a:gd name="T20" fmla="*/ 108 w 114"/>
                <a:gd name="T21" fmla="*/ 113 h 113"/>
                <a:gd name="T22" fmla="*/ 110 w 114"/>
                <a:gd name="T23" fmla="*/ 113 h 113"/>
                <a:gd name="T24" fmla="*/ 112 w 114"/>
                <a:gd name="T25" fmla="*/ 111 h 113"/>
                <a:gd name="T26" fmla="*/ 112 w 114"/>
                <a:gd name="T27" fmla="*/ 111 h 113"/>
                <a:gd name="T28" fmla="*/ 113 w 114"/>
                <a:gd name="T29" fmla="*/ 109 h 113"/>
                <a:gd name="T30" fmla="*/ 114 w 114"/>
                <a:gd name="T31" fmla="*/ 106 h 113"/>
                <a:gd name="T32" fmla="*/ 113 w 114"/>
                <a:gd name="T33" fmla="*/ 103 h 113"/>
                <a:gd name="T34" fmla="*/ 112 w 114"/>
                <a:gd name="T35" fmla="*/ 102 h 113"/>
                <a:gd name="T36" fmla="*/ 79 w 114"/>
                <a:gd name="T37" fmla="*/ 70 h 113"/>
                <a:gd name="T38" fmla="*/ 79 w 114"/>
                <a:gd name="T39" fmla="*/ 70 h 113"/>
                <a:gd name="T40" fmla="*/ 84 w 114"/>
                <a:gd name="T41" fmla="*/ 64 h 113"/>
                <a:gd name="T42" fmla="*/ 86 w 114"/>
                <a:gd name="T43" fmla="*/ 58 h 113"/>
                <a:gd name="T44" fmla="*/ 89 w 114"/>
                <a:gd name="T45" fmla="*/ 51 h 113"/>
                <a:gd name="T46" fmla="*/ 89 w 114"/>
                <a:gd name="T47" fmla="*/ 43 h 113"/>
                <a:gd name="T48" fmla="*/ 89 w 114"/>
                <a:gd name="T49" fmla="*/ 43 h 113"/>
                <a:gd name="T50" fmla="*/ 88 w 114"/>
                <a:gd name="T51" fmla="*/ 35 h 113"/>
                <a:gd name="T52" fmla="*/ 85 w 114"/>
                <a:gd name="T53" fmla="*/ 27 h 113"/>
                <a:gd name="T54" fmla="*/ 81 w 114"/>
                <a:gd name="T55" fmla="*/ 19 h 113"/>
                <a:gd name="T56" fmla="*/ 75 w 114"/>
                <a:gd name="T57" fmla="*/ 12 h 113"/>
                <a:gd name="T58" fmla="*/ 70 w 114"/>
                <a:gd name="T59" fmla="*/ 7 h 113"/>
                <a:gd name="T60" fmla="*/ 62 w 114"/>
                <a:gd name="T61" fmla="*/ 3 h 113"/>
                <a:gd name="T62" fmla="*/ 54 w 114"/>
                <a:gd name="T63" fmla="*/ 0 h 113"/>
                <a:gd name="T64" fmla="*/ 45 w 114"/>
                <a:gd name="T65" fmla="*/ 0 h 113"/>
                <a:gd name="T66" fmla="*/ 45 w 114"/>
                <a:gd name="T67" fmla="*/ 0 h 113"/>
                <a:gd name="T68" fmla="*/ 36 w 114"/>
                <a:gd name="T69" fmla="*/ 0 h 113"/>
                <a:gd name="T70" fmla="*/ 27 w 114"/>
                <a:gd name="T71" fmla="*/ 3 h 113"/>
                <a:gd name="T72" fmla="*/ 20 w 114"/>
                <a:gd name="T73" fmla="*/ 7 h 113"/>
                <a:gd name="T74" fmla="*/ 14 w 114"/>
                <a:gd name="T75" fmla="*/ 12 h 113"/>
                <a:gd name="T76" fmla="*/ 8 w 114"/>
                <a:gd name="T77" fmla="*/ 19 h 113"/>
                <a:gd name="T78" fmla="*/ 4 w 114"/>
                <a:gd name="T79" fmla="*/ 27 h 113"/>
                <a:gd name="T80" fmla="*/ 2 w 114"/>
                <a:gd name="T81" fmla="*/ 35 h 113"/>
                <a:gd name="T82" fmla="*/ 0 w 114"/>
                <a:gd name="T83" fmla="*/ 43 h 113"/>
                <a:gd name="T84" fmla="*/ 0 w 114"/>
                <a:gd name="T85" fmla="*/ 43 h 113"/>
                <a:gd name="T86" fmla="*/ 2 w 114"/>
                <a:gd name="T87" fmla="*/ 52 h 113"/>
                <a:gd name="T88" fmla="*/ 4 w 114"/>
                <a:gd name="T89" fmla="*/ 60 h 113"/>
                <a:gd name="T90" fmla="*/ 8 w 114"/>
                <a:gd name="T91" fmla="*/ 68 h 113"/>
                <a:gd name="T92" fmla="*/ 14 w 114"/>
                <a:gd name="T93" fmla="*/ 75 h 113"/>
                <a:gd name="T94" fmla="*/ 20 w 114"/>
                <a:gd name="T95" fmla="*/ 80 h 113"/>
                <a:gd name="T96" fmla="*/ 27 w 114"/>
                <a:gd name="T97" fmla="*/ 85 h 113"/>
                <a:gd name="T98" fmla="*/ 36 w 114"/>
                <a:gd name="T99" fmla="*/ 86 h 113"/>
                <a:gd name="T100" fmla="*/ 45 w 114"/>
                <a:gd name="T101" fmla="*/ 87 h 113"/>
                <a:gd name="T102" fmla="*/ 45 w 114"/>
                <a:gd name="T103" fmla="*/ 87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4" h="113">
                  <a:moveTo>
                    <a:pt x="45" y="87"/>
                  </a:moveTo>
                  <a:lnTo>
                    <a:pt x="45" y="87"/>
                  </a:lnTo>
                  <a:lnTo>
                    <a:pt x="53" y="87"/>
                  </a:lnTo>
                  <a:lnTo>
                    <a:pt x="59" y="85"/>
                  </a:lnTo>
                  <a:lnTo>
                    <a:pt x="66" y="82"/>
                  </a:lnTo>
                  <a:lnTo>
                    <a:pt x="71" y="79"/>
                  </a:lnTo>
                  <a:lnTo>
                    <a:pt x="104" y="111"/>
                  </a:lnTo>
                  <a:lnTo>
                    <a:pt x="104" y="111"/>
                  </a:lnTo>
                  <a:lnTo>
                    <a:pt x="105" y="113"/>
                  </a:lnTo>
                  <a:lnTo>
                    <a:pt x="108" y="113"/>
                  </a:lnTo>
                  <a:lnTo>
                    <a:pt x="108" y="113"/>
                  </a:lnTo>
                  <a:lnTo>
                    <a:pt x="110" y="113"/>
                  </a:lnTo>
                  <a:lnTo>
                    <a:pt x="112" y="111"/>
                  </a:lnTo>
                  <a:lnTo>
                    <a:pt x="112" y="111"/>
                  </a:lnTo>
                  <a:lnTo>
                    <a:pt x="113" y="109"/>
                  </a:lnTo>
                  <a:lnTo>
                    <a:pt x="114" y="106"/>
                  </a:lnTo>
                  <a:lnTo>
                    <a:pt x="113" y="103"/>
                  </a:lnTo>
                  <a:lnTo>
                    <a:pt x="112" y="102"/>
                  </a:lnTo>
                  <a:lnTo>
                    <a:pt x="79" y="70"/>
                  </a:lnTo>
                  <a:lnTo>
                    <a:pt x="79" y="70"/>
                  </a:lnTo>
                  <a:lnTo>
                    <a:pt x="84" y="64"/>
                  </a:lnTo>
                  <a:lnTo>
                    <a:pt x="86" y="58"/>
                  </a:lnTo>
                  <a:lnTo>
                    <a:pt x="89" y="51"/>
                  </a:lnTo>
                  <a:lnTo>
                    <a:pt x="89" y="43"/>
                  </a:lnTo>
                  <a:lnTo>
                    <a:pt x="89" y="43"/>
                  </a:lnTo>
                  <a:lnTo>
                    <a:pt x="88" y="35"/>
                  </a:lnTo>
                  <a:lnTo>
                    <a:pt x="85" y="27"/>
                  </a:lnTo>
                  <a:lnTo>
                    <a:pt x="81" y="19"/>
                  </a:lnTo>
                  <a:lnTo>
                    <a:pt x="75" y="12"/>
                  </a:lnTo>
                  <a:lnTo>
                    <a:pt x="70" y="7"/>
                  </a:lnTo>
                  <a:lnTo>
                    <a:pt x="62" y="3"/>
                  </a:lnTo>
                  <a:lnTo>
                    <a:pt x="54" y="0"/>
                  </a:lnTo>
                  <a:lnTo>
                    <a:pt x="45" y="0"/>
                  </a:lnTo>
                  <a:lnTo>
                    <a:pt x="45" y="0"/>
                  </a:lnTo>
                  <a:lnTo>
                    <a:pt x="36" y="0"/>
                  </a:lnTo>
                  <a:lnTo>
                    <a:pt x="27" y="3"/>
                  </a:lnTo>
                  <a:lnTo>
                    <a:pt x="20" y="7"/>
                  </a:lnTo>
                  <a:lnTo>
                    <a:pt x="14" y="12"/>
                  </a:lnTo>
                  <a:lnTo>
                    <a:pt x="8" y="19"/>
                  </a:lnTo>
                  <a:lnTo>
                    <a:pt x="4" y="27"/>
                  </a:lnTo>
                  <a:lnTo>
                    <a:pt x="2" y="35"/>
                  </a:lnTo>
                  <a:lnTo>
                    <a:pt x="0" y="43"/>
                  </a:lnTo>
                  <a:lnTo>
                    <a:pt x="0" y="43"/>
                  </a:lnTo>
                  <a:lnTo>
                    <a:pt x="2" y="52"/>
                  </a:lnTo>
                  <a:lnTo>
                    <a:pt x="4" y="60"/>
                  </a:lnTo>
                  <a:lnTo>
                    <a:pt x="8" y="68"/>
                  </a:lnTo>
                  <a:lnTo>
                    <a:pt x="14" y="75"/>
                  </a:lnTo>
                  <a:lnTo>
                    <a:pt x="20" y="80"/>
                  </a:lnTo>
                  <a:lnTo>
                    <a:pt x="27" y="85"/>
                  </a:lnTo>
                  <a:lnTo>
                    <a:pt x="36" y="86"/>
                  </a:lnTo>
                  <a:lnTo>
                    <a:pt x="45" y="87"/>
                  </a:lnTo>
                  <a:lnTo>
                    <a:pt x="45"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0" name="Freeform 143"/>
            <p:cNvSpPr>
              <a:spLocks/>
            </p:cNvSpPr>
            <p:nvPr/>
          </p:nvSpPr>
          <p:spPr bwMode="auto">
            <a:xfrm>
              <a:off x="4300538" y="2610485"/>
              <a:ext cx="69850" cy="111125"/>
            </a:xfrm>
            <a:custGeom>
              <a:avLst/>
              <a:gdLst>
                <a:gd name="T0" fmla="*/ 44 w 89"/>
                <a:gd name="T1" fmla="*/ 138 h 138"/>
                <a:gd name="T2" fmla="*/ 44 w 89"/>
                <a:gd name="T3" fmla="*/ 138 h 138"/>
                <a:gd name="T4" fmla="*/ 47 w 89"/>
                <a:gd name="T5" fmla="*/ 137 h 138"/>
                <a:gd name="T6" fmla="*/ 48 w 89"/>
                <a:gd name="T7" fmla="*/ 135 h 138"/>
                <a:gd name="T8" fmla="*/ 50 w 89"/>
                <a:gd name="T9" fmla="*/ 134 h 138"/>
                <a:gd name="T10" fmla="*/ 50 w 89"/>
                <a:gd name="T11" fmla="*/ 131 h 138"/>
                <a:gd name="T12" fmla="*/ 50 w 89"/>
                <a:gd name="T13" fmla="*/ 87 h 138"/>
                <a:gd name="T14" fmla="*/ 50 w 89"/>
                <a:gd name="T15" fmla="*/ 87 h 138"/>
                <a:gd name="T16" fmla="*/ 58 w 89"/>
                <a:gd name="T17" fmla="*/ 86 h 138"/>
                <a:gd name="T18" fmla="*/ 66 w 89"/>
                <a:gd name="T19" fmla="*/ 82 h 138"/>
                <a:gd name="T20" fmla="*/ 71 w 89"/>
                <a:gd name="T21" fmla="*/ 78 h 138"/>
                <a:gd name="T22" fmla="*/ 77 w 89"/>
                <a:gd name="T23" fmla="*/ 72 h 138"/>
                <a:gd name="T24" fmla="*/ 82 w 89"/>
                <a:gd name="T25" fmla="*/ 66 h 138"/>
                <a:gd name="T26" fmla="*/ 85 w 89"/>
                <a:gd name="T27" fmla="*/ 59 h 138"/>
                <a:gd name="T28" fmla="*/ 87 w 89"/>
                <a:gd name="T29" fmla="*/ 51 h 138"/>
                <a:gd name="T30" fmla="*/ 89 w 89"/>
                <a:gd name="T31" fmla="*/ 43 h 138"/>
                <a:gd name="T32" fmla="*/ 89 w 89"/>
                <a:gd name="T33" fmla="*/ 43 h 138"/>
                <a:gd name="T34" fmla="*/ 87 w 89"/>
                <a:gd name="T35" fmla="*/ 35 h 138"/>
                <a:gd name="T36" fmla="*/ 85 w 89"/>
                <a:gd name="T37" fmla="*/ 27 h 138"/>
                <a:gd name="T38" fmla="*/ 81 w 89"/>
                <a:gd name="T39" fmla="*/ 18 h 138"/>
                <a:gd name="T40" fmla="*/ 75 w 89"/>
                <a:gd name="T41" fmla="*/ 12 h 138"/>
                <a:gd name="T42" fmla="*/ 69 w 89"/>
                <a:gd name="T43" fmla="*/ 6 h 138"/>
                <a:gd name="T44" fmla="*/ 62 w 89"/>
                <a:gd name="T45" fmla="*/ 2 h 138"/>
                <a:gd name="T46" fmla="*/ 52 w 89"/>
                <a:gd name="T47" fmla="*/ 0 h 138"/>
                <a:gd name="T48" fmla="*/ 44 w 89"/>
                <a:gd name="T49" fmla="*/ 0 h 138"/>
                <a:gd name="T50" fmla="*/ 44 w 89"/>
                <a:gd name="T51" fmla="*/ 0 h 138"/>
                <a:gd name="T52" fmla="*/ 35 w 89"/>
                <a:gd name="T53" fmla="*/ 0 h 138"/>
                <a:gd name="T54" fmla="*/ 27 w 89"/>
                <a:gd name="T55" fmla="*/ 2 h 138"/>
                <a:gd name="T56" fmla="*/ 19 w 89"/>
                <a:gd name="T57" fmla="*/ 6 h 138"/>
                <a:gd name="T58" fmla="*/ 14 w 89"/>
                <a:gd name="T59" fmla="*/ 12 h 138"/>
                <a:gd name="T60" fmla="*/ 8 w 89"/>
                <a:gd name="T61" fmla="*/ 18 h 138"/>
                <a:gd name="T62" fmla="*/ 4 w 89"/>
                <a:gd name="T63" fmla="*/ 27 h 138"/>
                <a:gd name="T64" fmla="*/ 1 w 89"/>
                <a:gd name="T65" fmla="*/ 35 h 138"/>
                <a:gd name="T66" fmla="*/ 0 w 89"/>
                <a:gd name="T67" fmla="*/ 43 h 138"/>
                <a:gd name="T68" fmla="*/ 0 w 89"/>
                <a:gd name="T69" fmla="*/ 43 h 138"/>
                <a:gd name="T70" fmla="*/ 0 w 89"/>
                <a:gd name="T71" fmla="*/ 51 h 138"/>
                <a:gd name="T72" fmla="*/ 3 w 89"/>
                <a:gd name="T73" fmla="*/ 59 h 138"/>
                <a:gd name="T74" fmla="*/ 7 w 89"/>
                <a:gd name="T75" fmla="*/ 66 h 138"/>
                <a:gd name="T76" fmla="*/ 11 w 89"/>
                <a:gd name="T77" fmla="*/ 72 h 138"/>
                <a:gd name="T78" fmla="*/ 16 w 89"/>
                <a:gd name="T79" fmla="*/ 78 h 138"/>
                <a:gd name="T80" fmla="*/ 23 w 89"/>
                <a:gd name="T81" fmla="*/ 82 h 138"/>
                <a:gd name="T82" fmla="*/ 30 w 89"/>
                <a:gd name="T83" fmla="*/ 86 h 138"/>
                <a:gd name="T84" fmla="*/ 38 w 89"/>
                <a:gd name="T85" fmla="*/ 87 h 138"/>
                <a:gd name="T86" fmla="*/ 38 w 89"/>
                <a:gd name="T87" fmla="*/ 131 h 138"/>
                <a:gd name="T88" fmla="*/ 38 w 89"/>
                <a:gd name="T89" fmla="*/ 131 h 138"/>
                <a:gd name="T90" fmla="*/ 38 w 89"/>
                <a:gd name="T91" fmla="*/ 134 h 138"/>
                <a:gd name="T92" fmla="*/ 39 w 89"/>
                <a:gd name="T93" fmla="*/ 135 h 138"/>
                <a:gd name="T94" fmla="*/ 42 w 89"/>
                <a:gd name="T95" fmla="*/ 137 h 138"/>
                <a:gd name="T96" fmla="*/ 44 w 89"/>
                <a:gd name="T97" fmla="*/ 138 h 138"/>
                <a:gd name="T98" fmla="*/ 44 w 89"/>
                <a:gd name="T9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9" h="138">
                  <a:moveTo>
                    <a:pt x="44" y="138"/>
                  </a:moveTo>
                  <a:lnTo>
                    <a:pt x="44" y="138"/>
                  </a:lnTo>
                  <a:lnTo>
                    <a:pt x="47" y="137"/>
                  </a:lnTo>
                  <a:lnTo>
                    <a:pt x="48" y="135"/>
                  </a:lnTo>
                  <a:lnTo>
                    <a:pt x="50" y="134"/>
                  </a:lnTo>
                  <a:lnTo>
                    <a:pt x="50" y="131"/>
                  </a:lnTo>
                  <a:lnTo>
                    <a:pt x="50" y="87"/>
                  </a:lnTo>
                  <a:lnTo>
                    <a:pt x="50" y="87"/>
                  </a:lnTo>
                  <a:lnTo>
                    <a:pt x="58" y="86"/>
                  </a:lnTo>
                  <a:lnTo>
                    <a:pt x="66" y="82"/>
                  </a:lnTo>
                  <a:lnTo>
                    <a:pt x="71" y="78"/>
                  </a:lnTo>
                  <a:lnTo>
                    <a:pt x="77" y="72"/>
                  </a:lnTo>
                  <a:lnTo>
                    <a:pt x="82" y="66"/>
                  </a:lnTo>
                  <a:lnTo>
                    <a:pt x="85" y="59"/>
                  </a:lnTo>
                  <a:lnTo>
                    <a:pt x="87" y="51"/>
                  </a:lnTo>
                  <a:lnTo>
                    <a:pt x="89" y="43"/>
                  </a:lnTo>
                  <a:lnTo>
                    <a:pt x="89" y="43"/>
                  </a:lnTo>
                  <a:lnTo>
                    <a:pt x="87" y="35"/>
                  </a:lnTo>
                  <a:lnTo>
                    <a:pt x="85" y="27"/>
                  </a:lnTo>
                  <a:lnTo>
                    <a:pt x="81" y="18"/>
                  </a:lnTo>
                  <a:lnTo>
                    <a:pt x="75" y="12"/>
                  </a:lnTo>
                  <a:lnTo>
                    <a:pt x="69" y="6"/>
                  </a:lnTo>
                  <a:lnTo>
                    <a:pt x="62" y="2"/>
                  </a:lnTo>
                  <a:lnTo>
                    <a:pt x="52" y="0"/>
                  </a:lnTo>
                  <a:lnTo>
                    <a:pt x="44" y="0"/>
                  </a:lnTo>
                  <a:lnTo>
                    <a:pt x="44" y="0"/>
                  </a:lnTo>
                  <a:lnTo>
                    <a:pt x="35" y="0"/>
                  </a:lnTo>
                  <a:lnTo>
                    <a:pt x="27" y="2"/>
                  </a:lnTo>
                  <a:lnTo>
                    <a:pt x="19" y="6"/>
                  </a:lnTo>
                  <a:lnTo>
                    <a:pt x="14" y="12"/>
                  </a:lnTo>
                  <a:lnTo>
                    <a:pt x="8" y="18"/>
                  </a:lnTo>
                  <a:lnTo>
                    <a:pt x="4" y="27"/>
                  </a:lnTo>
                  <a:lnTo>
                    <a:pt x="1" y="35"/>
                  </a:lnTo>
                  <a:lnTo>
                    <a:pt x="0" y="43"/>
                  </a:lnTo>
                  <a:lnTo>
                    <a:pt x="0" y="43"/>
                  </a:lnTo>
                  <a:lnTo>
                    <a:pt x="0" y="51"/>
                  </a:lnTo>
                  <a:lnTo>
                    <a:pt x="3" y="59"/>
                  </a:lnTo>
                  <a:lnTo>
                    <a:pt x="7" y="66"/>
                  </a:lnTo>
                  <a:lnTo>
                    <a:pt x="11" y="72"/>
                  </a:lnTo>
                  <a:lnTo>
                    <a:pt x="16" y="78"/>
                  </a:lnTo>
                  <a:lnTo>
                    <a:pt x="23" y="82"/>
                  </a:lnTo>
                  <a:lnTo>
                    <a:pt x="30" y="86"/>
                  </a:lnTo>
                  <a:lnTo>
                    <a:pt x="38" y="87"/>
                  </a:lnTo>
                  <a:lnTo>
                    <a:pt x="38" y="131"/>
                  </a:lnTo>
                  <a:lnTo>
                    <a:pt x="38" y="131"/>
                  </a:lnTo>
                  <a:lnTo>
                    <a:pt x="38" y="134"/>
                  </a:lnTo>
                  <a:lnTo>
                    <a:pt x="39" y="135"/>
                  </a:lnTo>
                  <a:lnTo>
                    <a:pt x="42" y="137"/>
                  </a:lnTo>
                  <a:lnTo>
                    <a:pt x="44" y="138"/>
                  </a:lnTo>
                  <a:lnTo>
                    <a:pt x="44" y="1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1" name="Freeform 144"/>
            <p:cNvSpPr>
              <a:spLocks/>
            </p:cNvSpPr>
            <p:nvPr/>
          </p:nvSpPr>
          <p:spPr bwMode="auto">
            <a:xfrm>
              <a:off x="4400551" y="2661285"/>
              <a:ext cx="90488" cy="88900"/>
            </a:xfrm>
            <a:custGeom>
              <a:avLst/>
              <a:gdLst>
                <a:gd name="T0" fmla="*/ 69 w 113"/>
                <a:gd name="T1" fmla="*/ 0 h 113"/>
                <a:gd name="T2" fmla="*/ 69 w 113"/>
                <a:gd name="T3" fmla="*/ 0 h 113"/>
                <a:gd name="T4" fmla="*/ 61 w 113"/>
                <a:gd name="T5" fmla="*/ 0 h 113"/>
                <a:gd name="T6" fmla="*/ 53 w 113"/>
                <a:gd name="T7" fmla="*/ 3 h 113"/>
                <a:gd name="T8" fmla="*/ 45 w 113"/>
                <a:gd name="T9" fmla="*/ 7 h 113"/>
                <a:gd name="T10" fmla="*/ 38 w 113"/>
                <a:gd name="T11" fmla="*/ 12 h 113"/>
                <a:gd name="T12" fmla="*/ 33 w 113"/>
                <a:gd name="T13" fmla="*/ 19 h 113"/>
                <a:gd name="T14" fmla="*/ 29 w 113"/>
                <a:gd name="T15" fmla="*/ 27 h 113"/>
                <a:gd name="T16" fmla="*/ 26 w 113"/>
                <a:gd name="T17" fmla="*/ 35 h 113"/>
                <a:gd name="T18" fmla="*/ 25 w 113"/>
                <a:gd name="T19" fmla="*/ 43 h 113"/>
                <a:gd name="T20" fmla="*/ 25 w 113"/>
                <a:gd name="T21" fmla="*/ 43 h 113"/>
                <a:gd name="T22" fmla="*/ 26 w 113"/>
                <a:gd name="T23" fmla="*/ 51 h 113"/>
                <a:gd name="T24" fmla="*/ 27 w 113"/>
                <a:gd name="T25" fmla="*/ 58 h 113"/>
                <a:gd name="T26" fmla="*/ 30 w 113"/>
                <a:gd name="T27" fmla="*/ 64 h 113"/>
                <a:gd name="T28" fmla="*/ 34 w 113"/>
                <a:gd name="T29" fmla="*/ 70 h 113"/>
                <a:gd name="T30" fmla="*/ 2 w 113"/>
                <a:gd name="T31" fmla="*/ 102 h 113"/>
                <a:gd name="T32" fmla="*/ 2 w 113"/>
                <a:gd name="T33" fmla="*/ 102 h 113"/>
                <a:gd name="T34" fmla="*/ 0 w 113"/>
                <a:gd name="T35" fmla="*/ 103 h 113"/>
                <a:gd name="T36" fmla="*/ 0 w 113"/>
                <a:gd name="T37" fmla="*/ 106 h 113"/>
                <a:gd name="T38" fmla="*/ 0 w 113"/>
                <a:gd name="T39" fmla="*/ 109 h 113"/>
                <a:gd name="T40" fmla="*/ 2 w 113"/>
                <a:gd name="T41" fmla="*/ 111 h 113"/>
                <a:gd name="T42" fmla="*/ 2 w 113"/>
                <a:gd name="T43" fmla="*/ 111 h 113"/>
                <a:gd name="T44" fmla="*/ 4 w 113"/>
                <a:gd name="T45" fmla="*/ 113 h 113"/>
                <a:gd name="T46" fmla="*/ 6 w 113"/>
                <a:gd name="T47" fmla="*/ 113 h 113"/>
                <a:gd name="T48" fmla="*/ 6 w 113"/>
                <a:gd name="T49" fmla="*/ 113 h 113"/>
                <a:gd name="T50" fmla="*/ 8 w 113"/>
                <a:gd name="T51" fmla="*/ 113 h 113"/>
                <a:gd name="T52" fmla="*/ 11 w 113"/>
                <a:gd name="T53" fmla="*/ 111 h 113"/>
                <a:gd name="T54" fmla="*/ 43 w 113"/>
                <a:gd name="T55" fmla="*/ 79 h 113"/>
                <a:gd name="T56" fmla="*/ 43 w 113"/>
                <a:gd name="T57" fmla="*/ 79 h 113"/>
                <a:gd name="T58" fmla="*/ 49 w 113"/>
                <a:gd name="T59" fmla="*/ 82 h 113"/>
                <a:gd name="T60" fmla="*/ 56 w 113"/>
                <a:gd name="T61" fmla="*/ 85 h 113"/>
                <a:gd name="T62" fmla="*/ 62 w 113"/>
                <a:gd name="T63" fmla="*/ 87 h 113"/>
                <a:gd name="T64" fmla="*/ 69 w 113"/>
                <a:gd name="T65" fmla="*/ 87 h 113"/>
                <a:gd name="T66" fmla="*/ 69 w 113"/>
                <a:gd name="T67" fmla="*/ 87 h 113"/>
                <a:gd name="T68" fmla="*/ 78 w 113"/>
                <a:gd name="T69" fmla="*/ 86 h 113"/>
                <a:gd name="T70" fmla="*/ 86 w 113"/>
                <a:gd name="T71" fmla="*/ 85 h 113"/>
                <a:gd name="T72" fmla="*/ 94 w 113"/>
                <a:gd name="T73" fmla="*/ 80 h 113"/>
                <a:gd name="T74" fmla="*/ 100 w 113"/>
                <a:gd name="T75" fmla="*/ 75 h 113"/>
                <a:gd name="T76" fmla="*/ 107 w 113"/>
                <a:gd name="T77" fmla="*/ 68 h 113"/>
                <a:gd name="T78" fmla="*/ 111 w 113"/>
                <a:gd name="T79" fmla="*/ 60 h 113"/>
                <a:gd name="T80" fmla="*/ 112 w 113"/>
                <a:gd name="T81" fmla="*/ 52 h 113"/>
                <a:gd name="T82" fmla="*/ 113 w 113"/>
                <a:gd name="T83" fmla="*/ 43 h 113"/>
                <a:gd name="T84" fmla="*/ 113 w 113"/>
                <a:gd name="T85" fmla="*/ 43 h 113"/>
                <a:gd name="T86" fmla="*/ 112 w 113"/>
                <a:gd name="T87" fmla="*/ 35 h 113"/>
                <a:gd name="T88" fmla="*/ 111 w 113"/>
                <a:gd name="T89" fmla="*/ 27 h 113"/>
                <a:gd name="T90" fmla="*/ 107 w 113"/>
                <a:gd name="T91" fmla="*/ 19 h 113"/>
                <a:gd name="T92" fmla="*/ 100 w 113"/>
                <a:gd name="T93" fmla="*/ 12 h 113"/>
                <a:gd name="T94" fmla="*/ 94 w 113"/>
                <a:gd name="T95" fmla="*/ 7 h 113"/>
                <a:gd name="T96" fmla="*/ 86 w 113"/>
                <a:gd name="T97" fmla="*/ 3 h 113"/>
                <a:gd name="T98" fmla="*/ 78 w 113"/>
                <a:gd name="T99" fmla="*/ 0 h 113"/>
                <a:gd name="T100" fmla="*/ 69 w 113"/>
                <a:gd name="T101" fmla="*/ 0 h 113"/>
                <a:gd name="T102" fmla="*/ 69 w 113"/>
                <a:gd name="T103"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3" h="113">
                  <a:moveTo>
                    <a:pt x="69" y="0"/>
                  </a:moveTo>
                  <a:lnTo>
                    <a:pt x="69" y="0"/>
                  </a:lnTo>
                  <a:lnTo>
                    <a:pt x="61" y="0"/>
                  </a:lnTo>
                  <a:lnTo>
                    <a:pt x="53" y="3"/>
                  </a:lnTo>
                  <a:lnTo>
                    <a:pt x="45" y="7"/>
                  </a:lnTo>
                  <a:lnTo>
                    <a:pt x="38" y="12"/>
                  </a:lnTo>
                  <a:lnTo>
                    <a:pt x="33" y="19"/>
                  </a:lnTo>
                  <a:lnTo>
                    <a:pt x="29" y="27"/>
                  </a:lnTo>
                  <a:lnTo>
                    <a:pt x="26" y="35"/>
                  </a:lnTo>
                  <a:lnTo>
                    <a:pt x="25" y="43"/>
                  </a:lnTo>
                  <a:lnTo>
                    <a:pt x="25" y="43"/>
                  </a:lnTo>
                  <a:lnTo>
                    <a:pt x="26" y="51"/>
                  </a:lnTo>
                  <a:lnTo>
                    <a:pt x="27" y="58"/>
                  </a:lnTo>
                  <a:lnTo>
                    <a:pt x="30" y="64"/>
                  </a:lnTo>
                  <a:lnTo>
                    <a:pt x="34" y="70"/>
                  </a:lnTo>
                  <a:lnTo>
                    <a:pt x="2" y="102"/>
                  </a:lnTo>
                  <a:lnTo>
                    <a:pt x="2" y="102"/>
                  </a:lnTo>
                  <a:lnTo>
                    <a:pt x="0" y="103"/>
                  </a:lnTo>
                  <a:lnTo>
                    <a:pt x="0" y="106"/>
                  </a:lnTo>
                  <a:lnTo>
                    <a:pt x="0" y="109"/>
                  </a:lnTo>
                  <a:lnTo>
                    <a:pt x="2" y="111"/>
                  </a:lnTo>
                  <a:lnTo>
                    <a:pt x="2" y="111"/>
                  </a:lnTo>
                  <a:lnTo>
                    <a:pt x="4" y="113"/>
                  </a:lnTo>
                  <a:lnTo>
                    <a:pt x="6" y="113"/>
                  </a:lnTo>
                  <a:lnTo>
                    <a:pt x="6" y="113"/>
                  </a:lnTo>
                  <a:lnTo>
                    <a:pt x="8" y="113"/>
                  </a:lnTo>
                  <a:lnTo>
                    <a:pt x="11" y="111"/>
                  </a:lnTo>
                  <a:lnTo>
                    <a:pt x="43" y="79"/>
                  </a:lnTo>
                  <a:lnTo>
                    <a:pt x="43" y="79"/>
                  </a:lnTo>
                  <a:lnTo>
                    <a:pt x="49" y="82"/>
                  </a:lnTo>
                  <a:lnTo>
                    <a:pt x="56" y="85"/>
                  </a:lnTo>
                  <a:lnTo>
                    <a:pt x="62" y="87"/>
                  </a:lnTo>
                  <a:lnTo>
                    <a:pt x="69" y="87"/>
                  </a:lnTo>
                  <a:lnTo>
                    <a:pt x="69" y="87"/>
                  </a:lnTo>
                  <a:lnTo>
                    <a:pt x="78" y="86"/>
                  </a:lnTo>
                  <a:lnTo>
                    <a:pt x="86" y="85"/>
                  </a:lnTo>
                  <a:lnTo>
                    <a:pt x="94" y="80"/>
                  </a:lnTo>
                  <a:lnTo>
                    <a:pt x="100" y="75"/>
                  </a:lnTo>
                  <a:lnTo>
                    <a:pt x="107" y="68"/>
                  </a:lnTo>
                  <a:lnTo>
                    <a:pt x="111" y="60"/>
                  </a:lnTo>
                  <a:lnTo>
                    <a:pt x="112" y="52"/>
                  </a:lnTo>
                  <a:lnTo>
                    <a:pt x="113" y="43"/>
                  </a:lnTo>
                  <a:lnTo>
                    <a:pt x="113" y="43"/>
                  </a:lnTo>
                  <a:lnTo>
                    <a:pt x="112" y="35"/>
                  </a:lnTo>
                  <a:lnTo>
                    <a:pt x="111" y="27"/>
                  </a:lnTo>
                  <a:lnTo>
                    <a:pt x="107" y="19"/>
                  </a:lnTo>
                  <a:lnTo>
                    <a:pt x="100" y="12"/>
                  </a:lnTo>
                  <a:lnTo>
                    <a:pt x="94" y="7"/>
                  </a:lnTo>
                  <a:lnTo>
                    <a:pt x="86" y="3"/>
                  </a:lnTo>
                  <a:lnTo>
                    <a:pt x="78" y="0"/>
                  </a:lnTo>
                  <a:lnTo>
                    <a:pt x="69" y="0"/>
                  </a:lnTo>
                  <a:lnTo>
                    <a:pt x="6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2" name="Freeform 145"/>
            <p:cNvSpPr>
              <a:spLocks/>
            </p:cNvSpPr>
            <p:nvPr/>
          </p:nvSpPr>
          <p:spPr bwMode="auto">
            <a:xfrm>
              <a:off x="4279901" y="2750185"/>
              <a:ext cx="109538" cy="120650"/>
            </a:xfrm>
            <a:custGeom>
              <a:avLst/>
              <a:gdLst>
                <a:gd name="T0" fmla="*/ 69 w 138"/>
                <a:gd name="T1" fmla="*/ 0 h 150"/>
                <a:gd name="T2" fmla="*/ 69 w 138"/>
                <a:gd name="T3" fmla="*/ 0 h 150"/>
                <a:gd name="T4" fmla="*/ 55 w 138"/>
                <a:gd name="T5" fmla="*/ 1 h 150"/>
                <a:gd name="T6" fmla="*/ 43 w 138"/>
                <a:gd name="T7" fmla="*/ 5 h 150"/>
                <a:gd name="T8" fmla="*/ 30 w 138"/>
                <a:gd name="T9" fmla="*/ 12 h 150"/>
                <a:gd name="T10" fmla="*/ 20 w 138"/>
                <a:gd name="T11" fmla="*/ 20 h 150"/>
                <a:gd name="T12" fmla="*/ 12 w 138"/>
                <a:gd name="T13" fmla="*/ 31 h 150"/>
                <a:gd name="T14" fmla="*/ 5 w 138"/>
                <a:gd name="T15" fmla="*/ 41 h 150"/>
                <a:gd name="T16" fmla="*/ 1 w 138"/>
                <a:gd name="T17" fmla="*/ 55 h 150"/>
                <a:gd name="T18" fmla="*/ 0 w 138"/>
                <a:gd name="T19" fmla="*/ 68 h 150"/>
                <a:gd name="T20" fmla="*/ 0 w 138"/>
                <a:gd name="T21" fmla="*/ 82 h 150"/>
                <a:gd name="T22" fmla="*/ 0 w 138"/>
                <a:gd name="T23" fmla="*/ 82 h 150"/>
                <a:gd name="T24" fmla="*/ 1 w 138"/>
                <a:gd name="T25" fmla="*/ 95 h 150"/>
                <a:gd name="T26" fmla="*/ 5 w 138"/>
                <a:gd name="T27" fmla="*/ 109 h 150"/>
                <a:gd name="T28" fmla="*/ 12 w 138"/>
                <a:gd name="T29" fmla="*/ 121 h 150"/>
                <a:gd name="T30" fmla="*/ 20 w 138"/>
                <a:gd name="T31" fmla="*/ 130 h 150"/>
                <a:gd name="T32" fmla="*/ 30 w 138"/>
                <a:gd name="T33" fmla="*/ 140 h 150"/>
                <a:gd name="T34" fmla="*/ 43 w 138"/>
                <a:gd name="T35" fmla="*/ 145 h 150"/>
                <a:gd name="T36" fmla="*/ 55 w 138"/>
                <a:gd name="T37" fmla="*/ 149 h 150"/>
                <a:gd name="T38" fmla="*/ 69 w 138"/>
                <a:gd name="T39" fmla="*/ 150 h 150"/>
                <a:gd name="T40" fmla="*/ 69 w 138"/>
                <a:gd name="T41" fmla="*/ 150 h 150"/>
                <a:gd name="T42" fmla="*/ 83 w 138"/>
                <a:gd name="T43" fmla="*/ 149 h 150"/>
                <a:gd name="T44" fmla="*/ 96 w 138"/>
                <a:gd name="T45" fmla="*/ 145 h 150"/>
                <a:gd name="T46" fmla="*/ 108 w 138"/>
                <a:gd name="T47" fmla="*/ 140 h 150"/>
                <a:gd name="T48" fmla="*/ 118 w 138"/>
                <a:gd name="T49" fmla="*/ 130 h 150"/>
                <a:gd name="T50" fmla="*/ 127 w 138"/>
                <a:gd name="T51" fmla="*/ 121 h 150"/>
                <a:gd name="T52" fmla="*/ 133 w 138"/>
                <a:gd name="T53" fmla="*/ 109 h 150"/>
                <a:gd name="T54" fmla="*/ 137 w 138"/>
                <a:gd name="T55" fmla="*/ 95 h 150"/>
                <a:gd name="T56" fmla="*/ 138 w 138"/>
                <a:gd name="T57" fmla="*/ 82 h 150"/>
                <a:gd name="T58" fmla="*/ 138 w 138"/>
                <a:gd name="T59" fmla="*/ 68 h 150"/>
                <a:gd name="T60" fmla="*/ 138 w 138"/>
                <a:gd name="T61" fmla="*/ 68 h 150"/>
                <a:gd name="T62" fmla="*/ 137 w 138"/>
                <a:gd name="T63" fmla="*/ 55 h 150"/>
                <a:gd name="T64" fmla="*/ 133 w 138"/>
                <a:gd name="T65" fmla="*/ 41 h 150"/>
                <a:gd name="T66" fmla="*/ 127 w 138"/>
                <a:gd name="T67" fmla="*/ 31 h 150"/>
                <a:gd name="T68" fmla="*/ 118 w 138"/>
                <a:gd name="T69" fmla="*/ 20 h 150"/>
                <a:gd name="T70" fmla="*/ 108 w 138"/>
                <a:gd name="T71" fmla="*/ 12 h 150"/>
                <a:gd name="T72" fmla="*/ 96 w 138"/>
                <a:gd name="T73" fmla="*/ 5 h 150"/>
                <a:gd name="T74" fmla="*/ 83 w 138"/>
                <a:gd name="T75" fmla="*/ 1 h 150"/>
                <a:gd name="T76" fmla="*/ 69 w 138"/>
                <a:gd name="T77" fmla="*/ 0 h 150"/>
                <a:gd name="T78" fmla="*/ 69 w 138"/>
                <a:gd name="T7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8" h="150">
                  <a:moveTo>
                    <a:pt x="69" y="0"/>
                  </a:moveTo>
                  <a:lnTo>
                    <a:pt x="69" y="0"/>
                  </a:lnTo>
                  <a:lnTo>
                    <a:pt x="55" y="1"/>
                  </a:lnTo>
                  <a:lnTo>
                    <a:pt x="43" y="5"/>
                  </a:lnTo>
                  <a:lnTo>
                    <a:pt x="30" y="12"/>
                  </a:lnTo>
                  <a:lnTo>
                    <a:pt x="20" y="20"/>
                  </a:lnTo>
                  <a:lnTo>
                    <a:pt x="12" y="31"/>
                  </a:lnTo>
                  <a:lnTo>
                    <a:pt x="5" y="41"/>
                  </a:lnTo>
                  <a:lnTo>
                    <a:pt x="1" y="55"/>
                  </a:lnTo>
                  <a:lnTo>
                    <a:pt x="0" y="68"/>
                  </a:lnTo>
                  <a:lnTo>
                    <a:pt x="0" y="82"/>
                  </a:lnTo>
                  <a:lnTo>
                    <a:pt x="0" y="82"/>
                  </a:lnTo>
                  <a:lnTo>
                    <a:pt x="1" y="95"/>
                  </a:lnTo>
                  <a:lnTo>
                    <a:pt x="5" y="109"/>
                  </a:lnTo>
                  <a:lnTo>
                    <a:pt x="12" y="121"/>
                  </a:lnTo>
                  <a:lnTo>
                    <a:pt x="20" y="130"/>
                  </a:lnTo>
                  <a:lnTo>
                    <a:pt x="30" y="140"/>
                  </a:lnTo>
                  <a:lnTo>
                    <a:pt x="43" y="145"/>
                  </a:lnTo>
                  <a:lnTo>
                    <a:pt x="55" y="149"/>
                  </a:lnTo>
                  <a:lnTo>
                    <a:pt x="69" y="150"/>
                  </a:lnTo>
                  <a:lnTo>
                    <a:pt x="69" y="150"/>
                  </a:lnTo>
                  <a:lnTo>
                    <a:pt x="83" y="149"/>
                  </a:lnTo>
                  <a:lnTo>
                    <a:pt x="96" y="145"/>
                  </a:lnTo>
                  <a:lnTo>
                    <a:pt x="108" y="140"/>
                  </a:lnTo>
                  <a:lnTo>
                    <a:pt x="118" y="130"/>
                  </a:lnTo>
                  <a:lnTo>
                    <a:pt x="127" y="121"/>
                  </a:lnTo>
                  <a:lnTo>
                    <a:pt x="133" y="109"/>
                  </a:lnTo>
                  <a:lnTo>
                    <a:pt x="137" y="95"/>
                  </a:lnTo>
                  <a:lnTo>
                    <a:pt x="138" y="82"/>
                  </a:lnTo>
                  <a:lnTo>
                    <a:pt x="138" y="68"/>
                  </a:lnTo>
                  <a:lnTo>
                    <a:pt x="138" y="68"/>
                  </a:lnTo>
                  <a:lnTo>
                    <a:pt x="137" y="55"/>
                  </a:lnTo>
                  <a:lnTo>
                    <a:pt x="133" y="41"/>
                  </a:lnTo>
                  <a:lnTo>
                    <a:pt x="127" y="31"/>
                  </a:lnTo>
                  <a:lnTo>
                    <a:pt x="118" y="20"/>
                  </a:lnTo>
                  <a:lnTo>
                    <a:pt x="108" y="12"/>
                  </a:lnTo>
                  <a:lnTo>
                    <a:pt x="96" y="5"/>
                  </a:lnTo>
                  <a:lnTo>
                    <a:pt x="83" y="1"/>
                  </a:lnTo>
                  <a:lnTo>
                    <a:pt x="69" y="0"/>
                  </a:lnTo>
                  <a:lnTo>
                    <a:pt x="6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3" name="Freeform 146"/>
            <p:cNvSpPr>
              <a:spLocks/>
            </p:cNvSpPr>
            <p:nvPr/>
          </p:nvSpPr>
          <p:spPr bwMode="auto">
            <a:xfrm>
              <a:off x="4240213" y="2858135"/>
              <a:ext cx="190500" cy="61913"/>
            </a:xfrm>
            <a:custGeom>
              <a:avLst/>
              <a:gdLst>
                <a:gd name="T0" fmla="*/ 119 w 239"/>
                <a:gd name="T1" fmla="*/ 28 h 77"/>
                <a:gd name="T2" fmla="*/ 119 w 239"/>
                <a:gd name="T3" fmla="*/ 28 h 77"/>
                <a:gd name="T4" fmla="*/ 110 w 239"/>
                <a:gd name="T5" fmla="*/ 26 h 77"/>
                <a:gd name="T6" fmla="*/ 101 w 239"/>
                <a:gd name="T7" fmla="*/ 25 h 77"/>
                <a:gd name="T8" fmla="*/ 93 w 239"/>
                <a:gd name="T9" fmla="*/ 24 h 77"/>
                <a:gd name="T10" fmla="*/ 84 w 239"/>
                <a:gd name="T11" fmla="*/ 20 h 77"/>
                <a:gd name="T12" fmla="*/ 76 w 239"/>
                <a:gd name="T13" fmla="*/ 16 h 77"/>
                <a:gd name="T14" fmla="*/ 70 w 239"/>
                <a:gd name="T15" fmla="*/ 10 h 77"/>
                <a:gd name="T16" fmla="*/ 63 w 239"/>
                <a:gd name="T17" fmla="*/ 5 h 77"/>
                <a:gd name="T18" fmla="*/ 58 w 239"/>
                <a:gd name="T19" fmla="*/ 0 h 77"/>
                <a:gd name="T20" fmla="*/ 2 w 239"/>
                <a:gd name="T21" fmla="*/ 28 h 77"/>
                <a:gd name="T22" fmla="*/ 2 w 239"/>
                <a:gd name="T23" fmla="*/ 28 h 77"/>
                <a:gd name="T24" fmla="*/ 0 w 239"/>
                <a:gd name="T25" fmla="*/ 30 h 77"/>
                <a:gd name="T26" fmla="*/ 0 w 239"/>
                <a:gd name="T27" fmla="*/ 34 h 77"/>
                <a:gd name="T28" fmla="*/ 0 w 239"/>
                <a:gd name="T29" fmla="*/ 72 h 77"/>
                <a:gd name="T30" fmla="*/ 0 w 239"/>
                <a:gd name="T31" fmla="*/ 72 h 77"/>
                <a:gd name="T32" fmla="*/ 0 w 239"/>
                <a:gd name="T33" fmla="*/ 73 h 77"/>
                <a:gd name="T34" fmla="*/ 1 w 239"/>
                <a:gd name="T35" fmla="*/ 76 h 77"/>
                <a:gd name="T36" fmla="*/ 4 w 239"/>
                <a:gd name="T37" fmla="*/ 77 h 77"/>
                <a:gd name="T38" fmla="*/ 5 w 239"/>
                <a:gd name="T39" fmla="*/ 77 h 77"/>
                <a:gd name="T40" fmla="*/ 232 w 239"/>
                <a:gd name="T41" fmla="*/ 77 h 77"/>
                <a:gd name="T42" fmla="*/ 232 w 239"/>
                <a:gd name="T43" fmla="*/ 77 h 77"/>
                <a:gd name="T44" fmla="*/ 235 w 239"/>
                <a:gd name="T45" fmla="*/ 77 h 77"/>
                <a:gd name="T46" fmla="*/ 236 w 239"/>
                <a:gd name="T47" fmla="*/ 76 h 77"/>
                <a:gd name="T48" fmla="*/ 238 w 239"/>
                <a:gd name="T49" fmla="*/ 73 h 77"/>
                <a:gd name="T50" fmla="*/ 239 w 239"/>
                <a:gd name="T51" fmla="*/ 72 h 77"/>
                <a:gd name="T52" fmla="*/ 239 w 239"/>
                <a:gd name="T53" fmla="*/ 34 h 77"/>
                <a:gd name="T54" fmla="*/ 239 w 239"/>
                <a:gd name="T55" fmla="*/ 34 h 77"/>
                <a:gd name="T56" fmla="*/ 238 w 239"/>
                <a:gd name="T57" fmla="*/ 30 h 77"/>
                <a:gd name="T58" fmla="*/ 235 w 239"/>
                <a:gd name="T59" fmla="*/ 28 h 77"/>
                <a:gd name="T60" fmla="*/ 181 w 239"/>
                <a:gd name="T61" fmla="*/ 0 h 77"/>
                <a:gd name="T62" fmla="*/ 181 w 239"/>
                <a:gd name="T63" fmla="*/ 0 h 77"/>
                <a:gd name="T64" fmla="*/ 175 w 239"/>
                <a:gd name="T65" fmla="*/ 5 h 77"/>
                <a:gd name="T66" fmla="*/ 168 w 239"/>
                <a:gd name="T67" fmla="*/ 10 h 77"/>
                <a:gd name="T68" fmla="*/ 161 w 239"/>
                <a:gd name="T69" fmla="*/ 16 h 77"/>
                <a:gd name="T70" fmla="*/ 153 w 239"/>
                <a:gd name="T71" fmla="*/ 20 h 77"/>
                <a:gd name="T72" fmla="*/ 145 w 239"/>
                <a:gd name="T73" fmla="*/ 24 h 77"/>
                <a:gd name="T74" fmla="*/ 137 w 239"/>
                <a:gd name="T75" fmla="*/ 25 h 77"/>
                <a:gd name="T76" fmla="*/ 129 w 239"/>
                <a:gd name="T77" fmla="*/ 26 h 77"/>
                <a:gd name="T78" fmla="*/ 119 w 239"/>
                <a:gd name="T79" fmla="*/ 28 h 77"/>
                <a:gd name="T80" fmla="*/ 119 w 239"/>
                <a:gd name="T81" fmla="*/ 2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9" h="77">
                  <a:moveTo>
                    <a:pt x="119" y="28"/>
                  </a:moveTo>
                  <a:lnTo>
                    <a:pt x="119" y="28"/>
                  </a:lnTo>
                  <a:lnTo>
                    <a:pt x="110" y="26"/>
                  </a:lnTo>
                  <a:lnTo>
                    <a:pt x="101" y="25"/>
                  </a:lnTo>
                  <a:lnTo>
                    <a:pt x="93" y="24"/>
                  </a:lnTo>
                  <a:lnTo>
                    <a:pt x="84" y="20"/>
                  </a:lnTo>
                  <a:lnTo>
                    <a:pt x="76" y="16"/>
                  </a:lnTo>
                  <a:lnTo>
                    <a:pt x="70" y="10"/>
                  </a:lnTo>
                  <a:lnTo>
                    <a:pt x="63" y="5"/>
                  </a:lnTo>
                  <a:lnTo>
                    <a:pt x="58" y="0"/>
                  </a:lnTo>
                  <a:lnTo>
                    <a:pt x="2" y="28"/>
                  </a:lnTo>
                  <a:lnTo>
                    <a:pt x="2" y="28"/>
                  </a:lnTo>
                  <a:lnTo>
                    <a:pt x="0" y="30"/>
                  </a:lnTo>
                  <a:lnTo>
                    <a:pt x="0" y="34"/>
                  </a:lnTo>
                  <a:lnTo>
                    <a:pt x="0" y="72"/>
                  </a:lnTo>
                  <a:lnTo>
                    <a:pt x="0" y="72"/>
                  </a:lnTo>
                  <a:lnTo>
                    <a:pt x="0" y="73"/>
                  </a:lnTo>
                  <a:lnTo>
                    <a:pt x="1" y="76"/>
                  </a:lnTo>
                  <a:lnTo>
                    <a:pt x="4" y="77"/>
                  </a:lnTo>
                  <a:lnTo>
                    <a:pt x="5" y="77"/>
                  </a:lnTo>
                  <a:lnTo>
                    <a:pt x="232" y="77"/>
                  </a:lnTo>
                  <a:lnTo>
                    <a:pt x="232" y="77"/>
                  </a:lnTo>
                  <a:lnTo>
                    <a:pt x="235" y="77"/>
                  </a:lnTo>
                  <a:lnTo>
                    <a:pt x="236" y="76"/>
                  </a:lnTo>
                  <a:lnTo>
                    <a:pt x="238" y="73"/>
                  </a:lnTo>
                  <a:lnTo>
                    <a:pt x="239" y="72"/>
                  </a:lnTo>
                  <a:lnTo>
                    <a:pt x="239" y="34"/>
                  </a:lnTo>
                  <a:lnTo>
                    <a:pt x="239" y="34"/>
                  </a:lnTo>
                  <a:lnTo>
                    <a:pt x="238" y="30"/>
                  </a:lnTo>
                  <a:lnTo>
                    <a:pt x="235" y="28"/>
                  </a:lnTo>
                  <a:lnTo>
                    <a:pt x="181" y="0"/>
                  </a:lnTo>
                  <a:lnTo>
                    <a:pt x="181" y="0"/>
                  </a:lnTo>
                  <a:lnTo>
                    <a:pt x="175" y="5"/>
                  </a:lnTo>
                  <a:lnTo>
                    <a:pt x="168" y="10"/>
                  </a:lnTo>
                  <a:lnTo>
                    <a:pt x="161" y="16"/>
                  </a:lnTo>
                  <a:lnTo>
                    <a:pt x="153" y="20"/>
                  </a:lnTo>
                  <a:lnTo>
                    <a:pt x="145" y="24"/>
                  </a:lnTo>
                  <a:lnTo>
                    <a:pt x="137" y="25"/>
                  </a:lnTo>
                  <a:lnTo>
                    <a:pt x="129" y="26"/>
                  </a:lnTo>
                  <a:lnTo>
                    <a:pt x="119" y="28"/>
                  </a:lnTo>
                  <a:lnTo>
                    <a:pt x="119"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sp>
        <p:nvSpPr>
          <p:cNvPr id="25" name="Rectangle 24"/>
          <p:cNvSpPr/>
          <p:nvPr/>
        </p:nvSpPr>
        <p:spPr>
          <a:xfrm>
            <a:off x="646504" y="2913294"/>
            <a:ext cx="4937760" cy="430887"/>
          </a:xfrm>
          <a:prstGeom prst="rect">
            <a:avLst/>
          </a:prstGeom>
        </p:spPr>
        <p:txBody>
          <a:bodyPr>
            <a:spAutoFit/>
          </a:bodyPr>
          <a:lstStyle/>
          <a:p>
            <a:pPr>
              <a:spcAft>
                <a:spcPts val="600"/>
              </a:spcAft>
            </a:pPr>
            <a:r>
              <a:rPr lang="en-US" sz="1100" dirty="0" smtClean="0"/>
              <a:t>Supported </a:t>
            </a:r>
            <a:r>
              <a:rPr lang="en-US" sz="1100" dirty="0"/>
              <a:t>the development and release of </a:t>
            </a:r>
            <a:r>
              <a:rPr lang="en-US" sz="1100" b="1" dirty="0" smtClean="0"/>
              <a:t>29</a:t>
            </a:r>
            <a:r>
              <a:rPr lang="en-US" sz="1100" dirty="0" smtClean="0"/>
              <a:t> </a:t>
            </a:r>
            <a:r>
              <a:rPr lang="en-US" sz="1100" dirty="0"/>
              <a:t>varieties out of which </a:t>
            </a:r>
            <a:r>
              <a:rPr lang="en-US" sz="1100" dirty="0" smtClean="0"/>
              <a:t>14 </a:t>
            </a:r>
            <a:r>
              <a:rPr lang="en-US" sz="1100" dirty="0"/>
              <a:t>were </a:t>
            </a:r>
            <a:r>
              <a:rPr lang="en-US" sz="1100" dirty="0" smtClean="0"/>
              <a:t>commercialized</a:t>
            </a:r>
            <a:endParaRPr lang="en-US" sz="1100" dirty="0"/>
          </a:p>
        </p:txBody>
      </p:sp>
      <p:sp>
        <p:nvSpPr>
          <p:cNvPr id="26" name="Rectangle 25"/>
          <p:cNvSpPr/>
          <p:nvPr/>
        </p:nvSpPr>
        <p:spPr>
          <a:xfrm>
            <a:off x="607251" y="3470654"/>
            <a:ext cx="4937760" cy="430887"/>
          </a:xfrm>
          <a:prstGeom prst="rect">
            <a:avLst/>
          </a:prstGeom>
        </p:spPr>
        <p:txBody>
          <a:bodyPr>
            <a:spAutoFit/>
          </a:bodyPr>
          <a:lstStyle/>
          <a:p>
            <a:pPr>
              <a:spcAft>
                <a:spcPts val="600"/>
              </a:spcAft>
            </a:pPr>
            <a:r>
              <a:rPr lang="en-US" sz="1100" dirty="0"/>
              <a:t>AGRA trained </a:t>
            </a:r>
            <a:r>
              <a:rPr lang="en-US" sz="1100" b="1" dirty="0"/>
              <a:t>2080 agro-dealers </a:t>
            </a:r>
            <a:r>
              <a:rPr lang="en-US" sz="1100" dirty="0"/>
              <a:t>predominantly from primary cooperatives, out of whom only </a:t>
            </a:r>
            <a:r>
              <a:rPr lang="en-US" sz="1100" b="1" dirty="0"/>
              <a:t>104</a:t>
            </a:r>
            <a:r>
              <a:rPr lang="en-US" sz="1100" dirty="0"/>
              <a:t> were private sector </a:t>
            </a:r>
            <a:r>
              <a:rPr lang="en-US" sz="1100" dirty="0" smtClean="0"/>
              <a:t>dealers. </a:t>
            </a:r>
            <a:endParaRPr lang="en-US" sz="1100" b="1" dirty="0">
              <a:solidFill>
                <a:srgbClr val="FF0000"/>
              </a:solidFill>
            </a:endParaRPr>
          </a:p>
        </p:txBody>
      </p:sp>
      <p:sp>
        <p:nvSpPr>
          <p:cNvPr id="27" name="Rectangle 26"/>
          <p:cNvSpPr/>
          <p:nvPr/>
        </p:nvSpPr>
        <p:spPr>
          <a:xfrm>
            <a:off x="625760" y="4084102"/>
            <a:ext cx="4937760" cy="769441"/>
          </a:xfrm>
          <a:prstGeom prst="rect">
            <a:avLst/>
          </a:prstGeom>
          <a:solidFill>
            <a:schemeClr val="bg1"/>
          </a:solidFill>
        </p:spPr>
        <p:txBody>
          <a:bodyPr>
            <a:spAutoFit/>
          </a:bodyPr>
          <a:lstStyle/>
          <a:p>
            <a:pPr>
              <a:spcAft>
                <a:spcPts val="600"/>
              </a:spcAft>
            </a:pPr>
            <a:r>
              <a:rPr lang="en-US" sz="1100" dirty="0"/>
              <a:t>AGRA trained thousands of farmers on ISFM </a:t>
            </a:r>
            <a:r>
              <a:rPr lang="en-US" sz="1100" dirty="0" smtClean="0"/>
              <a:t>(</a:t>
            </a:r>
            <a:r>
              <a:rPr lang="en-US" sz="1100" b="1" dirty="0" smtClean="0"/>
              <a:t>54,000</a:t>
            </a:r>
            <a:r>
              <a:rPr lang="en-US" sz="1100" dirty="0" smtClean="0"/>
              <a:t> </a:t>
            </a:r>
            <a:r>
              <a:rPr lang="en-US" sz="1100" b="1" dirty="0" smtClean="0"/>
              <a:t>farmers</a:t>
            </a:r>
            <a:r>
              <a:rPr lang="en-US" sz="1100" dirty="0" smtClean="0"/>
              <a:t>), </a:t>
            </a:r>
            <a:r>
              <a:rPr lang="en-US" sz="1100" dirty="0"/>
              <a:t>quality storage and structured trade (over </a:t>
            </a:r>
            <a:r>
              <a:rPr lang="en-US" sz="1100" dirty="0" smtClean="0"/>
              <a:t>28,000 farmers</a:t>
            </a:r>
            <a:r>
              <a:rPr lang="en-US" sz="1100" dirty="0"/>
              <a:t>) as well as farmer organizations on governance, group dynamics and </a:t>
            </a:r>
            <a:r>
              <a:rPr lang="en-US" sz="1100" dirty="0" smtClean="0"/>
              <a:t>leadership and built over 26 storage warehouses</a:t>
            </a:r>
            <a:endParaRPr lang="en-US" sz="1100" dirty="0"/>
          </a:p>
        </p:txBody>
      </p:sp>
      <p:sp>
        <p:nvSpPr>
          <p:cNvPr id="28" name="Rectangle 27"/>
          <p:cNvSpPr/>
          <p:nvPr/>
        </p:nvSpPr>
        <p:spPr>
          <a:xfrm>
            <a:off x="654722" y="5581007"/>
            <a:ext cx="4937760" cy="600164"/>
          </a:xfrm>
          <a:prstGeom prst="rect">
            <a:avLst/>
          </a:prstGeom>
        </p:spPr>
        <p:txBody>
          <a:bodyPr>
            <a:spAutoFit/>
          </a:bodyPr>
          <a:lstStyle/>
          <a:p>
            <a:pPr>
              <a:spcAft>
                <a:spcPts val="600"/>
              </a:spcAft>
            </a:pPr>
            <a:r>
              <a:rPr lang="en-US" sz="1100" dirty="0" smtClean="0"/>
              <a:t>Contributed </a:t>
            </a:r>
            <a:r>
              <a:rPr lang="en-US" sz="1100" dirty="0"/>
              <a:t>to the development and approval </a:t>
            </a:r>
            <a:r>
              <a:rPr lang="en-US" sz="1100" b="1" dirty="0" smtClean="0">
                <a:solidFill>
                  <a:schemeClr val="tx1"/>
                </a:solidFill>
              </a:rPr>
              <a:t>A</a:t>
            </a:r>
            <a:r>
              <a:rPr lang="en-US" sz="1100" b="1" dirty="0" smtClean="0"/>
              <a:t> </a:t>
            </a:r>
            <a:r>
              <a:rPr lang="en-US" sz="1100" b="1" dirty="0"/>
              <a:t>National </a:t>
            </a:r>
            <a:r>
              <a:rPr lang="en-US" sz="1100" b="1" dirty="0" smtClean="0"/>
              <a:t>Seed Policy and a Contract Farming Law, and removal of import duties and taxes on over 90 agricultural inputs and equipment</a:t>
            </a:r>
            <a:r>
              <a:rPr lang="en-US" sz="1100" dirty="0" smtClean="0"/>
              <a:t>.  </a:t>
            </a:r>
            <a:endParaRPr lang="en-US" sz="1100" dirty="0"/>
          </a:p>
        </p:txBody>
      </p:sp>
      <p:grpSp>
        <p:nvGrpSpPr>
          <p:cNvPr id="29" name="Group 28"/>
          <p:cNvGrpSpPr>
            <a:grpSpLocks noChangeAspect="1"/>
          </p:cNvGrpSpPr>
          <p:nvPr/>
        </p:nvGrpSpPr>
        <p:grpSpPr>
          <a:xfrm>
            <a:off x="182155" y="4296910"/>
            <a:ext cx="411480" cy="413805"/>
            <a:chOff x="2436813" y="3460750"/>
            <a:chExt cx="280988" cy="282576"/>
          </a:xfrm>
          <a:solidFill>
            <a:schemeClr val="accent6">
              <a:lumMod val="75000"/>
            </a:schemeClr>
          </a:solidFill>
        </p:grpSpPr>
        <p:sp>
          <p:nvSpPr>
            <p:cNvPr id="30" name="Freeform 275"/>
            <p:cNvSpPr>
              <a:spLocks/>
            </p:cNvSpPr>
            <p:nvPr/>
          </p:nvSpPr>
          <p:spPr bwMode="auto">
            <a:xfrm>
              <a:off x="2501901" y="3492500"/>
              <a:ext cx="215900" cy="215900"/>
            </a:xfrm>
            <a:custGeom>
              <a:avLst/>
              <a:gdLst>
                <a:gd name="T0" fmla="*/ 263 w 273"/>
                <a:gd name="T1" fmla="*/ 254 h 273"/>
                <a:gd name="T2" fmla="*/ 263 w 273"/>
                <a:gd name="T3" fmla="*/ 254 h 273"/>
                <a:gd name="T4" fmla="*/ 238 w 273"/>
                <a:gd name="T5" fmla="*/ 253 h 273"/>
                <a:gd name="T6" fmla="*/ 214 w 273"/>
                <a:gd name="T7" fmla="*/ 248 h 273"/>
                <a:gd name="T8" fmla="*/ 191 w 273"/>
                <a:gd name="T9" fmla="*/ 243 h 273"/>
                <a:gd name="T10" fmla="*/ 168 w 273"/>
                <a:gd name="T11" fmla="*/ 235 h 273"/>
                <a:gd name="T12" fmla="*/ 146 w 273"/>
                <a:gd name="T13" fmla="*/ 224 h 273"/>
                <a:gd name="T14" fmla="*/ 126 w 273"/>
                <a:gd name="T15" fmla="*/ 212 h 273"/>
                <a:gd name="T16" fmla="*/ 108 w 273"/>
                <a:gd name="T17" fmla="*/ 197 h 273"/>
                <a:gd name="T18" fmla="*/ 90 w 273"/>
                <a:gd name="T19" fmla="*/ 183 h 273"/>
                <a:gd name="T20" fmla="*/ 74 w 273"/>
                <a:gd name="T21" fmla="*/ 165 h 273"/>
                <a:gd name="T22" fmla="*/ 61 w 273"/>
                <a:gd name="T23" fmla="*/ 145 h 273"/>
                <a:gd name="T24" fmla="*/ 47 w 273"/>
                <a:gd name="T25" fmla="*/ 125 h 273"/>
                <a:gd name="T26" fmla="*/ 38 w 273"/>
                <a:gd name="T27" fmla="*/ 103 h 273"/>
                <a:gd name="T28" fmla="*/ 30 w 273"/>
                <a:gd name="T29" fmla="*/ 82 h 273"/>
                <a:gd name="T30" fmla="*/ 23 w 273"/>
                <a:gd name="T31" fmla="*/ 58 h 273"/>
                <a:gd name="T32" fmla="*/ 19 w 273"/>
                <a:gd name="T33" fmla="*/ 34 h 273"/>
                <a:gd name="T34" fmla="*/ 18 w 273"/>
                <a:gd name="T35" fmla="*/ 8 h 273"/>
                <a:gd name="T36" fmla="*/ 18 w 273"/>
                <a:gd name="T37" fmla="*/ 8 h 273"/>
                <a:gd name="T38" fmla="*/ 18 w 273"/>
                <a:gd name="T39" fmla="*/ 5 h 273"/>
                <a:gd name="T40" fmla="*/ 15 w 273"/>
                <a:gd name="T41" fmla="*/ 3 h 273"/>
                <a:gd name="T42" fmla="*/ 12 w 273"/>
                <a:gd name="T43" fmla="*/ 0 h 273"/>
                <a:gd name="T44" fmla="*/ 9 w 273"/>
                <a:gd name="T45" fmla="*/ 0 h 273"/>
                <a:gd name="T46" fmla="*/ 9 w 273"/>
                <a:gd name="T47" fmla="*/ 0 h 273"/>
                <a:gd name="T48" fmla="*/ 5 w 273"/>
                <a:gd name="T49" fmla="*/ 0 h 273"/>
                <a:gd name="T50" fmla="*/ 3 w 273"/>
                <a:gd name="T51" fmla="*/ 3 h 273"/>
                <a:gd name="T52" fmla="*/ 0 w 273"/>
                <a:gd name="T53" fmla="*/ 5 h 273"/>
                <a:gd name="T54" fmla="*/ 0 w 273"/>
                <a:gd name="T55" fmla="*/ 8 h 273"/>
                <a:gd name="T56" fmla="*/ 0 w 273"/>
                <a:gd name="T57" fmla="*/ 8 h 273"/>
                <a:gd name="T58" fmla="*/ 1 w 273"/>
                <a:gd name="T59" fmla="*/ 35 h 273"/>
                <a:gd name="T60" fmla="*/ 5 w 273"/>
                <a:gd name="T61" fmla="*/ 62 h 273"/>
                <a:gd name="T62" fmla="*/ 12 w 273"/>
                <a:gd name="T63" fmla="*/ 87 h 273"/>
                <a:gd name="T64" fmla="*/ 20 w 273"/>
                <a:gd name="T65" fmla="*/ 112 h 273"/>
                <a:gd name="T66" fmla="*/ 32 w 273"/>
                <a:gd name="T67" fmla="*/ 134 h 273"/>
                <a:gd name="T68" fmla="*/ 44 w 273"/>
                <a:gd name="T69" fmla="*/ 156 h 273"/>
                <a:gd name="T70" fmla="*/ 61 w 273"/>
                <a:gd name="T71" fmla="*/ 176 h 273"/>
                <a:gd name="T72" fmla="*/ 77 w 273"/>
                <a:gd name="T73" fmla="*/ 195 h 273"/>
                <a:gd name="T74" fmla="*/ 95 w 273"/>
                <a:gd name="T75" fmla="*/ 212 h 273"/>
                <a:gd name="T76" fmla="*/ 116 w 273"/>
                <a:gd name="T77" fmla="*/ 227 h 273"/>
                <a:gd name="T78" fmla="*/ 138 w 273"/>
                <a:gd name="T79" fmla="*/ 240 h 273"/>
                <a:gd name="T80" fmla="*/ 161 w 273"/>
                <a:gd name="T81" fmla="*/ 251 h 273"/>
                <a:gd name="T82" fmla="*/ 185 w 273"/>
                <a:gd name="T83" fmla="*/ 261 h 273"/>
                <a:gd name="T84" fmla="*/ 211 w 273"/>
                <a:gd name="T85" fmla="*/ 267 h 273"/>
                <a:gd name="T86" fmla="*/ 236 w 273"/>
                <a:gd name="T87" fmla="*/ 270 h 273"/>
                <a:gd name="T88" fmla="*/ 263 w 273"/>
                <a:gd name="T89" fmla="*/ 273 h 273"/>
                <a:gd name="T90" fmla="*/ 263 w 273"/>
                <a:gd name="T91" fmla="*/ 273 h 273"/>
                <a:gd name="T92" fmla="*/ 267 w 273"/>
                <a:gd name="T93" fmla="*/ 271 h 273"/>
                <a:gd name="T94" fmla="*/ 270 w 273"/>
                <a:gd name="T95" fmla="*/ 270 h 273"/>
                <a:gd name="T96" fmla="*/ 271 w 273"/>
                <a:gd name="T97" fmla="*/ 266 h 273"/>
                <a:gd name="T98" fmla="*/ 273 w 273"/>
                <a:gd name="T99" fmla="*/ 263 h 273"/>
                <a:gd name="T100" fmla="*/ 273 w 273"/>
                <a:gd name="T101" fmla="*/ 263 h 273"/>
                <a:gd name="T102" fmla="*/ 271 w 273"/>
                <a:gd name="T103" fmla="*/ 259 h 273"/>
                <a:gd name="T104" fmla="*/ 270 w 273"/>
                <a:gd name="T105" fmla="*/ 257 h 273"/>
                <a:gd name="T106" fmla="*/ 267 w 273"/>
                <a:gd name="T107" fmla="*/ 255 h 273"/>
                <a:gd name="T108" fmla="*/ 263 w 273"/>
                <a:gd name="T109" fmla="*/ 254 h 273"/>
                <a:gd name="T110" fmla="*/ 263 w 273"/>
                <a:gd name="T111" fmla="*/ 254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73" h="273">
                  <a:moveTo>
                    <a:pt x="263" y="254"/>
                  </a:moveTo>
                  <a:lnTo>
                    <a:pt x="263" y="254"/>
                  </a:lnTo>
                  <a:lnTo>
                    <a:pt x="238" y="253"/>
                  </a:lnTo>
                  <a:lnTo>
                    <a:pt x="214" y="248"/>
                  </a:lnTo>
                  <a:lnTo>
                    <a:pt x="191" y="243"/>
                  </a:lnTo>
                  <a:lnTo>
                    <a:pt x="168" y="235"/>
                  </a:lnTo>
                  <a:lnTo>
                    <a:pt x="146" y="224"/>
                  </a:lnTo>
                  <a:lnTo>
                    <a:pt x="126" y="212"/>
                  </a:lnTo>
                  <a:lnTo>
                    <a:pt x="108" y="197"/>
                  </a:lnTo>
                  <a:lnTo>
                    <a:pt x="90" y="183"/>
                  </a:lnTo>
                  <a:lnTo>
                    <a:pt x="74" y="165"/>
                  </a:lnTo>
                  <a:lnTo>
                    <a:pt x="61" y="145"/>
                  </a:lnTo>
                  <a:lnTo>
                    <a:pt x="47" y="125"/>
                  </a:lnTo>
                  <a:lnTo>
                    <a:pt x="38" y="103"/>
                  </a:lnTo>
                  <a:lnTo>
                    <a:pt x="30" y="82"/>
                  </a:lnTo>
                  <a:lnTo>
                    <a:pt x="23" y="58"/>
                  </a:lnTo>
                  <a:lnTo>
                    <a:pt x="19" y="34"/>
                  </a:lnTo>
                  <a:lnTo>
                    <a:pt x="18" y="8"/>
                  </a:lnTo>
                  <a:lnTo>
                    <a:pt x="18" y="8"/>
                  </a:lnTo>
                  <a:lnTo>
                    <a:pt x="18" y="5"/>
                  </a:lnTo>
                  <a:lnTo>
                    <a:pt x="15" y="3"/>
                  </a:lnTo>
                  <a:lnTo>
                    <a:pt x="12" y="0"/>
                  </a:lnTo>
                  <a:lnTo>
                    <a:pt x="9" y="0"/>
                  </a:lnTo>
                  <a:lnTo>
                    <a:pt x="9" y="0"/>
                  </a:lnTo>
                  <a:lnTo>
                    <a:pt x="5" y="0"/>
                  </a:lnTo>
                  <a:lnTo>
                    <a:pt x="3" y="3"/>
                  </a:lnTo>
                  <a:lnTo>
                    <a:pt x="0" y="5"/>
                  </a:lnTo>
                  <a:lnTo>
                    <a:pt x="0" y="8"/>
                  </a:lnTo>
                  <a:lnTo>
                    <a:pt x="0" y="8"/>
                  </a:lnTo>
                  <a:lnTo>
                    <a:pt x="1" y="35"/>
                  </a:lnTo>
                  <a:lnTo>
                    <a:pt x="5" y="62"/>
                  </a:lnTo>
                  <a:lnTo>
                    <a:pt x="12" y="87"/>
                  </a:lnTo>
                  <a:lnTo>
                    <a:pt x="20" y="112"/>
                  </a:lnTo>
                  <a:lnTo>
                    <a:pt x="32" y="134"/>
                  </a:lnTo>
                  <a:lnTo>
                    <a:pt x="44" y="156"/>
                  </a:lnTo>
                  <a:lnTo>
                    <a:pt x="61" y="176"/>
                  </a:lnTo>
                  <a:lnTo>
                    <a:pt x="77" y="195"/>
                  </a:lnTo>
                  <a:lnTo>
                    <a:pt x="95" y="212"/>
                  </a:lnTo>
                  <a:lnTo>
                    <a:pt x="116" y="227"/>
                  </a:lnTo>
                  <a:lnTo>
                    <a:pt x="138" y="240"/>
                  </a:lnTo>
                  <a:lnTo>
                    <a:pt x="161" y="251"/>
                  </a:lnTo>
                  <a:lnTo>
                    <a:pt x="185" y="261"/>
                  </a:lnTo>
                  <a:lnTo>
                    <a:pt x="211" y="267"/>
                  </a:lnTo>
                  <a:lnTo>
                    <a:pt x="236" y="270"/>
                  </a:lnTo>
                  <a:lnTo>
                    <a:pt x="263" y="273"/>
                  </a:lnTo>
                  <a:lnTo>
                    <a:pt x="263" y="273"/>
                  </a:lnTo>
                  <a:lnTo>
                    <a:pt x="267" y="271"/>
                  </a:lnTo>
                  <a:lnTo>
                    <a:pt x="270" y="270"/>
                  </a:lnTo>
                  <a:lnTo>
                    <a:pt x="271" y="266"/>
                  </a:lnTo>
                  <a:lnTo>
                    <a:pt x="273" y="263"/>
                  </a:lnTo>
                  <a:lnTo>
                    <a:pt x="273" y="263"/>
                  </a:lnTo>
                  <a:lnTo>
                    <a:pt x="271" y="259"/>
                  </a:lnTo>
                  <a:lnTo>
                    <a:pt x="270" y="257"/>
                  </a:lnTo>
                  <a:lnTo>
                    <a:pt x="267" y="255"/>
                  </a:lnTo>
                  <a:lnTo>
                    <a:pt x="263" y="254"/>
                  </a:lnTo>
                  <a:lnTo>
                    <a:pt x="263"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31" name="Freeform 276"/>
            <p:cNvSpPr>
              <a:spLocks/>
            </p:cNvSpPr>
            <p:nvPr/>
          </p:nvSpPr>
          <p:spPr bwMode="auto">
            <a:xfrm>
              <a:off x="2516188" y="3687763"/>
              <a:ext cx="101600" cy="55563"/>
            </a:xfrm>
            <a:custGeom>
              <a:avLst/>
              <a:gdLst>
                <a:gd name="T0" fmla="*/ 125 w 127"/>
                <a:gd name="T1" fmla="*/ 21 h 71"/>
                <a:gd name="T2" fmla="*/ 125 w 127"/>
                <a:gd name="T3" fmla="*/ 21 h 71"/>
                <a:gd name="T4" fmla="*/ 119 w 127"/>
                <a:gd name="T5" fmla="*/ 17 h 71"/>
                <a:gd name="T6" fmla="*/ 106 w 127"/>
                <a:gd name="T7" fmla="*/ 9 h 71"/>
                <a:gd name="T8" fmla="*/ 97 w 127"/>
                <a:gd name="T9" fmla="*/ 5 h 71"/>
                <a:gd name="T10" fmla="*/ 87 w 127"/>
                <a:gd name="T11" fmla="*/ 2 h 71"/>
                <a:gd name="T12" fmla="*/ 76 w 127"/>
                <a:gd name="T13" fmla="*/ 0 h 71"/>
                <a:gd name="T14" fmla="*/ 64 w 127"/>
                <a:gd name="T15" fmla="*/ 0 h 71"/>
                <a:gd name="T16" fmla="*/ 64 w 127"/>
                <a:gd name="T17" fmla="*/ 0 h 71"/>
                <a:gd name="T18" fmla="*/ 54 w 127"/>
                <a:gd name="T19" fmla="*/ 1 h 71"/>
                <a:gd name="T20" fmla="*/ 54 w 127"/>
                <a:gd name="T21" fmla="*/ 1 h 71"/>
                <a:gd name="T22" fmla="*/ 43 w 127"/>
                <a:gd name="T23" fmla="*/ 4 h 71"/>
                <a:gd name="T24" fmla="*/ 33 w 127"/>
                <a:gd name="T25" fmla="*/ 8 h 71"/>
                <a:gd name="T26" fmla="*/ 24 w 127"/>
                <a:gd name="T27" fmla="*/ 12 h 71"/>
                <a:gd name="T28" fmla="*/ 17 w 127"/>
                <a:gd name="T29" fmla="*/ 17 h 71"/>
                <a:gd name="T30" fmla="*/ 7 w 127"/>
                <a:gd name="T31" fmla="*/ 27 h 71"/>
                <a:gd name="T32" fmla="*/ 1 w 127"/>
                <a:gd name="T33" fmla="*/ 31 h 71"/>
                <a:gd name="T34" fmla="*/ 1 w 127"/>
                <a:gd name="T35" fmla="*/ 31 h 71"/>
                <a:gd name="T36" fmla="*/ 0 w 127"/>
                <a:gd name="T37" fmla="*/ 35 h 71"/>
                <a:gd name="T38" fmla="*/ 1 w 127"/>
                <a:gd name="T39" fmla="*/ 39 h 71"/>
                <a:gd name="T40" fmla="*/ 1 w 127"/>
                <a:gd name="T41" fmla="*/ 39 h 71"/>
                <a:gd name="T42" fmla="*/ 7 w 127"/>
                <a:gd name="T43" fmla="*/ 44 h 71"/>
                <a:gd name="T44" fmla="*/ 20 w 127"/>
                <a:gd name="T45" fmla="*/ 55 h 71"/>
                <a:gd name="T46" fmla="*/ 29 w 127"/>
                <a:gd name="T47" fmla="*/ 62 h 71"/>
                <a:gd name="T48" fmla="*/ 39 w 127"/>
                <a:gd name="T49" fmla="*/ 67 h 71"/>
                <a:gd name="T50" fmla="*/ 50 w 127"/>
                <a:gd name="T51" fmla="*/ 70 h 71"/>
                <a:gd name="T52" fmla="*/ 59 w 127"/>
                <a:gd name="T53" fmla="*/ 71 h 71"/>
                <a:gd name="T54" fmla="*/ 59 w 127"/>
                <a:gd name="T55" fmla="*/ 71 h 71"/>
                <a:gd name="T56" fmla="*/ 66 w 127"/>
                <a:gd name="T57" fmla="*/ 71 h 71"/>
                <a:gd name="T58" fmla="*/ 66 w 127"/>
                <a:gd name="T59" fmla="*/ 71 h 71"/>
                <a:gd name="T60" fmla="*/ 79 w 127"/>
                <a:gd name="T61" fmla="*/ 67 h 71"/>
                <a:gd name="T62" fmla="*/ 91 w 127"/>
                <a:gd name="T63" fmla="*/ 62 h 71"/>
                <a:gd name="T64" fmla="*/ 101 w 127"/>
                <a:gd name="T65" fmla="*/ 55 h 71"/>
                <a:gd name="T66" fmla="*/ 110 w 127"/>
                <a:gd name="T67" fmla="*/ 48 h 71"/>
                <a:gd name="T68" fmla="*/ 122 w 127"/>
                <a:gd name="T69" fmla="*/ 35 h 71"/>
                <a:gd name="T70" fmla="*/ 127 w 127"/>
                <a:gd name="T71" fmla="*/ 28 h 71"/>
                <a:gd name="T72" fmla="*/ 127 w 127"/>
                <a:gd name="T73" fmla="*/ 28 h 71"/>
                <a:gd name="T74" fmla="*/ 127 w 127"/>
                <a:gd name="T75" fmla="*/ 27 h 71"/>
                <a:gd name="T76" fmla="*/ 127 w 127"/>
                <a:gd name="T77" fmla="*/ 24 h 71"/>
                <a:gd name="T78" fmla="*/ 127 w 127"/>
                <a:gd name="T79" fmla="*/ 23 h 71"/>
                <a:gd name="T80" fmla="*/ 125 w 127"/>
                <a:gd name="T81" fmla="*/ 21 h 71"/>
                <a:gd name="T82" fmla="*/ 125 w 127"/>
                <a:gd name="T83" fmla="*/ 2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7" h="71">
                  <a:moveTo>
                    <a:pt x="125" y="21"/>
                  </a:moveTo>
                  <a:lnTo>
                    <a:pt x="125" y="21"/>
                  </a:lnTo>
                  <a:lnTo>
                    <a:pt x="119" y="17"/>
                  </a:lnTo>
                  <a:lnTo>
                    <a:pt x="106" y="9"/>
                  </a:lnTo>
                  <a:lnTo>
                    <a:pt x="97" y="5"/>
                  </a:lnTo>
                  <a:lnTo>
                    <a:pt x="87" y="2"/>
                  </a:lnTo>
                  <a:lnTo>
                    <a:pt x="76" y="0"/>
                  </a:lnTo>
                  <a:lnTo>
                    <a:pt x="64" y="0"/>
                  </a:lnTo>
                  <a:lnTo>
                    <a:pt x="64" y="0"/>
                  </a:lnTo>
                  <a:lnTo>
                    <a:pt x="54" y="1"/>
                  </a:lnTo>
                  <a:lnTo>
                    <a:pt x="54" y="1"/>
                  </a:lnTo>
                  <a:lnTo>
                    <a:pt x="43" y="4"/>
                  </a:lnTo>
                  <a:lnTo>
                    <a:pt x="33" y="8"/>
                  </a:lnTo>
                  <a:lnTo>
                    <a:pt x="24" y="12"/>
                  </a:lnTo>
                  <a:lnTo>
                    <a:pt x="17" y="17"/>
                  </a:lnTo>
                  <a:lnTo>
                    <a:pt x="7" y="27"/>
                  </a:lnTo>
                  <a:lnTo>
                    <a:pt x="1" y="31"/>
                  </a:lnTo>
                  <a:lnTo>
                    <a:pt x="1" y="31"/>
                  </a:lnTo>
                  <a:lnTo>
                    <a:pt x="0" y="35"/>
                  </a:lnTo>
                  <a:lnTo>
                    <a:pt x="1" y="39"/>
                  </a:lnTo>
                  <a:lnTo>
                    <a:pt x="1" y="39"/>
                  </a:lnTo>
                  <a:lnTo>
                    <a:pt x="7" y="44"/>
                  </a:lnTo>
                  <a:lnTo>
                    <a:pt x="20" y="55"/>
                  </a:lnTo>
                  <a:lnTo>
                    <a:pt x="29" y="62"/>
                  </a:lnTo>
                  <a:lnTo>
                    <a:pt x="39" y="67"/>
                  </a:lnTo>
                  <a:lnTo>
                    <a:pt x="50" y="70"/>
                  </a:lnTo>
                  <a:lnTo>
                    <a:pt x="59" y="71"/>
                  </a:lnTo>
                  <a:lnTo>
                    <a:pt x="59" y="71"/>
                  </a:lnTo>
                  <a:lnTo>
                    <a:pt x="66" y="71"/>
                  </a:lnTo>
                  <a:lnTo>
                    <a:pt x="66" y="71"/>
                  </a:lnTo>
                  <a:lnTo>
                    <a:pt x="79" y="67"/>
                  </a:lnTo>
                  <a:lnTo>
                    <a:pt x="91" y="62"/>
                  </a:lnTo>
                  <a:lnTo>
                    <a:pt x="101" y="55"/>
                  </a:lnTo>
                  <a:lnTo>
                    <a:pt x="110" y="48"/>
                  </a:lnTo>
                  <a:lnTo>
                    <a:pt x="122" y="35"/>
                  </a:lnTo>
                  <a:lnTo>
                    <a:pt x="127" y="28"/>
                  </a:lnTo>
                  <a:lnTo>
                    <a:pt x="127" y="28"/>
                  </a:lnTo>
                  <a:lnTo>
                    <a:pt x="127" y="27"/>
                  </a:lnTo>
                  <a:lnTo>
                    <a:pt x="127" y="24"/>
                  </a:lnTo>
                  <a:lnTo>
                    <a:pt x="127" y="23"/>
                  </a:lnTo>
                  <a:lnTo>
                    <a:pt x="125" y="21"/>
                  </a:lnTo>
                  <a:lnTo>
                    <a:pt x="125"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32" name="Freeform 277"/>
            <p:cNvSpPr>
              <a:spLocks/>
            </p:cNvSpPr>
            <p:nvPr/>
          </p:nvSpPr>
          <p:spPr bwMode="auto">
            <a:xfrm>
              <a:off x="2462213" y="3611563"/>
              <a:ext cx="79375" cy="46038"/>
            </a:xfrm>
            <a:custGeom>
              <a:avLst/>
              <a:gdLst>
                <a:gd name="T0" fmla="*/ 100 w 101"/>
                <a:gd name="T1" fmla="*/ 40 h 59"/>
                <a:gd name="T2" fmla="*/ 100 w 101"/>
                <a:gd name="T3" fmla="*/ 40 h 59"/>
                <a:gd name="T4" fmla="*/ 97 w 101"/>
                <a:gd name="T5" fmla="*/ 34 h 59"/>
                <a:gd name="T6" fmla="*/ 89 w 101"/>
                <a:gd name="T7" fmla="*/ 22 h 59"/>
                <a:gd name="T8" fmla="*/ 82 w 101"/>
                <a:gd name="T9" fmla="*/ 14 h 59"/>
                <a:gd name="T10" fmla="*/ 76 w 101"/>
                <a:gd name="T11" fmla="*/ 8 h 59"/>
                <a:gd name="T12" fmla="*/ 68 w 101"/>
                <a:gd name="T13" fmla="*/ 3 h 59"/>
                <a:gd name="T14" fmla="*/ 59 w 101"/>
                <a:gd name="T15" fmla="*/ 0 h 59"/>
                <a:gd name="T16" fmla="*/ 59 w 101"/>
                <a:gd name="T17" fmla="*/ 0 h 59"/>
                <a:gd name="T18" fmla="*/ 51 w 101"/>
                <a:gd name="T19" fmla="*/ 0 h 59"/>
                <a:gd name="T20" fmla="*/ 51 w 101"/>
                <a:gd name="T21" fmla="*/ 0 h 59"/>
                <a:gd name="T22" fmla="*/ 42 w 101"/>
                <a:gd name="T23" fmla="*/ 1 h 59"/>
                <a:gd name="T24" fmla="*/ 33 w 101"/>
                <a:gd name="T25" fmla="*/ 3 h 59"/>
                <a:gd name="T26" fmla="*/ 25 w 101"/>
                <a:gd name="T27" fmla="*/ 5 h 59"/>
                <a:gd name="T28" fmla="*/ 18 w 101"/>
                <a:gd name="T29" fmla="*/ 10 h 59"/>
                <a:gd name="T30" fmla="*/ 7 w 101"/>
                <a:gd name="T31" fmla="*/ 15 h 59"/>
                <a:gd name="T32" fmla="*/ 2 w 101"/>
                <a:gd name="T33" fmla="*/ 19 h 59"/>
                <a:gd name="T34" fmla="*/ 2 w 101"/>
                <a:gd name="T35" fmla="*/ 19 h 59"/>
                <a:gd name="T36" fmla="*/ 0 w 101"/>
                <a:gd name="T37" fmla="*/ 20 h 59"/>
                <a:gd name="T38" fmla="*/ 0 w 101"/>
                <a:gd name="T39" fmla="*/ 22 h 59"/>
                <a:gd name="T40" fmla="*/ 0 w 101"/>
                <a:gd name="T41" fmla="*/ 24 h 59"/>
                <a:gd name="T42" fmla="*/ 2 w 101"/>
                <a:gd name="T43" fmla="*/ 26 h 59"/>
                <a:gd name="T44" fmla="*/ 2 w 101"/>
                <a:gd name="T45" fmla="*/ 26 h 59"/>
                <a:gd name="T46" fmla="*/ 6 w 101"/>
                <a:gd name="T47" fmla="*/ 31 h 59"/>
                <a:gd name="T48" fmla="*/ 17 w 101"/>
                <a:gd name="T49" fmla="*/ 42 h 59"/>
                <a:gd name="T50" fmla="*/ 25 w 101"/>
                <a:gd name="T51" fmla="*/ 47 h 59"/>
                <a:gd name="T52" fmla="*/ 33 w 101"/>
                <a:gd name="T53" fmla="*/ 52 h 59"/>
                <a:gd name="T54" fmla="*/ 42 w 101"/>
                <a:gd name="T55" fmla="*/ 57 h 59"/>
                <a:gd name="T56" fmla="*/ 51 w 101"/>
                <a:gd name="T57" fmla="*/ 59 h 59"/>
                <a:gd name="T58" fmla="*/ 51 w 101"/>
                <a:gd name="T59" fmla="*/ 59 h 59"/>
                <a:gd name="T60" fmla="*/ 59 w 101"/>
                <a:gd name="T61" fmla="*/ 59 h 59"/>
                <a:gd name="T62" fmla="*/ 59 w 101"/>
                <a:gd name="T63" fmla="*/ 59 h 59"/>
                <a:gd name="T64" fmla="*/ 66 w 101"/>
                <a:gd name="T65" fmla="*/ 59 h 59"/>
                <a:gd name="T66" fmla="*/ 74 w 101"/>
                <a:gd name="T67" fmla="*/ 58 h 59"/>
                <a:gd name="T68" fmla="*/ 86 w 101"/>
                <a:gd name="T69" fmla="*/ 54 h 59"/>
                <a:gd name="T70" fmla="*/ 96 w 101"/>
                <a:gd name="T71" fmla="*/ 50 h 59"/>
                <a:gd name="T72" fmla="*/ 98 w 101"/>
                <a:gd name="T73" fmla="*/ 48 h 59"/>
                <a:gd name="T74" fmla="*/ 98 w 101"/>
                <a:gd name="T75" fmla="*/ 48 h 59"/>
                <a:gd name="T76" fmla="*/ 101 w 101"/>
                <a:gd name="T77" fmla="*/ 44 h 59"/>
                <a:gd name="T78" fmla="*/ 100 w 101"/>
                <a:gd name="T79" fmla="*/ 40 h 59"/>
                <a:gd name="T80" fmla="*/ 100 w 101"/>
                <a:gd name="T81" fmla="*/ 4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1" h="59">
                  <a:moveTo>
                    <a:pt x="100" y="40"/>
                  </a:moveTo>
                  <a:lnTo>
                    <a:pt x="100" y="40"/>
                  </a:lnTo>
                  <a:lnTo>
                    <a:pt x="97" y="34"/>
                  </a:lnTo>
                  <a:lnTo>
                    <a:pt x="89" y="22"/>
                  </a:lnTo>
                  <a:lnTo>
                    <a:pt x="82" y="14"/>
                  </a:lnTo>
                  <a:lnTo>
                    <a:pt x="76" y="8"/>
                  </a:lnTo>
                  <a:lnTo>
                    <a:pt x="68" y="3"/>
                  </a:lnTo>
                  <a:lnTo>
                    <a:pt x="59" y="0"/>
                  </a:lnTo>
                  <a:lnTo>
                    <a:pt x="59" y="0"/>
                  </a:lnTo>
                  <a:lnTo>
                    <a:pt x="51" y="0"/>
                  </a:lnTo>
                  <a:lnTo>
                    <a:pt x="51" y="0"/>
                  </a:lnTo>
                  <a:lnTo>
                    <a:pt x="42" y="1"/>
                  </a:lnTo>
                  <a:lnTo>
                    <a:pt x="33" y="3"/>
                  </a:lnTo>
                  <a:lnTo>
                    <a:pt x="25" y="5"/>
                  </a:lnTo>
                  <a:lnTo>
                    <a:pt x="18" y="10"/>
                  </a:lnTo>
                  <a:lnTo>
                    <a:pt x="7" y="15"/>
                  </a:lnTo>
                  <a:lnTo>
                    <a:pt x="2" y="19"/>
                  </a:lnTo>
                  <a:lnTo>
                    <a:pt x="2" y="19"/>
                  </a:lnTo>
                  <a:lnTo>
                    <a:pt x="0" y="20"/>
                  </a:lnTo>
                  <a:lnTo>
                    <a:pt x="0" y="22"/>
                  </a:lnTo>
                  <a:lnTo>
                    <a:pt x="0" y="24"/>
                  </a:lnTo>
                  <a:lnTo>
                    <a:pt x="2" y="26"/>
                  </a:lnTo>
                  <a:lnTo>
                    <a:pt x="2" y="26"/>
                  </a:lnTo>
                  <a:lnTo>
                    <a:pt x="6" y="31"/>
                  </a:lnTo>
                  <a:lnTo>
                    <a:pt x="17" y="42"/>
                  </a:lnTo>
                  <a:lnTo>
                    <a:pt x="25" y="47"/>
                  </a:lnTo>
                  <a:lnTo>
                    <a:pt x="33" y="52"/>
                  </a:lnTo>
                  <a:lnTo>
                    <a:pt x="42" y="57"/>
                  </a:lnTo>
                  <a:lnTo>
                    <a:pt x="51" y="59"/>
                  </a:lnTo>
                  <a:lnTo>
                    <a:pt x="51" y="59"/>
                  </a:lnTo>
                  <a:lnTo>
                    <a:pt x="59" y="59"/>
                  </a:lnTo>
                  <a:lnTo>
                    <a:pt x="59" y="59"/>
                  </a:lnTo>
                  <a:lnTo>
                    <a:pt x="66" y="59"/>
                  </a:lnTo>
                  <a:lnTo>
                    <a:pt x="74" y="58"/>
                  </a:lnTo>
                  <a:lnTo>
                    <a:pt x="86" y="54"/>
                  </a:lnTo>
                  <a:lnTo>
                    <a:pt x="96" y="50"/>
                  </a:lnTo>
                  <a:lnTo>
                    <a:pt x="98" y="48"/>
                  </a:lnTo>
                  <a:lnTo>
                    <a:pt x="98" y="48"/>
                  </a:lnTo>
                  <a:lnTo>
                    <a:pt x="101" y="44"/>
                  </a:lnTo>
                  <a:lnTo>
                    <a:pt x="100" y="40"/>
                  </a:lnTo>
                  <a:lnTo>
                    <a:pt x="10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33" name="Freeform 278"/>
            <p:cNvSpPr>
              <a:spLocks/>
            </p:cNvSpPr>
            <p:nvPr/>
          </p:nvSpPr>
          <p:spPr bwMode="auto">
            <a:xfrm>
              <a:off x="2554288" y="3538538"/>
              <a:ext cx="47625" cy="79375"/>
            </a:xfrm>
            <a:custGeom>
              <a:avLst/>
              <a:gdLst>
                <a:gd name="T0" fmla="*/ 0 w 59"/>
                <a:gd name="T1" fmla="*/ 44 h 101"/>
                <a:gd name="T2" fmla="*/ 0 w 59"/>
                <a:gd name="T3" fmla="*/ 44 h 101"/>
                <a:gd name="T4" fmla="*/ 2 w 59"/>
                <a:gd name="T5" fmla="*/ 55 h 101"/>
                <a:gd name="T6" fmla="*/ 3 w 59"/>
                <a:gd name="T7" fmla="*/ 64 h 101"/>
                <a:gd name="T8" fmla="*/ 6 w 59"/>
                <a:gd name="T9" fmla="*/ 74 h 101"/>
                <a:gd name="T10" fmla="*/ 10 w 59"/>
                <a:gd name="T11" fmla="*/ 82 h 101"/>
                <a:gd name="T12" fmla="*/ 18 w 59"/>
                <a:gd name="T13" fmla="*/ 94 h 101"/>
                <a:gd name="T14" fmla="*/ 22 w 59"/>
                <a:gd name="T15" fmla="*/ 99 h 101"/>
                <a:gd name="T16" fmla="*/ 22 w 59"/>
                <a:gd name="T17" fmla="*/ 99 h 101"/>
                <a:gd name="T18" fmla="*/ 23 w 59"/>
                <a:gd name="T19" fmla="*/ 101 h 101"/>
                <a:gd name="T20" fmla="*/ 26 w 59"/>
                <a:gd name="T21" fmla="*/ 101 h 101"/>
                <a:gd name="T22" fmla="*/ 26 w 59"/>
                <a:gd name="T23" fmla="*/ 101 h 101"/>
                <a:gd name="T24" fmla="*/ 30 w 59"/>
                <a:gd name="T25" fmla="*/ 99 h 101"/>
                <a:gd name="T26" fmla="*/ 30 w 59"/>
                <a:gd name="T27" fmla="*/ 99 h 101"/>
                <a:gd name="T28" fmla="*/ 34 w 59"/>
                <a:gd name="T29" fmla="*/ 95 h 101"/>
                <a:gd name="T30" fmla="*/ 43 w 59"/>
                <a:gd name="T31" fmla="*/ 84 h 101"/>
                <a:gd name="T32" fmla="*/ 49 w 59"/>
                <a:gd name="T33" fmla="*/ 76 h 101"/>
                <a:gd name="T34" fmla="*/ 54 w 59"/>
                <a:gd name="T35" fmla="*/ 68 h 101"/>
                <a:gd name="T36" fmla="*/ 57 w 59"/>
                <a:gd name="T37" fmla="*/ 59 h 101"/>
                <a:gd name="T38" fmla="*/ 59 w 59"/>
                <a:gd name="T39" fmla="*/ 48 h 101"/>
                <a:gd name="T40" fmla="*/ 59 w 59"/>
                <a:gd name="T41" fmla="*/ 48 h 101"/>
                <a:gd name="T42" fmla="*/ 59 w 59"/>
                <a:gd name="T43" fmla="*/ 40 h 101"/>
                <a:gd name="T44" fmla="*/ 58 w 59"/>
                <a:gd name="T45" fmla="*/ 32 h 101"/>
                <a:gd name="T46" fmla="*/ 53 w 59"/>
                <a:gd name="T47" fmla="*/ 17 h 101"/>
                <a:gd name="T48" fmla="*/ 49 w 59"/>
                <a:gd name="T49" fmla="*/ 7 h 101"/>
                <a:gd name="T50" fmla="*/ 46 w 59"/>
                <a:gd name="T51" fmla="*/ 2 h 101"/>
                <a:gd name="T52" fmla="*/ 46 w 59"/>
                <a:gd name="T53" fmla="*/ 2 h 101"/>
                <a:gd name="T54" fmla="*/ 42 w 59"/>
                <a:gd name="T55" fmla="*/ 0 h 101"/>
                <a:gd name="T56" fmla="*/ 41 w 59"/>
                <a:gd name="T57" fmla="*/ 0 h 101"/>
                <a:gd name="T58" fmla="*/ 38 w 59"/>
                <a:gd name="T59" fmla="*/ 1 h 101"/>
                <a:gd name="T60" fmla="*/ 38 w 59"/>
                <a:gd name="T61" fmla="*/ 1 h 101"/>
                <a:gd name="T62" fmla="*/ 32 w 59"/>
                <a:gd name="T63" fmla="*/ 4 h 101"/>
                <a:gd name="T64" fmla="*/ 20 w 59"/>
                <a:gd name="T65" fmla="*/ 13 h 101"/>
                <a:gd name="T66" fmla="*/ 14 w 59"/>
                <a:gd name="T67" fmla="*/ 20 h 101"/>
                <a:gd name="T68" fmla="*/ 7 w 59"/>
                <a:gd name="T69" fmla="*/ 27 h 101"/>
                <a:gd name="T70" fmla="*/ 3 w 59"/>
                <a:gd name="T71" fmla="*/ 35 h 101"/>
                <a:gd name="T72" fmla="*/ 0 w 59"/>
                <a:gd name="T73" fmla="*/ 44 h 101"/>
                <a:gd name="T74" fmla="*/ 0 w 59"/>
                <a:gd name="T75" fmla="*/ 4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9" h="101">
                  <a:moveTo>
                    <a:pt x="0" y="44"/>
                  </a:moveTo>
                  <a:lnTo>
                    <a:pt x="0" y="44"/>
                  </a:lnTo>
                  <a:lnTo>
                    <a:pt x="2" y="55"/>
                  </a:lnTo>
                  <a:lnTo>
                    <a:pt x="3" y="64"/>
                  </a:lnTo>
                  <a:lnTo>
                    <a:pt x="6" y="74"/>
                  </a:lnTo>
                  <a:lnTo>
                    <a:pt x="10" y="82"/>
                  </a:lnTo>
                  <a:lnTo>
                    <a:pt x="18" y="94"/>
                  </a:lnTo>
                  <a:lnTo>
                    <a:pt x="22" y="99"/>
                  </a:lnTo>
                  <a:lnTo>
                    <a:pt x="22" y="99"/>
                  </a:lnTo>
                  <a:lnTo>
                    <a:pt x="23" y="101"/>
                  </a:lnTo>
                  <a:lnTo>
                    <a:pt x="26" y="101"/>
                  </a:lnTo>
                  <a:lnTo>
                    <a:pt x="26" y="101"/>
                  </a:lnTo>
                  <a:lnTo>
                    <a:pt x="30" y="99"/>
                  </a:lnTo>
                  <a:lnTo>
                    <a:pt x="30" y="99"/>
                  </a:lnTo>
                  <a:lnTo>
                    <a:pt x="34" y="95"/>
                  </a:lnTo>
                  <a:lnTo>
                    <a:pt x="43" y="84"/>
                  </a:lnTo>
                  <a:lnTo>
                    <a:pt x="49" y="76"/>
                  </a:lnTo>
                  <a:lnTo>
                    <a:pt x="54" y="68"/>
                  </a:lnTo>
                  <a:lnTo>
                    <a:pt x="57" y="59"/>
                  </a:lnTo>
                  <a:lnTo>
                    <a:pt x="59" y="48"/>
                  </a:lnTo>
                  <a:lnTo>
                    <a:pt x="59" y="48"/>
                  </a:lnTo>
                  <a:lnTo>
                    <a:pt x="59" y="40"/>
                  </a:lnTo>
                  <a:lnTo>
                    <a:pt x="58" y="32"/>
                  </a:lnTo>
                  <a:lnTo>
                    <a:pt x="53" y="17"/>
                  </a:lnTo>
                  <a:lnTo>
                    <a:pt x="49" y="7"/>
                  </a:lnTo>
                  <a:lnTo>
                    <a:pt x="46" y="2"/>
                  </a:lnTo>
                  <a:lnTo>
                    <a:pt x="46" y="2"/>
                  </a:lnTo>
                  <a:lnTo>
                    <a:pt x="42" y="0"/>
                  </a:lnTo>
                  <a:lnTo>
                    <a:pt x="41" y="0"/>
                  </a:lnTo>
                  <a:lnTo>
                    <a:pt x="38" y="1"/>
                  </a:lnTo>
                  <a:lnTo>
                    <a:pt x="38" y="1"/>
                  </a:lnTo>
                  <a:lnTo>
                    <a:pt x="32" y="4"/>
                  </a:lnTo>
                  <a:lnTo>
                    <a:pt x="20" y="13"/>
                  </a:lnTo>
                  <a:lnTo>
                    <a:pt x="14" y="20"/>
                  </a:lnTo>
                  <a:lnTo>
                    <a:pt x="7" y="27"/>
                  </a:lnTo>
                  <a:lnTo>
                    <a:pt x="3" y="35"/>
                  </a:lnTo>
                  <a:lnTo>
                    <a:pt x="0" y="44"/>
                  </a:lnTo>
                  <a:lnTo>
                    <a:pt x="0"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34" name="Freeform 279"/>
            <p:cNvSpPr>
              <a:spLocks/>
            </p:cNvSpPr>
            <p:nvPr/>
          </p:nvSpPr>
          <p:spPr bwMode="auto">
            <a:xfrm>
              <a:off x="2436813" y="3521075"/>
              <a:ext cx="60325" cy="49213"/>
            </a:xfrm>
            <a:custGeom>
              <a:avLst/>
              <a:gdLst>
                <a:gd name="T0" fmla="*/ 74 w 77"/>
                <a:gd name="T1" fmla="*/ 58 h 62"/>
                <a:gd name="T2" fmla="*/ 74 w 77"/>
                <a:gd name="T3" fmla="*/ 58 h 62"/>
                <a:gd name="T4" fmla="*/ 77 w 77"/>
                <a:gd name="T5" fmla="*/ 55 h 62"/>
                <a:gd name="T6" fmla="*/ 77 w 77"/>
                <a:gd name="T7" fmla="*/ 51 h 62"/>
                <a:gd name="T8" fmla="*/ 77 w 77"/>
                <a:gd name="T9" fmla="*/ 51 h 62"/>
                <a:gd name="T10" fmla="*/ 77 w 77"/>
                <a:gd name="T11" fmla="*/ 47 h 62"/>
                <a:gd name="T12" fmla="*/ 73 w 77"/>
                <a:gd name="T13" fmla="*/ 38 h 62"/>
                <a:gd name="T14" fmla="*/ 66 w 77"/>
                <a:gd name="T15" fmla="*/ 26 h 62"/>
                <a:gd name="T16" fmla="*/ 62 w 77"/>
                <a:gd name="T17" fmla="*/ 19 h 62"/>
                <a:gd name="T18" fmla="*/ 57 w 77"/>
                <a:gd name="T19" fmla="*/ 14 h 62"/>
                <a:gd name="T20" fmla="*/ 57 w 77"/>
                <a:gd name="T21" fmla="*/ 14 h 62"/>
                <a:gd name="T22" fmla="*/ 50 w 77"/>
                <a:gd name="T23" fmla="*/ 10 h 62"/>
                <a:gd name="T24" fmla="*/ 43 w 77"/>
                <a:gd name="T25" fmla="*/ 7 h 62"/>
                <a:gd name="T26" fmla="*/ 30 w 77"/>
                <a:gd name="T27" fmla="*/ 3 h 62"/>
                <a:gd name="T28" fmla="*/ 18 w 77"/>
                <a:gd name="T29" fmla="*/ 0 h 62"/>
                <a:gd name="T30" fmla="*/ 10 w 77"/>
                <a:gd name="T31" fmla="*/ 0 h 62"/>
                <a:gd name="T32" fmla="*/ 10 w 77"/>
                <a:gd name="T33" fmla="*/ 0 h 62"/>
                <a:gd name="T34" fmla="*/ 4 w 77"/>
                <a:gd name="T35" fmla="*/ 0 h 62"/>
                <a:gd name="T36" fmla="*/ 4 w 77"/>
                <a:gd name="T37" fmla="*/ 0 h 62"/>
                <a:gd name="T38" fmla="*/ 3 w 77"/>
                <a:gd name="T39" fmla="*/ 0 h 62"/>
                <a:gd name="T40" fmla="*/ 2 w 77"/>
                <a:gd name="T41" fmla="*/ 2 h 62"/>
                <a:gd name="T42" fmla="*/ 0 w 77"/>
                <a:gd name="T43" fmla="*/ 4 h 62"/>
                <a:gd name="T44" fmla="*/ 0 w 77"/>
                <a:gd name="T45" fmla="*/ 6 h 62"/>
                <a:gd name="T46" fmla="*/ 0 w 77"/>
                <a:gd name="T47" fmla="*/ 6 h 62"/>
                <a:gd name="T48" fmla="*/ 0 w 77"/>
                <a:gd name="T49" fmla="*/ 11 h 62"/>
                <a:gd name="T50" fmla="*/ 3 w 77"/>
                <a:gd name="T51" fmla="*/ 23 h 62"/>
                <a:gd name="T52" fmla="*/ 6 w 77"/>
                <a:gd name="T53" fmla="*/ 31 h 62"/>
                <a:gd name="T54" fmla="*/ 10 w 77"/>
                <a:gd name="T55" fmla="*/ 39 h 62"/>
                <a:gd name="T56" fmla="*/ 15 w 77"/>
                <a:gd name="T57" fmla="*/ 47 h 62"/>
                <a:gd name="T58" fmla="*/ 22 w 77"/>
                <a:gd name="T59" fmla="*/ 54 h 62"/>
                <a:gd name="T60" fmla="*/ 22 w 77"/>
                <a:gd name="T61" fmla="*/ 54 h 62"/>
                <a:gd name="T62" fmla="*/ 27 w 77"/>
                <a:gd name="T63" fmla="*/ 58 h 62"/>
                <a:gd name="T64" fmla="*/ 32 w 77"/>
                <a:gd name="T65" fmla="*/ 61 h 62"/>
                <a:gd name="T66" fmla="*/ 40 w 77"/>
                <a:gd name="T67" fmla="*/ 62 h 62"/>
                <a:gd name="T68" fmla="*/ 47 w 77"/>
                <a:gd name="T69" fmla="*/ 62 h 62"/>
                <a:gd name="T70" fmla="*/ 47 w 77"/>
                <a:gd name="T71" fmla="*/ 62 h 62"/>
                <a:gd name="T72" fmla="*/ 58 w 77"/>
                <a:gd name="T73" fmla="*/ 61 h 62"/>
                <a:gd name="T74" fmla="*/ 66 w 77"/>
                <a:gd name="T75" fmla="*/ 59 h 62"/>
                <a:gd name="T76" fmla="*/ 74 w 77"/>
                <a:gd name="T77" fmla="*/ 58 h 62"/>
                <a:gd name="T78" fmla="*/ 74 w 77"/>
                <a:gd name="T79" fmla="*/ 5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 h="62">
                  <a:moveTo>
                    <a:pt x="74" y="58"/>
                  </a:moveTo>
                  <a:lnTo>
                    <a:pt x="74" y="58"/>
                  </a:lnTo>
                  <a:lnTo>
                    <a:pt x="77" y="55"/>
                  </a:lnTo>
                  <a:lnTo>
                    <a:pt x="77" y="51"/>
                  </a:lnTo>
                  <a:lnTo>
                    <a:pt x="77" y="51"/>
                  </a:lnTo>
                  <a:lnTo>
                    <a:pt x="77" y="47"/>
                  </a:lnTo>
                  <a:lnTo>
                    <a:pt x="73" y="38"/>
                  </a:lnTo>
                  <a:lnTo>
                    <a:pt x="66" y="26"/>
                  </a:lnTo>
                  <a:lnTo>
                    <a:pt x="62" y="19"/>
                  </a:lnTo>
                  <a:lnTo>
                    <a:pt x="57" y="14"/>
                  </a:lnTo>
                  <a:lnTo>
                    <a:pt x="57" y="14"/>
                  </a:lnTo>
                  <a:lnTo>
                    <a:pt x="50" y="10"/>
                  </a:lnTo>
                  <a:lnTo>
                    <a:pt x="43" y="7"/>
                  </a:lnTo>
                  <a:lnTo>
                    <a:pt x="30" y="3"/>
                  </a:lnTo>
                  <a:lnTo>
                    <a:pt x="18" y="0"/>
                  </a:lnTo>
                  <a:lnTo>
                    <a:pt x="10" y="0"/>
                  </a:lnTo>
                  <a:lnTo>
                    <a:pt x="10" y="0"/>
                  </a:lnTo>
                  <a:lnTo>
                    <a:pt x="4" y="0"/>
                  </a:lnTo>
                  <a:lnTo>
                    <a:pt x="4" y="0"/>
                  </a:lnTo>
                  <a:lnTo>
                    <a:pt x="3" y="0"/>
                  </a:lnTo>
                  <a:lnTo>
                    <a:pt x="2" y="2"/>
                  </a:lnTo>
                  <a:lnTo>
                    <a:pt x="0" y="4"/>
                  </a:lnTo>
                  <a:lnTo>
                    <a:pt x="0" y="6"/>
                  </a:lnTo>
                  <a:lnTo>
                    <a:pt x="0" y="6"/>
                  </a:lnTo>
                  <a:lnTo>
                    <a:pt x="0" y="11"/>
                  </a:lnTo>
                  <a:lnTo>
                    <a:pt x="3" y="23"/>
                  </a:lnTo>
                  <a:lnTo>
                    <a:pt x="6" y="31"/>
                  </a:lnTo>
                  <a:lnTo>
                    <a:pt x="10" y="39"/>
                  </a:lnTo>
                  <a:lnTo>
                    <a:pt x="15" y="47"/>
                  </a:lnTo>
                  <a:lnTo>
                    <a:pt x="22" y="54"/>
                  </a:lnTo>
                  <a:lnTo>
                    <a:pt x="22" y="54"/>
                  </a:lnTo>
                  <a:lnTo>
                    <a:pt x="27" y="58"/>
                  </a:lnTo>
                  <a:lnTo>
                    <a:pt x="32" y="61"/>
                  </a:lnTo>
                  <a:lnTo>
                    <a:pt x="40" y="62"/>
                  </a:lnTo>
                  <a:lnTo>
                    <a:pt x="47" y="62"/>
                  </a:lnTo>
                  <a:lnTo>
                    <a:pt x="47" y="62"/>
                  </a:lnTo>
                  <a:lnTo>
                    <a:pt x="58" y="61"/>
                  </a:lnTo>
                  <a:lnTo>
                    <a:pt x="66" y="59"/>
                  </a:lnTo>
                  <a:lnTo>
                    <a:pt x="74" y="58"/>
                  </a:lnTo>
                  <a:lnTo>
                    <a:pt x="74"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35" name="Freeform 280"/>
            <p:cNvSpPr>
              <a:spLocks/>
            </p:cNvSpPr>
            <p:nvPr/>
          </p:nvSpPr>
          <p:spPr bwMode="auto">
            <a:xfrm>
              <a:off x="2530476" y="3460750"/>
              <a:ext cx="44450" cy="66675"/>
            </a:xfrm>
            <a:custGeom>
              <a:avLst/>
              <a:gdLst>
                <a:gd name="T0" fmla="*/ 7 w 57"/>
                <a:gd name="T1" fmla="*/ 83 h 83"/>
                <a:gd name="T2" fmla="*/ 7 w 57"/>
                <a:gd name="T3" fmla="*/ 83 h 83"/>
                <a:gd name="T4" fmla="*/ 8 w 57"/>
                <a:gd name="T5" fmla="*/ 83 h 83"/>
                <a:gd name="T6" fmla="*/ 8 w 57"/>
                <a:gd name="T7" fmla="*/ 83 h 83"/>
                <a:gd name="T8" fmla="*/ 14 w 57"/>
                <a:gd name="T9" fmla="*/ 82 h 83"/>
                <a:gd name="T10" fmla="*/ 25 w 57"/>
                <a:gd name="T11" fmla="*/ 78 h 83"/>
                <a:gd name="T12" fmla="*/ 33 w 57"/>
                <a:gd name="T13" fmla="*/ 74 h 83"/>
                <a:gd name="T14" fmla="*/ 39 w 57"/>
                <a:gd name="T15" fmla="*/ 68 h 83"/>
                <a:gd name="T16" fmla="*/ 46 w 57"/>
                <a:gd name="T17" fmla="*/ 63 h 83"/>
                <a:gd name="T18" fmla="*/ 53 w 57"/>
                <a:gd name="T19" fmla="*/ 55 h 83"/>
                <a:gd name="T20" fmla="*/ 53 w 57"/>
                <a:gd name="T21" fmla="*/ 55 h 83"/>
                <a:gd name="T22" fmla="*/ 55 w 57"/>
                <a:gd name="T23" fmla="*/ 47 h 83"/>
                <a:gd name="T24" fmla="*/ 57 w 57"/>
                <a:gd name="T25" fmla="*/ 39 h 83"/>
                <a:gd name="T26" fmla="*/ 57 w 57"/>
                <a:gd name="T27" fmla="*/ 31 h 83"/>
                <a:gd name="T28" fmla="*/ 55 w 57"/>
                <a:gd name="T29" fmla="*/ 23 h 83"/>
                <a:gd name="T30" fmla="*/ 51 w 57"/>
                <a:gd name="T31" fmla="*/ 9 h 83"/>
                <a:gd name="T32" fmla="*/ 49 w 57"/>
                <a:gd name="T33" fmla="*/ 2 h 83"/>
                <a:gd name="T34" fmla="*/ 49 w 57"/>
                <a:gd name="T35" fmla="*/ 2 h 83"/>
                <a:gd name="T36" fmla="*/ 47 w 57"/>
                <a:gd name="T37" fmla="*/ 1 h 83"/>
                <a:gd name="T38" fmla="*/ 46 w 57"/>
                <a:gd name="T39" fmla="*/ 0 h 83"/>
                <a:gd name="T40" fmla="*/ 45 w 57"/>
                <a:gd name="T41" fmla="*/ 0 h 83"/>
                <a:gd name="T42" fmla="*/ 42 w 57"/>
                <a:gd name="T43" fmla="*/ 0 h 83"/>
                <a:gd name="T44" fmla="*/ 42 w 57"/>
                <a:gd name="T45" fmla="*/ 0 h 83"/>
                <a:gd name="T46" fmla="*/ 38 w 57"/>
                <a:gd name="T47" fmla="*/ 2 h 83"/>
                <a:gd name="T48" fmla="*/ 29 w 57"/>
                <a:gd name="T49" fmla="*/ 6 h 83"/>
                <a:gd name="T50" fmla="*/ 18 w 57"/>
                <a:gd name="T51" fmla="*/ 15 h 83"/>
                <a:gd name="T52" fmla="*/ 12 w 57"/>
                <a:gd name="T53" fmla="*/ 20 h 83"/>
                <a:gd name="T54" fmla="*/ 8 w 57"/>
                <a:gd name="T55" fmla="*/ 27 h 83"/>
                <a:gd name="T56" fmla="*/ 8 w 57"/>
                <a:gd name="T57" fmla="*/ 27 h 83"/>
                <a:gd name="T58" fmla="*/ 4 w 57"/>
                <a:gd name="T59" fmla="*/ 35 h 83"/>
                <a:gd name="T60" fmla="*/ 2 w 57"/>
                <a:gd name="T61" fmla="*/ 43 h 83"/>
                <a:gd name="T62" fmla="*/ 0 w 57"/>
                <a:gd name="T63" fmla="*/ 52 h 83"/>
                <a:gd name="T64" fmla="*/ 0 w 57"/>
                <a:gd name="T65" fmla="*/ 60 h 83"/>
                <a:gd name="T66" fmla="*/ 0 w 57"/>
                <a:gd name="T67" fmla="*/ 74 h 83"/>
                <a:gd name="T68" fmla="*/ 2 w 57"/>
                <a:gd name="T69" fmla="*/ 79 h 83"/>
                <a:gd name="T70" fmla="*/ 2 w 57"/>
                <a:gd name="T71" fmla="*/ 79 h 83"/>
                <a:gd name="T72" fmla="*/ 3 w 57"/>
                <a:gd name="T73" fmla="*/ 82 h 83"/>
                <a:gd name="T74" fmla="*/ 7 w 57"/>
                <a:gd name="T75" fmla="*/ 83 h 83"/>
                <a:gd name="T76" fmla="*/ 7 w 57"/>
                <a:gd name="T7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 h="83">
                  <a:moveTo>
                    <a:pt x="7" y="83"/>
                  </a:moveTo>
                  <a:lnTo>
                    <a:pt x="7" y="83"/>
                  </a:lnTo>
                  <a:lnTo>
                    <a:pt x="8" y="83"/>
                  </a:lnTo>
                  <a:lnTo>
                    <a:pt x="8" y="83"/>
                  </a:lnTo>
                  <a:lnTo>
                    <a:pt x="14" y="82"/>
                  </a:lnTo>
                  <a:lnTo>
                    <a:pt x="25" y="78"/>
                  </a:lnTo>
                  <a:lnTo>
                    <a:pt x="33" y="74"/>
                  </a:lnTo>
                  <a:lnTo>
                    <a:pt x="39" y="68"/>
                  </a:lnTo>
                  <a:lnTo>
                    <a:pt x="46" y="63"/>
                  </a:lnTo>
                  <a:lnTo>
                    <a:pt x="53" y="55"/>
                  </a:lnTo>
                  <a:lnTo>
                    <a:pt x="53" y="55"/>
                  </a:lnTo>
                  <a:lnTo>
                    <a:pt x="55" y="47"/>
                  </a:lnTo>
                  <a:lnTo>
                    <a:pt x="57" y="39"/>
                  </a:lnTo>
                  <a:lnTo>
                    <a:pt x="57" y="31"/>
                  </a:lnTo>
                  <a:lnTo>
                    <a:pt x="55" y="23"/>
                  </a:lnTo>
                  <a:lnTo>
                    <a:pt x="51" y="9"/>
                  </a:lnTo>
                  <a:lnTo>
                    <a:pt x="49" y="2"/>
                  </a:lnTo>
                  <a:lnTo>
                    <a:pt x="49" y="2"/>
                  </a:lnTo>
                  <a:lnTo>
                    <a:pt x="47" y="1"/>
                  </a:lnTo>
                  <a:lnTo>
                    <a:pt x="46" y="0"/>
                  </a:lnTo>
                  <a:lnTo>
                    <a:pt x="45" y="0"/>
                  </a:lnTo>
                  <a:lnTo>
                    <a:pt x="42" y="0"/>
                  </a:lnTo>
                  <a:lnTo>
                    <a:pt x="42" y="0"/>
                  </a:lnTo>
                  <a:lnTo>
                    <a:pt x="38" y="2"/>
                  </a:lnTo>
                  <a:lnTo>
                    <a:pt x="29" y="6"/>
                  </a:lnTo>
                  <a:lnTo>
                    <a:pt x="18" y="15"/>
                  </a:lnTo>
                  <a:lnTo>
                    <a:pt x="12" y="20"/>
                  </a:lnTo>
                  <a:lnTo>
                    <a:pt x="8" y="27"/>
                  </a:lnTo>
                  <a:lnTo>
                    <a:pt x="8" y="27"/>
                  </a:lnTo>
                  <a:lnTo>
                    <a:pt x="4" y="35"/>
                  </a:lnTo>
                  <a:lnTo>
                    <a:pt x="2" y="43"/>
                  </a:lnTo>
                  <a:lnTo>
                    <a:pt x="0" y="52"/>
                  </a:lnTo>
                  <a:lnTo>
                    <a:pt x="0" y="60"/>
                  </a:lnTo>
                  <a:lnTo>
                    <a:pt x="0" y="74"/>
                  </a:lnTo>
                  <a:lnTo>
                    <a:pt x="2" y="79"/>
                  </a:lnTo>
                  <a:lnTo>
                    <a:pt x="2" y="79"/>
                  </a:lnTo>
                  <a:lnTo>
                    <a:pt x="3" y="82"/>
                  </a:lnTo>
                  <a:lnTo>
                    <a:pt x="7" y="83"/>
                  </a:lnTo>
                  <a:lnTo>
                    <a:pt x="7"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36" name="Freeform 281"/>
            <p:cNvSpPr>
              <a:spLocks/>
            </p:cNvSpPr>
            <p:nvPr/>
          </p:nvSpPr>
          <p:spPr bwMode="auto">
            <a:xfrm>
              <a:off x="2627313" y="3589338"/>
              <a:ext cx="61913" cy="90488"/>
            </a:xfrm>
            <a:custGeom>
              <a:avLst/>
              <a:gdLst>
                <a:gd name="T0" fmla="*/ 67 w 77"/>
                <a:gd name="T1" fmla="*/ 113 h 113"/>
                <a:gd name="T2" fmla="*/ 67 w 77"/>
                <a:gd name="T3" fmla="*/ 113 h 113"/>
                <a:gd name="T4" fmla="*/ 68 w 77"/>
                <a:gd name="T5" fmla="*/ 113 h 113"/>
                <a:gd name="T6" fmla="*/ 68 w 77"/>
                <a:gd name="T7" fmla="*/ 113 h 113"/>
                <a:gd name="T8" fmla="*/ 71 w 77"/>
                <a:gd name="T9" fmla="*/ 113 h 113"/>
                <a:gd name="T10" fmla="*/ 73 w 77"/>
                <a:gd name="T11" fmla="*/ 109 h 113"/>
                <a:gd name="T12" fmla="*/ 73 w 77"/>
                <a:gd name="T13" fmla="*/ 109 h 113"/>
                <a:gd name="T14" fmla="*/ 75 w 77"/>
                <a:gd name="T15" fmla="*/ 104 h 113"/>
                <a:gd name="T16" fmla="*/ 77 w 77"/>
                <a:gd name="T17" fmla="*/ 89 h 113"/>
                <a:gd name="T18" fmla="*/ 77 w 77"/>
                <a:gd name="T19" fmla="*/ 79 h 113"/>
                <a:gd name="T20" fmla="*/ 76 w 77"/>
                <a:gd name="T21" fmla="*/ 70 h 113"/>
                <a:gd name="T22" fmla="*/ 75 w 77"/>
                <a:gd name="T23" fmla="*/ 59 h 113"/>
                <a:gd name="T24" fmla="*/ 71 w 77"/>
                <a:gd name="T25" fmla="*/ 50 h 113"/>
                <a:gd name="T26" fmla="*/ 71 w 77"/>
                <a:gd name="T27" fmla="*/ 50 h 113"/>
                <a:gd name="T28" fmla="*/ 65 w 77"/>
                <a:gd name="T29" fmla="*/ 38 h 113"/>
                <a:gd name="T30" fmla="*/ 57 w 77"/>
                <a:gd name="T31" fmla="*/ 28 h 113"/>
                <a:gd name="T32" fmla="*/ 48 w 77"/>
                <a:gd name="T33" fmla="*/ 20 h 113"/>
                <a:gd name="T34" fmla="*/ 38 w 77"/>
                <a:gd name="T35" fmla="*/ 14 h 113"/>
                <a:gd name="T36" fmla="*/ 22 w 77"/>
                <a:gd name="T37" fmla="*/ 4 h 113"/>
                <a:gd name="T38" fmla="*/ 16 w 77"/>
                <a:gd name="T39" fmla="*/ 0 h 113"/>
                <a:gd name="T40" fmla="*/ 16 w 77"/>
                <a:gd name="T41" fmla="*/ 0 h 113"/>
                <a:gd name="T42" fmla="*/ 10 w 77"/>
                <a:gd name="T43" fmla="*/ 0 h 113"/>
                <a:gd name="T44" fmla="*/ 9 w 77"/>
                <a:gd name="T45" fmla="*/ 2 h 113"/>
                <a:gd name="T46" fmla="*/ 8 w 77"/>
                <a:gd name="T47" fmla="*/ 3 h 113"/>
                <a:gd name="T48" fmla="*/ 8 w 77"/>
                <a:gd name="T49" fmla="*/ 3 h 113"/>
                <a:gd name="T50" fmla="*/ 5 w 77"/>
                <a:gd name="T51" fmla="*/ 11 h 113"/>
                <a:gd name="T52" fmla="*/ 1 w 77"/>
                <a:gd name="T53" fmla="*/ 28 h 113"/>
                <a:gd name="T54" fmla="*/ 0 w 77"/>
                <a:gd name="T55" fmla="*/ 39 h 113"/>
                <a:gd name="T56" fmla="*/ 0 w 77"/>
                <a:gd name="T57" fmla="*/ 51 h 113"/>
                <a:gd name="T58" fmla="*/ 1 w 77"/>
                <a:gd name="T59" fmla="*/ 65 h 113"/>
                <a:gd name="T60" fmla="*/ 6 w 77"/>
                <a:gd name="T61" fmla="*/ 78 h 113"/>
                <a:gd name="T62" fmla="*/ 6 w 77"/>
                <a:gd name="T63" fmla="*/ 78 h 113"/>
                <a:gd name="T64" fmla="*/ 8 w 77"/>
                <a:gd name="T65" fmla="*/ 82 h 113"/>
                <a:gd name="T66" fmla="*/ 12 w 77"/>
                <a:gd name="T67" fmla="*/ 88 h 113"/>
                <a:gd name="T68" fmla="*/ 20 w 77"/>
                <a:gd name="T69" fmla="*/ 94 h 113"/>
                <a:gd name="T70" fmla="*/ 29 w 77"/>
                <a:gd name="T71" fmla="*/ 101 h 113"/>
                <a:gd name="T72" fmla="*/ 40 w 77"/>
                <a:gd name="T73" fmla="*/ 106 h 113"/>
                <a:gd name="T74" fmla="*/ 59 w 77"/>
                <a:gd name="T75" fmla="*/ 112 h 113"/>
                <a:gd name="T76" fmla="*/ 67 w 77"/>
                <a:gd name="T77" fmla="*/ 113 h 113"/>
                <a:gd name="T78" fmla="*/ 67 w 77"/>
                <a:gd name="T79"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 h="113">
                  <a:moveTo>
                    <a:pt x="67" y="113"/>
                  </a:moveTo>
                  <a:lnTo>
                    <a:pt x="67" y="113"/>
                  </a:lnTo>
                  <a:lnTo>
                    <a:pt x="68" y="113"/>
                  </a:lnTo>
                  <a:lnTo>
                    <a:pt x="68" y="113"/>
                  </a:lnTo>
                  <a:lnTo>
                    <a:pt x="71" y="113"/>
                  </a:lnTo>
                  <a:lnTo>
                    <a:pt x="73" y="109"/>
                  </a:lnTo>
                  <a:lnTo>
                    <a:pt x="73" y="109"/>
                  </a:lnTo>
                  <a:lnTo>
                    <a:pt x="75" y="104"/>
                  </a:lnTo>
                  <a:lnTo>
                    <a:pt x="77" y="89"/>
                  </a:lnTo>
                  <a:lnTo>
                    <a:pt x="77" y="79"/>
                  </a:lnTo>
                  <a:lnTo>
                    <a:pt x="76" y="70"/>
                  </a:lnTo>
                  <a:lnTo>
                    <a:pt x="75" y="59"/>
                  </a:lnTo>
                  <a:lnTo>
                    <a:pt x="71" y="50"/>
                  </a:lnTo>
                  <a:lnTo>
                    <a:pt x="71" y="50"/>
                  </a:lnTo>
                  <a:lnTo>
                    <a:pt x="65" y="38"/>
                  </a:lnTo>
                  <a:lnTo>
                    <a:pt x="57" y="28"/>
                  </a:lnTo>
                  <a:lnTo>
                    <a:pt x="48" y="20"/>
                  </a:lnTo>
                  <a:lnTo>
                    <a:pt x="38" y="14"/>
                  </a:lnTo>
                  <a:lnTo>
                    <a:pt x="22" y="4"/>
                  </a:lnTo>
                  <a:lnTo>
                    <a:pt x="16" y="0"/>
                  </a:lnTo>
                  <a:lnTo>
                    <a:pt x="16" y="0"/>
                  </a:lnTo>
                  <a:lnTo>
                    <a:pt x="10" y="0"/>
                  </a:lnTo>
                  <a:lnTo>
                    <a:pt x="9" y="2"/>
                  </a:lnTo>
                  <a:lnTo>
                    <a:pt x="8" y="3"/>
                  </a:lnTo>
                  <a:lnTo>
                    <a:pt x="8" y="3"/>
                  </a:lnTo>
                  <a:lnTo>
                    <a:pt x="5" y="11"/>
                  </a:lnTo>
                  <a:lnTo>
                    <a:pt x="1" y="28"/>
                  </a:lnTo>
                  <a:lnTo>
                    <a:pt x="0" y="39"/>
                  </a:lnTo>
                  <a:lnTo>
                    <a:pt x="0" y="51"/>
                  </a:lnTo>
                  <a:lnTo>
                    <a:pt x="1" y="65"/>
                  </a:lnTo>
                  <a:lnTo>
                    <a:pt x="6" y="78"/>
                  </a:lnTo>
                  <a:lnTo>
                    <a:pt x="6" y="78"/>
                  </a:lnTo>
                  <a:lnTo>
                    <a:pt x="8" y="82"/>
                  </a:lnTo>
                  <a:lnTo>
                    <a:pt x="12" y="88"/>
                  </a:lnTo>
                  <a:lnTo>
                    <a:pt x="20" y="94"/>
                  </a:lnTo>
                  <a:lnTo>
                    <a:pt x="29" y="101"/>
                  </a:lnTo>
                  <a:lnTo>
                    <a:pt x="40" y="106"/>
                  </a:lnTo>
                  <a:lnTo>
                    <a:pt x="59" y="112"/>
                  </a:lnTo>
                  <a:lnTo>
                    <a:pt x="67" y="113"/>
                  </a:lnTo>
                  <a:lnTo>
                    <a:pt x="67"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44" name="Group 43"/>
          <p:cNvGrpSpPr>
            <a:grpSpLocks noChangeAspect="1"/>
          </p:cNvGrpSpPr>
          <p:nvPr/>
        </p:nvGrpSpPr>
        <p:grpSpPr>
          <a:xfrm>
            <a:off x="172276" y="2459585"/>
            <a:ext cx="412750" cy="433388"/>
            <a:chOff x="4222751" y="1792288"/>
            <a:chExt cx="222250" cy="233363"/>
          </a:xfrm>
          <a:solidFill>
            <a:schemeClr val="accent6">
              <a:lumMod val="75000"/>
            </a:schemeClr>
          </a:solidFill>
        </p:grpSpPr>
        <p:sp>
          <p:nvSpPr>
            <p:cNvPr id="45" name="Freeform 182"/>
            <p:cNvSpPr>
              <a:spLocks/>
            </p:cNvSpPr>
            <p:nvPr/>
          </p:nvSpPr>
          <p:spPr bwMode="auto">
            <a:xfrm>
              <a:off x="4303713" y="1920875"/>
              <a:ext cx="60325" cy="104775"/>
            </a:xfrm>
            <a:custGeom>
              <a:avLst/>
              <a:gdLst>
                <a:gd name="T0" fmla="*/ 71 w 75"/>
                <a:gd name="T1" fmla="*/ 0 h 131"/>
                <a:gd name="T2" fmla="*/ 5 w 75"/>
                <a:gd name="T3" fmla="*/ 0 h 131"/>
                <a:gd name="T4" fmla="*/ 5 w 75"/>
                <a:gd name="T5" fmla="*/ 0 h 131"/>
                <a:gd name="T6" fmla="*/ 1 w 75"/>
                <a:gd name="T7" fmla="*/ 1 h 131"/>
                <a:gd name="T8" fmla="*/ 0 w 75"/>
                <a:gd name="T9" fmla="*/ 5 h 131"/>
                <a:gd name="T10" fmla="*/ 0 w 75"/>
                <a:gd name="T11" fmla="*/ 127 h 131"/>
                <a:gd name="T12" fmla="*/ 0 w 75"/>
                <a:gd name="T13" fmla="*/ 127 h 131"/>
                <a:gd name="T14" fmla="*/ 1 w 75"/>
                <a:gd name="T15" fmla="*/ 130 h 131"/>
                <a:gd name="T16" fmla="*/ 5 w 75"/>
                <a:gd name="T17" fmla="*/ 131 h 131"/>
                <a:gd name="T18" fmla="*/ 71 w 75"/>
                <a:gd name="T19" fmla="*/ 131 h 131"/>
                <a:gd name="T20" fmla="*/ 71 w 75"/>
                <a:gd name="T21" fmla="*/ 131 h 131"/>
                <a:gd name="T22" fmla="*/ 74 w 75"/>
                <a:gd name="T23" fmla="*/ 130 h 131"/>
                <a:gd name="T24" fmla="*/ 75 w 75"/>
                <a:gd name="T25" fmla="*/ 127 h 131"/>
                <a:gd name="T26" fmla="*/ 75 w 75"/>
                <a:gd name="T27" fmla="*/ 5 h 131"/>
                <a:gd name="T28" fmla="*/ 75 w 75"/>
                <a:gd name="T29" fmla="*/ 5 h 131"/>
                <a:gd name="T30" fmla="*/ 74 w 75"/>
                <a:gd name="T31" fmla="*/ 1 h 131"/>
                <a:gd name="T32" fmla="*/ 71 w 75"/>
                <a:gd name="T33" fmla="*/ 0 h 131"/>
                <a:gd name="T34" fmla="*/ 71 w 75"/>
                <a:gd name="T35"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 h="131">
                  <a:moveTo>
                    <a:pt x="71" y="0"/>
                  </a:moveTo>
                  <a:lnTo>
                    <a:pt x="5" y="0"/>
                  </a:lnTo>
                  <a:lnTo>
                    <a:pt x="5" y="0"/>
                  </a:lnTo>
                  <a:lnTo>
                    <a:pt x="1" y="1"/>
                  </a:lnTo>
                  <a:lnTo>
                    <a:pt x="0" y="5"/>
                  </a:lnTo>
                  <a:lnTo>
                    <a:pt x="0" y="127"/>
                  </a:lnTo>
                  <a:lnTo>
                    <a:pt x="0" y="127"/>
                  </a:lnTo>
                  <a:lnTo>
                    <a:pt x="1" y="130"/>
                  </a:lnTo>
                  <a:lnTo>
                    <a:pt x="5" y="131"/>
                  </a:lnTo>
                  <a:lnTo>
                    <a:pt x="71" y="131"/>
                  </a:lnTo>
                  <a:lnTo>
                    <a:pt x="71" y="131"/>
                  </a:lnTo>
                  <a:lnTo>
                    <a:pt x="74" y="130"/>
                  </a:lnTo>
                  <a:lnTo>
                    <a:pt x="75" y="127"/>
                  </a:lnTo>
                  <a:lnTo>
                    <a:pt x="75" y="5"/>
                  </a:lnTo>
                  <a:lnTo>
                    <a:pt x="75" y="5"/>
                  </a:lnTo>
                  <a:lnTo>
                    <a:pt x="74" y="1"/>
                  </a:lnTo>
                  <a:lnTo>
                    <a:pt x="71" y="0"/>
                  </a:lnTo>
                  <a:lnTo>
                    <a:pt x="7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46" name="Freeform 183"/>
            <p:cNvSpPr>
              <a:spLocks/>
            </p:cNvSpPr>
            <p:nvPr/>
          </p:nvSpPr>
          <p:spPr bwMode="auto">
            <a:xfrm>
              <a:off x="4222751" y="1966913"/>
              <a:ext cx="58738" cy="58738"/>
            </a:xfrm>
            <a:custGeom>
              <a:avLst/>
              <a:gdLst>
                <a:gd name="T0" fmla="*/ 70 w 74"/>
                <a:gd name="T1" fmla="*/ 0 h 75"/>
                <a:gd name="T2" fmla="*/ 4 w 74"/>
                <a:gd name="T3" fmla="*/ 0 h 75"/>
                <a:gd name="T4" fmla="*/ 4 w 74"/>
                <a:gd name="T5" fmla="*/ 0 h 75"/>
                <a:gd name="T6" fmla="*/ 1 w 74"/>
                <a:gd name="T7" fmla="*/ 2 h 75"/>
                <a:gd name="T8" fmla="*/ 0 w 74"/>
                <a:gd name="T9" fmla="*/ 6 h 75"/>
                <a:gd name="T10" fmla="*/ 0 w 74"/>
                <a:gd name="T11" fmla="*/ 71 h 75"/>
                <a:gd name="T12" fmla="*/ 0 w 74"/>
                <a:gd name="T13" fmla="*/ 71 h 75"/>
                <a:gd name="T14" fmla="*/ 1 w 74"/>
                <a:gd name="T15" fmla="*/ 74 h 75"/>
                <a:gd name="T16" fmla="*/ 4 w 74"/>
                <a:gd name="T17" fmla="*/ 75 h 75"/>
                <a:gd name="T18" fmla="*/ 70 w 74"/>
                <a:gd name="T19" fmla="*/ 75 h 75"/>
                <a:gd name="T20" fmla="*/ 70 w 74"/>
                <a:gd name="T21" fmla="*/ 75 h 75"/>
                <a:gd name="T22" fmla="*/ 73 w 74"/>
                <a:gd name="T23" fmla="*/ 74 h 75"/>
                <a:gd name="T24" fmla="*/ 74 w 74"/>
                <a:gd name="T25" fmla="*/ 71 h 75"/>
                <a:gd name="T26" fmla="*/ 74 w 74"/>
                <a:gd name="T27" fmla="*/ 6 h 75"/>
                <a:gd name="T28" fmla="*/ 74 w 74"/>
                <a:gd name="T29" fmla="*/ 6 h 75"/>
                <a:gd name="T30" fmla="*/ 73 w 74"/>
                <a:gd name="T31" fmla="*/ 2 h 75"/>
                <a:gd name="T32" fmla="*/ 70 w 74"/>
                <a:gd name="T33" fmla="*/ 0 h 75"/>
                <a:gd name="T34" fmla="*/ 70 w 74"/>
                <a:gd name="T35"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75">
                  <a:moveTo>
                    <a:pt x="70" y="0"/>
                  </a:moveTo>
                  <a:lnTo>
                    <a:pt x="4" y="0"/>
                  </a:lnTo>
                  <a:lnTo>
                    <a:pt x="4" y="0"/>
                  </a:lnTo>
                  <a:lnTo>
                    <a:pt x="1" y="2"/>
                  </a:lnTo>
                  <a:lnTo>
                    <a:pt x="0" y="6"/>
                  </a:lnTo>
                  <a:lnTo>
                    <a:pt x="0" y="71"/>
                  </a:lnTo>
                  <a:lnTo>
                    <a:pt x="0" y="71"/>
                  </a:lnTo>
                  <a:lnTo>
                    <a:pt x="1" y="74"/>
                  </a:lnTo>
                  <a:lnTo>
                    <a:pt x="4" y="75"/>
                  </a:lnTo>
                  <a:lnTo>
                    <a:pt x="70" y="75"/>
                  </a:lnTo>
                  <a:lnTo>
                    <a:pt x="70" y="75"/>
                  </a:lnTo>
                  <a:lnTo>
                    <a:pt x="73" y="74"/>
                  </a:lnTo>
                  <a:lnTo>
                    <a:pt x="74" y="71"/>
                  </a:lnTo>
                  <a:lnTo>
                    <a:pt x="74" y="6"/>
                  </a:lnTo>
                  <a:lnTo>
                    <a:pt x="74" y="6"/>
                  </a:lnTo>
                  <a:lnTo>
                    <a:pt x="73" y="2"/>
                  </a:lnTo>
                  <a:lnTo>
                    <a:pt x="70" y="0"/>
                  </a:lnTo>
                  <a:lnTo>
                    <a:pt x="7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47" name="Freeform 184"/>
            <p:cNvSpPr>
              <a:spLocks/>
            </p:cNvSpPr>
            <p:nvPr/>
          </p:nvSpPr>
          <p:spPr bwMode="auto">
            <a:xfrm>
              <a:off x="4386263" y="1876425"/>
              <a:ext cx="58738" cy="149225"/>
            </a:xfrm>
            <a:custGeom>
              <a:avLst/>
              <a:gdLst>
                <a:gd name="T0" fmla="*/ 70 w 76"/>
                <a:gd name="T1" fmla="*/ 0 h 188"/>
                <a:gd name="T2" fmla="*/ 6 w 76"/>
                <a:gd name="T3" fmla="*/ 0 h 188"/>
                <a:gd name="T4" fmla="*/ 6 w 76"/>
                <a:gd name="T5" fmla="*/ 0 h 188"/>
                <a:gd name="T6" fmla="*/ 2 w 76"/>
                <a:gd name="T7" fmla="*/ 2 h 188"/>
                <a:gd name="T8" fmla="*/ 0 w 76"/>
                <a:gd name="T9" fmla="*/ 6 h 188"/>
                <a:gd name="T10" fmla="*/ 0 w 76"/>
                <a:gd name="T11" fmla="*/ 184 h 188"/>
                <a:gd name="T12" fmla="*/ 0 w 76"/>
                <a:gd name="T13" fmla="*/ 184 h 188"/>
                <a:gd name="T14" fmla="*/ 2 w 76"/>
                <a:gd name="T15" fmla="*/ 187 h 188"/>
                <a:gd name="T16" fmla="*/ 6 w 76"/>
                <a:gd name="T17" fmla="*/ 188 h 188"/>
                <a:gd name="T18" fmla="*/ 70 w 76"/>
                <a:gd name="T19" fmla="*/ 188 h 188"/>
                <a:gd name="T20" fmla="*/ 70 w 76"/>
                <a:gd name="T21" fmla="*/ 188 h 188"/>
                <a:gd name="T22" fmla="*/ 74 w 76"/>
                <a:gd name="T23" fmla="*/ 187 h 188"/>
                <a:gd name="T24" fmla="*/ 76 w 76"/>
                <a:gd name="T25" fmla="*/ 184 h 188"/>
                <a:gd name="T26" fmla="*/ 76 w 76"/>
                <a:gd name="T27" fmla="*/ 6 h 188"/>
                <a:gd name="T28" fmla="*/ 76 w 76"/>
                <a:gd name="T29" fmla="*/ 6 h 188"/>
                <a:gd name="T30" fmla="*/ 74 w 76"/>
                <a:gd name="T31" fmla="*/ 2 h 188"/>
                <a:gd name="T32" fmla="*/ 70 w 76"/>
                <a:gd name="T33" fmla="*/ 0 h 188"/>
                <a:gd name="T34" fmla="*/ 70 w 76"/>
                <a:gd name="T35"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 h="188">
                  <a:moveTo>
                    <a:pt x="70" y="0"/>
                  </a:moveTo>
                  <a:lnTo>
                    <a:pt x="6" y="0"/>
                  </a:lnTo>
                  <a:lnTo>
                    <a:pt x="6" y="0"/>
                  </a:lnTo>
                  <a:lnTo>
                    <a:pt x="2" y="2"/>
                  </a:lnTo>
                  <a:lnTo>
                    <a:pt x="0" y="6"/>
                  </a:lnTo>
                  <a:lnTo>
                    <a:pt x="0" y="184"/>
                  </a:lnTo>
                  <a:lnTo>
                    <a:pt x="0" y="184"/>
                  </a:lnTo>
                  <a:lnTo>
                    <a:pt x="2" y="187"/>
                  </a:lnTo>
                  <a:lnTo>
                    <a:pt x="6" y="188"/>
                  </a:lnTo>
                  <a:lnTo>
                    <a:pt x="70" y="188"/>
                  </a:lnTo>
                  <a:lnTo>
                    <a:pt x="70" y="188"/>
                  </a:lnTo>
                  <a:lnTo>
                    <a:pt x="74" y="187"/>
                  </a:lnTo>
                  <a:lnTo>
                    <a:pt x="76" y="184"/>
                  </a:lnTo>
                  <a:lnTo>
                    <a:pt x="76" y="6"/>
                  </a:lnTo>
                  <a:lnTo>
                    <a:pt x="76" y="6"/>
                  </a:lnTo>
                  <a:lnTo>
                    <a:pt x="74" y="2"/>
                  </a:lnTo>
                  <a:lnTo>
                    <a:pt x="70" y="0"/>
                  </a:lnTo>
                  <a:lnTo>
                    <a:pt x="7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48" name="Freeform 185"/>
            <p:cNvSpPr>
              <a:spLocks/>
            </p:cNvSpPr>
            <p:nvPr/>
          </p:nvSpPr>
          <p:spPr bwMode="auto">
            <a:xfrm>
              <a:off x="4252913" y="1792288"/>
              <a:ext cx="163513" cy="87313"/>
            </a:xfrm>
            <a:custGeom>
              <a:avLst/>
              <a:gdLst>
                <a:gd name="T0" fmla="*/ 102 w 205"/>
                <a:gd name="T1" fmla="*/ 110 h 110"/>
                <a:gd name="T2" fmla="*/ 102 w 205"/>
                <a:gd name="T3" fmla="*/ 110 h 110"/>
                <a:gd name="T4" fmla="*/ 106 w 205"/>
                <a:gd name="T5" fmla="*/ 110 h 110"/>
                <a:gd name="T6" fmla="*/ 108 w 205"/>
                <a:gd name="T7" fmla="*/ 109 h 110"/>
                <a:gd name="T8" fmla="*/ 188 w 205"/>
                <a:gd name="T9" fmla="*/ 30 h 110"/>
                <a:gd name="T10" fmla="*/ 188 w 205"/>
                <a:gd name="T11" fmla="*/ 65 h 110"/>
                <a:gd name="T12" fmla="*/ 188 w 205"/>
                <a:gd name="T13" fmla="*/ 65 h 110"/>
                <a:gd name="T14" fmla="*/ 188 w 205"/>
                <a:gd name="T15" fmla="*/ 69 h 110"/>
                <a:gd name="T16" fmla="*/ 189 w 205"/>
                <a:gd name="T17" fmla="*/ 71 h 110"/>
                <a:gd name="T18" fmla="*/ 192 w 205"/>
                <a:gd name="T19" fmla="*/ 73 h 110"/>
                <a:gd name="T20" fmla="*/ 196 w 205"/>
                <a:gd name="T21" fmla="*/ 74 h 110"/>
                <a:gd name="T22" fmla="*/ 196 w 205"/>
                <a:gd name="T23" fmla="*/ 74 h 110"/>
                <a:gd name="T24" fmla="*/ 200 w 205"/>
                <a:gd name="T25" fmla="*/ 73 h 110"/>
                <a:gd name="T26" fmla="*/ 202 w 205"/>
                <a:gd name="T27" fmla="*/ 71 h 110"/>
                <a:gd name="T28" fmla="*/ 204 w 205"/>
                <a:gd name="T29" fmla="*/ 69 h 110"/>
                <a:gd name="T30" fmla="*/ 205 w 205"/>
                <a:gd name="T31" fmla="*/ 65 h 110"/>
                <a:gd name="T32" fmla="*/ 205 w 205"/>
                <a:gd name="T33" fmla="*/ 8 h 110"/>
                <a:gd name="T34" fmla="*/ 205 w 205"/>
                <a:gd name="T35" fmla="*/ 8 h 110"/>
                <a:gd name="T36" fmla="*/ 204 w 205"/>
                <a:gd name="T37" fmla="*/ 6 h 110"/>
                <a:gd name="T38" fmla="*/ 204 w 205"/>
                <a:gd name="T39" fmla="*/ 6 h 110"/>
                <a:gd name="T40" fmla="*/ 202 w 205"/>
                <a:gd name="T41" fmla="*/ 3 h 110"/>
                <a:gd name="T42" fmla="*/ 198 w 205"/>
                <a:gd name="T43" fmla="*/ 0 h 110"/>
                <a:gd name="T44" fmla="*/ 198 w 205"/>
                <a:gd name="T45" fmla="*/ 0 h 110"/>
                <a:gd name="T46" fmla="*/ 196 w 205"/>
                <a:gd name="T47" fmla="*/ 0 h 110"/>
                <a:gd name="T48" fmla="*/ 139 w 205"/>
                <a:gd name="T49" fmla="*/ 0 h 110"/>
                <a:gd name="T50" fmla="*/ 139 w 205"/>
                <a:gd name="T51" fmla="*/ 0 h 110"/>
                <a:gd name="T52" fmla="*/ 137 w 205"/>
                <a:gd name="T53" fmla="*/ 0 h 110"/>
                <a:gd name="T54" fmla="*/ 134 w 205"/>
                <a:gd name="T55" fmla="*/ 3 h 110"/>
                <a:gd name="T56" fmla="*/ 131 w 205"/>
                <a:gd name="T57" fmla="*/ 6 h 110"/>
                <a:gd name="T58" fmla="*/ 131 w 205"/>
                <a:gd name="T59" fmla="*/ 8 h 110"/>
                <a:gd name="T60" fmla="*/ 131 w 205"/>
                <a:gd name="T61" fmla="*/ 8 h 110"/>
                <a:gd name="T62" fmla="*/ 131 w 205"/>
                <a:gd name="T63" fmla="*/ 12 h 110"/>
                <a:gd name="T64" fmla="*/ 134 w 205"/>
                <a:gd name="T65" fmla="*/ 15 h 110"/>
                <a:gd name="T66" fmla="*/ 137 w 205"/>
                <a:gd name="T67" fmla="*/ 16 h 110"/>
                <a:gd name="T68" fmla="*/ 139 w 205"/>
                <a:gd name="T69" fmla="*/ 18 h 110"/>
                <a:gd name="T70" fmla="*/ 174 w 205"/>
                <a:gd name="T71" fmla="*/ 18 h 110"/>
                <a:gd name="T72" fmla="*/ 102 w 205"/>
                <a:gd name="T73" fmla="*/ 90 h 110"/>
                <a:gd name="T74" fmla="*/ 61 w 205"/>
                <a:gd name="T75" fmla="*/ 50 h 110"/>
                <a:gd name="T76" fmla="*/ 61 w 205"/>
                <a:gd name="T77" fmla="*/ 50 h 110"/>
                <a:gd name="T78" fmla="*/ 59 w 205"/>
                <a:gd name="T79" fmla="*/ 47 h 110"/>
                <a:gd name="T80" fmla="*/ 55 w 205"/>
                <a:gd name="T81" fmla="*/ 47 h 110"/>
                <a:gd name="T82" fmla="*/ 52 w 205"/>
                <a:gd name="T83" fmla="*/ 47 h 110"/>
                <a:gd name="T84" fmla="*/ 49 w 205"/>
                <a:gd name="T85" fmla="*/ 50 h 110"/>
                <a:gd name="T86" fmla="*/ 2 w 205"/>
                <a:gd name="T87" fmla="*/ 96 h 110"/>
                <a:gd name="T88" fmla="*/ 2 w 205"/>
                <a:gd name="T89" fmla="*/ 96 h 110"/>
                <a:gd name="T90" fmla="*/ 0 w 205"/>
                <a:gd name="T91" fmla="*/ 100 h 110"/>
                <a:gd name="T92" fmla="*/ 0 w 205"/>
                <a:gd name="T93" fmla="*/ 102 h 110"/>
                <a:gd name="T94" fmla="*/ 0 w 205"/>
                <a:gd name="T95" fmla="*/ 105 h 110"/>
                <a:gd name="T96" fmla="*/ 2 w 205"/>
                <a:gd name="T97" fmla="*/ 109 h 110"/>
                <a:gd name="T98" fmla="*/ 2 w 205"/>
                <a:gd name="T99" fmla="*/ 109 h 110"/>
                <a:gd name="T100" fmla="*/ 5 w 205"/>
                <a:gd name="T101" fmla="*/ 110 h 110"/>
                <a:gd name="T102" fmla="*/ 8 w 205"/>
                <a:gd name="T103" fmla="*/ 110 h 110"/>
                <a:gd name="T104" fmla="*/ 12 w 205"/>
                <a:gd name="T105" fmla="*/ 110 h 110"/>
                <a:gd name="T106" fmla="*/ 14 w 205"/>
                <a:gd name="T107" fmla="*/ 109 h 110"/>
                <a:gd name="T108" fmla="*/ 55 w 205"/>
                <a:gd name="T109" fmla="*/ 67 h 110"/>
                <a:gd name="T110" fmla="*/ 96 w 205"/>
                <a:gd name="T111" fmla="*/ 109 h 110"/>
                <a:gd name="T112" fmla="*/ 96 w 205"/>
                <a:gd name="T113" fmla="*/ 109 h 110"/>
                <a:gd name="T114" fmla="*/ 99 w 205"/>
                <a:gd name="T115" fmla="*/ 110 h 110"/>
                <a:gd name="T116" fmla="*/ 102 w 205"/>
                <a:gd name="T117" fmla="*/ 110 h 110"/>
                <a:gd name="T118" fmla="*/ 102 w 205"/>
                <a:gd name="T119"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5" h="110">
                  <a:moveTo>
                    <a:pt x="102" y="110"/>
                  </a:moveTo>
                  <a:lnTo>
                    <a:pt x="102" y="110"/>
                  </a:lnTo>
                  <a:lnTo>
                    <a:pt x="106" y="110"/>
                  </a:lnTo>
                  <a:lnTo>
                    <a:pt x="108" y="109"/>
                  </a:lnTo>
                  <a:lnTo>
                    <a:pt x="188" y="30"/>
                  </a:lnTo>
                  <a:lnTo>
                    <a:pt x="188" y="65"/>
                  </a:lnTo>
                  <a:lnTo>
                    <a:pt x="188" y="65"/>
                  </a:lnTo>
                  <a:lnTo>
                    <a:pt x="188" y="69"/>
                  </a:lnTo>
                  <a:lnTo>
                    <a:pt x="189" y="71"/>
                  </a:lnTo>
                  <a:lnTo>
                    <a:pt x="192" y="73"/>
                  </a:lnTo>
                  <a:lnTo>
                    <a:pt x="196" y="74"/>
                  </a:lnTo>
                  <a:lnTo>
                    <a:pt x="196" y="74"/>
                  </a:lnTo>
                  <a:lnTo>
                    <a:pt x="200" y="73"/>
                  </a:lnTo>
                  <a:lnTo>
                    <a:pt x="202" y="71"/>
                  </a:lnTo>
                  <a:lnTo>
                    <a:pt x="204" y="69"/>
                  </a:lnTo>
                  <a:lnTo>
                    <a:pt x="205" y="65"/>
                  </a:lnTo>
                  <a:lnTo>
                    <a:pt x="205" y="8"/>
                  </a:lnTo>
                  <a:lnTo>
                    <a:pt x="205" y="8"/>
                  </a:lnTo>
                  <a:lnTo>
                    <a:pt x="204" y="6"/>
                  </a:lnTo>
                  <a:lnTo>
                    <a:pt x="204" y="6"/>
                  </a:lnTo>
                  <a:lnTo>
                    <a:pt x="202" y="3"/>
                  </a:lnTo>
                  <a:lnTo>
                    <a:pt x="198" y="0"/>
                  </a:lnTo>
                  <a:lnTo>
                    <a:pt x="198" y="0"/>
                  </a:lnTo>
                  <a:lnTo>
                    <a:pt x="196" y="0"/>
                  </a:lnTo>
                  <a:lnTo>
                    <a:pt x="139" y="0"/>
                  </a:lnTo>
                  <a:lnTo>
                    <a:pt x="139" y="0"/>
                  </a:lnTo>
                  <a:lnTo>
                    <a:pt x="137" y="0"/>
                  </a:lnTo>
                  <a:lnTo>
                    <a:pt x="134" y="3"/>
                  </a:lnTo>
                  <a:lnTo>
                    <a:pt x="131" y="6"/>
                  </a:lnTo>
                  <a:lnTo>
                    <a:pt x="131" y="8"/>
                  </a:lnTo>
                  <a:lnTo>
                    <a:pt x="131" y="8"/>
                  </a:lnTo>
                  <a:lnTo>
                    <a:pt x="131" y="12"/>
                  </a:lnTo>
                  <a:lnTo>
                    <a:pt x="134" y="15"/>
                  </a:lnTo>
                  <a:lnTo>
                    <a:pt x="137" y="16"/>
                  </a:lnTo>
                  <a:lnTo>
                    <a:pt x="139" y="18"/>
                  </a:lnTo>
                  <a:lnTo>
                    <a:pt x="174" y="18"/>
                  </a:lnTo>
                  <a:lnTo>
                    <a:pt x="102" y="90"/>
                  </a:lnTo>
                  <a:lnTo>
                    <a:pt x="61" y="50"/>
                  </a:lnTo>
                  <a:lnTo>
                    <a:pt x="61" y="50"/>
                  </a:lnTo>
                  <a:lnTo>
                    <a:pt x="59" y="47"/>
                  </a:lnTo>
                  <a:lnTo>
                    <a:pt x="55" y="47"/>
                  </a:lnTo>
                  <a:lnTo>
                    <a:pt x="52" y="47"/>
                  </a:lnTo>
                  <a:lnTo>
                    <a:pt x="49" y="50"/>
                  </a:lnTo>
                  <a:lnTo>
                    <a:pt x="2" y="96"/>
                  </a:lnTo>
                  <a:lnTo>
                    <a:pt x="2" y="96"/>
                  </a:lnTo>
                  <a:lnTo>
                    <a:pt x="0" y="100"/>
                  </a:lnTo>
                  <a:lnTo>
                    <a:pt x="0" y="102"/>
                  </a:lnTo>
                  <a:lnTo>
                    <a:pt x="0" y="105"/>
                  </a:lnTo>
                  <a:lnTo>
                    <a:pt x="2" y="109"/>
                  </a:lnTo>
                  <a:lnTo>
                    <a:pt x="2" y="109"/>
                  </a:lnTo>
                  <a:lnTo>
                    <a:pt x="5" y="110"/>
                  </a:lnTo>
                  <a:lnTo>
                    <a:pt x="8" y="110"/>
                  </a:lnTo>
                  <a:lnTo>
                    <a:pt x="12" y="110"/>
                  </a:lnTo>
                  <a:lnTo>
                    <a:pt x="14" y="109"/>
                  </a:lnTo>
                  <a:lnTo>
                    <a:pt x="55" y="67"/>
                  </a:lnTo>
                  <a:lnTo>
                    <a:pt x="96" y="109"/>
                  </a:lnTo>
                  <a:lnTo>
                    <a:pt x="96" y="109"/>
                  </a:lnTo>
                  <a:lnTo>
                    <a:pt x="99" y="110"/>
                  </a:lnTo>
                  <a:lnTo>
                    <a:pt x="102" y="110"/>
                  </a:lnTo>
                  <a:lnTo>
                    <a:pt x="102"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49" name="Group 48"/>
          <p:cNvGrpSpPr>
            <a:grpSpLocks noChangeAspect="1"/>
          </p:cNvGrpSpPr>
          <p:nvPr/>
        </p:nvGrpSpPr>
        <p:grpSpPr>
          <a:xfrm>
            <a:off x="195771" y="5847993"/>
            <a:ext cx="411480" cy="398781"/>
            <a:chOff x="5103813" y="2625725"/>
            <a:chExt cx="257175" cy="249238"/>
          </a:xfrm>
          <a:solidFill>
            <a:schemeClr val="accent6">
              <a:lumMod val="75000"/>
            </a:schemeClr>
          </a:solidFill>
        </p:grpSpPr>
        <p:sp>
          <p:nvSpPr>
            <p:cNvPr id="50" name="Freeform 355"/>
            <p:cNvSpPr>
              <a:spLocks/>
            </p:cNvSpPr>
            <p:nvPr/>
          </p:nvSpPr>
          <p:spPr bwMode="auto">
            <a:xfrm>
              <a:off x="5284788" y="2833688"/>
              <a:ext cx="60325" cy="41275"/>
            </a:xfrm>
            <a:custGeom>
              <a:avLst/>
              <a:gdLst>
                <a:gd name="T0" fmla="*/ 0 w 75"/>
                <a:gd name="T1" fmla="*/ 0 h 54"/>
                <a:gd name="T2" fmla="*/ 0 w 75"/>
                <a:gd name="T3" fmla="*/ 49 h 54"/>
                <a:gd name="T4" fmla="*/ 0 w 75"/>
                <a:gd name="T5" fmla="*/ 49 h 54"/>
                <a:gd name="T6" fmla="*/ 0 w 75"/>
                <a:gd name="T7" fmla="*/ 51 h 54"/>
                <a:gd name="T8" fmla="*/ 3 w 75"/>
                <a:gd name="T9" fmla="*/ 54 h 54"/>
                <a:gd name="T10" fmla="*/ 3 w 75"/>
                <a:gd name="T11" fmla="*/ 54 h 54"/>
                <a:gd name="T12" fmla="*/ 5 w 75"/>
                <a:gd name="T13" fmla="*/ 54 h 54"/>
                <a:gd name="T14" fmla="*/ 8 w 75"/>
                <a:gd name="T15" fmla="*/ 54 h 54"/>
                <a:gd name="T16" fmla="*/ 37 w 75"/>
                <a:gd name="T17" fmla="*/ 34 h 54"/>
                <a:gd name="T18" fmla="*/ 67 w 75"/>
                <a:gd name="T19" fmla="*/ 54 h 54"/>
                <a:gd name="T20" fmla="*/ 67 w 75"/>
                <a:gd name="T21" fmla="*/ 54 h 54"/>
                <a:gd name="T22" fmla="*/ 70 w 75"/>
                <a:gd name="T23" fmla="*/ 54 h 54"/>
                <a:gd name="T24" fmla="*/ 70 w 75"/>
                <a:gd name="T25" fmla="*/ 54 h 54"/>
                <a:gd name="T26" fmla="*/ 72 w 75"/>
                <a:gd name="T27" fmla="*/ 54 h 54"/>
                <a:gd name="T28" fmla="*/ 72 w 75"/>
                <a:gd name="T29" fmla="*/ 54 h 54"/>
                <a:gd name="T30" fmla="*/ 74 w 75"/>
                <a:gd name="T31" fmla="*/ 51 h 54"/>
                <a:gd name="T32" fmla="*/ 75 w 75"/>
                <a:gd name="T33" fmla="*/ 49 h 54"/>
                <a:gd name="T34" fmla="*/ 75 w 75"/>
                <a:gd name="T35" fmla="*/ 0 h 54"/>
                <a:gd name="T36" fmla="*/ 75 w 75"/>
                <a:gd name="T37" fmla="*/ 0 h 54"/>
                <a:gd name="T38" fmla="*/ 67 w 75"/>
                <a:gd name="T39" fmla="*/ 4 h 54"/>
                <a:gd name="T40" fmla="*/ 58 w 75"/>
                <a:gd name="T41" fmla="*/ 8 h 54"/>
                <a:gd name="T42" fmla="*/ 47 w 75"/>
                <a:gd name="T43" fmla="*/ 10 h 54"/>
                <a:gd name="T44" fmla="*/ 37 w 75"/>
                <a:gd name="T45" fmla="*/ 11 h 54"/>
                <a:gd name="T46" fmla="*/ 37 w 75"/>
                <a:gd name="T47" fmla="*/ 11 h 54"/>
                <a:gd name="T48" fmla="*/ 27 w 75"/>
                <a:gd name="T49" fmla="*/ 10 h 54"/>
                <a:gd name="T50" fmla="*/ 17 w 75"/>
                <a:gd name="T51" fmla="*/ 8 h 54"/>
                <a:gd name="T52" fmla="*/ 8 w 75"/>
                <a:gd name="T53" fmla="*/ 4 h 54"/>
                <a:gd name="T54" fmla="*/ 0 w 75"/>
                <a:gd name="T55" fmla="*/ 0 h 54"/>
                <a:gd name="T56" fmla="*/ 0 w 75"/>
                <a:gd name="T5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5" h="54">
                  <a:moveTo>
                    <a:pt x="0" y="0"/>
                  </a:moveTo>
                  <a:lnTo>
                    <a:pt x="0" y="49"/>
                  </a:lnTo>
                  <a:lnTo>
                    <a:pt x="0" y="49"/>
                  </a:lnTo>
                  <a:lnTo>
                    <a:pt x="0" y="51"/>
                  </a:lnTo>
                  <a:lnTo>
                    <a:pt x="3" y="54"/>
                  </a:lnTo>
                  <a:lnTo>
                    <a:pt x="3" y="54"/>
                  </a:lnTo>
                  <a:lnTo>
                    <a:pt x="5" y="54"/>
                  </a:lnTo>
                  <a:lnTo>
                    <a:pt x="8" y="54"/>
                  </a:lnTo>
                  <a:lnTo>
                    <a:pt x="37" y="34"/>
                  </a:lnTo>
                  <a:lnTo>
                    <a:pt x="67" y="54"/>
                  </a:lnTo>
                  <a:lnTo>
                    <a:pt x="67" y="54"/>
                  </a:lnTo>
                  <a:lnTo>
                    <a:pt x="70" y="54"/>
                  </a:lnTo>
                  <a:lnTo>
                    <a:pt x="70" y="54"/>
                  </a:lnTo>
                  <a:lnTo>
                    <a:pt x="72" y="54"/>
                  </a:lnTo>
                  <a:lnTo>
                    <a:pt x="72" y="54"/>
                  </a:lnTo>
                  <a:lnTo>
                    <a:pt x="74" y="51"/>
                  </a:lnTo>
                  <a:lnTo>
                    <a:pt x="75" y="49"/>
                  </a:lnTo>
                  <a:lnTo>
                    <a:pt x="75" y="0"/>
                  </a:lnTo>
                  <a:lnTo>
                    <a:pt x="75" y="0"/>
                  </a:lnTo>
                  <a:lnTo>
                    <a:pt x="67" y="4"/>
                  </a:lnTo>
                  <a:lnTo>
                    <a:pt x="58" y="8"/>
                  </a:lnTo>
                  <a:lnTo>
                    <a:pt x="47" y="10"/>
                  </a:lnTo>
                  <a:lnTo>
                    <a:pt x="37" y="11"/>
                  </a:lnTo>
                  <a:lnTo>
                    <a:pt x="37" y="11"/>
                  </a:lnTo>
                  <a:lnTo>
                    <a:pt x="27" y="10"/>
                  </a:lnTo>
                  <a:lnTo>
                    <a:pt x="17" y="8"/>
                  </a:lnTo>
                  <a:lnTo>
                    <a:pt x="8" y="4"/>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51" name="Freeform 356"/>
            <p:cNvSpPr>
              <a:spLocks/>
            </p:cNvSpPr>
            <p:nvPr/>
          </p:nvSpPr>
          <p:spPr bwMode="auto">
            <a:xfrm>
              <a:off x="5265738" y="2738438"/>
              <a:ext cx="95250" cy="95250"/>
            </a:xfrm>
            <a:custGeom>
              <a:avLst/>
              <a:gdLst>
                <a:gd name="T0" fmla="*/ 60 w 120"/>
                <a:gd name="T1" fmla="*/ 0 h 119"/>
                <a:gd name="T2" fmla="*/ 60 w 120"/>
                <a:gd name="T3" fmla="*/ 0 h 119"/>
                <a:gd name="T4" fmla="*/ 48 w 120"/>
                <a:gd name="T5" fmla="*/ 1 h 119"/>
                <a:gd name="T6" fmla="*/ 38 w 120"/>
                <a:gd name="T7" fmla="*/ 5 h 119"/>
                <a:gd name="T8" fmla="*/ 27 w 120"/>
                <a:gd name="T9" fmla="*/ 10 h 119"/>
                <a:gd name="T10" fmla="*/ 17 w 120"/>
                <a:gd name="T11" fmla="*/ 17 h 119"/>
                <a:gd name="T12" fmla="*/ 11 w 120"/>
                <a:gd name="T13" fmla="*/ 27 h 119"/>
                <a:gd name="T14" fmla="*/ 5 w 120"/>
                <a:gd name="T15" fmla="*/ 36 h 119"/>
                <a:gd name="T16" fmla="*/ 1 w 120"/>
                <a:gd name="T17" fmla="*/ 48 h 119"/>
                <a:gd name="T18" fmla="*/ 0 w 120"/>
                <a:gd name="T19" fmla="*/ 60 h 119"/>
                <a:gd name="T20" fmla="*/ 0 w 120"/>
                <a:gd name="T21" fmla="*/ 60 h 119"/>
                <a:gd name="T22" fmla="*/ 1 w 120"/>
                <a:gd name="T23" fmla="*/ 72 h 119"/>
                <a:gd name="T24" fmla="*/ 5 w 120"/>
                <a:gd name="T25" fmla="*/ 83 h 119"/>
                <a:gd name="T26" fmla="*/ 11 w 120"/>
                <a:gd name="T27" fmla="*/ 92 h 119"/>
                <a:gd name="T28" fmla="*/ 17 w 120"/>
                <a:gd name="T29" fmla="*/ 102 h 119"/>
                <a:gd name="T30" fmla="*/ 27 w 120"/>
                <a:gd name="T31" fmla="*/ 108 h 119"/>
                <a:gd name="T32" fmla="*/ 38 w 120"/>
                <a:gd name="T33" fmla="*/ 114 h 119"/>
                <a:gd name="T34" fmla="*/ 48 w 120"/>
                <a:gd name="T35" fmla="*/ 118 h 119"/>
                <a:gd name="T36" fmla="*/ 60 w 120"/>
                <a:gd name="T37" fmla="*/ 119 h 119"/>
                <a:gd name="T38" fmla="*/ 60 w 120"/>
                <a:gd name="T39" fmla="*/ 119 h 119"/>
                <a:gd name="T40" fmla="*/ 73 w 120"/>
                <a:gd name="T41" fmla="*/ 118 h 119"/>
                <a:gd name="T42" fmla="*/ 83 w 120"/>
                <a:gd name="T43" fmla="*/ 114 h 119"/>
                <a:gd name="T44" fmla="*/ 94 w 120"/>
                <a:gd name="T45" fmla="*/ 108 h 119"/>
                <a:gd name="T46" fmla="*/ 102 w 120"/>
                <a:gd name="T47" fmla="*/ 102 h 119"/>
                <a:gd name="T48" fmla="*/ 110 w 120"/>
                <a:gd name="T49" fmla="*/ 92 h 119"/>
                <a:gd name="T50" fmla="*/ 115 w 120"/>
                <a:gd name="T51" fmla="*/ 83 h 119"/>
                <a:gd name="T52" fmla="*/ 118 w 120"/>
                <a:gd name="T53" fmla="*/ 72 h 119"/>
                <a:gd name="T54" fmla="*/ 120 w 120"/>
                <a:gd name="T55" fmla="*/ 60 h 119"/>
                <a:gd name="T56" fmla="*/ 120 w 120"/>
                <a:gd name="T57" fmla="*/ 60 h 119"/>
                <a:gd name="T58" fmla="*/ 118 w 120"/>
                <a:gd name="T59" fmla="*/ 48 h 119"/>
                <a:gd name="T60" fmla="*/ 115 w 120"/>
                <a:gd name="T61" fmla="*/ 36 h 119"/>
                <a:gd name="T62" fmla="*/ 110 w 120"/>
                <a:gd name="T63" fmla="*/ 27 h 119"/>
                <a:gd name="T64" fmla="*/ 102 w 120"/>
                <a:gd name="T65" fmla="*/ 17 h 119"/>
                <a:gd name="T66" fmla="*/ 94 w 120"/>
                <a:gd name="T67" fmla="*/ 10 h 119"/>
                <a:gd name="T68" fmla="*/ 83 w 120"/>
                <a:gd name="T69" fmla="*/ 5 h 119"/>
                <a:gd name="T70" fmla="*/ 73 w 120"/>
                <a:gd name="T71" fmla="*/ 1 h 119"/>
                <a:gd name="T72" fmla="*/ 60 w 120"/>
                <a:gd name="T73" fmla="*/ 0 h 119"/>
                <a:gd name="T74" fmla="*/ 60 w 120"/>
                <a:gd name="T7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0" h="119">
                  <a:moveTo>
                    <a:pt x="60" y="0"/>
                  </a:moveTo>
                  <a:lnTo>
                    <a:pt x="60" y="0"/>
                  </a:lnTo>
                  <a:lnTo>
                    <a:pt x="48" y="1"/>
                  </a:lnTo>
                  <a:lnTo>
                    <a:pt x="38" y="5"/>
                  </a:lnTo>
                  <a:lnTo>
                    <a:pt x="27" y="10"/>
                  </a:lnTo>
                  <a:lnTo>
                    <a:pt x="17" y="17"/>
                  </a:lnTo>
                  <a:lnTo>
                    <a:pt x="11" y="27"/>
                  </a:lnTo>
                  <a:lnTo>
                    <a:pt x="5" y="36"/>
                  </a:lnTo>
                  <a:lnTo>
                    <a:pt x="1" y="48"/>
                  </a:lnTo>
                  <a:lnTo>
                    <a:pt x="0" y="60"/>
                  </a:lnTo>
                  <a:lnTo>
                    <a:pt x="0" y="60"/>
                  </a:lnTo>
                  <a:lnTo>
                    <a:pt x="1" y="72"/>
                  </a:lnTo>
                  <a:lnTo>
                    <a:pt x="5" y="83"/>
                  </a:lnTo>
                  <a:lnTo>
                    <a:pt x="11" y="92"/>
                  </a:lnTo>
                  <a:lnTo>
                    <a:pt x="17" y="102"/>
                  </a:lnTo>
                  <a:lnTo>
                    <a:pt x="27" y="108"/>
                  </a:lnTo>
                  <a:lnTo>
                    <a:pt x="38" y="114"/>
                  </a:lnTo>
                  <a:lnTo>
                    <a:pt x="48" y="118"/>
                  </a:lnTo>
                  <a:lnTo>
                    <a:pt x="60" y="119"/>
                  </a:lnTo>
                  <a:lnTo>
                    <a:pt x="60" y="119"/>
                  </a:lnTo>
                  <a:lnTo>
                    <a:pt x="73" y="118"/>
                  </a:lnTo>
                  <a:lnTo>
                    <a:pt x="83" y="114"/>
                  </a:lnTo>
                  <a:lnTo>
                    <a:pt x="94" y="108"/>
                  </a:lnTo>
                  <a:lnTo>
                    <a:pt x="102" y="102"/>
                  </a:lnTo>
                  <a:lnTo>
                    <a:pt x="110" y="92"/>
                  </a:lnTo>
                  <a:lnTo>
                    <a:pt x="115" y="83"/>
                  </a:lnTo>
                  <a:lnTo>
                    <a:pt x="118" y="72"/>
                  </a:lnTo>
                  <a:lnTo>
                    <a:pt x="120" y="60"/>
                  </a:lnTo>
                  <a:lnTo>
                    <a:pt x="120" y="60"/>
                  </a:lnTo>
                  <a:lnTo>
                    <a:pt x="118" y="48"/>
                  </a:lnTo>
                  <a:lnTo>
                    <a:pt x="115" y="36"/>
                  </a:lnTo>
                  <a:lnTo>
                    <a:pt x="110" y="27"/>
                  </a:lnTo>
                  <a:lnTo>
                    <a:pt x="102" y="17"/>
                  </a:lnTo>
                  <a:lnTo>
                    <a:pt x="94" y="10"/>
                  </a:lnTo>
                  <a:lnTo>
                    <a:pt x="83" y="5"/>
                  </a:lnTo>
                  <a:lnTo>
                    <a:pt x="73" y="1"/>
                  </a:lnTo>
                  <a:lnTo>
                    <a:pt x="60" y="0"/>
                  </a:ln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52" name="Freeform 357"/>
            <p:cNvSpPr>
              <a:spLocks noEditPoints="1"/>
            </p:cNvSpPr>
            <p:nvPr/>
          </p:nvSpPr>
          <p:spPr bwMode="auto">
            <a:xfrm>
              <a:off x="5103813" y="2625725"/>
              <a:ext cx="241300" cy="233363"/>
            </a:xfrm>
            <a:custGeom>
              <a:avLst/>
              <a:gdLst>
                <a:gd name="T0" fmla="*/ 33 w 304"/>
                <a:gd name="T1" fmla="*/ 103 h 292"/>
                <a:gd name="T2" fmla="*/ 34 w 304"/>
                <a:gd name="T3" fmla="*/ 100 h 292"/>
                <a:gd name="T4" fmla="*/ 37 w 304"/>
                <a:gd name="T5" fmla="*/ 98 h 292"/>
                <a:gd name="T6" fmla="*/ 266 w 304"/>
                <a:gd name="T7" fmla="*/ 98 h 292"/>
                <a:gd name="T8" fmla="*/ 268 w 304"/>
                <a:gd name="T9" fmla="*/ 98 h 292"/>
                <a:gd name="T10" fmla="*/ 272 w 304"/>
                <a:gd name="T11" fmla="*/ 100 h 292"/>
                <a:gd name="T12" fmla="*/ 272 w 304"/>
                <a:gd name="T13" fmla="*/ 130 h 292"/>
                <a:gd name="T14" fmla="*/ 280 w 304"/>
                <a:gd name="T15" fmla="*/ 131 h 292"/>
                <a:gd name="T16" fmla="*/ 297 w 304"/>
                <a:gd name="T17" fmla="*/ 137 h 292"/>
                <a:gd name="T18" fmla="*/ 304 w 304"/>
                <a:gd name="T19" fmla="*/ 71 h 292"/>
                <a:gd name="T20" fmla="*/ 304 w 304"/>
                <a:gd name="T21" fmla="*/ 68 h 292"/>
                <a:gd name="T22" fmla="*/ 301 w 304"/>
                <a:gd name="T23" fmla="*/ 65 h 292"/>
                <a:gd name="T24" fmla="*/ 246 w 304"/>
                <a:gd name="T25" fmla="*/ 65 h 292"/>
                <a:gd name="T26" fmla="*/ 168 w 304"/>
                <a:gd name="T27" fmla="*/ 16 h 292"/>
                <a:gd name="T28" fmla="*/ 164 w 304"/>
                <a:gd name="T29" fmla="*/ 5 h 292"/>
                <a:gd name="T30" fmla="*/ 152 w 304"/>
                <a:gd name="T31" fmla="*/ 0 h 292"/>
                <a:gd name="T32" fmla="*/ 146 w 304"/>
                <a:gd name="T33" fmla="*/ 1 h 292"/>
                <a:gd name="T34" fmla="*/ 137 w 304"/>
                <a:gd name="T35" fmla="*/ 10 h 292"/>
                <a:gd name="T36" fmla="*/ 58 w 304"/>
                <a:gd name="T37" fmla="*/ 65 h 292"/>
                <a:gd name="T38" fmla="*/ 6 w 304"/>
                <a:gd name="T39" fmla="*/ 65 h 292"/>
                <a:gd name="T40" fmla="*/ 2 w 304"/>
                <a:gd name="T41" fmla="*/ 67 h 292"/>
                <a:gd name="T42" fmla="*/ 0 w 304"/>
                <a:gd name="T43" fmla="*/ 71 h 292"/>
                <a:gd name="T44" fmla="*/ 0 w 304"/>
                <a:gd name="T45" fmla="*/ 287 h 292"/>
                <a:gd name="T46" fmla="*/ 2 w 304"/>
                <a:gd name="T47" fmla="*/ 291 h 292"/>
                <a:gd name="T48" fmla="*/ 6 w 304"/>
                <a:gd name="T49" fmla="*/ 292 h 292"/>
                <a:gd name="T50" fmla="*/ 218 w 304"/>
                <a:gd name="T51" fmla="*/ 260 h 292"/>
                <a:gd name="T52" fmla="*/ 38 w 304"/>
                <a:gd name="T53" fmla="*/ 260 h 292"/>
                <a:gd name="T54" fmla="*/ 35 w 304"/>
                <a:gd name="T55" fmla="*/ 259 h 292"/>
                <a:gd name="T56" fmla="*/ 33 w 304"/>
                <a:gd name="T57" fmla="*/ 255 h 292"/>
                <a:gd name="T58" fmla="*/ 140 w 304"/>
                <a:gd name="T59" fmla="*/ 27 h 292"/>
                <a:gd name="T60" fmla="*/ 146 w 304"/>
                <a:gd name="T61" fmla="*/ 31 h 292"/>
                <a:gd name="T62" fmla="*/ 152 w 304"/>
                <a:gd name="T63" fmla="*/ 33 h 292"/>
                <a:gd name="T64" fmla="*/ 156 w 304"/>
                <a:gd name="T65" fmla="*/ 32 h 292"/>
                <a:gd name="T66" fmla="*/ 166 w 304"/>
                <a:gd name="T67" fmla="*/ 27 h 292"/>
                <a:gd name="T68" fmla="*/ 80 w 304"/>
                <a:gd name="T69" fmla="*/ 65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4" h="292">
                  <a:moveTo>
                    <a:pt x="33" y="255"/>
                  </a:moveTo>
                  <a:lnTo>
                    <a:pt x="33" y="103"/>
                  </a:lnTo>
                  <a:lnTo>
                    <a:pt x="33" y="103"/>
                  </a:lnTo>
                  <a:lnTo>
                    <a:pt x="34" y="100"/>
                  </a:lnTo>
                  <a:lnTo>
                    <a:pt x="35" y="99"/>
                  </a:lnTo>
                  <a:lnTo>
                    <a:pt x="37" y="98"/>
                  </a:lnTo>
                  <a:lnTo>
                    <a:pt x="38" y="98"/>
                  </a:lnTo>
                  <a:lnTo>
                    <a:pt x="266" y="98"/>
                  </a:lnTo>
                  <a:lnTo>
                    <a:pt x="266" y="98"/>
                  </a:lnTo>
                  <a:lnTo>
                    <a:pt x="268" y="98"/>
                  </a:lnTo>
                  <a:lnTo>
                    <a:pt x="270" y="99"/>
                  </a:lnTo>
                  <a:lnTo>
                    <a:pt x="272" y="100"/>
                  </a:lnTo>
                  <a:lnTo>
                    <a:pt x="272" y="103"/>
                  </a:lnTo>
                  <a:lnTo>
                    <a:pt x="272" y="130"/>
                  </a:lnTo>
                  <a:lnTo>
                    <a:pt x="272" y="130"/>
                  </a:lnTo>
                  <a:lnTo>
                    <a:pt x="280" y="131"/>
                  </a:lnTo>
                  <a:lnTo>
                    <a:pt x="289" y="134"/>
                  </a:lnTo>
                  <a:lnTo>
                    <a:pt x="297" y="137"/>
                  </a:lnTo>
                  <a:lnTo>
                    <a:pt x="304" y="141"/>
                  </a:lnTo>
                  <a:lnTo>
                    <a:pt x="304" y="71"/>
                  </a:lnTo>
                  <a:lnTo>
                    <a:pt x="304" y="71"/>
                  </a:lnTo>
                  <a:lnTo>
                    <a:pt x="304" y="68"/>
                  </a:lnTo>
                  <a:lnTo>
                    <a:pt x="303" y="67"/>
                  </a:lnTo>
                  <a:lnTo>
                    <a:pt x="301" y="65"/>
                  </a:lnTo>
                  <a:lnTo>
                    <a:pt x="299" y="65"/>
                  </a:lnTo>
                  <a:lnTo>
                    <a:pt x="246" y="65"/>
                  </a:lnTo>
                  <a:lnTo>
                    <a:pt x="168" y="16"/>
                  </a:lnTo>
                  <a:lnTo>
                    <a:pt x="168" y="16"/>
                  </a:lnTo>
                  <a:lnTo>
                    <a:pt x="167" y="10"/>
                  </a:lnTo>
                  <a:lnTo>
                    <a:pt x="164" y="5"/>
                  </a:lnTo>
                  <a:lnTo>
                    <a:pt x="159" y="1"/>
                  </a:lnTo>
                  <a:lnTo>
                    <a:pt x="152" y="0"/>
                  </a:lnTo>
                  <a:lnTo>
                    <a:pt x="152" y="0"/>
                  </a:lnTo>
                  <a:lnTo>
                    <a:pt x="146" y="1"/>
                  </a:lnTo>
                  <a:lnTo>
                    <a:pt x="142" y="5"/>
                  </a:lnTo>
                  <a:lnTo>
                    <a:pt x="137" y="10"/>
                  </a:lnTo>
                  <a:lnTo>
                    <a:pt x="136" y="16"/>
                  </a:lnTo>
                  <a:lnTo>
                    <a:pt x="58" y="65"/>
                  </a:lnTo>
                  <a:lnTo>
                    <a:pt x="6" y="65"/>
                  </a:lnTo>
                  <a:lnTo>
                    <a:pt x="6" y="65"/>
                  </a:lnTo>
                  <a:lnTo>
                    <a:pt x="5" y="65"/>
                  </a:lnTo>
                  <a:lnTo>
                    <a:pt x="2" y="67"/>
                  </a:lnTo>
                  <a:lnTo>
                    <a:pt x="2" y="68"/>
                  </a:lnTo>
                  <a:lnTo>
                    <a:pt x="0" y="71"/>
                  </a:lnTo>
                  <a:lnTo>
                    <a:pt x="0" y="287"/>
                  </a:lnTo>
                  <a:lnTo>
                    <a:pt x="0" y="287"/>
                  </a:lnTo>
                  <a:lnTo>
                    <a:pt x="2" y="290"/>
                  </a:lnTo>
                  <a:lnTo>
                    <a:pt x="2" y="291"/>
                  </a:lnTo>
                  <a:lnTo>
                    <a:pt x="5" y="292"/>
                  </a:lnTo>
                  <a:lnTo>
                    <a:pt x="6" y="292"/>
                  </a:lnTo>
                  <a:lnTo>
                    <a:pt x="218" y="292"/>
                  </a:lnTo>
                  <a:lnTo>
                    <a:pt x="218" y="260"/>
                  </a:lnTo>
                  <a:lnTo>
                    <a:pt x="38" y="260"/>
                  </a:lnTo>
                  <a:lnTo>
                    <a:pt x="38" y="260"/>
                  </a:lnTo>
                  <a:lnTo>
                    <a:pt x="37" y="260"/>
                  </a:lnTo>
                  <a:lnTo>
                    <a:pt x="35" y="259"/>
                  </a:lnTo>
                  <a:lnTo>
                    <a:pt x="34" y="256"/>
                  </a:lnTo>
                  <a:lnTo>
                    <a:pt x="33" y="255"/>
                  </a:lnTo>
                  <a:lnTo>
                    <a:pt x="33" y="255"/>
                  </a:lnTo>
                  <a:close/>
                  <a:moveTo>
                    <a:pt x="140" y="27"/>
                  </a:moveTo>
                  <a:lnTo>
                    <a:pt x="140" y="27"/>
                  </a:lnTo>
                  <a:lnTo>
                    <a:pt x="146" y="31"/>
                  </a:lnTo>
                  <a:lnTo>
                    <a:pt x="148" y="32"/>
                  </a:lnTo>
                  <a:lnTo>
                    <a:pt x="152" y="33"/>
                  </a:lnTo>
                  <a:lnTo>
                    <a:pt x="152" y="33"/>
                  </a:lnTo>
                  <a:lnTo>
                    <a:pt x="156" y="32"/>
                  </a:lnTo>
                  <a:lnTo>
                    <a:pt x="159" y="31"/>
                  </a:lnTo>
                  <a:lnTo>
                    <a:pt x="166" y="27"/>
                  </a:lnTo>
                  <a:lnTo>
                    <a:pt x="226" y="65"/>
                  </a:lnTo>
                  <a:lnTo>
                    <a:pt x="80" y="65"/>
                  </a:lnTo>
                  <a:lnTo>
                    <a:pt x="140"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53" name="Freeform 358"/>
            <p:cNvSpPr>
              <a:spLocks/>
            </p:cNvSpPr>
            <p:nvPr/>
          </p:nvSpPr>
          <p:spPr bwMode="auto">
            <a:xfrm>
              <a:off x="5156201" y="2728913"/>
              <a:ext cx="119063" cy="12700"/>
            </a:xfrm>
            <a:custGeom>
              <a:avLst/>
              <a:gdLst>
                <a:gd name="T0" fmla="*/ 151 w 151"/>
                <a:gd name="T1" fmla="*/ 8 h 16"/>
                <a:gd name="T2" fmla="*/ 151 w 151"/>
                <a:gd name="T3" fmla="*/ 8 h 16"/>
                <a:gd name="T4" fmla="*/ 149 w 151"/>
                <a:gd name="T5" fmla="*/ 5 h 16"/>
                <a:gd name="T6" fmla="*/ 148 w 151"/>
                <a:gd name="T7" fmla="*/ 2 h 16"/>
                <a:gd name="T8" fmla="*/ 145 w 151"/>
                <a:gd name="T9" fmla="*/ 1 h 16"/>
                <a:gd name="T10" fmla="*/ 143 w 151"/>
                <a:gd name="T11" fmla="*/ 0 h 16"/>
                <a:gd name="T12" fmla="*/ 8 w 151"/>
                <a:gd name="T13" fmla="*/ 0 h 16"/>
                <a:gd name="T14" fmla="*/ 8 w 151"/>
                <a:gd name="T15" fmla="*/ 0 h 16"/>
                <a:gd name="T16" fmla="*/ 6 w 151"/>
                <a:gd name="T17" fmla="*/ 1 h 16"/>
                <a:gd name="T18" fmla="*/ 3 w 151"/>
                <a:gd name="T19" fmla="*/ 2 h 16"/>
                <a:gd name="T20" fmla="*/ 2 w 151"/>
                <a:gd name="T21" fmla="*/ 5 h 16"/>
                <a:gd name="T22" fmla="*/ 0 w 151"/>
                <a:gd name="T23" fmla="*/ 8 h 16"/>
                <a:gd name="T24" fmla="*/ 0 w 151"/>
                <a:gd name="T25" fmla="*/ 8 h 16"/>
                <a:gd name="T26" fmla="*/ 2 w 151"/>
                <a:gd name="T27" fmla="*/ 12 h 16"/>
                <a:gd name="T28" fmla="*/ 3 w 151"/>
                <a:gd name="T29" fmla="*/ 14 h 16"/>
                <a:gd name="T30" fmla="*/ 6 w 151"/>
                <a:gd name="T31" fmla="*/ 16 h 16"/>
                <a:gd name="T32" fmla="*/ 8 w 151"/>
                <a:gd name="T33" fmla="*/ 16 h 16"/>
                <a:gd name="T34" fmla="*/ 143 w 151"/>
                <a:gd name="T35" fmla="*/ 16 h 16"/>
                <a:gd name="T36" fmla="*/ 143 w 151"/>
                <a:gd name="T37" fmla="*/ 16 h 16"/>
                <a:gd name="T38" fmla="*/ 145 w 151"/>
                <a:gd name="T39" fmla="*/ 16 h 16"/>
                <a:gd name="T40" fmla="*/ 148 w 151"/>
                <a:gd name="T41" fmla="*/ 14 h 16"/>
                <a:gd name="T42" fmla="*/ 149 w 151"/>
                <a:gd name="T43" fmla="*/ 12 h 16"/>
                <a:gd name="T44" fmla="*/ 151 w 151"/>
                <a:gd name="T45" fmla="*/ 8 h 16"/>
                <a:gd name="T46" fmla="*/ 151 w 151"/>
                <a:gd name="T4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1" h="16">
                  <a:moveTo>
                    <a:pt x="151" y="8"/>
                  </a:moveTo>
                  <a:lnTo>
                    <a:pt x="151" y="8"/>
                  </a:lnTo>
                  <a:lnTo>
                    <a:pt x="149" y="5"/>
                  </a:lnTo>
                  <a:lnTo>
                    <a:pt x="148" y="2"/>
                  </a:lnTo>
                  <a:lnTo>
                    <a:pt x="145" y="1"/>
                  </a:lnTo>
                  <a:lnTo>
                    <a:pt x="143" y="0"/>
                  </a:lnTo>
                  <a:lnTo>
                    <a:pt x="8" y="0"/>
                  </a:lnTo>
                  <a:lnTo>
                    <a:pt x="8" y="0"/>
                  </a:lnTo>
                  <a:lnTo>
                    <a:pt x="6" y="1"/>
                  </a:lnTo>
                  <a:lnTo>
                    <a:pt x="3" y="2"/>
                  </a:lnTo>
                  <a:lnTo>
                    <a:pt x="2" y="5"/>
                  </a:lnTo>
                  <a:lnTo>
                    <a:pt x="0" y="8"/>
                  </a:lnTo>
                  <a:lnTo>
                    <a:pt x="0" y="8"/>
                  </a:lnTo>
                  <a:lnTo>
                    <a:pt x="2" y="12"/>
                  </a:lnTo>
                  <a:lnTo>
                    <a:pt x="3" y="14"/>
                  </a:lnTo>
                  <a:lnTo>
                    <a:pt x="6" y="16"/>
                  </a:lnTo>
                  <a:lnTo>
                    <a:pt x="8" y="16"/>
                  </a:lnTo>
                  <a:lnTo>
                    <a:pt x="143" y="16"/>
                  </a:lnTo>
                  <a:lnTo>
                    <a:pt x="143" y="16"/>
                  </a:lnTo>
                  <a:lnTo>
                    <a:pt x="145" y="16"/>
                  </a:lnTo>
                  <a:lnTo>
                    <a:pt x="148" y="14"/>
                  </a:lnTo>
                  <a:lnTo>
                    <a:pt x="149" y="12"/>
                  </a:lnTo>
                  <a:lnTo>
                    <a:pt x="151" y="8"/>
                  </a:lnTo>
                  <a:lnTo>
                    <a:pt x="151"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54" name="Freeform 359"/>
            <p:cNvSpPr>
              <a:spLocks/>
            </p:cNvSpPr>
            <p:nvPr/>
          </p:nvSpPr>
          <p:spPr bwMode="auto">
            <a:xfrm>
              <a:off x="5156201" y="2762250"/>
              <a:ext cx="93663" cy="12700"/>
            </a:xfrm>
            <a:custGeom>
              <a:avLst/>
              <a:gdLst>
                <a:gd name="T0" fmla="*/ 120 w 120"/>
                <a:gd name="T1" fmla="*/ 8 h 16"/>
                <a:gd name="T2" fmla="*/ 120 w 120"/>
                <a:gd name="T3" fmla="*/ 8 h 16"/>
                <a:gd name="T4" fmla="*/ 120 w 120"/>
                <a:gd name="T5" fmla="*/ 5 h 16"/>
                <a:gd name="T6" fmla="*/ 117 w 120"/>
                <a:gd name="T7" fmla="*/ 2 h 16"/>
                <a:gd name="T8" fmla="*/ 116 w 120"/>
                <a:gd name="T9" fmla="*/ 0 h 16"/>
                <a:gd name="T10" fmla="*/ 112 w 120"/>
                <a:gd name="T11" fmla="*/ 0 h 16"/>
                <a:gd name="T12" fmla="*/ 8 w 120"/>
                <a:gd name="T13" fmla="*/ 0 h 16"/>
                <a:gd name="T14" fmla="*/ 8 w 120"/>
                <a:gd name="T15" fmla="*/ 0 h 16"/>
                <a:gd name="T16" fmla="*/ 6 w 120"/>
                <a:gd name="T17" fmla="*/ 0 h 16"/>
                <a:gd name="T18" fmla="*/ 3 w 120"/>
                <a:gd name="T19" fmla="*/ 2 h 16"/>
                <a:gd name="T20" fmla="*/ 2 w 120"/>
                <a:gd name="T21" fmla="*/ 5 h 16"/>
                <a:gd name="T22" fmla="*/ 0 w 120"/>
                <a:gd name="T23" fmla="*/ 8 h 16"/>
                <a:gd name="T24" fmla="*/ 0 w 120"/>
                <a:gd name="T25" fmla="*/ 8 h 16"/>
                <a:gd name="T26" fmla="*/ 2 w 120"/>
                <a:gd name="T27" fmla="*/ 10 h 16"/>
                <a:gd name="T28" fmla="*/ 3 w 120"/>
                <a:gd name="T29" fmla="*/ 13 h 16"/>
                <a:gd name="T30" fmla="*/ 6 w 120"/>
                <a:gd name="T31" fmla="*/ 16 h 16"/>
                <a:gd name="T32" fmla="*/ 8 w 120"/>
                <a:gd name="T33" fmla="*/ 16 h 16"/>
                <a:gd name="T34" fmla="*/ 112 w 120"/>
                <a:gd name="T35" fmla="*/ 16 h 16"/>
                <a:gd name="T36" fmla="*/ 112 w 120"/>
                <a:gd name="T37" fmla="*/ 16 h 16"/>
                <a:gd name="T38" fmla="*/ 116 w 120"/>
                <a:gd name="T39" fmla="*/ 16 h 16"/>
                <a:gd name="T40" fmla="*/ 117 w 120"/>
                <a:gd name="T41" fmla="*/ 13 h 16"/>
                <a:gd name="T42" fmla="*/ 120 w 120"/>
                <a:gd name="T43" fmla="*/ 10 h 16"/>
                <a:gd name="T44" fmla="*/ 120 w 120"/>
                <a:gd name="T45" fmla="*/ 8 h 16"/>
                <a:gd name="T46" fmla="*/ 120 w 120"/>
                <a:gd name="T4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0" h="16">
                  <a:moveTo>
                    <a:pt x="120" y="8"/>
                  </a:moveTo>
                  <a:lnTo>
                    <a:pt x="120" y="8"/>
                  </a:lnTo>
                  <a:lnTo>
                    <a:pt x="120" y="5"/>
                  </a:lnTo>
                  <a:lnTo>
                    <a:pt x="117" y="2"/>
                  </a:lnTo>
                  <a:lnTo>
                    <a:pt x="116" y="0"/>
                  </a:lnTo>
                  <a:lnTo>
                    <a:pt x="112" y="0"/>
                  </a:lnTo>
                  <a:lnTo>
                    <a:pt x="8" y="0"/>
                  </a:lnTo>
                  <a:lnTo>
                    <a:pt x="8" y="0"/>
                  </a:lnTo>
                  <a:lnTo>
                    <a:pt x="6" y="0"/>
                  </a:lnTo>
                  <a:lnTo>
                    <a:pt x="3" y="2"/>
                  </a:lnTo>
                  <a:lnTo>
                    <a:pt x="2" y="5"/>
                  </a:lnTo>
                  <a:lnTo>
                    <a:pt x="0" y="8"/>
                  </a:lnTo>
                  <a:lnTo>
                    <a:pt x="0" y="8"/>
                  </a:lnTo>
                  <a:lnTo>
                    <a:pt x="2" y="10"/>
                  </a:lnTo>
                  <a:lnTo>
                    <a:pt x="3" y="13"/>
                  </a:lnTo>
                  <a:lnTo>
                    <a:pt x="6" y="16"/>
                  </a:lnTo>
                  <a:lnTo>
                    <a:pt x="8" y="16"/>
                  </a:lnTo>
                  <a:lnTo>
                    <a:pt x="112" y="16"/>
                  </a:lnTo>
                  <a:lnTo>
                    <a:pt x="112" y="16"/>
                  </a:lnTo>
                  <a:lnTo>
                    <a:pt x="116" y="16"/>
                  </a:lnTo>
                  <a:lnTo>
                    <a:pt x="117" y="13"/>
                  </a:lnTo>
                  <a:lnTo>
                    <a:pt x="120" y="10"/>
                  </a:lnTo>
                  <a:lnTo>
                    <a:pt x="120" y="8"/>
                  </a:lnTo>
                  <a:lnTo>
                    <a:pt x="12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55" name="Freeform 360"/>
            <p:cNvSpPr>
              <a:spLocks/>
            </p:cNvSpPr>
            <p:nvPr/>
          </p:nvSpPr>
          <p:spPr bwMode="auto">
            <a:xfrm>
              <a:off x="5156201" y="2797175"/>
              <a:ext cx="66675" cy="12700"/>
            </a:xfrm>
            <a:custGeom>
              <a:avLst/>
              <a:gdLst>
                <a:gd name="T0" fmla="*/ 8 w 85"/>
                <a:gd name="T1" fmla="*/ 0 h 16"/>
                <a:gd name="T2" fmla="*/ 8 w 85"/>
                <a:gd name="T3" fmla="*/ 0 h 16"/>
                <a:gd name="T4" fmla="*/ 6 w 85"/>
                <a:gd name="T5" fmla="*/ 0 h 16"/>
                <a:gd name="T6" fmla="*/ 3 w 85"/>
                <a:gd name="T7" fmla="*/ 1 h 16"/>
                <a:gd name="T8" fmla="*/ 2 w 85"/>
                <a:gd name="T9" fmla="*/ 4 h 16"/>
                <a:gd name="T10" fmla="*/ 0 w 85"/>
                <a:gd name="T11" fmla="*/ 8 h 16"/>
                <a:gd name="T12" fmla="*/ 0 w 85"/>
                <a:gd name="T13" fmla="*/ 8 h 16"/>
                <a:gd name="T14" fmla="*/ 2 w 85"/>
                <a:gd name="T15" fmla="*/ 10 h 16"/>
                <a:gd name="T16" fmla="*/ 3 w 85"/>
                <a:gd name="T17" fmla="*/ 13 h 16"/>
                <a:gd name="T18" fmla="*/ 6 w 85"/>
                <a:gd name="T19" fmla="*/ 14 h 16"/>
                <a:gd name="T20" fmla="*/ 8 w 85"/>
                <a:gd name="T21" fmla="*/ 16 h 16"/>
                <a:gd name="T22" fmla="*/ 77 w 85"/>
                <a:gd name="T23" fmla="*/ 16 h 16"/>
                <a:gd name="T24" fmla="*/ 77 w 85"/>
                <a:gd name="T25" fmla="*/ 16 h 16"/>
                <a:gd name="T26" fmla="*/ 81 w 85"/>
                <a:gd name="T27" fmla="*/ 14 h 16"/>
                <a:gd name="T28" fmla="*/ 82 w 85"/>
                <a:gd name="T29" fmla="*/ 13 h 16"/>
                <a:gd name="T30" fmla="*/ 85 w 85"/>
                <a:gd name="T31" fmla="*/ 10 h 16"/>
                <a:gd name="T32" fmla="*/ 85 w 85"/>
                <a:gd name="T33" fmla="*/ 8 h 16"/>
                <a:gd name="T34" fmla="*/ 85 w 85"/>
                <a:gd name="T35" fmla="*/ 8 h 16"/>
                <a:gd name="T36" fmla="*/ 85 w 85"/>
                <a:gd name="T37" fmla="*/ 4 h 16"/>
                <a:gd name="T38" fmla="*/ 82 w 85"/>
                <a:gd name="T39" fmla="*/ 1 h 16"/>
                <a:gd name="T40" fmla="*/ 81 w 85"/>
                <a:gd name="T41" fmla="*/ 0 h 16"/>
                <a:gd name="T42" fmla="*/ 77 w 85"/>
                <a:gd name="T43" fmla="*/ 0 h 16"/>
                <a:gd name="T44" fmla="*/ 8 w 85"/>
                <a:gd name="T4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5" h="16">
                  <a:moveTo>
                    <a:pt x="8" y="0"/>
                  </a:moveTo>
                  <a:lnTo>
                    <a:pt x="8" y="0"/>
                  </a:lnTo>
                  <a:lnTo>
                    <a:pt x="6" y="0"/>
                  </a:lnTo>
                  <a:lnTo>
                    <a:pt x="3" y="1"/>
                  </a:lnTo>
                  <a:lnTo>
                    <a:pt x="2" y="4"/>
                  </a:lnTo>
                  <a:lnTo>
                    <a:pt x="0" y="8"/>
                  </a:lnTo>
                  <a:lnTo>
                    <a:pt x="0" y="8"/>
                  </a:lnTo>
                  <a:lnTo>
                    <a:pt x="2" y="10"/>
                  </a:lnTo>
                  <a:lnTo>
                    <a:pt x="3" y="13"/>
                  </a:lnTo>
                  <a:lnTo>
                    <a:pt x="6" y="14"/>
                  </a:lnTo>
                  <a:lnTo>
                    <a:pt x="8" y="16"/>
                  </a:lnTo>
                  <a:lnTo>
                    <a:pt x="77" y="16"/>
                  </a:lnTo>
                  <a:lnTo>
                    <a:pt x="77" y="16"/>
                  </a:lnTo>
                  <a:lnTo>
                    <a:pt x="81" y="14"/>
                  </a:lnTo>
                  <a:lnTo>
                    <a:pt x="82" y="13"/>
                  </a:lnTo>
                  <a:lnTo>
                    <a:pt x="85" y="10"/>
                  </a:lnTo>
                  <a:lnTo>
                    <a:pt x="85" y="8"/>
                  </a:lnTo>
                  <a:lnTo>
                    <a:pt x="85" y="8"/>
                  </a:lnTo>
                  <a:lnTo>
                    <a:pt x="85" y="4"/>
                  </a:lnTo>
                  <a:lnTo>
                    <a:pt x="82" y="1"/>
                  </a:lnTo>
                  <a:lnTo>
                    <a:pt x="81" y="0"/>
                  </a:lnTo>
                  <a:lnTo>
                    <a:pt x="77" y="0"/>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56" name="Group 55"/>
          <p:cNvGrpSpPr>
            <a:grpSpLocks noChangeAspect="1"/>
          </p:cNvGrpSpPr>
          <p:nvPr/>
        </p:nvGrpSpPr>
        <p:grpSpPr>
          <a:xfrm>
            <a:off x="201528" y="3458972"/>
            <a:ext cx="365760" cy="373655"/>
            <a:chOff x="2451101" y="5997575"/>
            <a:chExt cx="220663" cy="225426"/>
          </a:xfrm>
          <a:solidFill>
            <a:schemeClr val="accent6">
              <a:lumMod val="75000"/>
            </a:schemeClr>
          </a:solidFill>
        </p:grpSpPr>
        <p:sp>
          <p:nvSpPr>
            <p:cNvPr id="57" name="Freeform 365"/>
            <p:cNvSpPr>
              <a:spLocks/>
            </p:cNvSpPr>
            <p:nvPr/>
          </p:nvSpPr>
          <p:spPr bwMode="auto">
            <a:xfrm>
              <a:off x="2451101" y="5997575"/>
              <a:ext cx="220663" cy="104775"/>
            </a:xfrm>
            <a:custGeom>
              <a:avLst/>
              <a:gdLst>
                <a:gd name="T0" fmla="*/ 271 w 277"/>
                <a:gd name="T1" fmla="*/ 88 h 133"/>
                <a:gd name="T2" fmla="*/ 240 w 277"/>
                <a:gd name="T3" fmla="*/ 88 h 133"/>
                <a:gd name="T4" fmla="*/ 176 w 277"/>
                <a:gd name="T5" fmla="*/ 2 h 133"/>
                <a:gd name="T6" fmla="*/ 176 w 277"/>
                <a:gd name="T7" fmla="*/ 2 h 133"/>
                <a:gd name="T8" fmla="*/ 173 w 277"/>
                <a:gd name="T9" fmla="*/ 0 h 133"/>
                <a:gd name="T10" fmla="*/ 170 w 277"/>
                <a:gd name="T11" fmla="*/ 0 h 133"/>
                <a:gd name="T12" fmla="*/ 166 w 277"/>
                <a:gd name="T13" fmla="*/ 0 h 133"/>
                <a:gd name="T14" fmla="*/ 164 w 277"/>
                <a:gd name="T15" fmla="*/ 1 h 133"/>
                <a:gd name="T16" fmla="*/ 164 w 277"/>
                <a:gd name="T17" fmla="*/ 1 h 133"/>
                <a:gd name="T18" fmla="*/ 161 w 277"/>
                <a:gd name="T19" fmla="*/ 4 h 133"/>
                <a:gd name="T20" fmla="*/ 160 w 277"/>
                <a:gd name="T21" fmla="*/ 8 h 133"/>
                <a:gd name="T22" fmla="*/ 160 w 277"/>
                <a:gd name="T23" fmla="*/ 11 h 133"/>
                <a:gd name="T24" fmla="*/ 161 w 277"/>
                <a:gd name="T25" fmla="*/ 15 h 133"/>
                <a:gd name="T26" fmla="*/ 216 w 277"/>
                <a:gd name="T27" fmla="*/ 88 h 133"/>
                <a:gd name="T28" fmla="*/ 211 w 277"/>
                <a:gd name="T29" fmla="*/ 88 h 133"/>
                <a:gd name="T30" fmla="*/ 64 w 277"/>
                <a:gd name="T31" fmla="*/ 88 h 133"/>
                <a:gd name="T32" fmla="*/ 60 w 277"/>
                <a:gd name="T33" fmla="*/ 88 h 133"/>
                <a:gd name="T34" fmla="*/ 115 w 277"/>
                <a:gd name="T35" fmla="*/ 15 h 133"/>
                <a:gd name="T36" fmla="*/ 115 w 277"/>
                <a:gd name="T37" fmla="*/ 15 h 133"/>
                <a:gd name="T38" fmla="*/ 117 w 277"/>
                <a:gd name="T39" fmla="*/ 11 h 133"/>
                <a:gd name="T40" fmla="*/ 117 w 277"/>
                <a:gd name="T41" fmla="*/ 8 h 133"/>
                <a:gd name="T42" fmla="*/ 115 w 277"/>
                <a:gd name="T43" fmla="*/ 4 h 133"/>
                <a:gd name="T44" fmla="*/ 113 w 277"/>
                <a:gd name="T45" fmla="*/ 1 h 133"/>
                <a:gd name="T46" fmla="*/ 113 w 277"/>
                <a:gd name="T47" fmla="*/ 1 h 133"/>
                <a:gd name="T48" fmla="*/ 110 w 277"/>
                <a:gd name="T49" fmla="*/ 0 h 133"/>
                <a:gd name="T50" fmla="*/ 106 w 277"/>
                <a:gd name="T51" fmla="*/ 0 h 133"/>
                <a:gd name="T52" fmla="*/ 103 w 277"/>
                <a:gd name="T53" fmla="*/ 0 h 133"/>
                <a:gd name="T54" fmla="*/ 99 w 277"/>
                <a:gd name="T55" fmla="*/ 2 h 133"/>
                <a:gd name="T56" fmla="*/ 36 w 277"/>
                <a:gd name="T57" fmla="*/ 88 h 133"/>
                <a:gd name="T58" fmla="*/ 4 w 277"/>
                <a:gd name="T59" fmla="*/ 88 h 133"/>
                <a:gd name="T60" fmla="*/ 4 w 277"/>
                <a:gd name="T61" fmla="*/ 88 h 133"/>
                <a:gd name="T62" fmla="*/ 1 w 277"/>
                <a:gd name="T63" fmla="*/ 90 h 133"/>
                <a:gd name="T64" fmla="*/ 0 w 277"/>
                <a:gd name="T65" fmla="*/ 92 h 133"/>
                <a:gd name="T66" fmla="*/ 0 w 277"/>
                <a:gd name="T67" fmla="*/ 129 h 133"/>
                <a:gd name="T68" fmla="*/ 0 w 277"/>
                <a:gd name="T69" fmla="*/ 129 h 133"/>
                <a:gd name="T70" fmla="*/ 1 w 277"/>
                <a:gd name="T71" fmla="*/ 131 h 133"/>
                <a:gd name="T72" fmla="*/ 4 w 277"/>
                <a:gd name="T73" fmla="*/ 133 h 133"/>
                <a:gd name="T74" fmla="*/ 271 w 277"/>
                <a:gd name="T75" fmla="*/ 133 h 133"/>
                <a:gd name="T76" fmla="*/ 271 w 277"/>
                <a:gd name="T77" fmla="*/ 133 h 133"/>
                <a:gd name="T78" fmla="*/ 275 w 277"/>
                <a:gd name="T79" fmla="*/ 131 h 133"/>
                <a:gd name="T80" fmla="*/ 277 w 277"/>
                <a:gd name="T81" fmla="*/ 129 h 133"/>
                <a:gd name="T82" fmla="*/ 277 w 277"/>
                <a:gd name="T83" fmla="*/ 92 h 133"/>
                <a:gd name="T84" fmla="*/ 277 w 277"/>
                <a:gd name="T85" fmla="*/ 92 h 133"/>
                <a:gd name="T86" fmla="*/ 275 w 277"/>
                <a:gd name="T87" fmla="*/ 90 h 133"/>
                <a:gd name="T88" fmla="*/ 271 w 277"/>
                <a:gd name="T89" fmla="*/ 88 h 133"/>
                <a:gd name="T90" fmla="*/ 271 w 277"/>
                <a:gd name="T91" fmla="*/ 88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7" h="133">
                  <a:moveTo>
                    <a:pt x="271" y="88"/>
                  </a:moveTo>
                  <a:lnTo>
                    <a:pt x="240" y="88"/>
                  </a:lnTo>
                  <a:lnTo>
                    <a:pt x="176" y="2"/>
                  </a:lnTo>
                  <a:lnTo>
                    <a:pt x="176" y="2"/>
                  </a:lnTo>
                  <a:lnTo>
                    <a:pt x="173" y="0"/>
                  </a:lnTo>
                  <a:lnTo>
                    <a:pt x="170" y="0"/>
                  </a:lnTo>
                  <a:lnTo>
                    <a:pt x="166" y="0"/>
                  </a:lnTo>
                  <a:lnTo>
                    <a:pt x="164" y="1"/>
                  </a:lnTo>
                  <a:lnTo>
                    <a:pt x="164" y="1"/>
                  </a:lnTo>
                  <a:lnTo>
                    <a:pt x="161" y="4"/>
                  </a:lnTo>
                  <a:lnTo>
                    <a:pt x="160" y="8"/>
                  </a:lnTo>
                  <a:lnTo>
                    <a:pt x="160" y="11"/>
                  </a:lnTo>
                  <a:lnTo>
                    <a:pt x="161" y="15"/>
                  </a:lnTo>
                  <a:lnTo>
                    <a:pt x="216" y="88"/>
                  </a:lnTo>
                  <a:lnTo>
                    <a:pt x="211" y="88"/>
                  </a:lnTo>
                  <a:lnTo>
                    <a:pt x="64" y="88"/>
                  </a:lnTo>
                  <a:lnTo>
                    <a:pt x="60" y="88"/>
                  </a:lnTo>
                  <a:lnTo>
                    <a:pt x="115" y="15"/>
                  </a:lnTo>
                  <a:lnTo>
                    <a:pt x="115" y="15"/>
                  </a:lnTo>
                  <a:lnTo>
                    <a:pt x="117" y="11"/>
                  </a:lnTo>
                  <a:lnTo>
                    <a:pt x="117" y="8"/>
                  </a:lnTo>
                  <a:lnTo>
                    <a:pt x="115" y="4"/>
                  </a:lnTo>
                  <a:lnTo>
                    <a:pt x="113" y="1"/>
                  </a:lnTo>
                  <a:lnTo>
                    <a:pt x="113" y="1"/>
                  </a:lnTo>
                  <a:lnTo>
                    <a:pt x="110" y="0"/>
                  </a:lnTo>
                  <a:lnTo>
                    <a:pt x="106" y="0"/>
                  </a:lnTo>
                  <a:lnTo>
                    <a:pt x="103" y="0"/>
                  </a:lnTo>
                  <a:lnTo>
                    <a:pt x="99" y="2"/>
                  </a:lnTo>
                  <a:lnTo>
                    <a:pt x="36" y="88"/>
                  </a:lnTo>
                  <a:lnTo>
                    <a:pt x="4" y="88"/>
                  </a:lnTo>
                  <a:lnTo>
                    <a:pt x="4" y="88"/>
                  </a:lnTo>
                  <a:lnTo>
                    <a:pt x="1" y="90"/>
                  </a:lnTo>
                  <a:lnTo>
                    <a:pt x="0" y="92"/>
                  </a:lnTo>
                  <a:lnTo>
                    <a:pt x="0" y="129"/>
                  </a:lnTo>
                  <a:lnTo>
                    <a:pt x="0" y="129"/>
                  </a:lnTo>
                  <a:lnTo>
                    <a:pt x="1" y="131"/>
                  </a:lnTo>
                  <a:lnTo>
                    <a:pt x="4" y="133"/>
                  </a:lnTo>
                  <a:lnTo>
                    <a:pt x="271" y="133"/>
                  </a:lnTo>
                  <a:lnTo>
                    <a:pt x="271" y="133"/>
                  </a:lnTo>
                  <a:lnTo>
                    <a:pt x="275" y="131"/>
                  </a:lnTo>
                  <a:lnTo>
                    <a:pt x="277" y="129"/>
                  </a:lnTo>
                  <a:lnTo>
                    <a:pt x="277" y="92"/>
                  </a:lnTo>
                  <a:lnTo>
                    <a:pt x="277" y="92"/>
                  </a:lnTo>
                  <a:lnTo>
                    <a:pt x="275" y="90"/>
                  </a:lnTo>
                  <a:lnTo>
                    <a:pt x="271" y="88"/>
                  </a:lnTo>
                  <a:lnTo>
                    <a:pt x="271" y="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58" name="Freeform 366"/>
            <p:cNvSpPr>
              <a:spLocks noEditPoints="1"/>
            </p:cNvSpPr>
            <p:nvPr/>
          </p:nvSpPr>
          <p:spPr bwMode="auto">
            <a:xfrm>
              <a:off x="2473326" y="6110288"/>
              <a:ext cx="176213" cy="112713"/>
            </a:xfrm>
            <a:custGeom>
              <a:avLst/>
              <a:gdLst>
                <a:gd name="T0" fmla="*/ 217 w 223"/>
                <a:gd name="T1" fmla="*/ 0 h 143"/>
                <a:gd name="T2" fmla="*/ 4 w 223"/>
                <a:gd name="T3" fmla="*/ 0 h 143"/>
                <a:gd name="T4" fmla="*/ 4 w 223"/>
                <a:gd name="T5" fmla="*/ 0 h 143"/>
                <a:gd name="T6" fmla="*/ 0 w 223"/>
                <a:gd name="T7" fmla="*/ 2 h 143"/>
                <a:gd name="T8" fmla="*/ 0 w 223"/>
                <a:gd name="T9" fmla="*/ 4 h 143"/>
                <a:gd name="T10" fmla="*/ 0 w 223"/>
                <a:gd name="T11" fmla="*/ 139 h 143"/>
                <a:gd name="T12" fmla="*/ 0 w 223"/>
                <a:gd name="T13" fmla="*/ 139 h 143"/>
                <a:gd name="T14" fmla="*/ 0 w 223"/>
                <a:gd name="T15" fmla="*/ 141 h 143"/>
                <a:gd name="T16" fmla="*/ 4 w 223"/>
                <a:gd name="T17" fmla="*/ 143 h 143"/>
                <a:gd name="T18" fmla="*/ 217 w 223"/>
                <a:gd name="T19" fmla="*/ 143 h 143"/>
                <a:gd name="T20" fmla="*/ 217 w 223"/>
                <a:gd name="T21" fmla="*/ 143 h 143"/>
                <a:gd name="T22" fmla="*/ 221 w 223"/>
                <a:gd name="T23" fmla="*/ 141 h 143"/>
                <a:gd name="T24" fmla="*/ 223 w 223"/>
                <a:gd name="T25" fmla="*/ 139 h 143"/>
                <a:gd name="T26" fmla="*/ 223 w 223"/>
                <a:gd name="T27" fmla="*/ 4 h 143"/>
                <a:gd name="T28" fmla="*/ 223 w 223"/>
                <a:gd name="T29" fmla="*/ 4 h 143"/>
                <a:gd name="T30" fmla="*/ 221 w 223"/>
                <a:gd name="T31" fmla="*/ 2 h 143"/>
                <a:gd name="T32" fmla="*/ 217 w 223"/>
                <a:gd name="T33" fmla="*/ 0 h 143"/>
                <a:gd name="T34" fmla="*/ 217 w 223"/>
                <a:gd name="T35" fmla="*/ 0 h 143"/>
                <a:gd name="T36" fmla="*/ 71 w 223"/>
                <a:gd name="T37" fmla="*/ 108 h 143"/>
                <a:gd name="T38" fmla="*/ 71 w 223"/>
                <a:gd name="T39" fmla="*/ 108 h 143"/>
                <a:gd name="T40" fmla="*/ 70 w 223"/>
                <a:gd name="T41" fmla="*/ 110 h 143"/>
                <a:gd name="T42" fmla="*/ 66 w 223"/>
                <a:gd name="T43" fmla="*/ 112 h 143"/>
                <a:gd name="T44" fmla="*/ 66 w 223"/>
                <a:gd name="T45" fmla="*/ 112 h 143"/>
                <a:gd name="T46" fmla="*/ 63 w 223"/>
                <a:gd name="T47" fmla="*/ 110 h 143"/>
                <a:gd name="T48" fmla="*/ 62 w 223"/>
                <a:gd name="T49" fmla="*/ 108 h 143"/>
                <a:gd name="T50" fmla="*/ 62 w 223"/>
                <a:gd name="T51" fmla="*/ 35 h 143"/>
                <a:gd name="T52" fmla="*/ 62 w 223"/>
                <a:gd name="T53" fmla="*/ 35 h 143"/>
                <a:gd name="T54" fmla="*/ 63 w 223"/>
                <a:gd name="T55" fmla="*/ 32 h 143"/>
                <a:gd name="T56" fmla="*/ 66 w 223"/>
                <a:gd name="T57" fmla="*/ 31 h 143"/>
                <a:gd name="T58" fmla="*/ 66 w 223"/>
                <a:gd name="T59" fmla="*/ 31 h 143"/>
                <a:gd name="T60" fmla="*/ 70 w 223"/>
                <a:gd name="T61" fmla="*/ 32 h 143"/>
                <a:gd name="T62" fmla="*/ 71 w 223"/>
                <a:gd name="T63" fmla="*/ 35 h 143"/>
                <a:gd name="T64" fmla="*/ 71 w 223"/>
                <a:gd name="T65" fmla="*/ 108 h 143"/>
                <a:gd name="T66" fmla="*/ 115 w 223"/>
                <a:gd name="T67" fmla="*/ 108 h 143"/>
                <a:gd name="T68" fmla="*/ 115 w 223"/>
                <a:gd name="T69" fmla="*/ 108 h 143"/>
                <a:gd name="T70" fmla="*/ 114 w 223"/>
                <a:gd name="T71" fmla="*/ 110 h 143"/>
                <a:gd name="T72" fmla="*/ 111 w 223"/>
                <a:gd name="T73" fmla="*/ 112 h 143"/>
                <a:gd name="T74" fmla="*/ 111 w 223"/>
                <a:gd name="T75" fmla="*/ 112 h 143"/>
                <a:gd name="T76" fmla="*/ 107 w 223"/>
                <a:gd name="T77" fmla="*/ 110 h 143"/>
                <a:gd name="T78" fmla="*/ 106 w 223"/>
                <a:gd name="T79" fmla="*/ 108 h 143"/>
                <a:gd name="T80" fmla="*/ 106 w 223"/>
                <a:gd name="T81" fmla="*/ 35 h 143"/>
                <a:gd name="T82" fmla="*/ 106 w 223"/>
                <a:gd name="T83" fmla="*/ 35 h 143"/>
                <a:gd name="T84" fmla="*/ 107 w 223"/>
                <a:gd name="T85" fmla="*/ 32 h 143"/>
                <a:gd name="T86" fmla="*/ 111 w 223"/>
                <a:gd name="T87" fmla="*/ 31 h 143"/>
                <a:gd name="T88" fmla="*/ 111 w 223"/>
                <a:gd name="T89" fmla="*/ 31 h 143"/>
                <a:gd name="T90" fmla="*/ 114 w 223"/>
                <a:gd name="T91" fmla="*/ 32 h 143"/>
                <a:gd name="T92" fmla="*/ 115 w 223"/>
                <a:gd name="T93" fmla="*/ 35 h 143"/>
                <a:gd name="T94" fmla="*/ 115 w 223"/>
                <a:gd name="T95" fmla="*/ 108 h 143"/>
                <a:gd name="T96" fmla="*/ 160 w 223"/>
                <a:gd name="T97" fmla="*/ 108 h 143"/>
                <a:gd name="T98" fmla="*/ 160 w 223"/>
                <a:gd name="T99" fmla="*/ 108 h 143"/>
                <a:gd name="T100" fmla="*/ 158 w 223"/>
                <a:gd name="T101" fmla="*/ 110 h 143"/>
                <a:gd name="T102" fmla="*/ 156 w 223"/>
                <a:gd name="T103" fmla="*/ 112 h 143"/>
                <a:gd name="T104" fmla="*/ 156 w 223"/>
                <a:gd name="T105" fmla="*/ 112 h 143"/>
                <a:gd name="T106" fmla="*/ 152 w 223"/>
                <a:gd name="T107" fmla="*/ 110 h 143"/>
                <a:gd name="T108" fmla="*/ 152 w 223"/>
                <a:gd name="T109" fmla="*/ 108 h 143"/>
                <a:gd name="T110" fmla="*/ 152 w 223"/>
                <a:gd name="T111" fmla="*/ 35 h 143"/>
                <a:gd name="T112" fmla="*/ 152 w 223"/>
                <a:gd name="T113" fmla="*/ 35 h 143"/>
                <a:gd name="T114" fmla="*/ 152 w 223"/>
                <a:gd name="T115" fmla="*/ 32 h 143"/>
                <a:gd name="T116" fmla="*/ 156 w 223"/>
                <a:gd name="T117" fmla="*/ 31 h 143"/>
                <a:gd name="T118" fmla="*/ 156 w 223"/>
                <a:gd name="T119" fmla="*/ 31 h 143"/>
                <a:gd name="T120" fmla="*/ 158 w 223"/>
                <a:gd name="T121" fmla="*/ 32 h 143"/>
                <a:gd name="T122" fmla="*/ 160 w 223"/>
                <a:gd name="T123" fmla="*/ 35 h 143"/>
                <a:gd name="T124" fmla="*/ 160 w 223"/>
                <a:gd name="T125" fmla="*/ 10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3" h="143">
                  <a:moveTo>
                    <a:pt x="217" y="0"/>
                  </a:moveTo>
                  <a:lnTo>
                    <a:pt x="4" y="0"/>
                  </a:lnTo>
                  <a:lnTo>
                    <a:pt x="4" y="0"/>
                  </a:lnTo>
                  <a:lnTo>
                    <a:pt x="0" y="2"/>
                  </a:lnTo>
                  <a:lnTo>
                    <a:pt x="0" y="4"/>
                  </a:lnTo>
                  <a:lnTo>
                    <a:pt x="0" y="139"/>
                  </a:lnTo>
                  <a:lnTo>
                    <a:pt x="0" y="139"/>
                  </a:lnTo>
                  <a:lnTo>
                    <a:pt x="0" y="141"/>
                  </a:lnTo>
                  <a:lnTo>
                    <a:pt x="4" y="143"/>
                  </a:lnTo>
                  <a:lnTo>
                    <a:pt x="217" y="143"/>
                  </a:lnTo>
                  <a:lnTo>
                    <a:pt x="217" y="143"/>
                  </a:lnTo>
                  <a:lnTo>
                    <a:pt x="221" y="141"/>
                  </a:lnTo>
                  <a:lnTo>
                    <a:pt x="223" y="139"/>
                  </a:lnTo>
                  <a:lnTo>
                    <a:pt x="223" y="4"/>
                  </a:lnTo>
                  <a:lnTo>
                    <a:pt x="223" y="4"/>
                  </a:lnTo>
                  <a:lnTo>
                    <a:pt x="221" y="2"/>
                  </a:lnTo>
                  <a:lnTo>
                    <a:pt x="217" y="0"/>
                  </a:lnTo>
                  <a:lnTo>
                    <a:pt x="217" y="0"/>
                  </a:lnTo>
                  <a:close/>
                  <a:moveTo>
                    <a:pt x="71" y="108"/>
                  </a:moveTo>
                  <a:lnTo>
                    <a:pt x="71" y="108"/>
                  </a:lnTo>
                  <a:lnTo>
                    <a:pt x="70" y="110"/>
                  </a:lnTo>
                  <a:lnTo>
                    <a:pt x="66" y="112"/>
                  </a:lnTo>
                  <a:lnTo>
                    <a:pt x="66" y="112"/>
                  </a:lnTo>
                  <a:lnTo>
                    <a:pt x="63" y="110"/>
                  </a:lnTo>
                  <a:lnTo>
                    <a:pt x="62" y="108"/>
                  </a:lnTo>
                  <a:lnTo>
                    <a:pt x="62" y="35"/>
                  </a:lnTo>
                  <a:lnTo>
                    <a:pt x="62" y="35"/>
                  </a:lnTo>
                  <a:lnTo>
                    <a:pt x="63" y="32"/>
                  </a:lnTo>
                  <a:lnTo>
                    <a:pt x="66" y="31"/>
                  </a:lnTo>
                  <a:lnTo>
                    <a:pt x="66" y="31"/>
                  </a:lnTo>
                  <a:lnTo>
                    <a:pt x="70" y="32"/>
                  </a:lnTo>
                  <a:lnTo>
                    <a:pt x="71" y="35"/>
                  </a:lnTo>
                  <a:lnTo>
                    <a:pt x="71" y="108"/>
                  </a:lnTo>
                  <a:close/>
                  <a:moveTo>
                    <a:pt x="115" y="108"/>
                  </a:moveTo>
                  <a:lnTo>
                    <a:pt x="115" y="108"/>
                  </a:lnTo>
                  <a:lnTo>
                    <a:pt x="114" y="110"/>
                  </a:lnTo>
                  <a:lnTo>
                    <a:pt x="111" y="112"/>
                  </a:lnTo>
                  <a:lnTo>
                    <a:pt x="111" y="112"/>
                  </a:lnTo>
                  <a:lnTo>
                    <a:pt x="107" y="110"/>
                  </a:lnTo>
                  <a:lnTo>
                    <a:pt x="106" y="108"/>
                  </a:lnTo>
                  <a:lnTo>
                    <a:pt x="106" y="35"/>
                  </a:lnTo>
                  <a:lnTo>
                    <a:pt x="106" y="35"/>
                  </a:lnTo>
                  <a:lnTo>
                    <a:pt x="107" y="32"/>
                  </a:lnTo>
                  <a:lnTo>
                    <a:pt x="111" y="31"/>
                  </a:lnTo>
                  <a:lnTo>
                    <a:pt x="111" y="31"/>
                  </a:lnTo>
                  <a:lnTo>
                    <a:pt x="114" y="32"/>
                  </a:lnTo>
                  <a:lnTo>
                    <a:pt x="115" y="35"/>
                  </a:lnTo>
                  <a:lnTo>
                    <a:pt x="115" y="108"/>
                  </a:lnTo>
                  <a:close/>
                  <a:moveTo>
                    <a:pt x="160" y="108"/>
                  </a:moveTo>
                  <a:lnTo>
                    <a:pt x="160" y="108"/>
                  </a:lnTo>
                  <a:lnTo>
                    <a:pt x="158" y="110"/>
                  </a:lnTo>
                  <a:lnTo>
                    <a:pt x="156" y="112"/>
                  </a:lnTo>
                  <a:lnTo>
                    <a:pt x="156" y="112"/>
                  </a:lnTo>
                  <a:lnTo>
                    <a:pt x="152" y="110"/>
                  </a:lnTo>
                  <a:lnTo>
                    <a:pt x="152" y="108"/>
                  </a:lnTo>
                  <a:lnTo>
                    <a:pt x="152" y="35"/>
                  </a:lnTo>
                  <a:lnTo>
                    <a:pt x="152" y="35"/>
                  </a:lnTo>
                  <a:lnTo>
                    <a:pt x="152" y="32"/>
                  </a:lnTo>
                  <a:lnTo>
                    <a:pt x="156" y="31"/>
                  </a:lnTo>
                  <a:lnTo>
                    <a:pt x="156" y="31"/>
                  </a:lnTo>
                  <a:lnTo>
                    <a:pt x="158" y="32"/>
                  </a:lnTo>
                  <a:lnTo>
                    <a:pt x="160" y="35"/>
                  </a:lnTo>
                  <a:lnTo>
                    <a:pt x="160"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cxnSp>
        <p:nvCxnSpPr>
          <p:cNvPr id="60" name="Straight Connector 59"/>
          <p:cNvCxnSpPr/>
          <p:nvPr/>
        </p:nvCxnSpPr>
        <p:spPr>
          <a:xfrm>
            <a:off x="172276" y="2227090"/>
            <a:ext cx="542020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182155" y="3339996"/>
            <a:ext cx="542020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195771" y="4002474"/>
            <a:ext cx="542020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195771" y="4900891"/>
            <a:ext cx="542020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96" name="Rectangle 95"/>
          <p:cNvSpPr/>
          <p:nvPr/>
        </p:nvSpPr>
        <p:spPr>
          <a:xfrm>
            <a:off x="654722" y="4975503"/>
            <a:ext cx="4937760" cy="430887"/>
          </a:xfrm>
          <a:prstGeom prst="rect">
            <a:avLst/>
          </a:prstGeom>
        </p:spPr>
        <p:txBody>
          <a:bodyPr>
            <a:spAutoFit/>
          </a:bodyPr>
          <a:lstStyle/>
          <a:p>
            <a:pPr>
              <a:spcAft>
                <a:spcPts val="600"/>
              </a:spcAft>
            </a:pPr>
            <a:r>
              <a:rPr lang="en-US" sz="1100" dirty="0" smtClean="0">
                <a:solidFill>
                  <a:schemeClr val="tx1"/>
                </a:solidFill>
              </a:rPr>
              <a:t>2</a:t>
            </a:r>
            <a:r>
              <a:rPr lang="en-US" sz="1100" dirty="0" smtClean="0"/>
              <a:t> financial services providers supported to develop financial products to improve access to farm inputs credit</a:t>
            </a:r>
            <a:endParaRPr lang="en-US" sz="1100" dirty="0"/>
          </a:p>
        </p:txBody>
      </p:sp>
      <p:cxnSp>
        <p:nvCxnSpPr>
          <p:cNvPr id="105" name="Straight Connector 104"/>
          <p:cNvCxnSpPr/>
          <p:nvPr/>
        </p:nvCxnSpPr>
        <p:spPr>
          <a:xfrm>
            <a:off x="195771" y="5584726"/>
            <a:ext cx="542020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06" name="Picture 2" descr="buyer, care, client, customer care, dollar, hand, money icon"/>
          <p:cNvPicPr>
            <a:picLocks noChangeAspect="1" noChangeArrowheads="1"/>
          </p:cNvPicPr>
          <p:nvPr/>
        </p:nvPicPr>
        <p:blipFill>
          <a:blip r:embed="rId7" cstate="print">
            <a:duotone>
              <a:schemeClr val="accent6">
                <a:shade val="45000"/>
                <a:satMod val="135000"/>
              </a:schemeClr>
              <a:prstClr val="white"/>
            </a:duotone>
            <a:extLst>
              <a:ext uri="{BEBA8EAE-BF5A-486C-A8C5-ECC9F3942E4B}">
                <a14:imgProps xmlns:a14="http://schemas.microsoft.com/office/drawing/2010/main">
                  <a14:imgLayer r:embed="rId8">
                    <a14:imgEffect>
                      <a14:colorTemperature colorTemp="4700"/>
                    </a14:imgEffect>
                  </a14:imgLayer>
                </a14:imgProps>
              </a:ext>
              <a:ext uri="{28A0092B-C50C-407E-A947-70E740481C1C}">
                <a14:useLocalDpi xmlns:a14="http://schemas.microsoft.com/office/drawing/2010/main" val="0"/>
              </a:ext>
            </a:extLst>
          </a:blip>
          <a:srcRect/>
          <a:stretch>
            <a:fillRect/>
          </a:stretch>
        </p:blipFill>
        <p:spPr bwMode="auto">
          <a:xfrm>
            <a:off x="138432" y="4933438"/>
            <a:ext cx="500758" cy="500758"/>
          </a:xfrm>
          <a:prstGeom prst="rect">
            <a:avLst/>
          </a:prstGeom>
          <a:noFill/>
          <a:extLst>
            <a:ext uri="{909E8E84-426E-40DD-AFC4-6F175D3DCCD1}">
              <a14:hiddenFill xmlns:a14="http://schemas.microsoft.com/office/drawing/2010/main">
                <a:solidFill>
                  <a:srgbClr val="FFFFFF"/>
                </a:solidFill>
              </a14:hiddenFill>
            </a:ext>
          </a:extLst>
        </p:spPr>
      </p:pic>
      <p:sp>
        <p:nvSpPr>
          <p:cNvPr id="65" name="Rectangle 64"/>
          <p:cNvSpPr/>
          <p:nvPr/>
        </p:nvSpPr>
        <p:spPr>
          <a:xfrm>
            <a:off x="654722" y="2275218"/>
            <a:ext cx="4937760" cy="600164"/>
          </a:xfrm>
          <a:prstGeom prst="rect">
            <a:avLst/>
          </a:prstGeom>
        </p:spPr>
        <p:txBody>
          <a:bodyPr>
            <a:spAutoFit/>
          </a:bodyPr>
          <a:lstStyle/>
          <a:p>
            <a:pPr>
              <a:spcAft>
                <a:spcPts val="600"/>
              </a:spcAft>
            </a:pPr>
            <a:r>
              <a:rPr lang="en-US" sz="1100" b="1" dirty="0" smtClean="0"/>
              <a:t>11 </a:t>
            </a:r>
            <a:r>
              <a:rPr lang="en-US" sz="1100" dirty="0"/>
              <a:t>seed companies </a:t>
            </a:r>
            <a:r>
              <a:rPr lang="en-US" sz="1100" dirty="0" smtClean="0"/>
              <a:t>supported who </a:t>
            </a:r>
            <a:r>
              <a:rPr lang="en-US" sz="1100" dirty="0"/>
              <a:t>increased their certified seed production from less than </a:t>
            </a:r>
            <a:r>
              <a:rPr lang="en-US" sz="1100" b="1" dirty="0"/>
              <a:t>100Mt to over 2,000 MT p.a. (over </a:t>
            </a:r>
            <a:r>
              <a:rPr lang="en-US" sz="1100" b="1" dirty="0" smtClean="0"/>
              <a:t>57,000 </a:t>
            </a:r>
            <a:r>
              <a:rPr lang="en-US" sz="1100" b="1" dirty="0"/>
              <a:t>Mt cumulatively</a:t>
            </a:r>
            <a:r>
              <a:rPr lang="en-US" sz="1100" dirty="0" smtClean="0"/>
              <a:t>). This seed was purchased by approximately </a:t>
            </a:r>
            <a:r>
              <a:rPr lang="en-GB" sz="1100" dirty="0"/>
              <a:t> </a:t>
            </a:r>
            <a:r>
              <a:rPr lang="en-GB" sz="1100" b="1" dirty="0"/>
              <a:t>2,730,761.90</a:t>
            </a:r>
            <a:r>
              <a:rPr lang="en-GB" sz="1100" dirty="0"/>
              <a:t> </a:t>
            </a:r>
            <a:r>
              <a:rPr lang="en-GB" sz="1100" dirty="0" smtClean="0"/>
              <a:t> </a:t>
            </a:r>
            <a:r>
              <a:rPr lang="en-US" sz="1100" dirty="0" smtClean="0"/>
              <a:t>farmers </a:t>
            </a:r>
            <a:endParaRPr lang="en-US" sz="1100" dirty="0"/>
          </a:p>
        </p:txBody>
      </p:sp>
      <p:graphicFrame>
        <p:nvGraphicFramePr>
          <p:cNvPr id="64" name="Chart 63"/>
          <p:cNvGraphicFramePr>
            <a:graphicFrameLocks/>
          </p:cNvGraphicFramePr>
          <p:nvPr>
            <p:extLst/>
          </p:nvPr>
        </p:nvGraphicFramePr>
        <p:xfrm>
          <a:off x="5784192" y="1203700"/>
          <a:ext cx="3972572" cy="2601501"/>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67" name="Chart 66"/>
          <p:cNvGraphicFramePr>
            <a:graphicFrameLocks/>
          </p:cNvGraphicFramePr>
          <p:nvPr>
            <p:extLst/>
          </p:nvPr>
        </p:nvGraphicFramePr>
        <p:xfrm>
          <a:off x="5784192" y="3979252"/>
          <a:ext cx="3972572" cy="2527874"/>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299109881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MM_SLIDE_TYPE" val="6"/>
</p:tagLst>
</file>

<file path=ppt/tags/tag100.xml><?xml version="1.0" encoding="utf-8"?>
<p:tagLst xmlns:a="http://schemas.openxmlformats.org/drawingml/2006/main" xmlns:r="http://schemas.openxmlformats.org/officeDocument/2006/relationships" xmlns:p="http://schemas.openxmlformats.org/presentationml/2006/main">
  <p:tag name="NAME" val="Moon"/>
</p:tagLst>
</file>

<file path=ppt/tags/tag101.xml><?xml version="1.0" encoding="utf-8"?>
<p:tagLst xmlns:a="http://schemas.openxmlformats.org/drawingml/2006/main" xmlns:r="http://schemas.openxmlformats.org/officeDocument/2006/relationships" xmlns:p="http://schemas.openxmlformats.org/presentationml/2006/main">
  <p:tag name="NAME" val="Moon"/>
</p:tagLst>
</file>

<file path=ppt/tags/tag102.xml><?xml version="1.0" encoding="utf-8"?>
<p:tagLst xmlns:a="http://schemas.openxmlformats.org/drawingml/2006/main" xmlns:r="http://schemas.openxmlformats.org/officeDocument/2006/relationships" xmlns:p="http://schemas.openxmlformats.org/presentationml/2006/main">
  <p:tag name="NAME" val="Moon"/>
</p:tagLst>
</file>

<file path=ppt/tags/tag10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0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0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0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0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NAME" val="Moon"/>
</p:tagLst>
</file>

<file path=ppt/tags/tag116.xml><?xml version="1.0" encoding="utf-8"?>
<p:tagLst xmlns:a="http://schemas.openxmlformats.org/drawingml/2006/main" xmlns:r="http://schemas.openxmlformats.org/officeDocument/2006/relationships" xmlns:p="http://schemas.openxmlformats.org/presentationml/2006/main">
  <p:tag name="NAME" val="Moon"/>
</p:tagLst>
</file>

<file path=ppt/tags/tag117.xml><?xml version="1.0" encoding="utf-8"?>
<p:tagLst xmlns:a="http://schemas.openxmlformats.org/drawingml/2006/main" xmlns:r="http://schemas.openxmlformats.org/officeDocument/2006/relationships" xmlns:p="http://schemas.openxmlformats.org/presentationml/2006/main">
  <p:tag name="NAME" val="Moon"/>
</p:tagLst>
</file>

<file path=ppt/tags/tag118.xml><?xml version="1.0" encoding="utf-8"?>
<p:tagLst xmlns:a="http://schemas.openxmlformats.org/drawingml/2006/main" xmlns:r="http://schemas.openxmlformats.org/officeDocument/2006/relationships" xmlns:p="http://schemas.openxmlformats.org/presentationml/2006/main">
  <p:tag name="NAME" val="Moon"/>
</p:tagLst>
</file>

<file path=ppt/tags/tag119.xml><?xml version="1.0" encoding="utf-8"?>
<p:tagLst xmlns:a="http://schemas.openxmlformats.org/drawingml/2006/main" xmlns:r="http://schemas.openxmlformats.org/officeDocument/2006/relationships" xmlns:p="http://schemas.openxmlformats.org/presentationml/2006/main">
  <p:tag name="NAME" val="Moon"/>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2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2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2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MM_SLIDE_TYPE" val="6"/>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NAME" val="Moon"/>
</p:tagLst>
</file>

<file path=ppt/tags/tag135.xml><?xml version="1.0" encoding="utf-8"?>
<p:tagLst xmlns:a="http://schemas.openxmlformats.org/drawingml/2006/main" xmlns:r="http://schemas.openxmlformats.org/officeDocument/2006/relationships" xmlns:p="http://schemas.openxmlformats.org/presentationml/2006/main">
  <p:tag name="NAME" val="Moon"/>
</p:tagLst>
</file>

<file path=ppt/tags/tag136.xml><?xml version="1.0" encoding="utf-8"?>
<p:tagLst xmlns:a="http://schemas.openxmlformats.org/drawingml/2006/main" xmlns:r="http://schemas.openxmlformats.org/officeDocument/2006/relationships" xmlns:p="http://schemas.openxmlformats.org/presentationml/2006/main">
  <p:tag name="NAME" val="Moon"/>
</p:tagLst>
</file>

<file path=ppt/tags/tag137.xml><?xml version="1.0" encoding="utf-8"?>
<p:tagLst xmlns:a="http://schemas.openxmlformats.org/drawingml/2006/main" xmlns:r="http://schemas.openxmlformats.org/officeDocument/2006/relationships" xmlns:p="http://schemas.openxmlformats.org/presentationml/2006/main">
  <p:tag name="NAME" val="Moon"/>
</p:tagLst>
</file>

<file path=ppt/tags/tag138.xml><?xml version="1.0" encoding="utf-8"?>
<p:tagLst xmlns:a="http://schemas.openxmlformats.org/drawingml/2006/main" xmlns:r="http://schemas.openxmlformats.org/officeDocument/2006/relationships" xmlns:p="http://schemas.openxmlformats.org/presentationml/2006/main">
  <p:tag name="NAME" val="Moon"/>
</p:tagLst>
</file>

<file path=ppt/tags/tag13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0xyHktlfSaq.R890voMw8A"/>
</p:tagLst>
</file>

<file path=ppt/tags/tag14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4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4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MM_SLIDE_TYPE" val="6"/>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NAME" val="Moon"/>
</p:tagLst>
</file>

<file path=ppt/tags/tag156.xml><?xml version="1.0" encoding="utf-8"?>
<p:tagLst xmlns:a="http://schemas.openxmlformats.org/drawingml/2006/main" xmlns:r="http://schemas.openxmlformats.org/officeDocument/2006/relationships" xmlns:p="http://schemas.openxmlformats.org/presentationml/2006/main">
  <p:tag name="NAME" val="Moon"/>
</p:tagLst>
</file>

<file path=ppt/tags/tag157.xml><?xml version="1.0" encoding="utf-8"?>
<p:tagLst xmlns:a="http://schemas.openxmlformats.org/drawingml/2006/main" xmlns:r="http://schemas.openxmlformats.org/officeDocument/2006/relationships" xmlns:p="http://schemas.openxmlformats.org/presentationml/2006/main">
  <p:tag name="NAME" val="Moon"/>
</p:tagLst>
</file>

<file path=ppt/tags/tag158.xml><?xml version="1.0" encoding="utf-8"?>
<p:tagLst xmlns:a="http://schemas.openxmlformats.org/drawingml/2006/main" xmlns:r="http://schemas.openxmlformats.org/officeDocument/2006/relationships" xmlns:p="http://schemas.openxmlformats.org/presentationml/2006/main">
  <p:tag name="NAME" val="Moon"/>
</p:tagLst>
</file>

<file path=ppt/tags/tag159.xml><?xml version="1.0" encoding="utf-8"?>
<p:tagLst xmlns:a="http://schemas.openxmlformats.org/drawingml/2006/main" xmlns:r="http://schemas.openxmlformats.org/officeDocument/2006/relationships" xmlns:p="http://schemas.openxmlformats.org/presentationml/2006/main">
  <p:tag name="NAME" val="Moon"/>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v8Jaok03TaSANb.emeEDdw"/>
</p:tagLst>
</file>

<file path=ppt/tags/tag16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6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6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6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6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MM_SLIDE_TYPE" val="6"/>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NAME" val="Moon"/>
</p:tagLst>
</file>

<file path=ppt/tags/tag175.xml><?xml version="1.0" encoding="utf-8"?>
<p:tagLst xmlns:a="http://schemas.openxmlformats.org/drawingml/2006/main" xmlns:r="http://schemas.openxmlformats.org/officeDocument/2006/relationships" xmlns:p="http://schemas.openxmlformats.org/presentationml/2006/main">
  <p:tag name="NAME" val="Moon"/>
</p:tagLst>
</file>

<file path=ppt/tags/tag176.xml><?xml version="1.0" encoding="utf-8"?>
<p:tagLst xmlns:a="http://schemas.openxmlformats.org/drawingml/2006/main" xmlns:r="http://schemas.openxmlformats.org/officeDocument/2006/relationships" xmlns:p="http://schemas.openxmlformats.org/presentationml/2006/main">
  <p:tag name="NAME" val="Moon"/>
</p:tagLst>
</file>

<file path=ppt/tags/tag177.xml><?xml version="1.0" encoding="utf-8"?>
<p:tagLst xmlns:a="http://schemas.openxmlformats.org/drawingml/2006/main" xmlns:r="http://schemas.openxmlformats.org/officeDocument/2006/relationships" xmlns:p="http://schemas.openxmlformats.org/presentationml/2006/main">
  <p:tag name="NAME" val="Moon"/>
</p:tagLst>
</file>

<file path=ppt/tags/tag178.xml><?xml version="1.0" encoding="utf-8"?>
<p:tagLst xmlns:a="http://schemas.openxmlformats.org/drawingml/2006/main" xmlns:r="http://schemas.openxmlformats.org/officeDocument/2006/relationships" xmlns:p="http://schemas.openxmlformats.org/presentationml/2006/main">
  <p:tag name="NAME" val="Moon"/>
</p:tagLst>
</file>

<file path=ppt/tags/tag17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0xyHktlfSaq.R890voMw8A"/>
</p:tagLst>
</file>

<file path=ppt/tags/tag18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8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8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8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8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8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8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MM_SLIDE_TYPE" val="6"/>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NAME" val="Moon"/>
</p:tagLst>
</file>

<file path=ppt/tags/tag194.xml><?xml version="1.0" encoding="utf-8"?>
<p:tagLst xmlns:a="http://schemas.openxmlformats.org/drawingml/2006/main" xmlns:r="http://schemas.openxmlformats.org/officeDocument/2006/relationships" xmlns:p="http://schemas.openxmlformats.org/presentationml/2006/main">
  <p:tag name="NAME" val="Moon"/>
</p:tagLst>
</file>

<file path=ppt/tags/tag195.xml><?xml version="1.0" encoding="utf-8"?>
<p:tagLst xmlns:a="http://schemas.openxmlformats.org/drawingml/2006/main" xmlns:r="http://schemas.openxmlformats.org/officeDocument/2006/relationships" xmlns:p="http://schemas.openxmlformats.org/presentationml/2006/main">
  <p:tag name="NAME" val="Moon"/>
</p:tagLst>
</file>

<file path=ppt/tags/tag196.xml><?xml version="1.0" encoding="utf-8"?>
<p:tagLst xmlns:a="http://schemas.openxmlformats.org/drawingml/2006/main" xmlns:r="http://schemas.openxmlformats.org/officeDocument/2006/relationships" xmlns:p="http://schemas.openxmlformats.org/presentationml/2006/main">
  <p:tag name="NAME" val="Moon"/>
</p:tagLst>
</file>

<file path=ppt/tags/tag197.xml><?xml version="1.0" encoding="utf-8"?>
<p:tagLst xmlns:a="http://schemas.openxmlformats.org/drawingml/2006/main" xmlns:r="http://schemas.openxmlformats.org/officeDocument/2006/relationships" xmlns:p="http://schemas.openxmlformats.org/presentationml/2006/main">
  <p:tag name="NAME" val="Moon"/>
</p:tagLst>
</file>

<file path=ppt/tags/tag19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9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v8Jaok03TaSANb.emeEDdw"/>
</p:tagLst>
</file>

<file path=ppt/tags/tag20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0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0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0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0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0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0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0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MM_SLIDE_TYPE" val="6"/>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GeDPLIQ5Sj.Rs7eUWCMiDw"/>
</p:tagLst>
</file>

<file path=ppt/tags/tag215.xml><?xml version="1.0" encoding="utf-8"?>
<p:tagLst xmlns:a="http://schemas.openxmlformats.org/drawingml/2006/main" xmlns:r="http://schemas.openxmlformats.org/officeDocument/2006/relationships" xmlns:p="http://schemas.openxmlformats.org/presentationml/2006/main">
  <p:tag name="NAME" val="Moon"/>
</p:tagLst>
</file>

<file path=ppt/tags/tag216.xml><?xml version="1.0" encoding="utf-8"?>
<p:tagLst xmlns:a="http://schemas.openxmlformats.org/drawingml/2006/main" xmlns:r="http://schemas.openxmlformats.org/officeDocument/2006/relationships" xmlns:p="http://schemas.openxmlformats.org/presentationml/2006/main">
  <p:tag name="NAME" val="Moon"/>
</p:tagLst>
</file>

<file path=ppt/tags/tag217.xml><?xml version="1.0" encoding="utf-8"?>
<p:tagLst xmlns:a="http://schemas.openxmlformats.org/drawingml/2006/main" xmlns:r="http://schemas.openxmlformats.org/officeDocument/2006/relationships" xmlns:p="http://schemas.openxmlformats.org/presentationml/2006/main">
  <p:tag name="NAME" val="Moon"/>
</p:tagLst>
</file>

<file path=ppt/tags/tag218.xml><?xml version="1.0" encoding="utf-8"?>
<p:tagLst xmlns:a="http://schemas.openxmlformats.org/drawingml/2006/main" xmlns:r="http://schemas.openxmlformats.org/officeDocument/2006/relationships" xmlns:p="http://schemas.openxmlformats.org/presentationml/2006/main">
  <p:tag name="NAME" val="Moon"/>
</p:tagLst>
</file>

<file path=ppt/tags/tag219.xml><?xml version="1.0" encoding="utf-8"?>
<p:tagLst xmlns:a="http://schemas.openxmlformats.org/drawingml/2006/main" xmlns:r="http://schemas.openxmlformats.org/officeDocument/2006/relationships" xmlns:p="http://schemas.openxmlformats.org/presentationml/2006/main">
  <p:tag name="NAME" val="Moon"/>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CnBQFDeeSBOOJ4m70KIE.Q"/>
</p:tagLst>
</file>

<file path=ppt/tags/tag22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2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2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2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2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2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2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2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2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2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MM_SLIDE_TYPE" val="6"/>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v8Jaok03TaSANb.emeEDd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NAME" val="Moon"/>
</p:tagLst>
</file>

<file path=ppt/tags/tag239.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k28DG9fNTrK1mokBA_avBw"/>
</p:tagLst>
</file>

<file path=ppt/tags/tag240.xml><?xml version="1.0" encoding="utf-8"?>
<p:tagLst xmlns:a="http://schemas.openxmlformats.org/drawingml/2006/main" xmlns:r="http://schemas.openxmlformats.org/officeDocument/2006/relationships" xmlns:p="http://schemas.openxmlformats.org/presentationml/2006/main">
  <p:tag name="NAME" val="Moon"/>
</p:tagLst>
</file>

<file path=ppt/tags/tag241.xml><?xml version="1.0" encoding="utf-8"?>
<p:tagLst xmlns:a="http://schemas.openxmlformats.org/drawingml/2006/main" xmlns:r="http://schemas.openxmlformats.org/officeDocument/2006/relationships" xmlns:p="http://schemas.openxmlformats.org/presentationml/2006/main">
  <p:tag name="NAME" val="Moon"/>
</p:tagLst>
</file>

<file path=ppt/tags/tag242.xml><?xml version="1.0" encoding="utf-8"?>
<p:tagLst xmlns:a="http://schemas.openxmlformats.org/drawingml/2006/main" xmlns:r="http://schemas.openxmlformats.org/officeDocument/2006/relationships" xmlns:p="http://schemas.openxmlformats.org/presentationml/2006/main">
  <p:tag name="NAME" val="Moon"/>
</p:tagLst>
</file>

<file path=ppt/tags/tag24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4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4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4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4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4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4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5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5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MM_SLIDE_TYPE" val="6"/>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v8Jaok03TaSANb.emeEDd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5JY.NlaSSDyTA_thy.0iJ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NAME" val="Moon"/>
</p:tagLst>
</file>

<file path=ppt/tags/tag262.xml><?xml version="1.0" encoding="utf-8"?>
<p:tagLst xmlns:a="http://schemas.openxmlformats.org/drawingml/2006/main" xmlns:r="http://schemas.openxmlformats.org/officeDocument/2006/relationships" xmlns:p="http://schemas.openxmlformats.org/presentationml/2006/main">
  <p:tag name="NAME" val="Moon"/>
</p:tagLst>
</file>

<file path=ppt/tags/tag263.xml><?xml version="1.0" encoding="utf-8"?>
<p:tagLst xmlns:a="http://schemas.openxmlformats.org/drawingml/2006/main" xmlns:r="http://schemas.openxmlformats.org/officeDocument/2006/relationships" xmlns:p="http://schemas.openxmlformats.org/presentationml/2006/main">
  <p:tag name="NAME" val="Moon"/>
</p:tagLst>
</file>

<file path=ppt/tags/tag264.xml><?xml version="1.0" encoding="utf-8"?>
<p:tagLst xmlns:a="http://schemas.openxmlformats.org/drawingml/2006/main" xmlns:r="http://schemas.openxmlformats.org/officeDocument/2006/relationships" xmlns:p="http://schemas.openxmlformats.org/presentationml/2006/main">
  <p:tag name="NAME" val="Moon"/>
</p:tagLst>
</file>

<file path=ppt/tags/tag265.xml><?xml version="1.0" encoding="utf-8"?>
<p:tagLst xmlns:a="http://schemas.openxmlformats.org/drawingml/2006/main" xmlns:r="http://schemas.openxmlformats.org/officeDocument/2006/relationships" xmlns:p="http://schemas.openxmlformats.org/presentationml/2006/main">
  <p:tag name="NAME" val="Moon"/>
</p:tagLst>
</file>

<file path=ppt/tags/tag26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6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6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6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7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7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7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7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7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MM_SLIDE_TYPE" val="6"/>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MM_SLIDE_TYPE" val="6"/>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NAME" val="Moon"/>
</p:tagLst>
</file>

<file path=ppt/tags/tag282.xml><?xml version="1.0" encoding="utf-8"?>
<p:tagLst xmlns:a="http://schemas.openxmlformats.org/drawingml/2006/main" xmlns:r="http://schemas.openxmlformats.org/officeDocument/2006/relationships" xmlns:p="http://schemas.openxmlformats.org/presentationml/2006/main">
  <p:tag name="NAME" val="Moon"/>
</p:tagLst>
</file>

<file path=ppt/tags/tag283.xml><?xml version="1.0" encoding="utf-8"?>
<p:tagLst xmlns:a="http://schemas.openxmlformats.org/drawingml/2006/main" xmlns:r="http://schemas.openxmlformats.org/officeDocument/2006/relationships" xmlns:p="http://schemas.openxmlformats.org/presentationml/2006/main">
  <p:tag name="NAME" val="Moon"/>
</p:tagLst>
</file>

<file path=ppt/tags/tag284.xml><?xml version="1.0" encoding="utf-8"?>
<p:tagLst xmlns:a="http://schemas.openxmlformats.org/drawingml/2006/main" xmlns:r="http://schemas.openxmlformats.org/officeDocument/2006/relationships" xmlns:p="http://schemas.openxmlformats.org/presentationml/2006/main">
  <p:tag name="NAME" val="Moon"/>
</p:tagLst>
</file>

<file path=ppt/tags/tag285.xml><?xml version="1.0" encoding="utf-8"?>
<p:tagLst xmlns:a="http://schemas.openxmlformats.org/drawingml/2006/main" xmlns:r="http://schemas.openxmlformats.org/officeDocument/2006/relationships" xmlns:p="http://schemas.openxmlformats.org/presentationml/2006/main">
  <p:tag name="NAME" val="Moon"/>
</p:tagLst>
</file>

<file path=ppt/tags/tag28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8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8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8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9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9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9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9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9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MM_SLIDE_TYPE" val="6"/>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NAME" val="Moon"/>
</p:tagLst>
</file>

<file path=ppt/tags/tag302.xml><?xml version="1.0" encoding="utf-8"?>
<p:tagLst xmlns:a="http://schemas.openxmlformats.org/drawingml/2006/main" xmlns:r="http://schemas.openxmlformats.org/officeDocument/2006/relationships" xmlns:p="http://schemas.openxmlformats.org/presentationml/2006/main">
  <p:tag name="NAME" val="Moon"/>
</p:tagLst>
</file>

<file path=ppt/tags/tag303.xml><?xml version="1.0" encoding="utf-8"?>
<p:tagLst xmlns:a="http://schemas.openxmlformats.org/drawingml/2006/main" xmlns:r="http://schemas.openxmlformats.org/officeDocument/2006/relationships" xmlns:p="http://schemas.openxmlformats.org/presentationml/2006/main">
  <p:tag name="NAME" val="Moon"/>
</p:tagLst>
</file>

<file path=ppt/tags/tag304.xml><?xml version="1.0" encoding="utf-8"?>
<p:tagLst xmlns:a="http://schemas.openxmlformats.org/drawingml/2006/main" xmlns:r="http://schemas.openxmlformats.org/officeDocument/2006/relationships" xmlns:p="http://schemas.openxmlformats.org/presentationml/2006/main">
  <p:tag name="NAME" val="Moon"/>
</p:tagLst>
</file>

<file path=ppt/tags/tag305.xml><?xml version="1.0" encoding="utf-8"?>
<p:tagLst xmlns:a="http://schemas.openxmlformats.org/drawingml/2006/main" xmlns:r="http://schemas.openxmlformats.org/officeDocument/2006/relationships" xmlns:p="http://schemas.openxmlformats.org/presentationml/2006/main">
  <p:tag name="NAME" val="Moon"/>
</p:tagLst>
</file>

<file path=ppt/tags/tag30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0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0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0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0xyHktlfSaq.R890voMw8A"/>
</p:tagLst>
</file>

<file path=ppt/tags/tag3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1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1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1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MM_SLIDE_TYPE" val="6"/>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BmJBnLNhRBmngTMXC_LCU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BmJBnLNhRBmngTMXC_LCUg"/>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YrVXeEXRSz6uZNZRbQmzW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v8Jaok03TaSANb.emeEDd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k.cD8g2DTA2xTOBYAJEci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15y.Z523RHuigx2IYy_X3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il2UDstESFeM3NhXKvRUN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Z3QVdsjCQ2uhw2c_3NKSO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oCLwFhEiQpmVW6H1AVc7V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FzNSRDymT6iMIooXq8m2J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Z8oOAQVOUkmRgxgdKaJNS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cnLio8Y5Q0Kk9UGEs_65c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D32lYBAH6EK6lfAEJrvJZ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_uQp6ZZG0EiWDqfN2TTEu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uY3tzqsBKEu0fLjQdXPN9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xr_LIQwEzU6tM993a37yc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0xyHktlfSaq.R890voMw8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NAME" val="SingleBoat"/>
</p:tagLst>
</file>

<file path=ppt/tags/tag355.xml><?xml version="1.0" encoding="utf-8"?>
<p:tagLst xmlns:a="http://schemas.openxmlformats.org/drawingml/2006/main" xmlns:r="http://schemas.openxmlformats.org/officeDocument/2006/relationships" xmlns:p="http://schemas.openxmlformats.org/presentationml/2006/main">
  <p:tag name="NAME" val="SingleBoat"/>
</p:tagLst>
</file>

<file path=ppt/tags/tag356.xml><?xml version="1.0" encoding="utf-8"?>
<p:tagLst xmlns:a="http://schemas.openxmlformats.org/drawingml/2006/main" xmlns:r="http://schemas.openxmlformats.org/officeDocument/2006/relationships" xmlns:p="http://schemas.openxmlformats.org/presentationml/2006/main">
  <p:tag name="NAME" val="SingleBoatShape"/>
</p:tagLst>
</file>

<file path=ppt/tags/tag357.xml><?xml version="1.0" encoding="utf-8"?>
<p:tagLst xmlns:a="http://schemas.openxmlformats.org/drawingml/2006/main" xmlns:r="http://schemas.openxmlformats.org/officeDocument/2006/relationships" xmlns:p="http://schemas.openxmlformats.org/presentationml/2006/main">
  <p:tag name="NAME" val="SingleBoatText"/>
</p:tagLst>
</file>

<file path=ppt/tags/tag358.xml><?xml version="1.0" encoding="utf-8"?>
<p:tagLst xmlns:a="http://schemas.openxmlformats.org/drawingml/2006/main" xmlns:r="http://schemas.openxmlformats.org/officeDocument/2006/relationships" xmlns:p="http://schemas.openxmlformats.org/presentationml/2006/main">
  <p:tag name="NAME" val="SingleBoatShape"/>
</p:tagLst>
</file>

<file path=ppt/tags/tag359.xml><?xml version="1.0" encoding="utf-8"?>
<p:tagLst xmlns:a="http://schemas.openxmlformats.org/drawingml/2006/main" xmlns:r="http://schemas.openxmlformats.org/officeDocument/2006/relationships" xmlns:p="http://schemas.openxmlformats.org/presentationml/2006/main">
  <p:tag name="NAME" val="SingleBoatText"/>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NAME" val="SingleBoat"/>
</p:tagLst>
</file>

<file path=ppt/tags/tag361.xml><?xml version="1.0" encoding="utf-8"?>
<p:tagLst xmlns:a="http://schemas.openxmlformats.org/drawingml/2006/main" xmlns:r="http://schemas.openxmlformats.org/officeDocument/2006/relationships" xmlns:p="http://schemas.openxmlformats.org/presentationml/2006/main">
  <p:tag name="NAME" val="SingleBoat"/>
</p:tagLst>
</file>

<file path=ppt/tags/tag362.xml><?xml version="1.0" encoding="utf-8"?>
<p:tagLst xmlns:a="http://schemas.openxmlformats.org/drawingml/2006/main" xmlns:r="http://schemas.openxmlformats.org/officeDocument/2006/relationships" xmlns:p="http://schemas.openxmlformats.org/presentationml/2006/main">
  <p:tag name="NAME" val="SingleBoat"/>
</p:tagLst>
</file>

<file path=ppt/tags/tag363.xml><?xml version="1.0" encoding="utf-8"?>
<p:tagLst xmlns:a="http://schemas.openxmlformats.org/drawingml/2006/main" xmlns:r="http://schemas.openxmlformats.org/officeDocument/2006/relationships" xmlns:p="http://schemas.openxmlformats.org/presentationml/2006/main">
  <p:tag name="NAME" val="SingleBoat"/>
</p:tagLst>
</file>

<file path=ppt/tags/tag364.xml><?xml version="1.0" encoding="utf-8"?>
<p:tagLst xmlns:a="http://schemas.openxmlformats.org/drawingml/2006/main" xmlns:r="http://schemas.openxmlformats.org/officeDocument/2006/relationships" xmlns:p="http://schemas.openxmlformats.org/presentationml/2006/main">
  <p:tag name="NAME" val="SingleBoat"/>
</p:tagLst>
</file>

<file path=ppt/tags/tag365.xml><?xml version="1.0" encoding="utf-8"?>
<p:tagLst xmlns:a="http://schemas.openxmlformats.org/drawingml/2006/main" xmlns:r="http://schemas.openxmlformats.org/officeDocument/2006/relationships" xmlns:p="http://schemas.openxmlformats.org/presentationml/2006/main">
  <p:tag name="NAME" val="SingleBoat"/>
</p:tagLst>
</file>

<file path=ppt/tags/tag366.xml><?xml version="1.0" encoding="utf-8"?>
<p:tagLst xmlns:a="http://schemas.openxmlformats.org/drawingml/2006/main" xmlns:r="http://schemas.openxmlformats.org/officeDocument/2006/relationships" xmlns:p="http://schemas.openxmlformats.org/presentationml/2006/main">
  <p:tag name="NAME" val="SingleBoat"/>
</p:tagLst>
</file>

<file path=ppt/tags/tag367.xml><?xml version="1.0" encoding="utf-8"?>
<p:tagLst xmlns:a="http://schemas.openxmlformats.org/drawingml/2006/main" xmlns:r="http://schemas.openxmlformats.org/officeDocument/2006/relationships" xmlns:p="http://schemas.openxmlformats.org/presentationml/2006/main">
  <p:tag name="NAME" val="SingleBoatShape"/>
</p:tagLst>
</file>

<file path=ppt/tags/tag368.xml><?xml version="1.0" encoding="utf-8"?>
<p:tagLst xmlns:a="http://schemas.openxmlformats.org/drawingml/2006/main" xmlns:r="http://schemas.openxmlformats.org/officeDocument/2006/relationships" xmlns:p="http://schemas.openxmlformats.org/presentationml/2006/main">
  <p:tag name="NAME" val="SingleBoatText"/>
</p:tagLst>
</file>

<file path=ppt/tags/tag369.xml><?xml version="1.0" encoding="utf-8"?>
<p:tagLst xmlns:a="http://schemas.openxmlformats.org/drawingml/2006/main" xmlns:r="http://schemas.openxmlformats.org/officeDocument/2006/relationships" xmlns:p="http://schemas.openxmlformats.org/presentationml/2006/main">
  <p:tag name="NAME" val="SingleBoatShap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v8Jaok03TaSANb.emeEDdw"/>
</p:tagLst>
</file>

<file path=ppt/tags/tag370.xml><?xml version="1.0" encoding="utf-8"?>
<p:tagLst xmlns:a="http://schemas.openxmlformats.org/drawingml/2006/main" xmlns:r="http://schemas.openxmlformats.org/officeDocument/2006/relationships" xmlns:p="http://schemas.openxmlformats.org/presentationml/2006/main">
  <p:tag name="NAME" val="SingleBoatText"/>
</p:tagLst>
</file>

<file path=ppt/tags/tag371.xml><?xml version="1.0" encoding="utf-8"?>
<p:tagLst xmlns:a="http://schemas.openxmlformats.org/drawingml/2006/main" xmlns:r="http://schemas.openxmlformats.org/officeDocument/2006/relationships" xmlns:p="http://schemas.openxmlformats.org/presentationml/2006/main">
  <p:tag name="NAME" val="SingleBoatShape"/>
</p:tagLst>
</file>

<file path=ppt/tags/tag372.xml><?xml version="1.0" encoding="utf-8"?>
<p:tagLst xmlns:a="http://schemas.openxmlformats.org/drawingml/2006/main" xmlns:r="http://schemas.openxmlformats.org/officeDocument/2006/relationships" xmlns:p="http://schemas.openxmlformats.org/presentationml/2006/main">
  <p:tag name="NAME" val="SingleBoatText"/>
</p:tagLst>
</file>

<file path=ppt/tags/tag373.xml><?xml version="1.0" encoding="utf-8"?>
<p:tagLst xmlns:a="http://schemas.openxmlformats.org/drawingml/2006/main" xmlns:r="http://schemas.openxmlformats.org/officeDocument/2006/relationships" xmlns:p="http://schemas.openxmlformats.org/presentationml/2006/main">
  <p:tag name="NAME" val="SingleBoatShape"/>
</p:tagLst>
</file>

<file path=ppt/tags/tag374.xml><?xml version="1.0" encoding="utf-8"?>
<p:tagLst xmlns:a="http://schemas.openxmlformats.org/drawingml/2006/main" xmlns:r="http://schemas.openxmlformats.org/officeDocument/2006/relationships" xmlns:p="http://schemas.openxmlformats.org/presentationml/2006/main">
  <p:tag name="NAME" val="SingleBoatText"/>
</p:tagLst>
</file>

<file path=ppt/tags/tag375.xml><?xml version="1.0" encoding="utf-8"?>
<p:tagLst xmlns:a="http://schemas.openxmlformats.org/drawingml/2006/main" xmlns:r="http://schemas.openxmlformats.org/officeDocument/2006/relationships" xmlns:p="http://schemas.openxmlformats.org/presentationml/2006/main">
  <p:tag name="NAME" val="SingleBoatShape"/>
</p:tagLst>
</file>

<file path=ppt/tags/tag376.xml><?xml version="1.0" encoding="utf-8"?>
<p:tagLst xmlns:a="http://schemas.openxmlformats.org/drawingml/2006/main" xmlns:r="http://schemas.openxmlformats.org/officeDocument/2006/relationships" xmlns:p="http://schemas.openxmlformats.org/presentationml/2006/main">
  <p:tag name="NAME" val="SingleBoatText"/>
</p:tagLst>
</file>

<file path=ppt/tags/tag377.xml><?xml version="1.0" encoding="utf-8"?>
<p:tagLst xmlns:a="http://schemas.openxmlformats.org/drawingml/2006/main" xmlns:r="http://schemas.openxmlformats.org/officeDocument/2006/relationships" xmlns:p="http://schemas.openxmlformats.org/presentationml/2006/main">
  <p:tag name="NAME" val="SingleBoatShape"/>
</p:tagLst>
</file>

<file path=ppt/tags/tag378.xml><?xml version="1.0" encoding="utf-8"?>
<p:tagLst xmlns:a="http://schemas.openxmlformats.org/drawingml/2006/main" xmlns:r="http://schemas.openxmlformats.org/officeDocument/2006/relationships" xmlns:p="http://schemas.openxmlformats.org/presentationml/2006/main">
  <p:tag name="NAME" val="SingleBoatText"/>
</p:tagLst>
</file>

<file path=ppt/tags/tag379.xml><?xml version="1.0" encoding="utf-8"?>
<p:tagLst xmlns:a="http://schemas.openxmlformats.org/drawingml/2006/main" xmlns:r="http://schemas.openxmlformats.org/officeDocument/2006/relationships" xmlns:p="http://schemas.openxmlformats.org/presentationml/2006/main">
  <p:tag name="NAME" val="SingleBoatShap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NAME" val="SingleBoatText"/>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7XEBkPY2T4u8sLrcuB3I7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7XEBkPY2T4u8sLrcuB3I7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7XEBkPY2T4u8sLrcuB3I7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7XEBkPY2T4u8sLrcuB3I7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CnBQFDeeSBOOJ4m70KIE.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T_WHxBeHRYK_usLjz3yHQ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kXSiSslcRDqZDFP98IANIg"/>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lrPyAOcpRJWSi5pnKv3Ro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7HYw.U00TtOoKHWX5MuOcA"/>
</p:tagLst>
</file>

<file path=ppt/tags/tag397.xml><?xml version="1.0" encoding="utf-8"?>
<p:tagLst xmlns:a="http://schemas.openxmlformats.org/drawingml/2006/main" xmlns:r="http://schemas.openxmlformats.org/officeDocument/2006/relationships" xmlns:p="http://schemas.openxmlformats.org/presentationml/2006/main">
  <p:tag name="MTTABLE" val="Cell"/>
  <p:tag name="MTNUMBER" val="0.22450228325301"/>
  <p:tag name="LEFT" val="522.6887"/>
  <p:tag name="WIDTH" val="51.32913"/>
  <p:tag name="TOP" val="426.9257"/>
  <p:tag name="HEIGHT" val="6.504063"/>
</p:tagLst>
</file>

<file path=ppt/tags/tag398.xml><?xml version="1.0" encoding="utf-8"?>
<p:tagLst xmlns:a="http://schemas.openxmlformats.org/drawingml/2006/main" xmlns:r="http://schemas.openxmlformats.org/officeDocument/2006/relationships" xmlns:p="http://schemas.openxmlformats.org/presentationml/2006/main">
  <p:tag name="MTTABLE" val="Cell"/>
  <p:tag name="MTNUMBER" val="0.22450228325301"/>
  <p:tag name="LEFT" val="522.6887"/>
  <p:tag name="WIDTH" val="51.32913"/>
  <p:tag name="TOP" val="443.4298"/>
  <p:tag name="HEIGHT" val="6.504063"/>
</p:tagLst>
</file>

<file path=ppt/tags/tag399.xml><?xml version="1.0" encoding="utf-8"?>
<p:tagLst xmlns:a="http://schemas.openxmlformats.org/drawingml/2006/main" xmlns:r="http://schemas.openxmlformats.org/officeDocument/2006/relationships" xmlns:p="http://schemas.openxmlformats.org/presentationml/2006/main">
  <p:tag name="MTTABLE" val="Cell"/>
  <p:tag name="MTNUMBER" val="0.22450228325301"/>
  <p:tag name="LEFT" val="522.6887"/>
  <p:tag name="WIDTH" val="51.32913"/>
  <p:tag name="TOP" val="459.9339"/>
  <p:tag name="HEIGHT" val="6.504063"/>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MTTABLE" val="Cell"/>
  <p:tag name="MTNUMBER" val="0.22450228325301"/>
  <p:tag name="LEFT" val="522.6887"/>
  <p:tag name="WIDTH" val="51.32913"/>
  <p:tag name="TOP" val="476.438"/>
  <p:tag name="HEIGHT" val="6.504063"/>
</p:tagLst>
</file>

<file path=ppt/tags/tag401.xml><?xml version="1.0" encoding="utf-8"?>
<p:tagLst xmlns:a="http://schemas.openxmlformats.org/drawingml/2006/main" xmlns:r="http://schemas.openxmlformats.org/officeDocument/2006/relationships" xmlns:p="http://schemas.openxmlformats.org/presentationml/2006/main">
  <p:tag name="MTTABLE" val="Cell"/>
  <p:tag name="MTNUMBER" val="0.22450228325301"/>
  <p:tag name="LEFT" val="584.0178"/>
  <p:tag name="WIDTH" val="51.32913"/>
  <p:tag name="TOP" val="426.9257"/>
  <p:tag name="HEIGHT" val="6.504063"/>
</p:tagLst>
</file>

<file path=ppt/tags/tag402.xml><?xml version="1.0" encoding="utf-8"?>
<p:tagLst xmlns:a="http://schemas.openxmlformats.org/drawingml/2006/main" xmlns:r="http://schemas.openxmlformats.org/officeDocument/2006/relationships" xmlns:p="http://schemas.openxmlformats.org/presentationml/2006/main">
  <p:tag name="MTTABLE" val="Cell"/>
  <p:tag name="MTNUMBER" val="0.22450228325301"/>
  <p:tag name="LEFT" val="584.0178"/>
  <p:tag name="WIDTH" val="51.32913"/>
  <p:tag name="TOP" val="443.4298"/>
  <p:tag name="HEIGHT" val="6.504063"/>
</p:tagLst>
</file>

<file path=ppt/tags/tag403.xml><?xml version="1.0" encoding="utf-8"?>
<p:tagLst xmlns:a="http://schemas.openxmlformats.org/drawingml/2006/main" xmlns:r="http://schemas.openxmlformats.org/officeDocument/2006/relationships" xmlns:p="http://schemas.openxmlformats.org/presentationml/2006/main">
  <p:tag name="MTTABLE" val="Cell"/>
  <p:tag name="MTNUMBER" val="0.22450228325301"/>
  <p:tag name="LEFT" val="584.0178"/>
  <p:tag name="WIDTH" val="51.32913"/>
  <p:tag name="TOP" val="459.9339"/>
  <p:tag name="HEIGHT" val="6.504063"/>
</p:tagLst>
</file>

<file path=ppt/tags/tag404.xml><?xml version="1.0" encoding="utf-8"?>
<p:tagLst xmlns:a="http://schemas.openxmlformats.org/drawingml/2006/main" xmlns:r="http://schemas.openxmlformats.org/officeDocument/2006/relationships" xmlns:p="http://schemas.openxmlformats.org/presentationml/2006/main">
  <p:tag name="MTTABLE" val="Cell"/>
  <p:tag name="MTNUMBER" val="0.22450228325301"/>
  <p:tag name="LEFT" val="584.0178"/>
  <p:tag name="WIDTH" val="51.32913"/>
  <p:tag name="TOP" val="476.438"/>
  <p:tag name="HEIGHT" val="6.504063"/>
</p:tagLst>
</file>

<file path=ppt/tags/tag405.xml><?xml version="1.0" encoding="utf-8"?>
<p:tagLst xmlns:a="http://schemas.openxmlformats.org/drawingml/2006/main" xmlns:r="http://schemas.openxmlformats.org/officeDocument/2006/relationships" xmlns:p="http://schemas.openxmlformats.org/presentationml/2006/main">
  <p:tag name="MTTABLE" val="Cell"/>
  <p:tag name="MTNUMBER" val="0.22450228325301"/>
  <p:tag name="LEFT" val="645.347"/>
  <p:tag name="WIDTH" val="51.32913"/>
  <p:tag name="HEIGHT" val="16.96409"/>
  <p:tag name="TOP" val="399.9616"/>
</p:tagLst>
</file>

<file path=ppt/tags/tag406.xml><?xml version="1.0" encoding="utf-8"?>
<p:tagLst xmlns:a="http://schemas.openxmlformats.org/drawingml/2006/main" xmlns:r="http://schemas.openxmlformats.org/officeDocument/2006/relationships" xmlns:p="http://schemas.openxmlformats.org/presentationml/2006/main">
  <p:tag name="MTTABLE" val="Cell"/>
  <p:tag name="MTNUMBER" val="0.22450228325301"/>
  <p:tag name="LEFT" val="645.347"/>
  <p:tag name="WIDTH" val="51.32913"/>
  <p:tag name="TOP" val="426.9257"/>
  <p:tag name="HEIGHT" val="6.504063"/>
</p:tagLst>
</file>

<file path=ppt/tags/tag407.xml><?xml version="1.0" encoding="utf-8"?>
<p:tagLst xmlns:a="http://schemas.openxmlformats.org/drawingml/2006/main" xmlns:r="http://schemas.openxmlformats.org/officeDocument/2006/relationships" xmlns:p="http://schemas.openxmlformats.org/presentationml/2006/main">
  <p:tag name="MTTABLE" val="Cell"/>
  <p:tag name="MTNUMBER" val="0.22450228325301"/>
  <p:tag name="LEFT" val="645.347"/>
  <p:tag name="WIDTH" val="51.32913"/>
  <p:tag name="TOP" val="443.4298"/>
  <p:tag name="HEIGHT" val="6.504063"/>
</p:tagLst>
</file>

<file path=ppt/tags/tag408.xml><?xml version="1.0" encoding="utf-8"?>
<p:tagLst xmlns:a="http://schemas.openxmlformats.org/drawingml/2006/main" xmlns:r="http://schemas.openxmlformats.org/officeDocument/2006/relationships" xmlns:p="http://schemas.openxmlformats.org/presentationml/2006/main">
  <p:tag name="MTTABLE" val="Cell"/>
  <p:tag name="MTNUMBER" val="0.22450228325301"/>
  <p:tag name="LEFT" val="645.347"/>
  <p:tag name="WIDTH" val="51.32913"/>
  <p:tag name="TOP" val="459.9339"/>
  <p:tag name="HEIGHT" val="6.504063"/>
</p:tagLst>
</file>

<file path=ppt/tags/tag409.xml><?xml version="1.0" encoding="utf-8"?>
<p:tagLst xmlns:a="http://schemas.openxmlformats.org/drawingml/2006/main" xmlns:r="http://schemas.openxmlformats.org/officeDocument/2006/relationships" xmlns:p="http://schemas.openxmlformats.org/presentationml/2006/main">
  <p:tag name="MTTABLE" val="Cell"/>
  <p:tag name="MTNUMBER" val="0.22450228325301"/>
  <p:tag name="LEFT" val="645.347"/>
  <p:tag name="WIDTH" val="51.32913"/>
  <p:tag name="TOP" val="476.438"/>
  <p:tag name="HEIGHT" val="6.504063"/>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k28DG9fNTrK1mokBA_avBw"/>
</p:tagLst>
</file>

<file path=ppt/tags/tag410.xml><?xml version="1.0" encoding="utf-8"?>
<p:tagLst xmlns:a="http://schemas.openxmlformats.org/drawingml/2006/main" xmlns:r="http://schemas.openxmlformats.org/officeDocument/2006/relationships" xmlns:p="http://schemas.openxmlformats.org/presentationml/2006/main">
  <p:tag name="MTTABLE" val="HTitleDiv"/>
  <p:tag name="MTNUMBER" val="0.22450228325301"/>
</p:tagLst>
</file>

<file path=ppt/tags/tag411.xml><?xml version="1.0" encoding="utf-8"?>
<p:tagLst xmlns:a="http://schemas.openxmlformats.org/drawingml/2006/main" xmlns:r="http://schemas.openxmlformats.org/officeDocument/2006/relationships" xmlns:p="http://schemas.openxmlformats.org/presentationml/2006/main">
  <p:tag name="MTTABLE" val="HTitleDiv"/>
  <p:tag name="MTNUMBER" val="0.22450228325301"/>
</p:tagLst>
</file>

<file path=ppt/tags/tag412.xml><?xml version="1.0" encoding="utf-8"?>
<p:tagLst xmlns:a="http://schemas.openxmlformats.org/drawingml/2006/main" xmlns:r="http://schemas.openxmlformats.org/officeDocument/2006/relationships" xmlns:p="http://schemas.openxmlformats.org/presentationml/2006/main">
  <p:tag name="MTTABLE" val="HTitleDiv"/>
  <p:tag name="MTNUMBER" val="0.22450228325301"/>
</p:tagLst>
</file>

<file path=ppt/tags/tag413.xml><?xml version="1.0" encoding="utf-8"?>
<p:tagLst xmlns:a="http://schemas.openxmlformats.org/drawingml/2006/main" xmlns:r="http://schemas.openxmlformats.org/officeDocument/2006/relationships" xmlns:p="http://schemas.openxmlformats.org/presentationml/2006/main">
  <p:tag name="MTTABLE" val="HDiv"/>
  <p:tag name="MTNUMBER" val="0.22450228325301"/>
</p:tagLst>
</file>

<file path=ppt/tags/tag414.xml><?xml version="1.0" encoding="utf-8"?>
<p:tagLst xmlns:a="http://schemas.openxmlformats.org/drawingml/2006/main" xmlns:r="http://schemas.openxmlformats.org/officeDocument/2006/relationships" xmlns:p="http://schemas.openxmlformats.org/presentationml/2006/main">
  <p:tag name="MTTABLE" val="HDiv"/>
  <p:tag name="MTNUMBER" val="0.22450228325301"/>
</p:tagLst>
</file>

<file path=ppt/tags/tag415.xml><?xml version="1.0" encoding="utf-8"?>
<p:tagLst xmlns:a="http://schemas.openxmlformats.org/drawingml/2006/main" xmlns:r="http://schemas.openxmlformats.org/officeDocument/2006/relationships" xmlns:p="http://schemas.openxmlformats.org/presentationml/2006/main">
  <p:tag name="MTTABLE" val="HDiv"/>
  <p:tag name="MTNUMBER" val="0.22450228325301"/>
</p:tagLst>
</file>

<file path=ppt/tags/tag416.xml><?xml version="1.0" encoding="utf-8"?>
<p:tagLst xmlns:a="http://schemas.openxmlformats.org/drawingml/2006/main" xmlns:r="http://schemas.openxmlformats.org/officeDocument/2006/relationships" xmlns:p="http://schemas.openxmlformats.org/presentationml/2006/main">
  <p:tag name="MTTABLE" val="Cell"/>
  <p:tag name="MTNUMBER" val="0.22450228325301"/>
  <p:tag name="LEFT" val="522.6887"/>
  <p:tag name="WIDTH" val="51.32913"/>
  <p:tag name="HEIGHT" val="16.96409"/>
  <p:tag name="TOP" val="399.9616"/>
</p:tagLst>
</file>

<file path=ppt/tags/tag417.xml><?xml version="1.0" encoding="utf-8"?>
<p:tagLst xmlns:a="http://schemas.openxmlformats.org/drawingml/2006/main" xmlns:r="http://schemas.openxmlformats.org/officeDocument/2006/relationships" xmlns:p="http://schemas.openxmlformats.org/presentationml/2006/main">
  <p:tag name="MTTABLE" val="Cell"/>
  <p:tag name="MTNUMBER" val="0.22450228325301"/>
  <p:tag name="LEFT" val="584.0178"/>
  <p:tag name="WIDTH" val="51.32913"/>
  <p:tag name="HEIGHT" val="16.96409"/>
  <p:tag name="TOP" val="399.9616"/>
</p:tagLst>
</file>

<file path=ppt/tags/tag418.xml><?xml version="1.0" encoding="utf-8"?>
<p:tagLst xmlns:a="http://schemas.openxmlformats.org/drawingml/2006/main" xmlns:r="http://schemas.openxmlformats.org/officeDocument/2006/relationships" xmlns:p="http://schemas.openxmlformats.org/presentationml/2006/main">
  <p:tag name="MTTABLE" val="Cell"/>
  <p:tag name="MTNUMBER" val="0.22450228325301"/>
  <p:tag name="LEFT" val="522.6887"/>
  <p:tag name="WIDTH" val="51.32913"/>
  <p:tag name="TOP" val="476.438"/>
  <p:tag name="HEIGHT" val="6.504063"/>
</p:tagLst>
</file>

<file path=ppt/tags/tag419.xml><?xml version="1.0" encoding="utf-8"?>
<p:tagLst xmlns:a="http://schemas.openxmlformats.org/drawingml/2006/main" xmlns:r="http://schemas.openxmlformats.org/officeDocument/2006/relationships" xmlns:p="http://schemas.openxmlformats.org/presentationml/2006/main">
  <p:tag name="MTTABLE" val="Cell"/>
  <p:tag name="MTNUMBER" val="0.22450228325301"/>
  <p:tag name="LEFT" val="584.0178"/>
  <p:tag name="WIDTH" val="51.32913"/>
  <p:tag name="TOP" val="476.438"/>
  <p:tag name="HEIGHT" val="6.504063"/>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MTTABLE" val="Cell"/>
  <p:tag name="MTNUMBER" val="0.22450228325301"/>
  <p:tag name="LEFT" val="645.347"/>
  <p:tag name="WIDTH" val="51.32913"/>
  <p:tag name="TOP" val="476.438"/>
  <p:tag name="HEIGHT" val="6.504063"/>
</p:tagLst>
</file>

<file path=ppt/tags/tag421.xml><?xml version="1.0" encoding="utf-8"?>
<p:tagLst xmlns:a="http://schemas.openxmlformats.org/drawingml/2006/main" xmlns:r="http://schemas.openxmlformats.org/officeDocument/2006/relationships" xmlns:p="http://schemas.openxmlformats.org/presentationml/2006/main">
  <p:tag name="MTTABLE" val="HDiv"/>
  <p:tag name="MTNUMBER" val="0.22450228325301"/>
</p:tagLst>
</file>

<file path=ppt/tags/tag422.xml><?xml version="1.0" encoding="utf-8"?>
<p:tagLst xmlns:a="http://schemas.openxmlformats.org/drawingml/2006/main" xmlns:r="http://schemas.openxmlformats.org/officeDocument/2006/relationships" xmlns:p="http://schemas.openxmlformats.org/presentationml/2006/main">
  <p:tag name="MTTABLE" val="Cell"/>
  <p:tag name="MTNUMBER" val="0.707510644433792"/>
  <p:tag name="LEFT" val="9.375039"/>
  <p:tag name="WIDTH" val="693"/>
  <p:tag name="HEIGHT" val="19.38748"/>
  <p:tag name="TOP" val="80"/>
</p:tagLst>
</file>

<file path=ppt/tags/tag423.xml><?xml version="1.0" encoding="utf-8"?>
<p:tagLst xmlns:a="http://schemas.openxmlformats.org/drawingml/2006/main" xmlns:r="http://schemas.openxmlformats.org/officeDocument/2006/relationships" xmlns:p="http://schemas.openxmlformats.org/presentationml/2006/main">
  <p:tag name="MTTABLE" val="HTitleDiv"/>
  <p:tag name="MTNUMBER" val="0.707510644433792"/>
</p:tagLst>
</file>

<file path=ppt/tags/tag424.xml><?xml version="1.0" encoding="utf-8"?>
<p:tagLst xmlns:a="http://schemas.openxmlformats.org/drawingml/2006/main" xmlns:r="http://schemas.openxmlformats.org/officeDocument/2006/relationships" xmlns:p="http://schemas.openxmlformats.org/presentationml/2006/main">
  <p:tag name="MTTABLE" val="Cell"/>
  <p:tag name="MTNUMBER" val="0.707510644433792"/>
  <p:tag name="LEFT" val="9.375039"/>
  <p:tag name="WIDTH" val="693"/>
  <p:tag name="HEIGHT" val="19.38748"/>
  <p:tag name="TOP" val="80"/>
</p:tagLst>
</file>

<file path=ppt/tags/tag425.xml><?xml version="1.0" encoding="utf-8"?>
<p:tagLst xmlns:a="http://schemas.openxmlformats.org/drawingml/2006/main" xmlns:r="http://schemas.openxmlformats.org/officeDocument/2006/relationships" xmlns:p="http://schemas.openxmlformats.org/presentationml/2006/main">
  <p:tag name="MTTABLE" val="HTitleDiv"/>
  <p:tag name="MTNUMBER" val="0.707510644433792"/>
</p:tagLst>
</file>

<file path=ppt/tags/tag426.xml><?xml version="1.0" encoding="utf-8"?>
<p:tagLst xmlns:a="http://schemas.openxmlformats.org/drawingml/2006/main" xmlns:r="http://schemas.openxmlformats.org/officeDocument/2006/relationships" xmlns:p="http://schemas.openxmlformats.org/presentationml/2006/main">
  <p:tag name="MTTABLE" val="Cell"/>
  <p:tag name="MTNUMBER" val="0.707510644433792"/>
  <p:tag name="LEFT" val="9.375039"/>
  <p:tag name="WIDTH" val="693"/>
  <p:tag name="HEIGHT" val="19.38748"/>
  <p:tag name="TOP" val="80"/>
</p:tagLst>
</file>

<file path=ppt/tags/tag427.xml><?xml version="1.0" encoding="utf-8"?>
<p:tagLst xmlns:a="http://schemas.openxmlformats.org/drawingml/2006/main" xmlns:r="http://schemas.openxmlformats.org/officeDocument/2006/relationships" xmlns:p="http://schemas.openxmlformats.org/presentationml/2006/main">
  <p:tag name="MTTABLE" val="HTitleDiv"/>
  <p:tag name="MTNUMBER" val="0.707510644433792"/>
</p:tagLst>
</file>

<file path=ppt/tags/tag428.xml><?xml version="1.0" encoding="utf-8"?>
<p:tagLst xmlns:a="http://schemas.openxmlformats.org/drawingml/2006/main" xmlns:r="http://schemas.openxmlformats.org/officeDocument/2006/relationships" xmlns:p="http://schemas.openxmlformats.org/presentationml/2006/main">
  <p:tag name="MTTABLE" val="Cell"/>
  <p:tag name="MTNUMBER" val="0.707510644433792"/>
  <p:tag name="LEFT" val="9.375039"/>
  <p:tag name="WIDTH" val="693"/>
  <p:tag name="HEIGHT" val="19.38748"/>
  <p:tag name="TOP" val="80"/>
</p:tagLst>
</file>

<file path=ppt/tags/tag429.xml><?xml version="1.0" encoding="utf-8"?>
<p:tagLst xmlns:a="http://schemas.openxmlformats.org/drawingml/2006/main" xmlns:r="http://schemas.openxmlformats.org/officeDocument/2006/relationships" xmlns:p="http://schemas.openxmlformats.org/presentationml/2006/main">
  <p:tag name="MTTABLE" val="HTitleDiv"/>
  <p:tag name="MTNUMBER" val="0.707510644433792"/>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5JY.NlaSSDyTA_thy.0iJw"/>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5AeJJLx2RNet4NKPj3Zy9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xrTYQaPxQXeLDe_N26hYR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K3hSP7StSriWvAqVjr5h7g"/>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zgCuRhO8RFKpwSc_Myf7N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1rSEa46JTW.Zw.1Bb8udG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fzwNmKWTZPRTjq2im7y_Fg"/>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j69uFAVVQHO3pJicbwd5nQ"/>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xNj9takXQSqAgZTaNx8aQ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Vh5Oj4QbSfiffi3YnD9Xm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MM_SLIDE_TYPE" val="6"/>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De3.BaBXTDWjwnV1jalVCQ"/>
</p:tagLst>
</file>

<file path=ppt/tags/tag451.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52.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53.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54.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55.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56.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57.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58.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59.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61.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62.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63.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64.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65.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66.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67.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68.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69.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71.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72.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73.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74.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75.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76.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zi.wZ0xXT8Ss9Ld2xDIlc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0xyHktlfSaq.R890voMw8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97ZFwHZnSayUL0xn4cV_nw"/>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iMvmtsvfTI6TGmL_3Oijog"/>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BqojXPaNTCSsY9rQmUwa3g"/>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v8Jaok03TaSANb.emeEDd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v8Jaok03TaSANb.emeEDd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0xyHktlfSaq.R890voMw8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v8Jaok03TaSANb.emeEDd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CnBQFDeeSBOOJ4m70KIE.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k28DG9fNTrK1mokBA_avB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5JY.NlaSSDyTA_thy.0iJ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MM_SLIDE_TYPE" val="6"/>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0xyHktlfSaq.R890voMw8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v8Jaok03TaSANb.emeEDd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0xyHktlfSaq.R890voMw8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v8Jaok03TaSANb.emeEDd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v8Jaok03TaSANb.emeEDd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CnBQFDeeSBOOJ4m70KIE.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k28DG9fNTrK1mokBA_avB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5JY.NlaSSDyTA_thy.0iJ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NAME" val="Moon"/>
</p:tagLst>
</file>

<file path=ppt/tags/tag81.xml><?xml version="1.0" encoding="utf-8"?>
<p:tagLst xmlns:a="http://schemas.openxmlformats.org/drawingml/2006/main" xmlns:r="http://schemas.openxmlformats.org/officeDocument/2006/relationships" xmlns:p="http://schemas.openxmlformats.org/presentationml/2006/main">
  <p:tag name="NAME" val="Moon"/>
</p:tagLst>
</file>

<file path=ppt/tags/tag82.xml><?xml version="1.0" encoding="utf-8"?>
<p:tagLst xmlns:a="http://schemas.openxmlformats.org/drawingml/2006/main" xmlns:r="http://schemas.openxmlformats.org/officeDocument/2006/relationships" xmlns:p="http://schemas.openxmlformats.org/presentationml/2006/main">
  <p:tag name="NAME" val="Moon"/>
</p:tagLst>
</file>

<file path=ppt/tags/tag83.xml><?xml version="1.0" encoding="utf-8"?>
<p:tagLst xmlns:a="http://schemas.openxmlformats.org/drawingml/2006/main" xmlns:r="http://schemas.openxmlformats.org/officeDocument/2006/relationships" xmlns:p="http://schemas.openxmlformats.org/presentationml/2006/main">
  <p:tag name="NAME" val="Moon"/>
</p:tagLst>
</file>

<file path=ppt/tags/tag8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8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8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8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9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MM_SLIDE_TYPE" val="6"/>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NAME" val="Moon"/>
</p:tagLst>
</file>

<file path=ppt/tags/tag9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Cover slides">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3_AGRA_CF_GAE416">
  <a:themeElements>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GRA_CF_GAE416.potx" id="{18E7CE3E-79AA-40EC-9453-9CCAE6EA6895}" vid="{B228667B-03D9-4259-9F41-9B4DAADC5DF1}"/>
    </a:ext>
  </a:extLst>
</a:theme>
</file>

<file path=ppt/theme/theme11.xml><?xml version="1.0" encoding="utf-8"?>
<a:theme xmlns:a="http://schemas.openxmlformats.org/drawingml/2006/main" name="9_AGRA_CF_GAE416">
  <a:themeElements>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GRA_CF_GAE416.potx" id="{18E7CE3E-79AA-40EC-9453-9CCAE6EA6895}" vid="{B228667B-03D9-4259-9F41-9B4DAADC5DF1}"/>
    </a:ext>
  </a:extLst>
</a:theme>
</file>

<file path=ppt/theme/theme12.xml><?xml version="1.0" encoding="utf-8"?>
<a:theme xmlns:a="http://schemas.openxmlformats.org/drawingml/2006/main" name="10_AGRA_CF_GAE416">
  <a:themeElements>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GRA_CF_GAE416.potx" id="{18E7CE3E-79AA-40EC-9453-9CCAE6EA6895}" vid="{B228667B-03D9-4259-9F41-9B4DAADC5DF1}"/>
    </a:ext>
  </a:extLst>
</a:theme>
</file>

<file path=ppt/theme/theme13.xml><?xml version="1.0" encoding="utf-8"?>
<a:theme xmlns:a="http://schemas.openxmlformats.org/drawingml/2006/main" name="4_AGRA_CF_GAE416">
  <a:themeElements>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GRA_CF_GAE416.potx" id="{18E7CE3E-79AA-40EC-9453-9CCAE6EA6895}" vid="{B228667B-03D9-4259-9F41-9B4DAADC5DF1}"/>
    </a:ext>
  </a:extLst>
</a:theme>
</file>

<file path=ppt/theme/theme14.xml><?xml version="1.0" encoding="utf-8"?>
<a:theme xmlns:a="http://schemas.openxmlformats.org/drawingml/2006/main" name="5_AGRA_CF_GAE416">
  <a:themeElements>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GRA_CF_GAE416.potx" id="{18E7CE3E-79AA-40EC-9453-9CCAE6EA6895}" vid="{B228667B-03D9-4259-9F41-9B4DAADC5DF1}"/>
    </a:ext>
  </a:extLst>
</a:theme>
</file>

<file path=ppt/theme/theme15.xml><?xml version="1.0" encoding="utf-8"?>
<a:theme xmlns:a="http://schemas.openxmlformats.org/drawingml/2006/main" name="6_AGRA_CF_GAE416">
  <a:themeElements>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GRA_CF_GAE416.potx" id="{18E7CE3E-79AA-40EC-9453-9CCAE6EA6895}" vid="{B228667B-03D9-4259-9F41-9B4DAADC5DF1}"/>
    </a:ext>
  </a:extLst>
</a:theme>
</file>

<file path=ppt/theme/theme16.xml><?xml version="1.0" encoding="utf-8"?>
<a:theme xmlns:a="http://schemas.openxmlformats.org/drawingml/2006/main" name="7_AGRA_CF_GAE416">
  <a:themeElements>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GRA_CF_GAE416.potx" id="{18E7CE3E-79AA-40EC-9453-9CCAE6EA6895}" vid="{B228667B-03D9-4259-9F41-9B4DAADC5DF1}"/>
    </a:ext>
  </a:extLst>
</a:theme>
</file>

<file path=ppt/theme/theme17.xml><?xml version="1.0" encoding="utf-8"?>
<a:theme xmlns:a="http://schemas.openxmlformats.org/drawingml/2006/main" name="8_AGRA_CF_GAE416">
  <a:themeElements>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GRA_CF_GAE416.potx" id="{18E7CE3E-79AA-40EC-9453-9CCAE6EA6895}" vid="{B228667B-03D9-4259-9F41-9B4DAADC5DF1}"/>
    </a:ext>
  </a:extLst>
</a:theme>
</file>

<file path=ppt/theme/theme18.xml><?xml version="1.0" encoding="utf-8"?>
<a:theme xmlns:a="http://schemas.openxmlformats.org/drawingml/2006/main" name="11_AGRA_CF_GAE416">
  <a:themeElements>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GRA_CF_GAE416.potx" id="{18E7CE3E-79AA-40EC-9453-9CCAE6EA6895}" vid="{B228667B-03D9-4259-9F41-9B4DAADC5DF1}"/>
    </a:ext>
  </a:extLst>
</a:theme>
</file>

<file path=ppt/theme/theme19.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lide Report">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Slide Report">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solidFill>
            <a:schemeClr val="bg1">
              <a:lumMod val="50000"/>
            </a:schemeClr>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solidFill>
              <a:schemeClr val="accent6">
                <a:lumMod val="50000"/>
              </a:schemeClr>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168275" indent="-168275">
          <a:buFont typeface="Arial" panose="020B0604020202020204" pitchFamily="34" charset="0"/>
          <a:buChar char="•"/>
          <a:defRPr sz="14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AGRA ppt template_Aug 18" id="{DA1DC13F-FA94-4699-960D-95CC52312870}" vid="{6C426B1E-A5E4-4D6E-B855-8C4B3DE23D8E}"/>
    </a:ext>
  </a:extLst>
</a:theme>
</file>

<file path=ppt/theme/theme4.xml><?xml version="1.0" encoding="utf-8"?>
<a:theme xmlns:a="http://schemas.openxmlformats.org/drawingml/2006/main" name="2_Slide Report">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solidFill>
            <a:schemeClr val="bg1">
              <a:lumMod val="50000"/>
            </a:schemeClr>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solidFill>
              <a:schemeClr val="accent6">
                <a:lumMod val="50000"/>
              </a:schemeClr>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168275" indent="-168275">
          <a:buFont typeface="Arial" panose="020B0604020202020204" pitchFamily="34" charset="0"/>
          <a:buChar char="•"/>
          <a:defRPr sz="14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AGRA ppt template_Aug 18" id="{DA1DC13F-FA94-4699-960D-95CC52312870}" vid="{6C426B1E-A5E4-4D6E-B855-8C4B3DE23D8E}"/>
    </a:ext>
  </a:extLst>
</a:theme>
</file>

<file path=ppt/theme/theme5.xml><?xml version="1.0" encoding="utf-8"?>
<a:theme xmlns:a="http://schemas.openxmlformats.org/drawingml/2006/main" name="3_Slide Report">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solidFill>
            <a:schemeClr val="bg1">
              <a:lumMod val="50000"/>
            </a:schemeClr>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solidFill>
              <a:schemeClr val="accent6">
                <a:lumMod val="50000"/>
              </a:schemeClr>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168275" indent="-168275">
          <a:buFont typeface="Arial" panose="020B0604020202020204" pitchFamily="34" charset="0"/>
          <a:buChar char="•"/>
          <a:defRPr sz="14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AGRA ppt template_Aug 18" id="{DA1DC13F-FA94-4699-960D-95CC52312870}" vid="{6C426B1E-A5E4-4D6E-B855-8C4B3DE23D8E}"/>
    </a:ext>
  </a:extLst>
</a:theme>
</file>

<file path=ppt/theme/theme6.xml><?xml version="1.0" encoding="utf-8"?>
<a:theme xmlns:a="http://schemas.openxmlformats.org/drawingml/2006/main" name="5_Slide Report">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solidFill>
            <a:schemeClr val="bg1">
              <a:lumMod val="50000"/>
            </a:schemeClr>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solidFill>
              <a:schemeClr val="accent6">
                <a:lumMod val="50000"/>
              </a:schemeClr>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168275" indent="-168275">
          <a:buFont typeface="Arial" panose="020B0604020202020204" pitchFamily="34" charset="0"/>
          <a:buChar char="•"/>
          <a:defRPr sz="14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AGRA ppt template_Aug 18" id="{DA1DC13F-FA94-4699-960D-95CC52312870}" vid="{6C426B1E-A5E4-4D6E-B855-8C4B3DE23D8E}"/>
    </a:ext>
  </a:extLst>
</a:theme>
</file>

<file path=ppt/theme/theme7.xml><?xml version="1.0" encoding="utf-8"?>
<a:theme xmlns:a="http://schemas.openxmlformats.org/drawingml/2006/main" name="AGRA_CF_GAE416">
  <a:themeElements>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GRA_CF_GAE416.potx" id="{18E7CE3E-79AA-40EC-9453-9CCAE6EA6895}" vid="{B228667B-03D9-4259-9F41-9B4DAADC5DF1}"/>
    </a:ext>
  </a:extLst>
</a:theme>
</file>

<file path=ppt/theme/theme8.xml><?xml version="1.0" encoding="utf-8"?>
<a:theme xmlns:a="http://schemas.openxmlformats.org/drawingml/2006/main" name="1_AGRA_CF_GAE416">
  <a:themeElements>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GRA_CF_GAE416.potx" id="{18E7CE3E-79AA-40EC-9453-9CCAE6EA6895}" vid="{B228667B-03D9-4259-9F41-9B4DAADC5DF1}"/>
    </a:ext>
  </a:extLst>
</a:theme>
</file>

<file path=ppt/theme/theme9.xml><?xml version="1.0" encoding="utf-8"?>
<a:theme xmlns:a="http://schemas.openxmlformats.org/drawingml/2006/main" name="2_AGRA_CF_GAE416">
  <a:themeElements>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GRA_CF_GAE416.potx" id="{18E7CE3E-79AA-40EC-9453-9CCAE6EA6895}" vid="{B228667B-03D9-4259-9F41-9B4DAADC5DF1}"/>
    </a:ext>
  </a:extLst>
</a:theme>
</file>

<file path=docProps/app.xml><?xml version="1.0" encoding="utf-8"?>
<Properties xmlns="http://schemas.openxmlformats.org/officeDocument/2006/extended-properties" xmlns:vt="http://schemas.openxmlformats.org/officeDocument/2006/docPropsVTypes">
  <TotalTime>52979</TotalTime>
  <Words>12376</Words>
  <Application>Microsoft Office PowerPoint</Application>
  <PresentationFormat>A4 Paper (210x297 mm)</PresentationFormat>
  <Paragraphs>1288</Paragraphs>
  <Slides>55</Slides>
  <Notes>13</Notes>
  <HiddenSlides>0</HiddenSlides>
  <MMClips>0</MMClips>
  <ScaleCrop>false</ScaleCrop>
  <HeadingPairs>
    <vt:vector size="8" baseType="variant">
      <vt:variant>
        <vt:lpstr>Fonts Used</vt:lpstr>
      </vt:variant>
      <vt:variant>
        <vt:i4>12</vt:i4>
      </vt:variant>
      <vt:variant>
        <vt:lpstr>Theme</vt:lpstr>
      </vt:variant>
      <vt:variant>
        <vt:i4>18</vt:i4>
      </vt:variant>
      <vt:variant>
        <vt:lpstr>Embedded OLE Servers</vt:lpstr>
      </vt:variant>
      <vt:variant>
        <vt:i4>1</vt:i4>
      </vt:variant>
      <vt:variant>
        <vt:lpstr>Slide Titles</vt:lpstr>
      </vt:variant>
      <vt:variant>
        <vt:i4>55</vt:i4>
      </vt:variant>
    </vt:vector>
  </HeadingPairs>
  <TitlesOfParts>
    <vt:vector size="86" baseType="lpstr">
      <vt:lpstr>Arial</vt:lpstr>
      <vt:lpstr>Calibri</vt:lpstr>
      <vt:lpstr>Calibri Light</vt:lpstr>
      <vt:lpstr>Courier New</vt:lpstr>
      <vt:lpstr>Franklin Gothic Medium</vt:lpstr>
      <vt:lpstr>Gill Sans</vt:lpstr>
      <vt:lpstr>MS Mincho</vt:lpstr>
      <vt:lpstr>Noto Sans Symbols</vt:lpstr>
      <vt:lpstr>Times New Roman</vt:lpstr>
      <vt:lpstr>Wingdings</vt:lpstr>
      <vt:lpstr>Wingdings 2</vt:lpstr>
      <vt:lpstr>ヒラギノ角ゴ ProN W3</vt:lpstr>
      <vt:lpstr>Cover slides</vt:lpstr>
      <vt:lpstr>Slide Report</vt:lpstr>
      <vt:lpstr>1_Slide Report</vt:lpstr>
      <vt:lpstr>2_Slide Report</vt:lpstr>
      <vt:lpstr>3_Slide Report</vt:lpstr>
      <vt:lpstr>5_Slide Report</vt:lpstr>
      <vt:lpstr>AGRA_CF_GAE416</vt:lpstr>
      <vt:lpstr>1_AGRA_CF_GAE416</vt:lpstr>
      <vt:lpstr>2_AGRA_CF_GAE416</vt:lpstr>
      <vt:lpstr>3_AGRA_CF_GAE416</vt:lpstr>
      <vt:lpstr>9_AGRA_CF_GAE416</vt:lpstr>
      <vt:lpstr>10_AGRA_CF_GAE416</vt:lpstr>
      <vt:lpstr>4_AGRA_CF_GAE416</vt:lpstr>
      <vt:lpstr>5_AGRA_CF_GAE416</vt:lpstr>
      <vt:lpstr>6_AGRA_CF_GAE416</vt:lpstr>
      <vt:lpstr>7_AGRA_CF_GAE416</vt:lpstr>
      <vt:lpstr>8_AGRA_CF_GAE416</vt:lpstr>
      <vt:lpstr>11_AGRA_CF_GAE416</vt:lpstr>
      <vt:lpstr>think-cell Slide</vt:lpstr>
      <vt:lpstr>AGRA Ethiopia Operational Plan (Working DRAFT)</vt:lpstr>
      <vt:lpstr>Table of contents</vt:lpstr>
      <vt:lpstr>ACRONYMS</vt:lpstr>
      <vt:lpstr>Executive Summary</vt:lpstr>
      <vt:lpstr>Executive Summary </vt:lpstr>
      <vt:lpstr>Executive Summary </vt:lpstr>
      <vt:lpstr>AGRA’s Current Portfolio summary (2017 - 2019)</vt:lpstr>
      <vt:lpstr> Strategic Partnerships</vt:lpstr>
      <vt:lpstr>AGRA’s Strategy continues to build off of past work done in Ethiopia to drive for scale and sustainability</vt:lpstr>
      <vt:lpstr>AGRA Strategy Overview</vt:lpstr>
      <vt:lpstr>AGRA’s Vision and Headline Goals 2017 - 2021</vt:lpstr>
      <vt:lpstr>AGRA’s 2017 – 2021 Strategy </vt:lpstr>
      <vt:lpstr>Summary of AGRA’s Strategic Approach</vt:lpstr>
      <vt:lpstr>Ethiopia Agricultural Context</vt:lpstr>
      <vt:lpstr>Ethiopia’s Agricultural Agenda is Shaped by a Few Macroeconomic Trends and Contextual Factors (1/4)</vt:lpstr>
      <vt:lpstr>Ethiopia’s Agricultural Agenda is Shaped by a Few Macroeconomic Trends and Contextual Factors (2/4)</vt:lpstr>
      <vt:lpstr>CAADP biennial review shows that the country is on-track and should emphasize ending hunger and boosting trade</vt:lpstr>
      <vt:lpstr>Ethiopia’s Agricultural Agenda is Shaped by a Few Macroeconomic Trends and Contextual Factors (3/4) </vt:lpstr>
      <vt:lpstr>Ethiopia’s Agricultural Agenda is Shaped by a Few Macroeconomic Trends and Contextual Factors (4/4) </vt:lpstr>
      <vt:lpstr>A number of major donors and private sector companies focused on the 4 regions</vt:lpstr>
      <vt:lpstr>In addition to Macro-economic analysis, AGRA also carried out analysis of  specific systems to inform the strategy</vt:lpstr>
      <vt:lpstr>In addition to Macro-economic analysis, AGRA also carried out analysis of  specific systems to inform the strategy</vt:lpstr>
      <vt:lpstr>In addition to Macro-economic analysis, AGRA also carried out analysis of  specific systems to inform the strategy</vt:lpstr>
      <vt:lpstr>In addition to Macro-economic analysis, AGRA also carried out analysis of  specific systems to inform the strategy</vt:lpstr>
      <vt:lpstr>Partnerships Mapping</vt:lpstr>
      <vt:lpstr>AGRA Ethiopia Strategy</vt:lpstr>
      <vt:lpstr>Ethiopia Theory of Change</vt:lpstr>
      <vt:lpstr>AGRA’s Strategy for Ethiopia  </vt:lpstr>
      <vt:lpstr>PowerPoint Presentation</vt:lpstr>
      <vt:lpstr>AGRA’s Approach in Ethiopia is Aligned to the National Agriculture Strategy…</vt:lpstr>
      <vt:lpstr>AGRA will continue partnering with public and private entities to catalyze agricultural transformation </vt:lpstr>
      <vt:lpstr>       AGRA’s Main Partners in Ethiopia</vt:lpstr>
      <vt:lpstr>Results Framework and Targets</vt:lpstr>
      <vt:lpstr>Ethiopia Country Results Framework </vt:lpstr>
      <vt:lpstr>Key Country Indicators and Targets</vt:lpstr>
      <vt:lpstr>Key Country Indicators and Targets</vt:lpstr>
      <vt:lpstr>Our delivery – Portfolio to date, emerging context, lessons learned, emerging priorities</vt:lpstr>
      <vt:lpstr>Approved Grants, Ethiopia; 2017- March 2019</vt:lpstr>
      <vt:lpstr>PowerPoint Presentation</vt:lpstr>
      <vt:lpstr>PowerPoint Presentation</vt:lpstr>
      <vt:lpstr>Results from Investments in Ethiopia</vt:lpstr>
      <vt:lpstr>PowerPoint Presentation</vt:lpstr>
      <vt:lpstr>PowerPoint Presentation</vt:lpstr>
      <vt:lpstr>Emerging Lessons </vt:lpstr>
      <vt:lpstr>Emerging Opportunities for Ethiopia</vt:lpstr>
      <vt:lpstr>The Team</vt:lpstr>
      <vt:lpstr>Country organogram and support structure</vt:lpstr>
      <vt:lpstr>Annexes</vt:lpstr>
      <vt:lpstr>List of AGRA Implementing Partners</vt:lpstr>
      <vt:lpstr>AGRA Institutional Results Framework and theory of change</vt:lpstr>
      <vt:lpstr>AGRA Strategy Results Framework </vt:lpstr>
      <vt:lpstr>Policy and State Capability Theory of Change</vt:lpstr>
      <vt:lpstr>Farmer and Systems development Theory of Change</vt:lpstr>
      <vt:lpstr>Partnerships development Theory of Change</vt:lpstr>
      <vt:lpstr>Referen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GRA  COUNTRY X  Operational Plan</dc:title>
  <dc:creator>Kamau Pauline</dc:creator>
  <cp:lastModifiedBy>Jacoyange, Kevin</cp:lastModifiedBy>
  <cp:revision>867</cp:revision>
  <cp:lastPrinted>2019-05-30T13:57:47Z</cp:lastPrinted>
  <dcterms:modified xsi:type="dcterms:W3CDTF">2019-08-23T07:16:58Z</dcterms:modified>
</cp:coreProperties>
</file>